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theme/theme5.xml" ContentType="application/vnd.openxmlformats-officedocument.theme+xml"/>
  <Override PartName="/ppt/slideLayouts/slideLayout43.xml" ContentType="application/vnd.openxmlformats-officedocument.presentationml.slideLayout+xml"/>
  <Override PartName="/ppt/theme/theme6.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6" r:id="rId5"/>
    <p:sldMasterId id="2147483702" r:id="rId6"/>
    <p:sldMasterId id="2147483705" r:id="rId7"/>
    <p:sldMasterId id="2147483750" r:id="rId8"/>
    <p:sldMasterId id="2147483752" r:id="rId9"/>
    <p:sldMasterId id="2147483754" r:id="rId10"/>
  </p:sldMasterIdLst>
  <p:notesMasterIdLst>
    <p:notesMasterId r:id="rId58"/>
  </p:notesMasterIdLst>
  <p:sldIdLst>
    <p:sldId id="2076135917" r:id="rId11"/>
    <p:sldId id="2076136138" r:id="rId12"/>
    <p:sldId id="1979422265" r:id="rId13"/>
    <p:sldId id="2076135908" r:id="rId14"/>
    <p:sldId id="2076136030" r:id="rId15"/>
    <p:sldId id="2076135954" r:id="rId16"/>
    <p:sldId id="2076136047" r:id="rId17"/>
    <p:sldId id="2076136052" r:id="rId18"/>
    <p:sldId id="465" r:id="rId19"/>
    <p:sldId id="2076135912" r:id="rId20"/>
    <p:sldId id="5637" r:id="rId21"/>
    <p:sldId id="2076136059" r:id="rId22"/>
    <p:sldId id="2076136182" r:id="rId23"/>
    <p:sldId id="2076136137" r:id="rId24"/>
    <p:sldId id="923" r:id="rId25"/>
    <p:sldId id="2076136062" r:id="rId26"/>
    <p:sldId id="2076136183" r:id="rId27"/>
    <p:sldId id="499" r:id="rId28"/>
    <p:sldId id="2076136135" r:id="rId29"/>
    <p:sldId id="2076136187" r:id="rId30"/>
    <p:sldId id="2076136120" r:id="rId31"/>
    <p:sldId id="2076136121" r:id="rId32"/>
    <p:sldId id="2076136153" r:id="rId33"/>
    <p:sldId id="2076136126" r:id="rId34"/>
    <p:sldId id="511" r:id="rId35"/>
    <p:sldId id="2076136127" r:id="rId36"/>
    <p:sldId id="2076136128" r:id="rId37"/>
    <p:sldId id="2076136129" r:id="rId38"/>
    <p:sldId id="2076136130" r:id="rId39"/>
    <p:sldId id="2076136131" r:id="rId40"/>
    <p:sldId id="2076136132" r:id="rId41"/>
    <p:sldId id="2076136133" r:id="rId42"/>
    <p:sldId id="2076136134" r:id="rId43"/>
    <p:sldId id="2076136142" r:id="rId44"/>
    <p:sldId id="2076136186" r:id="rId45"/>
    <p:sldId id="2076136149" r:id="rId46"/>
    <p:sldId id="2076135966" r:id="rId47"/>
    <p:sldId id="2076136181" r:id="rId48"/>
    <p:sldId id="724" r:id="rId49"/>
    <p:sldId id="2076136164" r:id="rId50"/>
    <p:sldId id="2076136170" r:id="rId51"/>
    <p:sldId id="2076136171" r:id="rId52"/>
    <p:sldId id="508" r:id="rId53"/>
    <p:sldId id="2076136172" r:id="rId54"/>
    <p:sldId id="2076136025" r:id="rId55"/>
    <p:sldId id="2076136189" r:id="rId56"/>
    <p:sldId id="2076135910" r:id="rId5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DM" id="{7D0C8C10-7E40-488D-A991-DED71EBB2A4C}">
          <p14:sldIdLst>
            <p14:sldId id="2076135917"/>
            <p14:sldId id="2076136138"/>
            <p14:sldId id="1979422265"/>
            <p14:sldId id="2076135908"/>
            <p14:sldId id="2076136030"/>
            <p14:sldId id="2076135954"/>
            <p14:sldId id="2076136047"/>
            <p14:sldId id="2076136052"/>
            <p14:sldId id="465"/>
            <p14:sldId id="2076135912"/>
            <p14:sldId id="5637"/>
            <p14:sldId id="2076136059"/>
            <p14:sldId id="2076136182"/>
            <p14:sldId id="2076136137"/>
            <p14:sldId id="923"/>
            <p14:sldId id="2076136062"/>
            <p14:sldId id="2076136183"/>
            <p14:sldId id="499"/>
            <p14:sldId id="2076136135"/>
            <p14:sldId id="2076136187"/>
            <p14:sldId id="2076136120"/>
            <p14:sldId id="2076136121"/>
            <p14:sldId id="2076136153"/>
            <p14:sldId id="2076136126"/>
            <p14:sldId id="511"/>
            <p14:sldId id="2076136127"/>
            <p14:sldId id="2076136128"/>
            <p14:sldId id="2076136129"/>
            <p14:sldId id="2076136130"/>
            <p14:sldId id="2076136131"/>
            <p14:sldId id="2076136132"/>
            <p14:sldId id="2076136133"/>
            <p14:sldId id="2076136134"/>
            <p14:sldId id="2076136142"/>
            <p14:sldId id="2076136186"/>
            <p14:sldId id="2076136149"/>
            <p14:sldId id="2076135966"/>
            <p14:sldId id="2076136181"/>
            <p14:sldId id="724"/>
            <p14:sldId id="2076136164"/>
            <p14:sldId id="2076136170"/>
            <p14:sldId id="2076136171"/>
            <p14:sldId id="508"/>
            <p14:sldId id="2076136172"/>
            <p14:sldId id="2076136025"/>
            <p14:sldId id="2076136189"/>
            <p14:sldId id="207613591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ra Matzek (smatzek)" initials="SM(" lastIdx="2" clrIdx="0">
    <p:extLst>
      <p:ext uri="{19B8F6BF-5375-455C-9EA6-DF929625EA0E}">
        <p15:presenceInfo xmlns:p15="http://schemas.microsoft.com/office/powerpoint/2012/main" userId="S::smatzek@cisco.com::b29affc8-f20f-43af-9398-b39a8914b564" providerId="AD"/>
      </p:ext>
    </p:extLst>
  </p:cmAuthor>
  <p:cmAuthor id="2" name="Elizabeth Boukis (eboukis)" initials="EB(" lastIdx="1" clrIdx="1">
    <p:extLst>
      <p:ext uri="{19B8F6BF-5375-455C-9EA6-DF929625EA0E}">
        <p15:presenceInfo xmlns:p15="http://schemas.microsoft.com/office/powerpoint/2012/main" userId="S::eboukis@cisco.com::160b532e-90be-428a-a793-b208ff442ac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0EFF6DB-E76F-4EB3-99F4-7800C3602767}" v="21" dt="2020-03-06T21:09:36.0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01" autoAdjust="0"/>
    <p:restoredTop sz="89113" autoAdjust="0"/>
  </p:normalViewPr>
  <p:slideViewPr>
    <p:cSldViewPr snapToGrid="0">
      <p:cViewPr varScale="1">
        <p:scale>
          <a:sx n="76" d="100"/>
          <a:sy n="76" d="100"/>
        </p:scale>
        <p:origin x="758" y="62"/>
      </p:cViewPr>
      <p:guideLst/>
    </p:cSldViewPr>
  </p:slideViewPr>
  <p:notesTextViewPr>
    <p:cViewPr>
      <p:scale>
        <a:sx n="1" d="1"/>
        <a:sy n="1" d="1"/>
      </p:scale>
      <p:origin x="0" y="0"/>
    </p:cViewPr>
  </p:notesTextViewPr>
  <p:sorterViewPr>
    <p:cViewPr>
      <p:scale>
        <a:sx n="100" d="100"/>
        <a:sy n="100" d="100"/>
      </p:scale>
      <p:origin x="0" y="-14372"/>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D6D09E4-BB4E-4877-9BB4-046B1B886997}" type="datetimeFigureOut">
              <a:rPr lang="en-US" smtClean="0"/>
              <a:t>10/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EDB11B-8F13-436D-8482-1829615BA9E9}" type="slidenum">
              <a:rPr lang="en-US" smtClean="0"/>
              <a:t>‹#›</a:t>
            </a:fld>
            <a:endParaRPr lang="en-US"/>
          </a:p>
        </p:txBody>
      </p:sp>
    </p:spTree>
    <p:extLst>
      <p:ext uri="{BB962C8B-B14F-4D97-AF65-F5344CB8AC3E}">
        <p14:creationId xmlns:p14="http://schemas.microsoft.com/office/powerpoint/2010/main" val="732322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snort.org/" TargetMode="External"/><Relationship Id="rId2" Type="http://schemas.openxmlformats.org/officeDocument/2006/relationships/slide" Target="../slides/slide14.xml"/><Relationship Id="rId1" Type="http://schemas.openxmlformats.org/officeDocument/2006/relationships/notesMaster" Target="../notesMasters/notesMaster1.xml"/><Relationship Id="rId5" Type="http://schemas.openxmlformats.org/officeDocument/2006/relationships/hyperlink" Target="https://www.spamcop.net/" TargetMode="External"/><Relationship Id="rId4" Type="http://schemas.openxmlformats.org/officeDocument/2006/relationships/hyperlink" Target="https://www.clamav.net/"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6535396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ＭＳ Ｐゴシック" charset="0"/>
                <a:cs typeface="ＭＳ Ｐゴシック" charset="0"/>
              </a:rPr>
              <a:t>Detection</a:t>
            </a:r>
          </a:p>
          <a:p>
            <a:r>
              <a:rPr lang="en-US" sz="1200" kern="1200" dirty="0">
                <a:solidFill>
                  <a:schemeClr val="tx1"/>
                </a:solidFill>
                <a:effectLst/>
                <a:latin typeface="+mn-lt"/>
                <a:ea typeface="ＭＳ Ｐゴシック" charset="0"/>
                <a:cs typeface="ＭＳ Ｐゴシック" charset="0"/>
              </a:rPr>
              <a:t>Driven by:</a:t>
            </a:r>
          </a:p>
          <a:p>
            <a:r>
              <a:rPr lang="en-US" sz="1200" kern="1200" dirty="0">
                <a:solidFill>
                  <a:schemeClr val="tx1"/>
                </a:solidFill>
                <a:effectLst/>
                <a:latin typeface="+mn-lt"/>
                <a:ea typeface="ＭＳ Ｐゴシック" charset="0"/>
                <a:cs typeface="ＭＳ Ｐゴシック" charset="0"/>
              </a:rPr>
              <a:t>  -MDR Core Technologies</a:t>
            </a:r>
          </a:p>
          <a:p>
            <a:r>
              <a:rPr lang="en-US" sz="1200" kern="1200" dirty="0">
                <a:solidFill>
                  <a:schemeClr val="tx1"/>
                </a:solidFill>
                <a:effectLst/>
                <a:latin typeface="+mn-lt"/>
                <a:ea typeface="ＭＳ Ｐゴシック" charset="0"/>
                <a:cs typeface="ＭＳ Ｐゴシック" charset="0"/>
              </a:rPr>
              <a:t>  -Correlation</a:t>
            </a:r>
          </a:p>
          <a:p>
            <a:r>
              <a:rPr lang="en-US" sz="1200" kern="1200" dirty="0">
                <a:solidFill>
                  <a:schemeClr val="tx1"/>
                </a:solidFill>
                <a:effectLst/>
                <a:latin typeface="+mn-lt"/>
                <a:ea typeface="ＭＳ Ｐゴシック" charset="0"/>
                <a:cs typeface="ＭＳ Ｐゴシック" charset="0"/>
              </a:rPr>
              <a:t>  -Threat Intelligence</a:t>
            </a:r>
          </a:p>
          <a:p>
            <a:r>
              <a:rPr lang="en-US" sz="1200" kern="1200" dirty="0">
                <a:solidFill>
                  <a:schemeClr val="tx1"/>
                </a:solidFill>
                <a:effectLst/>
                <a:latin typeface="+mn-lt"/>
                <a:ea typeface="ＭＳ Ｐゴシック" charset="0"/>
                <a:cs typeface="ＭＳ Ｐゴシック" charset="0"/>
              </a:rPr>
              <a:t>  -Statistical analysis and machine learning</a:t>
            </a:r>
          </a:p>
          <a:p>
            <a:r>
              <a:rPr lang="en-US" sz="1200" kern="1200" dirty="0">
                <a:solidFill>
                  <a:schemeClr val="tx1"/>
                </a:solidFill>
                <a:effectLst/>
                <a:latin typeface="+mn-lt"/>
                <a:ea typeface="ＭＳ Ｐゴシック"/>
                <a:cs typeface="Calibri"/>
              </a:rPr>
              <a:t> </a:t>
            </a:r>
          </a:p>
          <a:p>
            <a:r>
              <a:rPr lang="en-US" sz="1200" b="1" kern="1200" dirty="0">
                <a:solidFill>
                  <a:schemeClr val="tx1"/>
                </a:solidFill>
                <a:effectLst/>
                <a:latin typeface="+mn-lt"/>
                <a:ea typeface="ＭＳ Ｐゴシック" charset="0"/>
                <a:cs typeface="ＭＳ Ｐゴシック" charset="0"/>
              </a:rPr>
              <a:t>Analysis</a:t>
            </a:r>
          </a:p>
          <a:p>
            <a:r>
              <a:rPr lang="en-US" sz="1200" kern="1200" dirty="0">
                <a:solidFill>
                  <a:schemeClr val="tx1"/>
                </a:solidFill>
                <a:effectLst/>
                <a:latin typeface="+mn-lt"/>
                <a:ea typeface="ＭＳ Ｐゴシック" charset="0"/>
                <a:cs typeface="ＭＳ Ｐゴシック" charset="0"/>
              </a:rPr>
              <a:t>  -Enrichment added to ticket</a:t>
            </a:r>
          </a:p>
          <a:p>
            <a:r>
              <a:rPr lang="en-US" sz="1200" kern="1200" dirty="0">
                <a:solidFill>
                  <a:schemeClr val="tx1"/>
                </a:solidFill>
                <a:effectLst/>
                <a:latin typeface="+mn-lt"/>
                <a:ea typeface="ＭＳ Ｐゴシック" charset="0"/>
                <a:cs typeface="ＭＳ Ｐゴシック" charset="0"/>
              </a:rPr>
              <a:t>  -Supplemental information gathered</a:t>
            </a:r>
          </a:p>
          <a:p>
            <a:r>
              <a:rPr lang="en-US" sz="1200" kern="1200" dirty="0">
                <a:solidFill>
                  <a:schemeClr val="tx1"/>
                </a:solidFill>
                <a:effectLst/>
                <a:latin typeface="+mn-lt"/>
                <a:ea typeface="ＭＳ Ｐゴシック" charset="0"/>
                <a:cs typeface="ＭＳ Ｐゴシック" charset="0"/>
              </a:rPr>
              <a:t>  -SOC Investigator determines validity of detection</a:t>
            </a:r>
          </a:p>
          <a:p>
            <a:r>
              <a:rPr lang="en-US" dirty="0">
                <a:ea typeface="ＭＳ Ｐゴシック"/>
                <a:cs typeface="Calibri"/>
              </a:rPr>
              <a:t> </a:t>
            </a:r>
            <a:r>
              <a:rPr lang="en-US" sz="1200" kern="1200" dirty="0">
                <a:solidFill>
                  <a:schemeClr val="tx1"/>
                </a:solidFill>
                <a:effectLst/>
                <a:latin typeface="+mn-lt"/>
                <a:ea typeface="ＭＳ Ｐゴシック"/>
                <a:cs typeface="Calibri"/>
              </a:rPr>
              <a:t> -Event classified as a True Positive </a:t>
            </a:r>
            <a:r>
              <a:rPr lang="en-US" dirty="0">
                <a:ea typeface="ＭＳ Ｐゴシック"/>
                <a:cs typeface="Calibri"/>
              </a:rPr>
              <a:t>or</a:t>
            </a:r>
            <a:r>
              <a:rPr lang="en-US" sz="1200" kern="1200" dirty="0">
                <a:solidFill>
                  <a:schemeClr val="tx1"/>
                </a:solidFill>
                <a:effectLst/>
                <a:latin typeface="+mn-lt"/>
                <a:ea typeface="ＭＳ Ｐゴシック"/>
                <a:cs typeface="Calibri"/>
              </a:rPr>
              <a:t> False Positive</a:t>
            </a:r>
          </a:p>
          <a:p>
            <a:r>
              <a:rPr lang="en-US" sz="1200" kern="1200" dirty="0">
                <a:solidFill>
                  <a:schemeClr val="tx1"/>
                </a:solidFill>
                <a:effectLst/>
                <a:latin typeface="+mn-lt"/>
                <a:ea typeface="ＭＳ Ｐゴシック"/>
                <a:cs typeface="Calibri"/>
              </a:rPr>
              <a:t> </a:t>
            </a:r>
          </a:p>
          <a:p>
            <a:r>
              <a:rPr lang="en-US" sz="1200" b="1" kern="1200" dirty="0">
                <a:solidFill>
                  <a:schemeClr val="tx1"/>
                </a:solidFill>
                <a:effectLst/>
                <a:latin typeface="+mn-lt"/>
                <a:ea typeface="ＭＳ Ｐゴシック" charset="0"/>
                <a:cs typeface="ＭＳ Ｐゴシック" charset="0"/>
              </a:rPr>
              <a:t>Investigation</a:t>
            </a:r>
          </a:p>
          <a:p>
            <a:r>
              <a:rPr lang="en-US" sz="1200" kern="1200" dirty="0">
                <a:solidFill>
                  <a:schemeClr val="tx1"/>
                </a:solidFill>
                <a:effectLst/>
                <a:latin typeface="+mn-lt"/>
                <a:ea typeface="ＭＳ Ｐゴシック" charset="0"/>
                <a:cs typeface="ＭＳ Ｐゴシック" charset="0"/>
              </a:rPr>
              <a:t>  -SOC Investigator determines the Impact and Urgency</a:t>
            </a:r>
          </a:p>
          <a:p>
            <a:r>
              <a:rPr lang="en-US" dirty="0"/>
              <a:t>  -Identify scope and if any other sources have been seen with similar activity</a:t>
            </a:r>
          </a:p>
          <a:p>
            <a:r>
              <a:rPr lang="en-US" sz="1200" kern="1200" dirty="0">
                <a:solidFill>
                  <a:schemeClr val="tx1"/>
                </a:solidFill>
                <a:effectLst/>
                <a:latin typeface="+mn-lt"/>
                <a:ea typeface="ＭＳ Ｐゴシック" charset="0"/>
                <a:cs typeface="ＭＳ Ｐゴシック" charset="0"/>
              </a:rPr>
              <a:t>  -Hunt for root cause</a:t>
            </a:r>
          </a:p>
          <a:p>
            <a:r>
              <a:rPr lang="en-US" sz="1200" kern="1200" dirty="0">
                <a:solidFill>
                  <a:schemeClr val="tx1"/>
                </a:solidFill>
                <a:effectLst/>
                <a:latin typeface="+mn-lt"/>
                <a:ea typeface="ＭＳ Ｐゴシック" charset="0"/>
                <a:cs typeface="ＭＳ Ｐゴシック" charset="0"/>
              </a:rPr>
              <a:t>  -SOC investigator creates write-up and recommendations</a:t>
            </a:r>
          </a:p>
          <a:p>
            <a:r>
              <a:rPr lang="en-US" sz="1200" kern="1200" dirty="0">
                <a:solidFill>
                  <a:schemeClr val="tx1"/>
                </a:solidFill>
                <a:effectLst/>
                <a:latin typeface="+mn-lt"/>
                <a:ea typeface="ＭＳ Ｐゴシック"/>
                <a:cs typeface="Calibri"/>
              </a:rPr>
              <a:t> </a:t>
            </a:r>
          </a:p>
          <a:p>
            <a:r>
              <a:rPr lang="en-US" sz="1200" b="1" kern="1200" dirty="0">
                <a:solidFill>
                  <a:schemeClr val="tx1"/>
                </a:solidFill>
                <a:effectLst/>
                <a:latin typeface="+mn-lt"/>
                <a:ea typeface="ＭＳ Ｐゴシック" charset="0"/>
                <a:cs typeface="ＭＳ Ｐゴシック" charset="0"/>
              </a:rPr>
              <a:t>Response</a:t>
            </a:r>
          </a:p>
          <a:p>
            <a:r>
              <a:rPr lang="en-US" sz="1200" kern="1200" dirty="0">
                <a:solidFill>
                  <a:schemeClr val="tx1"/>
                </a:solidFill>
                <a:effectLst/>
                <a:latin typeface="+mn-lt"/>
                <a:ea typeface="ＭＳ Ｐゴシック" charset="0"/>
                <a:cs typeface="ＭＳ Ｐゴシック" charset="0"/>
              </a:rPr>
              <a:t>  -Based on recommendation made by MDR SOC</a:t>
            </a:r>
          </a:p>
          <a:p>
            <a:r>
              <a:rPr lang="en-US" sz="1200" kern="1200" dirty="0">
                <a:solidFill>
                  <a:schemeClr val="tx1"/>
                </a:solidFill>
                <a:effectLst/>
                <a:latin typeface="+mn-lt"/>
                <a:ea typeface="ＭＳ Ｐゴシック" charset="0"/>
                <a:cs typeface="ＭＳ Ｐゴシック" charset="0"/>
              </a:rPr>
              <a:t>  -Occurs two main ways</a:t>
            </a:r>
          </a:p>
          <a:p>
            <a:r>
              <a:rPr lang="en-US" dirty="0"/>
              <a:t>    -Immediately via the MDR SOC according to ROE</a:t>
            </a:r>
          </a:p>
          <a:p>
            <a:r>
              <a:rPr lang="en-US" sz="1200" kern="1200" dirty="0">
                <a:solidFill>
                  <a:schemeClr val="tx1"/>
                </a:solidFill>
                <a:effectLst/>
                <a:latin typeface="+mn-lt"/>
                <a:ea typeface="ＭＳ Ｐゴシック" charset="0"/>
                <a:cs typeface="ＭＳ Ｐゴシック" charset="0"/>
              </a:rPr>
              <a:t>    -Customer initiated approval in ServiceNow ticket</a:t>
            </a:r>
          </a:p>
          <a:p>
            <a:endParaRPr lang="en-US" sz="1200" kern="1200" dirty="0">
              <a:solidFill>
                <a:schemeClr val="tx1"/>
              </a:solidFill>
              <a:effectLst/>
              <a:latin typeface="+mn-lt"/>
              <a:ea typeface="ＭＳ Ｐゴシック" charset="0"/>
              <a:cs typeface="Calibri"/>
            </a:endParaRPr>
          </a:p>
          <a:p>
            <a:pPr>
              <a:buFont typeface="+mj-lt"/>
            </a:pP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Arial"/>
                <a:sym typeface="Arial"/>
              </a:rPr>
              <a:pPr marL="0" marR="0" lvl="0" indent="0" algn="r" defTabSz="4572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Arial"/>
              <a:sym typeface="Arial"/>
            </a:endParaRPr>
          </a:p>
        </p:txBody>
      </p:sp>
    </p:spTree>
    <p:extLst>
      <p:ext uri="{BB962C8B-B14F-4D97-AF65-F5344CB8AC3E}">
        <p14:creationId xmlns:p14="http://schemas.microsoft.com/office/powerpoint/2010/main" val="2795618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Cisco </a:t>
            </a:r>
            <a:r>
              <a:rPr lang="en-US" sz="1200" b="0" i="0" kern="1200" err="1">
                <a:solidFill>
                  <a:schemeClr val="tx1"/>
                </a:solidFill>
                <a:effectLst/>
                <a:latin typeface="+mn-lt"/>
                <a:ea typeface="+mn-ea"/>
                <a:cs typeface="+mn-cs"/>
              </a:rPr>
              <a:t>Talos</a:t>
            </a:r>
            <a:r>
              <a:rPr lang="en-US" sz="1200" b="0" i="0" kern="1200">
                <a:solidFill>
                  <a:schemeClr val="tx1"/>
                </a:solidFill>
                <a:effectLst/>
                <a:latin typeface="+mn-lt"/>
                <a:ea typeface="+mn-ea"/>
                <a:cs typeface="+mn-cs"/>
              </a:rPr>
              <a:t> Intelligence Group is one of the largest commercial threat intelligence teams in the world, comprised of world-class researchers, analysts and engineers. These teams are supported by unrivaled telemetry and sophisticated systems to create accurate, rapid and actionable threat intelligence for Cisco customers, products and services. </a:t>
            </a:r>
            <a:r>
              <a:rPr lang="en-US" sz="1200" b="0" i="0" kern="1200" err="1">
                <a:solidFill>
                  <a:schemeClr val="tx1"/>
                </a:solidFill>
                <a:effectLst/>
                <a:latin typeface="+mn-lt"/>
                <a:ea typeface="+mn-ea"/>
                <a:cs typeface="+mn-cs"/>
              </a:rPr>
              <a:t>Talos</a:t>
            </a:r>
            <a:r>
              <a:rPr lang="en-US" sz="1200" b="0" i="0" kern="1200">
                <a:solidFill>
                  <a:schemeClr val="tx1"/>
                </a:solidFill>
                <a:effectLst/>
                <a:latin typeface="+mn-lt"/>
                <a:ea typeface="+mn-ea"/>
                <a:cs typeface="+mn-cs"/>
              </a:rPr>
              <a:t> defends Cisco customers against known and emerging threats, discovers new vulnerabilities in common software, and interdicts threats in the wild before they can further harm the internet at large. </a:t>
            </a:r>
            <a:r>
              <a:rPr lang="en-US" sz="1200" b="0" i="0" kern="1200" err="1">
                <a:solidFill>
                  <a:schemeClr val="tx1"/>
                </a:solidFill>
                <a:effectLst/>
                <a:latin typeface="+mn-lt"/>
                <a:ea typeface="+mn-ea"/>
                <a:cs typeface="+mn-cs"/>
              </a:rPr>
              <a:t>Talos</a:t>
            </a:r>
            <a:r>
              <a:rPr lang="en-US" sz="1200" b="0" i="0" kern="1200">
                <a:solidFill>
                  <a:schemeClr val="tx1"/>
                </a:solidFill>
                <a:effectLst/>
                <a:latin typeface="+mn-lt"/>
                <a:ea typeface="+mn-ea"/>
                <a:cs typeface="+mn-cs"/>
              </a:rPr>
              <a:t> maintains the official rule sets of </a:t>
            </a:r>
            <a:r>
              <a:rPr lang="en-US" sz="1200" b="0" i="0" u="none" strike="noStrike" kern="1200">
                <a:solidFill>
                  <a:schemeClr val="tx1"/>
                </a:solidFill>
                <a:effectLst/>
                <a:latin typeface="+mn-lt"/>
                <a:ea typeface="+mn-ea"/>
                <a:cs typeface="+mn-cs"/>
                <a:hlinkClick r:id="rId3"/>
              </a:rPr>
              <a:t>Snort.org</a:t>
            </a:r>
            <a:r>
              <a:rPr lang="en-US" sz="1200" b="0" i="0" kern="1200">
                <a:solidFill>
                  <a:schemeClr val="tx1"/>
                </a:solidFill>
                <a:effectLst/>
                <a:latin typeface="+mn-lt"/>
                <a:ea typeface="+mn-ea"/>
                <a:cs typeface="+mn-cs"/>
              </a:rPr>
              <a:t>, </a:t>
            </a:r>
            <a:r>
              <a:rPr lang="en-US" sz="1200" b="0" i="0" u="none" strike="noStrike" kern="1200">
                <a:solidFill>
                  <a:schemeClr val="tx1"/>
                </a:solidFill>
                <a:effectLst/>
                <a:latin typeface="+mn-lt"/>
                <a:ea typeface="+mn-ea"/>
                <a:cs typeface="+mn-cs"/>
                <a:hlinkClick r:id="rId4"/>
              </a:rPr>
              <a:t>ClamAV</a:t>
            </a:r>
            <a:r>
              <a:rPr lang="en-US" sz="1200" b="0" i="0" kern="1200">
                <a:solidFill>
                  <a:schemeClr val="tx1"/>
                </a:solidFill>
                <a:effectLst/>
                <a:latin typeface="+mn-lt"/>
                <a:ea typeface="+mn-ea"/>
                <a:cs typeface="+mn-cs"/>
              </a:rPr>
              <a:t>, and </a:t>
            </a:r>
            <a:r>
              <a:rPr lang="en-US" sz="1200" b="0" i="0" u="none" strike="noStrike" kern="1200">
                <a:solidFill>
                  <a:schemeClr val="tx1"/>
                </a:solidFill>
                <a:effectLst/>
                <a:latin typeface="+mn-lt"/>
                <a:ea typeface="+mn-ea"/>
                <a:cs typeface="+mn-cs"/>
                <a:hlinkClick r:id="rId5"/>
              </a:rPr>
              <a:t>SpamCop</a:t>
            </a:r>
            <a:r>
              <a:rPr lang="en-US" sz="1200" b="0" i="0" kern="1200">
                <a:solidFill>
                  <a:schemeClr val="tx1"/>
                </a:solidFill>
                <a:effectLst/>
                <a:latin typeface="+mn-lt"/>
                <a:ea typeface="+mn-ea"/>
                <a:cs typeface="+mn-cs"/>
              </a:rPr>
              <a:t>, in addition to releasing many open-source research and analysis tools.</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sz="1200" b="0" i="0" kern="1200">
                <a:solidFill>
                  <a:schemeClr val="tx1"/>
                </a:solidFill>
                <a:effectLst/>
                <a:latin typeface="+mn-lt"/>
                <a:ea typeface="+mn-ea"/>
                <a:cs typeface="+mn-cs"/>
              </a:rPr>
            </a:br>
            <a:r>
              <a:rPr lang="en-US" b="1"/>
              <a:t>&lt;Click&gt;</a:t>
            </a:r>
          </a:p>
          <a:p>
            <a:endParaRPr lang="en-US" sz="1200" b="0" i="0" kern="1200">
              <a:solidFill>
                <a:schemeClr val="tx1"/>
              </a:solidFill>
              <a:effectLst/>
              <a:latin typeface="+mn-lt"/>
              <a:ea typeface="+mn-ea"/>
              <a:cs typeface="+mn-cs"/>
            </a:endParaRPr>
          </a:p>
          <a:p>
            <a:r>
              <a:rPr lang="en-US"/>
              <a:t>To learn more about the capabilities of </a:t>
            </a:r>
            <a:r>
              <a:rPr lang="en-US" err="1"/>
              <a:t>Talos</a:t>
            </a:r>
            <a:r>
              <a:rPr lang="en-US"/>
              <a:t>, read whitepaper: https://</a:t>
            </a:r>
            <a:r>
              <a:rPr lang="en-US" err="1"/>
              <a:t>www.talosintelligence.com</a:t>
            </a:r>
            <a:r>
              <a:rPr lang="en-US"/>
              <a:t>/docs/</a:t>
            </a:r>
            <a:r>
              <a:rPr lang="en-US" err="1"/>
              <a:t>Talos_WhitePaper.pdf</a:t>
            </a:r>
            <a:r>
              <a:rPr lang="en-US"/>
              <a:t> </a:t>
            </a:r>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Arial"/>
                <a:sym typeface="Arial"/>
              </a:rPr>
              <a:pPr marL="0" marR="0" lvl="0" indent="0" algn="r" defTabSz="4572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Arial"/>
              <a:sym typeface="Arial"/>
            </a:endParaRPr>
          </a:p>
        </p:txBody>
      </p:sp>
    </p:spTree>
    <p:extLst>
      <p:ext uri="{BB962C8B-B14F-4D97-AF65-F5344CB8AC3E}">
        <p14:creationId xmlns:p14="http://schemas.microsoft.com/office/powerpoint/2010/main" val="37150990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692150"/>
            <a:ext cx="6159500" cy="3463925"/>
          </a:xfrm>
        </p:spPr>
      </p:sp>
      <p:sp>
        <p:nvSpPr>
          <p:cNvPr id="3" name="Notes Placeholder 2"/>
          <p:cNvSpPr>
            <a:spLocks noGrp="1"/>
          </p:cNvSpPr>
          <p:nvPr>
            <p:ph type="body" idx="1"/>
          </p:nvPr>
        </p:nvSpPr>
        <p:spPr>
          <a:xfrm>
            <a:off x="701040" y="4444861"/>
            <a:ext cx="5608320" cy="3870878"/>
          </a:xfrm>
        </p:spPr>
        <p:txBody>
          <a:bodyPr/>
          <a:lstStyle/>
          <a:p>
            <a:r>
              <a:rPr lang="en-US" sz="1200" kern="1200">
                <a:solidFill>
                  <a:schemeClr val="tx1"/>
                </a:solidFill>
                <a:effectLst/>
                <a:latin typeface="+mn-lt"/>
                <a:ea typeface="+mn-ea"/>
                <a:cs typeface="+mn-cs"/>
              </a:rPr>
              <a:t>Expanded visibility is great but what isn’t are the large number of alerts that you might begin to see. That’s why it’s important to carefully analyze the massive data sets using multiple techniques, and also fine-tune policies based on your business logic. Because what might be considered anomalous for one organization, doesn’t really apply to another.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We apply a pipeline of analytical techniques in order to reduce the anomalies to malicious events, and further leverage internal and external threat intelligence to reduce those events to confirmed threats. </a:t>
            </a:r>
          </a:p>
          <a:p>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a:t>&lt;Click&gt;</a:t>
            </a:r>
          </a:p>
          <a:p>
            <a:endParaRPr lang="en-US" sz="1200"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More details:</a:t>
            </a:r>
          </a:p>
          <a:p>
            <a:r>
              <a:rPr lang="en-US" sz="1200" kern="1200">
                <a:solidFill>
                  <a:schemeClr val="tx1"/>
                </a:solidFill>
                <a:effectLst/>
                <a:latin typeface="+mn-lt"/>
                <a:ea typeface="+mn-ea"/>
                <a:cs typeface="+mn-cs"/>
              </a:rPr>
              <a:t>Stealthwatch </a:t>
            </a:r>
            <a:r>
              <a:rPr lang="en-US" sz="1200"/>
              <a:t>integrates with Cognitive Intelligence, a cloud based multi-stage machine learning analytics engine, that</a:t>
            </a:r>
            <a:r>
              <a:rPr lang="en-US" sz="1200" kern="1200">
                <a:solidFill>
                  <a:schemeClr val="tx1"/>
                </a:solidFill>
                <a:effectLst/>
                <a:latin typeface="+mn-lt"/>
                <a:ea typeface="+mn-ea"/>
                <a:cs typeface="+mn-cs"/>
              </a:rPr>
              <a:t> can correlate threat behaviors seen in the enterprise with those seen globally by processing massive amount of data near real time to discover anomalous and malicious network activity that is indicative of a breach.</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The system analyzes user and device behavior to discover malware infections, command-and-control communications, data exfiltration, and potentially unwanted applications operating in an organization’s infrastructure. There are multiple layers of processing, where we apply a combination of techniques from Artificial Intelligence, Machine Learning and Mathematical Statistics to self-learn normal network behavior.</a:t>
            </a:r>
          </a:p>
          <a:p>
            <a:r>
              <a:rPr lang="en-US" sz="1200" kern="1200">
                <a:solidFill>
                  <a:schemeClr val="tx1"/>
                </a:solidFill>
                <a:effectLst/>
                <a:latin typeface="+mn-lt"/>
                <a:ea typeface="+mn-ea"/>
                <a:cs typeface="+mn-cs"/>
              </a:rPr>
              <a:t>The engine gradually builds a notion of first “what is anomalous”, then classifies individual pieces of “malicious activity” and finally arrives at a conviction of “yes” this device or user is infected with a new form of malware. It is through a very careful analysis and correlation of multiple incidents on a global scale, that we are able to bring in small pieces of evidence for a high fidelity detection. </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b="1" kern="1200">
              <a:solidFill>
                <a:schemeClr val="tx1"/>
              </a:solidFill>
              <a:effectLst/>
              <a:latin typeface="+mn-lt"/>
              <a:ea typeface="ＭＳ Ｐゴシック" charset="0"/>
              <a:cs typeface="ＭＳ Ｐゴシック" charset="0"/>
            </a:endParaRPr>
          </a:p>
          <a:p>
            <a:pPr lvl="0"/>
            <a:endParaRPr lang="en-US" sz="1200" b="1" kern="1200">
              <a:solidFill>
                <a:schemeClr val="tx1"/>
              </a:solidFill>
              <a:effectLst/>
              <a:latin typeface="+mn-lt"/>
              <a:ea typeface="ＭＳ Ｐゴシック" charset="0"/>
              <a:cs typeface="ＭＳ Ｐゴシック" charset="0"/>
            </a:endParaRPr>
          </a:p>
          <a:p>
            <a:endParaRPr lang="en-US" sz="90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624B3E29-E3C6-465A-BA15-E131EAE22360}"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Arial"/>
                <a:sym typeface="Arial"/>
              </a:rPr>
              <a:pPr marL="0" marR="0" lvl="0" indent="0" algn="r" defTabSz="457200"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Arial"/>
              <a:sym typeface="Arial"/>
            </a:endParaRPr>
          </a:p>
        </p:txBody>
      </p:sp>
    </p:spTree>
    <p:extLst>
      <p:ext uri="{BB962C8B-B14F-4D97-AF65-F5344CB8AC3E}">
        <p14:creationId xmlns:p14="http://schemas.microsoft.com/office/powerpoint/2010/main" val="10454784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 typeface="Arial" charset="0"/>
              <a:buNone/>
              <a:tabLst/>
              <a:defRPr/>
            </a:pPr>
            <a:r>
              <a:rPr lang="en-US"/>
              <a:t>Alarms in Stealthwatch are tied to specific entities within the network, so you can investigate easily. </a:t>
            </a:r>
            <a:r>
              <a:rPr lang="en-US" baseline="0"/>
              <a:t>The host report provides a quick assessment of the behavior of the host: </a:t>
            </a:r>
            <a:r>
              <a:rPr lang="en-US"/>
              <a:t>view all the alarms this host has triggered and where else it has been communicating within as well as outside the organization, and perform a flow search in order to conduct forensic analysis.</a:t>
            </a:r>
          </a:p>
          <a:p>
            <a:pPr marL="171450" marR="0" indent="-171450" algn="l" defTabSz="457200" rtl="0" eaLnBrk="0" fontAlgn="base" latinLnBrk="0" hangingPunct="0">
              <a:lnSpc>
                <a:spcPct val="100000"/>
              </a:lnSpc>
              <a:spcBef>
                <a:spcPct val="30000"/>
              </a:spcBef>
              <a:spcAft>
                <a:spcPct val="0"/>
              </a:spcAft>
              <a:buClrTx/>
              <a:buSzTx/>
              <a:buFont typeface="Arial" charset="0"/>
              <a:buChar char="•"/>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lt;Click&gt;</a:t>
            </a:r>
          </a:p>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Arial"/>
                <a:sym typeface="Arial"/>
              </a:rPr>
              <a:pPr marL="0" marR="0" lvl="0" indent="0" algn="r" defTabSz="457200"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Arial"/>
              <a:sym typeface="Arial"/>
            </a:endParaRPr>
          </a:p>
        </p:txBody>
      </p:sp>
    </p:spTree>
    <p:extLst>
      <p:ext uri="{BB962C8B-B14F-4D97-AF65-F5344CB8AC3E}">
        <p14:creationId xmlns:p14="http://schemas.microsoft.com/office/powerpoint/2010/main" val="4453692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defRPr/>
            </a:pPr>
            <a:r>
              <a:rPr lang="en-US" sz="1200" b="1" baseline="0"/>
              <a:t>Umbrella Investigate</a:t>
            </a:r>
          </a:p>
          <a:p>
            <a:pPr marL="0" indent="0">
              <a:buFontTx/>
              <a:buNone/>
              <a:defRPr/>
            </a:pPr>
            <a:endParaRPr lang="en-US" sz="1200" baseline="0"/>
          </a:p>
          <a:p>
            <a:r>
              <a:rPr lang="en-US" sz="1200" baseline="0"/>
              <a:t>- I</a:t>
            </a:r>
            <a:r>
              <a:rPr lang="en-US" sz="1200" kern="1200">
                <a:solidFill>
                  <a:schemeClr val="tx1"/>
                </a:solidFill>
                <a:effectLst/>
                <a:latin typeface="+mn-lt"/>
                <a:ea typeface="+mn-ea"/>
                <a:cs typeface="+mn-cs"/>
              </a:rPr>
              <a:t>nvestigate leverages a live graph database of DNS requests and other contextual data. We take this massive amount of data and apply statistical models to it </a:t>
            </a:r>
            <a:r>
              <a:rPr lang="en-US" sz="1200" baseline="0"/>
              <a:t>in real-time. T</a:t>
            </a:r>
            <a:r>
              <a:rPr lang="en-US" sz="1200" kern="1200">
                <a:solidFill>
                  <a:schemeClr val="tx1"/>
                </a:solidFill>
                <a:effectLst/>
                <a:latin typeface="+mn-lt"/>
                <a:ea typeface="+mn-ea"/>
                <a:cs typeface="+mn-cs"/>
              </a:rPr>
              <a:t>his helps us automatically discover and predict malicious domains and IPs. </a:t>
            </a:r>
          </a:p>
          <a:p>
            <a:pPr marL="0" indent="0">
              <a:buFontTx/>
              <a:buNone/>
              <a:defRPr/>
            </a:pPr>
            <a:r>
              <a:rPr lang="en-US" altLang="en-US">
                <a:ea typeface="ＭＳ Ｐゴシック" charset="-128"/>
                <a:cs typeface="ＭＳ Ｐゴシック" charset="-128"/>
              </a:rPr>
              <a:t>- More than a reputation score that looks at the past, we analyze both historic and live data.*</a:t>
            </a:r>
            <a:endParaRPr lang="en-US" altLang="en-US">
              <a:ea typeface="+mn-ea"/>
              <a:cs typeface="+mn-cs"/>
            </a:endParaRPr>
          </a:p>
          <a:p>
            <a:pPr marL="0" indent="0">
              <a:buFontTx/>
              <a:buNone/>
              <a:defRPr/>
            </a:pPr>
            <a:r>
              <a:rPr lang="en-US"/>
              <a:t>- This information is also constantly analyzed by our research and response team.</a:t>
            </a:r>
          </a:p>
          <a:p>
            <a:pPr marL="0" indent="0">
              <a:buFontTx/>
              <a:buNone/>
              <a:defRPr/>
            </a:pPr>
            <a:r>
              <a:rPr lang="en-US"/>
              <a:t>- Using</a:t>
            </a:r>
            <a:r>
              <a:rPr lang="en-US" baseline="0"/>
              <a:t> </a:t>
            </a:r>
            <a:r>
              <a:rPr lang="en-US"/>
              <a:t>this combination of human intelligence and machine learning we identify malicious sites (whether it’s domains, URLs, IPs, or autonomous systems), all across the internet.</a:t>
            </a:r>
          </a:p>
          <a:p>
            <a:pPr marL="0" indent="0">
              <a:buFontTx/>
              <a:buNone/>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lt;Click&gt;</a:t>
            </a:r>
          </a:p>
          <a:p>
            <a:pPr marL="0" indent="0">
              <a:buFontTx/>
              <a:buNone/>
              <a:defRPr/>
            </a:pPr>
            <a:endParaRPr lang="en-US"/>
          </a:p>
          <a:p>
            <a:pPr marL="0" indent="0">
              <a:buFontTx/>
              <a:buNone/>
              <a:defRPr/>
            </a:pPr>
            <a:endParaRPr lang="en-US"/>
          </a:p>
          <a:p>
            <a:pPr marL="0" indent="0">
              <a:buFontTx/>
              <a:buNone/>
              <a:defRPr/>
            </a:pPr>
            <a:r>
              <a:rPr lang="en-US" b="1"/>
              <a:t>Additional notes: </a:t>
            </a:r>
          </a:p>
          <a:p>
            <a:pPr marL="0" indent="0">
              <a:buFontTx/>
              <a:buNone/>
              <a:defRPr/>
            </a:pPr>
            <a:r>
              <a:rPr lang="en-US" baseline="0"/>
              <a:t>Here you see various statistical models, but let’s take a closer look at some.</a:t>
            </a:r>
            <a:endParaRPr lang="en-US"/>
          </a:p>
          <a:p>
            <a:pPr>
              <a:defRPr/>
            </a:pPr>
            <a:endParaRPr lang="en-US"/>
          </a:p>
          <a:p>
            <a:pPr>
              <a:defRPr/>
            </a:pPr>
            <a:r>
              <a:rPr lang="en-US"/>
              <a:t>A few examples models include the:</a:t>
            </a:r>
          </a:p>
          <a:p>
            <a:pPr marL="171450" indent="-171450">
              <a:buFontTx/>
              <a:buChar char="-"/>
              <a:defRPr/>
            </a:pPr>
            <a:r>
              <a:rPr lang="en-US"/>
              <a:t>Co-occurrence model</a:t>
            </a:r>
            <a:r>
              <a:rPr lang="en-US" baseline="0"/>
              <a:t>:</a:t>
            </a:r>
          </a:p>
          <a:p>
            <a:pPr marL="628650" lvl="1" indent="-171450">
              <a:buFontTx/>
              <a:buChar char="-"/>
              <a:defRPr/>
            </a:pPr>
            <a:r>
              <a:rPr lang="en-US" sz="1200" b="0" i="0" u="none" strike="noStrike" kern="1200" baseline="0">
                <a:solidFill>
                  <a:schemeClr val="tx1"/>
                </a:solidFill>
                <a:effectLst/>
                <a:latin typeface="+mn-lt"/>
                <a:ea typeface="ＭＳ Ｐゴシック" charset="0"/>
                <a:cs typeface="ＭＳ Ｐゴシック" charset="0"/>
              </a:rPr>
              <a:t>I</a:t>
            </a:r>
            <a:r>
              <a:rPr lang="en-US" sz="1200" b="0" i="0" u="none" strike="noStrike" kern="1200">
                <a:solidFill>
                  <a:schemeClr val="tx1"/>
                </a:solidFill>
                <a:effectLst/>
                <a:latin typeface="+mn-lt"/>
                <a:ea typeface="ＭＳ Ｐゴシック" charset="0"/>
                <a:cs typeface="ＭＳ Ｐゴシック" charset="0"/>
              </a:rPr>
              <a:t>dentifies</a:t>
            </a:r>
            <a:r>
              <a:rPr lang="en-US" sz="1200" b="0" i="0" u="none" strike="noStrike" kern="1200" baseline="0">
                <a:solidFill>
                  <a:schemeClr val="tx1"/>
                </a:solidFill>
                <a:effectLst/>
                <a:latin typeface="+mn-lt"/>
                <a:ea typeface="ＭＳ Ｐゴシック" charset="0"/>
                <a:cs typeface="ＭＳ Ｐゴシック" charset="0"/>
              </a:rPr>
              <a:t> </a:t>
            </a:r>
            <a:r>
              <a:rPr lang="en-US" sz="1200" b="0" i="0" u="none" strike="noStrike" kern="1200">
                <a:solidFill>
                  <a:schemeClr val="tx1"/>
                </a:solidFill>
                <a:effectLst/>
                <a:latin typeface="+mn-lt"/>
                <a:ea typeface="ＭＳ Ｐゴシック" charset="0"/>
                <a:cs typeface="ＭＳ Ｐゴシック" charset="0"/>
              </a:rPr>
              <a:t>domains queried right before or after a given domain. This</a:t>
            </a:r>
            <a:r>
              <a:rPr lang="en-US" sz="1200" b="0" i="0" u="none" strike="noStrike" kern="1200" baseline="0">
                <a:solidFill>
                  <a:schemeClr val="tx1"/>
                </a:solidFill>
                <a:effectLst/>
                <a:latin typeface="+mn-lt"/>
                <a:ea typeface="ＭＳ Ｐゴシック" charset="0"/>
                <a:cs typeface="ＭＳ Ｐゴシック" charset="0"/>
              </a:rPr>
              <a:t> models h</a:t>
            </a:r>
            <a:r>
              <a:rPr lang="en-US" sz="1200" b="0" i="0" u="none" strike="noStrike" kern="1200">
                <a:solidFill>
                  <a:schemeClr val="tx1"/>
                </a:solidFill>
                <a:effectLst/>
                <a:latin typeface="+mn-lt"/>
                <a:ea typeface="ＭＳ Ｐゴシック" charset="0"/>
                <a:cs typeface="ＭＳ Ｐゴシック" charset="0"/>
              </a:rPr>
              <a:t>elps to uncover domains linked to the same attack, even if they’re hosted on separate networks.</a:t>
            </a:r>
          </a:p>
          <a:p>
            <a:pPr marL="171450" lvl="0" indent="-171450">
              <a:buFontTx/>
              <a:buChar char="-"/>
              <a:defRPr/>
            </a:pPr>
            <a:r>
              <a:rPr lang="en-US" sz="1200" b="0" i="0" u="none" strike="noStrike" kern="1200">
                <a:solidFill>
                  <a:schemeClr val="tx1"/>
                </a:solidFill>
                <a:effectLst/>
                <a:latin typeface="+mn-lt"/>
                <a:ea typeface="ＭＳ Ｐゴシック" charset="0"/>
                <a:cs typeface="ＭＳ Ｐゴシック" charset="0"/>
              </a:rPr>
              <a:t>Traffic spike</a:t>
            </a:r>
            <a:r>
              <a:rPr lang="en-US" sz="1200" b="0" i="0" u="none" strike="noStrike" kern="1200" baseline="0">
                <a:solidFill>
                  <a:schemeClr val="tx1"/>
                </a:solidFill>
                <a:effectLst/>
                <a:latin typeface="+mn-lt"/>
                <a:ea typeface="ＭＳ Ｐゴシック" charset="0"/>
                <a:cs typeface="ＭＳ Ｐゴシック" charset="0"/>
              </a:rPr>
              <a:t> model:</a:t>
            </a:r>
          </a:p>
          <a:p>
            <a:pPr marL="628650" lvl="1" indent="-171450">
              <a:buFontTx/>
              <a:buChar char="-"/>
              <a:defRPr/>
            </a:pPr>
            <a:r>
              <a:rPr lang="en-US" sz="1200" b="0" i="0" u="none" strike="noStrike" kern="1200">
                <a:solidFill>
                  <a:schemeClr val="tx1"/>
                </a:solidFill>
                <a:effectLst/>
                <a:latin typeface="+mn-lt"/>
                <a:ea typeface="+mn-ea"/>
                <a:cs typeface="+mn-cs"/>
              </a:rPr>
              <a:t>Recognize when spikes in traffic to a domain match patterns seen with other attacks. For example, the traffic for one domain matches the request patterns seen with exploit kits, so we’ll block the domain before the full attack launches.  </a:t>
            </a:r>
            <a:r>
              <a:rPr lang="en-US" sz="1200" b="0" i="0" u="none" strike="noStrike" kern="1200">
                <a:solidFill>
                  <a:schemeClr val="tx1"/>
                </a:solidFill>
                <a:effectLst/>
                <a:latin typeface="+mn-lt"/>
                <a:ea typeface="ＭＳ Ｐゴシック" charset="0"/>
                <a:cs typeface="ＭＳ Ｐゴシック" charset="0"/>
              </a:rPr>
              <a:t>  </a:t>
            </a:r>
          </a:p>
          <a:p>
            <a:pPr marL="171450" lvl="0" indent="-171450">
              <a:buFontTx/>
              <a:buChar char="-"/>
              <a:defRPr/>
            </a:pPr>
            <a:r>
              <a:rPr lang="en-US" sz="1200" b="0" i="0" u="none" strike="noStrike" kern="1200">
                <a:solidFill>
                  <a:schemeClr val="tx1"/>
                </a:solidFill>
                <a:effectLst/>
                <a:latin typeface="+mn-lt"/>
                <a:ea typeface="ＭＳ Ｐゴシック" charset="0"/>
                <a:cs typeface="ＭＳ Ｐゴシック" charset="0"/>
              </a:rPr>
              <a:t>Predictive</a:t>
            </a:r>
            <a:r>
              <a:rPr lang="en-US" sz="1200" b="0" i="0" u="none" strike="noStrike" kern="1200" baseline="0">
                <a:solidFill>
                  <a:schemeClr val="tx1"/>
                </a:solidFill>
                <a:effectLst/>
                <a:latin typeface="+mn-lt"/>
                <a:ea typeface="ＭＳ Ｐゴシック" charset="0"/>
                <a:cs typeface="ＭＳ Ｐゴシック" charset="0"/>
              </a:rPr>
              <a:t> IP space monitoring model:</a:t>
            </a:r>
          </a:p>
          <a:p>
            <a:pPr marL="628650" lvl="1" indent="-171450">
              <a:buFontTx/>
              <a:buChar char="-"/>
              <a:defRPr/>
            </a:pPr>
            <a:r>
              <a:rPr lang="en-US" sz="1200" b="0" i="0" u="none" strike="noStrike" kern="1200">
                <a:solidFill>
                  <a:schemeClr val="tx1"/>
                </a:solidFill>
                <a:effectLst/>
                <a:latin typeface="+mn-lt"/>
                <a:ea typeface="+mn-ea"/>
                <a:cs typeface="+mn-cs"/>
              </a:rPr>
              <a:t>Starts with domains identified by the Spike Rank model and scores the steps attackers take to set up infrastructure (e.g. hosting provider, name server, IP, etc.) to predict if malicious. This</a:t>
            </a:r>
            <a:r>
              <a:rPr lang="en-US" sz="1200" b="0" i="0" u="none" strike="noStrike" kern="1200" baseline="0">
                <a:solidFill>
                  <a:schemeClr val="tx1"/>
                </a:solidFill>
                <a:effectLst/>
                <a:latin typeface="+mn-lt"/>
                <a:ea typeface="+mn-ea"/>
                <a:cs typeface="+mn-cs"/>
              </a:rPr>
              <a:t> i</a:t>
            </a:r>
            <a:r>
              <a:rPr lang="en-US" sz="1200" b="0" i="0" u="none" strike="noStrike" kern="1200">
                <a:solidFill>
                  <a:schemeClr val="tx1"/>
                </a:solidFill>
                <a:effectLst/>
                <a:latin typeface="+mn-lt"/>
                <a:ea typeface="+mn-ea"/>
                <a:cs typeface="+mn-cs"/>
              </a:rPr>
              <a:t>dentifies other destinations that can be proactively blocked before an attack launches. </a:t>
            </a:r>
            <a:endParaRPr lang="en-US" b="0">
              <a:effectLst/>
            </a:endParaRPr>
          </a:p>
          <a:p>
            <a:endParaRPr lang="en-US" b="1"/>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178B8799-42A2-4D43-AF76-D3220836283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Arial"/>
                <a:sym typeface="Arial"/>
              </a:rPr>
              <a:pPr marL="0" marR="0" lvl="0" indent="0" algn="r" defTabSz="457200" rtl="0"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rial" charset="0"/>
              <a:ea typeface="ＭＳ Ｐゴシック" pitchFamily="34" charset="-128"/>
              <a:cs typeface="Arial"/>
              <a:sym typeface="Arial"/>
            </a:endParaRPr>
          </a:p>
        </p:txBody>
      </p:sp>
    </p:spTree>
    <p:extLst>
      <p:ext uri="{BB962C8B-B14F-4D97-AF65-F5344CB8AC3E}">
        <p14:creationId xmlns:p14="http://schemas.microsoft.com/office/powerpoint/2010/main" val="36095257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 typeface="Wingdings" panose="05000000000000000000" pitchFamily="2" charset="2"/>
              <a:buNone/>
              <a:tabLst/>
              <a:defRPr/>
            </a:pPr>
            <a:r>
              <a:rPr lang="en-US" sz="1200" b="1" i="0" u="none" strike="noStrike" kern="1200" cap="none" dirty="0">
                <a:solidFill>
                  <a:schemeClr val="tx1"/>
                </a:solidFill>
                <a:effectLst/>
                <a:latin typeface="Calibri"/>
                <a:ea typeface="ＭＳ Ｐゴシック" charset="0"/>
                <a:cs typeface="ＭＳ Ｐゴシック" charset="0"/>
                <a:sym typeface="Calibri"/>
              </a:rPr>
              <a:t>Customer Portal </a:t>
            </a:r>
          </a:p>
          <a:p>
            <a:pPr marL="171450" marR="0" lvl="0" indent="-171450" algn="l" defTabSz="457200" rtl="0" eaLnBrk="0" fontAlgn="base" latinLnBrk="0" hangingPunct="0">
              <a:lnSpc>
                <a:spcPct val="100000"/>
              </a:lnSpc>
              <a:spcBef>
                <a:spcPct val="30000"/>
              </a:spcBef>
              <a:spcAft>
                <a:spcPct val="0"/>
              </a:spcAft>
              <a:buClrTx/>
              <a:buSzTx/>
              <a:buFont typeface="Wingdings" panose="05000000000000000000" pitchFamily="2" charset="2"/>
              <a:buChar char="§"/>
              <a:tabLst/>
              <a:defRPr/>
            </a:pPr>
            <a:r>
              <a:rPr lang="en-US" sz="1200" b="0" i="0" u="none" strike="noStrike" kern="1200" cap="none" dirty="0">
                <a:solidFill>
                  <a:schemeClr val="tx1"/>
                </a:solidFill>
                <a:effectLst/>
                <a:latin typeface="Calibri"/>
                <a:ea typeface="ＭＳ Ｐゴシック" charset="0"/>
                <a:cs typeface="ＭＳ Ｐゴシック" charset="0"/>
                <a:sym typeface="Calibri"/>
              </a:rPr>
              <a:t>A customer portal provides access to the supported Cisco security technologies and offers a robust dashboard, ticketing, reporting and case management interface, providing both operations and executive visibility to all activities.</a:t>
            </a:r>
          </a:p>
          <a:p>
            <a:endParaRPr lang="en-US" sz="1200" b="0" i="0" u="none" strike="noStrike" kern="1200" cap="none" dirty="0">
              <a:solidFill>
                <a:schemeClr val="tx1"/>
              </a:solidFill>
              <a:effectLst/>
              <a:latin typeface="Calibri"/>
              <a:ea typeface="Calibri"/>
              <a:cs typeface="Calibri"/>
              <a:sym typeface="Calibri"/>
            </a:endParaRP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Corrective action can be taken directly from the portal interface with the ability to block suspicious files, domains, and more.</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837311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The customer MDR dashboard is the </a:t>
            </a:r>
            <a:r>
              <a:rPr lang="en-US" sz="1200" kern="1200" dirty="0">
                <a:solidFill>
                  <a:schemeClr val="tx1"/>
                </a:solidFill>
                <a:effectLst/>
                <a:latin typeface="+mn-lt"/>
                <a:ea typeface="ＭＳ Ｐゴシック" charset="0"/>
                <a:cs typeface="ＭＳ Ｐゴシック" charset="0"/>
              </a:rPr>
              <a:t>single place where you can see the effectiveness of MDR to securing your business. </a:t>
            </a:r>
          </a:p>
          <a:p>
            <a:pPr marL="171450" indent="-171450">
              <a:buFontTx/>
              <a:buChar char="-"/>
            </a:pPr>
            <a:r>
              <a:rPr lang="en-US" sz="1200" kern="1200" dirty="0">
                <a:solidFill>
                  <a:schemeClr val="tx1"/>
                </a:solidFill>
                <a:effectLst/>
                <a:latin typeface="+mn-lt"/>
                <a:ea typeface="ＭＳ Ｐゴシック" charset="0"/>
                <a:cs typeface="ＭＳ Ｐゴシック" charset="0"/>
              </a:rPr>
              <a:t>It presents the service metrics that allow you to recognize the detection of threats, most common threats detects, the importance of each Cisco Intelligence product (AMP4E, Umbrella, SWC and Threat Grid) in detecting and responding, what stage of the kill chain you are mitigating the threats and direct launch to the main products and intel sources.</a:t>
            </a:r>
            <a:br>
              <a:rPr lang="en-US" sz="1200" kern="1200" dirty="0">
                <a:solidFill>
                  <a:schemeClr val="tx1"/>
                </a:solidFill>
                <a:effectLst/>
                <a:latin typeface="+mn-lt"/>
                <a:ea typeface="ＭＳ Ｐゴシック" charset="0"/>
                <a:cs typeface="ＭＳ Ｐゴシック" charset="0"/>
              </a:rPr>
            </a:br>
            <a:endParaRPr lang="en-US" sz="1200" kern="1200" dirty="0">
              <a:solidFill>
                <a:schemeClr val="tx1"/>
              </a:solidFill>
              <a:effectLst/>
              <a:latin typeface="+mn-lt"/>
              <a:ea typeface="ＭＳ Ｐゴシック" charset="0"/>
              <a:cs typeface="ＭＳ Ｐゴシック" charset="0"/>
            </a:endParaRPr>
          </a:p>
          <a:p>
            <a:pPr marL="171450" indent="-171450">
              <a:buFontTx/>
              <a:buChar char="-"/>
            </a:pPr>
            <a:r>
              <a:rPr lang="en-US" sz="1200" b="1" kern="1200" dirty="0">
                <a:solidFill>
                  <a:schemeClr val="tx1"/>
                </a:solidFill>
                <a:effectLst/>
                <a:latin typeface="+mn-lt"/>
                <a:ea typeface="ＭＳ Ｐゴシック" charset="0"/>
                <a:cs typeface="ＭＳ Ｐゴシック" charset="0"/>
              </a:rPr>
              <a:t>Active Incidents: </a:t>
            </a:r>
            <a:r>
              <a:rPr lang="en-US" sz="1200" kern="1200" dirty="0">
                <a:solidFill>
                  <a:schemeClr val="tx1"/>
                </a:solidFill>
                <a:effectLst/>
                <a:latin typeface="+mn-lt"/>
                <a:ea typeface="ＭＳ Ｐゴシック" charset="0"/>
                <a:cs typeface="ＭＳ Ｐゴシック" charset="0"/>
              </a:rPr>
              <a:t>displays the distribution of the threat incidents by assigned severity, which has a direct influence over impact and urgency. By clicking in one of the severities, the portal will launch a filtered list of the incidents of that severity. We want to have a majority of minor incidents meaning the security provided by Cisco products and the detection is happening at early stages and avoiding threats to spread and cause business impact.</a:t>
            </a:r>
            <a:br>
              <a:rPr lang="en-US" sz="1200" kern="1200" dirty="0">
                <a:solidFill>
                  <a:schemeClr val="tx1"/>
                </a:solidFill>
                <a:effectLst/>
                <a:latin typeface="+mn-lt"/>
                <a:ea typeface="ＭＳ Ｐゴシック" charset="0"/>
                <a:cs typeface="ＭＳ Ｐゴシック" charset="0"/>
              </a:rPr>
            </a:br>
            <a:endParaRPr lang="en-US" sz="1200" kern="1200" dirty="0">
              <a:solidFill>
                <a:schemeClr val="tx1"/>
              </a:solidFill>
              <a:effectLst/>
              <a:latin typeface="+mn-lt"/>
              <a:ea typeface="ＭＳ Ｐゴシック" charset="0"/>
              <a:cs typeface="ＭＳ Ｐゴシック" charset="0"/>
            </a:endParaRPr>
          </a:p>
          <a:p>
            <a:pPr marL="171450" indent="-171450">
              <a:buFontTx/>
              <a:buChar char="-"/>
            </a:pPr>
            <a:r>
              <a:rPr lang="en-US" sz="1200" b="1" kern="1200" dirty="0">
                <a:solidFill>
                  <a:schemeClr val="tx1"/>
                </a:solidFill>
                <a:effectLst/>
                <a:latin typeface="+mn-lt"/>
                <a:ea typeface="ＭＳ Ｐゴシック" charset="0"/>
                <a:cs typeface="ＭＳ Ｐゴシック" charset="0"/>
              </a:rPr>
              <a:t>Active Threats by Category </a:t>
            </a:r>
            <a:r>
              <a:rPr lang="en-US" sz="1200" kern="1200" dirty="0">
                <a:solidFill>
                  <a:schemeClr val="tx1"/>
                </a:solidFill>
                <a:effectLst/>
                <a:latin typeface="+mn-lt"/>
                <a:ea typeface="ＭＳ Ｐゴシック" charset="0"/>
                <a:cs typeface="ＭＳ Ｐゴシック" charset="0"/>
              </a:rPr>
              <a:t>displays the distribution of threat incidents by threat categories as defined in ATT@CK market definition. By clicking in one of the categories, the portal will launch a filtered list of the incidents of that particular type.</a:t>
            </a:r>
          </a:p>
          <a:p>
            <a:pPr marL="171450" indent="-171450">
              <a:buFontTx/>
              <a:buChar char="-"/>
            </a:pPr>
            <a:r>
              <a:rPr lang="en-US" sz="1200" kern="1200" dirty="0">
                <a:solidFill>
                  <a:schemeClr val="tx1"/>
                </a:solidFill>
                <a:effectLst/>
                <a:latin typeface="+mn-lt"/>
                <a:ea typeface="ＭＳ Ｐゴシック" charset="0"/>
                <a:cs typeface="ＭＳ Ｐゴシック" charset="0"/>
              </a:rPr>
              <a:t>This allows you to understand the most common threats that are targeting your business so you can implement security policies and evolve your defense to be more effective in protecting the business.</a:t>
            </a:r>
          </a:p>
          <a:p>
            <a:pPr marL="171450" indent="-171450">
              <a:buFontTx/>
              <a:buChar char="-"/>
            </a:pPr>
            <a:r>
              <a:rPr lang="en-US" sz="1200" b="1" kern="1200" dirty="0">
                <a:solidFill>
                  <a:schemeClr val="tx1"/>
                </a:solidFill>
                <a:effectLst/>
                <a:latin typeface="+mn-lt"/>
                <a:ea typeface="ＭＳ Ｐゴシック" charset="0"/>
                <a:cs typeface="ＭＳ Ｐゴシック" charset="0"/>
              </a:rPr>
              <a:t>Active Threats – Product Involved in Detection </a:t>
            </a:r>
            <a:r>
              <a:rPr lang="en-US" sz="1200" kern="1200" dirty="0">
                <a:solidFill>
                  <a:schemeClr val="tx1"/>
                </a:solidFill>
                <a:effectLst/>
                <a:latin typeface="+mn-lt"/>
                <a:ea typeface="ＭＳ Ｐゴシック" charset="0"/>
                <a:cs typeface="ＭＳ Ｐゴシック" charset="0"/>
              </a:rPr>
              <a:t>displays the number incidents detected by each of the products used to collect telemetry (AMP4E/TG, SWC and Umbrella). By clicking in one of the products, the portal will launch a filtered list of the incidents that were detected by this product.</a:t>
            </a:r>
          </a:p>
          <a:p>
            <a:pPr marL="171450" indent="-171450">
              <a:buFontTx/>
              <a:buChar char="-"/>
            </a:pPr>
            <a:r>
              <a:rPr lang="en-US" sz="1200" b="1" kern="1200" dirty="0">
                <a:solidFill>
                  <a:schemeClr val="tx1"/>
                </a:solidFill>
                <a:effectLst/>
                <a:latin typeface="+mn-lt"/>
                <a:ea typeface="ＭＳ Ｐゴシック" charset="0"/>
                <a:cs typeface="ＭＳ Ｐゴシック" charset="0"/>
              </a:rPr>
              <a:t>Active Threats – Product Involved in Response </a:t>
            </a:r>
            <a:r>
              <a:rPr lang="en-US" sz="1200" kern="1200" dirty="0">
                <a:solidFill>
                  <a:schemeClr val="tx1"/>
                </a:solidFill>
                <a:effectLst/>
                <a:latin typeface="+mn-lt"/>
                <a:ea typeface="ＭＳ Ｐゴシック" charset="0"/>
                <a:cs typeface="ＭＳ Ｐゴシック" charset="0"/>
              </a:rPr>
              <a:t>displays the number incident response that contained information from each one the products used to collect telemetry (AMP4E/TG, SWC and Umbrella). By clicking in one of the products, the portal will launch a filtered list of the incidents that have response information from this product.</a:t>
            </a:r>
          </a:p>
          <a:p>
            <a:pPr marL="171450" indent="-171450">
              <a:buFontTx/>
              <a:buChar char="-"/>
            </a:pPr>
            <a:r>
              <a:rPr lang="en-US" sz="1200" kern="1200" dirty="0">
                <a:solidFill>
                  <a:schemeClr val="tx1"/>
                </a:solidFill>
                <a:effectLst/>
                <a:latin typeface="+mn-lt"/>
                <a:ea typeface="ＭＳ Ｐゴシック" charset="0"/>
                <a:cs typeface="ＭＳ Ｐゴシック" charset="0"/>
              </a:rPr>
              <a:t>The above widgets allow you to realize the value or each Cisco product in both detection of threats and accurate response. Without telemetry from these products, a number of incidents would have not been detected or would have not been investigated properly, which could reduce the effectiveness of the mitigation action.</a:t>
            </a:r>
            <a:br>
              <a:rPr lang="en-US" sz="1200" kern="1200" dirty="0">
                <a:solidFill>
                  <a:schemeClr val="tx1"/>
                </a:solidFill>
                <a:effectLst/>
                <a:latin typeface="+mn-lt"/>
                <a:ea typeface="ＭＳ Ｐゴシック" charset="0"/>
                <a:cs typeface="ＭＳ Ｐゴシック" charset="0"/>
              </a:rPr>
            </a:br>
            <a:endParaRPr lang="en-US" sz="1200" kern="1200" dirty="0">
              <a:solidFill>
                <a:schemeClr val="tx1"/>
              </a:solidFill>
              <a:effectLst/>
              <a:latin typeface="+mn-lt"/>
              <a:ea typeface="ＭＳ Ｐゴシック" charset="0"/>
              <a:cs typeface="ＭＳ Ｐゴシック" charset="0"/>
            </a:endParaRPr>
          </a:p>
          <a:p>
            <a:pPr marL="171450" indent="-171450">
              <a:buFontTx/>
              <a:buChar char="-"/>
            </a:pPr>
            <a:r>
              <a:rPr lang="en-US" sz="1200" b="1" kern="1200" dirty="0">
                <a:solidFill>
                  <a:schemeClr val="tx1"/>
                </a:solidFill>
                <a:effectLst/>
                <a:latin typeface="+mn-lt"/>
                <a:ea typeface="ＭＳ Ｐゴシック" charset="0"/>
                <a:cs typeface="ＭＳ Ｐゴシック" charset="0"/>
              </a:rPr>
              <a:t>Incident State Trending: </a:t>
            </a:r>
            <a:r>
              <a:rPr lang="en-US" sz="1200" kern="1200" dirty="0">
                <a:solidFill>
                  <a:schemeClr val="tx1"/>
                </a:solidFill>
                <a:effectLst/>
                <a:latin typeface="+mn-lt"/>
                <a:ea typeface="ＭＳ Ｐゴシック" charset="0"/>
                <a:cs typeface="ＭＳ Ｐゴシック" charset="0"/>
              </a:rPr>
              <a:t>displays the trending number of incidents by state. As the time passes, we want to keep control over the number of threats in new state to ensure the security policy and monitoring are effectively avoiding the. Majority of threats. We also want to see a consistent number of resolved events meaning the detected threats are being mitigated timely.</a:t>
            </a:r>
          </a:p>
          <a:p>
            <a:pPr marL="171450" indent="-171450">
              <a:buFontTx/>
              <a:buChar char="-"/>
            </a:pPr>
            <a:r>
              <a:rPr lang="en-US" sz="1200" b="1" kern="1200" dirty="0">
                <a:solidFill>
                  <a:schemeClr val="tx1"/>
                </a:solidFill>
                <a:effectLst/>
                <a:latin typeface="+mn-lt"/>
                <a:ea typeface="ＭＳ Ｐゴシック" charset="0"/>
                <a:cs typeface="ＭＳ Ｐゴシック" charset="0"/>
              </a:rPr>
              <a:t>Cyber Threat Kill Chain Trending: </a:t>
            </a:r>
            <a:r>
              <a:rPr lang="en-US" sz="1200" kern="1200" dirty="0">
                <a:solidFill>
                  <a:schemeClr val="tx1"/>
                </a:solidFill>
                <a:effectLst/>
                <a:latin typeface="+mn-lt"/>
                <a:ea typeface="ＭＳ Ｐゴシック" charset="0"/>
                <a:cs typeface="ＭＳ Ｐゴシック" charset="0"/>
              </a:rPr>
              <a:t>displays the number of threats in each stage of the Cyber Threat Kill Chain. This indicates the far in the “lifecycle” of a threat you were able to detect and stop it. You want the majority to be in the early stages of the chain meaning you stopped them before they could actually damage systems, impact business and cause financial losses.</a:t>
            </a:r>
            <a:br>
              <a:rPr lang="en-US" sz="1200" kern="1200" dirty="0">
                <a:solidFill>
                  <a:schemeClr val="tx1"/>
                </a:solidFill>
                <a:effectLst/>
                <a:latin typeface="+mn-lt"/>
                <a:ea typeface="ＭＳ Ｐゴシック" charset="0"/>
                <a:cs typeface="ＭＳ Ｐゴシック" charset="0"/>
              </a:rPr>
            </a:br>
            <a:endParaRPr lang="en-US" sz="1200" kern="1200" dirty="0">
              <a:solidFill>
                <a:schemeClr val="tx1"/>
              </a:solidFill>
              <a:effectLst/>
              <a:latin typeface="+mn-lt"/>
              <a:ea typeface="ＭＳ Ｐゴシック" charset="0"/>
              <a:cs typeface="ＭＳ Ｐゴシック" charset="0"/>
            </a:endParaRPr>
          </a:p>
          <a:p>
            <a:pPr marL="171450" indent="-171450">
              <a:buFontTx/>
              <a:buChar char="-"/>
            </a:pPr>
            <a:r>
              <a:rPr lang="en-US" sz="1200" b="1" kern="1200" dirty="0">
                <a:solidFill>
                  <a:schemeClr val="tx1"/>
                </a:solidFill>
                <a:effectLst/>
                <a:latin typeface="+mn-lt"/>
                <a:ea typeface="ＭＳ Ｐゴシック" charset="0"/>
                <a:cs typeface="ＭＳ Ｐゴシック" charset="0"/>
              </a:rPr>
              <a:t>Access to Product Portals and Incident Response: </a:t>
            </a:r>
            <a:r>
              <a:rPr lang="en-US" sz="1200" kern="1200" dirty="0">
                <a:solidFill>
                  <a:schemeClr val="tx1"/>
                </a:solidFill>
                <a:effectLst/>
                <a:latin typeface="+mn-lt"/>
                <a:ea typeface="ＭＳ Ｐゴシック" charset="0"/>
                <a:cs typeface="ＭＳ Ｐゴシック" charset="0"/>
              </a:rPr>
              <a:t>this is where you can cross-launch the Cisco security products and relevant intel sources to facilitate ongoing research and investigations.</a:t>
            </a:r>
          </a:p>
          <a:p>
            <a:r>
              <a:rPr lang="en-US" sz="1200" kern="1200" dirty="0">
                <a:solidFill>
                  <a:schemeClr val="tx1"/>
                </a:solidFill>
                <a:effectLst/>
                <a:latin typeface="+mn-lt"/>
                <a:ea typeface="ＭＳ Ｐゴシック" charset="0"/>
                <a:cs typeface="ＭＳ Ｐゴシック" charset="0"/>
              </a:rPr>
              <a:t>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14169241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gn="l">
              <a:lnSpc>
                <a:spcPts val="2133"/>
              </a:lnSpc>
              <a:buFont typeface="Arial" panose="020B0604020202020204" pitchFamily="34" charset="0"/>
              <a:buChar char="•"/>
            </a:pPr>
            <a:r>
              <a:rPr lang="en-US" sz="1600" dirty="0">
                <a:solidFill>
                  <a:schemeClr val="accent1"/>
                </a:solidFill>
                <a:latin typeface="CiscoSansTT ExtraLight"/>
              </a:rPr>
              <a:t>Gain higher confidence in threat detection and response capabilities with an expert team, unique intelligence, proven methodologies, and an integrated security architecture to stay ahead of the expanding attack surface and reduce detection and remediation time </a:t>
            </a:r>
            <a:endParaRPr lang="en-US" sz="1600" b="0" i="0" u="none" strike="noStrike" kern="1200" cap="none" dirty="0">
              <a:solidFill>
                <a:schemeClr val="tx1"/>
              </a:solidFill>
              <a:effectLst/>
              <a:latin typeface="Calibri"/>
              <a:ea typeface="ＭＳ Ｐゴシック" charset="0"/>
              <a:cs typeface="ＭＳ Ｐゴシック" charset="0"/>
              <a:sym typeface="Calibri"/>
            </a:endParaRPr>
          </a:p>
          <a:p>
            <a:pPr marL="171450" indent="-171450" defTabSz="457154">
              <a:lnSpc>
                <a:spcPct val="100000"/>
              </a:lnSpc>
              <a:spcBef>
                <a:spcPts val="600"/>
              </a:spcBef>
              <a:spcAft>
                <a:spcPts val="0"/>
              </a:spcAft>
              <a:buClr>
                <a:schemeClr val="bg2"/>
              </a:buClr>
              <a:buFont typeface="Arial" panose="020B0604020202020204" pitchFamily="34" charset="0"/>
              <a:buChar char="•"/>
              <a:defRPr/>
            </a:pPr>
            <a:endParaRPr lang="en-US" sz="1600" b="0" i="0" u="none" strike="noStrike" kern="1200" cap="none" dirty="0">
              <a:solidFill>
                <a:schemeClr val="tx1"/>
              </a:solidFill>
              <a:effectLst/>
              <a:latin typeface="Calibri"/>
              <a:ea typeface="ＭＳ Ｐゴシック" charset="0"/>
              <a:cs typeface="ＭＳ Ｐゴシック" charset="0"/>
              <a:sym typeface="Calibri"/>
            </a:endParaRPr>
          </a:p>
          <a:p>
            <a:pPr marL="171450" indent="-171450" defTabSz="457154">
              <a:lnSpc>
                <a:spcPct val="100000"/>
              </a:lnSpc>
              <a:spcBef>
                <a:spcPts val="600"/>
              </a:spcBef>
              <a:spcAft>
                <a:spcPts val="0"/>
              </a:spcAft>
              <a:buClr>
                <a:schemeClr val="bg2"/>
              </a:buClr>
              <a:buFont typeface="Arial" panose="020B0604020202020204" pitchFamily="34" charset="0"/>
              <a:buChar char="•"/>
              <a:defRPr/>
            </a:pPr>
            <a:r>
              <a:rPr lang="en-US" sz="1600" b="0" i="0" u="none" strike="noStrike" kern="1200" cap="none" dirty="0">
                <a:solidFill>
                  <a:schemeClr val="tx1"/>
                </a:solidFill>
                <a:effectLst/>
                <a:latin typeface="Calibri"/>
                <a:ea typeface="ＭＳ Ｐゴシック" charset="0"/>
                <a:cs typeface="ＭＳ Ｐゴシック" charset="0"/>
                <a:sym typeface="Calibri"/>
              </a:rPr>
              <a:t>Cisco MDR provides Managed Security Detection and Response across cloud, network and endpoints to advance security operations. </a:t>
            </a:r>
            <a:r>
              <a:rPr lang="en-US" sz="1600" b="0" i="0" u="none" strike="noStrike" kern="1200" cap="none" dirty="0">
                <a:solidFill>
                  <a:schemeClr val="tx1"/>
                </a:solidFill>
                <a:effectLst/>
                <a:latin typeface="Calibri"/>
                <a:ea typeface="ＭＳ Ｐゴシック" charset="0"/>
                <a:cs typeface="Calibri"/>
                <a:sym typeface="Calibri"/>
              </a:rPr>
              <a:t>Benefits include: </a:t>
            </a:r>
            <a:endParaRPr lang="en-US" sz="1600" dirty="0">
              <a:solidFill>
                <a:schemeClr val="bg2"/>
              </a:solidFill>
            </a:endParaRPr>
          </a:p>
          <a:p>
            <a:pPr marL="171450" marR="0" lvl="0" indent="-171450" algn="l" defTabSz="457154" rtl="0" eaLnBrk="1" fontAlgn="auto" latinLnBrk="0" hangingPunct="1">
              <a:lnSpc>
                <a:spcPct val="100000"/>
              </a:lnSpc>
              <a:spcBef>
                <a:spcPts val="600"/>
              </a:spcBef>
              <a:spcAft>
                <a:spcPts val="0"/>
              </a:spcAft>
              <a:buClr>
                <a:schemeClr val="bg2"/>
              </a:buClr>
              <a:buSzTx/>
              <a:buFont typeface="Arial" panose="020B0604020202020204" pitchFamily="34" charset="0"/>
              <a:buChar char="•"/>
              <a:tabLst/>
              <a:defRPr/>
            </a:pPr>
            <a:r>
              <a:rPr lang="en-US" sz="1600" dirty="0">
                <a:solidFill>
                  <a:schemeClr val="bg2"/>
                </a:solidFill>
              </a:rPr>
              <a:t>A stronger security posture that protects against threats with an e</a:t>
            </a:r>
            <a:r>
              <a:rPr lang="en-US" sz="1600" dirty="0"/>
              <a:t>xpert team of researchers, investigators, and responders</a:t>
            </a:r>
          </a:p>
          <a:p>
            <a:pPr marL="171450" marR="0" lvl="0" indent="-171450" algn="l" defTabSz="457154" rtl="0" eaLnBrk="1" fontAlgn="auto" latinLnBrk="0" hangingPunct="1">
              <a:lnSpc>
                <a:spcPct val="100000"/>
              </a:lnSpc>
              <a:spcBef>
                <a:spcPts val="600"/>
              </a:spcBef>
              <a:spcAft>
                <a:spcPts val="0"/>
              </a:spcAft>
              <a:buClr>
                <a:schemeClr val="bg2"/>
              </a:buClr>
              <a:buSzTx/>
              <a:buFont typeface="Arial" panose="020B0604020202020204" pitchFamily="34" charset="0"/>
              <a:buChar char="•"/>
              <a:tabLst/>
              <a:defRPr/>
            </a:pPr>
            <a:r>
              <a:rPr lang="en-US" sz="1600" dirty="0">
                <a:solidFill>
                  <a:schemeClr val="bg2"/>
                </a:solidFill>
              </a:rPr>
              <a:t>Advanced security operations with a </a:t>
            </a:r>
            <a:r>
              <a:rPr lang="en-US" sz="1600" dirty="0">
                <a:latin typeface="CiscoSansTT ExtraLight" panose="020B0303020201020303" pitchFamily="34" charset="0"/>
                <a:cs typeface="CiscoSansTT ExtraLight" panose="020B0303020201020303" pitchFamily="34" charset="0"/>
              </a:rPr>
              <a:t>Cisco MDR Threat Intelligence and Automation Platform</a:t>
            </a:r>
          </a:p>
          <a:p>
            <a:pPr marL="171450" indent="-171450" defTabSz="457154">
              <a:lnSpc>
                <a:spcPct val="100000"/>
              </a:lnSpc>
              <a:spcBef>
                <a:spcPts val="300"/>
              </a:spcBef>
              <a:spcAft>
                <a:spcPts val="0"/>
              </a:spcAft>
              <a:buClr>
                <a:schemeClr val="bg2"/>
              </a:buClr>
              <a:buFont typeface="Arial" panose="020B0604020202020204" pitchFamily="34" charset="0"/>
              <a:buChar char="•"/>
              <a:defRPr/>
            </a:pPr>
            <a:r>
              <a:rPr lang="en-US" sz="1600" dirty="0">
                <a:solidFill>
                  <a:schemeClr val="bg2"/>
                </a:solidFill>
              </a:rPr>
              <a:t>Management and prioritization of alert volume across cloud, network and endpoints with defined investigation and response playbooks </a:t>
            </a:r>
          </a:p>
          <a:p>
            <a:pPr marL="171450" indent="-171450" defTabSz="457154">
              <a:lnSpc>
                <a:spcPct val="100000"/>
              </a:lnSpc>
              <a:spcBef>
                <a:spcPts val="300"/>
              </a:spcBef>
              <a:spcAft>
                <a:spcPts val="0"/>
              </a:spcAft>
              <a:buClr>
                <a:schemeClr val="bg2"/>
              </a:buClr>
              <a:buFont typeface="Arial" panose="020B0604020202020204" pitchFamily="34" charset="0"/>
              <a:buChar char="•"/>
              <a:defRPr/>
            </a:pPr>
            <a:r>
              <a:rPr lang="en-US" sz="1600" dirty="0">
                <a:solidFill>
                  <a:schemeClr val="bg2"/>
                </a:solidFill>
              </a:rPr>
              <a:t>Powerful integrated security architecture providing greater visibility</a:t>
            </a:r>
          </a:p>
          <a:p>
            <a:pPr marL="171450" indent="-171450" defTabSz="457154">
              <a:lnSpc>
                <a:spcPct val="100000"/>
              </a:lnSpc>
              <a:spcBef>
                <a:spcPts val="300"/>
              </a:spcBef>
              <a:spcAft>
                <a:spcPts val="0"/>
              </a:spcAft>
              <a:buClr>
                <a:schemeClr val="bg2"/>
              </a:buClr>
              <a:buFont typeface="Arial" panose="020B0604020202020204" pitchFamily="34" charset="0"/>
              <a:buChar char="•"/>
              <a:defRPr/>
            </a:pPr>
            <a:r>
              <a:rPr lang="en-US" sz="1600" dirty="0">
                <a:solidFill>
                  <a:schemeClr val="bg2"/>
                </a:solidFill>
              </a:rPr>
              <a:t>24x7x365 analysis, investigation and response to improve mean-time-to-detect and mean-time to respond to security threats </a:t>
            </a:r>
            <a:endParaRPr lang="en-US" sz="1600" dirty="0">
              <a:solidFill>
                <a:srgbClr val="005073"/>
              </a:solidFill>
              <a:ea typeface="CiscoSans" charset="0"/>
              <a:cs typeface="CiscoSans" charset="0"/>
            </a:endParaRPr>
          </a:p>
        </p:txBody>
      </p:sp>
      <p:sp>
        <p:nvSpPr>
          <p:cNvPr id="4" name="Slide Number Placeholder 3"/>
          <p:cNvSpPr>
            <a:spLocks noGrp="1"/>
          </p:cNvSpPr>
          <p:nvPr>
            <p:ph type="sldNum" idx="12"/>
          </p:nvPr>
        </p:nvSpPr>
        <p:spPr>
          <a:xfrm>
            <a:off x="3884613" y="8685213"/>
            <a:ext cx="2971800" cy="457200"/>
          </a:xfrm>
          <a:prstGeom prst="rect">
            <a:avLst/>
          </a:prstGeom>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605446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ＭＳ Ｐゴシック"/>
                <a:cs typeface="Calibri"/>
              </a:rPr>
              <a:t>Managed Detection and Response</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a:ln>
                  <a:noFill/>
                </a:ln>
                <a:solidFill>
                  <a:prstClr val="black"/>
                </a:solidFill>
                <a:effectLst/>
                <a:uLnTx/>
                <a:uFillTx/>
                <a:latin typeface="Calibri"/>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39305787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there are a lot of questions that need to be answered once an incident comes to the MDR SOC:</a:t>
            </a:r>
          </a:p>
          <a:p>
            <a:endParaRPr lang="en-US" dirty="0"/>
          </a:p>
          <a:p>
            <a:r>
              <a:rPr lang="en-US" sz="1200" b="0" i="0" u="none" strike="noStrike" kern="1200" dirty="0">
                <a:solidFill>
                  <a:schemeClr val="tx1"/>
                </a:solidFill>
                <a:effectLst/>
                <a:latin typeface="+mn-lt"/>
                <a:ea typeface="+mn-ea"/>
                <a:cs typeface="+mn-cs"/>
              </a:rPr>
              <a:t>Question #1 – Do we care about this threat. Look at Threat Grid to understand the risk. Okay, it’s bad. Let’s trigger a response.</a:t>
            </a:r>
          </a:p>
          <a:p>
            <a:r>
              <a:rPr lang="en-US" sz="1200" b="0" i="0" u="none" strike="noStrike" kern="1200" dirty="0">
                <a:solidFill>
                  <a:schemeClr val="tx1"/>
                </a:solidFill>
                <a:effectLst/>
                <a:latin typeface="+mn-lt"/>
                <a:ea typeface="+mn-ea"/>
                <a:cs typeface="+mn-cs"/>
              </a:rPr>
              <a:t>Question #2 – What were the endpoints that had this specific file (CTR showing AMP for Endpoints data).</a:t>
            </a:r>
          </a:p>
          <a:p>
            <a:r>
              <a:rPr lang="en-US" sz="1200" b="0" i="0" u="none" strike="noStrike" kern="1200" dirty="0">
                <a:solidFill>
                  <a:schemeClr val="tx1"/>
                </a:solidFill>
                <a:effectLst/>
                <a:latin typeface="+mn-lt"/>
                <a:ea typeface="+mn-ea"/>
                <a:cs typeface="+mn-cs"/>
              </a:rPr>
              <a:t>Question #3 – Who was patient 0? (Device trajectory in AMP for Endpoi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Question #4 – </a:t>
            </a:r>
            <a:r>
              <a:rPr lang="en-US" sz="1200" dirty="0">
                <a:solidFill>
                  <a:schemeClr val="bg1"/>
                </a:solidFill>
              </a:rPr>
              <a:t>Are there any related attacks or attack components we need to be concerned with? </a:t>
            </a:r>
            <a:r>
              <a:rPr lang="en-US" sz="1200" b="0" i="0" u="none" strike="noStrike" kern="1200" dirty="0">
                <a:solidFill>
                  <a:schemeClr val="tx1"/>
                </a:solidFill>
                <a:effectLst/>
                <a:latin typeface="+mn-lt"/>
                <a:ea typeface="+mn-ea"/>
                <a:cs typeface="+mn-cs"/>
              </a:rPr>
              <a:t>(should confirm #2, check alarms in </a:t>
            </a:r>
            <a:r>
              <a:rPr lang="en-US" sz="1200" b="0" i="0" u="none" strike="noStrike" kern="1200" dirty="0" err="1">
                <a:solidFill>
                  <a:schemeClr val="tx1"/>
                </a:solidFill>
                <a:effectLst/>
                <a:latin typeface="+mn-lt"/>
                <a:ea typeface="+mn-ea"/>
                <a:cs typeface="+mn-cs"/>
              </a:rPr>
              <a:t>Stealthwatch</a:t>
            </a:r>
            <a:r>
              <a:rPr lang="en-US" sz="1200" b="0" i="0" u="none" strike="noStrike" kern="1200" dirty="0">
                <a:solidFill>
                  <a:schemeClr val="tx1"/>
                </a:solidFill>
                <a:effectLst/>
                <a:latin typeface="+mn-lt"/>
                <a:ea typeface="+mn-ea"/>
                <a:cs typeface="+mn-cs"/>
              </a:rPr>
              <a:t>).</a:t>
            </a:r>
          </a:p>
          <a:p>
            <a:r>
              <a:rPr lang="en-US" sz="1200" b="0" i="0" u="none" strike="noStrike" kern="1200" dirty="0">
                <a:solidFill>
                  <a:schemeClr val="tx1"/>
                </a:solidFill>
                <a:effectLst/>
                <a:latin typeface="+mn-lt"/>
                <a:ea typeface="+mn-ea"/>
                <a:cs typeface="+mn-cs"/>
              </a:rPr>
              <a:t>Question #5 – How else could we identify the source of the attack? (Umbrella)</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Transition</a:t>
            </a: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u="none" strike="noStrike" kern="1200" dirty="0">
                <a:solidFill>
                  <a:schemeClr val="tx1"/>
                </a:solidFill>
                <a:effectLst/>
                <a:latin typeface="+mn-lt"/>
                <a:ea typeface="+mn-ea"/>
                <a:cs typeface="+mn-cs"/>
              </a:rPr>
              <a:t>- To start with, let’s take a look at how </a:t>
            </a:r>
            <a:r>
              <a:rPr lang="en-US" dirty="0">
                <a:ea typeface="ＭＳ Ｐゴシック"/>
                <a:cs typeface="Calibri"/>
              </a:rPr>
              <a:t>an event flows through the MDR Threat Intelligence platform. </a:t>
            </a:r>
          </a:p>
          <a:p>
            <a:endParaRPr lang="en-US"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23F1F74B-6F9F-BF4F-8BE3-791A5C7DE20B}"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Arial"/>
                <a:sym typeface="Arial"/>
              </a:rPr>
              <a:pPr marL="0" marR="0" lvl="0" indent="0" algn="r" defTabSz="457200"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Arial"/>
              <a:sym typeface="Arial"/>
            </a:endParaRPr>
          </a:p>
        </p:txBody>
      </p:sp>
    </p:spTree>
    <p:extLst>
      <p:ext uri="{BB962C8B-B14F-4D97-AF65-F5344CB8AC3E}">
        <p14:creationId xmlns:p14="http://schemas.microsoft.com/office/powerpoint/2010/main" val="17263813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With over 25 plus years of innovation leadership… </a:t>
            </a:r>
          </a:p>
          <a:p>
            <a:pPr marL="112713" lvl="3" indent="-112713" defTabSz="914286">
              <a:buFont typeface="Arial"/>
              <a:buChar char="•"/>
            </a:pPr>
            <a:r>
              <a:rPr lang="en-US" sz="1100" dirty="0">
                <a:solidFill>
                  <a:srgbClr val="FFFFFF"/>
                </a:solidFill>
                <a:latin typeface="CiscoSansTT Light" panose="020B0503020201020303" pitchFamily="34" charset="0"/>
                <a:cs typeface="CiscoSansTT Light" panose="020B0503020201020303" pitchFamily="34" charset="0"/>
              </a:rPr>
              <a:t>Consistent, global capabilities with local presence </a:t>
            </a:r>
          </a:p>
          <a:p>
            <a:pPr marL="628650" lvl="1" indent="-171450">
              <a:buFont typeface="Arial" panose="020B0604020202020204" pitchFamily="34" charset="0"/>
              <a:buChar char="•"/>
            </a:pPr>
            <a:r>
              <a:rPr lang="en-US" u="none" baseline="0" dirty="0"/>
              <a:t>With </a:t>
            </a:r>
            <a:r>
              <a:rPr lang="en-US" u="none" dirty="0"/>
              <a:t>Network Operation Centers across</a:t>
            </a:r>
            <a:r>
              <a:rPr lang="en-US" u="none" baseline="0" dirty="0"/>
              <a:t> the U.S., and in China, Belgium, Argentina, India, and more</a:t>
            </a:r>
          </a:p>
          <a:p>
            <a:pPr marL="628650" lvl="1" indent="-171450">
              <a:buFont typeface="Arial" panose="020B0604020202020204" pitchFamily="34" charset="0"/>
              <a:buChar char="•"/>
            </a:pPr>
            <a:r>
              <a:rPr lang="en-US" u="none" baseline="0" dirty="0"/>
              <a:t>Security Operation Centers in North Carolina, US, Krakow Poland, Tokyo, Japan and Bangalore India</a:t>
            </a:r>
          </a:p>
          <a:p>
            <a:pPr marL="628650" lvl="1" indent="-171450">
              <a:buFont typeface="Arial" panose="020B0604020202020204" pitchFamily="34" charset="0"/>
              <a:buChar char="•"/>
            </a:pPr>
            <a:r>
              <a:rPr lang="en-US" u="none" baseline="0" dirty="0"/>
              <a:t>And Data Centers in Texas, India and Amsterdam to name a few </a:t>
            </a:r>
            <a:endParaRPr lang="en-US" sz="1200" b="0" i="0" u="none" strike="noStrike" kern="1200" cap="none" baseline="0" dirty="0">
              <a:solidFill>
                <a:schemeClr val="tx1"/>
              </a:solidFill>
              <a:effectLst/>
              <a:latin typeface="+mn-lt"/>
              <a:ea typeface="ＭＳ Ｐゴシック" charset="0"/>
              <a:cs typeface="+mn-cs"/>
            </a:endParaRPr>
          </a:p>
          <a:p>
            <a:pPr marL="0" lvl="0" indent="0">
              <a:buFont typeface="Arial" panose="020B0604020202020204" pitchFamily="34" charset="0"/>
              <a:buNone/>
            </a:pPr>
            <a:endParaRPr lang="en-US" sz="1200" b="0" i="0" u="none" strike="noStrike" kern="1200" cap="none" baseline="0" dirty="0">
              <a:solidFill>
                <a:schemeClr val="tx1"/>
              </a:solidFill>
              <a:effectLst/>
              <a:latin typeface="+mn-lt"/>
              <a:ea typeface="ＭＳ Ｐゴシック" charset="0"/>
              <a:cs typeface="+mn-cs"/>
              <a:sym typeface="Calibri"/>
            </a:endParaRP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kern="1200" dirty="0">
                <a:solidFill>
                  <a:schemeClr val="tx1"/>
                </a:solidFill>
                <a:effectLst/>
                <a:latin typeface="+mn-lt"/>
                <a:ea typeface="ＭＳ Ｐゴシック" charset="0"/>
                <a:cs typeface="ＭＳ Ｐゴシック" charset="0"/>
              </a:rPr>
              <a:t>Our best resource is our people with 2,200 world-class specialists. Our services and solutions are delivered by highly trained, experienced Cisco experts who are focused on your business and understand our customers challenges and objectives. World-class specialists provide support, and they have direct access to Cisco developers, business units, and product development teams. </a:t>
            </a:r>
            <a:endParaRPr lang="en-GB" sz="1200" b="0" i="0" u="none" strike="noStrike" kern="1200" cap="none" dirty="0">
              <a:solidFill>
                <a:schemeClr val="tx1"/>
              </a:solidFill>
              <a:effectLst/>
              <a:latin typeface="Calibri"/>
              <a:ea typeface="ＭＳ Ｐゴシック" charset="0"/>
              <a:cs typeface="ＭＳ Ｐゴシック" charset="0"/>
              <a:sym typeface="Calibri"/>
            </a:endParaRP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Cisco Managed Services manages over one million devices for companies in 175 countries and 38 different industries.</a:t>
            </a:r>
            <a:endParaRPr lang="en-GB" sz="1200" b="0" i="0" u="none" strike="noStrike" kern="1200" cap="none" dirty="0">
              <a:solidFill>
                <a:schemeClr val="tx1"/>
              </a:solidFill>
              <a:effectLst/>
              <a:latin typeface="Calibri"/>
              <a:ea typeface="ＭＳ Ｐゴシック" charset="0"/>
              <a:cs typeface="ＭＳ Ｐゴシック" charset="0"/>
              <a:sym typeface="Calibri"/>
            </a:endParaRP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53% of these companies are ranked in the Fortune 500, employing over 6 million people and generating 3.3 trillion dollars in annual revenue. </a:t>
            </a:r>
            <a:endParaRPr lang="en-GB" sz="1200" b="0" i="0" u="none" strike="noStrike" kern="1200" cap="none" dirty="0">
              <a:solidFill>
                <a:schemeClr val="tx1"/>
              </a:solidFill>
              <a:effectLst/>
              <a:latin typeface="Calibri"/>
              <a:ea typeface="ＭＳ Ｐゴシック" charset="0"/>
              <a:cs typeface="ＭＳ Ｐゴシック" charset="0"/>
              <a:sym typeface="Calibri"/>
            </a:endParaRP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With a customer renewal rate of 93% as of 2018</a:t>
            </a:r>
            <a:endParaRPr lang="en-GB" sz="1200" b="0" i="0" u="none" strike="noStrike" kern="1200" cap="none" dirty="0">
              <a:solidFill>
                <a:schemeClr val="tx1"/>
              </a:solidFill>
              <a:effectLst/>
              <a:latin typeface="Calibri"/>
              <a:ea typeface="ＭＳ Ｐゴシック" charset="0"/>
              <a:cs typeface="ＭＳ Ｐゴシック" charset="0"/>
              <a:sym typeface="Calibri"/>
            </a:endParaRPr>
          </a:p>
          <a:p>
            <a:pPr marL="17145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We understand the operational model, and how to deliver effective managed operations.</a:t>
            </a:r>
            <a:endParaRPr lang="en-US" sz="1200" b="0" i="0" u="none" strike="noStrike" cap="none" dirty="0">
              <a:solidFill>
                <a:schemeClr val="dk1"/>
              </a:solidFill>
              <a:latin typeface="Calibri"/>
              <a:ea typeface="Calibri"/>
              <a:cs typeface="Calibri"/>
              <a:sym typeface="Calibri"/>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4</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9739634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defRPr/>
            </a:pPr>
            <a:endParaRPr lang="en-US" sz="1200" dirty="0">
              <a:solidFill>
                <a:srgbClr val="005073"/>
              </a:solidFill>
            </a:endParaRPr>
          </a:p>
          <a:p>
            <a:pPr marL="0" lvl="0" indent="0">
              <a:buFont typeface="Arial" panose="020B0604020202020204" pitchFamily="34" charset="0"/>
              <a:buNone/>
              <a:defRPr/>
            </a:pPr>
            <a:r>
              <a:rPr lang="en-US" sz="1200" dirty="0">
                <a:solidFill>
                  <a:srgbClr val="005073"/>
                </a:solidFill>
              </a:rPr>
              <a:t>1.  Infected system joins the network </a:t>
            </a:r>
          </a:p>
          <a:p>
            <a:pPr marL="228600" lvl="0" indent="-228600">
              <a:buFont typeface="Arial" panose="020B0604020202020204" pitchFamily="34" charset="0"/>
              <a:buAutoNum type="arabicPeriod" startAt="2"/>
              <a:defRPr/>
            </a:pPr>
            <a:r>
              <a:rPr lang="en-US" sz="1200" dirty="0">
                <a:solidFill>
                  <a:srgbClr val="005073"/>
                </a:solidFill>
              </a:rPr>
              <a:t>That system would build connection to the cloud large icon or potentially 100’s of others until it is successful in building the connection</a:t>
            </a:r>
          </a:p>
          <a:p>
            <a:pPr marL="228600" lvl="0" indent="-228600">
              <a:buFont typeface="Arial" panose="020B0604020202020204" pitchFamily="34" charset="0"/>
              <a:buAutoNum type="arabicPeriod" startAt="2"/>
              <a:defRPr/>
            </a:pPr>
            <a:r>
              <a:rPr lang="en-US" sz="1200" dirty="0">
                <a:solidFill>
                  <a:srgbClr val="005073"/>
                </a:solidFill>
              </a:rPr>
              <a:t>With new instructions that host may execute a phishing attack to other users within the domain through the use of a valid user account  - Then send the email to the dark blue system </a:t>
            </a:r>
          </a:p>
          <a:p>
            <a:pPr marL="228600" lvl="0" indent="-228600">
              <a:buFont typeface="Arial" panose="020B0604020202020204" pitchFamily="34" charset="0"/>
              <a:buAutoNum type="arabicPeriod" startAt="2"/>
              <a:defRPr/>
            </a:pPr>
            <a:r>
              <a:rPr lang="en-US" sz="1200" dirty="0">
                <a:solidFill>
                  <a:srgbClr val="005073"/>
                </a:solidFill>
              </a:rPr>
              <a:t>And that system or systems would then begin the same activity of building connections externally for new instructions and potentially damaging malware including data exfiltration.  - the second system builds connections to the clouds</a:t>
            </a:r>
          </a:p>
          <a:p>
            <a:pPr marL="228600" lvl="0" indent="-228600">
              <a:buFont typeface="Arial" panose="020B0604020202020204" pitchFamily="34" charset="0"/>
              <a:buAutoNum type="arabicPeriod" startAt="2"/>
              <a:defRPr/>
            </a:pPr>
            <a:r>
              <a:rPr lang="en-US" sz="1200" dirty="0">
                <a:solidFill>
                  <a:srgbClr val="005073"/>
                </a:solidFill>
              </a:rPr>
              <a:t>The systems at the right appear to indicate the potential exfiltration of data. </a:t>
            </a:r>
          </a:p>
          <a:p>
            <a:pPr marL="0" lvl="0" indent="0">
              <a:buFont typeface="Arial" panose="020B0604020202020204" pitchFamily="34" charset="0"/>
              <a:buNone/>
              <a:defRPr/>
            </a:pPr>
            <a:endParaRPr lang="en-US" sz="1200" dirty="0">
              <a:solidFill>
                <a:srgbClr val="005073"/>
              </a:solidFill>
            </a:endParaRPr>
          </a:p>
          <a:p>
            <a:pPr marL="0" marR="0" lvl="0" indent="0" algn="l" defTabSz="311150" rtl="0" eaLnBrk="1" fontAlgn="base" latinLnBrk="0" hangingPunct="1">
              <a:lnSpc>
                <a:spcPct val="90000"/>
              </a:lnSpc>
              <a:spcBef>
                <a:spcPct val="0"/>
              </a:spcBef>
              <a:spcAft>
                <a:spcPct val="3500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chemeClr val="bg1"/>
              </a:solidFill>
              <a:effectLst/>
              <a:uLnTx/>
              <a:uFillTx/>
              <a:latin typeface="CiscoSansTT ExtraLigh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199FC812-0A61-DE48-A664-54282C3D37E3}"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Arial"/>
                <a:sym typeface="Arial"/>
              </a:rPr>
              <a:pPr marL="0" marR="0" lvl="0" indent="0" algn="r" defTabSz="457200"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Arial"/>
              <a:sym typeface="Arial"/>
            </a:endParaRPr>
          </a:p>
        </p:txBody>
      </p:sp>
    </p:spTree>
    <p:extLst>
      <p:ext uri="{BB962C8B-B14F-4D97-AF65-F5344CB8AC3E}">
        <p14:creationId xmlns:p14="http://schemas.microsoft.com/office/powerpoint/2010/main" val="11290395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0" fontAlgn="base" latinLnBrk="0" hangingPunct="0">
              <a:lnSpc>
                <a:spcPct val="100000"/>
              </a:lnSpc>
              <a:spcBef>
                <a:spcPct val="30000"/>
              </a:spcBef>
              <a:spcAft>
                <a:spcPct val="0"/>
              </a:spcAft>
              <a:buClrTx/>
              <a:buSzTx/>
              <a:buFontTx/>
              <a:buChar char="-"/>
              <a:tabLst/>
              <a:defRPr/>
            </a:pPr>
            <a:r>
              <a:rPr lang="en-US" sz="1200" b="0" kern="1200" dirty="0">
                <a:solidFill>
                  <a:schemeClr val="tx1"/>
                </a:solidFill>
                <a:effectLst/>
                <a:latin typeface="+mn-lt"/>
                <a:ea typeface="ＭＳ Ｐゴシック" charset="0"/>
                <a:cs typeface="ＭＳ Ｐゴシック" charset="0"/>
              </a:rPr>
              <a:t>The </a:t>
            </a:r>
            <a:r>
              <a:rPr lang="en-US" sz="1200" kern="1200" dirty="0">
                <a:solidFill>
                  <a:schemeClr val="tx1"/>
                </a:solidFill>
                <a:effectLst/>
                <a:latin typeface="+mn-lt"/>
                <a:ea typeface="ＭＳ Ｐゴシック" charset="0"/>
                <a:cs typeface="ＭＳ Ｐゴシック" charset="0"/>
              </a:rPr>
              <a:t>lifecycle of a use case is broken down into four phases – and I will cover what happens in each step from the time a threat is detected and an alarm is triggered to what takes place during the analysis, investigation and lastly the response.  </a:t>
            </a:r>
            <a:br>
              <a:rPr lang="en-US" sz="1200" kern="1200" dirty="0">
                <a:solidFill>
                  <a:schemeClr val="tx1"/>
                </a:solidFill>
                <a:effectLst/>
                <a:latin typeface="+mn-lt"/>
                <a:ea typeface="ＭＳ Ｐゴシック" charset="0"/>
                <a:cs typeface="ＭＳ Ｐゴシック" charset="0"/>
              </a:rPr>
            </a:br>
            <a:endParaRPr lang="en-US" sz="1200" kern="1200" dirty="0">
              <a:solidFill>
                <a:schemeClr val="tx1"/>
              </a:solidFill>
              <a:effectLst/>
              <a:latin typeface="+mn-lt"/>
              <a:ea typeface="ＭＳ Ｐゴシック" charset="0"/>
              <a:cs typeface="ＭＳ Ｐゴシック" charset="0"/>
            </a:endParaRPr>
          </a:p>
          <a:p>
            <a:pPr marL="171450" indent="-171450">
              <a:buFontTx/>
              <a:buChar char="-"/>
              <a:defRPr/>
            </a:pPr>
            <a:r>
              <a:rPr lang="en-US" sz="1200" kern="1200" dirty="0">
                <a:solidFill>
                  <a:schemeClr val="tx1"/>
                </a:solidFill>
                <a:effectLst/>
                <a:latin typeface="+mn-lt"/>
                <a:ea typeface="ＭＳ Ｐゴシック"/>
                <a:cs typeface="Calibri"/>
              </a:rPr>
              <a:t>The </a:t>
            </a:r>
            <a:r>
              <a:rPr lang="en-US" sz="1200" b="1" kern="1200" dirty="0">
                <a:solidFill>
                  <a:schemeClr val="tx1"/>
                </a:solidFill>
                <a:effectLst/>
                <a:latin typeface="+mn-lt"/>
                <a:ea typeface="ＭＳ Ｐゴシック"/>
                <a:cs typeface="Calibri"/>
              </a:rPr>
              <a:t>Detection Phase </a:t>
            </a:r>
            <a:r>
              <a:rPr lang="en-US" sz="1200" kern="1200" dirty="0">
                <a:solidFill>
                  <a:schemeClr val="tx1"/>
                </a:solidFill>
                <a:effectLst/>
                <a:latin typeface="+mn-lt"/>
                <a:ea typeface="ＭＳ Ｐゴシック"/>
                <a:cs typeface="Calibri"/>
              </a:rPr>
              <a:t>is driven by </a:t>
            </a:r>
            <a:r>
              <a:rPr lang="en-US" dirty="0">
                <a:ea typeface="ＭＳ Ｐゴシック"/>
                <a:cs typeface="Calibri"/>
              </a:rPr>
              <a:t>one of several possibilities:</a:t>
            </a:r>
          </a:p>
          <a:p>
            <a:pPr marL="171450" indent="-171450">
              <a:buFontTx/>
              <a:buChar char="-"/>
              <a:defRPr/>
            </a:pPr>
            <a:r>
              <a:rPr lang="en-US" dirty="0">
                <a:ea typeface="ＭＳ Ｐゴシック"/>
                <a:cs typeface="Calibri"/>
              </a:rPr>
              <a:t>Directly by the</a:t>
            </a:r>
            <a:r>
              <a:rPr lang="en-US" sz="1200" kern="1200" dirty="0">
                <a:solidFill>
                  <a:schemeClr val="tx1"/>
                </a:solidFill>
                <a:effectLst/>
                <a:latin typeface="+mn-lt"/>
                <a:ea typeface="ＭＳ Ｐゴシック"/>
                <a:cs typeface="Calibri"/>
              </a:rPr>
              <a:t> telemetry from our four security technologies.</a:t>
            </a:r>
            <a:endParaRPr lang="en-US" dirty="0"/>
          </a:p>
          <a:p>
            <a:pPr marL="171450" indent="-171450">
              <a:buFontTx/>
              <a:buChar char="-"/>
              <a:defRPr/>
            </a:pPr>
            <a:r>
              <a:rPr lang="en-US" dirty="0">
                <a:ea typeface="ＭＳ Ｐゴシック"/>
                <a:cs typeface="Calibri"/>
              </a:rPr>
              <a:t>By </a:t>
            </a:r>
            <a:r>
              <a:rPr lang="en-US" sz="1200" kern="1200" dirty="0">
                <a:solidFill>
                  <a:schemeClr val="tx1"/>
                </a:solidFill>
                <a:effectLst/>
                <a:latin typeface="+mn-lt"/>
                <a:ea typeface="ＭＳ Ｐゴシック"/>
                <a:cs typeface="Calibri"/>
              </a:rPr>
              <a:t>correlation – where we look for not just </a:t>
            </a:r>
            <a:r>
              <a:rPr lang="en-US" dirty="0">
                <a:ea typeface="ＭＳ Ｐゴシック"/>
                <a:cs typeface="Calibri"/>
              </a:rPr>
              <a:t>for a</a:t>
            </a:r>
            <a:r>
              <a:rPr lang="en-US" sz="1200" kern="1200" dirty="0">
                <a:solidFill>
                  <a:schemeClr val="tx1"/>
                </a:solidFill>
                <a:effectLst/>
                <a:latin typeface="+mn-lt"/>
                <a:ea typeface="ＭＳ Ｐゴシック"/>
                <a:cs typeface="Calibri"/>
              </a:rPr>
              <a:t> single event</a:t>
            </a:r>
            <a:r>
              <a:rPr lang="en-US" dirty="0">
                <a:ea typeface="ＭＳ Ｐゴシック"/>
                <a:cs typeface="Calibri"/>
              </a:rPr>
              <a:t>,</a:t>
            </a:r>
            <a:r>
              <a:rPr lang="en-US" sz="1200" kern="1200" dirty="0">
                <a:solidFill>
                  <a:schemeClr val="tx1"/>
                </a:solidFill>
                <a:effectLst/>
                <a:latin typeface="+mn-lt"/>
                <a:ea typeface="ＭＳ Ｐゴシック"/>
                <a:cs typeface="Calibri"/>
              </a:rPr>
              <a:t> but </a:t>
            </a:r>
            <a:r>
              <a:rPr lang="en-US" dirty="0">
                <a:ea typeface="ＭＳ Ｐゴシック"/>
                <a:cs typeface="Calibri"/>
              </a:rPr>
              <a:t>for </a:t>
            </a:r>
            <a:r>
              <a:rPr lang="en-US" sz="1200" kern="1200" dirty="0">
                <a:solidFill>
                  <a:schemeClr val="tx1"/>
                </a:solidFill>
                <a:effectLst/>
                <a:latin typeface="+mn-lt"/>
                <a:ea typeface="ＭＳ Ｐゴシック"/>
                <a:cs typeface="Calibri"/>
              </a:rPr>
              <a:t>a combination or a series of </a:t>
            </a:r>
            <a:r>
              <a:rPr lang="en-US" dirty="0">
                <a:ea typeface="ＭＳ Ｐゴシック"/>
                <a:cs typeface="Calibri"/>
              </a:rPr>
              <a:t>events</a:t>
            </a:r>
            <a:endParaRPr lang="en-US" dirty="0">
              <a:cs typeface="Calibri"/>
            </a:endParaRPr>
          </a:p>
          <a:p>
            <a:pPr marL="171450" indent="-171450">
              <a:buFontTx/>
              <a:buChar char="-"/>
              <a:defRPr/>
            </a:pPr>
            <a:r>
              <a:rPr lang="en-US" dirty="0">
                <a:ea typeface="ＭＳ Ｐゴシック"/>
                <a:cs typeface="Calibri"/>
              </a:rPr>
              <a:t>Threat</a:t>
            </a:r>
            <a:r>
              <a:rPr lang="en-US" sz="1200" kern="1200" dirty="0">
                <a:solidFill>
                  <a:schemeClr val="tx1"/>
                </a:solidFill>
                <a:effectLst/>
                <a:latin typeface="+mn-lt"/>
                <a:ea typeface="ＭＳ Ｐゴシック"/>
                <a:cs typeface="Calibri"/>
              </a:rPr>
              <a:t> intelligence</a:t>
            </a:r>
            <a:r>
              <a:rPr lang="en-US" dirty="0">
                <a:ea typeface="ＭＳ Ｐゴシック"/>
                <a:cs typeface="Calibri"/>
              </a:rPr>
              <a:t> or</a:t>
            </a:r>
            <a:endParaRPr lang="en-US" dirty="0">
              <a:cs typeface="Calibri"/>
            </a:endParaRPr>
          </a:p>
          <a:p>
            <a:pPr marL="171450" indent="-171450">
              <a:buFontTx/>
              <a:buChar char="-"/>
              <a:defRPr/>
            </a:pPr>
            <a:r>
              <a:rPr lang="en-US" dirty="0">
                <a:ea typeface="ＭＳ Ｐゴシック"/>
                <a:cs typeface="Calibri"/>
              </a:rPr>
              <a:t>Machine</a:t>
            </a:r>
            <a:r>
              <a:rPr lang="en-US" sz="1200" kern="1200" dirty="0">
                <a:solidFill>
                  <a:schemeClr val="tx1"/>
                </a:solidFill>
                <a:effectLst/>
                <a:latin typeface="+mn-lt"/>
                <a:ea typeface="ＭＳ Ｐゴシック"/>
                <a:cs typeface="Calibri"/>
              </a:rPr>
              <a:t> learning</a:t>
            </a:r>
            <a:endParaRPr lang="en-US" sz="1200" kern="1200" dirty="0">
              <a:solidFill>
                <a:schemeClr val="tx1"/>
              </a:solidFill>
              <a:effectLst/>
              <a:latin typeface="+mn-lt"/>
              <a:ea typeface="ＭＳ Ｐゴシック" charset="0"/>
              <a:cs typeface="Calibri"/>
            </a:endParaRPr>
          </a:p>
          <a:p>
            <a:pPr marL="171450" indent="-171450">
              <a:buFontTx/>
              <a:buChar char="-"/>
              <a:defRPr/>
            </a:pPr>
            <a:endParaRPr lang="en-US" dirty="0">
              <a:ea typeface="ＭＳ Ｐゴシック"/>
              <a:cs typeface="+mn-lt"/>
            </a:endParaRPr>
          </a:p>
          <a:p>
            <a:pPr marL="171450" indent="-171450">
              <a:buFontTx/>
              <a:buChar char="-"/>
              <a:defRPr/>
            </a:pPr>
            <a:r>
              <a:rPr lang="en-US" dirty="0">
                <a:ea typeface="ＭＳ Ｐゴシック"/>
                <a:cs typeface="Calibri"/>
              </a:rPr>
              <a:t>Once the detection occurs, we move into the </a:t>
            </a:r>
            <a:r>
              <a:rPr lang="en-US" sz="1200" b="1" kern="1200" dirty="0">
                <a:solidFill>
                  <a:schemeClr val="tx1"/>
                </a:solidFill>
                <a:effectLst/>
                <a:latin typeface="+mn-lt"/>
                <a:ea typeface="ＭＳ Ｐゴシック"/>
                <a:cs typeface="Calibri"/>
              </a:rPr>
              <a:t>Analysis Phase</a:t>
            </a:r>
            <a:r>
              <a:rPr lang="en-US" b="1" dirty="0">
                <a:ea typeface="ＭＳ Ｐゴシック"/>
                <a:cs typeface="Calibri"/>
              </a:rPr>
              <a:t>.</a:t>
            </a:r>
          </a:p>
          <a:p>
            <a:pPr marL="171450" indent="-171450">
              <a:buFontTx/>
              <a:buChar char="-"/>
              <a:defRPr/>
            </a:pPr>
            <a:r>
              <a:rPr lang="en-US" dirty="0">
                <a:ea typeface="ＭＳ Ｐゴシック"/>
                <a:cs typeface="Calibri"/>
              </a:rPr>
              <a:t>This phase </a:t>
            </a:r>
            <a:r>
              <a:rPr lang="en-US" sz="1200" kern="1200" dirty="0">
                <a:solidFill>
                  <a:schemeClr val="tx1"/>
                </a:solidFill>
                <a:effectLst/>
                <a:latin typeface="+mn-lt"/>
                <a:ea typeface="ＭＳ Ｐゴシック"/>
                <a:cs typeface="Calibri"/>
              </a:rPr>
              <a:t>is all about </a:t>
            </a:r>
            <a:r>
              <a:rPr lang="en-US" dirty="0">
                <a:ea typeface="ＭＳ Ｐゴシック"/>
                <a:cs typeface="Calibri"/>
              </a:rPr>
              <a:t>information gathering. </a:t>
            </a:r>
          </a:p>
          <a:p>
            <a:pPr marL="171450" indent="-171450">
              <a:buFontTx/>
              <a:buChar char="-"/>
              <a:defRPr/>
            </a:pPr>
            <a:r>
              <a:rPr lang="en-US" dirty="0">
                <a:ea typeface="ＭＳ Ｐゴシック"/>
                <a:cs typeface="Calibri"/>
              </a:rPr>
              <a:t>This is where the first round of automations occur where we start to bring in enrichments and attribution information, and identify related activity.</a:t>
            </a:r>
            <a:endParaRPr lang="en-US" dirty="0"/>
          </a:p>
          <a:p>
            <a:pPr marL="171450" marR="0" lvl="0" indent="-171450" algn="l" defTabSz="457200" rtl="0" eaLnBrk="0" fontAlgn="base" latinLnBrk="0" hangingPunct="0">
              <a:lnSpc>
                <a:spcPct val="100000"/>
              </a:lnSpc>
              <a:spcBef>
                <a:spcPct val="30000"/>
              </a:spcBef>
              <a:spcAft>
                <a:spcPct val="0"/>
              </a:spcAft>
              <a:buClrTx/>
              <a:buSzTx/>
              <a:buFontTx/>
              <a:buChar char="-"/>
              <a:tabLst/>
              <a:defRPr/>
            </a:pPr>
            <a:r>
              <a:rPr lang="en-US" dirty="0">
                <a:ea typeface="ＭＳ Ｐゴシック"/>
                <a:cs typeface="Calibri"/>
              </a:rPr>
              <a:t>The goal is to gather enough information to allow the Cisco Threat Investigator to answer one question, "Does this event need to be brought to the attention of the customer?“ A ticket is then created. </a:t>
            </a:r>
            <a:br>
              <a:rPr lang="en-US" dirty="0">
                <a:ea typeface="ＭＳ Ｐゴシック"/>
                <a:cs typeface="Calibri"/>
              </a:rPr>
            </a:br>
            <a:endParaRPr lang="en-US" dirty="0">
              <a:ea typeface="ＭＳ Ｐゴシック"/>
              <a:cs typeface="Calibri"/>
            </a:endParaRPr>
          </a:p>
          <a:p>
            <a:pPr marL="171450" indent="-171450">
              <a:buFontTx/>
              <a:buChar char="-"/>
              <a:defRPr/>
            </a:pPr>
            <a:r>
              <a:rPr lang="en-US" dirty="0">
                <a:ea typeface="ＭＳ Ｐゴシック"/>
                <a:cs typeface="Calibri"/>
              </a:rPr>
              <a:t>In the </a:t>
            </a:r>
            <a:r>
              <a:rPr lang="en-US" b="1" dirty="0">
                <a:ea typeface="ＭＳ Ｐゴシック"/>
                <a:cs typeface="Calibri"/>
              </a:rPr>
              <a:t>Investigation Phase</a:t>
            </a:r>
            <a:r>
              <a:rPr lang="en-US" dirty="0">
                <a:ea typeface="ＭＳ Ｐゴシック"/>
                <a:cs typeface="Calibri"/>
              </a:rPr>
              <a:t>, the Cisco Threat Investigator runs additional playbooks and automations to determine the impact and urgency of the event by identifying the scope and hunting for a root cause. </a:t>
            </a:r>
          </a:p>
          <a:p>
            <a:pPr marL="171450" indent="-171450">
              <a:buFontTx/>
              <a:buChar char="-"/>
              <a:defRPr/>
            </a:pPr>
            <a:r>
              <a:rPr lang="en-US" dirty="0">
                <a:ea typeface="ＭＳ Ｐゴシック"/>
                <a:cs typeface="Calibri"/>
              </a:rPr>
              <a:t>In this step they create their write up of the activity and start to form their response recommendations. </a:t>
            </a:r>
            <a:br>
              <a:rPr lang="en-US" dirty="0">
                <a:ea typeface="ＭＳ Ｐゴシック"/>
                <a:cs typeface="+mn-lt"/>
              </a:rPr>
            </a:br>
            <a:r>
              <a:rPr lang="en-US" sz="1200" kern="1200" dirty="0">
                <a:solidFill>
                  <a:schemeClr val="tx1"/>
                </a:solidFill>
                <a:effectLst/>
                <a:latin typeface="+mn-lt"/>
                <a:ea typeface="ＭＳ Ｐゴシック"/>
                <a:cs typeface="Calibri"/>
              </a:rPr>
              <a:t> </a:t>
            </a:r>
            <a:endParaRPr lang="en-US" dirty="0"/>
          </a:p>
          <a:p>
            <a:pPr marL="171450" indent="-171450">
              <a:buFont typeface="Arial"/>
              <a:buChar char="•"/>
            </a:pPr>
            <a:r>
              <a:rPr lang="en-US" dirty="0">
                <a:ea typeface="ＭＳ Ｐゴシック"/>
                <a:cs typeface="Calibri"/>
              </a:rPr>
              <a:t>Then </a:t>
            </a:r>
            <a:r>
              <a:rPr lang="en-US" sz="1200" kern="1200" dirty="0">
                <a:solidFill>
                  <a:schemeClr val="tx1"/>
                </a:solidFill>
                <a:effectLst/>
                <a:latin typeface="+mn-lt"/>
                <a:ea typeface="ＭＳ Ｐゴシック"/>
                <a:cs typeface="Calibri"/>
              </a:rPr>
              <a:t>we reach the </a:t>
            </a:r>
            <a:r>
              <a:rPr lang="en-US" sz="1200" b="1" kern="1200" dirty="0">
                <a:solidFill>
                  <a:schemeClr val="tx1"/>
                </a:solidFill>
                <a:effectLst/>
                <a:latin typeface="+mn-lt"/>
                <a:ea typeface="ＭＳ Ｐゴシック"/>
                <a:cs typeface="Calibri"/>
              </a:rPr>
              <a:t>Response </a:t>
            </a:r>
            <a:r>
              <a:rPr lang="en-US" sz="1200" b="0" kern="1200" dirty="0">
                <a:solidFill>
                  <a:schemeClr val="tx1"/>
                </a:solidFill>
                <a:effectLst/>
                <a:latin typeface="+mn-lt"/>
                <a:ea typeface="ＭＳ Ｐゴシック"/>
                <a:cs typeface="Calibri"/>
              </a:rPr>
              <a:t>Phase, r</a:t>
            </a:r>
            <a:r>
              <a:rPr lang="en-US" b="0" dirty="0">
                <a:ea typeface="ＭＳ Ｐゴシック"/>
                <a:cs typeface="Calibri"/>
              </a:rPr>
              <a:t>esponse</a:t>
            </a:r>
            <a:r>
              <a:rPr lang="en-US" dirty="0">
                <a:ea typeface="ＭＳ Ｐゴシック"/>
                <a:cs typeface="Calibri"/>
              </a:rPr>
              <a:t> can take place in one of two ways:</a:t>
            </a:r>
            <a:endParaRPr lang="en-US" sz="1200" kern="1200" dirty="0">
              <a:solidFill>
                <a:schemeClr val="tx1"/>
              </a:solidFill>
              <a:effectLst/>
              <a:latin typeface="+mn-lt"/>
              <a:ea typeface="ＭＳ Ｐゴシック"/>
              <a:cs typeface="Calibri"/>
            </a:endParaRPr>
          </a:p>
          <a:p>
            <a:pPr marL="171450" indent="-171450">
              <a:buFont typeface="Arial"/>
              <a:buChar char="•"/>
            </a:pPr>
            <a:r>
              <a:rPr lang="en-US" dirty="0">
                <a:ea typeface="ＭＳ Ｐゴシック"/>
                <a:cs typeface="Calibri"/>
              </a:rPr>
              <a:t>Immediately via the MDR SOC for critical events</a:t>
            </a:r>
            <a:endParaRPr lang="en-US" sz="1200" kern="1200" dirty="0">
              <a:solidFill>
                <a:schemeClr val="tx1"/>
              </a:solidFill>
              <a:effectLst/>
              <a:latin typeface="+mn-lt"/>
              <a:ea typeface="ＭＳ Ｐゴシック" charset="0"/>
              <a:cs typeface="Calibri"/>
            </a:endParaRPr>
          </a:p>
          <a:p>
            <a:pPr marL="171450" indent="-171450">
              <a:buFont typeface="Arial"/>
              <a:buChar char="•"/>
            </a:pPr>
            <a:r>
              <a:rPr lang="en-US" dirty="0">
                <a:ea typeface="ＭＳ Ｐゴシック"/>
                <a:cs typeface="Calibri"/>
              </a:rPr>
              <a:t>Or via ServiceNow approvals from the customer</a:t>
            </a:r>
            <a:endParaRPr lang="en-US" dirty="0">
              <a:cs typeface="Calibri"/>
            </a:endParaRPr>
          </a:p>
          <a:p>
            <a:endParaRPr lang="en-US" dirty="0">
              <a:cs typeface="Calibri"/>
            </a:endParaRPr>
          </a:p>
          <a:p>
            <a:r>
              <a:rPr lang="en-US" dirty="0"/>
              <a:t>Transition:</a:t>
            </a:r>
          </a:p>
          <a:p>
            <a:r>
              <a:rPr lang="en-US" dirty="0"/>
              <a:t>All this activity is captured in the MDR Customer Portal where we will go next. </a:t>
            </a:r>
          </a:p>
          <a:p>
            <a:pPr>
              <a:buFont typeface="+mj-lt"/>
            </a:pP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Arial"/>
                <a:sym typeface="Arial"/>
              </a:rPr>
              <a:pPr marL="0" marR="0" lvl="0" indent="0" algn="r" defTabSz="457200"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Arial"/>
              <a:sym typeface="Arial"/>
            </a:endParaRPr>
          </a:p>
        </p:txBody>
      </p:sp>
    </p:spTree>
    <p:extLst>
      <p:ext uri="{BB962C8B-B14F-4D97-AF65-F5344CB8AC3E}">
        <p14:creationId xmlns:p14="http://schemas.microsoft.com/office/powerpoint/2010/main" val="24511264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summarize, we infuse the alarms with additional contextual information so that you can easily and quickly understand who has been infected, what is the threat, where it has spread, and how you can remediate it.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lt;Click&gt;</a:t>
            </a:r>
          </a:p>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Arial"/>
                <a:sym typeface="Arial"/>
              </a:rPr>
              <a:pPr marL="0" marR="0" lvl="0" indent="0" algn="r" defTabSz="457200"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Arial"/>
              <a:sym typeface="Arial"/>
            </a:endParaRPr>
          </a:p>
        </p:txBody>
      </p:sp>
    </p:spTree>
    <p:extLst>
      <p:ext uri="{BB962C8B-B14F-4D97-AF65-F5344CB8AC3E}">
        <p14:creationId xmlns:p14="http://schemas.microsoft.com/office/powerpoint/2010/main" val="9990067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ea typeface="ＭＳ Ｐゴシック"/>
                <a:cs typeface="Calibri"/>
              </a:rPr>
              <a:t>This is the landing page for the </a:t>
            </a:r>
            <a:r>
              <a:rPr lang="en-US" b="1">
                <a:ea typeface="ＭＳ Ｐゴシック"/>
                <a:cs typeface="Calibri"/>
              </a:rPr>
              <a:t>MDR Customer Portal </a:t>
            </a:r>
            <a:r>
              <a:rPr lang="en-US">
                <a:ea typeface="ＭＳ Ｐゴシック"/>
                <a:cs typeface="Calibri"/>
              </a:rPr>
              <a:t>which</a:t>
            </a:r>
            <a:r>
              <a:rPr lang="en-US" b="0">
                <a:ea typeface="ＭＳ Ｐゴシック"/>
                <a:cs typeface="Calibri"/>
              </a:rPr>
              <a:t> </a:t>
            </a:r>
            <a:r>
              <a:rPr lang="en-US">
                <a:ea typeface="ＭＳ Ｐゴシック"/>
                <a:cs typeface="Calibri"/>
              </a:rPr>
              <a:t>provides one-stop for all service interactions. </a:t>
            </a:r>
          </a:p>
          <a:p>
            <a:pPr marL="171450" indent="-171450">
              <a:buFontTx/>
              <a:buChar char="-"/>
            </a:pPr>
            <a:r>
              <a:rPr lang="en-US" sz="1200" kern="1200">
                <a:solidFill>
                  <a:schemeClr val="tx1"/>
                </a:solidFill>
                <a:effectLst/>
                <a:latin typeface="+mn-lt"/>
                <a:ea typeface="ＭＳ Ｐゴシック"/>
                <a:cs typeface="Calibri"/>
              </a:rPr>
              <a:t>This is where a customer can access the service-level dashboard</a:t>
            </a:r>
            <a:r>
              <a:rPr lang="en-US">
                <a:ea typeface="ＭＳ Ｐゴシック"/>
                <a:cs typeface="Calibri"/>
              </a:rPr>
              <a:t>;</a:t>
            </a:r>
            <a:r>
              <a:rPr lang="en-US" sz="1200" kern="1200">
                <a:solidFill>
                  <a:schemeClr val="tx1"/>
                </a:solidFill>
                <a:effectLst/>
                <a:latin typeface="+mn-lt"/>
                <a:ea typeface="ＭＳ Ｐゴシック"/>
                <a:cs typeface="Calibri"/>
              </a:rPr>
              <a:t> </a:t>
            </a:r>
            <a:r>
              <a:rPr lang="en-US">
                <a:ea typeface="ＭＳ Ｐゴシック"/>
                <a:cs typeface="Calibri"/>
              </a:rPr>
              <a:t>they can view all</a:t>
            </a:r>
            <a:r>
              <a:rPr lang="en-US" sz="1200" kern="1200">
                <a:solidFill>
                  <a:schemeClr val="tx1"/>
                </a:solidFill>
                <a:effectLst/>
                <a:latin typeface="+mn-lt"/>
                <a:ea typeface="ＭＳ Ｐゴシック"/>
                <a:cs typeface="Calibri"/>
              </a:rPr>
              <a:t> open and historical tickets, and case management workflows for maximum visibility into all activities.</a:t>
            </a:r>
          </a:p>
          <a:p>
            <a:pPr marL="171450" indent="-171450">
              <a:buFontTx/>
              <a:buChar char="-"/>
            </a:pPr>
            <a:r>
              <a:rPr lang="en-US" sz="1200" kern="1200">
                <a:solidFill>
                  <a:schemeClr val="tx1"/>
                </a:solidFill>
                <a:effectLst/>
                <a:latin typeface="+mn-lt"/>
                <a:ea typeface="ＭＳ Ｐゴシック"/>
                <a:cs typeface="Calibri"/>
              </a:rPr>
              <a:t>Corrective action can be taken </a:t>
            </a:r>
            <a:r>
              <a:rPr lang="en-US">
                <a:ea typeface="ＭＳ Ｐゴシック"/>
                <a:cs typeface="Calibri"/>
              </a:rPr>
              <a:t>through </a:t>
            </a:r>
            <a:r>
              <a:rPr lang="en-US" sz="1200" kern="1200">
                <a:solidFill>
                  <a:schemeClr val="tx1"/>
                </a:solidFill>
                <a:effectLst/>
                <a:latin typeface="+mn-lt"/>
                <a:ea typeface="ＭＳ Ｐゴシック"/>
                <a:cs typeface="Calibri"/>
              </a:rPr>
              <a:t>the portal interface with the ability approve or reject a response, </a:t>
            </a:r>
            <a:r>
              <a:rPr lang="en-US">
                <a:ea typeface="ＭＳ Ｐゴシック"/>
                <a:cs typeface="Calibri"/>
              </a:rPr>
              <a:t>to action tasks like:</a:t>
            </a:r>
            <a:r>
              <a:rPr lang="en-US" sz="1200" kern="1200">
                <a:solidFill>
                  <a:schemeClr val="tx1"/>
                </a:solidFill>
                <a:effectLst/>
                <a:latin typeface="+mn-lt"/>
                <a:ea typeface="ＭＳ Ｐゴシック"/>
                <a:cs typeface="Calibri"/>
              </a:rPr>
              <a:t> block suspicious files, domains</a:t>
            </a:r>
            <a:r>
              <a:rPr lang="en-US">
                <a:ea typeface="ＭＳ Ｐゴシック"/>
                <a:cs typeface="Calibri"/>
              </a:rPr>
              <a:t>,</a:t>
            </a:r>
            <a:r>
              <a:rPr lang="en-US" sz="1200" kern="1200">
                <a:solidFill>
                  <a:schemeClr val="tx1"/>
                </a:solidFill>
                <a:effectLst/>
                <a:latin typeface="+mn-lt"/>
                <a:ea typeface="ＭＳ Ｐゴシック"/>
                <a:cs typeface="Calibri"/>
              </a:rPr>
              <a:t> and more.</a:t>
            </a:r>
            <a:r>
              <a:rPr lang="en-US">
                <a:ea typeface="ＭＳ Ｐゴシック"/>
                <a:cs typeface="Calibri"/>
              </a:rPr>
              <a:t> </a:t>
            </a:r>
            <a:endParaRPr lang="en-US" sz="1200" kern="1200">
              <a:solidFill>
                <a:schemeClr val="tx1"/>
              </a:solidFill>
              <a:effectLst/>
              <a:latin typeface="+mn-lt"/>
              <a:ea typeface="ＭＳ Ｐゴシック" charset="0"/>
              <a:cs typeface="Calibri"/>
            </a:endParaRPr>
          </a:p>
          <a:p>
            <a:pPr marL="0" indent="0">
              <a:buFontTx/>
              <a:buNone/>
            </a:pPr>
            <a:endParaRPr lang="en-US">
              <a:ea typeface="ＭＳ Ｐゴシック"/>
              <a:cs typeface="Calibri"/>
            </a:endParaRPr>
          </a:p>
          <a:p>
            <a:r>
              <a:rPr lang="en-US">
                <a:ea typeface="ＭＳ Ｐゴシック"/>
                <a:cs typeface="Calibri"/>
              </a:rPr>
              <a:t>Transition:</a:t>
            </a:r>
          </a:p>
          <a:p>
            <a:r>
              <a:rPr lang="en-US">
                <a:ea typeface="ＭＳ Ｐゴシック"/>
                <a:cs typeface="Calibri"/>
              </a:rPr>
              <a:t>Now, let’s dive in to look at the list of open tickets…</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40061521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ea typeface="ＭＳ Ｐゴシック"/>
                <a:cs typeface="Calibri"/>
              </a:rPr>
              <a:t>This list of tickets is the how an occurrence of a use case will manifest itself to the customer.</a:t>
            </a:r>
          </a:p>
          <a:p>
            <a:pPr marL="171450" indent="-171450">
              <a:buFontTx/>
              <a:buChar char="-"/>
            </a:pPr>
            <a:r>
              <a:rPr lang="en-US">
                <a:ea typeface="ＭＳ Ｐゴシック"/>
                <a:cs typeface="Calibri"/>
              </a:rPr>
              <a:t>For our walkthrough, we're going to take a look at the third event on the list about a Potential DGA. </a:t>
            </a:r>
            <a:br>
              <a:rPr lang="en-US">
                <a:ea typeface="ＭＳ Ｐゴシック"/>
                <a:cs typeface="+mn-lt"/>
              </a:rPr>
            </a:br>
            <a:endParaRPr lang="en-US">
              <a:ea typeface="ＭＳ Ｐゴシック"/>
              <a:cs typeface="Calibri"/>
            </a:endParaRPr>
          </a:p>
          <a:p>
            <a:pPr marL="171450" indent="-171450">
              <a:buFontTx/>
              <a:buChar char="-"/>
            </a:pPr>
            <a:r>
              <a:rPr lang="en-US">
                <a:ea typeface="ＭＳ Ｐゴシック"/>
                <a:cs typeface="Calibri"/>
              </a:rPr>
              <a:t>DGA domains are domains randomly generated using an algorithm or formula that malware can calculate on the fly to find what domain they need to connect to for progressing their attack, such as downloading additional malware, look for c2, etc.</a:t>
            </a:r>
            <a:br>
              <a:rPr lang="en-US">
                <a:ea typeface="ＭＳ Ｐゴシック"/>
                <a:cs typeface="+mn-lt"/>
              </a:rPr>
            </a:br>
            <a:endParaRPr lang="en-US">
              <a:ea typeface="ＭＳ Ｐゴシック"/>
              <a:cs typeface="Calibri"/>
            </a:endParaRPr>
          </a:p>
          <a:p>
            <a:pPr marL="171450" indent="-171450">
              <a:buFontTx/>
              <a:buChar char="-"/>
            </a:pPr>
            <a:r>
              <a:rPr lang="en-US">
                <a:ea typeface="ＭＳ Ｐゴシック"/>
                <a:cs typeface="Calibri"/>
              </a:rPr>
              <a:t>In this case, telemetry from Umbrella feeds into our analytics platform and has triggered an alert for activity to a potential DGA domain, or Domain Generation Algorithm domain, and a respective threat incident ticket is created.</a:t>
            </a:r>
            <a:endParaRPr lang="en-US">
              <a:cs typeface="Calibri"/>
            </a:endParaRPr>
          </a:p>
          <a:p>
            <a:pPr marL="171450" indent="-171450">
              <a:buFontTx/>
              <a:buChar char="-"/>
            </a:pPr>
            <a:endParaRPr lang="en-US">
              <a:cs typeface="Calibri"/>
            </a:endParaRPr>
          </a:p>
          <a:p>
            <a:pPr marL="171450" indent="-171450">
              <a:buFontTx/>
              <a:buChar char="-"/>
            </a:pPr>
            <a:r>
              <a:rPr lang="en-US">
                <a:ea typeface="ＭＳ Ｐゴシック"/>
                <a:cs typeface="Calibri"/>
              </a:rPr>
              <a:t>We can see the DGA in the title of the ticket, and for us as humans, we can quickly see that this domain looks fairly odd. But for a computer, it's much more difficult for it to determine what is normal versus what is odd. To solve this, this use case makes use of Machine Learning, which in our usage means using and applying statistical models and statistical analysis to give the platform the ability to predict the likely validity of a domain.</a:t>
            </a:r>
            <a:endParaRPr lang="en-US">
              <a:cs typeface="Calibri"/>
            </a:endParaRPr>
          </a:p>
          <a:p>
            <a:endParaRPr lang="en-US">
              <a:ea typeface="ＭＳ Ｐゴシック"/>
              <a:cs typeface="Calibri"/>
            </a:endParaRPr>
          </a:p>
          <a:p>
            <a:r>
              <a:rPr lang="en-US">
                <a:ea typeface="ＭＳ Ｐゴシック"/>
                <a:cs typeface="Calibri"/>
              </a:rPr>
              <a:t>Transition:</a:t>
            </a:r>
          </a:p>
          <a:p>
            <a:r>
              <a:rPr lang="en-US">
                <a:ea typeface="ＭＳ Ｐゴシック"/>
                <a:cs typeface="Calibri"/>
              </a:rPr>
              <a:t>- From this main list of tickets, we can click on the Potential DGA ticket number to open it and get more information.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4491830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ea typeface="ＭＳ Ｐゴシック"/>
                <a:cs typeface="Calibri"/>
              </a:rPr>
              <a:t>Opening the ticket, we can immediately see a few key attributes bubbled up to us, as if we are the customer.</a:t>
            </a:r>
          </a:p>
          <a:p>
            <a:pPr marL="171450" indent="-171450">
              <a:buFontTx/>
              <a:buChar char="-"/>
            </a:pPr>
            <a:r>
              <a:rPr lang="en-US">
                <a:ea typeface="ＭＳ Ｐゴシック"/>
                <a:cs typeface="Calibri"/>
              </a:rPr>
              <a:t>Even knowing little about DGA, we can read down this table to get a quick overview of the ticket: True Positive, Confirmed, Malware, Downloader. This info tells us at a glance about whether or not if I need to continue to read more about this event. </a:t>
            </a:r>
          </a:p>
          <a:p>
            <a:pPr marL="171450" indent="-171450">
              <a:buFontTx/>
              <a:buChar char="-"/>
            </a:pPr>
            <a:r>
              <a:rPr lang="en-US">
                <a:ea typeface="ＭＳ Ｐゴシック"/>
                <a:cs typeface="Calibri"/>
              </a:rPr>
              <a:t>The Threat Investigator has been populating this information through the course of the investigation, and in this view, it gives us a bit of a quick peek at what's going on and identifies: what kind of a threat it is, and how far in the kill chain it has progressed.</a:t>
            </a:r>
            <a:br>
              <a:rPr lang="en-US">
                <a:ea typeface="ＭＳ Ｐゴシック"/>
                <a:cs typeface="+mn-lt"/>
              </a:rPr>
            </a:br>
            <a:endParaRPr lang="en-US">
              <a:ea typeface="ＭＳ Ｐゴシック"/>
              <a:cs typeface="Calibri"/>
            </a:endParaRPr>
          </a:p>
          <a:p>
            <a:pPr marL="171450" indent="-171450">
              <a:buFontTx/>
              <a:buChar char="-"/>
            </a:pPr>
            <a:r>
              <a:rPr lang="en-US">
                <a:ea typeface="ＭＳ Ｐゴシック"/>
                <a:cs typeface="Calibri"/>
              </a:rPr>
              <a:t>In this case, this threat is a confirmed malware downloader that is attempting to install. </a:t>
            </a:r>
          </a:p>
          <a:p>
            <a:endParaRPr lang="en-US">
              <a:ea typeface="ＭＳ Ｐゴシック"/>
              <a:cs typeface="Calibri"/>
            </a:endParaRPr>
          </a:p>
          <a:p>
            <a:r>
              <a:rPr lang="en-US">
                <a:ea typeface="ＭＳ Ｐゴシック"/>
                <a:cs typeface="Calibri"/>
              </a:rPr>
              <a:t>Transition:</a:t>
            </a:r>
          </a:p>
          <a:p>
            <a:r>
              <a:rPr lang="en-US">
                <a:ea typeface="ＭＳ Ｐゴシック"/>
                <a:cs typeface="Calibri"/>
              </a:rPr>
              <a:t>From here, we can expand the Executive Summary section to get into the write-up created by the Investigator.</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7384868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ea typeface="ＭＳ Ｐゴシック"/>
                <a:cs typeface="Calibri"/>
              </a:rPr>
              <a:t>This [</a:t>
            </a:r>
            <a:r>
              <a:rPr lang="en-US" b="1">
                <a:ea typeface="ＭＳ Ｐゴシック"/>
                <a:cs typeface="Calibri"/>
              </a:rPr>
              <a:t>Executive Summary</a:t>
            </a:r>
            <a:r>
              <a:rPr lang="en-US">
                <a:ea typeface="ＭＳ Ｐゴシック"/>
                <a:cs typeface="Calibri"/>
              </a:rPr>
              <a:t>] section represents a high-level overview of what is happening, in English sentences to quickly explain:</a:t>
            </a:r>
            <a:endParaRPr lang="en-US">
              <a:cs typeface="Calibri"/>
            </a:endParaRPr>
          </a:p>
          <a:p>
            <a:pPr marL="628650" lvl="1" indent="-171450">
              <a:buFontTx/>
              <a:buChar char="-"/>
            </a:pPr>
            <a:r>
              <a:rPr lang="en-US">
                <a:ea typeface="ＭＳ Ｐゴシック"/>
                <a:cs typeface="Calibri"/>
              </a:rPr>
              <a:t>Why this ticket was created </a:t>
            </a:r>
            <a:endParaRPr lang="en-US">
              <a:ea typeface="ＭＳ Ｐゴシック" charset="0"/>
              <a:cs typeface="Calibri"/>
            </a:endParaRPr>
          </a:p>
          <a:p>
            <a:pPr marL="628650" lvl="1" indent="-171450">
              <a:buFontTx/>
              <a:buChar char="-"/>
            </a:pPr>
            <a:r>
              <a:rPr lang="en-US">
                <a:ea typeface="ＭＳ Ｐゴシック"/>
                <a:cs typeface="Calibri"/>
              </a:rPr>
              <a:t>Why the customer should care</a:t>
            </a:r>
            <a:r>
              <a:rPr lang="en-US">
                <a:ea typeface="ＭＳ Ｐゴシック" charset="0"/>
                <a:cs typeface="Calibri"/>
              </a:rPr>
              <a:t>, and </a:t>
            </a:r>
          </a:p>
          <a:p>
            <a:pPr marL="628650" lvl="1" indent="-171450">
              <a:buFontTx/>
              <a:buChar char="-"/>
            </a:pPr>
            <a:r>
              <a:rPr lang="en-US">
                <a:ea typeface="ＭＳ Ｐゴシック"/>
                <a:cs typeface="Calibri"/>
              </a:rPr>
              <a:t>How it impacts them</a:t>
            </a:r>
            <a:endParaRPr lang="en-US">
              <a:cs typeface="Calibri"/>
            </a:endParaRPr>
          </a:p>
          <a:p>
            <a:endParaRPr lang="en-US">
              <a:cs typeface="Calibri"/>
            </a:endParaRPr>
          </a:p>
          <a:p>
            <a:r>
              <a:rPr lang="en-US">
                <a:ea typeface="ＭＳ Ｐゴシック"/>
                <a:cs typeface="Calibri"/>
              </a:rPr>
              <a:t>- For our DGA domain example, the Threat Investigator identifies that there was not just 1 request seen, but more than 1,000, and that the domain requested belonged to a known malware family.</a:t>
            </a:r>
            <a:endParaRPr lang="en-US">
              <a:cs typeface="Calibri"/>
            </a:endParaRPr>
          </a:p>
          <a:p>
            <a:endParaRPr lang="en-US">
              <a:cs typeface="Calibri"/>
            </a:endParaRPr>
          </a:p>
          <a:p>
            <a:r>
              <a:rPr lang="en-US">
                <a:ea typeface="ＭＳ Ｐゴシック"/>
                <a:cs typeface="Calibri"/>
              </a:rPr>
              <a:t>Transition:</a:t>
            </a:r>
          </a:p>
          <a:p>
            <a:r>
              <a:rPr lang="en-US">
                <a:ea typeface="ＭＳ Ｐゴシック"/>
                <a:cs typeface="Calibri"/>
              </a:rPr>
              <a:t>The next section, goes into more detail. </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39017700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ea typeface="ＭＳ Ｐゴシック"/>
                <a:cs typeface="Calibri"/>
              </a:rPr>
              <a:t>This [</a:t>
            </a:r>
            <a:r>
              <a:rPr lang="en-US" b="1">
                <a:ea typeface="ＭＳ Ｐゴシック"/>
                <a:cs typeface="Calibri"/>
              </a:rPr>
              <a:t>Technical Summary] </a:t>
            </a:r>
            <a:r>
              <a:rPr lang="en-US">
                <a:ea typeface="ＭＳ Ｐゴシック"/>
                <a:cs typeface="Calibri"/>
              </a:rPr>
              <a:t>section starts to get into the technical information about the event. </a:t>
            </a:r>
            <a:br>
              <a:rPr lang="en-US">
                <a:ea typeface="ＭＳ Ｐゴシック"/>
                <a:cs typeface="+mn-lt"/>
              </a:rPr>
            </a:br>
            <a:endParaRPr lang="en-US">
              <a:ea typeface="ＭＳ Ｐゴシック"/>
              <a:cs typeface="Calibri"/>
            </a:endParaRPr>
          </a:p>
          <a:p>
            <a:pPr marL="171450" indent="-171450">
              <a:buFontTx/>
              <a:buChar char="-"/>
            </a:pPr>
            <a:r>
              <a:rPr lang="en-US">
                <a:ea typeface="ＭＳ Ｐゴシック"/>
                <a:cs typeface="Calibri"/>
              </a:rPr>
              <a:t>It has more specific information about the DGA and how it operates to attack and more information about the malware family that was seen.</a:t>
            </a:r>
          </a:p>
          <a:p>
            <a:pPr marL="171450" indent="-171450">
              <a:buFontTx/>
              <a:buChar char="-"/>
            </a:pPr>
            <a:endParaRPr lang="en-US">
              <a:ea typeface="ＭＳ Ｐゴシック"/>
              <a:cs typeface="Calibri"/>
            </a:endParaRPr>
          </a:p>
          <a:p>
            <a:pPr marL="171450" indent="-171450">
              <a:buChar char="-"/>
            </a:pPr>
            <a:r>
              <a:rPr lang="en-US">
                <a:ea typeface="ＭＳ Ｐゴシック"/>
                <a:cs typeface="Calibri"/>
              </a:rPr>
              <a:t>The Investigator will also start to pull out important bits of information from the raw data and populate that information here. In our case, the Investigator pulled out a list of domains that were seen. This provides an easy way for the customer to view important details about the event without having to wade through the raw data themselves.</a:t>
            </a:r>
            <a:endParaRPr lang="en-US">
              <a:cs typeface="Calibri"/>
            </a:endParaRPr>
          </a:p>
          <a:p>
            <a:pPr marL="171450" indent="-171450">
              <a:buChar char="-"/>
            </a:pPr>
            <a:endParaRPr lang="en-US">
              <a:cs typeface="Calibri"/>
            </a:endParaRPr>
          </a:p>
          <a:p>
            <a:endParaRPr lang="en-US">
              <a:cs typeface="Calibri"/>
            </a:endParaRPr>
          </a:p>
          <a:p>
            <a:r>
              <a:rPr lang="en-US">
                <a:ea typeface="ＭＳ Ｐゴシック"/>
                <a:cs typeface="Calibri"/>
              </a:rPr>
              <a:t>Transition:</a:t>
            </a:r>
          </a:p>
          <a:p>
            <a:r>
              <a:rPr lang="en-US">
                <a:ea typeface="ＭＳ Ｐゴシック"/>
                <a:cs typeface="Calibri"/>
              </a:rPr>
              <a:t>The next Supporting Evidence section dives one step deeper…</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9711608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defRPr/>
            </a:pPr>
            <a:r>
              <a:rPr lang="en-US">
                <a:ea typeface="ＭＳ Ｐゴシック"/>
                <a:cs typeface="Calibri"/>
              </a:rPr>
              <a:t>The [</a:t>
            </a:r>
            <a:r>
              <a:rPr lang="en-US" b="1">
                <a:ea typeface="ＭＳ Ｐゴシック"/>
                <a:cs typeface="Calibri"/>
              </a:rPr>
              <a:t>Supporting Evidence</a:t>
            </a:r>
            <a:r>
              <a:rPr lang="en-US" b="0">
                <a:ea typeface="ＭＳ Ｐゴシック"/>
                <a:cs typeface="Calibri"/>
              </a:rPr>
              <a:t>]</a:t>
            </a:r>
            <a:r>
              <a:rPr lang="en-US" b="1">
                <a:ea typeface="ＭＳ Ｐゴシック"/>
                <a:cs typeface="Calibri"/>
              </a:rPr>
              <a:t> </a:t>
            </a:r>
            <a:r>
              <a:rPr lang="en-US">
                <a:ea typeface="ＭＳ Ｐゴシック"/>
                <a:cs typeface="Calibri"/>
              </a:rPr>
              <a:t>section contains the proof that supports the explanations we saw above and why we are making the recommendations that we are. This has two subsections. </a:t>
            </a:r>
            <a:endParaRPr lang="en-US">
              <a:cs typeface="Calibri"/>
            </a:endParaRPr>
          </a:p>
          <a:p>
            <a:pPr marL="171450" indent="-171450">
              <a:buFontTx/>
              <a:buChar char="-"/>
              <a:defRPr/>
            </a:pPr>
            <a:r>
              <a:rPr lang="en-US">
                <a:ea typeface="ＭＳ Ｐゴシック"/>
                <a:cs typeface="Calibri"/>
              </a:rPr>
              <a:t>The first is host attribution information. It has been our experience that there is not such thing as too much identifying information about a host that is exhibiting suspicious behavior, but it *is* possible to not have enough. So to ensure that we are able to provide as much information as possible, we have created a playbook whose sole purpose is to go and search for this information for each event. In our case, it was able to take the IP address that was in the Umbrella log, and correlate that to AMP where it was able to pull hostname, OS, and other attributes.</a:t>
            </a:r>
          </a:p>
          <a:p>
            <a:pPr marL="171450" indent="-171450">
              <a:buChar char="-"/>
              <a:defRPr/>
            </a:pPr>
            <a:r>
              <a:rPr lang="en-US">
                <a:ea typeface="ＭＳ Ｐゴシック"/>
                <a:cs typeface="Calibri"/>
              </a:rPr>
              <a:t>This section also contains the raw data itself. This allows the customer to review the same data the Investigator did if they wish.</a:t>
            </a:r>
            <a:endParaRPr lang="en-US">
              <a:cs typeface="Calibri"/>
            </a:endParaRPr>
          </a:p>
          <a:p>
            <a:pPr marL="171450" indent="-171450">
              <a:buChar char="-"/>
              <a:defRPr/>
            </a:pPr>
            <a:endParaRPr lang="en-US">
              <a:cs typeface="Calibri"/>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a:ea typeface="ＭＳ Ｐゴシック"/>
                <a:cs typeface="Calibri"/>
              </a:rPr>
              <a:t>Transition: </a:t>
            </a:r>
          </a:p>
          <a:p>
            <a:pPr marL="0" marR="0" lvl="0" indent="0" algn="l" defTabSz="457200" rtl="0" eaLnBrk="0" fontAlgn="base" latinLnBrk="0" hangingPunct="0">
              <a:lnSpc>
                <a:spcPct val="100000"/>
              </a:lnSpc>
              <a:spcBef>
                <a:spcPct val="30000"/>
              </a:spcBef>
              <a:spcAft>
                <a:spcPct val="0"/>
              </a:spcAft>
              <a:buClrTx/>
              <a:buSzTx/>
              <a:buFontTx/>
              <a:buNone/>
              <a:tabLst/>
              <a:defRPr/>
            </a:pPr>
            <a:r>
              <a:rPr lang="en-US">
                <a:ea typeface="ＭＳ Ｐゴシック"/>
                <a:cs typeface="Calibri"/>
              </a:rPr>
              <a:t>- This leads us to the recommended mitigations section… </a:t>
            </a:r>
          </a:p>
          <a:p>
            <a:pPr marL="171450" indent="-171450">
              <a:buFontTx/>
              <a:buChar char="-"/>
              <a:defRPr/>
            </a:pPr>
            <a:endParaRPr lang="en-US"/>
          </a:p>
          <a:p>
            <a:pPr>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7948406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ea typeface="ＭＳ Ｐゴシック"/>
                <a:cs typeface="Calibri"/>
              </a:rPr>
              <a:t>The </a:t>
            </a:r>
            <a:r>
              <a:rPr lang="en-US" b="1">
                <a:ea typeface="ＭＳ Ｐゴシック"/>
                <a:cs typeface="Calibri"/>
              </a:rPr>
              <a:t>Recommended Mitigations </a:t>
            </a:r>
            <a:r>
              <a:rPr lang="en-US" b="0">
                <a:ea typeface="ＭＳ Ｐゴシック"/>
                <a:cs typeface="Calibri"/>
              </a:rPr>
              <a:t>section </a:t>
            </a:r>
            <a:r>
              <a:rPr lang="en-US">
                <a:ea typeface="ＭＳ Ｐゴシック"/>
                <a:cs typeface="Calibri"/>
              </a:rPr>
              <a:t>contains the Investigators recommendations. When we approach response, we view it as being able to </a:t>
            </a:r>
            <a:r>
              <a:rPr lang="en-US" b="1">
                <a:ea typeface="ＭＳ Ｐゴシック"/>
                <a:cs typeface="Calibri"/>
              </a:rPr>
              <a:t>isolate </a:t>
            </a:r>
            <a:r>
              <a:rPr lang="en-US">
                <a:ea typeface="ＭＳ Ｐゴシック"/>
                <a:cs typeface="Calibri"/>
              </a:rPr>
              <a:t>or </a:t>
            </a:r>
            <a:r>
              <a:rPr lang="en-US" b="1">
                <a:ea typeface="ＭＳ Ｐゴシック"/>
                <a:cs typeface="Calibri"/>
              </a:rPr>
              <a:t>remove </a:t>
            </a:r>
            <a:r>
              <a:rPr lang="en-US">
                <a:ea typeface="ＭＳ Ｐゴシック"/>
                <a:cs typeface="Calibri"/>
              </a:rPr>
              <a:t>a threat from the network, and to </a:t>
            </a:r>
            <a:r>
              <a:rPr lang="en-US" b="1">
                <a:ea typeface="ＭＳ Ｐゴシック"/>
                <a:cs typeface="Calibri"/>
              </a:rPr>
              <a:t>block </a:t>
            </a:r>
            <a:r>
              <a:rPr lang="en-US">
                <a:ea typeface="ＭＳ Ｐゴシック"/>
                <a:cs typeface="Calibri"/>
              </a:rPr>
              <a:t>or </a:t>
            </a:r>
            <a:r>
              <a:rPr lang="en-US" b="1">
                <a:ea typeface="ＭＳ Ｐゴシック"/>
                <a:cs typeface="Calibri"/>
              </a:rPr>
              <a:t>prevent </a:t>
            </a:r>
            <a:r>
              <a:rPr lang="en-US">
                <a:ea typeface="ＭＳ Ｐゴシック"/>
                <a:cs typeface="Calibri"/>
              </a:rPr>
              <a:t>the reoccurrence.</a:t>
            </a:r>
            <a:endParaRPr lang="en-US" b="1">
              <a:ea typeface="ＭＳ Ｐゴシック"/>
              <a:cs typeface="Calibri"/>
            </a:endParaRPr>
          </a:p>
          <a:p>
            <a:pPr marL="171450" indent="-171450">
              <a:buFontTx/>
              <a:buChar char="-"/>
            </a:pPr>
            <a:r>
              <a:rPr lang="en-US">
                <a:ea typeface="ＭＳ Ｐゴシック"/>
                <a:cs typeface="Calibri"/>
              </a:rPr>
              <a:t>These recommendations are tailored not to a use case, but to each event itself. </a:t>
            </a:r>
            <a:endParaRPr lang="en-US">
              <a:ea typeface="ＭＳ Ｐゴシック"/>
              <a:cs typeface="+mn-lt"/>
            </a:endParaRPr>
          </a:p>
          <a:p>
            <a:pPr marL="171450" indent="-171450">
              <a:buFontTx/>
              <a:buChar char="-"/>
            </a:pPr>
            <a:endParaRPr lang="en-US">
              <a:ea typeface="ＭＳ Ｐゴシック"/>
              <a:cs typeface="Calibri"/>
            </a:endParaRPr>
          </a:p>
          <a:p>
            <a:pPr marL="171450" indent="-171450">
              <a:buFontTx/>
              <a:buChar char="-"/>
            </a:pPr>
            <a:r>
              <a:rPr lang="en-US">
                <a:ea typeface="ＭＳ Ｐゴシック"/>
                <a:cs typeface="Calibri"/>
              </a:rPr>
              <a:t>In our case of DGA, we have domains and their associated IP addresses we recommend blocking, and taking proactive steps to prevent the threat from spreading or reoccurring. </a:t>
            </a:r>
            <a:endParaRPr lang="en-US">
              <a:ea typeface="ＭＳ Ｐゴシック" charset="0"/>
              <a:cs typeface="Calibri"/>
            </a:endParaRPr>
          </a:p>
          <a:p>
            <a:pPr marL="171450" indent="-171450">
              <a:buFontTx/>
              <a:buChar char="-"/>
            </a:pPr>
            <a:r>
              <a:rPr lang="en-US">
                <a:ea typeface="ＭＳ Ｐゴシック"/>
                <a:cs typeface="Calibri"/>
              </a:rPr>
              <a:t>If during the course or the investigation, the investigator tracks the activity back to something like a toolbar installed in a user's web browser, where the sub total threat is one user experiencing extra ads, the recommendations will be different than if the malware causing this activity is a more nefarious one, such as </a:t>
            </a:r>
            <a:r>
              <a:rPr lang="en-US" err="1">
                <a:ea typeface="ＭＳ Ｐゴシック"/>
                <a:cs typeface="Calibri"/>
              </a:rPr>
              <a:t>Emotet</a:t>
            </a:r>
            <a:r>
              <a:rPr lang="en-US">
                <a:ea typeface="ＭＳ Ｐゴシック"/>
                <a:cs typeface="Calibri"/>
              </a:rPr>
              <a:t> or </a:t>
            </a:r>
            <a:r>
              <a:rPr lang="en-US" err="1">
                <a:ea typeface="ＭＳ Ｐゴシック"/>
                <a:cs typeface="Calibri"/>
              </a:rPr>
              <a:t>Trickbot</a:t>
            </a:r>
            <a:r>
              <a:rPr lang="en-US">
                <a:ea typeface="ＭＳ Ｐゴシック"/>
                <a:cs typeface="Calibri"/>
              </a:rPr>
              <a:t>, the recommendations would go farther and include isolating the host.</a:t>
            </a:r>
            <a:endParaRPr lang="en-US">
              <a:cs typeface="Calibri"/>
            </a:endParaRPr>
          </a:p>
          <a:p>
            <a:endParaRPr lang="en-US">
              <a:cs typeface="Calibri"/>
            </a:endParaRPr>
          </a:p>
          <a:p>
            <a:pPr marL="171450" indent="-171450">
              <a:buFontTx/>
              <a:buChar char="-"/>
            </a:pPr>
            <a:r>
              <a:rPr lang="en-US">
                <a:ea typeface="ＭＳ Ｐゴシック"/>
                <a:cs typeface="Calibri"/>
              </a:rPr>
              <a:t>These recommendations are also done on a per attribute basis; an attribute being each instance of a domain, or IP, or hash.</a:t>
            </a:r>
          </a:p>
          <a:p>
            <a:pPr marL="171450" indent="-171450">
              <a:buFontTx/>
              <a:buChar char="-"/>
            </a:pPr>
            <a:r>
              <a:rPr lang="en-US">
                <a:ea typeface="ＭＳ Ｐゴシック"/>
                <a:cs typeface="Calibri"/>
              </a:rPr>
              <a:t>This means the approval from the customer can also take place on a per attribute basis.</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6774443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50000"/>
              </a:lnSpc>
              <a:buNone/>
            </a:pPr>
            <a:endParaRPr lang="en-US" b="0" dirty="0">
              <a:latin typeface="+mn-lt"/>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42111880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0" fontAlgn="base" latinLnBrk="0" hangingPunct="0">
              <a:lnSpc>
                <a:spcPct val="100000"/>
              </a:lnSpc>
              <a:spcBef>
                <a:spcPct val="30000"/>
              </a:spcBef>
              <a:spcAft>
                <a:spcPct val="0"/>
              </a:spcAft>
              <a:buClrTx/>
              <a:buSzTx/>
              <a:buFontTx/>
              <a:buChar char="-"/>
              <a:tabLst/>
              <a:defRPr/>
            </a:pPr>
            <a:r>
              <a:rPr lang="en-US" b="1">
                <a:ea typeface="ＭＳ Ｐゴシック"/>
                <a:cs typeface="Calibri"/>
              </a:rPr>
              <a:t>The recommended mitigation actions also appear </a:t>
            </a:r>
            <a:r>
              <a:rPr lang="en-US">
                <a:ea typeface="ＭＳ Ｐゴシック"/>
                <a:cs typeface="Calibri"/>
              </a:rPr>
              <a:t>at the bottom of the ticket in the customer view.</a:t>
            </a:r>
            <a:br>
              <a:rPr lang="en-US">
                <a:ea typeface="ＭＳ Ｐゴシック"/>
                <a:cs typeface="+mn-lt"/>
              </a:rPr>
            </a:br>
            <a:endParaRPr lang="en-US">
              <a:ea typeface="ＭＳ Ｐゴシック" charset="0"/>
              <a:cs typeface="Calibri"/>
            </a:endParaRPr>
          </a:p>
          <a:p>
            <a:pPr marL="171450" indent="-171450">
              <a:buFontTx/>
              <a:buChar char="-"/>
              <a:defRPr/>
            </a:pPr>
            <a:r>
              <a:rPr lang="en-US">
                <a:ea typeface="ＭＳ Ｐゴシック"/>
                <a:cs typeface="Calibri"/>
              </a:rPr>
              <a:t>Here, the customer can view the recommendation each individual attribute.</a:t>
            </a:r>
          </a:p>
          <a:p>
            <a:pPr marL="171450" indent="-171450">
              <a:buFontTx/>
              <a:buChar char="-"/>
              <a:defRPr/>
            </a:pPr>
            <a:r>
              <a:rPr lang="en-US">
                <a:ea typeface="ＭＳ Ｐゴシック"/>
                <a:cs typeface="Calibri"/>
              </a:rPr>
              <a:t>Clicking on the 'Click here' button will open the dialog box (as shown) where the customer can then approve or reject the recommended action. Doing this will feed the response and automatically implement the action if approved.</a:t>
            </a:r>
          </a:p>
          <a:p>
            <a:pPr marL="171450" indent="-171450">
              <a:buChar char="-"/>
              <a:defRPr/>
            </a:pPr>
            <a:endParaRPr lang="en-US">
              <a:ea typeface="ＭＳ Ｐゴシック"/>
              <a:cs typeface="Calibri"/>
            </a:endParaRPr>
          </a:p>
          <a:p>
            <a:pPr>
              <a:defRPr/>
            </a:pPr>
            <a:r>
              <a:rPr lang="en-US">
                <a:ea typeface="ＭＳ Ｐゴシック"/>
                <a:cs typeface="Calibri"/>
              </a:rPr>
              <a:t>(Not all of the domains were added to the list for brevity)</a:t>
            </a:r>
          </a:p>
          <a:p>
            <a:pPr marL="171450" indent="-171450">
              <a:buChar char="-"/>
              <a:defRPr/>
            </a:pPr>
            <a:endParaRPr lang="en-US">
              <a:ea typeface="ＭＳ Ｐゴシック"/>
              <a:cs typeface="Calibri"/>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a:ea typeface="ＭＳ Ｐゴシック"/>
                <a:cs typeface="Calibri"/>
              </a:rPr>
              <a:t>Transition:</a:t>
            </a:r>
          </a:p>
          <a:p>
            <a:pPr marL="0" marR="0" lvl="0" indent="0" algn="l" defTabSz="457200" rtl="0" eaLnBrk="0" fontAlgn="base" latinLnBrk="0" hangingPunct="0">
              <a:lnSpc>
                <a:spcPct val="100000"/>
              </a:lnSpc>
              <a:spcBef>
                <a:spcPct val="30000"/>
              </a:spcBef>
              <a:spcAft>
                <a:spcPct val="0"/>
              </a:spcAft>
              <a:buClrTx/>
              <a:buSzTx/>
              <a:buFontTx/>
              <a:buNone/>
              <a:tabLst/>
              <a:defRPr/>
            </a:pPr>
            <a:r>
              <a:rPr lang="en-US">
                <a:ea typeface="ＭＳ Ｐゴシック"/>
                <a:cs typeface="Calibri"/>
              </a:rPr>
              <a:t>- Next, let’s take a look at MDR dashboard… </a:t>
            </a: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13355922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The customer MDR dashboard is the </a:t>
            </a:r>
            <a:r>
              <a:rPr lang="en-US" sz="1200" kern="1200" dirty="0">
                <a:solidFill>
                  <a:schemeClr val="tx1"/>
                </a:solidFill>
                <a:effectLst/>
                <a:latin typeface="+mn-lt"/>
                <a:ea typeface="ＭＳ Ｐゴシック" charset="0"/>
                <a:cs typeface="ＭＳ Ｐゴシック" charset="0"/>
              </a:rPr>
              <a:t>single place where you can see the effectiveness of MDR to securing your business. </a:t>
            </a:r>
          </a:p>
          <a:p>
            <a:pPr marL="171450" indent="-171450">
              <a:buFontTx/>
              <a:buChar char="-"/>
            </a:pPr>
            <a:r>
              <a:rPr lang="en-US" sz="1200" kern="1200" dirty="0">
                <a:solidFill>
                  <a:schemeClr val="tx1"/>
                </a:solidFill>
                <a:effectLst/>
                <a:latin typeface="+mn-lt"/>
                <a:ea typeface="ＭＳ Ｐゴシック" charset="0"/>
                <a:cs typeface="ＭＳ Ｐゴシック" charset="0"/>
              </a:rPr>
              <a:t>It presents the service metrics that allow you to recognize the detection of threats, most common threats detects, the importance of each Cisco Intelligence product (AMP4E, Umbrella, SWC and Threat Grid) in detecting and responding, what stage of the kill chain you are mitigating the threats and direct launch to the main products and intel sources.</a:t>
            </a:r>
            <a:br>
              <a:rPr lang="en-US" sz="1200" kern="1200" dirty="0">
                <a:solidFill>
                  <a:schemeClr val="tx1"/>
                </a:solidFill>
                <a:effectLst/>
                <a:latin typeface="+mn-lt"/>
                <a:ea typeface="ＭＳ Ｐゴシック" charset="0"/>
                <a:cs typeface="ＭＳ Ｐゴシック" charset="0"/>
              </a:rPr>
            </a:br>
            <a:endParaRPr lang="en-US" sz="1200" kern="1200" dirty="0">
              <a:solidFill>
                <a:schemeClr val="tx1"/>
              </a:solidFill>
              <a:effectLst/>
              <a:latin typeface="+mn-lt"/>
              <a:ea typeface="ＭＳ Ｐゴシック" charset="0"/>
              <a:cs typeface="ＭＳ Ｐゴシック" charset="0"/>
            </a:endParaRPr>
          </a:p>
          <a:p>
            <a:pPr marL="171450" indent="-171450">
              <a:buFontTx/>
              <a:buChar char="-"/>
            </a:pPr>
            <a:r>
              <a:rPr lang="en-US" sz="1200" b="1" kern="1200" dirty="0">
                <a:solidFill>
                  <a:schemeClr val="tx1"/>
                </a:solidFill>
                <a:effectLst/>
                <a:latin typeface="+mn-lt"/>
                <a:ea typeface="ＭＳ Ｐゴシック" charset="0"/>
                <a:cs typeface="ＭＳ Ｐゴシック" charset="0"/>
              </a:rPr>
              <a:t>Active Incidents: </a:t>
            </a:r>
            <a:r>
              <a:rPr lang="en-US" sz="1200" kern="1200" dirty="0">
                <a:solidFill>
                  <a:schemeClr val="tx1"/>
                </a:solidFill>
                <a:effectLst/>
                <a:latin typeface="+mn-lt"/>
                <a:ea typeface="ＭＳ Ｐゴシック" charset="0"/>
                <a:cs typeface="ＭＳ Ｐゴシック" charset="0"/>
              </a:rPr>
              <a:t>displays the distribution of the threat incidents by assigned severity, which has a direct influence over impact and urgency. By clicking in one of the severities, the portal will launch a filtered list of the incidents of that severity. We want to have a majority of minor incidents meaning the security provided by Cisco products and the detection is happening at early stages and avoiding threats to spread and cause business impact.</a:t>
            </a:r>
            <a:br>
              <a:rPr lang="en-US" sz="1200" kern="1200" dirty="0">
                <a:solidFill>
                  <a:schemeClr val="tx1"/>
                </a:solidFill>
                <a:effectLst/>
                <a:latin typeface="+mn-lt"/>
                <a:ea typeface="ＭＳ Ｐゴシック" charset="0"/>
                <a:cs typeface="ＭＳ Ｐゴシック" charset="0"/>
              </a:rPr>
            </a:br>
            <a:endParaRPr lang="en-US" sz="1200" kern="1200" dirty="0">
              <a:solidFill>
                <a:schemeClr val="tx1"/>
              </a:solidFill>
              <a:effectLst/>
              <a:latin typeface="+mn-lt"/>
              <a:ea typeface="ＭＳ Ｐゴシック" charset="0"/>
              <a:cs typeface="ＭＳ Ｐゴシック" charset="0"/>
            </a:endParaRPr>
          </a:p>
          <a:p>
            <a:pPr marL="171450" indent="-171450">
              <a:buFontTx/>
              <a:buChar char="-"/>
            </a:pPr>
            <a:r>
              <a:rPr lang="en-US" sz="1200" b="1" kern="1200" dirty="0">
                <a:solidFill>
                  <a:schemeClr val="tx1"/>
                </a:solidFill>
                <a:effectLst/>
                <a:latin typeface="+mn-lt"/>
                <a:ea typeface="ＭＳ Ｐゴシック" charset="0"/>
                <a:cs typeface="ＭＳ Ｐゴシック" charset="0"/>
              </a:rPr>
              <a:t>Active Threats by Category </a:t>
            </a:r>
            <a:r>
              <a:rPr lang="en-US" sz="1200" kern="1200" dirty="0">
                <a:solidFill>
                  <a:schemeClr val="tx1"/>
                </a:solidFill>
                <a:effectLst/>
                <a:latin typeface="+mn-lt"/>
                <a:ea typeface="ＭＳ Ｐゴシック" charset="0"/>
                <a:cs typeface="ＭＳ Ｐゴシック" charset="0"/>
              </a:rPr>
              <a:t>displays the distribution of threat incidents by threat categories as defined in ATT@CK market definition. By clicking in one of the categories, the portal will launch a filtered list of the incidents of that particular type.</a:t>
            </a:r>
          </a:p>
          <a:p>
            <a:pPr marL="171450" indent="-171450">
              <a:buFontTx/>
              <a:buChar char="-"/>
            </a:pPr>
            <a:r>
              <a:rPr lang="en-US" sz="1200" kern="1200" dirty="0">
                <a:solidFill>
                  <a:schemeClr val="tx1"/>
                </a:solidFill>
                <a:effectLst/>
                <a:latin typeface="+mn-lt"/>
                <a:ea typeface="ＭＳ Ｐゴシック" charset="0"/>
                <a:cs typeface="ＭＳ Ｐゴシック" charset="0"/>
              </a:rPr>
              <a:t>This allows you to understand the most common threats that are targeting your business so you can implement security policies and evolve your defense to be more effective in protecting the business.</a:t>
            </a:r>
          </a:p>
          <a:p>
            <a:pPr marL="171450" indent="-171450">
              <a:buFontTx/>
              <a:buChar char="-"/>
            </a:pPr>
            <a:r>
              <a:rPr lang="en-US" sz="1200" b="1" kern="1200" dirty="0">
                <a:solidFill>
                  <a:schemeClr val="tx1"/>
                </a:solidFill>
                <a:effectLst/>
                <a:latin typeface="+mn-lt"/>
                <a:ea typeface="ＭＳ Ｐゴシック" charset="0"/>
                <a:cs typeface="ＭＳ Ｐゴシック" charset="0"/>
              </a:rPr>
              <a:t>Active Threats – Product Involved in Detection </a:t>
            </a:r>
            <a:r>
              <a:rPr lang="en-US" sz="1200" kern="1200" dirty="0">
                <a:solidFill>
                  <a:schemeClr val="tx1"/>
                </a:solidFill>
                <a:effectLst/>
                <a:latin typeface="+mn-lt"/>
                <a:ea typeface="ＭＳ Ｐゴシック" charset="0"/>
                <a:cs typeface="ＭＳ Ｐゴシック" charset="0"/>
              </a:rPr>
              <a:t>displays the number incidents detected by each of the products used to collect telemetry (AMP4E/TG, SWC and Umbrella). By clicking in one of the products, the portal will launch a filtered list of the incidents that were detected by this product.</a:t>
            </a:r>
          </a:p>
          <a:p>
            <a:pPr marL="171450" indent="-171450">
              <a:buFontTx/>
              <a:buChar char="-"/>
            </a:pPr>
            <a:r>
              <a:rPr lang="en-US" sz="1200" b="1" kern="1200" dirty="0">
                <a:solidFill>
                  <a:schemeClr val="tx1"/>
                </a:solidFill>
                <a:effectLst/>
                <a:latin typeface="+mn-lt"/>
                <a:ea typeface="ＭＳ Ｐゴシック" charset="0"/>
                <a:cs typeface="ＭＳ Ｐゴシック" charset="0"/>
              </a:rPr>
              <a:t>Active Threats – Product Involved in Response </a:t>
            </a:r>
            <a:r>
              <a:rPr lang="en-US" sz="1200" kern="1200" dirty="0">
                <a:solidFill>
                  <a:schemeClr val="tx1"/>
                </a:solidFill>
                <a:effectLst/>
                <a:latin typeface="+mn-lt"/>
                <a:ea typeface="ＭＳ Ｐゴシック" charset="0"/>
                <a:cs typeface="ＭＳ Ｐゴシック" charset="0"/>
              </a:rPr>
              <a:t>displays the number incident response that contained information from each one the products used to collect telemetry (AMP4E/TG, SWC and Umbrella). By clicking in one of the products, the portal will launch a filtered list of the incidents that have response information from this product.</a:t>
            </a:r>
          </a:p>
          <a:p>
            <a:pPr marL="171450" indent="-171450">
              <a:buFontTx/>
              <a:buChar char="-"/>
            </a:pPr>
            <a:r>
              <a:rPr lang="en-US" sz="1200" kern="1200" dirty="0">
                <a:solidFill>
                  <a:schemeClr val="tx1"/>
                </a:solidFill>
                <a:effectLst/>
                <a:latin typeface="+mn-lt"/>
                <a:ea typeface="ＭＳ Ｐゴシック" charset="0"/>
                <a:cs typeface="ＭＳ Ｐゴシック" charset="0"/>
              </a:rPr>
              <a:t>The above widgets allow you to realize the value or each Cisco product in both detection of threats and accurate response. Without telemetry from these products, a number of incidents would have not been detected or would have not been investigated properly, which could reduce the effectiveness of the mitigation action.</a:t>
            </a:r>
            <a:br>
              <a:rPr lang="en-US" sz="1200" kern="1200" dirty="0">
                <a:solidFill>
                  <a:schemeClr val="tx1"/>
                </a:solidFill>
                <a:effectLst/>
                <a:latin typeface="+mn-lt"/>
                <a:ea typeface="ＭＳ Ｐゴシック" charset="0"/>
                <a:cs typeface="ＭＳ Ｐゴシック" charset="0"/>
              </a:rPr>
            </a:br>
            <a:endParaRPr lang="en-US" sz="1200" kern="1200" dirty="0">
              <a:solidFill>
                <a:schemeClr val="tx1"/>
              </a:solidFill>
              <a:effectLst/>
              <a:latin typeface="+mn-lt"/>
              <a:ea typeface="ＭＳ Ｐゴシック" charset="0"/>
              <a:cs typeface="ＭＳ Ｐゴシック" charset="0"/>
            </a:endParaRPr>
          </a:p>
          <a:p>
            <a:pPr marL="171450" indent="-171450">
              <a:buFontTx/>
              <a:buChar char="-"/>
            </a:pPr>
            <a:r>
              <a:rPr lang="en-US" sz="1200" b="1" kern="1200" dirty="0">
                <a:solidFill>
                  <a:schemeClr val="tx1"/>
                </a:solidFill>
                <a:effectLst/>
                <a:latin typeface="+mn-lt"/>
                <a:ea typeface="ＭＳ Ｐゴシック" charset="0"/>
                <a:cs typeface="ＭＳ Ｐゴシック" charset="0"/>
              </a:rPr>
              <a:t>Incident State Trending: </a:t>
            </a:r>
            <a:r>
              <a:rPr lang="en-US" sz="1200" kern="1200" dirty="0">
                <a:solidFill>
                  <a:schemeClr val="tx1"/>
                </a:solidFill>
                <a:effectLst/>
                <a:latin typeface="+mn-lt"/>
                <a:ea typeface="ＭＳ Ｐゴシック" charset="0"/>
                <a:cs typeface="ＭＳ Ｐゴシック" charset="0"/>
              </a:rPr>
              <a:t>displays the trending number of incidents by state. As the time passes, we want to keep control over the number of threats in new state to ensure the security policy and monitoring are effectively avoiding the. Majority of threats. We also want to see a consistent number of resolved events meaning the detected threats are being mitigated timely.</a:t>
            </a:r>
          </a:p>
          <a:p>
            <a:pPr marL="171450" indent="-171450">
              <a:buFontTx/>
              <a:buChar char="-"/>
            </a:pPr>
            <a:r>
              <a:rPr lang="en-US" sz="1200" b="1" kern="1200" dirty="0">
                <a:solidFill>
                  <a:schemeClr val="tx1"/>
                </a:solidFill>
                <a:effectLst/>
                <a:latin typeface="+mn-lt"/>
                <a:ea typeface="ＭＳ Ｐゴシック" charset="0"/>
                <a:cs typeface="ＭＳ Ｐゴシック" charset="0"/>
              </a:rPr>
              <a:t>Cyber Threat Kill Chain Trending: </a:t>
            </a:r>
            <a:r>
              <a:rPr lang="en-US" sz="1200" kern="1200" dirty="0">
                <a:solidFill>
                  <a:schemeClr val="tx1"/>
                </a:solidFill>
                <a:effectLst/>
                <a:latin typeface="+mn-lt"/>
                <a:ea typeface="ＭＳ Ｐゴシック" charset="0"/>
                <a:cs typeface="ＭＳ Ｐゴシック" charset="0"/>
              </a:rPr>
              <a:t>displays the number of threats in each stage of the Cyber Threat Kill Chain. This indicates the far in the “lifecycle” of a threat you were able to detect and stop it. You want the majority to be in the early stages of the chain meaning you stopped them before they could actually damage systems, impact business and cause financial losses.</a:t>
            </a:r>
            <a:br>
              <a:rPr lang="en-US" sz="1200" kern="1200" dirty="0">
                <a:solidFill>
                  <a:schemeClr val="tx1"/>
                </a:solidFill>
                <a:effectLst/>
                <a:latin typeface="+mn-lt"/>
                <a:ea typeface="ＭＳ Ｐゴシック" charset="0"/>
                <a:cs typeface="ＭＳ Ｐゴシック" charset="0"/>
              </a:rPr>
            </a:br>
            <a:endParaRPr lang="en-US" sz="1200" kern="1200" dirty="0">
              <a:solidFill>
                <a:schemeClr val="tx1"/>
              </a:solidFill>
              <a:effectLst/>
              <a:latin typeface="+mn-lt"/>
              <a:ea typeface="ＭＳ Ｐゴシック" charset="0"/>
              <a:cs typeface="ＭＳ Ｐゴシック" charset="0"/>
            </a:endParaRPr>
          </a:p>
          <a:p>
            <a:pPr marL="171450" indent="-171450">
              <a:buFontTx/>
              <a:buChar char="-"/>
            </a:pPr>
            <a:r>
              <a:rPr lang="en-US" sz="1200" b="1" kern="1200" dirty="0">
                <a:solidFill>
                  <a:schemeClr val="tx1"/>
                </a:solidFill>
                <a:effectLst/>
                <a:latin typeface="+mn-lt"/>
                <a:ea typeface="ＭＳ Ｐゴシック" charset="0"/>
                <a:cs typeface="ＭＳ Ｐゴシック" charset="0"/>
              </a:rPr>
              <a:t>Access to Product Portals and Incident Response: </a:t>
            </a:r>
            <a:r>
              <a:rPr lang="en-US" sz="1200" kern="1200" dirty="0">
                <a:solidFill>
                  <a:schemeClr val="tx1"/>
                </a:solidFill>
                <a:effectLst/>
                <a:latin typeface="+mn-lt"/>
                <a:ea typeface="ＭＳ Ｐゴシック" charset="0"/>
                <a:cs typeface="ＭＳ Ｐゴシック" charset="0"/>
              </a:rPr>
              <a:t>this is where you can cross-launch the Cisco security products and relevant intel sources to facilitate ongoing research and investigations.</a:t>
            </a:r>
          </a:p>
          <a:p>
            <a:r>
              <a:rPr lang="en-US" sz="1200" kern="1200" dirty="0">
                <a:solidFill>
                  <a:schemeClr val="tx1"/>
                </a:solidFill>
                <a:effectLst/>
                <a:latin typeface="+mn-lt"/>
                <a:ea typeface="ＭＳ Ｐゴシック" charset="0"/>
                <a:cs typeface="ＭＳ Ｐゴシック" charset="0"/>
              </a:rPr>
              <a:t>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29987078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ＭＳ Ｐゴシック"/>
                <a:cs typeface="Calibri"/>
              </a:rPr>
              <a:t>Managed Detection and Response</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a:ln>
                  <a:noFill/>
                </a:ln>
                <a:solidFill>
                  <a:prstClr val="black"/>
                </a:solidFill>
                <a:effectLst/>
                <a:uLnTx/>
                <a:uFillTx/>
                <a:latin typeface="Calibri"/>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34203775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F97A1FA6-25DE-9E4E-A34D-CF67DE7DBDC7}"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39</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2897509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5EDB11B-8F13-436D-8482-1829615BA9E9}" type="slidenum">
              <a:rPr lang="en-US" smtClean="0"/>
              <a:t>41</a:t>
            </a:fld>
            <a:endParaRPr lang="en-US"/>
          </a:p>
        </p:txBody>
      </p:sp>
    </p:spTree>
    <p:extLst>
      <p:ext uri="{BB962C8B-B14F-4D97-AF65-F5344CB8AC3E}">
        <p14:creationId xmlns:p14="http://schemas.microsoft.com/office/powerpoint/2010/main" val="1559168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800" b="0" i="0" u="none" strike="noStrike" kern="1200" cap="none">
                <a:solidFill>
                  <a:schemeClr val="tx1"/>
                </a:solidFill>
                <a:effectLst/>
                <a:latin typeface="Calibri"/>
                <a:ea typeface="ＭＳ Ｐゴシック" charset="0"/>
                <a:cs typeface="ＭＳ Ｐゴシック" charset="0"/>
                <a:sym typeface="Calibri"/>
              </a:rPr>
              <a:t>Ingesting metadata from Stealthwatch Cloud, AMP for Endpoints and Umbrella through available APIs allows for quick deployment of the MDR service. </a:t>
            </a:r>
            <a:endParaRPr lang="en-GB" sz="1800" b="0" i="0" u="none" strike="noStrike" kern="1200" cap="none">
              <a:solidFill>
                <a:schemeClr val="tx1"/>
              </a:solidFill>
              <a:effectLst/>
              <a:latin typeface="Calibri"/>
              <a:ea typeface="ＭＳ Ｐゴシック" charset="0"/>
              <a:cs typeface="ＭＳ Ｐゴシック" charset="0"/>
              <a:sym typeface="Calibri"/>
            </a:endParaRPr>
          </a:p>
          <a:p>
            <a:pPr marL="171450" indent="-171450">
              <a:buFont typeface="Arial" panose="020B0604020202020204" pitchFamily="34" charset="0"/>
              <a:buChar char="•"/>
            </a:pPr>
            <a:r>
              <a:rPr lang="en-US" sz="1800" b="0" i="0" u="none" strike="noStrike" kern="1200" cap="none">
                <a:solidFill>
                  <a:schemeClr val="tx1"/>
                </a:solidFill>
                <a:effectLst/>
                <a:latin typeface="Calibri"/>
                <a:ea typeface="ＭＳ Ｐゴシック" charset="0"/>
                <a:cs typeface="ＭＳ Ｐゴシック" charset="0"/>
                <a:sym typeface="Calibri"/>
              </a:rPr>
              <a:t>Telemetry is ingested into the threat intelligence and analytics platform for correlation and analysis by MDR researchers and analysts resulting in detections of critical threats reducing the mean-time-to-detect. </a:t>
            </a:r>
            <a:endParaRPr lang="en-US" sz="180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43</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9518858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600" b="0" i="0" u="none" strike="noStrike" kern="1200" cap="none">
                <a:solidFill>
                  <a:schemeClr val="tx1"/>
                </a:solidFill>
                <a:effectLst/>
                <a:latin typeface="Calibri"/>
                <a:ea typeface="ＭＳ Ｐゴシック" charset="0"/>
                <a:cs typeface="ＭＳ Ｐゴシック" charset="0"/>
                <a:sym typeface="Calibri"/>
              </a:rPr>
              <a:t>Our team then using the power of an orchestration, automation and response platform for rapid response recommendations and actions can reduce the mean-time-to-contain an attack within the environment with the available blocking capabilities of the Cisco technologies included in the MDR service.</a:t>
            </a:r>
            <a:endParaRPr lang="en-GB" sz="1600" b="0" i="0" u="none" strike="noStrike" kern="1200" cap="none">
              <a:solidFill>
                <a:schemeClr val="tx1"/>
              </a:solidFill>
              <a:effectLst/>
              <a:latin typeface="Calibri"/>
              <a:ea typeface="ＭＳ Ｐゴシック" charset="0"/>
              <a:cs typeface="ＭＳ Ｐゴシック" charset="0"/>
              <a:sym typeface="Calibri"/>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44</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4571300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5EDB11B-8F13-436D-8482-1829615BA9E9}" type="slidenum">
              <a:rPr lang="en-US" smtClean="0"/>
              <a:t>46</a:t>
            </a:fld>
            <a:endParaRPr lang="en-US"/>
          </a:p>
        </p:txBody>
      </p:sp>
    </p:spTree>
    <p:extLst>
      <p:ext uri="{BB962C8B-B14F-4D97-AF65-F5344CB8AC3E}">
        <p14:creationId xmlns:p14="http://schemas.microsoft.com/office/powerpoint/2010/main" val="27623199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F97A1FA6-25DE-9E4E-A34D-CF67DE7DBDC7}"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7</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7130658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6"/>
        <p:cNvGrpSpPr/>
        <p:nvPr/>
      </p:nvGrpSpPr>
      <p:grpSpPr>
        <a:xfrm>
          <a:off x="0" y="0"/>
          <a:ext cx="0" cy="0"/>
          <a:chOff x="0" y="0"/>
          <a:chExt cx="0" cy="0"/>
        </a:xfrm>
      </p:grpSpPr>
      <p:sp>
        <p:nvSpPr>
          <p:cNvPr id="987" name="Google Shape;987;g5e001b735a_7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8" name="Google Shape;988;g5e001b735a_7_20: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360"/>
              </a:spcBef>
              <a:spcAft>
                <a:spcPts val="0"/>
              </a:spcAft>
              <a:buNone/>
            </a:pPr>
            <a:endParaRPr/>
          </a:p>
        </p:txBody>
      </p:sp>
      <p:sp>
        <p:nvSpPr>
          <p:cNvPr id="989" name="Google Shape;989;g5e001b735a_7_20: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7400702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US" sz="1200" b="0">
                <a:solidFill>
                  <a:schemeClr val="tx1"/>
                </a:solidFill>
              </a:rPr>
              <a:t>We understand that your security challenges run deeper than technology. </a:t>
            </a:r>
          </a:p>
          <a:p>
            <a:pPr marL="171450" indent="-171450">
              <a:buFont typeface="Wingdings" panose="05000000000000000000" pitchFamily="2" charset="2"/>
              <a:buChar char="§"/>
            </a:pPr>
            <a:r>
              <a:rPr lang="en-US" sz="1200" b="0">
                <a:solidFill>
                  <a:schemeClr val="tx1"/>
                </a:solidFill>
              </a:rPr>
              <a:t>Companies are unable to:</a:t>
            </a:r>
          </a:p>
          <a:p>
            <a:pPr marL="628650" lvl="1" indent="-171450">
              <a:buFont typeface="Wingdings" panose="05000000000000000000" pitchFamily="2" charset="2"/>
              <a:buChar char="§"/>
            </a:pPr>
            <a:r>
              <a:rPr lang="en-US" sz="1200" b="0">
                <a:solidFill>
                  <a:schemeClr val="tx1"/>
                </a:solidFill>
              </a:rPr>
              <a:t>Find, recruit, retain and afford security expertise</a:t>
            </a:r>
          </a:p>
          <a:p>
            <a:pPr marL="628650" lvl="1" indent="-171450">
              <a:buFont typeface="Wingdings" panose="05000000000000000000" pitchFamily="2" charset="2"/>
              <a:buChar char="§"/>
            </a:pPr>
            <a:r>
              <a:rPr lang="en-US" sz="1200" b="0">
                <a:solidFill>
                  <a:schemeClr val="tx1"/>
                </a:solidFill>
              </a:rPr>
              <a:t>They are unable to keep pace with current threats and the growing attack surface</a:t>
            </a:r>
          </a:p>
          <a:p>
            <a:pPr marL="628650" lvl="1" indent="-171450">
              <a:buFont typeface="Wingdings" panose="05000000000000000000" pitchFamily="2" charset="2"/>
              <a:buChar char="§"/>
            </a:pPr>
            <a:r>
              <a:rPr lang="en-US" sz="1200" b="0">
                <a:solidFill>
                  <a:schemeClr val="tx1"/>
                </a:solidFill>
              </a:rPr>
              <a:t>They are not able to respond to the overwhelming number of threats with defined playbooks. </a:t>
            </a:r>
          </a:p>
          <a:p>
            <a:pPr marL="171450" indent="-171450">
              <a:buFont typeface="Wingdings" panose="05000000000000000000" pitchFamily="2" charset="2"/>
              <a:buChar char="§"/>
            </a:pPr>
            <a:endParaRPr lang="en-US" sz="1200" b="0">
              <a:solidFill>
                <a:schemeClr val="tx1"/>
              </a:solidFill>
            </a:endParaRPr>
          </a:p>
          <a:p>
            <a:pPr marL="171450" indent="-171450">
              <a:buFont typeface="Wingdings" panose="05000000000000000000" pitchFamily="2" charset="2"/>
              <a:buChar char="§"/>
            </a:pPr>
            <a:r>
              <a:rPr lang="en-US" sz="1200" b="0">
                <a:solidFill>
                  <a:schemeClr val="tx1"/>
                </a:solidFill>
              </a:rPr>
              <a:t>Together, these factors contribute to gaps in security, higher operational costs, and a less efficient team.</a:t>
            </a: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8</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7872789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lnSpc>
                <a:spcPts val="1500"/>
              </a:lnSpc>
              <a:spcAft>
                <a:spcPts val="0"/>
              </a:spcAft>
              <a:buFont typeface="Arial" panose="020B0604020202020204" pitchFamily="34" charset="0"/>
              <a:buChar char="•"/>
            </a:pPr>
            <a:r>
              <a:rPr lang="en-US" sz="1200">
                <a:solidFill>
                  <a:srgbClr val="333333"/>
                </a:solidFill>
                <a:effectLst/>
                <a:latin typeface="Calibri" panose="020F0502020204030204" pitchFamily="34" charset="0"/>
                <a:ea typeface="Calibri" panose="020F0502020204030204" pitchFamily="34" charset="0"/>
                <a:cs typeface="Calibri" panose="020F0502020204030204" pitchFamily="34" charset="0"/>
              </a:rPr>
              <a:t>Going deeper into how we quantify these business challenges is this annual industry breach report.</a:t>
            </a:r>
            <a:endParaRPr lang="en-GB" sz="1400">
              <a:effectLst/>
              <a:latin typeface="Calibri" panose="020F0502020204030204" pitchFamily="34" charset="0"/>
              <a:ea typeface="Calibri" panose="020F0502020204030204" pitchFamily="34" charset="0"/>
              <a:cs typeface="Times New Roman" panose="02020603050405020304" pitchFamily="18" charset="0"/>
            </a:endParaRPr>
          </a:p>
          <a:p>
            <a:pPr marL="171450" lvl="0" indent="-171450">
              <a:lnSpc>
                <a:spcPts val="1500"/>
              </a:lnSpc>
              <a:spcAft>
                <a:spcPts val="0"/>
              </a:spcAft>
              <a:buFont typeface="Arial" panose="020B0604020202020204" pitchFamily="34" charset="0"/>
              <a:buChar char="•"/>
            </a:pPr>
            <a:r>
              <a:rPr lang="en-US" sz="1200">
                <a:solidFill>
                  <a:srgbClr val="333333"/>
                </a:solidFill>
                <a:effectLst/>
                <a:latin typeface="Calibri" panose="020F0502020204030204" pitchFamily="34" charset="0"/>
                <a:ea typeface="Calibri" panose="020F0502020204030204" pitchFamily="34" charset="0"/>
                <a:cs typeface="Calibri" panose="020F0502020204030204" pitchFamily="34" charset="0"/>
              </a:rPr>
              <a:t>Businesses are prone to a breach more than ever. </a:t>
            </a:r>
            <a:endParaRPr lang="en-GB" sz="1400">
              <a:effectLst/>
              <a:latin typeface="Calibri" panose="020F0502020204030204" pitchFamily="34" charset="0"/>
              <a:ea typeface="Calibri" panose="020F0502020204030204" pitchFamily="34" charset="0"/>
              <a:cs typeface="Times New Roman" panose="02020603050405020304" pitchFamily="18" charset="0"/>
            </a:endParaRPr>
          </a:p>
          <a:p>
            <a:pPr marL="171450" lvl="0" indent="-171450">
              <a:lnSpc>
                <a:spcPts val="1500"/>
              </a:lnSpc>
              <a:spcAft>
                <a:spcPts val="0"/>
              </a:spcAft>
              <a:buFont typeface="Arial" panose="020B0604020202020204" pitchFamily="34" charset="0"/>
              <a:buChar char="•"/>
            </a:pPr>
            <a:r>
              <a:rPr lang="en-US" sz="1200">
                <a:solidFill>
                  <a:srgbClr val="333333"/>
                </a:solidFill>
                <a:effectLst/>
                <a:latin typeface="Calibri" panose="020F0502020204030204" pitchFamily="34" charset="0"/>
                <a:ea typeface="Calibri" panose="020F0502020204030204" pitchFamily="34" charset="0"/>
                <a:cs typeface="Calibri" panose="020F0502020204030204" pitchFamily="34" charset="0"/>
              </a:rPr>
              <a:t>Nearly half of the alerts an organization receives daily go uninvestigated.</a:t>
            </a:r>
            <a:endParaRPr lang="en-GB" sz="1400">
              <a:effectLst/>
              <a:latin typeface="Calibri" panose="020F0502020204030204" pitchFamily="34" charset="0"/>
              <a:ea typeface="Calibri" panose="020F0502020204030204" pitchFamily="34" charset="0"/>
              <a:cs typeface="Times New Roman" panose="02020603050405020304" pitchFamily="18" charset="0"/>
            </a:endParaRPr>
          </a:p>
          <a:p>
            <a:pPr marL="171450" lvl="0" indent="-171450">
              <a:lnSpc>
                <a:spcPts val="1500"/>
              </a:lnSpc>
              <a:spcAft>
                <a:spcPts val="0"/>
              </a:spcAft>
              <a:buFont typeface="Arial" panose="020B0604020202020204" pitchFamily="34" charset="0"/>
              <a:buChar char="•"/>
            </a:pPr>
            <a:r>
              <a:rPr lang="en-US" sz="1200">
                <a:solidFill>
                  <a:srgbClr val="333333"/>
                </a:solidFill>
                <a:effectLst/>
                <a:latin typeface="Calibri" panose="020F0502020204030204" pitchFamily="34" charset="0"/>
                <a:ea typeface="Calibri" panose="020F0502020204030204" pitchFamily="34" charset="0"/>
                <a:cs typeface="Calibri" panose="020F0502020204030204" pitchFamily="34" charset="0"/>
              </a:rPr>
              <a:t>Minimizing the impact of a breach is largely a function of </a:t>
            </a:r>
            <a:r>
              <a:rPr lang="en-US" sz="1200" b="0">
                <a:solidFill>
                  <a:srgbClr val="333333"/>
                </a:solidFill>
                <a:effectLst/>
                <a:latin typeface="Calibri" panose="020F0502020204030204" pitchFamily="34" charset="0"/>
                <a:ea typeface="Calibri" panose="020F0502020204030204" pitchFamily="34" charset="0"/>
                <a:cs typeface="Calibri" panose="020F0502020204030204" pitchFamily="34" charset="0"/>
              </a:rPr>
              <a:t>reducing </a:t>
            </a:r>
            <a:r>
              <a:rPr lang="en-US" sz="1200" b="0">
                <a:solidFill>
                  <a:srgbClr val="FF0000"/>
                </a:solidFill>
                <a:effectLst/>
                <a:latin typeface="Calibri" panose="020F0502020204030204" pitchFamily="34" charset="0"/>
                <a:ea typeface="Calibri" panose="020F0502020204030204" pitchFamily="34" charset="0"/>
                <a:cs typeface="Calibri" panose="020F0502020204030204" pitchFamily="34" charset="0"/>
              </a:rPr>
              <a:t>the mean </a:t>
            </a:r>
            <a:r>
              <a:rPr lang="en-US" sz="1200" b="0">
                <a:solidFill>
                  <a:srgbClr val="333333"/>
                </a:solidFill>
                <a:effectLst/>
                <a:latin typeface="Calibri" panose="020F0502020204030204" pitchFamily="34" charset="0"/>
                <a:ea typeface="Calibri" panose="020F0502020204030204" pitchFamily="34" charset="0"/>
                <a:cs typeface="Calibri" panose="020F0502020204030204" pitchFamily="34" charset="0"/>
              </a:rPr>
              <a:t>time </a:t>
            </a:r>
            <a:r>
              <a:rPr lang="en-US" sz="1200">
                <a:solidFill>
                  <a:srgbClr val="333333"/>
                </a:solidFill>
                <a:effectLst/>
                <a:latin typeface="Calibri" panose="020F0502020204030204" pitchFamily="34" charset="0"/>
                <a:ea typeface="Calibri" panose="020F0502020204030204" pitchFamily="34" charset="0"/>
                <a:cs typeface="Calibri" panose="020F0502020204030204" pitchFamily="34" charset="0"/>
              </a:rPr>
              <a:t>to detection. </a:t>
            </a:r>
            <a:endParaRPr lang="en-GB" sz="1400">
              <a:effectLst/>
              <a:latin typeface="Calibri" panose="020F0502020204030204" pitchFamily="34" charset="0"/>
              <a:ea typeface="Calibri" panose="020F0502020204030204" pitchFamily="34" charset="0"/>
              <a:cs typeface="Times New Roman" panose="02020603050405020304" pitchFamily="18" charset="0"/>
            </a:endParaRPr>
          </a:p>
          <a:p>
            <a:pPr marL="171450" lvl="0" indent="-171450">
              <a:lnSpc>
                <a:spcPts val="1500"/>
              </a:lnSpc>
              <a:spcAft>
                <a:spcPts val="0"/>
              </a:spcAft>
              <a:buFont typeface="Arial" panose="020B0604020202020204" pitchFamily="34" charset="0"/>
              <a:buChar char="•"/>
            </a:pPr>
            <a:r>
              <a:rPr lang="en-US" sz="1200">
                <a:solidFill>
                  <a:srgbClr val="333333"/>
                </a:solidFill>
                <a:effectLst/>
                <a:latin typeface="Calibri" panose="020F0502020204030204" pitchFamily="34" charset="0"/>
                <a:ea typeface="Calibri" panose="020F0502020204030204" pitchFamily="34" charset="0"/>
                <a:cs typeface="Calibri" panose="020F0502020204030204" pitchFamily="34" charset="0"/>
              </a:rPr>
              <a:t>And without a focused detection capability bringing </a:t>
            </a:r>
            <a:r>
              <a:rPr lang="en-US" sz="1200">
                <a:solidFill>
                  <a:srgbClr val="000000"/>
                </a:solidFill>
                <a:effectLst/>
                <a:latin typeface="Calibri" panose="020F0502020204030204" pitchFamily="34" charset="0"/>
                <a:ea typeface="Calibri" panose="020F0502020204030204" pitchFamily="34" charset="0"/>
                <a:cs typeface="Calibri" panose="020F0502020204030204" pitchFamily="34" charset="0"/>
              </a:rPr>
              <a:t>visibility, </a:t>
            </a:r>
            <a:r>
              <a:rPr lang="en-US" sz="1200">
                <a:solidFill>
                  <a:srgbClr val="333333"/>
                </a:solidFill>
                <a:effectLst/>
                <a:latin typeface="Calibri" panose="020F0502020204030204" pitchFamily="34" charset="0"/>
                <a:ea typeface="Calibri" panose="020F0502020204030204" pitchFamily="34" charset="0"/>
                <a:cs typeface="Calibri" panose="020F0502020204030204" pitchFamily="34" charset="0"/>
              </a:rPr>
              <a:t>breaches can go undetected for months, until the organization’s critical data are likely compromised… with the cost of a data breach costing an average of $3.9 million. </a:t>
            </a:r>
          </a:p>
          <a:p>
            <a:pPr marL="171450" lvl="0" indent="-171450">
              <a:lnSpc>
                <a:spcPts val="1500"/>
              </a:lnSpc>
              <a:spcAft>
                <a:spcPts val="0"/>
              </a:spcAft>
              <a:buFont typeface="Arial" panose="020B0604020202020204" pitchFamily="34" charset="0"/>
              <a:buChar char="•"/>
            </a:pPr>
            <a:r>
              <a:rPr lang="en-US" sz="120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An organization that is successful in containing a threat in less than 30 days saves on average $1 million dollars than those that contain a threat in more than 30 days. </a:t>
            </a:r>
          </a:p>
          <a:p>
            <a:pPr marL="171450" lvl="0" indent="-171450">
              <a:lnSpc>
                <a:spcPts val="1500"/>
              </a:lnSpc>
              <a:spcAft>
                <a:spcPts val="0"/>
              </a:spcAft>
              <a:buFont typeface="Arial" panose="020B0604020202020204" pitchFamily="34" charset="0"/>
              <a:buChar char="•"/>
            </a:pPr>
            <a:endParaRPr lang="en-US" sz="1200">
              <a:solidFill>
                <a:srgbClr val="000000"/>
              </a:solidFill>
              <a:effectLst/>
              <a:latin typeface="Times New Roman" panose="02020603050405020304" pitchFamily="18" charset="0"/>
              <a:cs typeface="Calibri" panose="020F0502020204030204" pitchFamily="34" charset="0"/>
            </a:endParaRPr>
          </a:p>
          <a:p>
            <a:pPr marL="0" lvl="0" indent="0">
              <a:lnSpc>
                <a:spcPts val="1500"/>
              </a:lnSpc>
              <a:spcAft>
                <a:spcPts val="0"/>
              </a:spcAft>
              <a:buFont typeface="Arial" panose="020B0604020202020204" pitchFamily="34" charset="0"/>
              <a:buNone/>
            </a:pPr>
            <a:endParaRPr lang="en-US"/>
          </a:p>
          <a:p>
            <a:endParaRPr lang="en-US"/>
          </a:p>
          <a:p>
            <a:pPr marL="171450" indent="-171450">
              <a:buFont typeface="Arial" panose="020B0604020202020204" pitchFamily="34" charset="0"/>
              <a:buChar char="•"/>
            </a:pPr>
            <a:r>
              <a:rPr lang="en-US" b="0"/>
              <a:t>Since 2014, the share of breaches caused by malicious attacks surged by 21 percent, growing from 42 percent of breaches in 2014 to 51 percent of breaches in 2019. It took substantially longer to identify and contain a breach in the case of a malicious attack: a combined 314 days, for a breach lifecycle that was 12.5 percent longer than the average breach lifecycle of 279 days. This finding helps explain why breaches caused by a malicious attack were 27 percent more costly than breaches caused by human error ($4.45 million vs. $3.5 million) and 37 percent more costly than a breach caused by system glitches ($4.45 million vs $3.24 million).</a:t>
            </a:r>
          </a:p>
          <a:p>
            <a:pPr marL="171450" indent="-171450">
              <a:buFont typeface="Arial" panose="020B0604020202020204" pitchFamily="34" charset="0"/>
              <a:buChar char="•"/>
            </a:pPr>
            <a:r>
              <a:rPr lang="en-US" b="0"/>
              <a:t>Breaches at organizations with fully deployed automation decreased in cost from 2018 to 2019. Those breaches decreased in cost by 8 percent, from an average of $2.88 million in 2018 to $2.65 million in 2019.</a:t>
            </a:r>
          </a:p>
          <a:p>
            <a:pPr marL="171450" indent="-171450">
              <a:buFont typeface="Arial" panose="020B0604020202020204" pitchFamily="34" charset="0"/>
              <a:buChar char="•"/>
            </a:pPr>
            <a:r>
              <a:rPr lang="en-US" b="0"/>
              <a:t>In other words, organizations in the 2019 study were nearly one-third more likely to experience a breach within two years than they were in 2014.</a:t>
            </a:r>
          </a:p>
          <a:p>
            <a:pPr marL="171450" indent="-171450">
              <a:buFont typeface="Arial" panose="020B0604020202020204" pitchFamily="34" charset="0"/>
              <a:buChar char="•"/>
            </a:pPr>
            <a:r>
              <a:rPr lang="en-US" b="0"/>
              <a:t>However, the faster a data breach can be identified and contained, the lower the costs. Breaches with a lifecycle less than 200 days were on average $1.22 million less costly than breaches with a lifecycle of more than 200 days ($3.34 million vs. $4.56 million respectively), a difference of 37 percent.</a:t>
            </a: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9</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1834953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Managed Detection and Response (MDR) provides Managed Security Detection and Response across cloud, network and endpoints to advance security operations.</a:t>
            </a:r>
          </a:p>
          <a:p>
            <a:pPr marL="171450" indent="-171450">
              <a:buFont typeface="Arial" panose="020B0604020202020204" pitchFamily="34" charset="0"/>
              <a:buChar char="•"/>
            </a:pPr>
            <a:endParaRPr lang="en-US" sz="1200" b="0" i="0" u="none" strike="noStrike" kern="1200" cap="none" dirty="0">
              <a:solidFill>
                <a:schemeClr val="tx1"/>
              </a:solidFill>
              <a:effectLst/>
              <a:latin typeface="Calibri"/>
              <a:ea typeface="ＭＳ Ｐゴシック" charset="0"/>
              <a:cs typeface="ＭＳ Ｐゴシック" charset="0"/>
              <a:sym typeface="Calibri"/>
            </a:endParaRPr>
          </a:p>
          <a:p>
            <a:pPr marL="17145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Cisco’s MDR offer combines an </a:t>
            </a:r>
            <a:r>
              <a:rPr lang="en-US" sz="1200" b="1" i="0" u="none" strike="noStrike" kern="1200" cap="none" dirty="0">
                <a:solidFill>
                  <a:schemeClr val="tx1"/>
                </a:solidFill>
                <a:effectLst/>
                <a:latin typeface="Calibri"/>
                <a:ea typeface="ＭＳ Ｐゴシック" charset="0"/>
                <a:cs typeface="ＭＳ Ｐゴシック" charset="0"/>
                <a:sym typeface="Calibri"/>
              </a:rPr>
              <a:t>elite team of researchers, investigators and responders </a:t>
            </a:r>
            <a:r>
              <a:rPr lang="en-US" sz="1200" b="0" i="0" u="none" strike="noStrike" kern="1200" cap="none" dirty="0">
                <a:solidFill>
                  <a:schemeClr val="tx1"/>
                </a:solidFill>
                <a:effectLst/>
                <a:latin typeface="Calibri"/>
                <a:ea typeface="ＭＳ Ｐゴシック" charset="0"/>
                <a:cs typeface="ＭＳ Ｐゴシック" charset="0"/>
                <a:sym typeface="Calibri"/>
              </a:rPr>
              <a:t>with a </a:t>
            </a:r>
            <a:r>
              <a:rPr lang="en-US" sz="1200" b="1" i="0" u="none" strike="noStrike" kern="1200" cap="none" dirty="0">
                <a:solidFill>
                  <a:schemeClr val="tx1"/>
                </a:solidFill>
                <a:effectLst/>
                <a:latin typeface="Calibri"/>
                <a:ea typeface="ＭＳ Ｐゴシック" charset="0"/>
                <a:cs typeface="ＭＳ Ｐゴシック" charset="0"/>
                <a:sym typeface="Calibri"/>
              </a:rPr>
              <a:t>purpose-built Cisco MDR threat intelligence, automation and response platform</a:t>
            </a:r>
            <a:r>
              <a:rPr lang="en-US" sz="1200" b="0" i="0" u="none" strike="noStrike" kern="1200" cap="none" dirty="0">
                <a:solidFill>
                  <a:schemeClr val="tx1"/>
                </a:solidFill>
                <a:effectLst/>
                <a:latin typeface="Calibri"/>
                <a:ea typeface="ＭＳ Ｐゴシック" charset="0"/>
                <a:cs typeface="ＭＳ Ｐゴシック" charset="0"/>
                <a:sym typeface="Calibri"/>
              </a:rPr>
              <a:t>, and </a:t>
            </a:r>
            <a:r>
              <a:rPr lang="en-US" sz="1200" b="1" i="0" u="none" strike="noStrike" kern="1200" cap="none" dirty="0">
                <a:solidFill>
                  <a:schemeClr val="tx1"/>
                </a:solidFill>
                <a:effectLst/>
                <a:latin typeface="Calibri"/>
                <a:ea typeface="ＭＳ Ｐゴシック" charset="0"/>
                <a:cs typeface="ＭＳ Ｐゴシック" charset="0"/>
                <a:sym typeface="Calibri"/>
              </a:rPr>
              <a:t>defined investigations and response playbooks</a:t>
            </a:r>
            <a:r>
              <a:rPr lang="en-US" sz="1200" b="0" i="0" u="none" strike="noStrike" kern="1200" cap="none" dirty="0">
                <a:solidFill>
                  <a:schemeClr val="tx1"/>
                </a:solidFill>
                <a:effectLst/>
                <a:latin typeface="Calibri"/>
                <a:ea typeface="ＭＳ Ｐゴシック" charset="0"/>
                <a:cs typeface="ＭＳ Ｐゴシック" charset="0"/>
                <a:sym typeface="Calibri"/>
              </a:rPr>
              <a:t> supported by Cisco </a:t>
            </a:r>
            <a:r>
              <a:rPr lang="en-US" sz="1200" b="0" i="0" u="none" strike="noStrike" kern="1200" cap="none" dirty="0" err="1">
                <a:solidFill>
                  <a:schemeClr val="tx1"/>
                </a:solidFill>
                <a:effectLst/>
                <a:latin typeface="Calibri"/>
                <a:ea typeface="ＭＳ Ｐゴシック" charset="0"/>
                <a:cs typeface="ＭＳ Ｐゴシック" charset="0"/>
                <a:sym typeface="Calibri"/>
              </a:rPr>
              <a:t>Talos</a:t>
            </a:r>
            <a:r>
              <a:rPr lang="en-US" sz="1200" b="0" i="0" u="none" strike="noStrike" kern="1200" cap="none" dirty="0">
                <a:solidFill>
                  <a:schemeClr val="tx1"/>
                </a:solidFill>
                <a:effectLst/>
                <a:latin typeface="Calibri"/>
                <a:ea typeface="ＭＳ Ｐゴシック" charset="0"/>
                <a:cs typeface="ＭＳ Ｐゴシック" charset="0"/>
                <a:sym typeface="Calibri"/>
              </a:rPr>
              <a:t> threat research. </a:t>
            </a:r>
          </a:p>
          <a:p>
            <a:pPr marL="17145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The service leverages </a:t>
            </a:r>
            <a:r>
              <a:rPr lang="en-US" sz="1200" b="1" i="0" u="none" strike="noStrike" kern="1200" cap="none" dirty="0">
                <a:solidFill>
                  <a:schemeClr val="tx1"/>
                </a:solidFill>
                <a:effectLst/>
                <a:latin typeface="Calibri"/>
                <a:ea typeface="ＭＳ Ｐゴシック" charset="0"/>
                <a:cs typeface="ＭＳ Ｐゴシック" charset="0"/>
                <a:sym typeface="Calibri"/>
              </a:rPr>
              <a:t>Cisco’s world-class integrated security architecture </a:t>
            </a:r>
            <a:r>
              <a:rPr lang="en-US" sz="1200" b="0" i="0" u="none" strike="noStrike" kern="1200" cap="none" dirty="0">
                <a:solidFill>
                  <a:schemeClr val="tx1"/>
                </a:solidFill>
                <a:effectLst/>
                <a:latin typeface="Calibri"/>
                <a:ea typeface="ＭＳ Ｐゴシック" charset="0"/>
                <a:cs typeface="ＭＳ Ｐゴシック" charset="0"/>
                <a:sym typeface="Calibri"/>
              </a:rPr>
              <a:t>to advance security operations capabilities by delivering industry-leading 24x7x365 threat detection and response to reduce mean time to detect and contain threats faster with relevant, meaningful and prioritized response actions. </a:t>
            </a:r>
            <a:br>
              <a:rPr lang="en-US" sz="1200" b="0" i="0" u="none" strike="noStrike" kern="1200" cap="none" dirty="0">
                <a:solidFill>
                  <a:schemeClr val="tx1"/>
                </a:solidFill>
                <a:effectLst/>
                <a:latin typeface="Calibri"/>
                <a:ea typeface="ＭＳ Ｐゴシック" charset="0"/>
                <a:cs typeface="ＭＳ Ｐゴシック" charset="0"/>
                <a:sym typeface="Calibri"/>
              </a:rPr>
            </a:br>
            <a:endParaRPr lang="en-US" sz="1200" b="0" i="0" u="none" strike="noStrike" kern="1200" cap="none" dirty="0">
              <a:solidFill>
                <a:schemeClr val="tx1"/>
              </a:solidFill>
              <a:effectLst/>
              <a:latin typeface="Calibri"/>
              <a:ea typeface="ＭＳ Ｐゴシック" charset="0"/>
              <a:cs typeface="ＭＳ Ｐゴシック" charset="0"/>
              <a:sym typeface="Calibri"/>
            </a:endParaRPr>
          </a:p>
          <a:p>
            <a:r>
              <a:rPr lang="en-US" sz="1200" b="1" i="0" u="none" strike="noStrike" kern="1200" cap="none" dirty="0">
                <a:solidFill>
                  <a:schemeClr val="tx1"/>
                </a:solidFill>
                <a:effectLst/>
                <a:latin typeface="Calibri"/>
                <a:ea typeface="ＭＳ Ｐゴシック" charset="0"/>
                <a:cs typeface="ＭＳ Ｐゴシック" charset="0"/>
                <a:sym typeface="Calibri"/>
              </a:rPr>
              <a:t>Expert team of researchers, investigators and responders </a:t>
            </a:r>
            <a:endParaRPr lang="en-US" sz="1200" b="0" i="0" u="none" strike="noStrike" kern="1200" cap="none" dirty="0">
              <a:solidFill>
                <a:schemeClr val="tx1"/>
              </a:solidFill>
              <a:effectLst/>
              <a:latin typeface="Calibri"/>
              <a:ea typeface="ＭＳ Ｐゴシック" charset="0"/>
              <a:cs typeface="ＭＳ Ｐゴシック" charset="0"/>
              <a:sym typeface="Calibri"/>
            </a:endParaRP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Our expert team of researchers, investigators and responders are based in our global security operations centers. They provide 24x7 monitoring to alerts occurring within the cloud, on-prem networks and endpoints, and engage with the customer to advance their security operations capabilities by providing clarity on attacks and expert guidance on how to eliminate threats quickly and prevent a breach.</a:t>
            </a: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Our employees are one of our biggest assets. Cisco attracts and retains top talent and is number 6 on Fortune 100’s best companies to work for.</a:t>
            </a: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Our team of expert researchers provide a comprehensive approach to monitoring, detection, analysis and response by using defined investigations and response playbooks, and incident communications. </a:t>
            </a: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This gives you higher confidence in results using proven methodologies, unique intelligence and an experienced team. </a:t>
            </a:r>
            <a:br>
              <a:rPr lang="en-US" sz="1200" b="0" i="0" u="none" strike="noStrike" kern="1200" cap="none" dirty="0">
                <a:solidFill>
                  <a:schemeClr val="tx1"/>
                </a:solidFill>
                <a:effectLst/>
                <a:latin typeface="Calibri"/>
                <a:ea typeface="ＭＳ Ｐゴシック" charset="0"/>
                <a:cs typeface="ＭＳ Ｐゴシック" charset="0"/>
                <a:sym typeface="Calibri"/>
              </a:rPr>
            </a:br>
            <a:endParaRPr lang="en-US" sz="1200" b="0" i="0" u="none" strike="noStrike" kern="1200" cap="none" dirty="0">
              <a:solidFill>
                <a:schemeClr val="tx1"/>
              </a:solidFill>
              <a:effectLst/>
              <a:latin typeface="Calibri"/>
              <a:ea typeface="ＭＳ Ｐゴシック" charset="0"/>
              <a:cs typeface="ＭＳ Ｐゴシック" charset="0"/>
              <a:sym typeface="Calibri"/>
            </a:endParaRPr>
          </a:p>
          <a:p>
            <a:r>
              <a:rPr lang="en-US" sz="1200" b="1" i="0" u="none" strike="noStrike" kern="1200" cap="none" dirty="0">
                <a:solidFill>
                  <a:schemeClr val="tx1"/>
                </a:solidFill>
                <a:effectLst/>
                <a:latin typeface="Calibri"/>
                <a:ea typeface="ＭＳ Ｐゴシック" charset="0"/>
                <a:cs typeface="ＭＳ Ｐゴシック" charset="0"/>
                <a:sym typeface="Calibri"/>
              </a:rPr>
              <a:t>Purpose-built Cisco MDR platform</a:t>
            </a:r>
            <a:endParaRPr lang="en-US" sz="1200" b="0" i="0" u="none" strike="noStrike" kern="1200" cap="none" dirty="0">
              <a:solidFill>
                <a:schemeClr val="tx1"/>
              </a:solidFill>
              <a:effectLst/>
              <a:latin typeface="Calibri"/>
              <a:ea typeface="ＭＳ Ｐゴシック" charset="0"/>
              <a:cs typeface="ＭＳ Ｐゴシック" charset="0"/>
              <a:sym typeface="Calibri"/>
            </a:endParaRP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We utilize a purpose-built Cisco MDR platform and operations model to effectively detect, analyze, investigate and respond to security alerts occurring within an organization.</a:t>
            </a: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We built and host a cloud-based, world-class analytics platform so you don’t have to. </a:t>
            </a: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Our expert analysts use advanced intelligence for continuous monitoring, detection and analysis 24x7 for known and emerging attacks </a:t>
            </a: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Analysis through automated enrichment from key Cisco security technologies and threat intelligence sources, our analytics platform, machine learning and AI, predicts threats, identifies attacker attributes and the potential impact and scope of an alert.</a:t>
            </a:r>
            <a:br>
              <a:rPr lang="en-US" sz="1200" b="0" i="0" u="none" strike="noStrike" kern="1200" cap="none" dirty="0">
                <a:solidFill>
                  <a:schemeClr val="tx1"/>
                </a:solidFill>
                <a:effectLst/>
                <a:latin typeface="Calibri"/>
                <a:ea typeface="ＭＳ Ｐゴシック" charset="0"/>
                <a:cs typeface="ＭＳ Ｐゴシック" charset="0"/>
                <a:sym typeface="Calibri"/>
              </a:rPr>
            </a:br>
            <a:endParaRPr lang="en-US" sz="1200" b="0" i="0" u="none" strike="noStrike" kern="1200" cap="none" dirty="0">
              <a:solidFill>
                <a:schemeClr val="tx1"/>
              </a:solidFill>
              <a:effectLst/>
              <a:latin typeface="Calibri"/>
              <a:ea typeface="ＭＳ Ｐゴシック" charset="0"/>
              <a:cs typeface="ＭＳ Ｐゴシック" charset="0"/>
              <a:sym typeface="Calibri"/>
            </a:endParaRPr>
          </a:p>
          <a:p>
            <a:r>
              <a:rPr lang="en-US" sz="1200" b="1" i="0" u="none" strike="noStrike" kern="1200" cap="none" dirty="0">
                <a:solidFill>
                  <a:schemeClr val="tx1"/>
                </a:solidFill>
                <a:effectLst/>
                <a:latin typeface="Calibri"/>
                <a:ea typeface="ＭＳ Ｐゴシック" charset="0"/>
                <a:cs typeface="ＭＳ Ｐゴシック" charset="0"/>
                <a:sym typeface="Calibri"/>
              </a:rPr>
              <a:t>Defined Investigations and Response Playbooks </a:t>
            </a:r>
            <a:endParaRPr lang="en-US" sz="1200" b="0" i="0" u="none" strike="noStrike" kern="1200" cap="none" dirty="0">
              <a:solidFill>
                <a:schemeClr val="tx1"/>
              </a:solidFill>
              <a:effectLst/>
              <a:latin typeface="Calibri"/>
              <a:ea typeface="ＭＳ Ｐゴシック" charset="0"/>
              <a:cs typeface="ＭＳ Ｐゴシック" charset="0"/>
              <a:sym typeface="Calibri"/>
            </a:endParaRP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Investigation and research by our team of cyber investigators responds to alerts to further identify indicators of compromise or indicators of attack.</a:t>
            </a: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When malware, ransomware, bot-net, bad actors and other such bad behavior is occurring, they are able to build context in order to respond, enforce or notify in a meaningful way.</a:t>
            </a: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Our expert analysts utilize proven security operations case management and security orchestration and automation response (SOAR) to contain, mitigate and eradicate threats using response action playbooks and action plans aligned with your company’s security operations policy.</a:t>
            </a: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Our team of experts conduct investigations and research</a:t>
            </a:r>
            <a:r>
              <a:rPr lang="en-US" sz="1200" b="1" i="0" u="none" strike="noStrike" kern="1200" cap="none" dirty="0">
                <a:solidFill>
                  <a:schemeClr val="tx1"/>
                </a:solidFill>
                <a:effectLst/>
                <a:latin typeface="Calibri"/>
                <a:ea typeface="ＭＳ Ｐゴシック" charset="0"/>
                <a:cs typeface="ＭＳ Ｐゴシック" charset="0"/>
                <a:sym typeface="Calibri"/>
              </a:rPr>
              <a:t> </a:t>
            </a:r>
            <a:r>
              <a:rPr lang="en-US" sz="1200" b="0" i="0" u="none" strike="noStrike" kern="1200" cap="none" dirty="0">
                <a:solidFill>
                  <a:schemeClr val="tx1"/>
                </a:solidFill>
                <a:effectLst/>
                <a:latin typeface="Calibri"/>
                <a:ea typeface="ＭＳ Ｐゴシック" charset="0"/>
                <a:cs typeface="ＭＳ Ｐゴシック" charset="0"/>
                <a:sym typeface="Calibri"/>
              </a:rPr>
              <a:t>using threat information from Cisco </a:t>
            </a:r>
            <a:r>
              <a:rPr lang="en-US" sz="1200" b="0" i="0" u="none" strike="noStrike" kern="1200" cap="none" dirty="0" err="1">
                <a:solidFill>
                  <a:schemeClr val="tx1"/>
                </a:solidFill>
                <a:effectLst/>
                <a:latin typeface="Calibri"/>
                <a:ea typeface="ＭＳ Ｐゴシック" charset="0"/>
                <a:cs typeface="ＭＳ Ｐゴシック" charset="0"/>
                <a:sym typeface="Calibri"/>
              </a:rPr>
              <a:t>Talos</a:t>
            </a:r>
            <a:r>
              <a:rPr lang="en-US" sz="1200" b="0" i="0" u="none" strike="noStrike" kern="1200" cap="none" dirty="0">
                <a:solidFill>
                  <a:schemeClr val="tx1"/>
                </a:solidFill>
                <a:effectLst/>
                <a:latin typeface="Calibri"/>
                <a:ea typeface="ＭＳ Ｐゴシック" charset="0"/>
                <a:cs typeface="ＭＳ Ｐゴシック" charset="0"/>
                <a:sym typeface="Calibri"/>
              </a:rPr>
              <a:t> Intelligence Group, the largest non-governmental threat intelligence research team in the world, with advanced orchestration, automation and response playbooks to raise efficacy and provide prioritized response actions. </a:t>
            </a:r>
          </a:p>
          <a:p>
            <a:br>
              <a:rPr lang="en-US" sz="1200" b="1" i="0" u="none" strike="noStrike" kern="1200" cap="none" dirty="0">
                <a:solidFill>
                  <a:schemeClr val="tx1"/>
                </a:solidFill>
                <a:effectLst/>
                <a:latin typeface="Calibri"/>
                <a:ea typeface="ＭＳ Ｐゴシック" charset="0"/>
                <a:cs typeface="ＭＳ Ｐゴシック" charset="0"/>
                <a:sym typeface="Calibri"/>
              </a:rPr>
            </a:br>
            <a:r>
              <a:rPr lang="en-US" sz="1200" b="1" i="0" u="none" strike="noStrike" kern="1200" cap="none" dirty="0">
                <a:solidFill>
                  <a:schemeClr val="tx1"/>
                </a:solidFill>
                <a:effectLst/>
                <a:latin typeface="Calibri"/>
                <a:ea typeface="ＭＳ Ｐゴシック" charset="0"/>
                <a:cs typeface="ＭＳ Ｐゴシック" charset="0"/>
                <a:sym typeface="Calibri"/>
              </a:rPr>
              <a:t>Cisco Integrated Security Architecture </a:t>
            </a:r>
            <a:endParaRPr lang="en-US" sz="1200" b="0" i="0" u="none" strike="noStrike" kern="1200" cap="none" dirty="0">
              <a:solidFill>
                <a:schemeClr val="tx1"/>
              </a:solidFill>
              <a:effectLst/>
              <a:latin typeface="Calibri"/>
              <a:ea typeface="ＭＳ Ｐゴシック" charset="0"/>
              <a:cs typeface="ＭＳ Ｐゴシック" charset="0"/>
              <a:sym typeface="Calibri"/>
            </a:endParaRP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MDR leverages Cisco’s world-class integrated security architecture - consisting of Stealthwatch Cloud, Advanced Malware Protection or AMP for Endpoints, Threat Grid, and Umbrella - to advance security operations capabilities.</a:t>
            </a:r>
          </a:p>
          <a:p>
            <a:pPr marL="171450" lvl="0" indent="-171450">
              <a:buFont typeface="Arial" panose="020B0604020202020204" pitchFamily="34" charset="0"/>
              <a:buChar char="•"/>
            </a:pPr>
            <a:r>
              <a:rPr lang="en-US" sz="1200" b="1" i="0" u="none" strike="noStrike" kern="1200" cap="none" dirty="0">
                <a:solidFill>
                  <a:schemeClr val="tx1"/>
                </a:solidFill>
                <a:effectLst/>
                <a:latin typeface="Calibri"/>
                <a:ea typeface="ＭＳ Ｐゴシック" charset="0"/>
                <a:cs typeface="ＭＳ Ｐゴシック" charset="0"/>
                <a:sym typeface="Calibri"/>
              </a:rPr>
              <a:t>Stealthwatch Cloud</a:t>
            </a:r>
            <a:r>
              <a:rPr lang="en-US" sz="1200" b="0" i="0" u="none" strike="noStrike" kern="1200" cap="none" dirty="0">
                <a:solidFill>
                  <a:schemeClr val="tx1"/>
                </a:solidFill>
                <a:effectLst/>
                <a:latin typeface="Calibri"/>
                <a:ea typeface="ＭＳ Ｐゴシック" charset="0"/>
                <a:cs typeface="ＭＳ Ｐゴシック" charset="0"/>
                <a:sym typeface="Calibri"/>
              </a:rPr>
              <a:t> applies the latest Cisco threat intelligence and analytics to proactively protect your cloud resources, internal network, and even encrypted traffic against new threats in a SaaS delivered solution. </a:t>
            </a:r>
          </a:p>
          <a:p>
            <a:pPr marL="171450" lvl="0" indent="-171450">
              <a:buFont typeface="Arial" panose="020B0604020202020204" pitchFamily="34" charset="0"/>
              <a:buChar char="•"/>
            </a:pPr>
            <a:r>
              <a:rPr lang="en-US" sz="1200" b="1" i="0" u="none" strike="noStrike" kern="1200" cap="none" dirty="0">
                <a:solidFill>
                  <a:schemeClr val="tx1"/>
                </a:solidFill>
                <a:effectLst/>
                <a:latin typeface="Calibri"/>
                <a:ea typeface="ＭＳ Ｐゴシック" charset="0"/>
                <a:cs typeface="ＭＳ Ｐゴシック" charset="0"/>
                <a:sym typeface="Calibri"/>
              </a:rPr>
              <a:t>Advanced Malware Protection (AMP) for Endpoints</a:t>
            </a:r>
            <a:r>
              <a:rPr lang="en-US" sz="1200" b="0" i="0" u="none" strike="noStrike" kern="1200" cap="none" dirty="0">
                <a:solidFill>
                  <a:schemeClr val="tx1"/>
                </a:solidFill>
                <a:effectLst/>
                <a:latin typeface="Calibri"/>
                <a:ea typeface="ＭＳ Ｐゴシック" charset="0"/>
                <a:cs typeface="ＭＳ Ｐゴシック" charset="0"/>
                <a:sym typeface="Calibri"/>
              </a:rPr>
              <a:t> continually evolves your endpoint defenses. AMP correlates </a:t>
            </a:r>
            <a:r>
              <a:rPr lang="en-US" sz="1200" b="0" i="0" u="none" strike="noStrike" kern="1200" cap="none" dirty="0" err="1">
                <a:solidFill>
                  <a:schemeClr val="tx1"/>
                </a:solidFill>
                <a:effectLst/>
                <a:latin typeface="Calibri"/>
                <a:ea typeface="ＭＳ Ｐゴシック" charset="0"/>
                <a:cs typeface="ＭＳ Ｐゴシック" charset="0"/>
                <a:sym typeface="Calibri"/>
              </a:rPr>
              <a:t>Talos</a:t>
            </a:r>
            <a:r>
              <a:rPr lang="en-US" sz="1200" b="0" i="0" u="none" strike="noStrike" kern="1200" cap="none" dirty="0">
                <a:solidFill>
                  <a:schemeClr val="tx1"/>
                </a:solidFill>
                <a:effectLst/>
                <a:latin typeface="Calibri"/>
                <a:ea typeface="ＭＳ Ｐゴシック" charset="0"/>
                <a:cs typeface="ＭＳ Ｐゴシック" charset="0"/>
                <a:sym typeface="Calibri"/>
              </a:rPr>
              <a:t> threat data against your environment’s telemetry data and known behavior, linking your defenses into a single, cohesive shield against emerging malware threats.</a:t>
            </a:r>
          </a:p>
          <a:p>
            <a:pPr marL="171450" lvl="0" indent="-171450">
              <a:buFont typeface="Arial" panose="020B0604020202020204" pitchFamily="34" charset="0"/>
              <a:buChar char="•"/>
            </a:pPr>
            <a:r>
              <a:rPr lang="en-US" sz="1200" b="1" i="0" u="none" strike="noStrike" kern="1200" cap="none" dirty="0">
                <a:solidFill>
                  <a:schemeClr val="tx1"/>
                </a:solidFill>
                <a:effectLst/>
                <a:latin typeface="Calibri"/>
                <a:ea typeface="ＭＳ Ｐゴシック" charset="0"/>
                <a:cs typeface="ＭＳ Ｐゴシック" charset="0"/>
                <a:sym typeface="Calibri"/>
              </a:rPr>
              <a:t>Threat Grid</a:t>
            </a:r>
            <a:r>
              <a:rPr lang="en-US" sz="1200" b="0" i="0" u="none" strike="noStrike" kern="1200" cap="none" dirty="0">
                <a:solidFill>
                  <a:schemeClr val="tx1"/>
                </a:solidFill>
                <a:effectLst/>
                <a:latin typeface="Calibri"/>
                <a:ea typeface="ＭＳ Ｐゴシック" charset="0"/>
                <a:cs typeface="ＭＳ Ｐゴシック" charset="0"/>
                <a:sym typeface="Calibri"/>
              </a:rPr>
              <a:t> with advanced sandboxing, analyzes the threat new malware poses to your specific environment and helps prioritize proactive defenses.</a:t>
            </a:r>
          </a:p>
          <a:p>
            <a:pPr marL="171450" lvl="0" indent="-171450">
              <a:buFont typeface="Arial" panose="020B0604020202020204" pitchFamily="34" charset="0"/>
              <a:buChar char="•"/>
            </a:pPr>
            <a:r>
              <a:rPr lang="en-US" sz="1200" b="1" i="0" u="none" strike="noStrike" kern="1200" cap="none" dirty="0">
                <a:solidFill>
                  <a:schemeClr val="tx1"/>
                </a:solidFill>
                <a:effectLst/>
                <a:latin typeface="Calibri"/>
                <a:ea typeface="ＭＳ Ｐゴシック" charset="0"/>
                <a:cs typeface="ＭＳ Ｐゴシック" charset="0"/>
                <a:sym typeface="Calibri"/>
              </a:rPr>
              <a:t>Cisco Umbrella</a:t>
            </a:r>
            <a:r>
              <a:rPr lang="en-US" sz="1200" b="0" i="0" u="none" strike="noStrike" kern="1200" cap="none" dirty="0">
                <a:solidFill>
                  <a:schemeClr val="tx1"/>
                </a:solidFill>
                <a:effectLst/>
                <a:latin typeface="Calibri"/>
                <a:ea typeface="ＭＳ Ｐゴシック" charset="0"/>
                <a:cs typeface="ＭＳ Ｐゴシック" charset="0"/>
                <a:sym typeface="Calibri"/>
              </a:rPr>
              <a:t> enforces security at the DNS and IP layers and blocks threats over any port or protocol before they reach the network or endpoints.</a:t>
            </a:r>
            <a:br>
              <a:rPr lang="en-US" sz="1200" b="0" i="0" u="none" strike="noStrike" kern="1200" cap="none" dirty="0">
                <a:solidFill>
                  <a:schemeClr val="tx1"/>
                </a:solidFill>
                <a:effectLst/>
                <a:latin typeface="Calibri"/>
                <a:ea typeface="ＭＳ Ｐゴシック" charset="0"/>
                <a:cs typeface="ＭＳ Ｐゴシック" charset="0"/>
                <a:sym typeface="Calibri"/>
              </a:rPr>
            </a:br>
            <a:endParaRPr lang="en-US" sz="1200" b="0" i="0" u="none" strike="noStrike" kern="1200" cap="none" dirty="0">
              <a:solidFill>
                <a:schemeClr val="tx1"/>
              </a:solidFill>
              <a:effectLst/>
              <a:latin typeface="Calibri"/>
              <a:ea typeface="ＭＳ Ｐゴシック" charset="0"/>
              <a:cs typeface="ＭＳ Ｐゴシック" charset="0"/>
              <a:sym typeface="Calibri"/>
            </a:endParaRPr>
          </a:p>
          <a:p>
            <a:r>
              <a:rPr lang="en-US" sz="1200" b="1" i="0" u="none" strike="noStrike" kern="1200" cap="none" dirty="0">
                <a:solidFill>
                  <a:schemeClr val="tx1"/>
                </a:solidFill>
                <a:effectLst/>
                <a:latin typeface="Calibri"/>
                <a:ea typeface="ＭＳ Ｐゴシック" charset="0"/>
                <a:cs typeface="ＭＳ Ｐゴシック" charset="0"/>
                <a:sym typeface="Calibri"/>
              </a:rPr>
              <a:t>Customer Portal</a:t>
            </a:r>
            <a:endParaRPr lang="en-US" sz="1200" b="0" i="0" u="none" strike="noStrike" kern="1200" cap="none" dirty="0">
              <a:solidFill>
                <a:schemeClr val="tx1"/>
              </a:solidFill>
              <a:effectLst/>
              <a:latin typeface="Calibri"/>
              <a:ea typeface="ＭＳ Ｐゴシック" charset="0"/>
              <a:cs typeface="ＭＳ Ｐゴシック" charset="0"/>
              <a:sym typeface="Calibri"/>
            </a:endParaRP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A customer portal provides a dashboard, ticketing, case management workflow for maximum visibility into all activities. </a:t>
            </a: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Corrective action can be taken directly from the portal interface with the ability to block suspicious files, domains, and more.</a:t>
            </a:r>
          </a:p>
          <a:p>
            <a:br>
              <a:rPr lang="en-US" sz="1200" b="1" i="0" u="none" strike="noStrike" kern="1200" cap="none" dirty="0">
                <a:solidFill>
                  <a:schemeClr val="tx1"/>
                </a:solidFill>
                <a:effectLst/>
                <a:latin typeface="Calibri"/>
                <a:ea typeface="ＭＳ Ｐゴシック" charset="0"/>
                <a:cs typeface="ＭＳ Ｐゴシック" charset="0"/>
                <a:sym typeface="Calibri"/>
              </a:rPr>
            </a:br>
            <a:r>
              <a:rPr lang="en-US" sz="1200" b="1" i="0" u="none" strike="noStrike" kern="1200" cap="none" dirty="0" err="1">
                <a:solidFill>
                  <a:schemeClr val="tx1"/>
                </a:solidFill>
                <a:effectLst/>
                <a:latin typeface="Calibri"/>
                <a:ea typeface="ＭＳ Ｐゴシック" charset="0"/>
                <a:cs typeface="ＭＳ Ｐゴシック" charset="0"/>
                <a:sym typeface="Calibri"/>
              </a:rPr>
              <a:t>Talos</a:t>
            </a:r>
            <a:r>
              <a:rPr lang="en-US" sz="1200" b="1" i="0" u="none" strike="noStrike" kern="1200" cap="none" dirty="0">
                <a:solidFill>
                  <a:schemeClr val="tx1"/>
                </a:solidFill>
                <a:effectLst/>
                <a:latin typeface="Calibri"/>
                <a:ea typeface="ＭＳ Ｐゴシック" charset="0"/>
                <a:cs typeface="ＭＳ Ｐゴシック" charset="0"/>
                <a:sym typeface="Calibri"/>
              </a:rPr>
              <a:t> Incident Response </a:t>
            </a:r>
            <a:endParaRPr lang="en-US" sz="1200" b="0" i="0" u="none" strike="noStrike" kern="1200" cap="none" dirty="0">
              <a:solidFill>
                <a:schemeClr val="tx1"/>
              </a:solidFill>
              <a:effectLst/>
              <a:latin typeface="Calibri"/>
              <a:ea typeface="ＭＳ Ｐゴシック" charset="0"/>
              <a:cs typeface="ＭＳ Ｐゴシック" charset="0"/>
              <a:sym typeface="Calibri"/>
            </a:endParaRP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Coordination with Cisco </a:t>
            </a:r>
            <a:r>
              <a:rPr lang="en-US" sz="1200" b="0" i="0" u="none" strike="noStrike" kern="1200" cap="none" dirty="0" err="1">
                <a:solidFill>
                  <a:schemeClr val="tx1"/>
                </a:solidFill>
                <a:effectLst/>
                <a:latin typeface="Calibri"/>
                <a:ea typeface="ＭＳ Ｐゴシック" charset="0"/>
                <a:cs typeface="ＭＳ Ｐゴシック" charset="0"/>
                <a:sym typeface="Calibri"/>
              </a:rPr>
              <a:t>Talos</a:t>
            </a:r>
            <a:r>
              <a:rPr lang="en-US" sz="1200" b="0" i="0" u="none" strike="noStrike" kern="1200" cap="none" dirty="0">
                <a:solidFill>
                  <a:schemeClr val="tx1"/>
                </a:solidFill>
                <a:effectLst/>
                <a:latin typeface="Calibri"/>
                <a:ea typeface="ＭＳ Ｐゴシック" charset="0"/>
                <a:cs typeface="ＭＳ Ｐゴシック" charset="0"/>
                <a:sym typeface="Calibri"/>
              </a:rPr>
              <a:t> Incident Response for breach and forensic investigations provides next-level capabilities when an alert becomes a breach. </a:t>
            </a: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When an alert becomes a breach, we coordinate with our Incident Response Service for forensic investigations which provides next-level capabilities.</a:t>
            </a:r>
          </a:p>
          <a:p>
            <a:pPr marL="171450" lvl="0" indent="-171450">
              <a:buFont typeface="Arial" panose="020B0604020202020204" pitchFamily="34" charset="0"/>
              <a:buChar char="•"/>
            </a:pPr>
            <a:r>
              <a:rPr lang="en-US" sz="1200" b="0" i="0" u="none" strike="noStrike" kern="1200" cap="none" dirty="0">
                <a:solidFill>
                  <a:schemeClr val="tx1"/>
                </a:solidFill>
                <a:effectLst/>
                <a:latin typeface="Calibri"/>
                <a:ea typeface="ＭＳ Ｐゴシック" charset="0"/>
                <a:cs typeface="ＭＳ Ｐゴシック" charset="0"/>
                <a:sym typeface="Calibri"/>
              </a:rPr>
              <a:t>Our team of forensic investigators can leverage the MDR data repository and tools to respond to an emergency faster.</a:t>
            </a: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0</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9743121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Gain visibility and apply context across your attack surface with Cisco’s integrated security architecture.</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1</a:t>
            </a:fld>
            <a:endParaRPr lang="en-US" dirty="0"/>
          </a:p>
        </p:txBody>
      </p:sp>
    </p:spTree>
    <p:extLst>
      <p:ext uri="{BB962C8B-B14F-4D97-AF65-F5344CB8AC3E}">
        <p14:creationId xmlns:p14="http://schemas.microsoft.com/office/powerpoint/2010/main" val="25314239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ＭＳ Ｐゴシック" charset="0"/>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ＭＳ Ｐゴシック" charset="0"/>
              <a:cs typeface="Arial"/>
              <a:sym typeface="Arial"/>
            </a:endParaRPr>
          </a:p>
        </p:txBody>
      </p:sp>
    </p:spTree>
    <p:extLst>
      <p:ext uri="{BB962C8B-B14F-4D97-AF65-F5344CB8AC3E}">
        <p14:creationId xmlns:p14="http://schemas.microsoft.com/office/powerpoint/2010/main" val="25389763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chemeClr val="lt2"/>
        </a:solidFill>
        <a:effectLst/>
      </p:bgPr>
    </p:bg>
    <p:spTree>
      <p:nvGrpSpPr>
        <p:cNvPr id="1" name="Shape 12"/>
        <p:cNvGrpSpPr/>
        <p:nvPr/>
      </p:nvGrpSpPr>
      <p:grpSpPr>
        <a:xfrm>
          <a:off x="0" y="0"/>
          <a:ext cx="0" cy="0"/>
          <a:chOff x="0" y="0"/>
          <a:chExt cx="0" cy="0"/>
        </a:xfrm>
      </p:grpSpPr>
      <p:sp>
        <p:nvSpPr>
          <p:cNvPr id="8" name="Text Placeholder 7">
            <a:extLst>
              <a:ext uri="{FF2B5EF4-FFF2-40B4-BE49-F238E27FC236}">
                <a16:creationId xmlns:a16="http://schemas.microsoft.com/office/drawing/2014/main" id="{BD151278-EFE9-BA45-A974-3B6CA72F9909}"/>
              </a:ext>
            </a:extLst>
          </p:cNvPr>
          <p:cNvSpPr>
            <a:spLocks noGrp="1"/>
          </p:cNvSpPr>
          <p:nvPr>
            <p:ph type="body" sz="quarter" idx="10" hasCustomPrompt="1"/>
          </p:nvPr>
        </p:nvSpPr>
        <p:spPr>
          <a:xfrm>
            <a:off x="583169" y="3914796"/>
            <a:ext cx="2865967" cy="334433"/>
          </a:xfrm>
          <a:prstGeom prst="rect">
            <a:avLst/>
          </a:prstGeom>
        </p:spPr>
        <p:txBody>
          <a:bodyPr/>
          <a:lstStyle>
            <a:lvl1pPr>
              <a:defRPr sz="2133" b="0" i="0">
                <a:solidFill>
                  <a:schemeClr val="tx1"/>
                </a:solidFill>
                <a:latin typeface="CiscoSansTT ExtraLight" panose="020B0303020201020303" pitchFamily="34" charset="0"/>
                <a:cs typeface="CiscoSansTT ExtraLight" panose="020B0303020201020303" pitchFamily="34" charset="0"/>
              </a:defRPr>
            </a:lvl1pPr>
            <a:lvl2pPr>
              <a:defRPr sz="2133" b="0" i="0">
                <a:solidFill>
                  <a:schemeClr val="tx1"/>
                </a:solidFill>
                <a:latin typeface="CiscoSansTT ExtraLight" panose="020B0303020201020303" pitchFamily="34" charset="0"/>
                <a:cs typeface="CiscoSansTT ExtraLight" panose="020B0303020201020303" pitchFamily="34" charset="0"/>
              </a:defRPr>
            </a:lvl2pPr>
            <a:lvl3pPr>
              <a:defRPr sz="2133" b="0" i="0">
                <a:solidFill>
                  <a:schemeClr val="tx1"/>
                </a:solidFill>
                <a:latin typeface="CiscoSansTT ExtraLight" panose="020B0303020201020303" pitchFamily="34" charset="0"/>
                <a:cs typeface="CiscoSansTT ExtraLight" panose="020B0303020201020303" pitchFamily="34" charset="0"/>
              </a:defRPr>
            </a:lvl3pPr>
            <a:lvl4pPr>
              <a:defRPr sz="2133" b="0" i="0">
                <a:solidFill>
                  <a:schemeClr val="tx1"/>
                </a:solidFill>
                <a:latin typeface="CiscoSansTT ExtraLight" panose="020B0303020201020303" pitchFamily="34" charset="0"/>
                <a:cs typeface="CiscoSansTT ExtraLight" panose="020B0303020201020303" pitchFamily="34" charset="0"/>
              </a:defRPr>
            </a:lvl4pPr>
            <a:lvl5pPr>
              <a:defRPr sz="2133" b="0" i="0">
                <a:solidFill>
                  <a:schemeClr val="tx1"/>
                </a:solidFill>
                <a:latin typeface="CiscoSansTT ExtraLight" panose="020B0303020201020303" pitchFamily="34" charset="0"/>
                <a:cs typeface="CiscoSansTT ExtraLight" panose="020B0303020201020303" pitchFamily="34" charset="0"/>
              </a:defRPr>
            </a:lvl5pPr>
          </a:lstStyle>
          <a:p>
            <a:pPr lvl="0"/>
            <a:r>
              <a:rPr lang="en-GB"/>
              <a:t>Lorem ipsum</a:t>
            </a:r>
            <a:endParaRPr lang="en-US"/>
          </a:p>
        </p:txBody>
      </p:sp>
      <p:pic>
        <p:nvPicPr>
          <p:cNvPr id="2" name="Picture 1" descr="A close up of a sign&#10;&#10;Description automatically generated">
            <a:extLst>
              <a:ext uri="{FF2B5EF4-FFF2-40B4-BE49-F238E27FC236}">
                <a16:creationId xmlns:a16="http://schemas.microsoft.com/office/drawing/2014/main" id="{C7C290BF-922A-8D40-A281-C883E1525E9F}"/>
              </a:ext>
            </a:extLst>
          </p:cNvPr>
          <p:cNvPicPr>
            <a:picLocks noChangeAspect="1"/>
          </p:cNvPicPr>
          <p:nvPr userDrawn="1"/>
        </p:nvPicPr>
        <p:blipFill>
          <a:blip r:embed="rId2"/>
          <a:stretch>
            <a:fillRect/>
          </a:stretch>
        </p:blipFill>
        <p:spPr>
          <a:xfrm>
            <a:off x="5129963" y="2310511"/>
            <a:ext cx="7680768" cy="5504549"/>
          </a:xfrm>
          <a:prstGeom prst="rect">
            <a:avLst/>
          </a:prstGeom>
        </p:spPr>
      </p:pic>
      <p:sp>
        <p:nvSpPr>
          <p:cNvPr id="3" name="Google Shape;735;p181">
            <a:extLst>
              <a:ext uri="{FF2B5EF4-FFF2-40B4-BE49-F238E27FC236}">
                <a16:creationId xmlns:a16="http://schemas.microsoft.com/office/drawing/2014/main" id="{8A995F9F-CBE8-6D4F-A6C6-07F1D1840F96}"/>
              </a:ext>
            </a:extLst>
          </p:cNvPr>
          <p:cNvSpPr/>
          <p:nvPr userDrawn="1"/>
        </p:nvSpPr>
        <p:spPr>
          <a:xfrm>
            <a:off x="713229" y="661025"/>
            <a:ext cx="826145" cy="438900"/>
          </a:xfrm>
          <a:custGeom>
            <a:avLst/>
            <a:gdLst/>
            <a:ahLst/>
            <a:cxnLst/>
            <a:rect l="l" t="t" r="r" b="b"/>
            <a:pathLst>
              <a:path w="3456" h="1834" extrusionOk="0">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a:noFill/>
          </a:ln>
        </p:spPr>
        <p:txBody>
          <a:bodyPr spcFirstLastPara="1" wrap="square" lIns="121900" tIns="60933" rIns="121900" bIns="60933"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chemeClr val="tx1"/>
              </a:solidFill>
              <a:latin typeface="Arial"/>
              <a:ea typeface="Arial"/>
              <a:cs typeface="Arial"/>
              <a:sym typeface="Arial"/>
            </a:endParaRPr>
          </a:p>
        </p:txBody>
      </p:sp>
      <p:sp>
        <p:nvSpPr>
          <p:cNvPr id="6" name="Google Shape;738;p181">
            <a:extLst>
              <a:ext uri="{FF2B5EF4-FFF2-40B4-BE49-F238E27FC236}">
                <a16:creationId xmlns:a16="http://schemas.microsoft.com/office/drawing/2014/main" id="{7287A663-16FE-A848-BCD8-859F0221B42D}"/>
              </a:ext>
            </a:extLst>
          </p:cNvPr>
          <p:cNvSpPr txBox="1">
            <a:spLocks/>
          </p:cNvSpPr>
          <p:nvPr userDrawn="1"/>
        </p:nvSpPr>
        <p:spPr>
          <a:xfrm>
            <a:off x="583168" y="4410300"/>
            <a:ext cx="2171600" cy="323200"/>
          </a:xfrm>
          <a:prstGeom prst="rect">
            <a:avLst/>
          </a:prstGeom>
          <a:noFill/>
          <a:ln>
            <a:noFill/>
          </a:ln>
        </p:spPr>
        <p:txBody>
          <a:bodyPr spcFirstLastPara="1" wrap="square" lIns="121867" tIns="60933" rIns="121867" bIns="60933"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Clr>
                <a:schemeClr val="dk2"/>
              </a:buClr>
              <a:buSzPts val="3600"/>
            </a:pPr>
            <a:r>
              <a:rPr lang="en-US" sz="1467">
                <a:solidFill>
                  <a:schemeClr val="tx1"/>
                </a:solidFill>
                <a:latin typeface="CiscoSansTT ExtraLight" panose="020B0303020201020303" pitchFamily="34" charset="0"/>
                <a:cs typeface="CiscoSansTT ExtraLight" panose="020B0303020201020303" pitchFamily="34" charset="0"/>
              </a:rPr>
              <a:t>00th of Date</a:t>
            </a:r>
            <a:endParaRPr lang="en-US" sz="1467">
              <a:solidFill>
                <a:schemeClr val="tx1"/>
              </a:solidFill>
              <a:latin typeface="CiscoSansTT ExtraLight" panose="020B0303020201020303" pitchFamily="34" charset="0"/>
              <a:cs typeface="CiscoSansTT ExtraLight" panose="020B0303020201020303" pitchFamily="34" charset="0"/>
              <a:sym typeface="Helvetica Neue Light"/>
            </a:endParaRPr>
          </a:p>
        </p:txBody>
      </p:sp>
      <p:sp>
        <p:nvSpPr>
          <p:cNvPr id="10" name="Text Placeholder 9">
            <a:extLst>
              <a:ext uri="{FF2B5EF4-FFF2-40B4-BE49-F238E27FC236}">
                <a16:creationId xmlns:a16="http://schemas.microsoft.com/office/drawing/2014/main" id="{776DA0AD-DA96-FC43-A82B-1CA9FEE1660C}"/>
              </a:ext>
            </a:extLst>
          </p:cNvPr>
          <p:cNvSpPr>
            <a:spLocks noGrp="1"/>
          </p:cNvSpPr>
          <p:nvPr>
            <p:ph type="body" sz="quarter" idx="11" hasCustomPrompt="1"/>
          </p:nvPr>
        </p:nvSpPr>
        <p:spPr>
          <a:xfrm>
            <a:off x="583168" y="2101667"/>
            <a:ext cx="4545763" cy="1407584"/>
          </a:xfrm>
          <a:prstGeom prst="rect">
            <a:avLst/>
          </a:prstGeom>
        </p:spPr>
        <p:txBody>
          <a:bodyPr/>
          <a:lstStyle>
            <a:lvl1pPr>
              <a:defRPr sz="4800" b="0" i="0">
                <a:solidFill>
                  <a:schemeClr val="tx1"/>
                </a:solidFill>
                <a:latin typeface="CiscoSansTT ExtraLight" panose="020B0303020201020303" pitchFamily="34" charset="0"/>
                <a:cs typeface="CiscoSansTT ExtraLight" panose="020B0303020201020303" pitchFamily="34" charset="0"/>
              </a:defRPr>
            </a:lvl1pPr>
          </a:lstStyle>
          <a:p>
            <a:pPr lvl="0"/>
            <a:r>
              <a:rPr lang="en-GB"/>
              <a:t>Lorem ipsum </a:t>
            </a:r>
            <a:r>
              <a:rPr lang="en-GB" err="1"/>
              <a:t>dolor</a:t>
            </a:r>
            <a:r>
              <a:rPr lang="en-GB"/>
              <a:t> sit </a:t>
            </a:r>
            <a:r>
              <a:rPr lang="en-GB" err="1"/>
              <a:t>amet</a:t>
            </a:r>
            <a:endParaRPr lang="en-US"/>
          </a:p>
        </p:txBody>
      </p:sp>
    </p:spTree>
    <p:extLst>
      <p:ext uri="{BB962C8B-B14F-4D97-AF65-F5344CB8AC3E}">
        <p14:creationId xmlns:p14="http://schemas.microsoft.com/office/powerpoint/2010/main" val="32270648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left 3 Column">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ADB48F9A-75B0-5F46-94A1-49CE344195E1}"/>
              </a:ext>
            </a:extLst>
          </p:cNvPr>
          <p:cNvSpPr>
            <a:spLocks noGrp="1"/>
          </p:cNvSpPr>
          <p:nvPr>
            <p:ph type="body" sz="quarter" idx="14"/>
          </p:nvPr>
        </p:nvSpPr>
        <p:spPr>
          <a:xfrm>
            <a:off x="9180560" y="1492479"/>
            <a:ext cx="2275416" cy="364891"/>
          </a:xfrm>
          <a:prstGeom prst="rect">
            <a:avLst/>
          </a:prstGeom>
        </p:spPr>
        <p:txBody>
          <a:bodyPr/>
          <a:lstStyle>
            <a:lvl1pPr marL="0" marR="0" indent="0" algn="l" rtl="0">
              <a:lnSpc>
                <a:spcPct val="100000"/>
              </a:lnSpc>
              <a:spcBef>
                <a:spcPts val="0"/>
              </a:spcBef>
              <a:spcAft>
                <a:spcPts val="0"/>
              </a:spcAft>
              <a:buNone/>
              <a:defRPr sz="1600" b="0" i="0">
                <a:solidFill>
                  <a:schemeClr val="accent1"/>
                </a:solidFill>
                <a:latin typeface="CiscoSansTT ExtraLight" panose="020B0303020201020303" pitchFamily="34" charset="0"/>
                <a:cs typeface="CiscoSansTT ExtraLight" panose="020B0303020201020303" pitchFamily="34" charset="0"/>
              </a:defRPr>
            </a:lvl1pPr>
            <a:lvl2pPr>
              <a:defRPr sz="1600" b="0" i="0">
                <a:latin typeface="CiscoSansTT ExtraLight" panose="020B0303020201020303" pitchFamily="34" charset="0"/>
                <a:cs typeface="CiscoSansTT ExtraLight" panose="020B0303020201020303" pitchFamily="34" charset="0"/>
              </a:defRPr>
            </a:lvl2pPr>
            <a:lvl3pPr>
              <a:defRPr sz="1600" b="0" i="0">
                <a:latin typeface="CiscoSansTT ExtraLight" panose="020B0303020201020303" pitchFamily="34" charset="0"/>
                <a:cs typeface="CiscoSansTT ExtraLight" panose="020B0303020201020303" pitchFamily="34" charset="0"/>
              </a:defRPr>
            </a:lvl3pPr>
            <a:lvl4pPr>
              <a:defRPr sz="1600" b="0" i="0">
                <a:latin typeface="CiscoSansTT ExtraLight" panose="020B0303020201020303" pitchFamily="34" charset="0"/>
                <a:cs typeface="CiscoSansTT ExtraLight" panose="020B0303020201020303" pitchFamily="34" charset="0"/>
              </a:defRPr>
            </a:lvl4pPr>
            <a:lvl5pPr>
              <a:defRPr sz="1600" b="0" i="0">
                <a:latin typeface="CiscoSansTT ExtraLight" panose="020B0303020201020303" pitchFamily="34" charset="0"/>
                <a:cs typeface="CiscoSansTT ExtraLight" panose="020B0303020201020303" pitchFamily="34" charset="0"/>
              </a:defRPr>
            </a:lvl5pPr>
          </a:lstStyle>
          <a:p>
            <a:pPr marL="0" marR="0" lvl="0" indent="0" algn="l" rtl="0">
              <a:lnSpc>
                <a:spcPct val="100000"/>
              </a:lnSpc>
              <a:spcBef>
                <a:spcPts val="0"/>
              </a:spcBef>
              <a:spcAft>
                <a:spcPts val="0"/>
              </a:spcAft>
              <a:buNone/>
            </a:pPr>
            <a:endParaRPr lang="en-US" sz="1600" u="none" strike="noStrike" cap="none">
              <a:solidFill>
                <a:schemeClr val="accent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19" name="Text Placeholder 12">
            <a:extLst>
              <a:ext uri="{FF2B5EF4-FFF2-40B4-BE49-F238E27FC236}">
                <a16:creationId xmlns:a16="http://schemas.microsoft.com/office/drawing/2014/main" id="{DAF50268-6A31-634C-AAB5-22721EE551F7}"/>
              </a:ext>
            </a:extLst>
          </p:cNvPr>
          <p:cNvSpPr>
            <a:spLocks noGrp="1"/>
          </p:cNvSpPr>
          <p:nvPr>
            <p:ph type="body" sz="quarter" idx="15"/>
          </p:nvPr>
        </p:nvSpPr>
        <p:spPr>
          <a:xfrm>
            <a:off x="9180560" y="1915463"/>
            <a:ext cx="2275600" cy="3282949"/>
          </a:xfrm>
          <a:prstGeom prst="rect">
            <a:avLst/>
          </a:prstGeom>
        </p:spPr>
        <p:txBody>
          <a:bodyPr/>
          <a:lstStyle>
            <a:lvl1pPr marL="0" marR="0" indent="0" algn="l" rtl="0">
              <a:lnSpc>
                <a:spcPct val="100000"/>
              </a:lnSpc>
              <a:spcBef>
                <a:spcPts val="0"/>
              </a:spcBef>
              <a:spcAft>
                <a:spcPts val="0"/>
              </a:spcAft>
              <a:buNone/>
              <a:defRPr sz="1333" b="0" i="0">
                <a:solidFill>
                  <a:schemeClr val="tx1"/>
                </a:solidFill>
                <a:latin typeface="CiscoSansTT ExtraLight" panose="020B0303020201020303" pitchFamily="34" charset="0"/>
                <a:cs typeface="CiscoSansTT ExtraLight" panose="020B0303020201020303" pitchFamily="34" charset="0"/>
              </a:defRPr>
            </a:lvl1pPr>
            <a:lvl2pPr>
              <a:defRPr sz="1333" b="0" i="0">
                <a:latin typeface="CiscoSansTT ExtraLight" panose="020B0303020201020303" pitchFamily="34" charset="0"/>
                <a:cs typeface="CiscoSansTT ExtraLight" panose="020B0303020201020303" pitchFamily="34" charset="0"/>
              </a:defRPr>
            </a:lvl2pPr>
            <a:lvl3pPr>
              <a:defRPr sz="1333" b="0" i="0">
                <a:latin typeface="CiscoSansTT ExtraLight" panose="020B0303020201020303" pitchFamily="34" charset="0"/>
                <a:cs typeface="CiscoSansTT ExtraLight" panose="020B0303020201020303" pitchFamily="34" charset="0"/>
              </a:defRPr>
            </a:lvl3pPr>
            <a:lvl4pPr>
              <a:defRPr sz="1333" b="0" i="0">
                <a:latin typeface="CiscoSansTT ExtraLight" panose="020B0303020201020303" pitchFamily="34" charset="0"/>
                <a:cs typeface="CiscoSansTT ExtraLight" panose="020B0303020201020303" pitchFamily="34" charset="0"/>
              </a:defRPr>
            </a:lvl4pPr>
            <a:lvl5pPr>
              <a:defRPr sz="1333" b="0" i="0">
                <a:latin typeface="CiscoSansTT ExtraLight" panose="020B0303020201020303" pitchFamily="34" charset="0"/>
                <a:cs typeface="CiscoSansTT ExtraLight" panose="020B0303020201020303" pitchFamily="34" charset="0"/>
              </a:defRPr>
            </a:lvl5pPr>
          </a:lstStyle>
          <a:p>
            <a:pPr marL="0" marR="0" lvl="0" indent="0" algn="l" rtl="0">
              <a:lnSpc>
                <a:spcPct val="100000"/>
              </a:lnSpc>
              <a:spcBef>
                <a:spcPts val="0"/>
              </a:spcBef>
              <a:spcAft>
                <a:spcPts val="0"/>
              </a:spcAft>
              <a:buNone/>
            </a:pPr>
            <a:endParaRPr lang="en-US" sz="1333" u="none" strike="noStrike" cap="none">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16" name="Text Placeholder 14">
            <a:extLst>
              <a:ext uri="{FF2B5EF4-FFF2-40B4-BE49-F238E27FC236}">
                <a16:creationId xmlns:a16="http://schemas.microsoft.com/office/drawing/2014/main" id="{D2BB6F7A-7AC7-4844-8EC1-028D16E4865C}"/>
              </a:ext>
            </a:extLst>
          </p:cNvPr>
          <p:cNvSpPr>
            <a:spLocks noGrp="1"/>
          </p:cNvSpPr>
          <p:nvPr>
            <p:ph type="body" sz="quarter" idx="12"/>
          </p:nvPr>
        </p:nvSpPr>
        <p:spPr>
          <a:xfrm>
            <a:off x="6765163" y="1492479"/>
            <a:ext cx="2275416" cy="364891"/>
          </a:xfrm>
          <a:prstGeom prst="rect">
            <a:avLst/>
          </a:prstGeom>
        </p:spPr>
        <p:txBody>
          <a:bodyPr/>
          <a:lstStyle>
            <a:lvl1pPr marL="0" marR="0" indent="0" algn="l" rtl="0">
              <a:lnSpc>
                <a:spcPct val="100000"/>
              </a:lnSpc>
              <a:spcBef>
                <a:spcPts val="0"/>
              </a:spcBef>
              <a:spcAft>
                <a:spcPts val="0"/>
              </a:spcAft>
              <a:buNone/>
              <a:defRPr sz="1600" b="0" i="0">
                <a:solidFill>
                  <a:schemeClr val="accent1"/>
                </a:solidFill>
                <a:latin typeface="CiscoSansTT ExtraLight" panose="020B0303020201020303" pitchFamily="34" charset="0"/>
                <a:cs typeface="CiscoSansTT ExtraLight" panose="020B0303020201020303" pitchFamily="34" charset="0"/>
              </a:defRPr>
            </a:lvl1pPr>
            <a:lvl2pPr>
              <a:defRPr sz="1600" b="0" i="0">
                <a:latin typeface="CiscoSansTT ExtraLight" panose="020B0303020201020303" pitchFamily="34" charset="0"/>
                <a:cs typeface="CiscoSansTT ExtraLight" panose="020B0303020201020303" pitchFamily="34" charset="0"/>
              </a:defRPr>
            </a:lvl2pPr>
            <a:lvl3pPr>
              <a:defRPr sz="1600" b="0" i="0">
                <a:latin typeface="CiscoSansTT ExtraLight" panose="020B0303020201020303" pitchFamily="34" charset="0"/>
                <a:cs typeface="CiscoSansTT ExtraLight" panose="020B0303020201020303" pitchFamily="34" charset="0"/>
              </a:defRPr>
            </a:lvl3pPr>
            <a:lvl4pPr>
              <a:defRPr sz="1600" b="0" i="0">
                <a:latin typeface="CiscoSansTT ExtraLight" panose="020B0303020201020303" pitchFamily="34" charset="0"/>
                <a:cs typeface="CiscoSansTT ExtraLight" panose="020B0303020201020303" pitchFamily="34" charset="0"/>
              </a:defRPr>
            </a:lvl4pPr>
            <a:lvl5pPr>
              <a:defRPr sz="1600" b="0" i="0">
                <a:latin typeface="CiscoSansTT ExtraLight" panose="020B0303020201020303" pitchFamily="34" charset="0"/>
                <a:cs typeface="CiscoSansTT ExtraLight" panose="020B0303020201020303" pitchFamily="34" charset="0"/>
              </a:defRPr>
            </a:lvl5pPr>
          </a:lstStyle>
          <a:p>
            <a:pPr marL="0" marR="0" lvl="0" indent="0" algn="l" rtl="0">
              <a:lnSpc>
                <a:spcPct val="100000"/>
              </a:lnSpc>
              <a:spcBef>
                <a:spcPts val="0"/>
              </a:spcBef>
              <a:spcAft>
                <a:spcPts val="0"/>
              </a:spcAft>
              <a:buNone/>
            </a:pPr>
            <a:endParaRPr lang="en-US" sz="1600" u="none" strike="noStrike" cap="none">
              <a:solidFill>
                <a:schemeClr val="accent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17" name="Text Placeholder 12">
            <a:extLst>
              <a:ext uri="{FF2B5EF4-FFF2-40B4-BE49-F238E27FC236}">
                <a16:creationId xmlns:a16="http://schemas.microsoft.com/office/drawing/2014/main" id="{5C8DFF40-598B-3646-93AC-9C973014928D}"/>
              </a:ext>
            </a:extLst>
          </p:cNvPr>
          <p:cNvSpPr>
            <a:spLocks noGrp="1"/>
          </p:cNvSpPr>
          <p:nvPr>
            <p:ph type="body" sz="quarter" idx="13"/>
          </p:nvPr>
        </p:nvSpPr>
        <p:spPr>
          <a:xfrm>
            <a:off x="6765163" y="1915463"/>
            <a:ext cx="2275600" cy="3282949"/>
          </a:xfrm>
          <a:prstGeom prst="rect">
            <a:avLst/>
          </a:prstGeom>
        </p:spPr>
        <p:txBody>
          <a:bodyPr/>
          <a:lstStyle>
            <a:lvl1pPr marL="0" marR="0" indent="0" algn="l" rtl="0">
              <a:lnSpc>
                <a:spcPct val="100000"/>
              </a:lnSpc>
              <a:spcBef>
                <a:spcPts val="0"/>
              </a:spcBef>
              <a:spcAft>
                <a:spcPts val="0"/>
              </a:spcAft>
              <a:buNone/>
              <a:defRPr sz="1333" b="0" i="0">
                <a:solidFill>
                  <a:schemeClr val="tx1"/>
                </a:solidFill>
                <a:latin typeface="CiscoSansTT ExtraLight" panose="020B0303020201020303" pitchFamily="34" charset="0"/>
                <a:cs typeface="CiscoSansTT ExtraLight" panose="020B0303020201020303" pitchFamily="34" charset="0"/>
              </a:defRPr>
            </a:lvl1pPr>
            <a:lvl2pPr>
              <a:defRPr sz="1333" b="0" i="0">
                <a:latin typeface="CiscoSansTT ExtraLight" panose="020B0303020201020303" pitchFamily="34" charset="0"/>
                <a:cs typeface="CiscoSansTT ExtraLight" panose="020B0303020201020303" pitchFamily="34" charset="0"/>
              </a:defRPr>
            </a:lvl2pPr>
            <a:lvl3pPr>
              <a:defRPr sz="1333" b="0" i="0">
                <a:latin typeface="CiscoSansTT ExtraLight" panose="020B0303020201020303" pitchFamily="34" charset="0"/>
                <a:cs typeface="CiscoSansTT ExtraLight" panose="020B0303020201020303" pitchFamily="34" charset="0"/>
              </a:defRPr>
            </a:lvl3pPr>
            <a:lvl4pPr>
              <a:defRPr sz="1333" b="0" i="0">
                <a:latin typeface="CiscoSansTT ExtraLight" panose="020B0303020201020303" pitchFamily="34" charset="0"/>
                <a:cs typeface="CiscoSansTT ExtraLight" panose="020B0303020201020303" pitchFamily="34" charset="0"/>
              </a:defRPr>
            </a:lvl4pPr>
            <a:lvl5pPr>
              <a:defRPr sz="1333" b="0" i="0">
                <a:latin typeface="CiscoSansTT ExtraLight" panose="020B0303020201020303" pitchFamily="34" charset="0"/>
                <a:cs typeface="CiscoSansTT ExtraLight" panose="020B0303020201020303" pitchFamily="34" charset="0"/>
              </a:defRPr>
            </a:lvl5pPr>
          </a:lstStyle>
          <a:p>
            <a:pPr marL="0" marR="0" lvl="0" indent="0" algn="l" rtl="0">
              <a:lnSpc>
                <a:spcPct val="100000"/>
              </a:lnSpc>
              <a:spcBef>
                <a:spcPts val="0"/>
              </a:spcBef>
              <a:spcAft>
                <a:spcPts val="0"/>
              </a:spcAft>
              <a:buNone/>
            </a:pPr>
            <a:endParaRPr lang="en-US" sz="1333" u="none" strike="noStrike" cap="none">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15" name="Text Placeholder 14">
            <a:extLst>
              <a:ext uri="{FF2B5EF4-FFF2-40B4-BE49-F238E27FC236}">
                <a16:creationId xmlns:a16="http://schemas.microsoft.com/office/drawing/2014/main" id="{CC157314-987F-9744-96E8-D4DE674A2693}"/>
              </a:ext>
            </a:extLst>
          </p:cNvPr>
          <p:cNvSpPr>
            <a:spLocks noGrp="1"/>
          </p:cNvSpPr>
          <p:nvPr>
            <p:ph type="body" sz="quarter" idx="11"/>
          </p:nvPr>
        </p:nvSpPr>
        <p:spPr>
          <a:xfrm>
            <a:off x="4349767" y="1492479"/>
            <a:ext cx="2275416" cy="364891"/>
          </a:xfrm>
          <a:prstGeom prst="rect">
            <a:avLst/>
          </a:prstGeom>
        </p:spPr>
        <p:txBody>
          <a:bodyPr/>
          <a:lstStyle>
            <a:lvl1pPr marL="0" marR="0" indent="0" algn="l" rtl="0">
              <a:lnSpc>
                <a:spcPct val="100000"/>
              </a:lnSpc>
              <a:spcBef>
                <a:spcPts val="0"/>
              </a:spcBef>
              <a:spcAft>
                <a:spcPts val="0"/>
              </a:spcAft>
              <a:buNone/>
              <a:defRPr sz="1600" b="0" i="0">
                <a:solidFill>
                  <a:schemeClr val="accent1"/>
                </a:solidFill>
                <a:latin typeface="CiscoSansTT ExtraLight" panose="020B0303020201020303" pitchFamily="34" charset="0"/>
                <a:cs typeface="CiscoSansTT ExtraLight" panose="020B0303020201020303" pitchFamily="34" charset="0"/>
              </a:defRPr>
            </a:lvl1pPr>
            <a:lvl2pPr>
              <a:defRPr sz="1600" b="0" i="0">
                <a:latin typeface="CiscoSansTT ExtraLight" panose="020B0303020201020303" pitchFamily="34" charset="0"/>
                <a:cs typeface="CiscoSansTT ExtraLight" panose="020B0303020201020303" pitchFamily="34" charset="0"/>
              </a:defRPr>
            </a:lvl2pPr>
            <a:lvl3pPr>
              <a:defRPr sz="1600" b="0" i="0">
                <a:latin typeface="CiscoSansTT ExtraLight" panose="020B0303020201020303" pitchFamily="34" charset="0"/>
                <a:cs typeface="CiscoSansTT ExtraLight" panose="020B0303020201020303" pitchFamily="34" charset="0"/>
              </a:defRPr>
            </a:lvl3pPr>
            <a:lvl4pPr>
              <a:defRPr sz="1600" b="0" i="0">
                <a:latin typeface="CiscoSansTT ExtraLight" panose="020B0303020201020303" pitchFamily="34" charset="0"/>
                <a:cs typeface="CiscoSansTT ExtraLight" panose="020B0303020201020303" pitchFamily="34" charset="0"/>
              </a:defRPr>
            </a:lvl4pPr>
            <a:lvl5pPr>
              <a:defRPr sz="1600" b="0" i="0">
                <a:latin typeface="CiscoSansTT ExtraLight" panose="020B0303020201020303" pitchFamily="34" charset="0"/>
                <a:cs typeface="CiscoSansTT ExtraLight" panose="020B0303020201020303" pitchFamily="34" charset="0"/>
              </a:defRPr>
            </a:lvl5pPr>
          </a:lstStyle>
          <a:p>
            <a:pPr marL="0" marR="0" lvl="0" indent="0" algn="l" rtl="0">
              <a:lnSpc>
                <a:spcPct val="100000"/>
              </a:lnSpc>
              <a:spcBef>
                <a:spcPts val="0"/>
              </a:spcBef>
              <a:spcAft>
                <a:spcPts val="0"/>
              </a:spcAft>
              <a:buNone/>
            </a:pPr>
            <a:endParaRPr lang="en-US" sz="1600" u="none" strike="noStrike" cap="none">
              <a:solidFill>
                <a:schemeClr val="accent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13" name="Text Placeholder 12">
            <a:extLst>
              <a:ext uri="{FF2B5EF4-FFF2-40B4-BE49-F238E27FC236}">
                <a16:creationId xmlns:a16="http://schemas.microsoft.com/office/drawing/2014/main" id="{B0033604-EE51-8440-A7C7-387C194270F7}"/>
              </a:ext>
            </a:extLst>
          </p:cNvPr>
          <p:cNvSpPr>
            <a:spLocks noGrp="1"/>
          </p:cNvSpPr>
          <p:nvPr>
            <p:ph type="body" sz="quarter" idx="10"/>
          </p:nvPr>
        </p:nvSpPr>
        <p:spPr>
          <a:xfrm>
            <a:off x="4349767" y="1915463"/>
            <a:ext cx="2275600" cy="3282949"/>
          </a:xfrm>
          <a:prstGeom prst="rect">
            <a:avLst/>
          </a:prstGeom>
        </p:spPr>
        <p:txBody>
          <a:bodyPr/>
          <a:lstStyle>
            <a:lvl1pPr marL="0" marR="0" indent="0" algn="l" rtl="0">
              <a:lnSpc>
                <a:spcPct val="100000"/>
              </a:lnSpc>
              <a:spcBef>
                <a:spcPts val="0"/>
              </a:spcBef>
              <a:spcAft>
                <a:spcPts val="0"/>
              </a:spcAft>
              <a:buNone/>
              <a:defRPr sz="1333" b="0" i="0">
                <a:solidFill>
                  <a:schemeClr val="tx1"/>
                </a:solidFill>
                <a:latin typeface="CiscoSansTT ExtraLight" panose="020B0303020201020303" pitchFamily="34" charset="0"/>
                <a:cs typeface="CiscoSansTT ExtraLight" panose="020B0303020201020303" pitchFamily="34" charset="0"/>
              </a:defRPr>
            </a:lvl1pPr>
            <a:lvl2pPr>
              <a:defRPr sz="1333" b="0" i="0">
                <a:latin typeface="CiscoSansTT ExtraLight" panose="020B0303020201020303" pitchFamily="34" charset="0"/>
                <a:cs typeface="CiscoSansTT ExtraLight" panose="020B0303020201020303" pitchFamily="34" charset="0"/>
              </a:defRPr>
            </a:lvl2pPr>
            <a:lvl3pPr>
              <a:defRPr sz="1333" b="0" i="0">
                <a:latin typeface="CiscoSansTT ExtraLight" panose="020B0303020201020303" pitchFamily="34" charset="0"/>
                <a:cs typeface="CiscoSansTT ExtraLight" panose="020B0303020201020303" pitchFamily="34" charset="0"/>
              </a:defRPr>
            </a:lvl3pPr>
            <a:lvl4pPr>
              <a:defRPr sz="1333" b="0" i="0">
                <a:latin typeface="CiscoSansTT ExtraLight" panose="020B0303020201020303" pitchFamily="34" charset="0"/>
                <a:cs typeface="CiscoSansTT ExtraLight" panose="020B0303020201020303" pitchFamily="34" charset="0"/>
              </a:defRPr>
            </a:lvl4pPr>
            <a:lvl5pPr>
              <a:defRPr sz="1333" b="0" i="0">
                <a:latin typeface="CiscoSansTT ExtraLight" panose="020B0303020201020303" pitchFamily="34" charset="0"/>
                <a:cs typeface="CiscoSansTT ExtraLight" panose="020B0303020201020303" pitchFamily="34" charset="0"/>
              </a:defRPr>
            </a:lvl5pPr>
          </a:lstStyle>
          <a:p>
            <a:pPr marL="0" marR="0" lvl="0" indent="0" algn="l" rtl="0">
              <a:lnSpc>
                <a:spcPct val="100000"/>
              </a:lnSpc>
              <a:spcBef>
                <a:spcPts val="0"/>
              </a:spcBef>
              <a:spcAft>
                <a:spcPts val="0"/>
              </a:spcAft>
              <a:buNone/>
            </a:pPr>
            <a:endParaRPr lang="en-US" sz="1333" u="none" strike="noStrike" cap="none">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10" name="Google Shape;951;p194">
            <a:extLst>
              <a:ext uri="{FF2B5EF4-FFF2-40B4-BE49-F238E27FC236}">
                <a16:creationId xmlns:a16="http://schemas.microsoft.com/office/drawing/2014/main" id="{203B8B17-8CA4-1147-A543-AB82EE26B066}"/>
              </a:ext>
            </a:extLst>
          </p:cNvPr>
          <p:cNvSpPr/>
          <p:nvPr userDrawn="1"/>
        </p:nvSpPr>
        <p:spPr>
          <a:xfrm>
            <a:off x="-726918" y="-811266"/>
            <a:ext cx="1453835" cy="1453835"/>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1" name="Google Shape;951;p194">
            <a:extLst>
              <a:ext uri="{FF2B5EF4-FFF2-40B4-BE49-F238E27FC236}">
                <a16:creationId xmlns:a16="http://schemas.microsoft.com/office/drawing/2014/main" id="{40F5FFFB-2E4C-8243-958E-8BB29D304F03}"/>
              </a:ext>
            </a:extLst>
          </p:cNvPr>
          <p:cNvSpPr/>
          <p:nvPr userDrawn="1"/>
        </p:nvSpPr>
        <p:spPr>
          <a:xfrm>
            <a:off x="11453433" y="5963347"/>
            <a:ext cx="1453835" cy="1453835"/>
          </a:xfrm>
          <a:prstGeom prst="ellipse">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2" name="Text Placeholder 9">
            <a:extLst>
              <a:ext uri="{FF2B5EF4-FFF2-40B4-BE49-F238E27FC236}">
                <a16:creationId xmlns:a16="http://schemas.microsoft.com/office/drawing/2014/main" id="{6B427A47-280F-C64F-92E2-C8EAAF39C536}"/>
              </a:ext>
            </a:extLst>
          </p:cNvPr>
          <p:cNvSpPr>
            <a:spLocks noGrp="1"/>
          </p:cNvSpPr>
          <p:nvPr>
            <p:ph type="body" sz="quarter" idx="16" hasCustomPrompt="1"/>
          </p:nvPr>
        </p:nvSpPr>
        <p:spPr>
          <a:xfrm>
            <a:off x="645318" y="1434559"/>
            <a:ext cx="3134201" cy="1580813"/>
          </a:xfrm>
          <a:prstGeom prst="rect">
            <a:avLst/>
          </a:prstGeom>
        </p:spPr>
        <p:txBody>
          <a:bodyPr/>
          <a:lstStyle>
            <a:lvl1pPr>
              <a:defRPr sz="4000"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ext</a:t>
            </a:r>
            <a:endParaRPr lang="en-US"/>
          </a:p>
        </p:txBody>
      </p:sp>
    </p:spTree>
    <p:extLst>
      <p:ext uri="{BB962C8B-B14F-4D97-AF65-F5344CB8AC3E}">
        <p14:creationId xmlns:p14="http://schemas.microsoft.com/office/powerpoint/2010/main" val="1676953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7885747D-4304-E944-A244-C53FA0F19997}"/>
              </a:ext>
            </a:extLst>
          </p:cNvPr>
          <p:cNvSpPr>
            <a:spLocks noGrp="1"/>
          </p:cNvSpPr>
          <p:nvPr>
            <p:ph type="body" sz="quarter" idx="12"/>
          </p:nvPr>
        </p:nvSpPr>
        <p:spPr>
          <a:xfrm>
            <a:off x="7935306" y="2219266"/>
            <a:ext cx="2952749" cy="2901949"/>
          </a:xfrm>
          <a:prstGeom prst="rect">
            <a:avLst/>
          </a:prstGeom>
        </p:spPr>
        <p:txBody>
          <a:bodyPr/>
          <a:lstStyle>
            <a:lvl1pPr>
              <a:defRPr sz="1467" b="0" i="0">
                <a:solidFill>
                  <a:schemeClr val="tx1"/>
                </a:solidFill>
                <a:latin typeface="CiscoSansTT ExtraLight" panose="020B0303020201020303" pitchFamily="34" charset="0"/>
                <a:cs typeface="CiscoSansTT ExtraLight" panose="020B0303020201020303" pitchFamily="34" charset="0"/>
              </a:defRPr>
            </a:lvl1pPr>
            <a:lvl2pPr>
              <a:defRPr sz="1467"/>
            </a:lvl2pPr>
            <a:lvl3pPr>
              <a:defRPr sz="1467"/>
            </a:lvl3pPr>
            <a:lvl4pPr>
              <a:defRPr sz="1467"/>
            </a:lvl4pPr>
            <a:lvl5pPr>
              <a:defRPr sz="1467"/>
            </a:lvl5pPr>
          </a:lstStyle>
          <a:p>
            <a:pPr>
              <a:lnSpc>
                <a:spcPct val="115000"/>
              </a:lnSpc>
            </a:pPr>
            <a:endParaRPr lang="en-US" sz="1467">
              <a:solidFill>
                <a:schemeClr val="tx1"/>
              </a:solidFill>
              <a:latin typeface="CiscoSansTT ExtraLight" panose="020B0303020201020303" pitchFamily="34" charset="0"/>
              <a:cs typeface="CiscoSansTT ExtraLight" panose="020B0303020201020303" pitchFamily="34" charset="0"/>
            </a:endParaRPr>
          </a:p>
        </p:txBody>
      </p:sp>
      <p:sp>
        <p:nvSpPr>
          <p:cNvPr id="14" name="Text Placeholder 13">
            <a:extLst>
              <a:ext uri="{FF2B5EF4-FFF2-40B4-BE49-F238E27FC236}">
                <a16:creationId xmlns:a16="http://schemas.microsoft.com/office/drawing/2014/main" id="{000153C0-C09B-4040-A129-BD7832E644CA}"/>
              </a:ext>
            </a:extLst>
          </p:cNvPr>
          <p:cNvSpPr>
            <a:spLocks noGrp="1"/>
          </p:cNvSpPr>
          <p:nvPr>
            <p:ph type="body" sz="quarter" idx="11"/>
          </p:nvPr>
        </p:nvSpPr>
        <p:spPr>
          <a:xfrm>
            <a:off x="4546083" y="2219266"/>
            <a:ext cx="2952749" cy="2901949"/>
          </a:xfrm>
          <a:prstGeom prst="rect">
            <a:avLst/>
          </a:prstGeom>
        </p:spPr>
        <p:txBody>
          <a:bodyPr/>
          <a:lstStyle>
            <a:lvl1pPr>
              <a:defRPr sz="1467" b="0" i="0">
                <a:solidFill>
                  <a:schemeClr val="tx1"/>
                </a:solidFill>
                <a:latin typeface="CiscoSansTT ExtraLight" panose="020B0303020201020303" pitchFamily="34" charset="0"/>
                <a:cs typeface="CiscoSansTT ExtraLight" panose="020B0303020201020303" pitchFamily="34" charset="0"/>
              </a:defRPr>
            </a:lvl1pPr>
            <a:lvl2pPr>
              <a:defRPr sz="1467"/>
            </a:lvl2pPr>
            <a:lvl3pPr>
              <a:defRPr sz="1467"/>
            </a:lvl3pPr>
            <a:lvl4pPr>
              <a:defRPr sz="1467"/>
            </a:lvl4pPr>
            <a:lvl5pPr>
              <a:defRPr sz="1467"/>
            </a:lvl5pPr>
          </a:lstStyle>
          <a:p>
            <a:pPr>
              <a:lnSpc>
                <a:spcPct val="115000"/>
              </a:lnSpc>
            </a:pPr>
            <a:endParaRPr lang="en-US" sz="1467">
              <a:solidFill>
                <a:schemeClr val="tx1"/>
              </a:solidFill>
              <a:latin typeface="CiscoSansTT ExtraLight" panose="020B0303020201020303" pitchFamily="34" charset="0"/>
              <a:cs typeface="CiscoSansTT ExtraLight" panose="020B0303020201020303" pitchFamily="34" charset="0"/>
            </a:endParaRPr>
          </a:p>
        </p:txBody>
      </p:sp>
      <p:sp>
        <p:nvSpPr>
          <p:cNvPr id="12" name="Text Placeholder 11">
            <a:extLst>
              <a:ext uri="{FF2B5EF4-FFF2-40B4-BE49-F238E27FC236}">
                <a16:creationId xmlns:a16="http://schemas.microsoft.com/office/drawing/2014/main" id="{99BAE98A-ADE0-E344-B2C4-2299BB5094FD}"/>
              </a:ext>
            </a:extLst>
          </p:cNvPr>
          <p:cNvSpPr>
            <a:spLocks noGrp="1"/>
          </p:cNvSpPr>
          <p:nvPr>
            <p:ph type="body" sz="quarter" idx="10"/>
          </p:nvPr>
        </p:nvSpPr>
        <p:spPr>
          <a:xfrm>
            <a:off x="567268" y="2126703"/>
            <a:ext cx="3491867" cy="1826683"/>
          </a:xfrm>
          <a:prstGeom prst="rect">
            <a:avLst/>
          </a:prstGeom>
        </p:spPr>
        <p:txBody>
          <a:bodyPr/>
          <a:lstStyle>
            <a:lvl1pPr>
              <a:lnSpc>
                <a:spcPct val="100000"/>
              </a:lnSpc>
              <a:buClr>
                <a:schemeClr val="dk2"/>
              </a:buClr>
              <a:buSzPts val="3600"/>
              <a:buFont typeface="Arial"/>
              <a:buNone/>
              <a:defRPr sz="4800" b="0" i="0">
                <a:solidFill>
                  <a:schemeClr val="tx1"/>
                </a:solidFill>
                <a:latin typeface="CiscoSansTT ExtraLight" panose="020B0303020201020303" pitchFamily="34" charset="0"/>
                <a:cs typeface="CiscoSansTT ExtraLight" panose="020B0303020201020303" pitchFamily="34" charset="0"/>
              </a:defRPr>
            </a:lvl1pPr>
            <a:lvl2pPr>
              <a:defRPr sz="4800"/>
            </a:lvl2pPr>
            <a:lvl3pPr>
              <a:defRPr sz="4800"/>
            </a:lvl3pPr>
            <a:lvl4pPr>
              <a:defRPr sz="4800"/>
            </a:lvl4pPr>
            <a:lvl5pPr>
              <a:defRPr sz="4800"/>
            </a:lvl5pPr>
          </a:lstStyle>
          <a:p>
            <a:pPr>
              <a:lnSpc>
                <a:spcPct val="100000"/>
              </a:lnSpc>
              <a:buClr>
                <a:schemeClr val="dk2"/>
              </a:buClr>
              <a:buSzPts val="3600"/>
              <a:buFont typeface="Arial"/>
              <a:buNone/>
            </a:pPr>
            <a:endParaRPr lang="en-US" sz="4800">
              <a:solidFill>
                <a:schemeClr val="tx1"/>
              </a:solidFill>
              <a:latin typeface="CiscoSansTT ExtraLight" panose="020B0303020201020303" pitchFamily="34" charset="0"/>
              <a:cs typeface="CiscoSansTT ExtraLight" panose="020B0303020201020303" pitchFamily="34" charset="0"/>
            </a:endParaRPr>
          </a:p>
        </p:txBody>
      </p:sp>
      <p:sp>
        <p:nvSpPr>
          <p:cNvPr id="9" name="Google Shape;951;p194">
            <a:extLst>
              <a:ext uri="{FF2B5EF4-FFF2-40B4-BE49-F238E27FC236}">
                <a16:creationId xmlns:a16="http://schemas.microsoft.com/office/drawing/2014/main" id="{A03CE8EC-2FD2-5749-84AA-831C43066273}"/>
              </a:ext>
            </a:extLst>
          </p:cNvPr>
          <p:cNvSpPr/>
          <p:nvPr userDrawn="1"/>
        </p:nvSpPr>
        <p:spPr>
          <a:xfrm>
            <a:off x="-726918" y="-811266"/>
            <a:ext cx="1453835" cy="1453835"/>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2418132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Column Centred Title">
    <p:spTree>
      <p:nvGrpSpPr>
        <p:cNvPr id="1" name=""/>
        <p:cNvGrpSpPr/>
        <p:nvPr/>
      </p:nvGrpSpPr>
      <p:grpSpPr>
        <a:xfrm>
          <a:off x="0" y="0"/>
          <a:ext cx="0" cy="0"/>
          <a:chOff x="0" y="0"/>
          <a:chExt cx="0" cy="0"/>
        </a:xfrm>
      </p:grpSpPr>
      <p:sp>
        <p:nvSpPr>
          <p:cNvPr id="18" name="Text Placeholder 14">
            <a:extLst>
              <a:ext uri="{FF2B5EF4-FFF2-40B4-BE49-F238E27FC236}">
                <a16:creationId xmlns:a16="http://schemas.microsoft.com/office/drawing/2014/main" id="{ADB48F9A-75B0-5F46-94A1-49CE344195E1}"/>
              </a:ext>
            </a:extLst>
          </p:cNvPr>
          <p:cNvSpPr>
            <a:spLocks noGrp="1"/>
          </p:cNvSpPr>
          <p:nvPr>
            <p:ph type="body" sz="quarter" idx="14"/>
          </p:nvPr>
        </p:nvSpPr>
        <p:spPr>
          <a:xfrm>
            <a:off x="6390060" y="1963592"/>
            <a:ext cx="2355841" cy="364891"/>
          </a:xfrm>
          <a:prstGeom prst="rect">
            <a:avLst/>
          </a:prstGeom>
        </p:spPr>
        <p:txBody>
          <a:bodyPr/>
          <a:lstStyle>
            <a:lvl1pPr marL="0" marR="0" indent="0" algn="l" rtl="0">
              <a:lnSpc>
                <a:spcPct val="100000"/>
              </a:lnSpc>
              <a:spcBef>
                <a:spcPts val="0"/>
              </a:spcBef>
              <a:spcAft>
                <a:spcPts val="0"/>
              </a:spcAft>
              <a:buNone/>
              <a:defRPr sz="1600" b="0" i="0">
                <a:solidFill>
                  <a:schemeClr val="accent1"/>
                </a:solidFill>
                <a:latin typeface="CiscoSansTT ExtraLight" panose="020B0303020201020303" pitchFamily="34" charset="0"/>
                <a:cs typeface="CiscoSansTT ExtraLight" panose="020B0303020201020303" pitchFamily="34" charset="0"/>
              </a:defRPr>
            </a:lvl1pPr>
            <a:lvl2pPr>
              <a:defRPr sz="1600" b="0" i="0">
                <a:latin typeface="CiscoSansTT ExtraLight" panose="020B0303020201020303" pitchFamily="34" charset="0"/>
                <a:cs typeface="CiscoSansTT ExtraLight" panose="020B0303020201020303" pitchFamily="34" charset="0"/>
              </a:defRPr>
            </a:lvl2pPr>
            <a:lvl3pPr>
              <a:defRPr sz="1600" b="0" i="0">
                <a:latin typeface="CiscoSansTT ExtraLight" panose="020B0303020201020303" pitchFamily="34" charset="0"/>
                <a:cs typeface="CiscoSansTT ExtraLight" panose="020B0303020201020303" pitchFamily="34" charset="0"/>
              </a:defRPr>
            </a:lvl3pPr>
            <a:lvl4pPr>
              <a:defRPr sz="1600" b="0" i="0">
                <a:latin typeface="CiscoSansTT ExtraLight" panose="020B0303020201020303" pitchFamily="34" charset="0"/>
                <a:cs typeface="CiscoSansTT ExtraLight" panose="020B0303020201020303" pitchFamily="34" charset="0"/>
              </a:defRPr>
            </a:lvl4pPr>
            <a:lvl5pPr>
              <a:defRPr sz="1600" b="0" i="0">
                <a:latin typeface="CiscoSansTT ExtraLight" panose="020B0303020201020303" pitchFamily="34" charset="0"/>
                <a:cs typeface="CiscoSansTT ExtraLight" panose="020B0303020201020303" pitchFamily="34" charset="0"/>
              </a:defRPr>
            </a:lvl5pPr>
          </a:lstStyle>
          <a:p>
            <a:pPr marL="0" marR="0" lvl="0" indent="0" algn="l" rtl="0">
              <a:lnSpc>
                <a:spcPct val="100000"/>
              </a:lnSpc>
              <a:spcBef>
                <a:spcPts val="0"/>
              </a:spcBef>
              <a:spcAft>
                <a:spcPts val="0"/>
              </a:spcAft>
              <a:buNone/>
            </a:pPr>
            <a:endParaRPr lang="en-US" sz="1600" u="none" strike="noStrike" cap="none">
              <a:solidFill>
                <a:schemeClr val="accent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19" name="Text Placeholder 12">
            <a:extLst>
              <a:ext uri="{FF2B5EF4-FFF2-40B4-BE49-F238E27FC236}">
                <a16:creationId xmlns:a16="http://schemas.microsoft.com/office/drawing/2014/main" id="{DAF50268-6A31-634C-AAB5-22721EE551F7}"/>
              </a:ext>
            </a:extLst>
          </p:cNvPr>
          <p:cNvSpPr>
            <a:spLocks noGrp="1"/>
          </p:cNvSpPr>
          <p:nvPr>
            <p:ph type="body" sz="quarter" idx="15"/>
          </p:nvPr>
        </p:nvSpPr>
        <p:spPr>
          <a:xfrm>
            <a:off x="6390060" y="2386576"/>
            <a:ext cx="2356032" cy="3282949"/>
          </a:xfrm>
          <a:prstGeom prst="rect">
            <a:avLst/>
          </a:prstGeom>
        </p:spPr>
        <p:txBody>
          <a:bodyPr/>
          <a:lstStyle>
            <a:lvl1pPr marL="0" marR="0" indent="0" algn="l" rtl="0">
              <a:lnSpc>
                <a:spcPct val="100000"/>
              </a:lnSpc>
              <a:spcBef>
                <a:spcPts val="0"/>
              </a:spcBef>
              <a:spcAft>
                <a:spcPts val="0"/>
              </a:spcAft>
              <a:buNone/>
              <a:defRPr sz="1333" b="0" i="0">
                <a:solidFill>
                  <a:schemeClr val="tx1"/>
                </a:solidFill>
                <a:latin typeface="CiscoSansTT ExtraLight" panose="020B0303020201020303" pitchFamily="34" charset="0"/>
                <a:cs typeface="CiscoSansTT ExtraLight" panose="020B0303020201020303" pitchFamily="34" charset="0"/>
              </a:defRPr>
            </a:lvl1pPr>
            <a:lvl2pPr>
              <a:defRPr sz="1333" b="0" i="0">
                <a:latin typeface="CiscoSansTT ExtraLight" panose="020B0303020201020303" pitchFamily="34" charset="0"/>
                <a:cs typeface="CiscoSansTT ExtraLight" panose="020B0303020201020303" pitchFamily="34" charset="0"/>
              </a:defRPr>
            </a:lvl2pPr>
            <a:lvl3pPr>
              <a:defRPr sz="1333" b="0" i="0">
                <a:latin typeface="CiscoSansTT ExtraLight" panose="020B0303020201020303" pitchFamily="34" charset="0"/>
                <a:cs typeface="CiscoSansTT ExtraLight" panose="020B0303020201020303" pitchFamily="34" charset="0"/>
              </a:defRPr>
            </a:lvl3pPr>
            <a:lvl4pPr>
              <a:defRPr sz="1333" b="0" i="0">
                <a:latin typeface="CiscoSansTT ExtraLight" panose="020B0303020201020303" pitchFamily="34" charset="0"/>
                <a:cs typeface="CiscoSansTT ExtraLight" panose="020B0303020201020303" pitchFamily="34" charset="0"/>
              </a:defRPr>
            </a:lvl4pPr>
            <a:lvl5pPr>
              <a:defRPr sz="1333" b="0" i="0">
                <a:latin typeface="CiscoSansTT ExtraLight" panose="020B0303020201020303" pitchFamily="34" charset="0"/>
                <a:cs typeface="CiscoSansTT ExtraLight" panose="020B0303020201020303" pitchFamily="34" charset="0"/>
              </a:defRPr>
            </a:lvl5pPr>
          </a:lstStyle>
          <a:p>
            <a:pPr marL="0" marR="0" lvl="0" indent="0" algn="l" rtl="0">
              <a:lnSpc>
                <a:spcPct val="100000"/>
              </a:lnSpc>
              <a:spcBef>
                <a:spcPts val="0"/>
              </a:spcBef>
              <a:spcAft>
                <a:spcPts val="0"/>
              </a:spcAft>
              <a:buNone/>
            </a:pPr>
            <a:endParaRPr lang="en-US" sz="1333" u="none" strike="noStrike" cap="none">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16" name="Text Placeholder 14">
            <a:extLst>
              <a:ext uri="{FF2B5EF4-FFF2-40B4-BE49-F238E27FC236}">
                <a16:creationId xmlns:a16="http://schemas.microsoft.com/office/drawing/2014/main" id="{D2BB6F7A-7AC7-4844-8EC1-028D16E4865C}"/>
              </a:ext>
            </a:extLst>
          </p:cNvPr>
          <p:cNvSpPr>
            <a:spLocks noGrp="1"/>
          </p:cNvSpPr>
          <p:nvPr>
            <p:ph type="body" sz="quarter" idx="12"/>
          </p:nvPr>
        </p:nvSpPr>
        <p:spPr>
          <a:xfrm>
            <a:off x="3487108" y="1961764"/>
            <a:ext cx="2355841" cy="364891"/>
          </a:xfrm>
          <a:prstGeom prst="rect">
            <a:avLst/>
          </a:prstGeom>
        </p:spPr>
        <p:txBody>
          <a:bodyPr/>
          <a:lstStyle>
            <a:lvl1pPr marL="0" marR="0" indent="0" algn="l" rtl="0">
              <a:lnSpc>
                <a:spcPct val="100000"/>
              </a:lnSpc>
              <a:spcBef>
                <a:spcPts val="0"/>
              </a:spcBef>
              <a:spcAft>
                <a:spcPts val="0"/>
              </a:spcAft>
              <a:buNone/>
              <a:defRPr sz="1600" b="0" i="0">
                <a:solidFill>
                  <a:schemeClr val="accent1"/>
                </a:solidFill>
                <a:latin typeface="CiscoSansTT ExtraLight" panose="020B0303020201020303" pitchFamily="34" charset="0"/>
                <a:cs typeface="CiscoSansTT ExtraLight" panose="020B0303020201020303" pitchFamily="34" charset="0"/>
              </a:defRPr>
            </a:lvl1pPr>
            <a:lvl2pPr>
              <a:defRPr sz="1600" b="0" i="0">
                <a:latin typeface="CiscoSansTT ExtraLight" panose="020B0303020201020303" pitchFamily="34" charset="0"/>
                <a:cs typeface="CiscoSansTT ExtraLight" panose="020B0303020201020303" pitchFamily="34" charset="0"/>
              </a:defRPr>
            </a:lvl2pPr>
            <a:lvl3pPr>
              <a:defRPr sz="1600" b="0" i="0">
                <a:latin typeface="CiscoSansTT ExtraLight" panose="020B0303020201020303" pitchFamily="34" charset="0"/>
                <a:cs typeface="CiscoSansTT ExtraLight" panose="020B0303020201020303" pitchFamily="34" charset="0"/>
              </a:defRPr>
            </a:lvl3pPr>
            <a:lvl4pPr>
              <a:defRPr sz="1600" b="0" i="0">
                <a:latin typeface="CiscoSansTT ExtraLight" panose="020B0303020201020303" pitchFamily="34" charset="0"/>
                <a:cs typeface="CiscoSansTT ExtraLight" panose="020B0303020201020303" pitchFamily="34" charset="0"/>
              </a:defRPr>
            </a:lvl4pPr>
            <a:lvl5pPr>
              <a:defRPr sz="1600" b="0" i="0">
                <a:latin typeface="CiscoSansTT ExtraLight" panose="020B0303020201020303" pitchFamily="34" charset="0"/>
                <a:cs typeface="CiscoSansTT ExtraLight" panose="020B0303020201020303" pitchFamily="34" charset="0"/>
              </a:defRPr>
            </a:lvl5pPr>
          </a:lstStyle>
          <a:p>
            <a:pPr marL="0" marR="0" lvl="0" indent="0" algn="l" rtl="0">
              <a:lnSpc>
                <a:spcPct val="100000"/>
              </a:lnSpc>
              <a:spcBef>
                <a:spcPts val="0"/>
              </a:spcBef>
              <a:spcAft>
                <a:spcPts val="0"/>
              </a:spcAft>
              <a:buNone/>
            </a:pPr>
            <a:endParaRPr lang="en-US" sz="1600" u="none" strike="noStrike" cap="none">
              <a:solidFill>
                <a:schemeClr val="accent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17" name="Text Placeholder 12">
            <a:extLst>
              <a:ext uri="{FF2B5EF4-FFF2-40B4-BE49-F238E27FC236}">
                <a16:creationId xmlns:a16="http://schemas.microsoft.com/office/drawing/2014/main" id="{5C8DFF40-598B-3646-93AC-9C973014928D}"/>
              </a:ext>
            </a:extLst>
          </p:cNvPr>
          <p:cNvSpPr>
            <a:spLocks noGrp="1"/>
          </p:cNvSpPr>
          <p:nvPr>
            <p:ph type="body" sz="quarter" idx="13"/>
          </p:nvPr>
        </p:nvSpPr>
        <p:spPr>
          <a:xfrm>
            <a:off x="3487108" y="2384748"/>
            <a:ext cx="2356032" cy="3282949"/>
          </a:xfrm>
          <a:prstGeom prst="rect">
            <a:avLst/>
          </a:prstGeom>
        </p:spPr>
        <p:txBody>
          <a:bodyPr/>
          <a:lstStyle>
            <a:lvl1pPr marL="0" marR="0" indent="0" algn="l" rtl="0">
              <a:lnSpc>
                <a:spcPct val="100000"/>
              </a:lnSpc>
              <a:spcBef>
                <a:spcPts val="0"/>
              </a:spcBef>
              <a:spcAft>
                <a:spcPts val="0"/>
              </a:spcAft>
              <a:buNone/>
              <a:defRPr sz="1333" b="0" i="0">
                <a:solidFill>
                  <a:schemeClr val="tx1"/>
                </a:solidFill>
                <a:latin typeface="CiscoSansTT ExtraLight" panose="020B0303020201020303" pitchFamily="34" charset="0"/>
                <a:cs typeface="CiscoSansTT ExtraLight" panose="020B0303020201020303" pitchFamily="34" charset="0"/>
              </a:defRPr>
            </a:lvl1pPr>
            <a:lvl2pPr>
              <a:defRPr sz="1333" b="0" i="0">
                <a:latin typeface="CiscoSansTT ExtraLight" panose="020B0303020201020303" pitchFamily="34" charset="0"/>
                <a:cs typeface="CiscoSansTT ExtraLight" panose="020B0303020201020303" pitchFamily="34" charset="0"/>
              </a:defRPr>
            </a:lvl2pPr>
            <a:lvl3pPr>
              <a:defRPr sz="1333" b="0" i="0">
                <a:latin typeface="CiscoSansTT ExtraLight" panose="020B0303020201020303" pitchFamily="34" charset="0"/>
                <a:cs typeface="CiscoSansTT ExtraLight" panose="020B0303020201020303" pitchFamily="34" charset="0"/>
              </a:defRPr>
            </a:lvl3pPr>
            <a:lvl4pPr>
              <a:defRPr sz="1333" b="0" i="0">
                <a:latin typeface="CiscoSansTT ExtraLight" panose="020B0303020201020303" pitchFamily="34" charset="0"/>
                <a:cs typeface="CiscoSansTT ExtraLight" panose="020B0303020201020303" pitchFamily="34" charset="0"/>
              </a:defRPr>
            </a:lvl4pPr>
            <a:lvl5pPr>
              <a:defRPr sz="1333" b="0" i="0">
                <a:latin typeface="CiscoSansTT ExtraLight" panose="020B0303020201020303" pitchFamily="34" charset="0"/>
                <a:cs typeface="CiscoSansTT ExtraLight" panose="020B0303020201020303" pitchFamily="34" charset="0"/>
              </a:defRPr>
            </a:lvl5pPr>
          </a:lstStyle>
          <a:p>
            <a:pPr marL="0" marR="0" lvl="0" indent="0" algn="l" rtl="0">
              <a:lnSpc>
                <a:spcPct val="100000"/>
              </a:lnSpc>
              <a:spcBef>
                <a:spcPts val="0"/>
              </a:spcBef>
              <a:spcAft>
                <a:spcPts val="0"/>
              </a:spcAft>
              <a:buNone/>
            </a:pPr>
            <a:endParaRPr lang="en-US" sz="1333" u="none" strike="noStrike" cap="none">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15" name="Text Placeholder 14">
            <a:extLst>
              <a:ext uri="{FF2B5EF4-FFF2-40B4-BE49-F238E27FC236}">
                <a16:creationId xmlns:a16="http://schemas.microsoft.com/office/drawing/2014/main" id="{CC157314-987F-9744-96E8-D4DE674A2693}"/>
              </a:ext>
            </a:extLst>
          </p:cNvPr>
          <p:cNvSpPr>
            <a:spLocks noGrp="1"/>
          </p:cNvSpPr>
          <p:nvPr>
            <p:ph type="body" sz="quarter" idx="11"/>
          </p:nvPr>
        </p:nvSpPr>
        <p:spPr>
          <a:xfrm>
            <a:off x="583972" y="1961764"/>
            <a:ext cx="2356024" cy="364891"/>
          </a:xfrm>
          <a:prstGeom prst="rect">
            <a:avLst/>
          </a:prstGeom>
        </p:spPr>
        <p:txBody>
          <a:bodyPr/>
          <a:lstStyle>
            <a:lvl1pPr marL="0" marR="0" indent="0" algn="l" rtl="0">
              <a:lnSpc>
                <a:spcPct val="100000"/>
              </a:lnSpc>
              <a:spcBef>
                <a:spcPts val="0"/>
              </a:spcBef>
              <a:spcAft>
                <a:spcPts val="0"/>
              </a:spcAft>
              <a:buNone/>
              <a:defRPr sz="1600" b="0" i="0">
                <a:solidFill>
                  <a:schemeClr val="accent1"/>
                </a:solidFill>
                <a:latin typeface="CiscoSansTT ExtraLight" panose="020B0303020201020303" pitchFamily="34" charset="0"/>
                <a:cs typeface="CiscoSansTT ExtraLight" panose="020B0303020201020303" pitchFamily="34" charset="0"/>
              </a:defRPr>
            </a:lvl1pPr>
            <a:lvl2pPr>
              <a:defRPr sz="1600" b="0" i="0">
                <a:latin typeface="CiscoSansTT ExtraLight" panose="020B0303020201020303" pitchFamily="34" charset="0"/>
                <a:cs typeface="CiscoSansTT ExtraLight" panose="020B0303020201020303" pitchFamily="34" charset="0"/>
              </a:defRPr>
            </a:lvl2pPr>
            <a:lvl3pPr>
              <a:defRPr sz="1600" b="0" i="0">
                <a:latin typeface="CiscoSansTT ExtraLight" panose="020B0303020201020303" pitchFamily="34" charset="0"/>
                <a:cs typeface="CiscoSansTT ExtraLight" panose="020B0303020201020303" pitchFamily="34" charset="0"/>
              </a:defRPr>
            </a:lvl3pPr>
            <a:lvl4pPr>
              <a:defRPr sz="1600" b="0" i="0">
                <a:latin typeface="CiscoSansTT ExtraLight" panose="020B0303020201020303" pitchFamily="34" charset="0"/>
                <a:cs typeface="CiscoSansTT ExtraLight" panose="020B0303020201020303" pitchFamily="34" charset="0"/>
              </a:defRPr>
            </a:lvl4pPr>
            <a:lvl5pPr>
              <a:defRPr sz="1600" b="0" i="0">
                <a:latin typeface="CiscoSansTT ExtraLight" panose="020B0303020201020303" pitchFamily="34" charset="0"/>
                <a:cs typeface="CiscoSansTT ExtraLight" panose="020B0303020201020303" pitchFamily="34" charset="0"/>
              </a:defRPr>
            </a:lvl5pPr>
          </a:lstStyle>
          <a:p>
            <a:pPr marL="0" marR="0" lvl="0" indent="0" algn="l" rtl="0">
              <a:lnSpc>
                <a:spcPct val="100000"/>
              </a:lnSpc>
              <a:spcBef>
                <a:spcPts val="0"/>
              </a:spcBef>
              <a:spcAft>
                <a:spcPts val="0"/>
              </a:spcAft>
              <a:buNone/>
            </a:pPr>
            <a:endParaRPr lang="en-US" sz="1600" u="none" strike="noStrike" cap="none">
              <a:solidFill>
                <a:schemeClr val="accent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13" name="Text Placeholder 12">
            <a:extLst>
              <a:ext uri="{FF2B5EF4-FFF2-40B4-BE49-F238E27FC236}">
                <a16:creationId xmlns:a16="http://schemas.microsoft.com/office/drawing/2014/main" id="{B0033604-EE51-8440-A7C7-387C194270F7}"/>
              </a:ext>
            </a:extLst>
          </p:cNvPr>
          <p:cNvSpPr>
            <a:spLocks noGrp="1"/>
          </p:cNvSpPr>
          <p:nvPr>
            <p:ph type="body" sz="quarter" idx="10"/>
          </p:nvPr>
        </p:nvSpPr>
        <p:spPr>
          <a:xfrm>
            <a:off x="583971" y="2384748"/>
            <a:ext cx="2356215" cy="3282949"/>
          </a:xfrm>
          <a:prstGeom prst="rect">
            <a:avLst/>
          </a:prstGeom>
        </p:spPr>
        <p:txBody>
          <a:bodyPr/>
          <a:lstStyle>
            <a:lvl1pPr marL="0" marR="0" indent="0" algn="l" rtl="0">
              <a:lnSpc>
                <a:spcPct val="100000"/>
              </a:lnSpc>
              <a:spcBef>
                <a:spcPts val="0"/>
              </a:spcBef>
              <a:spcAft>
                <a:spcPts val="0"/>
              </a:spcAft>
              <a:buNone/>
              <a:defRPr sz="1333" b="0" i="0">
                <a:solidFill>
                  <a:schemeClr val="tx1"/>
                </a:solidFill>
                <a:latin typeface="CiscoSansTT ExtraLight" panose="020B0303020201020303" pitchFamily="34" charset="0"/>
                <a:cs typeface="CiscoSansTT ExtraLight" panose="020B0303020201020303" pitchFamily="34" charset="0"/>
              </a:defRPr>
            </a:lvl1pPr>
            <a:lvl2pPr>
              <a:defRPr sz="1333" b="0" i="0">
                <a:latin typeface="CiscoSansTT ExtraLight" panose="020B0303020201020303" pitchFamily="34" charset="0"/>
                <a:cs typeface="CiscoSansTT ExtraLight" panose="020B0303020201020303" pitchFamily="34" charset="0"/>
              </a:defRPr>
            </a:lvl2pPr>
            <a:lvl3pPr>
              <a:defRPr sz="1333" b="0" i="0">
                <a:latin typeface="CiscoSansTT ExtraLight" panose="020B0303020201020303" pitchFamily="34" charset="0"/>
                <a:cs typeface="CiscoSansTT ExtraLight" panose="020B0303020201020303" pitchFamily="34" charset="0"/>
              </a:defRPr>
            </a:lvl3pPr>
            <a:lvl4pPr>
              <a:defRPr sz="1333" b="0" i="0">
                <a:latin typeface="CiscoSansTT ExtraLight" panose="020B0303020201020303" pitchFamily="34" charset="0"/>
                <a:cs typeface="CiscoSansTT ExtraLight" panose="020B0303020201020303" pitchFamily="34" charset="0"/>
              </a:defRPr>
            </a:lvl4pPr>
            <a:lvl5pPr>
              <a:defRPr sz="1333" b="0" i="0">
                <a:latin typeface="CiscoSansTT ExtraLight" panose="020B0303020201020303" pitchFamily="34" charset="0"/>
                <a:cs typeface="CiscoSansTT ExtraLight" panose="020B0303020201020303" pitchFamily="34" charset="0"/>
              </a:defRPr>
            </a:lvl5pPr>
          </a:lstStyle>
          <a:p>
            <a:pPr marL="0" marR="0" lvl="0" indent="0" algn="l" rtl="0">
              <a:lnSpc>
                <a:spcPct val="100000"/>
              </a:lnSpc>
              <a:spcBef>
                <a:spcPts val="0"/>
              </a:spcBef>
              <a:spcAft>
                <a:spcPts val="0"/>
              </a:spcAft>
              <a:buNone/>
            </a:pPr>
            <a:endParaRPr lang="en-US" sz="1333" u="none" strike="noStrike" cap="none">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29" name="Text Placeholder 14">
            <a:extLst>
              <a:ext uri="{FF2B5EF4-FFF2-40B4-BE49-F238E27FC236}">
                <a16:creationId xmlns:a16="http://schemas.microsoft.com/office/drawing/2014/main" id="{09B690DE-A41E-1048-A2C8-BB275AEC32C0}"/>
              </a:ext>
            </a:extLst>
          </p:cNvPr>
          <p:cNvSpPr>
            <a:spLocks noGrp="1"/>
          </p:cNvSpPr>
          <p:nvPr>
            <p:ph type="body" sz="quarter" idx="16"/>
          </p:nvPr>
        </p:nvSpPr>
        <p:spPr>
          <a:xfrm>
            <a:off x="9288536" y="1963592"/>
            <a:ext cx="2355841" cy="364891"/>
          </a:xfrm>
          <a:prstGeom prst="rect">
            <a:avLst/>
          </a:prstGeom>
        </p:spPr>
        <p:txBody>
          <a:bodyPr/>
          <a:lstStyle>
            <a:lvl1pPr marL="0" marR="0" indent="0" algn="l" rtl="0">
              <a:lnSpc>
                <a:spcPct val="100000"/>
              </a:lnSpc>
              <a:spcBef>
                <a:spcPts val="0"/>
              </a:spcBef>
              <a:spcAft>
                <a:spcPts val="0"/>
              </a:spcAft>
              <a:buNone/>
              <a:defRPr sz="1600" b="0" i="0">
                <a:solidFill>
                  <a:schemeClr val="accent1"/>
                </a:solidFill>
                <a:latin typeface="CiscoSansTT ExtraLight" panose="020B0303020201020303" pitchFamily="34" charset="0"/>
                <a:cs typeface="CiscoSansTT ExtraLight" panose="020B0303020201020303" pitchFamily="34" charset="0"/>
              </a:defRPr>
            </a:lvl1pPr>
            <a:lvl2pPr>
              <a:defRPr sz="1600" b="0" i="0">
                <a:latin typeface="CiscoSansTT ExtraLight" panose="020B0303020201020303" pitchFamily="34" charset="0"/>
                <a:cs typeface="CiscoSansTT ExtraLight" panose="020B0303020201020303" pitchFamily="34" charset="0"/>
              </a:defRPr>
            </a:lvl2pPr>
            <a:lvl3pPr>
              <a:defRPr sz="1600" b="0" i="0">
                <a:latin typeface="CiscoSansTT ExtraLight" panose="020B0303020201020303" pitchFamily="34" charset="0"/>
                <a:cs typeface="CiscoSansTT ExtraLight" panose="020B0303020201020303" pitchFamily="34" charset="0"/>
              </a:defRPr>
            </a:lvl3pPr>
            <a:lvl4pPr>
              <a:defRPr sz="1600" b="0" i="0">
                <a:latin typeface="CiscoSansTT ExtraLight" panose="020B0303020201020303" pitchFamily="34" charset="0"/>
                <a:cs typeface="CiscoSansTT ExtraLight" panose="020B0303020201020303" pitchFamily="34" charset="0"/>
              </a:defRPr>
            </a:lvl4pPr>
            <a:lvl5pPr>
              <a:defRPr sz="1600" b="0" i="0">
                <a:latin typeface="CiscoSansTT ExtraLight" panose="020B0303020201020303" pitchFamily="34" charset="0"/>
                <a:cs typeface="CiscoSansTT ExtraLight" panose="020B0303020201020303" pitchFamily="34" charset="0"/>
              </a:defRPr>
            </a:lvl5pPr>
          </a:lstStyle>
          <a:p>
            <a:pPr marL="0" marR="0" lvl="0" indent="0" algn="l" rtl="0">
              <a:lnSpc>
                <a:spcPct val="100000"/>
              </a:lnSpc>
              <a:spcBef>
                <a:spcPts val="0"/>
              </a:spcBef>
              <a:spcAft>
                <a:spcPts val="0"/>
              </a:spcAft>
              <a:buNone/>
            </a:pPr>
            <a:endParaRPr lang="en-US" sz="1600" u="none" strike="noStrike" cap="none">
              <a:solidFill>
                <a:schemeClr val="accent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30" name="Text Placeholder 12">
            <a:extLst>
              <a:ext uri="{FF2B5EF4-FFF2-40B4-BE49-F238E27FC236}">
                <a16:creationId xmlns:a16="http://schemas.microsoft.com/office/drawing/2014/main" id="{0C144F5B-B5DB-584B-BEA2-4BFA246434F0}"/>
              </a:ext>
            </a:extLst>
          </p:cNvPr>
          <p:cNvSpPr>
            <a:spLocks noGrp="1"/>
          </p:cNvSpPr>
          <p:nvPr>
            <p:ph type="body" sz="quarter" idx="17"/>
          </p:nvPr>
        </p:nvSpPr>
        <p:spPr>
          <a:xfrm>
            <a:off x="9288536" y="2386576"/>
            <a:ext cx="2356032" cy="3282949"/>
          </a:xfrm>
          <a:prstGeom prst="rect">
            <a:avLst/>
          </a:prstGeom>
        </p:spPr>
        <p:txBody>
          <a:bodyPr/>
          <a:lstStyle>
            <a:lvl1pPr marL="0" marR="0" indent="0" algn="l" rtl="0">
              <a:lnSpc>
                <a:spcPct val="100000"/>
              </a:lnSpc>
              <a:spcBef>
                <a:spcPts val="0"/>
              </a:spcBef>
              <a:spcAft>
                <a:spcPts val="0"/>
              </a:spcAft>
              <a:buNone/>
              <a:defRPr sz="1333" b="0" i="0">
                <a:solidFill>
                  <a:schemeClr val="tx1"/>
                </a:solidFill>
                <a:latin typeface="CiscoSansTT ExtraLight" panose="020B0303020201020303" pitchFamily="34" charset="0"/>
                <a:cs typeface="CiscoSansTT ExtraLight" panose="020B0303020201020303" pitchFamily="34" charset="0"/>
              </a:defRPr>
            </a:lvl1pPr>
            <a:lvl2pPr>
              <a:defRPr sz="1333" b="0" i="0">
                <a:latin typeface="CiscoSansTT ExtraLight" panose="020B0303020201020303" pitchFamily="34" charset="0"/>
                <a:cs typeface="CiscoSansTT ExtraLight" panose="020B0303020201020303" pitchFamily="34" charset="0"/>
              </a:defRPr>
            </a:lvl2pPr>
            <a:lvl3pPr>
              <a:defRPr sz="1333" b="0" i="0">
                <a:latin typeface="CiscoSansTT ExtraLight" panose="020B0303020201020303" pitchFamily="34" charset="0"/>
                <a:cs typeface="CiscoSansTT ExtraLight" panose="020B0303020201020303" pitchFamily="34" charset="0"/>
              </a:defRPr>
            </a:lvl3pPr>
            <a:lvl4pPr>
              <a:defRPr sz="1333" b="0" i="0">
                <a:latin typeface="CiscoSansTT ExtraLight" panose="020B0303020201020303" pitchFamily="34" charset="0"/>
                <a:cs typeface="CiscoSansTT ExtraLight" panose="020B0303020201020303" pitchFamily="34" charset="0"/>
              </a:defRPr>
            </a:lvl4pPr>
            <a:lvl5pPr>
              <a:defRPr sz="1333" b="0" i="0">
                <a:latin typeface="CiscoSansTT ExtraLight" panose="020B0303020201020303" pitchFamily="34" charset="0"/>
                <a:cs typeface="CiscoSansTT ExtraLight" panose="020B0303020201020303" pitchFamily="34" charset="0"/>
              </a:defRPr>
            </a:lvl5pPr>
          </a:lstStyle>
          <a:p>
            <a:pPr marL="0" marR="0" lvl="0" indent="0" algn="l" rtl="0">
              <a:lnSpc>
                <a:spcPct val="100000"/>
              </a:lnSpc>
              <a:spcBef>
                <a:spcPts val="0"/>
              </a:spcBef>
              <a:spcAft>
                <a:spcPts val="0"/>
              </a:spcAft>
              <a:buNone/>
            </a:pPr>
            <a:endParaRPr lang="en-US" sz="1333" u="none" strike="noStrike" cap="none">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27" name="Google Shape;951;p194">
            <a:extLst>
              <a:ext uri="{FF2B5EF4-FFF2-40B4-BE49-F238E27FC236}">
                <a16:creationId xmlns:a16="http://schemas.microsoft.com/office/drawing/2014/main" id="{49D3184C-FF01-C942-8867-6F375A10E124}"/>
              </a:ext>
            </a:extLst>
          </p:cNvPr>
          <p:cNvSpPr/>
          <p:nvPr userDrawn="1"/>
        </p:nvSpPr>
        <p:spPr>
          <a:xfrm>
            <a:off x="-804610" y="-726918"/>
            <a:ext cx="1453835" cy="1453835"/>
          </a:xfrm>
          <a:prstGeom prst="ellipse">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8" name="Google Shape;951;p194">
            <a:extLst>
              <a:ext uri="{FF2B5EF4-FFF2-40B4-BE49-F238E27FC236}">
                <a16:creationId xmlns:a16="http://schemas.microsoft.com/office/drawing/2014/main" id="{1D72B12E-4104-CC4A-A56A-68C03F1C594A}"/>
              </a:ext>
            </a:extLst>
          </p:cNvPr>
          <p:cNvSpPr/>
          <p:nvPr userDrawn="1"/>
        </p:nvSpPr>
        <p:spPr>
          <a:xfrm>
            <a:off x="11465083" y="6131083"/>
            <a:ext cx="1453835" cy="1453835"/>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4" name="Text Placeholder 9">
            <a:extLst>
              <a:ext uri="{FF2B5EF4-FFF2-40B4-BE49-F238E27FC236}">
                <a16:creationId xmlns:a16="http://schemas.microsoft.com/office/drawing/2014/main" id="{C6863CAE-A47A-E942-B621-9F5077FD9392}"/>
              </a:ext>
            </a:extLst>
          </p:cNvPr>
          <p:cNvSpPr>
            <a:spLocks noGrp="1"/>
          </p:cNvSpPr>
          <p:nvPr>
            <p:ph type="body" sz="quarter" idx="18" hasCustomPrompt="1"/>
          </p:nvPr>
        </p:nvSpPr>
        <p:spPr>
          <a:xfrm>
            <a:off x="1570000" y="550633"/>
            <a:ext cx="9052000" cy="685200"/>
          </a:xfrm>
          <a:prstGeom prst="rect">
            <a:avLst/>
          </a:prstGeom>
        </p:spPr>
        <p:txBody>
          <a:bodyPr/>
          <a:lstStyle>
            <a:lvl1pPr algn="ctr">
              <a:defRPr sz="4000"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itle</a:t>
            </a:r>
            <a:endParaRPr lang="en-US"/>
          </a:p>
        </p:txBody>
      </p:sp>
    </p:spTree>
    <p:extLst>
      <p:ext uri="{BB962C8B-B14F-4D97-AF65-F5344CB8AC3E}">
        <p14:creationId xmlns:p14="http://schemas.microsoft.com/office/powerpoint/2010/main" val="8973361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grpSp>
        <p:nvGrpSpPr>
          <p:cNvPr id="3" name="Google Shape;1008;p199">
            <a:extLst>
              <a:ext uri="{FF2B5EF4-FFF2-40B4-BE49-F238E27FC236}">
                <a16:creationId xmlns:a16="http://schemas.microsoft.com/office/drawing/2014/main" id="{52E3CD38-E667-504D-9CD8-9AAE3C3F9C1E}"/>
              </a:ext>
            </a:extLst>
          </p:cNvPr>
          <p:cNvGrpSpPr/>
          <p:nvPr userDrawn="1"/>
        </p:nvGrpSpPr>
        <p:grpSpPr>
          <a:xfrm>
            <a:off x="5606957" y="1436773"/>
            <a:ext cx="1653295" cy="1653200"/>
            <a:chOff x="4205217" y="1077580"/>
            <a:chExt cx="1239971" cy="1239900"/>
          </a:xfrm>
        </p:grpSpPr>
        <p:sp>
          <p:nvSpPr>
            <p:cNvPr id="4" name="Google Shape;1009;p199">
              <a:extLst>
                <a:ext uri="{FF2B5EF4-FFF2-40B4-BE49-F238E27FC236}">
                  <a16:creationId xmlns:a16="http://schemas.microsoft.com/office/drawing/2014/main" id="{E92529BD-D48D-2541-8DAB-5657C05148B8}"/>
                </a:ext>
              </a:extLst>
            </p:cNvPr>
            <p:cNvSpPr/>
            <p:nvPr/>
          </p:nvSpPr>
          <p:spPr>
            <a:xfrm>
              <a:off x="4205217" y="1077580"/>
              <a:ext cx="1239900" cy="1239900"/>
            </a:xfrm>
            <a:prstGeom prst="ellipse">
              <a:avLst/>
            </a:prstGeom>
            <a:noFill/>
            <a:ln w="28575" cap="flat" cmpd="sng">
              <a:solidFill>
                <a:srgbClr val="ECF1F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latin typeface="Arial"/>
                <a:ea typeface="Arial"/>
                <a:cs typeface="Arial"/>
                <a:sym typeface="Arial"/>
              </a:endParaRPr>
            </a:p>
          </p:txBody>
        </p:sp>
        <p:sp>
          <p:nvSpPr>
            <p:cNvPr id="5" name="Google Shape;1010;p199">
              <a:extLst>
                <a:ext uri="{FF2B5EF4-FFF2-40B4-BE49-F238E27FC236}">
                  <a16:creationId xmlns:a16="http://schemas.microsoft.com/office/drawing/2014/main" id="{23B62289-50A0-5E4B-9685-00BCCB992C3B}"/>
                </a:ext>
              </a:extLst>
            </p:cNvPr>
            <p:cNvSpPr/>
            <p:nvPr/>
          </p:nvSpPr>
          <p:spPr>
            <a:xfrm>
              <a:off x="4829272" y="1077580"/>
              <a:ext cx="615916" cy="651177"/>
            </a:xfrm>
            <a:custGeom>
              <a:avLst/>
              <a:gdLst/>
              <a:ahLst/>
              <a:cxnLst/>
              <a:rect l="l" t="t" r="r" b="b"/>
              <a:pathLst>
                <a:path w="132" h="140" extrusionOk="0">
                  <a:moveTo>
                    <a:pt x="0" y="0"/>
                  </a:moveTo>
                  <a:cubicBezTo>
                    <a:pt x="73" y="0"/>
                    <a:pt x="132" y="60"/>
                    <a:pt x="132" y="133"/>
                  </a:cubicBezTo>
                  <a:cubicBezTo>
                    <a:pt x="132" y="136"/>
                    <a:pt x="132" y="137"/>
                    <a:pt x="132" y="140"/>
                  </a:cubicBezTo>
                </a:path>
              </a:pathLst>
            </a:custGeom>
            <a:noFill/>
            <a:ln w="50800" cap="rnd" cmpd="sng">
              <a:solidFill>
                <a:schemeClr val="accent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latin typeface="Arial"/>
                <a:ea typeface="Arial"/>
                <a:cs typeface="Arial"/>
                <a:sym typeface="Arial"/>
              </a:endParaRPr>
            </a:p>
          </p:txBody>
        </p:sp>
      </p:grpSp>
      <p:sp>
        <p:nvSpPr>
          <p:cNvPr id="13" name="Google Shape;1018;p199">
            <a:extLst>
              <a:ext uri="{FF2B5EF4-FFF2-40B4-BE49-F238E27FC236}">
                <a16:creationId xmlns:a16="http://schemas.microsoft.com/office/drawing/2014/main" id="{B3FCE5BD-16DD-E149-81B9-1E2EAB7D12B7}"/>
              </a:ext>
            </a:extLst>
          </p:cNvPr>
          <p:cNvSpPr/>
          <p:nvPr userDrawn="1"/>
        </p:nvSpPr>
        <p:spPr>
          <a:xfrm>
            <a:off x="-664967" y="-787367"/>
            <a:ext cx="1791600" cy="1791600"/>
          </a:xfrm>
          <a:prstGeom prst="ellipse">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16" name="Google Shape;1023;p199">
            <a:extLst>
              <a:ext uri="{FF2B5EF4-FFF2-40B4-BE49-F238E27FC236}">
                <a16:creationId xmlns:a16="http://schemas.microsoft.com/office/drawing/2014/main" id="{7976341F-90B2-1F4D-B00B-83709EBA9ABB}"/>
              </a:ext>
            </a:extLst>
          </p:cNvPr>
          <p:cNvGrpSpPr/>
          <p:nvPr userDrawn="1"/>
        </p:nvGrpSpPr>
        <p:grpSpPr>
          <a:xfrm>
            <a:off x="5631935" y="3925783"/>
            <a:ext cx="1614191" cy="1610195"/>
            <a:chOff x="7942336" y="2094288"/>
            <a:chExt cx="727200" cy="725400"/>
          </a:xfrm>
        </p:grpSpPr>
        <p:sp>
          <p:nvSpPr>
            <p:cNvPr id="17" name="Google Shape;1024;p199">
              <a:extLst>
                <a:ext uri="{FF2B5EF4-FFF2-40B4-BE49-F238E27FC236}">
                  <a16:creationId xmlns:a16="http://schemas.microsoft.com/office/drawing/2014/main" id="{AECEAEFC-E7A4-2B4E-8D9D-3FB331D5EDAE}"/>
                </a:ext>
              </a:extLst>
            </p:cNvPr>
            <p:cNvSpPr/>
            <p:nvPr/>
          </p:nvSpPr>
          <p:spPr>
            <a:xfrm>
              <a:off x="7942336" y="2094288"/>
              <a:ext cx="727200" cy="725400"/>
            </a:xfrm>
            <a:prstGeom prst="ellipse">
              <a:avLst/>
            </a:prstGeom>
            <a:noFill/>
            <a:ln w="28575" cap="flat" cmpd="sng">
              <a:solidFill>
                <a:srgbClr val="ECF1F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latin typeface="Arial"/>
                <a:ea typeface="Arial"/>
                <a:cs typeface="Arial"/>
                <a:sym typeface="Arial"/>
              </a:endParaRPr>
            </a:p>
          </p:txBody>
        </p:sp>
        <p:sp>
          <p:nvSpPr>
            <p:cNvPr id="18" name="Google Shape;1025;p199">
              <a:extLst>
                <a:ext uri="{FF2B5EF4-FFF2-40B4-BE49-F238E27FC236}">
                  <a16:creationId xmlns:a16="http://schemas.microsoft.com/office/drawing/2014/main" id="{7231C743-3685-844B-A583-A6D4408168D6}"/>
                </a:ext>
              </a:extLst>
            </p:cNvPr>
            <p:cNvSpPr/>
            <p:nvPr/>
          </p:nvSpPr>
          <p:spPr>
            <a:xfrm>
              <a:off x="7942336" y="2094288"/>
              <a:ext cx="723900" cy="723900"/>
            </a:xfrm>
            <a:custGeom>
              <a:avLst/>
              <a:gdLst/>
              <a:ahLst/>
              <a:cxnLst/>
              <a:rect l="l" t="t" r="r" b="b"/>
              <a:pathLst>
                <a:path w="265" h="265" extrusionOk="0">
                  <a:moveTo>
                    <a:pt x="132" y="0"/>
                  </a:moveTo>
                  <a:cubicBezTo>
                    <a:pt x="206" y="0"/>
                    <a:pt x="265" y="60"/>
                    <a:pt x="265" y="133"/>
                  </a:cubicBezTo>
                  <a:cubicBezTo>
                    <a:pt x="265" y="206"/>
                    <a:pt x="206" y="265"/>
                    <a:pt x="132" y="265"/>
                  </a:cubicBezTo>
                  <a:cubicBezTo>
                    <a:pt x="59" y="265"/>
                    <a:pt x="0" y="206"/>
                    <a:pt x="0" y="133"/>
                  </a:cubicBezTo>
                  <a:cubicBezTo>
                    <a:pt x="0" y="118"/>
                    <a:pt x="2" y="106"/>
                    <a:pt x="6" y="92"/>
                  </a:cubicBezTo>
                </a:path>
              </a:pathLst>
            </a:custGeom>
            <a:noFill/>
            <a:ln w="50800" cap="rnd" cmpd="sng">
              <a:solidFill>
                <a:schemeClr val="accent5"/>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latin typeface="Arial"/>
                <a:ea typeface="Arial"/>
                <a:cs typeface="Arial"/>
                <a:sym typeface="Arial"/>
              </a:endParaRPr>
            </a:p>
          </p:txBody>
        </p:sp>
      </p:grpSp>
      <p:sp>
        <p:nvSpPr>
          <p:cNvPr id="19" name="Text Placeholder 9">
            <a:extLst>
              <a:ext uri="{FF2B5EF4-FFF2-40B4-BE49-F238E27FC236}">
                <a16:creationId xmlns:a16="http://schemas.microsoft.com/office/drawing/2014/main" id="{6E44A878-C317-A348-88B7-2D327A1F56AB}"/>
              </a:ext>
            </a:extLst>
          </p:cNvPr>
          <p:cNvSpPr>
            <a:spLocks noGrp="1"/>
          </p:cNvSpPr>
          <p:nvPr>
            <p:ph type="body" sz="quarter" idx="14" hasCustomPrompt="1"/>
          </p:nvPr>
        </p:nvSpPr>
        <p:spPr>
          <a:xfrm>
            <a:off x="588869" y="1481849"/>
            <a:ext cx="3564468" cy="1218588"/>
          </a:xfrm>
          <a:prstGeom prst="rect">
            <a:avLst/>
          </a:prstGeom>
        </p:spPr>
        <p:txBody>
          <a:bodyPr/>
          <a:lstStyle>
            <a:lvl1pPr>
              <a:defRPr sz="4000"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itle</a:t>
            </a:r>
            <a:endParaRPr lang="en-US"/>
          </a:p>
        </p:txBody>
      </p:sp>
      <p:sp>
        <p:nvSpPr>
          <p:cNvPr id="20" name="Text Placeholder 13">
            <a:extLst>
              <a:ext uri="{FF2B5EF4-FFF2-40B4-BE49-F238E27FC236}">
                <a16:creationId xmlns:a16="http://schemas.microsoft.com/office/drawing/2014/main" id="{F4D9ED7A-BB3E-2B4A-B3E6-67298077B32B}"/>
              </a:ext>
            </a:extLst>
          </p:cNvPr>
          <p:cNvSpPr>
            <a:spLocks noGrp="1"/>
          </p:cNvSpPr>
          <p:nvPr>
            <p:ph type="body" sz="quarter" idx="11" hasCustomPrompt="1"/>
          </p:nvPr>
        </p:nvSpPr>
        <p:spPr>
          <a:xfrm>
            <a:off x="588869" y="3285199"/>
            <a:ext cx="3068732" cy="361951"/>
          </a:xfrm>
          <a:prstGeom prst="rect">
            <a:avLst/>
          </a:prstGeom>
        </p:spPr>
        <p:txBody>
          <a:bodyPr/>
          <a:lstStyle>
            <a:lvl1pPr>
              <a:defRPr sz="2133" b="0" i="0">
                <a:solidFill>
                  <a:schemeClr val="accent1"/>
                </a:solidFill>
                <a:latin typeface="CiscoSansTT ExtraLight" panose="020B0303020201020303" pitchFamily="34" charset="0"/>
                <a:cs typeface="CiscoSansTT ExtraLight" panose="020B0303020201020303" pitchFamily="34" charset="0"/>
              </a:defRPr>
            </a:lvl1pPr>
            <a:lvl2pPr>
              <a:defRPr sz="2133"/>
            </a:lvl2pPr>
            <a:lvl3pPr>
              <a:defRPr sz="2133"/>
            </a:lvl3pPr>
            <a:lvl4pPr>
              <a:defRPr sz="2133"/>
            </a:lvl4pPr>
            <a:lvl5pPr>
              <a:defRPr sz="2133"/>
            </a:lvl5pPr>
          </a:lstStyle>
          <a:p>
            <a:r>
              <a:rPr lang="en-US" sz="2133">
                <a:solidFill>
                  <a:schemeClr val="accent1"/>
                </a:solidFill>
                <a:latin typeface="CiscoSansTT ExtraLight" panose="020B0303020201020303" pitchFamily="34" charset="0"/>
                <a:cs typeface="CiscoSansTT ExtraLight" panose="020B0303020201020303" pitchFamily="34" charset="0"/>
                <a:sym typeface="Helvetica Neue Light"/>
              </a:rPr>
              <a:t>Lorem ipsum dolor sit </a:t>
            </a:r>
          </a:p>
        </p:txBody>
      </p:sp>
      <p:sp>
        <p:nvSpPr>
          <p:cNvPr id="22" name="Text Placeholder 21">
            <a:extLst>
              <a:ext uri="{FF2B5EF4-FFF2-40B4-BE49-F238E27FC236}">
                <a16:creationId xmlns:a16="http://schemas.microsoft.com/office/drawing/2014/main" id="{3FBA4D0F-D7D2-154C-9B95-4B225525BEF8}"/>
              </a:ext>
            </a:extLst>
          </p:cNvPr>
          <p:cNvSpPr>
            <a:spLocks noGrp="1"/>
          </p:cNvSpPr>
          <p:nvPr>
            <p:ph type="body" sz="quarter" idx="15" hasCustomPrompt="1"/>
          </p:nvPr>
        </p:nvSpPr>
        <p:spPr>
          <a:xfrm>
            <a:off x="588433" y="3826934"/>
            <a:ext cx="3237673" cy="1337733"/>
          </a:xfrm>
          <a:prstGeom prst="rect">
            <a:avLst/>
          </a:prstGeom>
        </p:spPr>
        <p:txBody>
          <a:bodyPr/>
          <a:lstStyle>
            <a:lvl1pPr>
              <a:defRPr sz="1467"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ext</a:t>
            </a:r>
            <a:endParaRPr lang="en-US"/>
          </a:p>
        </p:txBody>
      </p:sp>
      <p:sp>
        <p:nvSpPr>
          <p:cNvPr id="25" name="Text Placeholder 13">
            <a:extLst>
              <a:ext uri="{FF2B5EF4-FFF2-40B4-BE49-F238E27FC236}">
                <a16:creationId xmlns:a16="http://schemas.microsoft.com/office/drawing/2014/main" id="{54C8725D-7DE2-5B43-B761-3CEBF82BB8E7}"/>
              </a:ext>
            </a:extLst>
          </p:cNvPr>
          <p:cNvSpPr>
            <a:spLocks noGrp="1"/>
          </p:cNvSpPr>
          <p:nvPr>
            <p:ph type="body" sz="quarter" idx="16" hasCustomPrompt="1"/>
          </p:nvPr>
        </p:nvSpPr>
        <p:spPr>
          <a:xfrm>
            <a:off x="7591834" y="1732266"/>
            <a:ext cx="3068732" cy="361951"/>
          </a:xfrm>
          <a:prstGeom prst="rect">
            <a:avLst/>
          </a:prstGeom>
        </p:spPr>
        <p:txBody>
          <a:bodyPr/>
          <a:lstStyle>
            <a:lvl1pPr>
              <a:defRPr sz="2133" b="0" i="0">
                <a:solidFill>
                  <a:schemeClr val="accent1"/>
                </a:solidFill>
                <a:latin typeface="CiscoSansTT ExtraLight" panose="020B0303020201020303" pitchFamily="34" charset="0"/>
                <a:cs typeface="CiscoSansTT ExtraLight" panose="020B0303020201020303" pitchFamily="34" charset="0"/>
              </a:defRPr>
            </a:lvl1pPr>
            <a:lvl2pPr>
              <a:defRPr sz="2133"/>
            </a:lvl2pPr>
            <a:lvl3pPr>
              <a:defRPr sz="2133"/>
            </a:lvl3pPr>
            <a:lvl4pPr>
              <a:defRPr sz="2133"/>
            </a:lvl4pPr>
            <a:lvl5pPr>
              <a:defRPr sz="2133"/>
            </a:lvl5pPr>
          </a:lstStyle>
          <a:p>
            <a:r>
              <a:rPr lang="en-US" sz="2133">
                <a:solidFill>
                  <a:schemeClr val="accent1"/>
                </a:solidFill>
                <a:latin typeface="CiscoSansTT ExtraLight" panose="020B0303020201020303" pitchFamily="34" charset="0"/>
                <a:cs typeface="CiscoSansTT ExtraLight" panose="020B0303020201020303" pitchFamily="34" charset="0"/>
                <a:sym typeface="Helvetica Neue Light"/>
              </a:rPr>
              <a:t>Lorem ipsum dolor sit </a:t>
            </a:r>
          </a:p>
        </p:txBody>
      </p:sp>
      <p:sp>
        <p:nvSpPr>
          <p:cNvPr id="26" name="Text Placeholder 21">
            <a:extLst>
              <a:ext uri="{FF2B5EF4-FFF2-40B4-BE49-F238E27FC236}">
                <a16:creationId xmlns:a16="http://schemas.microsoft.com/office/drawing/2014/main" id="{845E5978-C0B6-8843-A6F8-4ECD19F3A62C}"/>
              </a:ext>
            </a:extLst>
          </p:cNvPr>
          <p:cNvSpPr>
            <a:spLocks noGrp="1"/>
          </p:cNvSpPr>
          <p:nvPr>
            <p:ph type="body" sz="quarter" idx="17" hasCustomPrompt="1"/>
          </p:nvPr>
        </p:nvSpPr>
        <p:spPr>
          <a:xfrm>
            <a:off x="7591398" y="2274000"/>
            <a:ext cx="3237673" cy="689747"/>
          </a:xfrm>
          <a:prstGeom prst="rect">
            <a:avLst/>
          </a:prstGeom>
        </p:spPr>
        <p:txBody>
          <a:bodyPr/>
          <a:lstStyle>
            <a:lvl1pPr>
              <a:defRPr sz="1467"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ext</a:t>
            </a:r>
            <a:endParaRPr lang="en-US"/>
          </a:p>
        </p:txBody>
      </p:sp>
      <p:sp>
        <p:nvSpPr>
          <p:cNvPr id="31" name="Text Placeholder 13">
            <a:extLst>
              <a:ext uri="{FF2B5EF4-FFF2-40B4-BE49-F238E27FC236}">
                <a16:creationId xmlns:a16="http://schemas.microsoft.com/office/drawing/2014/main" id="{9CE23E42-64D7-D545-AE56-C6DD0B58449D}"/>
              </a:ext>
            </a:extLst>
          </p:cNvPr>
          <p:cNvSpPr>
            <a:spLocks noGrp="1"/>
          </p:cNvSpPr>
          <p:nvPr>
            <p:ph type="body" sz="quarter" idx="18" hasCustomPrompt="1"/>
          </p:nvPr>
        </p:nvSpPr>
        <p:spPr>
          <a:xfrm>
            <a:off x="7591834" y="4230966"/>
            <a:ext cx="3068732" cy="361951"/>
          </a:xfrm>
          <a:prstGeom prst="rect">
            <a:avLst/>
          </a:prstGeom>
        </p:spPr>
        <p:txBody>
          <a:bodyPr/>
          <a:lstStyle>
            <a:lvl1pPr>
              <a:defRPr sz="2133" b="0" i="0">
                <a:solidFill>
                  <a:schemeClr val="accent1"/>
                </a:solidFill>
                <a:latin typeface="CiscoSansTT ExtraLight" panose="020B0303020201020303" pitchFamily="34" charset="0"/>
                <a:cs typeface="CiscoSansTT ExtraLight" panose="020B0303020201020303" pitchFamily="34" charset="0"/>
              </a:defRPr>
            </a:lvl1pPr>
            <a:lvl2pPr>
              <a:defRPr sz="2133"/>
            </a:lvl2pPr>
            <a:lvl3pPr>
              <a:defRPr sz="2133"/>
            </a:lvl3pPr>
            <a:lvl4pPr>
              <a:defRPr sz="2133"/>
            </a:lvl4pPr>
            <a:lvl5pPr>
              <a:defRPr sz="2133"/>
            </a:lvl5pPr>
          </a:lstStyle>
          <a:p>
            <a:r>
              <a:rPr lang="en-US" sz="2133">
                <a:solidFill>
                  <a:schemeClr val="accent5"/>
                </a:solidFill>
                <a:latin typeface="CiscoSansTT ExtraLight" panose="020B0303020201020303" pitchFamily="34" charset="0"/>
                <a:cs typeface="CiscoSansTT ExtraLight" panose="020B0303020201020303" pitchFamily="34" charset="0"/>
                <a:sym typeface="Helvetica Neue Light"/>
              </a:rPr>
              <a:t>Lorem ipsum dolor sit </a:t>
            </a:r>
          </a:p>
        </p:txBody>
      </p:sp>
      <p:sp>
        <p:nvSpPr>
          <p:cNvPr id="32" name="Text Placeholder 21">
            <a:extLst>
              <a:ext uri="{FF2B5EF4-FFF2-40B4-BE49-F238E27FC236}">
                <a16:creationId xmlns:a16="http://schemas.microsoft.com/office/drawing/2014/main" id="{5F3F412E-0E0F-9348-8D36-BEFBF11BDB9E}"/>
              </a:ext>
            </a:extLst>
          </p:cNvPr>
          <p:cNvSpPr>
            <a:spLocks noGrp="1"/>
          </p:cNvSpPr>
          <p:nvPr>
            <p:ph type="body" sz="quarter" idx="19" hasCustomPrompt="1"/>
          </p:nvPr>
        </p:nvSpPr>
        <p:spPr>
          <a:xfrm>
            <a:off x="7591398" y="4772700"/>
            <a:ext cx="3237673" cy="689747"/>
          </a:xfrm>
          <a:prstGeom prst="rect">
            <a:avLst/>
          </a:prstGeom>
        </p:spPr>
        <p:txBody>
          <a:bodyPr/>
          <a:lstStyle>
            <a:lvl1pPr>
              <a:defRPr sz="1467"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ext</a:t>
            </a:r>
            <a:endParaRPr lang="en-US"/>
          </a:p>
        </p:txBody>
      </p:sp>
      <p:sp>
        <p:nvSpPr>
          <p:cNvPr id="37" name="Text Placeholder 34">
            <a:extLst>
              <a:ext uri="{FF2B5EF4-FFF2-40B4-BE49-F238E27FC236}">
                <a16:creationId xmlns:a16="http://schemas.microsoft.com/office/drawing/2014/main" id="{C6AD9C39-3CA2-634F-9D66-4376102C23C4}"/>
              </a:ext>
            </a:extLst>
          </p:cNvPr>
          <p:cNvSpPr>
            <a:spLocks noGrp="1"/>
          </p:cNvSpPr>
          <p:nvPr>
            <p:ph type="body" sz="quarter" idx="20" hasCustomPrompt="1"/>
          </p:nvPr>
        </p:nvSpPr>
        <p:spPr>
          <a:xfrm>
            <a:off x="5925867" y="4435536"/>
            <a:ext cx="1131616" cy="711200"/>
          </a:xfrm>
          <a:prstGeom prst="rect">
            <a:avLst/>
          </a:prstGeom>
        </p:spPr>
        <p:txBody>
          <a:bodyPr/>
          <a:lstStyle>
            <a:lvl1pPr>
              <a:defRPr sz="3200" b="0" i="0">
                <a:solidFill>
                  <a:schemeClr val="accent5"/>
                </a:solidFill>
                <a:latin typeface="CiscoSansTT Light" panose="020B0503020201020303" pitchFamily="34" charset="0"/>
                <a:cs typeface="CiscoSansTT Light" panose="020B0503020201020303" pitchFamily="34" charset="0"/>
              </a:defRPr>
            </a:lvl1pPr>
          </a:lstStyle>
          <a:p>
            <a:pPr lvl="0"/>
            <a:r>
              <a:rPr lang="en-GB"/>
              <a:t>80%</a:t>
            </a:r>
            <a:endParaRPr lang="en-US"/>
          </a:p>
        </p:txBody>
      </p:sp>
      <p:sp>
        <p:nvSpPr>
          <p:cNvPr id="38" name="Text Placeholder 34">
            <a:extLst>
              <a:ext uri="{FF2B5EF4-FFF2-40B4-BE49-F238E27FC236}">
                <a16:creationId xmlns:a16="http://schemas.microsoft.com/office/drawing/2014/main" id="{6C93B04A-1E80-1C40-9B3E-5A436450F6C1}"/>
              </a:ext>
            </a:extLst>
          </p:cNvPr>
          <p:cNvSpPr>
            <a:spLocks noGrp="1"/>
          </p:cNvSpPr>
          <p:nvPr>
            <p:ph type="body" sz="quarter" idx="21" hasCustomPrompt="1"/>
          </p:nvPr>
        </p:nvSpPr>
        <p:spPr>
          <a:xfrm>
            <a:off x="5867748" y="1968220"/>
            <a:ext cx="1131616" cy="711200"/>
          </a:xfrm>
          <a:prstGeom prst="rect">
            <a:avLst/>
          </a:prstGeom>
        </p:spPr>
        <p:txBody>
          <a:bodyPr/>
          <a:lstStyle>
            <a:lvl1pPr>
              <a:defRPr sz="3200" b="0" i="0">
                <a:solidFill>
                  <a:schemeClr val="accent1"/>
                </a:solidFill>
                <a:latin typeface="CiscoSansTT Light" panose="020B0503020201020303" pitchFamily="34" charset="0"/>
                <a:cs typeface="CiscoSansTT Light" panose="020B0503020201020303" pitchFamily="34" charset="0"/>
              </a:defRPr>
            </a:lvl1pPr>
          </a:lstStyle>
          <a:p>
            <a:pPr lvl="0"/>
            <a:r>
              <a:rPr lang="en-GB"/>
              <a:t>20%</a:t>
            </a:r>
            <a:endParaRPr lang="en-US"/>
          </a:p>
        </p:txBody>
      </p:sp>
    </p:spTree>
    <p:extLst>
      <p:ext uri="{BB962C8B-B14F-4D97-AF65-F5344CB8AC3E}">
        <p14:creationId xmlns:p14="http://schemas.microsoft.com/office/powerpoint/2010/main" val="37536213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Google Shape;1078;p204">
            <a:extLst>
              <a:ext uri="{FF2B5EF4-FFF2-40B4-BE49-F238E27FC236}">
                <a16:creationId xmlns:a16="http://schemas.microsoft.com/office/drawing/2014/main" id="{26400E5D-158F-5542-8030-E162A4B799CF}"/>
              </a:ext>
            </a:extLst>
          </p:cNvPr>
          <p:cNvSpPr txBox="1"/>
          <p:nvPr userDrawn="1"/>
        </p:nvSpPr>
        <p:spPr>
          <a:xfrm>
            <a:off x="5075009" y="633792"/>
            <a:ext cx="827200" cy="916400"/>
          </a:xfrm>
          <a:prstGeom prst="rect">
            <a:avLst/>
          </a:prstGeom>
          <a:no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Clr>
                <a:srgbClr val="000000"/>
              </a:buClr>
              <a:buSzPts val="4800"/>
              <a:buFont typeface="Arial"/>
              <a:buNone/>
            </a:pPr>
            <a:r>
              <a:rPr lang="en-US" sz="5333" b="1" u="none" strike="noStrike" cap="none">
                <a:solidFill>
                  <a:schemeClr val="accent5"/>
                </a:solidFill>
                <a:latin typeface="CiscoSansTT" panose="020B0503020201020303" pitchFamily="34" charset="0"/>
                <a:ea typeface="Helvetica Neue"/>
                <a:cs typeface="CiscoSansTT" panose="020B0503020201020303" pitchFamily="34" charset="0"/>
                <a:sym typeface="Helvetica Neue"/>
              </a:rPr>
              <a:t>“</a:t>
            </a:r>
            <a:endParaRPr sz="5333" b="1" u="none" strike="noStrike" cap="none">
              <a:solidFill>
                <a:schemeClr val="accent5"/>
              </a:solidFill>
              <a:latin typeface="CiscoSansTT" panose="020B0503020201020303" pitchFamily="34" charset="0"/>
              <a:ea typeface="Helvetica Neue"/>
              <a:cs typeface="CiscoSansTT" panose="020B0503020201020303" pitchFamily="34" charset="0"/>
              <a:sym typeface="Helvetica Neue"/>
            </a:endParaRPr>
          </a:p>
        </p:txBody>
      </p:sp>
      <p:sp>
        <p:nvSpPr>
          <p:cNvPr id="7" name="Google Shape;1080;p204">
            <a:extLst>
              <a:ext uri="{FF2B5EF4-FFF2-40B4-BE49-F238E27FC236}">
                <a16:creationId xmlns:a16="http://schemas.microsoft.com/office/drawing/2014/main" id="{7F38C613-8B48-2549-AFD7-983B5C480D04}"/>
              </a:ext>
            </a:extLst>
          </p:cNvPr>
          <p:cNvSpPr txBox="1"/>
          <p:nvPr userDrawn="1"/>
        </p:nvSpPr>
        <p:spPr>
          <a:xfrm>
            <a:off x="8611709" y="633792"/>
            <a:ext cx="827200" cy="916400"/>
          </a:xfrm>
          <a:prstGeom prst="rect">
            <a:avLst/>
          </a:prstGeom>
          <a:no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Clr>
                <a:srgbClr val="000000"/>
              </a:buClr>
              <a:buSzPts val="4800"/>
              <a:buFont typeface="Arial"/>
              <a:buNone/>
            </a:pPr>
            <a:r>
              <a:rPr lang="en-US" sz="5333" b="1" u="none" strike="noStrike" cap="none">
                <a:solidFill>
                  <a:schemeClr val="accent1"/>
                </a:solidFill>
                <a:latin typeface="CiscoSansTT" panose="020B0503020201020303" pitchFamily="34" charset="0"/>
                <a:ea typeface="Helvetica Neue"/>
                <a:cs typeface="CiscoSansTT" panose="020B0503020201020303" pitchFamily="34" charset="0"/>
                <a:sym typeface="Helvetica Neue"/>
              </a:rPr>
              <a:t>“</a:t>
            </a:r>
            <a:endParaRPr sz="5333" b="1" u="none" strike="noStrike" cap="none">
              <a:solidFill>
                <a:schemeClr val="accent1"/>
              </a:solidFill>
              <a:latin typeface="CiscoSansTT" panose="020B0503020201020303" pitchFamily="34" charset="0"/>
              <a:ea typeface="Helvetica Neue"/>
              <a:cs typeface="CiscoSansTT" panose="020B0503020201020303" pitchFamily="34" charset="0"/>
              <a:sym typeface="Helvetica Neue"/>
            </a:endParaRPr>
          </a:p>
        </p:txBody>
      </p:sp>
      <p:sp>
        <p:nvSpPr>
          <p:cNvPr id="9" name="Google Shape;1082;p204">
            <a:extLst>
              <a:ext uri="{FF2B5EF4-FFF2-40B4-BE49-F238E27FC236}">
                <a16:creationId xmlns:a16="http://schemas.microsoft.com/office/drawing/2014/main" id="{44393B57-2E3B-C74B-A6EF-FCFAAE83FF36}"/>
              </a:ext>
            </a:extLst>
          </p:cNvPr>
          <p:cNvSpPr txBox="1"/>
          <p:nvPr userDrawn="1"/>
        </p:nvSpPr>
        <p:spPr>
          <a:xfrm>
            <a:off x="5075009" y="2512467"/>
            <a:ext cx="827200" cy="916400"/>
          </a:xfrm>
          <a:prstGeom prst="rect">
            <a:avLst/>
          </a:prstGeom>
          <a:no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Clr>
                <a:srgbClr val="000000"/>
              </a:buClr>
              <a:buSzPts val="4800"/>
              <a:buFont typeface="Arial"/>
              <a:buNone/>
            </a:pPr>
            <a:r>
              <a:rPr lang="en-US" sz="5333" b="1" u="none" strike="noStrike" cap="none">
                <a:solidFill>
                  <a:schemeClr val="accent2"/>
                </a:solidFill>
                <a:latin typeface="CiscoSansTT" panose="020B0503020201020303" pitchFamily="34" charset="0"/>
                <a:ea typeface="Helvetica Neue"/>
                <a:cs typeface="CiscoSansTT" panose="020B0503020201020303" pitchFamily="34" charset="0"/>
                <a:sym typeface="Helvetica Neue"/>
              </a:rPr>
              <a:t>“</a:t>
            </a:r>
            <a:endParaRPr sz="5333" b="1" u="none" strike="noStrike" cap="none">
              <a:solidFill>
                <a:schemeClr val="accent2"/>
              </a:solidFill>
              <a:latin typeface="CiscoSansTT" panose="020B0503020201020303" pitchFamily="34" charset="0"/>
              <a:ea typeface="Helvetica Neue"/>
              <a:cs typeface="CiscoSansTT" panose="020B0503020201020303" pitchFamily="34" charset="0"/>
              <a:sym typeface="Helvetica Neue"/>
            </a:endParaRPr>
          </a:p>
        </p:txBody>
      </p:sp>
      <p:sp>
        <p:nvSpPr>
          <p:cNvPr id="11" name="Google Shape;1084;p204">
            <a:extLst>
              <a:ext uri="{FF2B5EF4-FFF2-40B4-BE49-F238E27FC236}">
                <a16:creationId xmlns:a16="http://schemas.microsoft.com/office/drawing/2014/main" id="{67DFEBA4-D949-B646-BB4D-FEFAC24E27A4}"/>
              </a:ext>
            </a:extLst>
          </p:cNvPr>
          <p:cNvSpPr txBox="1"/>
          <p:nvPr userDrawn="1"/>
        </p:nvSpPr>
        <p:spPr>
          <a:xfrm>
            <a:off x="8611709" y="2512467"/>
            <a:ext cx="827200" cy="916400"/>
          </a:xfrm>
          <a:prstGeom prst="rect">
            <a:avLst/>
          </a:prstGeom>
          <a:no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Clr>
                <a:srgbClr val="000000"/>
              </a:buClr>
              <a:buSzPts val="4800"/>
              <a:buFont typeface="Arial"/>
              <a:buNone/>
            </a:pPr>
            <a:r>
              <a:rPr lang="en-US" sz="5333" b="1" u="none" strike="noStrike" cap="none">
                <a:solidFill>
                  <a:schemeClr val="accent5"/>
                </a:solidFill>
                <a:latin typeface="CiscoSansTT" panose="020B0503020201020303" pitchFamily="34" charset="0"/>
                <a:ea typeface="Helvetica Neue"/>
                <a:cs typeface="CiscoSansTT" panose="020B0503020201020303" pitchFamily="34" charset="0"/>
                <a:sym typeface="Helvetica Neue"/>
              </a:rPr>
              <a:t>“</a:t>
            </a:r>
            <a:endParaRPr sz="5333" b="1" u="none" strike="noStrike" cap="none">
              <a:solidFill>
                <a:schemeClr val="accent5"/>
              </a:solidFill>
              <a:latin typeface="CiscoSansTT" panose="020B0503020201020303" pitchFamily="34" charset="0"/>
              <a:ea typeface="Helvetica Neue"/>
              <a:cs typeface="CiscoSansTT" panose="020B0503020201020303" pitchFamily="34" charset="0"/>
              <a:sym typeface="Helvetica Neue"/>
            </a:endParaRPr>
          </a:p>
        </p:txBody>
      </p:sp>
      <p:sp>
        <p:nvSpPr>
          <p:cNvPr id="13" name="Google Shape;1086;p204">
            <a:extLst>
              <a:ext uri="{FF2B5EF4-FFF2-40B4-BE49-F238E27FC236}">
                <a16:creationId xmlns:a16="http://schemas.microsoft.com/office/drawing/2014/main" id="{3062C814-012F-5142-A65E-6F30A05ACCA3}"/>
              </a:ext>
            </a:extLst>
          </p:cNvPr>
          <p:cNvSpPr txBox="1"/>
          <p:nvPr userDrawn="1"/>
        </p:nvSpPr>
        <p:spPr>
          <a:xfrm>
            <a:off x="5075009" y="4379567"/>
            <a:ext cx="827200" cy="916400"/>
          </a:xfrm>
          <a:prstGeom prst="rect">
            <a:avLst/>
          </a:prstGeom>
          <a:no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Clr>
                <a:srgbClr val="000000"/>
              </a:buClr>
              <a:buSzPts val="4800"/>
              <a:buFont typeface="Arial"/>
              <a:buNone/>
            </a:pPr>
            <a:r>
              <a:rPr lang="en-US" sz="5333" b="1" u="none" strike="noStrike" cap="none">
                <a:solidFill>
                  <a:schemeClr val="accent1"/>
                </a:solidFill>
                <a:latin typeface="CiscoSansTT" panose="020B0503020201020303" pitchFamily="34" charset="0"/>
                <a:ea typeface="Helvetica Neue"/>
                <a:cs typeface="CiscoSansTT" panose="020B0503020201020303" pitchFamily="34" charset="0"/>
                <a:sym typeface="Helvetica Neue"/>
              </a:rPr>
              <a:t>“</a:t>
            </a:r>
            <a:endParaRPr sz="5333" b="1" u="none" strike="noStrike" cap="none">
              <a:solidFill>
                <a:schemeClr val="accent1"/>
              </a:solidFill>
              <a:latin typeface="CiscoSansTT" panose="020B0503020201020303" pitchFamily="34" charset="0"/>
              <a:ea typeface="Helvetica Neue"/>
              <a:cs typeface="CiscoSansTT" panose="020B0503020201020303" pitchFamily="34" charset="0"/>
              <a:sym typeface="Helvetica Neue"/>
            </a:endParaRPr>
          </a:p>
        </p:txBody>
      </p:sp>
      <p:sp>
        <p:nvSpPr>
          <p:cNvPr id="15" name="Google Shape;1088;p204">
            <a:extLst>
              <a:ext uri="{FF2B5EF4-FFF2-40B4-BE49-F238E27FC236}">
                <a16:creationId xmlns:a16="http://schemas.microsoft.com/office/drawing/2014/main" id="{2DEBB735-A5BC-D646-BCA0-775F1EDB431B}"/>
              </a:ext>
            </a:extLst>
          </p:cNvPr>
          <p:cNvSpPr txBox="1"/>
          <p:nvPr userDrawn="1"/>
        </p:nvSpPr>
        <p:spPr>
          <a:xfrm>
            <a:off x="8611709" y="4379567"/>
            <a:ext cx="827200" cy="916400"/>
          </a:xfrm>
          <a:prstGeom prst="rect">
            <a:avLst/>
          </a:prstGeom>
          <a:no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Clr>
                <a:srgbClr val="000000"/>
              </a:buClr>
              <a:buSzPts val="4800"/>
              <a:buFont typeface="Arial"/>
              <a:buNone/>
            </a:pPr>
            <a:r>
              <a:rPr lang="en-US" sz="5333" b="1" u="none" strike="noStrike" cap="none">
                <a:solidFill>
                  <a:schemeClr val="accent2"/>
                </a:solidFill>
                <a:latin typeface="CiscoSansTT" panose="020B0503020201020303" pitchFamily="34" charset="0"/>
                <a:ea typeface="Helvetica Neue"/>
                <a:cs typeface="CiscoSansTT" panose="020B0503020201020303" pitchFamily="34" charset="0"/>
                <a:sym typeface="Helvetica Neue"/>
              </a:rPr>
              <a:t>“</a:t>
            </a:r>
            <a:endParaRPr sz="5333" b="1" u="none" strike="noStrike" cap="none">
              <a:solidFill>
                <a:schemeClr val="accent2"/>
              </a:solidFill>
              <a:latin typeface="CiscoSansTT" panose="020B0503020201020303" pitchFamily="34" charset="0"/>
              <a:ea typeface="Helvetica Neue"/>
              <a:cs typeface="CiscoSansTT" panose="020B0503020201020303" pitchFamily="34" charset="0"/>
              <a:sym typeface="Helvetica Neue"/>
            </a:endParaRPr>
          </a:p>
        </p:txBody>
      </p:sp>
      <p:sp>
        <p:nvSpPr>
          <p:cNvPr id="16" name="Text Placeholder 9">
            <a:extLst>
              <a:ext uri="{FF2B5EF4-FFF2-40B4-BE49-F238E27FC236}">
                <a16:creationId xmlns:a16="http://schemas.microsoft.com/office/drawing/2014/main" id="{F726BCDA-045A-6049-9D22-CFF07BAD02CF}"/>
              </a:ext>
            </a:extLst>
          </p:cNvPr>
          <p:cNvSpPr>
            <a:spLocks noGrp="1"/>
          </p:cNvSpPr>
          <p:nvPr>
            <p:ph type="body" sz="quarter" idx="14" hasCustomPrompt="1"/>
          </p:nvPr>
        </p:nvSpPr>
        <p:spPr>
          <a:xfrm>
            <a:off x="586863" y="1422707"/>
            <a:ext cx="3564468" cy="1580813"/>
          </a:xfrm>
          <a:prstGeom prst="rect">
            <a:avLst/>
          </a:prstGeom>
        </p:spPr>
        <p:txBody>
          <a:bodyPr/>
          <a:lstStyle>
            <a:lvl1pPr>
              <a:defRPr sz="4800"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itle</a:t>
            </a:r>
            <a:endParaRPr lang="en-US"/>
          </a:p>
        </p:txBody>
      </p:sp>
      <p:sp>
        <p:nvSpPr>
          <p:cNvPr id="17" name="Text Placeholder 21">
            <a:extLst>
              <a:ext uri="{FF2B5EF4-FFF2-40B4-BE49-F238E27FC236}">
                <a16:creationId xmlns:a16="http://schemas.microsoft.com/office/drawing/2014/main" id="{60AFAD34-CFFF-EF48-B99C-F11DFD70F0BC}"/>
              </a:ext>
            </a:extLst>
          </p:cNvPr>
          <p:cNvSpPr>
            <a:spLocks noGrp="1"/>
          </p:cNvSpPr>
          <p:nvPr>
            <p:ph type="body" sz="quarter" idx="17" hasCustomPrompt="1"/>
          </p:nvPr>
        </p:nvSpPr>
        <p:spPr>
          <a:xfrm>
            <a:off x="5583450" y="1043471"/>
            <a:ext cx="1914801" cy="1038091"/>
          </a:xfrm>
          <a:prstGeom prst="rect">
            <a:avLst/>
          </a:prstGeom>
        </p:spPr>
        <p:txBody>
          <a:bodyPr/>
          <a:lstStyle>
            <a:lvl1pPr>
              <a:defRPr sz="1467"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ext</a:t>
            </a:r>
            <a:endParaRPr lang="en-US"/>
          </a:p>
        </p:txBody>
      </p:sp>
      <p:sp>
        <p:nvSpPr>
          <p:cNvPr id="18" name="Text Placeholder 21">
            <a:extLst>
              <a:ext uri="{FF2B5EF4-FFF2-40B4-BE49-F238E27FC236}">
                <a16:creationId xmlns:a16="http://schemas.microsoft.com/office/drawing/2014/main" id="{5DED0708-F6D0-9247-BBE1-821405FF8233}"/>
              </a:ext>
            </a:extLst>
          </p:cNvPr>
          <p:cNvSpPr>
            <a:spLocks noGrp="1"/>
          </p:cNvSpPr>
          <p:nvPr>
            <p:ph type="body" sz="quarter" idx="18" hasCustomPrompt="1"/>
          </p:nvPr>
        </p:nvSpPr>
        <p:spPr>
          <a:xfrm>
            <a:off x="5583450" y="2909821"/>
            <a:ext cx="1914801" cy="1038091"/>
          </a:xfrm>
          <a:prstGeom prst="rect">
            <a:avLst/>
          </a:prstGeom>
        </p:spPr>
        <p:txBody>
          <a:bodyPr/>
          <a:lstStyle>
            <a:lvl1pPr>
              <a:defRPr sz="1467"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ext</a:t>
            </a:r>
            <a:endParaRPr lang="en-US"/>
          </a:p>
        </p:txBody>
      </p:sp>
      <p:sp>
        <p:nvSpPr>
          <p:cNvPr id="19" name="Text Placeholder 21">
            <a:extLst>
              <a:ext uri="{FF2B5EF4-FFF2-40B4-BE49-F238E27FC236}">
                <a16:creationId xmlns:a16="http://schemas.microsoft.com/office/drawing/2014/main" id="{5CCA10A3-3B40-D248-9C55-B94F50E73839}"/>
              </a:ext>
            </a:extLst>
          </p:cNvPr>
          <p:cNvSpPr>
            <a:spLocks noGrp="1"/>
          </p:cNvSpPr>
          <p:nvPr>
            <p:ph type="body" sz="quarter" idx="19" hasCustomPrompt="1"/>
          </p:nvPr>
        </p:nvSpPr>
        <p:spPr>
          <a:xfrm>
            <a:off x="5583450" y="4776921"/>
            <a:ext cx="1914801" cy="1038091"/>
          </a:xfrm>
          <a:prstGeom prst="rect">
            <a:avLst/>
          </a:prstGeom>
        </p:spPr>
        <p:txBody>
          <a:bodyPr/>
          <a:lstStyle>
            <a:lvl1pPr>
              <a:defRPr sz="1467"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ext</a:t>
            </a:r>
            <a:endParaRPr lang="en-US"/>
          </a:p>
        </p:txBody>
      </p:sp>
      <p:sp>
        <p:nvSpPr>
          <p:cNvPr id="20" name="Text Placeholder 21">
            <a:extLst>
              <a:ext uri="{FF2B5EF4-FFF2-40B4-BE49-F238E27FC236}">
                <a16:creationId xmlns:a16="http://schemas.microsoft.com/office/drawing/2014/main" id="{BC3462B6-4CC9-5145-9E61-C762FD2757BA}"/>
              </a:ext>
            </a:extLst>
          </p:cNvPr>
          <p:cNvSpPr>
            <a:spLocks noGrp="1"/>
          </p:cNvSpPr>
          <p:nvPr>
            <p:ph type="body" sz="quarter" idx="20" hasCustomPrompt="1"/>
          </p:nvPr>
        </p:nvSpPr>
        <p:spPr>
          <a:xfrm>
            <a:off x="9120152" y="1042988"/>
            <a:ext cx="1914801" cy="1038091"/>
          </a:xfrm>
          <a:prstGeom prst="rect">
            <a:avLst/>
          </a:prstGeom>
        </p:spPr>
        <p:txBody>
          <a:bodyPr/>
          <a:lstStyle>
            <a:lvl1pPr>
              <a:defRPr sz="1467"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ext</a:t>
            </a:r>
            <a:endParaRPr lang="en-US"/>
          </a:p>
        </p:txBody>
      </p:sp>
      <p:sp>
        <p:nvSpPr>
          <p:cNvPr id="21" name="Text Placeholder 21">
            <a:extLst>
              <a:ext uri="{FF2B5EF4-FFF2-40B4-BE49-F238E27FC236}">
                <a16:creationId xmlns:a16="http://schemas.microsoft.com/office/drawing/2014/main" id="{294218C0-ED14-EF44-B6DB-22164D388251}"/>
              </a:ext>
            </a:extLst>
          </p:cNvPr>
          <p:cNvSpPr>
            <a:spLocks noGrp="1"/>
          </p:cNvSpPr>
          <p:nvPr>
            <p:ph type="body" sz="quarter" idx="21" hasCustomPrompt="1"/>
          </p:nvPr>
        </p:nvSpPr>
        <p:spPr>
          <a:xfrm>
            <a:off x="9120152" y="2909339"/>
            <a:ext cx="1914801" cy="1038091"/>
          </a:xfrm>
          <a:prstGeom prst="rect">
            <a:avLst/>
          </a:prstGeom>
        </p:spPr>
        <p:txBody>
          <a:bodyPr/>
          <a:lstStyle>
            <a:lvl1pPr>
              <a:defRPr sz="1467"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ext</a:t>
            </a:r>
            <a:endParaRPr lang="en-US"/>
          </a:p>
        </p:txBody>
      </p:sp>
      <p:sp>
        <p:nvSpPr>
          <p:cNvPr id="22" name="Text Placeholder 21">
            <a:extLst>
              <a:ext uri="{FF2B5EF4-FFF2-40B4-BE49-F238E27FC236}">
                <a16:creationId xmlns:a16="http://schemas.microsoft.com/office/drawing/2014/main" id="{29440408-FB70-0E48-9191-949F57EAAB2E}"/>
              </a:ext>
            </a:extLst>
          </p:cNvPr>
          <p:cNvSpPr>
            <a:spLocks noGrp="1"/>
          </p:cNvSpPr>
          <p:nvPr>
            <p:ph type="body" sz="quarter" idx="22" hasCustomPrompt="1"/>
          </p:nvPr>
        </p:nvSpPr>
        <p:spPr>
          <a:xfrm>
            <a:off x="9120152" y="4776439"/>
            <a:ext cx="1914801" cy="1038091"/>
          </a:xfrm>
          <a:prstGeom prst="rect">
            <a:avLst/>
          </a:prstGeom>
        </p:spPr>
        <p:txBody>
          <a:bodyPr/>
          <a:lstStyle>
            <a:lvl1pPr>
              <a:defRPr sz="1467"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ext</a:t>
            </a:r>
            <a:endParaRPr lang="en-US"/>
          </a:p>
        </p:txBody>
      </p:sp>
    </p:spTree>
    <p:extLst>
      <p:ext uri="{BB962C8B-B14F-4D97-AF65-F5344CB8AC3E}">
        <p14:creationId xmlns:p14="http://schemas.microsoft.com/office/powerpoint/2010/main" val="42112882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Google Shape;1130;p207">
            <a:extLst>
              <a:ext uri="{FF2B5EF4-FFF2-40B4-BE49-F238E27FC236}">
                <a16:creationId xmlns:a16="http://schemas.microsoft.com/office/drawing/2014/main" id="{AC3A1526-66E1-6944-A61D-9B739921C2A9}"/>
              </a:ext>
            </a:extLst>
          </p:cNvPr>
          <p:cNvSpPr/>
          <p:nvPr userDrawn="1"/>
        </p:nvSpPr>
        <p:spPr>
          <a:xfrm>
            <a:off x="427333" y="6220800"/>
            <a:ext cx="3777812" cy="3724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pic>
        <p:nvPicPr>
          <p:cNvPr id="5" name="Google Shape;1121;p207">
            <a:extLst>
              <a:ext uri="{FF2B5EF4-FFF2-40B4-BE49-F238E27FC236}">
                <a16:creationId xmlns:a16="http://schemas.microsoft.com/office/drawing/2014/main" id="{A82CF234-E76E-7749-81C6-A9C7188C88BA}"/>
              </a:ext>
            </a:extLst>
          </p:cNvPr>
          <p:cNvPicPr preferRelativeResize="0"/>
          <p:nvPr userDrawn="1"/>
        </p:nvPicPr>
        <p:blipFill rotWithShape="1">
          <a:blip r:embed="rId2">
            <a:alphaModFix/>
          </a:blip>
          <a:srcRect/>
          <a:stretch/>
        </p:blipFill>
        <p:spPr>
          <a:xfrm rot="10800000">
            <a:off x="6558233" y="2806247"/>
            <a:ext cx="992268" cy="992268"/>
          </a:xfrm>
          <a:prstGeom prst="rect">
            <a:avLst/>
          </a:prstGeom>
          <a:noFill/>
          <a:ln>
            <a:noFill/>
          </a:ln>
        </p:spPr>
      </p:pic>
      <p:pic>
        <p:nvPicPr>
          <p:cNvPr id="6" name="Google Shape;1122;p207">
            <a:extLst>
              <a:ext uri="{FF2B5EF4-FFF2-40B4-BE49-F238E27FC236}">
                <a16:creationId xmlns:a16="http://schemas.microsoft.com/office/drawing/2014/main" id="{0E92649C-A047-1045-B953-1952ABDB61A5}"/>
              </a:ext>
            </a:extLst>
          </p:cNvPr>
          <p:cNvPicPr preferRelativeResize="0"/>
          <p:nvPr userDrawn="1"/>
        </p:nvPicPr>
        <p:blipFill rotWithShape="1">
          <a:blip r:embed="rId3">
            <a:alphaModFix/>
          </a:blip>
          <a:srcRect/>
          <a:stretch/>
        </p:blipFill>
        <p:spPr>
          <a:xfrm rot="10800000">
            <a:off x="6558233" y="1147700"/>
            <a:ext cx="992267" cy="992267"/>
          </a:xfrm>
          <a:prstGeom prst="rect">
            <a:avLst/>
          </a:prstGeom>
          <a:noFill/>
          <a:ln>
            <a:noFill/>
          </a:ln>
        </p:spPr>
      </p:pic>
      <p:sp>
        <p:nvSpPr>
          <p:cNvPr id="7" name="Google Shape;1123;p207">
            <a:extLst>
              <a:ext uri="{FF2B5EF4-FFF2-40B4-BE49-F238E27FC236}">
                <a16:creationId xmlns:a16="http://schemas.microsoft.com/office/drawing/2014/main" id="{8A723C90-3442-D34A-B94F-98829CB249F5}"/>
              </a:ext>
            </a:extLst>
          </p:cNvPr>
          <p:cNvSpPr/>
          <p:nvPr userDrawn="1"/>
        </p:nvSpPr>
        <p:spPr>
          <a:xfrm rot="10800000">
            <a:off x="6393167" y="-1261500"/>
            <a:ext cx="1322400" cy="6938400"/>
          </a:xfrm>
          <a:prstGeom prst="roundRect">
            <a:avLst>
              <a:gd name="adj" fmla="val 49012"/>
            </a:avLst>
          </a:prstGeom>
          <a:solidFill>
            <a:srgbClr val="ECF1F7"/>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8" name="Google Shape;1124;p207">
            <a:extLst>
              <a:ext uri="{FF2B5EF4-FFF2-40B4-BE49-F238E27FC236}">
                <a16:creationId xmlns:a16="http://schemas.microsoft.com/office/drawing/2014/main" id="{D9F05520-2E4F-7244-81CF-70328E642BCF}"/>
              </a:ext>
            </a:extLst>
          </p:cNvPr>
          <p:cNvSpPr/>
          <p:nvPr userDrawn="1"/>
        </p:nvSpPr>
        <p:spPr>
          <a:xfrm rot="10800000">
            <a:off x="6558167" y="2806133"/>
            <a:ext cx="992400" cy="992400"/>
          </a:xfrm>
          <a:prstGeom prst="ellipse">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9" name="Google Shape;1125;p207">
            <a:extLst>
              <a:ext uri="{FF2B5EF4-FFF2-40B4-BE49-F238E27FC236}">
                <a16:creationId xmlns:a16="http://schemas.microsoft.com/office/drawing/2014/main" id="{31EC4E0C-C6D5-EA4A-84E8-F146F58F9BD0}"/>
              </a:ext>
            </a:extLst>
          </p:cNvPr>
          <p:cNvSpPr/>
          <p:nvPr userDrawn="1"/>
        </p:nvSpPr>
        <p:spPr>
          <a:xfrm rot="10800000">
            <a:off x="6558167" y="1147567"/>
            <a:ext cx="992400" cy="992400"/>
          </a:xfrm>
          <a:prstGeom prst="ellipse">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0" name="Google Shape;1126;p207">
            <a:extLst>
              <a:ext uri="{FF2B5EF4-FFF2-40B4-BE49-F238E27FC236}">
                <a16:creationId xmlns:a16="http://schemas.microsoft.com/office/drawing/2014/main" id="{C9C975E5-97B0-814D-A40E-A8A0C88E466E}"/>
              </a:ext>
            </a:extLst>
          </p:cNvPr>
          <p:cNvSpPr/>
          <p:nvPr userDrawn="1"/>
        </p:nvSpPr>
        <p:spPr>
          <a:xfrm rot="10800000">
            <a:off x="6558167" y="4464700"/>
            <a:ext cx="992400" cy="992400"/>
          </a:xfrm>
          <a:prstGeom prst="ellipse">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pic>
        <p:nvPicPr>
          <p:cNvPr id="11" name="Google Shape;1127;p207">
            <a:extLst>
              <a:ext uri="{FF2B5EF4-FFF2-40B4-BE49-F238E27FC236}">
                <a16:creationId xmlns:a16="http://schemas.microsoft.com/office/drawing/2014/main" id="{F07E3FC6-6343-C944-A2A7-C7FB77D60380}"/>
              </a:ext>
            </a:extLst>
          </p:cNvPr>
          <p:cNvPicPr preferRelativeResize="0"/>
          <p:nvPr userDrawn="1"/>
        </p:nvPicPr>
        <p:blipFill rotWithShape="1">
          <a:blip r:embed="rId4">
            <a:alphaModFix/>
          </a:blip>
          <a:srcRect/>
          <a:stretch/>
        </p:blipFill>
        <p:spPr>
          <a:xfrm>
            <a:off x="6756499" y="4670673"/>
            <a:ext cx="595732" cy="595732"/>
          </a:xfrm>
          <a:prstGeom prst="rect">
            <a:avLst/>
          </a:prstGeom>
          <a:noFill/>
          <a:ln>
            <a:noFill/>
          </a:ln>
        </p:spPr>
      </p:pic>
      <p:pic>
        <p:nvPicPr>
          <p:cNvPr id="12" name="Google Shape;1128;p207">
            <a:extLst>
              <a:ext uri="{FF2B5EF4-FFF2-40B4-BE49-F238E27FC236}">
                <a16:creationId xmlns:a16="http://schemas.microsoft.com/office/drawing/2014/main" id="{0DE17A13-9E27-FD46-BEBD-D95C6D4041D3}"/>
              </a:ext>
            </a:extLst>
          </p:cNvPr>
          <p:cNvPicPr preferRelativeResize="0"/>
          <p:nvPr userDrawn="1"/>
        </p:nvPicPr>
        <p:blipFill rotWithShape="1">
          <a:blip r:embed="rId4">
            <a:alphaModFix/>
          </a:blip>
          <a:srcRect/>
          <a:stretch/>
        </p:blipFill>
        <p:spPr>
          <a:xfrm>
            <a:off x="6756501" y="3004467"/>
            <a:ext cx="595732" cy="595732"/>
          </a:xfrm>
          <a:prstGeom prst="rect">
            <a:avLst/>
          </a:prstGeom>
          <a:noFill/>
          <a:ln>
            <a:noFill/>
          </a:ln>
        </p:spPr>
      </p:pic>
      <p:pic>
        <p:nvPicPr>
          <p:cNvPr id="13" name="Google Shape;1129;p207">
            <a:extLst>
              <a:ext uri="{FF2B5EF4-FFF2-40B4-BE49-F238E27FC236}">
                <a16:creationId xmlns:a16="http://schemas.microsoft.com/office/drawing/2014/main" id="{CEC18A07-E555-C941-AD61-E9D2EB4F7C01}"/>
              </a:ext>
            </a:extLst>
          </p:cNvPr>
          <p:cNvPicPr preferRelativeResize="0"/>
          <p:nvPr userDrawn="1"/>
        </p:nvPicPr>
        <p:blipFill rotWithShape="1">
          <a:blip r:embed="rId4">
            <a:alphaModFix/>
          </a:blip>
          <a:srcRect/>
          <a:stretch/>
        </p:blipFill>
        <p:spPr>
          <a:xfrm rot="10800000">
            <a:off x="6756501" y="1345901"/>
            <a:ext cx="595732" cy="595732"/>
          </a:xfrm>
          <a:prstGeom prst="rect">
            <a:avLst/>
          </a:prstGeom>
          <a:noFill/>
          <a:ln>
            <a:noFill/>
          </a:ln>
        </p:spPr>
      </p:pic>
      <p:sp>
        <p:nvSpPr>
          <p:cNvPr id="18" name="Google Shape;1136;p207">
            <a:extLst>
              <a:ext uri="{FF2B5EF4-FFF2-40B4-BE49-F238E27FC236}">
                <a16:creationId xmlns:a16="http://schemas.microsoft.com/office/drawing/2014/main" id="{DF0A17D8-376F-5B45-933A-015E131668BD}"/>
              </a:ext>
            </a:extLst>
          </p:cNvPr>
          <p:cNvSpPr/>
          <p:nvPr userDrawn="1"/>
        </p:nvSpPr>
        <p:spPr>
          <a:xfrm>
            <a:off x="6558167" y="1113767"/>
            <a:ext cx="992400" cy="992400"/>
          </a:xfrm>
          <a:prstGeom prst="ellipse">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pic>
        <p:nvPicPr>
          <p:cNvPr id="19" name="Google Shape;1137;p207">
            <a:extLst>
              <a:ext uri="{FF2B5EF4-FFF2-40B4-BE49-F238E27FC236}">
                <a16:creationId xmlns:a16="http://schemas.microsoft.com/office/drawing/2014/main" id="{6EB3619F-4196-ED43-BC05-8D21CEE1B9BB}"/>
              </a:ext>
            </a:extLst>
          </p:cNvPr>
          <p:cNvPicPr preferRelativeResize="0"/>
          <p:nvPr userDrawn="1"/>
        </p:nvPicPr>
        <p:blipFill rotWithShape="1">
          <a:blip r:embed="rId4">
            <a:alphaModFix/>
          </a:blip>
          <a:srcRect/>
          <a:stretch/>
        </p:blipFill>
        <p:spPr>
          <a:xfrm>
            <a:off x="6756501" y="1312101"/>
            <a:ext cx="595732" cy="595732"/>
          </a:xfrm>
          <a:prstGeom prst="rect">
            <a:avLst/>
          </a:prstGeom>
          <a:noFill/>
          <a:ln>
            <a:noFill/>
          </a:ln>
        </p:spPr>
      </p:pic>
      <p:sp>
        <p:nvSpPr>
          <p:cNvPr id="23" name="Text Placeholder 21">
            <a:extLst>
              <a:ext uri="{FF2B5EF4-FFF2-40B4-BE49-F238E27FC236}">
                <a16:creationId xmlns:a16="http://schemas.microsoft.com/office/drawing/2014/main" id="{C10FCF90-52F9-6B4E-BC78-B1C5CD3FECAD}"/>
              </a:ext>
            </a:extLst>
          </p:cNvPr>
          <p:cNvSpPr>
            <a:spLocks noGrp="1"/>
          </p:cNvSpPr>
          <p:nvPr>
            <p:ph type="body" sz="quarter" idx="17" hasCustomPrompt="1"/>
          </p:nvPr>
        </p:nvSpPr>
        <p:spPr>
          <a:xfrm>
            <a:off x="8074035" y="1255576"/>
            <a:ext cx="2898163" cy="689747"/>
          </a:xfrm>
          <a:prstGeom prst="rect">
            <a:avLst/>
          </a:prstGeom>
        </p:spPr>
        <p:txBody>
          <a:bodyPr/>
          <a:lstStyle>
            <a:lvl1pPr marL="0" indent="0" algn="l" rtl="0">
              <a:spcBef>
                <a:spcPts val="0"/>
              </a:spcBef>
              <a:spcAft>
                <a:spcPts val="0"/>
              </a:spcAft>
              <a:buNone/>
              <a:defRPr sz="1867" b="0" i="0">
                <a:solidFill>
                  <a:schemeClr val="tx1"/>
                </a:solidFill>
                <a:latin typeface="CiscoSansTT ExtraLight" panose="020B0303020201020303" pitchFamily="34" charset="0"/>
                <a:cs typeface="CiscoSansTT ExtraLight" panose="020B0303020201020303" pitchFamily="34" charset="0"/>
              </a:defRPr>
            </a:lvl1pPr>
          </a:lstStyle>
          <a:p>
            <a:pPr marL="0" lvl="0" indent="0" algn="l" rtl="0">
              <a:spcBef>
                <a:spcPts val="0"/>
              </a:spcBef>
              <a:spcAft>
                <a:spcPts val="0"/>
              </a:spcAft>
              <a:buNone/>
            </a:pPr>
            <a:r>
              <a:rPr lang="en-US">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Lorem ipsum dolor sit </a:t>
            </a:r>
            <a:r>
              <a:rPr lang="en-US"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amet</a:t>
            </a:r>
            <a:r>
              <a:rPr lang="en-US">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consectetur</a:t>
            </a:r>
            <a:r>
              <a:rPr lang="en-US">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elit</a:t>
            </a:r>
            <a:endParaRPr lang="en-US">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25" name="Text Placeholder 21">
            <a:extLst>
              <a:ext uri="{FF2B5EF4-FFF2-40B4-BE49-F238E27FC236}">
                <a16:creationId xmlns:a16="http://schemas.microsoft.com/office/drawing/2014/main" id="{E7EFBA04-2C7B-2E43-A0A7-989B353F0834}"/>
              </a:ext>
            </a:extLst>
          </p:cNvPr>
          <p:cNvSpPr>
            <a:spLocks noGrp="1"/>
          </p:cNvSpPr>
          <p:nvPr>
            <p:ph type="body" sz="quarter" idx="18" hasCustomPrompt="1"/>
          </p:nvPr>
        </p:nvSpPr>
        <p:spPr>
          <a:xfrm>
            <a:off x="8074035" y="2923611"/>
            <a:ext cx="2898163" cy="689747"/>
          </a:xfrm>
          <a:prstGeom prst="rect">
            <a:avLst/>
          </a:prstGeom>
        </p:spPr>
        <p:txBody>
          <a:bodyPr/>
          <a:lstStyle>
            <a:lvl1pPr marL="0" indent="0" algn="l" rtl="0">
              <a:spcBef>
                <a:spcPts val="0"/>
              </a:spcBef>
              <a:spcAft>
                <a:spcPts val="0"/>
              </a:spcAft>
              <a:buNone/>
              <a:defRPr sz="1867" b="0" i="0">
                <a:solidFill>
                  <a:schemeClr val="tx1"/>
                </a:solidFill>
                <a:latin typeface="CiscoSansTT ExtraLight" panose="020B0303020201020303" pitchFamily="34" charset="0"/>
                <a:cs typeface="CiscoSansTT ExtraLight" panose="020B0303020201020303" pitchFamily="34" charset="0"/>
              </a:defRPr>
            </a:lvl1pPr>
          </a:lstStyle>
          <a:p>
            <a:pPr marL="0" lvl="0" indent="0" algn="l" rtl="0">
              <a:spcBef>
                <a:spcPts val="0"/>
              </a:spcBef>
              <a:spcAft>
                <a:spcPts val="0"/>
              </a:spcAft>
              <a:buNone/>
            </a:pPr>
            <a:r>
              <a:rPr lang="en-US">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Lorem ipsum dolor sit </a:t>
            </a:r>
            <a:r>
              <a:rPr lang="en-US"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amet</a:t>
            </a:r>
            <a:r>
              <a:rPr lang="en-US">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consectetur</a:t>
            </a:r>
            <a:r>
              <a:rPr lang="en-US">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elit</a:t>
            </a:r>
            <a:endParaRPr lang="en-US">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27" name="Text Placeholder 21">
            <a:extLst>
              <a:ext uri="{FF2B5EF4-FFF2-40B4-BE49-F238E27FC236}">
                <a16:creationId xmlns:a16="http://schemas.microsoft.com/office/drawing/2014/main" id="{BBBA6DBB-FF89-0443-B173-246B95EBA069}"/>
              </a:ext>
            </a:extLst>
          </p:cNvPr>
          <p:cNvSpPr>
            <a:spLocks noGrp="1"/>
          </p:cNvSpPr>
          <p:nvPr>
            <p:ph type="body" sz="quarter" idx="19" hasCustomPrompt="1"/>
          </p:nvPr>
        </p:nvSpPr>
        <p:spPr>
          <a:xfrm>
            <a:off x="8074033" y="4582127"/>
            <a:ext cx="2898163" cy="689747"/>
          </a:xfrm>
          <a:prstGeom prst="rect">
            <a:avLst/>
          </a:prstGeom>
        </p:spPr>
        <p:txBody>
          <a:bodyPr/>
          <a:lstStyle>
            <a:lvl1pPr marL="0" indent="0" algn="l" rtl="0">
              <a:spcBef>
                <a:spcPts val="0"/>
              </a:spcBef>
              <a:spcAft>
                <a:spcPts val="0"/>
              </a:spcAft>
              <a:buNone/>
              <a:defRPr sz="1867" b="0" i="0">
                <a:solidFill>
                  <a:schemeClr val="tx1"/>
                </a:solidFill>
                <a:latin typeface="CiscoSansTT ExtraLight" panose="020B0303020201020303" pitchFamily="34" charset="0"/>
                <a:cs typeface="CiscoSansTT ExtraLight" panose="020B0303020201020303" pitchFamily="34" charset="0"/>
              </a:defRPr>
            </a:lvl1pPr>
          </a:lstStyle>
          <a:p>
            <a:pPr marL="0" lvl="0" indent="0" algn="l" rtl="0">
              <a:spcBef>
                <a:spcPts val="0"/>
              </a:spcBef>
              <a:spcAft>
                <a:spcPts val="0"/>
              </a:spcAft>
              <a:buNone/>
            </a:pPr>
            <a:r>
              <a:rPr lang="en-US">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Lorem ipsum dolor sit </a:t>
            </a:r>
            <a:r>
              <a:rPr lang="en-US"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amet</a:t>
            </a:r>
            <a:r>
              <a:rPr lang="en-US">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consectetur</a:t>
            </a:r>
            <a:r>
              <a:rPr lang="en-US">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elit</a:t>
            </a:r>
            <a:endParaRPr lang="en-US">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29" name="Text Placeholder 9">
            <a:extLst>
              <a:ext uri="{FF2B5EF4-FFF2-40B4-BE49-F238E27FC236}">
                <a16:creationId xmlns:a16="http://schemas.microsoft.com/office/drawing/2014/main" id="{4B5606D5-D1E4-1348-9D8E-8D8378A68285}"/>
              </a:ext>
            </a:extLst>
          </p:cNvPr>
          <p:cNvSpPr>
            <a:spLocks noGrp="1"/>
          </p:cNvSpPr>
          <p:nvPr>
            <p:ph type="body" sz="quarter" idx="14" hasCustomPrompt="1"/>
          </p:nvPr>
        </p:nvSpPr>
        <p:spPr>
          <a:xfrm>
            <a:off x="546198" y="1419518"/>
            <a:ext cx="3564468" cy="1218588"/>
          </a:xfrm>
          <a:prstGeom prst="rect">
            <a:avLst/>
          </a:prstGeom>
        </p:spPr>
        <p:txBody>
          <a:bodyPr/>
          <a:lstStyle>
            <a:lvl1pPr>
              <a:defRPr sz="4000"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ext</a:t>
            </a:r>
            <a:endParaRPr lang="en-US"/>
          </a:p>
        </p:txBody>
      </p:sp>
    </p:spTree>
    <p:extLst>
      <p:ext uri="{BB962C8B-B14F-4D97-AF65-F5344CB8AC3E}">
        <p14:creationId xmlns:p14="http://schemas.microsoft.com/office/powerpoint/2010/main" val="23527201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cxnSp>
        <p:nvCxnSpPr>
          <p:cNvPr id="6" name="Google Shape;1224;p213">
            <a:extLst>
              <a:ext uri="{FF2B5EF4-FFF2-40B4-BE49-F238E27FC236}">
                <a16:creationId xmlns:a16="http://schemas.microsoft.com/office/drawing/2014/main" id="{68C67C1E-F7FA-5548-8B9F-05D1053DB46A}"/>
              </a:ext>
            </a:extLst>
          </p:cNvPr>
          <p:cNvCxnSpPr/>
          <p:nvPr userDrawn="1"/>
        </p:nvCxnSpPr>
        <p:spPr>
          <a:xfrm>
            <a:off x="5776725" y="1210075"/>
            <a:ext cx="638000" cy="0"/>
          </a:xfrm>
          <a:prstGeom prst="straightConnector1">
            <a:avLst/>
          </a:prstGeom>
          <a:noFill/>
          <a:ln w="28575" cap="flat" cmpd="sng">
            <a:solidFill>
              <a:schemeClr val="accent1"/>
            </a:solidFill>
            <a:prstDash val="solid"/>
            <a:round/>
            <a:headEnd type="none" w="sm" len="sm"/>
            <a:tailEnd type="none" w="sm" len="sm"/>
          </a:ln>
        </p:spPr>
      </p:cxnSp>
      <p:sp>
        <p:nvSpPr>
          <p:cNvPr id="7" name="Google Shape;1225;p213">
            <a:extLst>
              <a:ext uri="{FF2B5EF4-FFF2-40B4-BE49-F238E27FC236}">
                <a16:creationId xmlns:a16="http://schemas.microsoft.com/office/drawing/2014/main" id="{8CD68CCC-B1A9-A140-8EFB-7883416C6797}"/>
              </a:ext>
            </a:extLst>
          </p:cNvPr>
          <p:cNvSpPr/>
          <p:nvPr userDrawn="1"/>
        </p:nvSpPr>
        <p:spPr>
          <a:xfrm>
            <a:off x="11102859" y="-662632"/>
            <a:ext cx="1791600" cy="1791600"/>
          </a:xfrm>
          <a:prstGeom prst="ellipse">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0" name="Google Shape;1228;p213">
            <a:extLst>
              <a:ext uri="{FF2B5EF4-FFF2-40B4-BE49-F238E27FC236}">
                <a16:creationId xmlns:a16="http://schemas.microsoft.com/office/drawing/2014/main" id="{7B0A185C-F9A6-B541-AD7F-5451017CEA93}"/>
              </a:ext>
            </a:extLst>
          </p:cNvPr>
          <p:cNvSpPr/>
          <p:nvPr userDrawn="1"/>
        </p:nvSpPr>
        <p:spPr>
          <a:xfrm>
            <a:off x="-965492" y="6333693"/>
            <a:ext cx="1791600" cy="17916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11" name="Google Shape;1229;p213">
            <a:extLst>
              <a:ext uri="{FF2B5EF4-FFF2-40B4-BE49-F238E27FC236}">
                <a16:creationId xmlns:a16="http://schemas.microsoft.com/office/drawing/2014/main" id="{FE8EF11A-BCE2-694B-9DCE-BD54298E5B40}"/>
              </a:ext>
            </a:extLst>
          </p:cNvPr>
          <p:cNvCxnSpPr/>
          <p:nvPr userDrawn="1"/>
        </p:nvCxnSpPr>
        <p:spPr>
          <a:xfrm>
            <a:off x="5776725" y="2922775"/>
            <a:ext cx="638000" cy="0"/>
          </a:xfrm>
          <a:prstGeom prst="straightConnector1">
            <a:avLst/>
          </a:prstGeom>
          <a:noFill/>
          <a:ln w="28575" cap="flat" cmpd="sng">
            <a:solidFill>
              <a:schemeClr val="accent1"/>
            </a:solidFill>
            <a:prstDash val="solid"/>
            <a:round/>
            <a:headEnd type="none" w="sm" len="sm"/>
            <a:tailEnd type="none" w="sm" len="sm"/>
          </a:ln>
        </p:spPr>
      </p:cxnSp>
      <p:cxnSp>
        <p:nvCxnSpPr>
          <p:cNvPr id="14" name="Google Shape;1232;p213">
            <a:extLst>
              <a:ext uri="{FF2B5EF4-FFF2-40B4-BE49-F238E27FC236}">
                <a16:creationId xmlns:a16="http://schemas.microsoft.com/office/drawing/2014/main" id="{0F2D8CEA-50AD-7A40-AAC6-CB9E1325E5C3}"/>
              </a:ext>
            </a:extLst>
          </p:cNvPr>
          <p:cNvCxnSpPr/>
          <p:nvPr userDrawn="1"/>
        </p:nvCxnSpPr>
        <p:spPr>
          <a:xfrm>
            <a:off x="5776725" y="4635475"/>
            <a:ext cx="638000" cy="0"/>
          </a:xfrm>
          <a:prstGeom prst="straightConnector1">
            <a:avLst/>
          </a:prstGeom>
          <a:noFill/>
          <a:ln w="28575" cap="flat" cmpd="sng">
            <a:solidFill>
              <a:schemeClr val="accent1"/>
            </a:solidFill>
            <a:prstDash val="solid"/>
            <a:round/>
            <a:headEnd type="none" w="sm" len="sm"/>
            <a:tailEnd type="none" w="sm" len="sm"/>
          </a:ln>
        </p:spPr>
      </p:cxnSp>
      <p:sp>
        <p:nvSpPr>
          <p:cNvPr id="16" name="Google Shape;1234;p213">
            <a:extLst>
              <a:ext uri="{FF2B5EF4-FFF2-40B4-BE49-F238E27FC236}">
                <a16:creationId xmlns:a16="http://schemas.microsoft.com/office/drawing/2014/main" id="{56FE52CA-3D09-7043-BB96-2C620A473201}"/>
              </a:ext>
            </a:extLst>
          </p:cNvPr>
          <p:cNvSpPr txBox="1"/>
          <p:nvPr userDrawn="1"/>
        </p:nvSpPr>
        <p:spPr>
          <a:xfrm>
            <a:off x="5707275" y="4746675"/>
            <a:ext cx="2057200" cy="351200"/>
          </a:xfrm>
          <a:prstGeom prst="rect">
            <a:avLst/>
          </a:prstGeom>
          <a:noFill/>
          <a:ln>
            <a:noFill/>
          </a:ln>
        </p:spPr>
        <p:txBody>
          <a:bodyPr spcFirstLastPara="1" wrap="square" lIns="91433" tIns="91433" rIns="91433" bIns="91433" anchor="t" anchorCtr="0">
            <a:noAutofit/>
          </a:bodyPr>
          <a:lstStyle/>
          <a:p>
            <a:pPr marL="0" lvl="0" indent="0" algn="l" rtl="0">
              <a:spcBef>
                <a:spcPts val="0"/>
              </a:spcBef>
              <a:spcAft>
                <a:spcPts val="0"/>
              </a:spcAft>
              <a:buNone/>
            </a:pPr>
            <a:r>
              <a:rPr lang="en-US" sz="2400" b="1">
                <a:solidFill>
                  <a:schemeClr val="tx1"/>
                </a:solidFill>
                <a:latin typeface="CiscoSansTT" panose="020B0503020201020303" pitchFamily="34" charset="0"/>
                <a:ea typeface="Helvetica Neue"/>
                <a:cs typeface="CiscoSansTT" panose="020B0503020201020303" pitchFamily="34" charset="0"/>
                <a:sym typeface="Helvetica Neue"/>
              </a:rPr>
              <a:t>Lorem</a:t>
            </a:r>
            <a:endParaRPr sz="1867" b="1">
              <a:solidFill>
                <a:schemeClr val="tx1"/>
              </a:solidFill>
              <a:latin typeface="CiscoSansTT" panose="020B0503020201020303" pitchFamily="34" charset="0"/>
              <a:cs typeface="CiscoSansTT" panose="020B0503020201020303" pitchFamily="34" charset="0"/>
            </a:endParaRPr>
          </a:p>
        </p:txBody>
      </p:sp>
      <p:cxnSp>
        <p:nvCxnSpPr>
          <p:cNvPr id="17" name="Google Shape;1235;p213">
            <a:extLst>
              <a:ext uri="{FF2B5EF4-FFF2-40B4-BE49-F238E27FC236}">
                <a16:creationId xmlns:a16="http://schemas.microsoft.com/office/drawing/2014/main" id="{C0F4385B-5632-1248-B982-AE73BA738930}"/>
              </a:ext>
            </a:extLst>
          </p:cNvPr>
          <p:cNvCxnSpPr/>
          <p:nvPr userDrawn="1"/>
        </p:nvCxnSpPr>
        <p:spPr>
          <a:xfrm>
            <a:off x="8423713" y="1210075"/>
            <a:ext cx="638000" cy="0"/>
          </a:xfrm>
          <a:prstGeom prst="straightConnector1">
            <a:avLst/>
          </a:prstGeom>
          <a:noFill/>
          <a:ln w="28575" cap="flat" cmpd="sng">
            <a:solidFill>
              <a:schemeClr val="accent1"/>
            </a:solidFill>
            <a:prstDash val="solid"/>
            <a:round/>
            <a:headEnd type="none" w="sm" len="sm"/>
            <a:tailEnd type="none" w="sm" len="sm"/>
          </a:ln>
        </p:spPr>
      </p:cxnSp>
      <p:cxnSp>
        <p:nvCxnSpPr>
          <p:cNvPr id="20" name="Google Shape;1238;p213">
            <a:extLst>
              <a:ext uri="{FF2B5EF4-FFF2-40B4-BE49-F238E27FC236}">
                <a16:creationId xmlns:a16="http://schemas.microsoft.com/office/drawing/2014/main" id="{EEF9B179-41FC-8140-81B8-5373ECB284D4}"/>
              </a:ext>
            </a:extLst>
          </p:cNvPr>
          <p:cNvCxnSpPr/>
          <p:nvPr userDrawn="1"/>
        </p:nvCxnSpPr>
        <p:spPr>
          <a:xfrm>
            <a:off x="8423713" y="2922775"/>
            <a:ext cx="638000" cy="0"/>
          </a:xfrm>
          <a:prstGeom prst="straightConnector1">
            <a:avLst/>
          </a:prstGeom>
          <a:noFill/>
          <a:ln w="28575" cap="flat" cmpd="sng">
            <a:solidFill>
              <a:schemeClr val="accent1"/>
            </a:solidFill>
            <a:prstDash val="solid"/>
            <a:round/>
            <a:headEnd type="none" w="sm" len="sm"/>
            <a:tailEnd type="none" w="sm" len="sm"/>
          </a:ln>
        </p:spPr>
      </p:cxnSp>
      <p:grpSp>
        <p:nvGrpSpPr>
          <p:cNvPr id="23" name="Google Shape;1241;p213">
            <a:extLst>
              <a:ext uri="{FF2B5EF4-FFF2-40B4-BE49-F238E27FC236}">
                <a16:creationId xmlns:a16="http://schemas.microsoft.com/office/drawing/2014/main" id="{38BEDEBC-AD22-E441-AE4A-2B84E592DB53}"/>
              </a:ext>
            </a:extLst>
          </p:cNvPr>
          <p:cNvGrpSpPr/>
          <p:nvPr userDrawn="1"/>
        </p:nvGrpSpPr>
        <p:grpSpPr>
          <a:xfrm>
            <a:off x="9545038" y="949698"/>
            <a:ext cx="586172" cy="520676"/>
            <a:chOff x="191182" y="796095"/>
            <a:chExt cx="544500" cy="483600"/>
          </a:xfrm>
        </p:grpSpPr>
        <p:sp>
          <p:nvSpPr>
            <p:cNvPr id="24" name="Google Shape;1242;p213">
              <a:extLst>
                <a:ext uri="{FF2B5EF4-FFF2-40B4-BE49-F238E27FC236}">
                  <a16:creationId xmlns:a16="http://schemas.microsoft.com/office/drawing/2014/main" id="{F4669924-7701-D242-A763-B70BAAFE1A87}"/>
                </a:ext>
              </a:extLst>
            </p:cNvPr>
            <p:cNvSpPr/>
            <p:nvPr/>
          </p:nvSpPr>
          <p:spPr>
            <a:xfrm>
              <a:off x="221629" y="796095"/>
              <a:ext cx="483600" cy="483600"/>
            </a:xfrm>
            <a:prstGeom prst="ellipse">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b="1">
                <a:latin typeface="CiscoSansTT" panose="020B0503020201020303" pitchFamily="34" charset="0"/>
                <a:cs typeface="CiscoSansTT" panose="020B0503020201020303" pitchFamily="34" charset="0"/>
              </a:endParaRPr>
            </a:p>
          </p:txBody>
        </p:sp>
        <p:sp>
          <p:nvSpPr>
            <p:cNvPr id="25" name="Google Shape;1243;p213">
              <a:extLst>
                <a:ext uri="{FF2B5EF4-FFF2-40B4-BE49-F238E27FC236}">
                  <a16:creationId xmlns:a16="http://schemas.microsoft.com/office/drawing/2014/main" id="{AEFB5B31-9ED3-6B40-BC61-E089C17E93A6}"/>
                </a:ext>
              </a:extLst>
            </p:cNvPr>
            <p:cNvSpPr txBox="1"/>
            <p:nvPr/>
          </p:nvSpPr>
          <p:spPr>
            <a:xfrm>
              <a:off x="191182" y="843050"/>
              <a:ext cx="544500" cy="2673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067" b="1">
                  <a:solidFill>
                    <a:srgbClr val="FFFFFF"/>
                  </a:solidFill>
                  <a:latin typeface="CiscoSansTT" panose="020B0503020201020303" pitchFamily="34" charset="0"/>
                  <a:cs typeface="CiscoSansTT" panose="020B0503020201020303" pitchFamily="34" charset="0"/>
                </a:rPr>
                <a:t>New</a:t>
              </a:r>
              <a:endParaRPr sz="1067" b="1">
                <a:solidFill>
                  <a:srgbClr val="FFFFFF"/>
                </a:solidFill>
                <a:latin typeface="CiscoSansTT" panose="020B0503020201020303" pitchFamily="34" charset="0"/>
                <a:cs typeface="CiscoSansTT" panose="020B0503020201020303" pitchFamily="34" charset="0"/>
              </a:endParaRPr>
            </a:p>
          </p:txBody>
        </p:sp>
      </p:grpSp>
      <p:grpSp>
        <p:nvGrpSpPr>
          <p:cNvPr id="26" name="Google Shape;1244;p213">
            <a:extLst>
              <a:ext uri="{FF2B5EF4-FFF2-40B4-BE49-F238E27FC236}">
                <a16:creationId xmlns:a16="http://schemas.microsoft.com/office/drawing/2014/main" id="{209EA95E-7BED-A64D-B250-F147B20AA981}"/>
              </a:ext>
            </a:extLst>
          </p:cNvPr>
          <p:cNvGrpSpPr/>
          <p:nvPr userDrawn="1"/>
        </p:nvGrpSpPr>
        <p:grpSpPr>
          <a:xfrm>
            <a:off x="9545038" y="2662398"/>
            <a:ext cx="586172" cy="520676"/>
            <a:chOff x="191182" y="796095"/>
            <a:chExt cx="544500" cy="483600"/>
          </a:xfrm>
        </p:grpSpPr>
        <p:sp>
          <p:nvSpPr>
            <p:cNvPr id="27" name="Google Shape;1245;p213">
              <a:extLst>
                <a:ext uri="{FF2B5EF4-FFF2-40B4-BE49-F238E27FC236}">
                  <a16:creationId xmlns:a16="http://schemas.microsoft.com/office/drawing/2014/main" id="{B661860E-2964-DB4F-A1F6-42162D19A6C5}"/>
                </a:ext>
              </a:extLst>
            </p:cNvPr>
            <p:cNvSpPr/>
            <p:nvPr/>
          </p:nvSpPr>
          <p:spPr>
            <a:xfrm>
              <a:off x="221629" y="796095"/>
              <a:ext cx="483600" cy="483600"/>
            </a:xfrm>
            <a:prstGeom prst="ellipse">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b="1">
                <a:latin typeface="CiscoSansTT" panose="020B0503020201020303" pitchFamily="34" charset="0"/>
                <a:cs typeface="CiscoSansTT" panose="020B0503020201020303" pitchFamily="34" charset="0"/>
              </a:endParaRPr>
            </a:p>
          </p:txBody>
        </p:sp>
        <p:sp>
          <p:nvSpPr>
            <p:cNvPr id="28" name="Google Shape;1246;p213">
              <a:extLst>
                <a:ext uri="{FF2B5EF4-FFF2-40B4-BE49-F238E27FC236}">
                  <a16:creationId xmlns:a16="http://schemas.microsoft.com/office/drawing/2014/main" id="{538EA7EA-3F6E-6A46-9447-FB9E858F3CCA}"/>
                </a:ext>
              </a:extLst>
            </p:cNvPr>
            <p:cNvSpPr txBox="1"/>
            <p:nvPr/>
          </p:nvSpPr>
          <p:spPr>
            <a:xfrm>
              <a:off x="191182" y="843050"/>
              <a:ext cx="544500" cy="2673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067" b="1">
                  <a:solidFill>
                    <a:srgbClr val="FFFFFF"/>
                  </a:solidFill>
                  <a:latin typeface="CiscoSansTT" panose="020B0503020201020303" pitchFamily="34" charset="0"/>
                  <a:cs typeface="CiscoSansTT" panose="020B0503020201020303" pitchFamily="34" charset="0"/>
                </a:rPr>
                <a:t>New</a:t>
              </a:r>
              <a:endParaRPr sz="1067" b="1">
                <a:solidFill>
                  <a:srgbClr val="FFFFFF"/>
                </a:solidFill>
                <a:latin typeface="CiscoSansTT" panose="020B0503020201020303" pitchFamily="34" charset="0"/>
                <a:cs typeface="CiscoSansTT" panose="020B0503020201020303" pitchFamily="34" charset="0"/>
              </a:endParaRPr>
            </a:p>
          </p:txBody>
        </p:sp>
      </p:grpSp>
      <p:sp>
        <p:nvSpPr>
          <p:cNvPr id="30" name="Text Placeholder 9">
            <a:extLst>
              <a:ext uri="{FF2B5EF4-FFF2-40B4-BE49-F238E27FC236}">
                <a16:creationId xmlns:a16="http://schemas.microsoft.com/office/drawing/2014/main" id="{D53930A4-4CFC-6A41-A3F3-DF815D80A9D2}"/>
              </a:ext>
            </a:extLst>
          </p:cNvPr>
          <p:cNvSpPr>
            <a:spLocks noGrp="1"/>
          </p:cNvSpPr>
          <p:nvPr>
            <p:ph type="body" sz="quarter" idx="15" hasCustomPrompt="1"/>
          </p:nvPr>
        </p:nvSpPr>
        <p:spPr>
          <a:xfrm>
            <a:off x="591732" y="2604037"/>
            <a:ext cx="4525755" cy="709075"/>
          </a:xfrm>
          <a:prstGeom prst="rect">
            <a:avLst/>
          </a:prstGeom>
        </p:spPr>
        <p:txBody>
          <a:bodyPr/>
          <a:lstStyle>
            <a:lvl1pPr>
              <a:defRPr sz="4000"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itle</a:t>
            </a:r>
            <a:endParaRPr lang="en-US"/>
          </a:p>
        </p:txBody>
      </p:sp>
      <p:sp>
        <p:nvSpPr>
          <p:cNvPr id="32" name="Text Placeholder 31">
            <a:extLst>
              <a:ext uri="{FF2B5EF4-FFF2-40B4-BE49-F238E27FC236}">
                <a16:creationId xmlns:a16="http://schemas.microsoft.com/office/drawing/2014/main" id="{7C86FEC3-9BE1-6841-B3F0-E62CA4E287F6}"/>
              </a:ext>
            </a:extLst>
          </p:cNvPr>
          <p:cNvSpPr>
            <a:spLocks noGrp="1"/>
          </p:cNvSpPr>
          <p:nvPr>
            <p:ph type="body" sz="quarter" idx="16" hasCustomPrompt="1"/>
          </p:nvPr>
        </p:nvSpPr>
        <p:spPr>
          <a:xfrm>
            <a:off x="591733" y="3500359"/>
            <a:ext cx="2916767" cy="709084"/>
          </a:xfrm>
          <a:prstGeom prst="rect">
            <a:avLst/>
          </a:prstGeom>
        </p:spPr>
        <p:txBody>
          <a:bodyPr/>
          <a:lstStyle>
            <a:lvl1pPr marL="0" marR="0" indent="0" algn="l" rtl="0">
              <a:lnSpc>
                <a:spcPct val="100000"/>
              </a:lnSpc>
              <a:spcBef>
                <a:spcPts val="0"/>
              </a:spcBef>
              <a:spcAft>
                <a:spcPts val="0"/>
              </a:spcAft>
              <a:buClr>
                <a:srgbClr val="000000"/>
              </a:buClr>
              <a:buSzPts val="1200"/>
              <a:buFont typeface="Arial"/>
              <a:buNone/>
              <a:defRPr sz="1600"/>
            </a:lvl1pPr>
            <a:lvl2pPr>
              <a:defRPr sz="1600"/>
            </a:lvl2pPr>
            <a:lvl3pPr>
              <a:defRPr sz="1600"/>
            </a:lvl3pPr>
            <a:lvl4pPr>
              <a:defRPr sz="1600"/>
            </a:lvl4pPr>
            <a:lvl5pPr>
              <a:defRPr sz="1600"/>
            </a:lvl5pPr>
          </a:lstStyle>
          <a:p>
            <a:pPr marL="0" marR="0" lvl="0" indent="0" algn="l" rtl="0">
              <a:lnSpc>
                <a:spcPct val="100000"/>
              </a:lnSpc>
              <a:spcBef>
                <a:spcPts val="0"/>
              </a:spcBef>
              <a:spcAft>
                <a:spcPts val="0"/>
              </a:spcAft>
              <a:buClr>
                <a:srgbClr val="000000"/>
              </a:buClr>
              <a:buSzPts val="1200"/>
              <a:buFont typeface="Arial"/>
              <a:buNone/>
            </a:pPr>
            <a:r>
              <a:rPr lang="en-US" sz="1600">
                <a:solidFill>
                  <a:srgbClr val="00BCEB"/>
                </a:solidFill>
                <a:latin typeface="CiscoSansTT ExtraLight" panose="020B0303020201020303" pitchFamily="34" charset="0"/>
                <a:ea typeface="Helvetica Neue Light"/>
                <a:cs typeface="CiscoSansTT ExtraLight" panose="020B0303020201020303" pitchFamily="34" charset="0"/>
                <a:sym typeface="Helvetica Neue Light"/>
              </a:rPr>
              <a:t>Lorem ipsum dolor sit </a:t>
            </a:r>
            <a:r>
              <a:rPr lang="en-US" sz="1600" err="1">
                <a:solidFill>
                  <a:srgbClr val="00BCEB"/>
                </a:solidFill>
                <a:latin typeface="CiscoSansTT ExtraLight" panose="020B0303020201020303" pitchFamily="34" charset="0"/>
                <a:ea typeface="Helvetica Neue Light"/>
                <a:cs typeface="CiscoSansTT ExtraLight" panose="020B0303020201020303" pitchFamily="34" charset="0"/>
                <a:sym typeface="Helvetica Neue Light"/>
              </a:rPr>
              <a:t>amet</a:t>
            </a:r>
            <a:r>
              <a:rPr lang="en-US" sz="1600">
                <a:solidFill>
                  <a:srgbClr val="00BCEB"/>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sz="1600" err="1">
                <a:solidFill>
                  <a:srgbClr val="00BCEB"/>
                </a:solidFill>
                <a:latin typeface="CiscoSansTT ExtraLight" panose="020B0303020201020303" pitchFamily="34" charset="0"/>
                <a:ea typeface="Helvetica Neue Light"/>
                <a:cs typeface="CiscoSansTT ExtraLight" panose="020B0303020201020303" pitchFamily="34" charset="0"/>
                <a:sym typeface="Helvetica Neue Light"/>
              </a:rPr>
              <a:t>consectetur</a:t>
            </a:r>
            <a:r>
              <a:rPr lang="en-US" sz="1600">
                <a:solidFill>
                  <a:srgbClr val="00BCEB"/>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sz="1600" err="1">
                <a:solidFill>
                  <a:srgbClr val="00BCEB"/>
                </a:solidFill>
                <a:latin typeface="CiscoSansTT ExtraLight" panose="020B0303020201020303" pitchFamily="34" charset="0"/>
                <a:ea typeface="Helvetica Neue Light"/>
                <a:cs typeface="CiscoSansTT ExtraLight" panose="020B0303020201020303" pitchFamily="34" charset="0"/>
                <a:sym typeface="Helvetica Neue Light"/>
              </a:rPr>
              <a:t>adipiscing</a:t>
            </a:r>
            <a:r>
              <a:rPr lang="en-US" sz="1600">
                <a:solidFill>
                  <a:srgbClr val="00BCEB"/>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sz="1600" err="1">
                <a:solidFill>
                  <a:srgbClr val="00BCEB"/>
                </a:solidFill>
                <a:latin typeface="CiscoSansTT ExtraLight" panose="020B0303020201020303" pitchFamily="34" charset="0"/>
                <a:ea typeface="Helvetica Neue Light"/>
                <a:cs typeface="CiscoSansTT ExtraLight" panose="020B0303020201020303" pitchFamily="34" charset="0"/>
                <a:sym typeface="Helvetica Neue Light"/>
              </a:rPr>
              <a:t>elit</a:t>
            </a:r>
            <a:endParaRPr lang="en-US" sz="1600" u="none" strike="noStrike" cap="none">
              <a:solidFill>
                <a:srgbClr val="00BCEB"/>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34" name="Text Placeholder 33">
            <a:extLst>
              <a:ext uri="{FF2B5EF4-FFF2-40B4-BE49-F238E27FC236}">
                <a16:creationId xmlns:a16="http://schemas.microsoft.com/office/drawing/2014/main" id="{E4F1703F-FD14-2747-80D3-F176B49F55AD}"/>
              </a:ext>
            </a:extLst>
          </p:cNvPr>
          <p:cNvSpPr>
            <a:spLocks noGrp="1"/>
          </p:cNvSpPr>
          <p:nvPr>
            <p:ph type="body" sz="quarter" idx="17" hasCustomPrompt="1"/>
          </p:nvPr>
        </p:nvSpPr>
        <p:spPr>
          <a:xfrm>
            <a:off x="5674491" y="1361227"/>
            <a:ext cx="1974851" cy="383116"/>
          </a:xfrm>
          <a:prstGeom prst="rect">
            <a:avLst/>
          </a:prstGeom>
        </p:spPr>
        <p:txBody>
          <a:bodyPr/>
          <a:lstStyle>
            <a:lvl1pPr>
              <a:defRPr b="1" i="0">
                <a:solidFill>
                  <a:schemeClr val="tx1"/>
                </a:solidFill>
                <a:latin typeface="CiscoSansTT" panose="020B0503020201020303" pitchFamily="34" charset="0"/>
                <a:cs typeface="CiscoSansTT" panose="020B0503020201020303" pitchFamily="34" charset="0"/>
              </a:defRPr>
            </a:lvl1pPr>
          </a:lstStyle>
          <a:p>
            <a:pPr lvl="0"/>
            <a:r>
              <a:rPr lang="en-GB"/>
              <a:t>Lorem</a:t>
            </a:r>
            <a:endParaRPr lang="en-US"/>
          </a:p>
        </p:txBody>
      </p:sp>
      <p:sp>
        <p:nvSpPr>
          <p:cNvPr id="36" name="Text Placeholder 33">
            <a:extLst>
              <a:ext uri="{FF2B5EF4-FFF2-40B4-BE49-F238E27FC236}">
                <a16:creationId xmlns:a16="http://schemas.microsoft.com/office/drawing/2014/main" id="{738D0011-FE5C-6641-AED1-0F6D9B424100}"/>
              </a:ext>
            </a:extLst>
          </p:cNvPr>
          <p:cNvSpPr>
            <a:spLocks noGrp="1"/>
          </p:cNvSpPr>
          <p:nvPr>
            <p:ph type="body" sz="quarter" idx="18" hasCustomPrompt="1"/>
          </p:nvPr>
        </p:nvSpPr>
        <p:spPr>
          <a:xfrm>
            <a:off x="8344524" y="1355873"/>
            <a:ext cx="1974851" cy="383116"/>
          </a:xfrm>
          <a:prstGeom prst="rect">
            <a:avLst/>
          </a:prstGeom>
        </p:spPr>
        <p:txBody>
          <a:bodyPr/>
          <a:lstStyle>
            <a:lvl1pPr>
              <a:defRPr b="1" i="0">
                <a:solidFill>
                  <a:schemeClr val="tx1"/>
                </a:solidFill>
                <a:latin typeface="CiscoSansTT" panose="020B0503020201020303" pitchFamily="34" charset="0"/>
                <a:cs typeface="CiscoSansTT" panose="020B0503020201020303" pitchFamily="34" charset="0"/>
              </a:defRPr>
            </a:lvl1pPr>
          </a:lstStyle>
          <a:p>
            <a:pPr lvl="0"/>
            <a:r>
              <a:rPr lang="en-GB"/>
              <a:t>Lorem</a:t>
            </a:r>
            <a:endParaRPr lang="en-US"/>
          </a:p>
        </p:txBody>
      </p:sp>
      <p:sp>
        <p:nvSpPr>
          <p:cNvPr id="37" name="Text Placeholder 33">
            <a:extLst>
              <a:ext uri="{FF2B5EF4-FFF2-40B4-BE49-F238E27FC236}">
                <a16:creationId xmlns:a16="http://schemas.microsoft.com/office/drawing/2014/main" id="{0C772D10-64AC-0A46-AC66-15F55CB301D4}"/>
              </a:ext>
            </a:extLst>
          </p:cNvPr>
          <p:cNvSpPr>
            <a:spLocks noGrp="1"/>
          </p:cNvSpPr>
          <p:nvPr>
            <p:ph type="body" sz="quarter" idx="19" hasCustomPrompt="1"/>
          </p:nvPr>
        </p:nvSpPr>
        <p:spPr>
          <a:xfrm>
            <a:off x="5674491" y="3072614"/>
            <a:ext cx="1974851" cy="383116"/>
          </a:xfrm>
          <a:prstGeom prst="rect">
            <a:avLst/>
          </a:prstGeom>
        </p:spPr>
        <p:txBody>
          <a:bodyPr/>
          <a:lstStyle>
            <a:lvl1pPr>
              <a:defRPr b="1" i="0">
                <a:solidFill>
                  <a:schemeClr val="tx1"/>
                </a:solidFill>
                <a:latin typeface="CiscoSansTT" panose="020B0503020201020303" pitchFamily="34" charset="0"/>
                <a:cs typeface="CiscoSansTT" panose="020B0503020201020303" pitchFamily="34" charset="0"/>
              </a:defRPr>
            </a:lvl1pPr>
          </a:lstStyle>
          <a:p>
            <a:pPr lvl="0"/>
            <a:r>
              <a:rPr lang="en-GB"/>
              <a:t>Lorem</a:t>
            </a:r>
            <a:endParaRPr lang="en-US"/>
          </a:p>
        </p:txBody>
      </p:sp>
      <p:sp>
        <p:nvSpPr>
          <p:cNvPr id="38" name="Text Placeholder 33">
            <a:extLst>
              <a:ext uri="{FF2B5EF4-FFF2-40B4-BE49-F238E27FC236}">
                <a16:creationId xmlns:a16="http://schemas.microsoft.com/office/drawing/2014/main" id="{AFD5C6FC-1D6D-804C-B9DB-5C348B87BB43}"/>
              </a:ext>
            </a:extLst>
          </p:cNvPr>
          <p:cNvSpPr>
            <a:spLocks noGrp="1"/>
          </p:cNvSpPr>
          <p:nvPr>
            <p:ph type="body" sz="quarter" idx="20" hasCustomPrompt="1"/>
          </p:nvPr>
        </p:nvSpPr>
        <p:spPr>
          <a:xfrm>
            <a:off x="8344524" y="3067259"/>
            <a:ext cx="1974851" cy="383116"/>
          </a:xfrm>
          <a:prstGeom prst="rect">
            <a:avLst/>
          </a:prstGeom>
        </p:spPr>
        <p:txBody>
          <a:bodyPr/>
          <a:lstStyle>
            <a:lvl1pPr>
              <a:defRPr b="1" i="0">
                <a:solidFill>
                  <a:schemeClr val="tx1"/>
                </a:solidFill>
                <a:latin typeface="CiscoSansTT" panose="020B0503020201020303" pitchFamily="34" charset="0"/>
                <a:cs typeface="CiscoSansTT" panose="020B0503020201020303" pitchFamily="34" charset="0"/>
              </a:defRPr>
            </a:lvl1pPr>
          </a:lstStyle>
          <a:p>
            <a:pPr lvl="0"/>
            <a:r>
              <a:rPr lang="en-GB"/>
              <a:t>Lorem</a:t>
            </a:r>
            <a:endParaRPr lang="en-US"/>
          </a:p>
        </p:txBody>
      </p:sp>
      <p:sp>
        <p:nvSpPr>
          <p:cNvPr id="40" name="Text Placeholder 39">
            <a:extLst>
              <a:ext uri="{FF2B5EF4-FFF2-40B4-BE49-F238E27FC236}">
                <a16:creationId xmlns:a16="http://schemas.microsoft.com/office/drawing/2014/main" id="{75C611E1-F971-A442-A55E-2A1060215033}"/>
              </a:ext>
            </a:extLst>
          </p:cNvPr>
          <p:cNvSpPr>
            <a:spLocks noGrp="1"/>
          </p:cNvSpPr>
          <p:nvPr>
            <p:ph type="body" sz="quarter" idx="21" hasCustomPrompt="1"/>
          </p:nvPr>
        </p:nvSpPr>
        <p:spPr>
          <a:xfrm>
            <a:off x="5671060" y="1758475"/>
            <a:ext cx="1974557" cy="757767"/>
          </a:xfrm>
          <a:prstGeom prst="rect">
            <a:avLst/>
          </a:prstGeom>
        </p:spPr>
        <p:txBody>
          <a:bodyPr/>
          <a:lstStyle>
            <a:lvl1pPr marL="0" indent="0" algn="l" rtl="0">
              <a:spcBef>
                <a:spcPts val="0"/>
              </a:spcBef>
              <a:spcAft>
                <a:spcPts val="0"/>
              </a:spcAft>
              <a:buNone/>
              <a:defRPr sz="1200" b="0" i="0">
                <a:solidFill>
                  <a:schemeClr val="tx1"/>
                </a:solidFill>
                <a:latin typeface="CiscoSansTT ExtraLight" panose="020B0303020201020303" pitchFamily="34" charset="0"/>
                <a:cs typeface="CiscoSansTT ExtraLight" panose="020B0303020201020303" pitchFamily="34" charset="0"/>
              </a:defRPr>
            </a:lvl1pPr>
            <a:lvl2pPr>
              <a:defRPr sz="1200" b="0" i="0">
                <a:solidFill>
                  <a:schemeClr val="tx1"/>
                </a:solidFill>
                <a:latin typeface="CiscoSansTT ExtraLight" panose="020B0303020201020303" pitchFamily="34" charset="0"/>
                <a:cs typeface="CiscoSansTT ExtraLight" panose="020B0303020201020303" pitchFamily="34" charset="0"/>
              </a:defRPr>
            </a:lvl2pPr>
            <a:lvl3pPr>
              <a:defRPr sz="1200" b="0" i="0">
                <a:solidFill>
                  <a:schemeClr val="tx1"/>
                </a:solidFill>
                <a:latin typeface="CiscoSansTT ExtraLight" panose="020B0303020201020303" pitchFamily="34" charset="0"/>
                <a:cs typeface="CiscoSansTT ExtraLight" panose="020B0303020201020303" pitchFamily="34" charset="0"/>
              </a:defRPr>
            </a:lvl3pPr>
            <a:lvl4pPr>
              <a:defRPr sz="1200" b="0" i="0">
                <a:solidFill>
                  <a:schemeClr val="tx1"/>
                </a:solidFill>
                <a:latin typeface="CiscoSansTT ExtraLight" panose="020B0303020201020303" pitchFamily="34" charset="0"/>
                <a:cs typeface="CiscoSansTT ExtraLight" panose="020B0303020201020303" pitchFamily="34" charset="0"/>
              </a:defRPr>
            </a:lvl4pPr>
            <a:lvl5pPr>
              <a:defRPr sz="1200" b="0" i="0">
                <a:solidFill>
                  <a:schemeClr val="tx1"/>
                </a:solidFill>
                <a:latin typeface="CiscoSansTT ExtraLight" panose="020B0303020201020303" pitchFamily="34" charset="0"/>
                <a:cs typeface="CiscoSansTT ExtraLight" panose="020B0303020201020303" pitchFamily="34" charset="0"/>
              </a:defRPr>
            </a:lvl5pPr>
          </a:lstStyle>
          <a:p>
            <a:pPr marL="0" lvl="0" indent="0" algn="l" rtl="0">
              <a:spcBef>
                <a:spcPts val="0"/>
              </a:spcBef>
              <a:spcAft>
                <a:spcPts val="0"/>
              </a:spcAft>
              <a:buNone/>
            </a:pPr>
            <a:r>
              <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Lorem ipsum dolor sit </a:t>
            </a:r>
            <a:r>
              <a:rPr lang="en-US" sz="1200"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amet</a:t>
            </a:r>
            <a:r>
              <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sz="1200"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consectetur</a:t>
            </a:r>
            <a:r>
              <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sz="1200"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adipiscing</a:t>
            </a:r>
            <a:r>
              <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sz="1200"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elit</a:t>
            </a:r>
            <a:endPar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a:p>
            <a:pPr marL="0" lvl="0" indent="0" algn="l" rtl="0">
              <a:spcBef>
                <a:spcPts val="0"/>
              </a:spcBef>
              <a:spcAft>
                <a:spcPts val="0"/>
              </a:spcAft>
              <a:buNone/>
            </a:pPr>
            <a:endPar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41" name="Text Placeholder 39">
            <a:extLst>
              <a:ext uri="{FF2B5EF4-FFF2-40B4-BE49-F238E27FC236}">
                <a16:creationId xmlns:a16="http://schemas.microsoft.com/office/drawing/2014/main" id="{30A3C0E0-993B-A247-8F10-FF5570956410}"/>
              </a:ext>
            </a:extLst>
          </p:cNvPr>
          <p:cNvSpPr>
            <a:spLocks noGrp="1"/>
          </p:cNvSpPr>
          <p:nvPr>
            <p:ph type="body" sz="quarter" idx="22" hasCustomPrompt="1"/>
          </p:nvPr>
        </p:nvSpPr>
        <p:spPr>
          <a:xfrm>
            <a:off x="8340800" y="1757563"/>
            <a:ext cx="1974557" cy="757767"/>
          </a:xfrm>
          <a:prstGeom prst="rect">
            <a:avLst/>
          </a:prstGeom>
        </p:spPr>
        <p:txBody>
          <a:bodyPr/>
          <a:lstStyle>
            <a:lvl1pPr marL="0" indent="0" algn="l" rtl="0">
              <a:spcBef>
                <a:spcPts val="0"/>
              </a:spcBef>
              <a:spcAft>
                <a:spcPts val="0"/>
              </a:spcAft>
              <a:buNone/>
              <a:defRPr sz="1200" b="0" i="0">
                <a:solidFill>
                  <a:schemeClr val="tx1"/>
                </a:solidFill>
                <a:latin typeface="CiscoSansTT ExtraLight" panose="020B0303020201020303" pitchFamily="34" charset="0"/>
                <a:cs typeface="CiscoSansTT ExtraLight" panose="020B0303020201020303" pitchFamily="34" charset="0"/>
              </a:defRPr>
            </a:lvl1pPr>
            <a:lvl2pPr>
              <a:defRPr sz="1200" b="0" i="0">
                <a:solidFill>
                  <a:schemeClr val="tx1"/>
                </a:solidFill>
                <a:latin typeface="CiscoSansTT ExtraLight" panose="020B0303020201020303" pitchFamily="34" charset="0"/>
                <a:cs typeface="CiscoSansTT ExtraLight" panose="020B0303020201020303" pitchFamily="34" charset="0"/>
              </a:defRPr>
            </a:lvl2pPr>
            <a:lvl3pPr>
              <a:defRPr sz="1200" b="0" i="0">
                <a:solidFill>
                  <a:schemeClr val="tx1"/>
                </a:solidFill>
                <a:latin typeface="CiscoSansTT ExtraLight" panose="020B0303020201020303" pitchFamily="34" charset="0"/>
                <a:cs typeface="CiscoSansTT ExtraLight" panose="020B0303020201020303" pitchFamily="34" charset="0"/>
              </a:defRPr>
            </a:lvl3pPr>
            <a:lvl4pPr>
              <a:defRPr sz="1200" b="0" i="0">
                <a:solidFill>
                  <a:schemeClr val="tx1"/>
                </a:solidFill>
                <a:latin typeface="CiscoSansTT ExtraLight" panose="020B0303020201020303" pitchFamily="34" charset="0"/>
                <a:cs typeface="CiscoSansTT ExtraLight" panose="020B0303020201020303" pitchFamily="34" charset="0"/>
              </a:defRPr>
            </a:lvl4pPr>
            <a:lvl5pPr>
              <a:defRPr sz="1200" b="0" i="0">
                <a:solidFill>
                  <a:schemeClr val="tx1"/>
                </a:solidFill>
                <a:latin typeface="CiscoSansTT ExtraLight" panose="020B0303020201020303" pitchFamily="34" charset="0"/>
                <a:cs typeface="CiscoSansTT ExtraLight" panose="020B0303020201020303" pitchFamily="34" charset="0"/>
              </a:defRPr>
            </a:lvl5pPr>
          </a:lstStyle>
          <a:p>
            <a:pPr marL="0" lvl="0" indent="0" algn="l" rtl="0">
              <a:spcBef>
                <a:spcPts val="0"/>
              </a:spcBef>
              <a:spcAft>
                <a:spcPts val="0"/>
              </a:spcAft>
              <a:buNone/>
            </a:pPr>
            <a:r>
              <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Lorem ipsum dolor sit </a:t>
            </a:r>
            <a:r>
              <a:rPr lang="en-US" sz="1200"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amet</a:t>
            </a:r>
            <a:r>
              <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sz="1200"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consectetur</a:t>
            </a:r>
            <a:r>
              <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sz="1200"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adipiscing</a:t>
            </a:r>
            <a:r>
              <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sz="1200"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elit</a:t>
            </a:r>
            <a:endPar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a:p>
            <a:pPr marL="0" lvl="0" indent="0" algn="l" rtl="0">
              <a:spcBef>
                <a:spcPts val="0"/>
              </a:spcBef>
              <a:spcAft>
                <a:spcPts val="0"/>
              </a:spcAft>
              <a:buNone/>
            </a:pPr>
            <a:endPar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44" name="Text Placeholder 39">
            <a:extLst>
              <a:ext uri="{FF2B5EF4-FFF2-40B4-BE49-F238E27FC236}">
                <a16:creationId xmlns:a16="http://schemas.microsoft.com/office/drawing/2014/main" id="{B4A71F95-4B93-464A-9C8D-6FBE935C4950}"/>
              </a:ext>
            </a:extLst>
          </p:cNvPr>
          <p:cNvSpPr>
            <a:spLocks noGrp="1"/>
          </p:cNvSpPr>
          <p:nvPr>
            <p:ph type="body" sz="quarter" idx="23" hasCustomPrompt="1"/>
          </p:nvPr>
        </p:nvSpPr>
        <p:spPr>
          <a:xfrm>
            <a:off x="5671060" y="3478413"/>
            <a:ext cx="1974557" cy="757767"/>
          </a:xfrm>
          <a:prstGeom prst="rect">
            <a:avLst/>
          </a:prstGeom>
        </p:spPr>
        <p:txBody>
          <a:bodyPr/>
          <a:lstStyle>
            <a:lvl1pPr marL="0" indent="0" algn="l" rtl="0">
              <a:spcBef>
                <a:spcPts val="0"/>
              </a:spcBef>
              <a:spcAft>
                <a:spcPts val="0"/>
              </a:spcAft>
              <a:buNone/>
              <a:defRPr sz="1200" b="0" i="0">
                <a:solidFill>
                  <a:schemeClr val="tx1"/>
                </a:solidFill>
                <a:latin typeface="CiscoSansTT ExtraLight" panose="020B0303020201020303" pitchFamily="34" charset="0"/>
                <a:cs typeface="CiscoSansTT ExtraLight" panose="020B0303020201020303" pitchFamily="34" charset="0"/>
              </a:defRPr>
            </a:lvl1pPr>
            <a:lvl2pPr>
              <a:defRPr sz="1200" b="0" i="0">
                <a:solidFill>
                  <a:schemeClr val="tx1"/>
                </a:solidFill>
                <a:latin typeface="CiscoSansTT ExtraLight" panose="020B0303020201020303" pitchFamily="34" charset="0"/>
                <a:cs typeface="CiscoSansTT ExtraLight" panose="020B0303020201020303" pitchFamily="34" charset="0"/>
              </a:defRPr>
            </a:lvl2pPr>
            <a:lvl3pPr>
              <a:defRPr sz="1200" b="0" i="0">
                <a:solidFill>
                  <a:schemeClr val="tx1"/>
                </a:solidFill>
                <a:latin typeface="CiscoSansTT ExtraLight" panose="020B0303020201020303" pitchFamily="34" charset="0"/>
                <a:cs typeface="CiscoSansTT ExtraLight" panose="020B0303020201020303" pitchFamily="34" charset="0"/>
              </a:defRPr>
            </a:lvl3pPr>
            <a:lvl4pPr>
              <a:defRPr sz="1200" b="0" i="0">
                <a:solidFill>
                  <a:schemeClr val="tx1"/>
                </a:solidFill>
                <a:latin typeface="CiscoSansTT ExtraLight" panose="020B0303020201020303" pitchFamily="34" charset="0"/>
                <a:cs typeface="CiscoSansTT ExtraLight" panose="020B0303020201020303" pitchFamily="34" charset="0"/>
              </a:defRPr>
            </a:lvl4pPr>
            <a:lvl5pPr>
              <a:defRPr sz="1200" b="0" i="0">
                <a:solidFill>
                  <a:schemeClr val="tx1"/>
                </a:solidFill>
                <a:latin typeface="CiscoSansTT ExtraLight" panose="020B0303020201020303" pitchFamily="34" charset="0"/>
                <a:cs typeface="CiscoSansTT ExtraLight" panose="020B0303020201020303" pitchFamily="34" charset="0"/>
              </a:defRPr>
            </a:lvl5pPr>
          </a:lstStyle>
          <a:p>
            <a:pPr marL="0" lvl="0" indent="0" algn="l" rtl="0">
              <a:spcBef>
                <a:spcPts val="0"/>
              </a:spcBef>
              <a:spcAft>
                <a:spcPts val="0"/>
              </a:spcAft>
              <a:buNone/>
            </a:pPr>
            <a:r>
              <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Lorem ipsum dolor sit </a:t>
            </a:r>
            <a:r>
              <a:rPr lang="en-US" sz="1200"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amet</a:t>
            </a:r>
            <a:r>
              <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sz="1200"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consectetur</a:t>
            </a:r>
            <a:r>
              <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sz="1200"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adipiscing</a:t>
            </a:r>
            <a:r>
              <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sz="1200"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elit</a:t>
            </a:r>
            <a:endPar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a:p>
            <a:pPr marL="0" lvl="0" indent="0" algn="l" rtl="0">
              <a:spcBef>
                <a:spcPts val="0"/>
              </a:spcBef>
              <a:spcAft>
                <a:spcPts val="0"/>
              </a:spcAft>
              <a:buNone/>
            </a:pPr>
            <a:endPar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45" name="Text Placeholder 39">
            <a:extLst>
              <a:ext uri="{FF2B5EF4-FFF2-40B4-BE49-F238E27FC236}">
                <a16:creationId xmlns:a16="http://schemas.microsoft.com/office/drawing/2014/main" id="{58E4658F-7CC8-4041-BBE3-C4200556636A}"/>
              </a:ext>
            </a:extLst>
          </p:cNvPr>
          <p:cNvSpPr>
            <a:spLocks noGrp="1"/>
          </p:cNvSpPr>
          <p:nvPr>
            <p:ph type="body" sz="quarter" idx="24" hasCustomPrompt="1"/>
          </p:nvPr>
        </p:nvSpPr>
        <p:spPr>
          <a:xfrm>
            <a:off x="8340800" y="3477501"/>
            <a:ext cx="1974557" cy="757767"/>
          </a:xfrm>
          <a:prstGeom prst="rect">
            <a:avLst/>
          </a:prstGeom>
        </p:spPr>
        <p:txBody>
          <a:bodyPr/>
          <a:lstStyle>
            <a:lvl1pPr marL="0" indent="0" algn="l" rtl="0">
              <a:spcBef>
                <a:spcPts val="0"/>
              </a:spcBef>
              <a:spcAft>
                <a:spcPts val="0"/>
              </a:spcAft>
              <a:buNone/>
              <a:defRPr sz="1200" b="0" i="0">
                <a:solidFill>
                  <a:schemeClr val="tx1"/>
                </a:solidFill>
                <a:latin typeface="CiscoSansTT ExtraLight" panose="020B0303020201020303" pitchFamily="34" charset="0"/>
                <a:cs typeface="CiscoSansTT ExtraLight" panose="020B0303020201020303" pitchFamily="34" charset="0"/>
              </a:defRPr>
            </a:lvl1pPr>
            <a:lvl2pPr>
              <a:defRPr sz="1200" b="0" i="0">
                <a:solidFill>
                  <a:schemeClr val="tx1"/>
                </a:solidFill>
                <a:latin typeface="CiscoSansTT ExtraLight" panose="020B0303020201020303" pitchFamily="34" charset="0"/>
                <a:cs typeface="CiscoSansTT ExtraLight" panose="020B0303020201020303" pitchFamily="34" charset="0"/>
              </a:defRPr>
            </a:lvl2pPr>
            <a:lvl3pPr>
              <a:defRPr sz="1200" b="0" i="0">
                <a:solidFill>
                  <a:schemeClr val="tx1"/>
                </a:solidFill>
                <a:latin typeface="CiscoSansTT ExtraLight" panose="020B0303020201020303" pitchFamily="34" charset="0"/>
                <a:cs typeface="CiscoSansTT ExtraLight" panose="020B0303020201020303" pitchFamily="34" charset="0"/>
              </a:defRPr>
            </a:lvl3pPr>
            <a:lvl4pPr>
              <a:defRPr sz="1200" b="0" i="0">
                <a:solidFill>
                  <a:schemeClr val="tx1"/>
                </a:solidFill>
                <a:latin typeface="CiscoSansTT ExtraLight" panose="020B0303020201020303" pitchFamily="34" charset="0"/>
                <a:cs typeface="CiscoSansTT ExtraLight" panose="020B0303020201020303" pitchFamily="34" charset="0"/>
              </a:defRPr>
            </a:lvl4pPr>
            <a:lvl5pPr>
              <a:defRPr sz="1200" b="0" i="0">
                <a:solidFill>
                  <a:schemeClr val="tx1"/>
                </a:solidFill>
                <a:latin typeface="CiscoSansTT ExtraLight" panose="020B0303020201020303" pitchFamily="34" charset="0"/>
                <a:cs typeface="CiscoSansTT ExtraLight" panose="020B0303020201020303" pitchFamily="34" charset="0"/>
              </a:defRPr>
            </a:lvl5pPr>
          </a:lstStyle>
          <a:p>
            <a:pPr marL="0" lvl="0" indent="0" algn="l" rtl="0">
              <a:spcBef>
                <a:spcPts val="0"/>
              </a:spcBef>
              <a:spcAft>
                <a:spcPts val="0"/>
              </a:spcAft>
              <a:buNone/>
            </a:pPr>
            <a:r>
              <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Lorem ipsum dolor sit </a:t>
            </a:r>
            <a:r>
              <a:rPr lang="en-US" sz="1200"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amet</a:t>
            </a:r>
            <a:r>
              <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sz="1200"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consectetur</a:t>
            </a:r>
            <a:r>
              <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sz="1200"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adipiscing</a:t>
            </a:r>
            <a:r>
              <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sz="1200"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elit</a:t>
            </a:r>
            <a:endPar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a:p>
            <a:pPr marL="0" lvl="0" indent="0" algn="l" rtl="0">
              <a:spcBef>
                <a:spcPts val="0"/>
              </a:spcBef>
              <a:spcAft>
                <a:spcPts val="0"/>
              </a:spcAft>
              <a:buNone/>
            </a:pPr>
            <a:endPar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47" name="Text Placeholder 39">
            <a:extLst>
              <a:ext uri="{FF2B5EF4-FFF2-40B4-BE49-F238E27FC236}">
                <a16:creationId xmlns:a16="http://schemas.microsoft.com/office/drawing/2014/main" id="{DDC0FFB8-5F75-4E48-BE04-EF4B80D5AA6C}"/>
              </a:ext>
            </a:extLst>
          </p:cNvPr>
          <p:cNvSpPr>
            <a:spLocks noGrp="1"/>
          </p:cNvSpPr>
          <p:nvPr>
            <p:ph type="body" sz="quarter" idx="25" hasCustomPrompt="1"/>
          </p:nvPr>
        </p:nvSpPr>
        <p:spPr>
          <a:xfrm>
            <a:off x="5671060" y="5212482"/>
            <a:ext cx="1974557" cy="757767"/>
          </a:xfrm>
          <a:prstGeom prst="rect">
            <a:avLst/>
          </a:prstGeom>
        </p:spPr>
        <p:txBody>
          <a:bodyPr/>
          <a:lstStyle>
            <a:lvl1pPr marL="0" indent="0" algn="l" rtl="0">
              <a:spcBef>
                <a:spcPts val="0"/>
              </a:spcBef>
              <a:spcAft>
                <a:spcPts val="0"/>
              </a:spcAft>
              <a:buNone/>
              <a:defRPr sz="1200" b="0" i="0">
                <a:solidFill>
                  <a:schemeClr val="tx1"/>
                </a:solidFill>
                <a:latin typeface="CiscoSansTT ExtraLight" panose="020B0303020201020303" pitchFamily="34" charset="0"/>
                <a:cs typeface="CiscoSansTT ExtraLight" panose="020B0303020201020303" pitchFamily="34" charset="0"/>
              </a:defRPr>
            </a:lvl1pPr>
            <a:lvl2pPr>
              <a:defRPr sz="1200" b="0" i="0">
                <a:solidFill>
                  <a:schemeClr val="tx1"/>
                </a:solidFill>
                <a:latin typeface="CiscoSansTT ExtraLight" panose="020B0303020201020303" pitchFamily="34" charset="0"/>
                <a:cs typeface="CiscoSansTT ExtraLight" panose="020B0303020201020303" pitchFamily="34" charset="0"/>
              </a:defRPr>
            </a:lvl2pPr>
            <a:lvl3pPr>
              <a:defRPr sz="1200" b="0" i="0">
                <a:solidFill>
                  <a:schemeClr val="tx1"/>
                </a:solidFill>
                <a:latin typeface="CiscoSansTT ExtraLight" panose="020B0303020201020303" pitchFamily="34" charset="0"/>
                <a:cs typeface="CiscoSansTT ExtraLight" panose="020B0303020201020303" pitchFamily="34" charset="0"/>
              </a:defRPr>
            </a:lvl3pPr>
            <a:lvl4pPr>
              <a:defRPr sz="1200" b="0" i="0">
                <a:solidFill>
                  <a:schemeClr val="tx1"/>
                </a:solidFill>
                <a:latin typeface="CiscoSansTT ExtraLight" panose="020B0303020201020303" pitchFamily="34" charset="0"/>
                <a:cs typeface="CiscoSansTT ExtraLight" panose="020B0303020201020303" pitchFamily="34" charset="0"/>
              </a:defRPr>
            </a:lvl4pPr>
            <a:lvl5pPr>
              <a:defRPr sz="1200" b="0" i="0">
                <a:solidFill>
                  <a:schemeClr val="tx1"/>
                </a:solidFill>
                <a:latin typeface="CiscoSansTT ExtraLight" panose="020B0303020201020303" pitchFamily="34" charset="0"/>
                <a:cs typeface="CiscoSansTT ExtraLight" panose="020B0303020201020303" pitchFamily="34" charset="0"/>
              </a:defRPr>
            </a:lvl5pPr>
          </a:lstStyle>
          <a:p>
            <a:pPr marL="0" lvl="0" indent="0" algn="l" rtl="0">
              <a:spcBef>
                <a:spcPts val="0"/>
              </a:spcBef>
              <a:spcAft>
                <a:spcPts val="0"/>
              </a:spcAft>
              <a:buNone/>
            </a:pPr>
            <a:r>
              <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Lorem ipsum dolor sit </a:t>
            </a:r>
            <a:r>
              <a:rPr lang="en-US" sz="1200"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amet</a:t>
            </a:r>
            <a:r>
              <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sz="1200"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consectetur</a:t>
            </a:r>
            <a:r>
              <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sz="1200"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adipiscing</a:t>
            </a:r>
            <a:r>
              <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 </a:t>
            </a:r>
            <a:r>
              <a:rPr lang="en-US" sz="1200" err="1">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rPr>
              <a:t>elit</a:t>
            </a:r>
            <a:endPar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a:p>
            <a:pPr marL="0" lvl="0" indent="0" algn="l" rtl="0">
              <a:spcBef>
                <a:spcPts val="0"/>
              </a:spcBef>
              <a:spcAft>
                <a:spcPts val="0"/>
              </a:spcAft>
              <a:buNone/>
            </a:pPr>
            <a:endParaRPr lang="en-US" sz="1200">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Tree>
    <p:extLst>
      <p:ext uri="{BB962C8B-B14F-4D97-AF65-F5344CB8AC3E}">
        <p14:creationId xmlns:p14="http://schemas.microsoft.com/office/powerpoint/2010/main" val="19920057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Closing Slide">
  <p:cSld name="Closing Slide">
    <p:bg>
      <p:bgRef idx="1001">
        <a:schemeClr val="bg2"/>
      </p:bgRef>
    </p:bg>
    <p:spTree>
      <p:nvGrpSpPr>
        <p:cNvPr id="1" name="Shape 172"/>
        <p:cNvGrpSpPr/>
        <p:nvPr/>
      </p:nvGrpSpPr>
      <p:grpSpPr>
        <a:xfrm>
          <a:off x="0" y="0"/>
          <a:ext cx="0" cy="0"/>
          <a:chOff x="0" y="0"/>
          <a:chExt cx="0" cy="0"/>
        </a:xfrm>
      </p:grpSpPr>
      <p:sp>
        <p:nvSpPr>
          <p:cNvPr id="3" name="Google Shape;2135;p235">
            <a:extLst>
              <a:ext uri="{FF2B5EF4-FFF2-40B4-BE49-F238E27FC236}">
                <a16:creationId xmlns:a16="http://schemas.microsoft.com/office/drawing/2014/main" id="{F6763160-F953-2447-8F73-DD12E674ED38}"/>
              </a:ext>
            </a:extLst>
          </p:cNvPr>
          <p:cNvSpPr/>
          <p:nvPr userDrawn="1"/>
        </p:nvSpPr>
        <p:spPr>
          <a:xfrm>
            <a:off x="5168267" y="2918967"/>
            <a:ext cx="1855469" cy="985701"/>
          </a:xfrm>
          <a:custGeom>
            <a:avLst/>
            <a:gdLst/>
            <a:ahLst/>
            <a:cxnLst/>
            <a:rect l="l" t="t" r="r" b="b"/>
            <a:pathLst>
              <a:path w="3456" h="1834" extrusionOk="0">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rgbClr val="FFFFFF"/>
          </a:solidFill>
          <a:ln>
            <a:noFill/>
          </a:ln>
        </p:spPr>
        <p:txBody>
          <a:bodyPr spcFirstLastPara="1" wrap="square" lIns="121900" tIns="60933" rIns="121900" bIns="60933"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1649544308"/>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2F0B7-3274-E647-9591-D2F6405F0170}"/>
              </a:ext>
            </a:extLst>
          </p:cNvPr>
          <p:cNvSpPr>
            <a:spLocks noGrp="1"/>
          </p:cNvSpPr>
          <p:nvPr>
            <p:ph type="title"/>
          </p:nvPr>
        </p:nvSpPr>
        <p:spPr>
          <a:xfrm>
            <a:off x="838200" y="366185"/>
            <a:ext cx="10515600" cy="1325033"/>
          </a:xfrm>
          <a:prstGeom prst="rect">
            <a:avLst/>
          </a:prstGeom>
        </p:spPr>
        <p:txBody>
          <a:bodyPr/>
          <a:lstStyle/>
          <a:p>
            <a:r>
              <a:rPr lang="en-GB"/>
              <a:t>Click to edit Master title style</a:t>
            </a:r>
            <a:endParaRPr lang="en-US"/>
          </a:p>
        </p:txBody>
      </p:sp>
    </p:spTree>
    <p:extLst>
      <p:ext uri="{BB962C8B-B14F-4D97-AF65-F5344CB8AC3E}">
        <p14:creationId xmlns:p14="http://schemas.microsoft.com/office/powerpoint/2010/main" val="2830963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Closing Slide" preserve="1">
  <p:cSld name="1_Closing Slide">
    <p:bg>
      <p:bgRef idx="1001">
        <a:schemeClr val="bg2"/>
      </p:bgRef>
    </p:bg>
    <p:spTree>
      <p:nvGrpSpPr>
        <p:cNvPr id="1" name="Shape 172"/>
        <p:cNvGrpSpPr/>
        <p:nvPr/>
      </p:nvGrpSpPr>
      <p:grpSpPr>
        <a:xfrm>
          <a:off x="0" y="0"/>
          <a:ext cx="0" cy="0"/>
          <a:chOff x="0" y="0"/>
          <a:chExt cx="0" cy="0"/>
        </a:xfrm>
      </p:grpSpPr>
    </p:spTree>
    <p:extLst>
      <p:ext uri="{BB962C8B-B14F-4D97-AF65-F5344CB8AC3E}">
        <p14:creationId xmlns:p14="http://schemas.microsoft.com/office/powerpoint/2010/main" val="2482102013"/>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Google Shape;769;p184">
            <a:extLst>
              <a:ext uri="{FF2B5EF4-FFF2-40B4-BE49-F238E27FC236}">
                <a16:creationId xmlns:a16="http://schemas.microsoft.com/office/drawing/2014/main" id="{BD158146-A831-3249-BE9A-CFF6AC341850}"/>
              </a:ext>
            </a:extLst>
          </p:cNvPr>
          <p:cNvSpPr/>
          <p:nvPr userDrawn="1"/>
        </p:nvSpPr>
        <p:spPr>
          <a:xfrm>
            <a:off x="10925420" y="-518868"/>
            <a:ext cx="1573600" cy="1573600"/>
          </a:xfrm>
          <a:prstGeom prst="ellipse">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grpSp>
        <p:nvGrpSpPr>
          <p:cNvPr id="4" name="Google Shape;771;p184">
            <a:extLst>
              <a:ext uri="{FF2B5EF4-FFF2-40B4-BE49-F238E27FC236}">
                <a16:creationId xmlns:a16="http://schemas.microsoft.com/office/drawing/2014/main" id="{FD7B65A8-F16C-A045-AE90-8237F0693E8E}"/>
              </a:ext>
            </a:extLst>
          </p:cNvPr>
          <p:cNvGrpSpPr/>
          <p:nvPr userDrawn="1"/>
        </p:nvGrpSpPr>
        <p:grpSpPr>
          <a:xfrm>
            <a:off x="5430649" y="3691524"/>
            <a:ext cx="410000" cy="409600"/>
            <a:chOff x="3968745" y="2582034"/>
            <a:chExt cx="307500" cy="307200"/>
          </a:xfrm>
        </p:grpSpPr>
        <p:sp>
          <p:nvSpPr>
            <p:cNvPr id="5" name="Google Shape;772;p184">
              <a:extLst>
                <a:ext uri="{FF2B5EF4-FFF2-40B4-BE49-F238E27FC236}">
                  <a16:creationId xmlns:a16="http://schemas.microsoft.com/office/drawing/2014/main" id="{2CFA6DAF-6ABA-7543-8F70-603EBEE329C2}"/>
                </a:ext>
              </a:extLst>
            </p:cNvPr>
            <p:cNvSpPr/>
            <p:nvPr/>
          </p:nvSpPr>
          <p:spPr>
            <a:xfrm>
              <a:off x="3968745" y="2582034"/>
              <a:ext cx="307500" cy="307200"/>
            </a:xfrm>
            <a:prstGeom prst="ellipse">
              <a:avLst/>
            </a:prstGeom>
            <a:solidFill>
              <a:schemeClr val="accent1"/>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467" b="0" i="0" u="none" strike="noStrike" cap="none">
                <a:solidFill>
                  <a:srgbClr val="000000"/>
                </a:solidFill>
                <a:latin typeface="Arial"/>
                <a:ea typeface="Arial"/>
                <a:cs typeface="Arial"/>
                <a:sym typeface="Arial"/>
              </a:endParaRPr>
            </a:p>
          </p:txBody>
        </p:sp>
        <p:pic>
          <p:nvPicPr>
            <p:cNvPr id="6" name="Google Shape;773;p184">
              <a:extLst>
                <a:ext uri="{FF2B5EF4-FFF2-40B4-BE49-F238E27FC236}">
                  <a16:creationId xmlns:a16="http://schemas.microsoft.com/office/drawing/2014/main" id="{C4F4433B-1C5D-A44B-A150-11BA540D7541}"/>
                </a:ext>
              </a:extLst>
            </p:cNvPr>
            <p:cNvPicPr preferRelativeResize="0"/>
            <p:nvPr/>
          </p:nvPicPr>
          <p:blipFill rotWithShape="1">
            <a:blip r:embed="rId2">
              <a:alphaModFix/>
            </a:blip>
            <a:srcRect/>
            <a:stretch/>
          </p:blipFill>
          <p:spPr>
            <a:xfrm>
              <a:off x="4074320" y="2665837"/>
              <a:ext cx="94651" cy="140498"/>
            </a:xfrm>
            <a:prstGeom prst="rect">
              <a:avLst/>
            </a:prstGeom>
            <a:noFill/>
            <a:ln>
              <a:noFill/>
            </a:ln>
          </p:spPr>
        </p:pic>
      </p:grpSp>
      <p:grpSp>
        <p:nvGrpSpPr>
          <p:cNvPr id="8" name="Google Shape;776;p184">
            <a:extLst>
              <a:ext uri="{FF2B5EF4-FFF2-40B4-BE49-F238E27FC236}">
                <a16:creationId xmlns:a16="http://schemas.microsoft.com/office/drawing/2014/main" id="{E7F66C74-64D4-A843-B2EC-8DCF99254D49}"/>
              </a:ext>
            </a:extLst>
          </p:cNvPr>
          <p:cNvGrpSpPr/>
          <p:nvPr userDrawn="1"/>
        </p:nvGrpSpPr>
        <p:grpSpPr>
          <a:xfrm>
            <a:off x="5420649" y="2128512"/>
            <a:ext cx="430000" cy="429600"/>
            <a:chOff x="3961000" y="1271150"/>
            <a:chExt cx="322500" cy="322200"/>
          </a:xfrm>
        </p:grpSpPr>
        <p:sp>
          <p:nvSpPr>
            <p:cNvPr id="9" name="Google Shape;777;p184">
              <a:extLst>
                <a:ext uri="{FF2B5EF4-FFF2-40B4-BE49-F238E27FC236}">
                  <a16:creationId xmlns:a16="http://schemas.microsoft.com/office/drawing/2014/main" id="{8B199DCE-6B3C-9343-975E-76D5971F8A5D}"/>
                </a:ext>
              </a:extLst>
            </p:cNvPr>
            <p:cNvSpPr/>
            <p:nvPr/>
          </p:nvSpPr>
          <p:spPr>
            <a:xfrm>
              <a:off x="3961000" y="1271150"/>
              <a:ext cx="322500" cy="322200"/>
            </a:xfrm>
            <a:prstGeom prst="ellipse">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pic>
          <p:nvPicPr>
            <p:cNvPr id="10" name="Google Shape;778;p184">
              <a:extLst>
                <a:ext uri="{FF2B5EF4-FFF2-40B4-BE49-F238E27FC236}">
                  <a16:creationId xmlns:a16="http://schemas.microsoft.com/office/drawing/2014/main" id="{AC9F1BE8-A9E8-384F-82EB-682AEC378A6C}"/>
                </a:ext>
              </a:extLst>
            </p:cNvPr>
            <p:cNvPicPr preferRelativeResize="0"/>
            <p:nvPr/>
          </p:nvPicPr>
          <p:blipFill rotWithShape="1">
            <a:blip r:embed="rId3">
              <a:alphaModFix/>
            </a:blip>
            <a:srcRect/>
            <a:stretch/>
          </p:blipFill>
          <p:spPr>
            <a:xfrm>
              <a:off x="4083610" y="1360213"/>
              <a:ext cx="81380" cy="135642"/>
            </a:xfrm>
            <a:prstGeom prst="rect">
              <a:avLst/>
            </a:prstGeom>
            <a:noFill/>
            <a:ln>
              <a:noFill/>
            </a:ln>
          </p:spPr>
        </p:pic>
      </p:grpSp>
      <p:grpSp>
        <p:nvGrpSpPr>
          <p:cNvPr id="11" name="Google Shape;780;p184">
            <a:extLst>
              <a:ext uri="{FF2B5EF4-FFF2-40B4-BE49-F238E27FC236}">
                <a16:creationId xmlns:a16="http://schemas.microsoft.com/office/drawing/2014/main" id="{6877B2FF-DDD8-984A-BF2A-860E46AD2A7A}"/>
              </a:ext>
            </a:extLst>
          </p:cNvPr>
          <p:cNvGrpSpPr/>
          <p:nvPr userDrawn="1"/>
        </p:nvGrpSpPr>
        <p:grpSpPr>
          <a:xfrm>
            <a:off x="5424849" y="2908052"/>
            <a:ext cx="421600" cy="421200"/>
            <a:chOff x="3964274" y="1994430"/>
            <a:chExt cx="316200" cy="315900"/>
          </a:xfrm>
        </p:grpSpPr>
        <p:sp>
          <p:nvSpPr>
            <p:cNvPr id="12" name="Google Shape;781;p184">
              <a:extLst>
                <a:ext uri="{FF2B5EF4-FFF2-40B4-BE49-F238E27FC236}">
                  <a16:creationId xmlns:a16="http://schemas.microsoft.com/office/drawing/2014/main" id="{DE37B9F6-3622-3749-A2A5-69EDEE95CEFC}"/>
                </a:ext>
              </a:extLst>
            </p:cNvPr>
            <p:cNvSpPr/>
            <p:nvPr/>
          </p:nvSpPr>
          <p:spPr>
            <a:xfrm>
              <a:off x="3964274" y="1994430"/>
              <a:ext cx="316200" cy="315900"/>
            </a:xfrm>
            <a:prstGeom prst="ellipse">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pic>
          <p:nvPicPr>
            <p:cNvPr id="13" name="Google Shape;782;p184">
              <a:extLst>
                <a:ext uri="{FF2B5EF4-FFF2-40B4-BE49-F238E27FC236}">
                  <a16:creationId xmlns:a16="http://schemas.microsoft.com/office/drawing/2014/main" id="{35DDBAE9-ACBC-1746-8383-F1A2F51F1463}"/>
                </a:ext>
              </a:extLst>
            </p:cNvPr>
            <p:cNvPicPr preferRelativeResize="0"/>
            <p:nvPr/>
          </p:nvPicPr>
          <p:blipFill rotWithShape="1">
            <a:blip r:embed="rId4">
              <a:alphaModFix/>
            </a:blip>
            <a:srcRect/>
            <a:stretch/>
          </p:blipFill>
          <p:spPr>
            <a:xfrm>
              <a:off x="4080413" y="2093157"/>
              <a:ext cx="79802" cy="125688"/>
            </a:xfrm>
            <a:prstGeom prst="rect">
              <a:avLst/>
            </a:prstGeom>
            <a:noFill/>
            <a:ln>
              <a:noFill/>
            </a:ln>
          </p:spPr>
        </p:pic>
      </p:grpSp>
      <p:grpSp>
        <p:nvGrpSpPr>
          <p:cNvPr id="14" name="Google Shape;785;p184">
            <a:extLst>
              <a:ext uri="{FF2B5EF4-FFF2-40B4-BE49-F238E27FC236}">
                <a16:creationId xmlns:a16="http://schemas.microsoft.com/office/drawing/2014/main" id="{21103997-A9D4-FB48-8C19-60BEC56605D9}"/>
              </a:ext>
            </a:extLst>
          </p:cNvPr>
          <p:cNvGrpSpPr/>
          <p:nvPr userDrawn="1"/>
        </p:nvGrpSpPr>
        <p:grpSpPr>
          <a:xfrm>
            <a:off x="5432049" y="4463632"/>
            <a:ext cx="407200" cy="406800"/>
            <a:chOff x="3970041" y="3161115"/>
            <a:chExt cx="305400" cy="305100"/>
          </a:xfrm>
        </p:grpSpPr>
        <p:sp>
          <p:nvSpPr>
            <p:cNvPr id="15" name="Google Shape;786;p184">
              <a:extLst>
                <a:ext uri="{FF2B5EF4-FFF2-40B4-BE49-F238E27FC236}">
                  <a16:creationId xmlns:a16="http://schemas.microsoft.com/office/drawing/2014/main" id="{4336F039-A6FA-CE4E-9201-8611711A4561}"/>
                </a:ext>
              </a:extLst>
            </p:cNvPr>
            <p:cNvSpPr/>
            <p:nvPr/>
          </p:nvSpPr>
          <p:spPr>
            <a:xfrm>
              <a:off x="3970041" y="3161115"/>
              <a:ext cx="305400" cy="305100"/>
            </a:xfrm>
            <a:prstGeom prst="ellipse">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pic>
          <p:nvPicPr>
            <p:cNvPr id="16" name="Google Shape;787;p184">
              <a:extLst>
                <a:ext uri="{FF2B5EF4-FFF2-40B4-BE49-F238E27FC236}">
                  <a16:creationId xmlns:a16="http://schemas.microsoft.com/office/drawing/2014/main" id="{477FE869-74E3-C648-9F72-ECD88145870A}"/>
                </a:ext>
              </a:extLst>
            </p:cNvPr>
            <p:cNvPicPr preferRelativeResize="0"/>
            <p:nvPr/>
          </p:nvPicPr>
          <p:blipFill rotWithShape="1">
            <a:blip r:embed="rId5">
              <a:alphaModFix/>
            </a:blip>
            <a:srcRect/>
            <a:stretch/>
          </p:blipFill>
          <p:spPr>
            <a:xfrm>
              <a:off x="4073120" y="3249384"/>
              <a:ext cx="99041" cy="128424"/>
            </a:xfrm>
            <a:prstGeom prst="rect">
              <a:avLst/>
            </a:prstGeom>
            <a:noFill/>
            <a:ln>
              <a:noFill/>
            </a:ln>
          </p:spPr>
        </p:pic>
      </p:grpSp>
      <p:sp>
        <p:nvSpPr>
          <p:cNvPr id="20" name="Google Shape;775;p184">
            <a:extLst>
              <a:ext uri="{FF2B5EF4-FFF2-40B4-BE49-F238E27FC236}">
                <a16:creationId xmlns:a16="http://schemas.microsoft.com/office/drawing/2014/main" id="{1F96B0EF-5BA5-BC40-B6CA-0097F15501B5}"/>
              </a:ext>
            </a:extLst>
          </p:cNvPr>
          <p:cNvSpPr txBox="1">
            <a:spLocks noGrp="1"/>
          </p:cNvSpPr>
          <p:nvPr>
            <p:ph type="body" idx="1"/>
          </p:nvPr>
        </p:nvSpPr>
        <p:spPr>
          <a:xfrm>
            <a:off x="6186316" y="2154512"/>
            <a:ext cx="3864400" cy="377600"/>
          </a:xfrm>
          <a:prstGeom prst="rect">
            <a:avLst/>
          </a:prstGeom>
          <a:noFill/>
          <a:ln>
            <a:noFill/>
          </a:ln>
        </p:spPr>
        <p:txBody>
          <a:bodyPr spcFirstLastPara="1" wrap="square" lIns="0" tIns="0" rIns="0" bIns="0" anchor="ctr" anchorCtr="0">
            <a:noAutofit/>
          </a:bodyPr>
          <a:lstStyle>
            <a:lvl1pPr>
              <a:defRPr sz="2133" b="0" i="0">
                <a:solidFill>
                  <a:schemeClr val="tx1"/>
                </a:solidFill>
                <a:latin typeface="CiscoSansTT ExtraLight" panose="020B0303020201020303" pitchFamily="34" charset="0"/>
                <a:cs typeface="CiscoSansTT ExtraLight" panose="020B0303020201020303" pitchFamily="34" charset="0"/>
              </a:defRPr>
            </a:lvl1pPr>
          </a:lstStyle>
          <a:p>
            <a:pPr marL="0" lvl="0" indent="0" algn="l" rtl="0">
              <a:lnSpc>
                <a:spcPct val="100000"/>
              </a:lnSpc>
              <a:spcBef>
                <a:spcPts val="0"/>
              </a:spcBef>
              <a:spcAft>
                <a:spcPts val="0"/>
              </a:spcAft>
              <a:buSzPts val="800"/>
              <a:buNone/>
            </a:pPr>
            <a:endParaRPr sz="2133">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21" name="Google Shape;779;p184">
            <a:extLst>
              <a:ext uri="{FF2B5EF4-FFF2-40B4-BE49-F238E27FC236}">
                <a16:creationId xmlns:a16="http://schemas.microsoft.com/office/drawing/2014/main" id="{2FAC391D-7651-9E42-AD70-5EC4CC6B6045}"/>
              </a:ext>
            </a:extLst>
          </p:cNvPr>
          <p:cNvSpPr txBox="1">
            <a:spLocks noGrp="1"/>
          </p:cNvSpPr>
          <p:nvPr>
            <p:ph type="body" idx="2"/>
          </p:nvPr>
        </p:nvSpPr>
        <p:spPr>
          <a:xfrm>
            <a:off x="6186316" y="2929851"/>
            <a:ext cx="3864400" cy="377600"/>
          </a:xfrm>
          <a:prstGeom prst="rect">
            <a:avLst/>
          </a:prstGeom>
          <a:noFill/>
          <a:ln>
            <a:noFill/>
          </a:ln>
        </p:spPr>
        <p:txBody>
          <a:bodyPr spcFirstLastPara="1" wrap="square" lIns="0" tIns="0" rIns="0" bIns="0" anchor="ctr" anchorCtr="0">
            <a:noAutofit/>
          </a:bodyPr>
          <a:lstStyle>
            <a:lvl1pPr>
              <a:defRPr sz="2133" b="0" i="0">
                <a:solidFill>
                  <a:schemeClr val="tx1"/>
                </a:solidFill>
                <a:latin typeface="CiscoSansTT ExtraLight" panose="020B0303020201020303" pitchFamily="34" charset="0"/>
                <a:cs typeface="CiscoSansTT ExtraLight" panose="020B0303020201020303" pitchFamily="34" charset="0"/>
              </a:defRPr>
            </a:lvl1pPr>
          </a:lstStyle>
          <a:p>
            <a:pPr marL="0" lvl="0" indent="0" algn="l" rtl="0">
              <a:lnSpc>
                <a:spcPct val="100000"/>
              </a:lnSpc>
              <a:spcBef>
                <a:spcPts val="0"/>
              </a:spcBef>
              <a:spcAft>
                <a:spcPts val="0"/>
              </a:spcAft>
              <a:buSzPts val="800"/>
              <a:buNone/>
            </a:pPr>
            <a:endParaRPr sz="2133">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22" name="Google Shape;783;p184">
            <a:extLst>
              <a:ext uri="{FF2B5EF4-FFF2-40B4-BE49-F238E27FC236}">
                <a16:creationId xmlns:a16="http://schemas.microsoft.com/office/drawing/2014/main" id="{CDD9A77B-7D9C-E74D-80C6-8F466DAA4D24}"/>
              </a:ext>
            </a:extLst>
          </p:cNvPr>
          <p:cNvSpPr txBox="1">
            <a:spLocks noGrp="1"/>
          </p:cNvSpPr>
          <p:nvPr>
            <p:ph type="body" idx="3"/>
          </p:nvPr>
        </p:nvSpPr>
        <p:spPr>
          <a:xfrm>
            <a:off x="6186316" y="3707521"/>
            <a:ext cx="3864400" cy="377600"/>
          </a:xfrm>
          <a:prstGeom prst="rect">
            <a:avLst/>
          </a:prstGeom>
          <a:noFill/>
          <a:ln>
            <a:noFill/>
          </a:ln>
        </p:spPr>
        <p:txBody>
          <a:bodyPr spcFirstLastPara="1" wrap="square" lIns="0" tIns="0" rIns="0" bIns="0" anchor="ctr" anchorCtr="0">
            <a:noAutofit/>
          </a:bodyPr>
          <a:lstStyle>
            <a:lvl1pPr>
              <a:defRPr sz="2133" b="0" i="0">
                <a:solidFill>
                  <a:schemeClr val="tx1"/>
                </a:solidFill>
                <a:latin typeface="CiscoSansTT ExtraLight" panose="020B0303020201020303" pitchFamily="34" charset="0"/>
                <a:cs typeface="CiscoSansTT ExtraLight" panose="020B0303020201020303" pitchFamily="34" charset="0"/>
              </a:defRPr>
            </a:lvl1pPr>
          </a:lstStyle>
          <a:p>
            <a:pPr marL="0" lvl="0" indent="0" algn="l" rtl="0">
              <a:lnSpc>
                <a:spcPct val="100000"/>
              </a:lnSpc>
              <a:spcBef>
                <a:spcPts val="0"/>
              </a:spcBef>
              <a:spcAft>
                <a:spcPts val="0"/>
              </a:spcAft>
              <a:buSzPts val="800"/>
              <a:buNone/>
            </a:pPr>
            <a:endParaRPr sz="2133">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23" name="Google Shape;784;p184">
            <a:extLst>
              <a:ext uri="{FF2B5EF4-FFF2-40B4-BE49-F238E27FC236}">
                <a16:creationId xmlns:a16="http://schemas.microsoft.com/office/drawing/2014/main" id="{B052B460-E61C-054F-AF5D-07E563AA7526}"/>
              </a:ext>
            </a:extLst>
          </p:cNvPr>
          <p:cNvSpPr txBox="1">
            <a:spLocks noGrp="1"/>
          </p:cNvSpPr>
          <p:nvPr>
            <p:ph type="body" idx="4"/>
          </p:nvPr>
        </p:nvSpPr>
        <p:spPr>
          <a:xfrm>
            <a:off x="6186316" y="4478228"/>
            <a:ext cx="3864400" cy="377600"/>
          </a:xfrm>
          <a:prstGeom prst="rect">
            <a:avLst/>
          </a:prstGeom>
          <a:noFill/>
          <a:ln>
            <a:noFill/>
          </a:ln>
        </p:spPr>
        <p:txBody>
          <a:bodyPr spcFirstLastPara="1" wrap="square" lIns="0" tIns="0" rIns="0" bIns="0" anchor="ctr" anchorCtr="0">
            <a:noAutofit/>
          </a:bodyPr>
          <a:lstStyle>
            <a:lvl1pPr>
              <a:defRPr sz="2133" b="0" i="0">
                <a:solidFill>
                  <a:schemeClr val="tx1"/>
                </a:solidFill>
                <a:latin typeface="CiscoSansTT ExtraLight" panose="020B0303020201020303" pitchFamily="34" charset="0"/>
                <a:cs typeface="CiscoSansTT ExtraLight" panose="020B0303020201020303" pitchFamily="34" charset="0"/>
              </a:defRPr>
            </a:lvl1pPr>
          </a:lstStyle>
          <a:p>
            <a:pPr marL="0" lvl="0" indent="0" algn="l" rtl="0">
              <a:lnSpc>
                <a:spcPct val="100000"/>
              </a:lnSpc>
              <a:spcBef>
                <a:spcPts val="0"/>
              </a:spcBef>
              <a:spcAft>
                <a:spcPts val="0"/>
              </a:spcAft>
              <a:buSzPts val="800"/>
              <a:buNone/>
            </a:pPr>
            <a:endParaRPr sz="2133">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26" name="Google Shape;784;p184">
            <a:extLst>
              <a:ext uri="{FF2B5EF4-FFF2-40B4-BE49-F238E27FC236}">
                <a16:creationId xmlns:a16="http://schemas.microsoft.com/office/drawing/2014/main" id="{B4C8CF3B-7A8D-9540-8152-EE4B85686AD8}"/>
              </a:ext>
            </a:extLst>
          </p:cNvPr>
          <p:cNvSpPr txBox="1">
            <a:spLocks noGrp="1"/>
          </p:cNvSpPr>
          <p:nvPr>
            <p:ph type="body" idx="10"/>
          </p:nvPr>
        </p:nvSpPr>
        <p:spPr>
          <a:xfrm>
            <a:off x="6186316" y="5258813"/>
            <a:ext cx="3864400" cy="377600"/>
          </a:xfrm>
          <a:prstGeom prst="rect">
            <a:avLst/>
          </a:prstGeom>
          <a:noFill/>
          <a:ln>
            <a:noFill/>
          </a:ln>
        </p:spPr>
        <p:txBody>
          <a:bodyPr spcFirstLastPara="1" wrap="square" lIns="0" tIns="0" rIns="0" bIns="0" anchor="ctr" anchorCtr="0">
            <a:noAutofit/>
          </a:bodyPr>
          <a:lstStyle>
            <a:lvl1pPr>
              <a:defRPr sz="2133" b="0" i="0">
                <a:solidFill>
                  <a:schemeClr val="tx1"/>
                </a:solidFill>
                <a:latin typeface="CiscoSansTT ExtraLight" panose="020B0303020201020303" pitchFamily="34" charset="0"/>
                <a:cs typeface="CiscoSansTT ExtraLight" panose="020B0303020201020303" pitchFamily="34" charset="0"/>
              </a:defRPr>
            </a:lvl1pPr>
          </a:lstStyle>
          <a:p>
            <a:pPr marL="0" lvl="0" indent="0" algn="l" rtl="0">
              <a:lnSpc>
                <a:spcPct val="100000"/>
              </a:lnSpc>
              <a:spcBef>
                <a:spcPts val="0"/>
              </a:spcBef>
              <a:spcAft>
                <a:spcPts val="0"/>
              </a:spcAft>
              <a:buSzPts val="800"/>
              <a:buNone/>
            </a:pPr>
            <a:endParaRPr sz="2133">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25" name="Text Placeholder 9">
            <a:extLst>
              <a:ext uri="{FF2B5EF4-FFF2-40B4-BE49-F238E27FC236}">
                <a16:creationId xmlns:a16="http://schemas.microsoft.com/office/drawing/2014/main" id="{DC2B1723-EA06-A14F-B25F-22730EA192F5}"/>
              </a:ext>
            </a:extLst>
          </p:cNvPr>
          <p:cNvSpPr>
            <a:spLocks noGrp="1"/>
          </p:cNvSpPr>
          <p:nvPr>
            <p:ph type="body" sz="quarter" idx="11" hasCustomPrompt="1"/>
          </p:nvPr>
        </p:nvSpPr>
        <p:spPr>
          <a:xfrm>
            <a:off x="617053" y="1408529"/>
            <a:ext cx="4015907" cy="1407584"/>
          </a:xfrm>
          <a:prstGeom prst="rect">
            <a:avLst/>
          </a:prstGeom>
        </p:spPr>
        <p:txBody>
          <a:bodyPr/>
          <a:lstStyle>
            <a:lvl1pPr>
              <a:defRPr sz="4800"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itle</a:t>
            </a:r>
            <a:endParaRPr lang="en-US"/>
          </a:p>
        </p:txBody>
      </p:sp>
    </p:spTree>
    <p:extLst>
      <p:ext uri="{BB962C8B-B14F-4D97-AF65-F5344CB8AC3E}">
        <p14:creationId xmlns:p14="http://schemas.microsoft.com/office/powerpoint/2010/main" val="13205180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72203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Title Top Centre">
  <p:cSld name="1_Title Top Centre">
    <p:spTree>
      <p:nvGrpSpPr>
        <p:cNvPr id="1" name="Shape 17"/>
        <p:cNvGrpSpPr/>
        <p:nvPr/>
      </p:nvGrpSpPr>
      <p:grpSpPr>
        <a:xfrm>
          <a:off x="0" y="0"/>
          <a:ext cx="0" cy="0"/>
          <a:chOff x="0" y="0"/>
          <a:chExt cx="0" cy="0"/>
        </a:xfrm>
      </p:grpSpPr>
      <p:sp>
        <p:nvSpPr>
          <p:cNvPr id="18" name="Google Shape;18;p3"/>
          <p:cNvSpPr txBox="1">
            <a:spLocks noGrp="1"/>
          </p:cNvSpPr>
          <p:nvPr>
            <p:ph type="body" idx="1"/>
          </p:nvPr>
        </p:nvSpPr>
        <p:spPr>
          <a:xfrm>
            <a:off x="719666" y="720000"/>
            <a:ext cx="10752668" cy="480000"/>
          </a:xfrm>
          <a:prstGeom prst="rect">
            <a:avLst/>
          </a:prstGeom>
          <a:noFill/>
          <a:ln>
            <a:noFill/>
          </a:ln>
        </p:spPr>
        <p:txBody>
          <a:bodyPr spcFirstLastPara="1" wrap="square" lIns="0" tIns="0" rIns="0" bIns="0" anchor="t" anchorCtr="0">
            <a:noAutofit/>
          </a:bodyPr>
          <a:lstStyle>
            <a:lvl1pPr marL="0" marR="0" lvl="0" indent="0" algn="ctr" rtl="0">
              <a:lnSpc>
                <a:spcPts val="4000"/>
              </a:lnSpc>
              <a:spcBef>
                <a:spcPts val="0"/>
              </a:spcBef>
              <a:spcAft>
                <a:spcPts val="0"/>
              </a:spcAft>
              <a:buSzPts val="1400"/>
              <a:buNone/>
              <a:defRPr sz="4000" b="0" i="0" u="none" strike="noStrike" cap="none">
                <a:solidFill>
                  <a:schemeClr val="tx1"/>
                </a:solidFill>
                <a:latin typeface="CiscoSansTT ExtraLight" panose="020B0303020201020303" pitchFamily="34" charset="0"/>
                <a:ea typeface="CiscoSansTT ExtraLight" panose="020B0303020201020303" pitchFamily="34" charset="0"/>
                <a:cs typeface="CiscoSansTT ExtraLight" panose="020B0303020201020303" pitchFamily="34" charset="0"/>
                <a:sym typeface="Arial"/>
              </a:defRPr>
            </a:lvl1pPr>
            <a:lvl2pPr marL="1219170" marR="0" lvl="1"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828754" marR="0" lvl="2"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2438339" marR="0" lvl="3"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3047924" marR="0" lvl="4"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3657509" marR="0" lvl="5"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pPr lvl="0"/>
            <a:r>
              <a:rPr lang="en-GB"/>
              <a:t>Click to edit Master text styles</a:t>
            </a:r>
          </a:p>
        </p:txBody>
      </p:sp>
    </p:spTree>
    <p:extLst>
      <p:ext uri="{BB962C8B-B14F-4D97-AF65-F5344CB8AC3E}">
        <p14:creationId xmlns:p14="http://schemas.microsoft.com/office/powerpoint/2010/main" val="22893249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Custom Layout" userDrawn="1">
  <p:cSld name="1_Custom Layout">
    <p:bg>
      <p:bgPr>
        <a:solidFill>
          <a:schemeClr val="dk2"/>
        </a:solidFill>
        <a:effectLst/>
      </p:bgPr>
    </p:bg>
    <p:spTree>
      <p:nvGrpSpPr>
        <p:cNvPr id="1" name="Shape 257"/>
        <p:cNvGrpSpPr/>
        <p:nvPr/>
      </p:nvGrpSpPr>
      <p:grpSpPr>
        <a:xfrm>
          <a:off x="0" y="0"/>
          <a:ext cx="0" cy="0"/>
          <a:chOff x="0" y="0"/>
          <a:chExt cx="0" cy="0"/>
        </a:xfrm>
      </p:grpSpPr>
      <p:sp>
        <p:nvSpPr>
          <p:cNvPr id="259" name="Google Shape;259;p28"/>
          <p:cNvSpPr/>
          <p:nvPr/>
        </p:nvSpPr>
        <p:spPr>
          <a:xfrm>
            <a:off x="-499767" y="-660533"/>
            <a:ext cx="1736800" cy="1736800"/>
          </a:xfrm>
          <a:prstGeom prst="ellipse">
            <a:avLst/>
          </a:prstGeom>
          <a:solidFill>
            <a:schemeClr val="accent1"/>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6" name="Google Shape;260;p28">
            <a:extLst>
              <a:ext uri="{FF2B5EF4-FFF2-40B4-BE49-F238E27FC236}">
                <a16:creationId xmlns:a16="http://schemas.microsoft.com/office/drawing/2014/main" id="{A5C521EF-E9CA-5D47-982D-88E9F32F9263}"/>
              </a:ext>
            </a:extLst>
          </p:cNvPr>
          <p:cNvSpPr/>
          <p:nvPr userDrawn="1"/>
        </p:nvSpPr>
        <p:spPr>
          <a:xfrm>
            <a:off x="562043" y="6386633"/>
            <a:ext cx="3997624" cy="240000"/>
          </a:xfrm>
          <a:prstGeom prst="rect">
            <a:avLst/>
          </a:prstGeom>
          <a:solidFill>
            <a:schemeClr val="dk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Arial"/>
              <a:ea typeface="Arial"/>
              <a:cs typeface="Arial"/>
              <a:sym typeface="Arial"/>
            </a:endParaRPr>
          </a:p>
        </p:txBody>
      </p:sp>
      <p:sp>
        <p:nvSpPr>
          <p:cNvPr id="7" name="Google Shape;256;p27">
            <a:extLst>
              <a:ext uri="{FF2B5EF4-FFF2-40B4-BE49-F238E27FC236}">
                <a16:creationId xmlns:a16="http://schemas.microsoft.com/office/drawing/2014/main" id="{C9370674-3A75-D145-A176-6F7DFFA42EE0}"/>
              </a:ext>
            </a:extLst>
          </p:cNvPr>
          <p:cNvSpPr txBox="1">
            <a:spLocks noGrp="1"/>
          </p:cNvSpPr>
          <p:nvPr>
            <p:ph type="body" idx="2"/>
          </p:nvPr>
        </p:nvSpPr>
        <p:spPr>
          <a:xfrm>
            <a:off x="720000" y="2208001"/>
            <a:ext cx="7200000" cy="1223999"/>
          </a:xfrm>
          <a:prstGeom prst="rect">
            <a:avLst/>
          </a:prstGeom>
          <a:noFill/>
          <a:ln>
            <a:noFill/>
          </a:ln>
        </p:spPr>
        <p:txBody>
          <a:bodyPr spcFirstLastPara="1" wrap="square" lIns="0" tIns="0" rIns="0" bIns="0" anchor="t" anchorCtr="0">
            <a:noAutofit/>
          </a:bodyPr>
          <a:lstStyle>
            <a:lvl1pPr marL="0" marR="0" lvl="0" indent="0" algn="l" rtl="0">
              <a:lnSpc>
                <a:spcPts val="3467"/>
              </a:lnSpc>
              <a:spcBef>
                <a:spcPts val="0"/>
              </a:spcBef>
              <a:spcAft>
                <a:spcPts val="0"/>
              </a:spcAft>
              <a:buSzPts val="1400"/>
              <a:buNone/>
              <a:defRPr sz="3200" b="0" i="0" u="none" strike="noStrike" cap="none">
                <a:solidFill>
                  <a:schemeClr val="lt1"/>
                </a:solidFill>
                <a:latin typeface="CiscoSansTT ExtraLight" panose="020B0303020201020303" pitchFamily="34" charset="0"/>
                <a:ea typeface="CiscoSansTT ExtraLight" panose="020B0303020201020303" pitchFamily="34" charset="0"/>
                <a:cs typeface="CiscoSansTT ExtraLight" panose="020B0303020201020303" pitchFamily="34" charset="0"/>
                <a:sym typeface="Arial"/>
              </a:defRPr>
            </a:lvl1pPr>
            <a:lvl2pPr marL="1219170" marR="0" lvl="1"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828754" marR="0" lvl="2"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2438339" marR="0" lvl="3"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3047924" marR="0" lvl="4"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3657509" marR="0" lvl="5"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pPr lvl="0"/>
            <a:r>
              <a:rPr lang="en-GB"/>
              <a:t>Click to edit Master text styles</a:t>
            </a:r>
          </a:p>
        </p:txBody>
      </p:sp>
      <p:sp>
        <p:nvSpPr>
          <p:cNvPr id="9" name="Google Shape;533;p53">
            <a:extLst>
              <a:ext uri="{FF2B5EF4-FFF2-40B4-BE49-F238E27FC236}">
                <a16:creationId xmlns:a16="http://schemas.microsoft.com/office/drawing/2014/main" id="{A7C089D6-ECB1-CC4A-82DD-0818584B75AC}"/>
              </a:ext>
            </a:extLst>
          </p:cNvPr>
          <p:cNvSpPr/>
          <p:nvPr userDrawn="1"/>
        </p:nvSpPr>
        <p:spPr>
          <a:xfrm>
            <a:off x="10915033" y="5691500"/>
            <a:ext cx="1671600" cy="1671600"/>
          </a:xfrm>
          <a:prstGeom prst="ellipse">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8213610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Half_Page_Blue_Blank">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2"/>
                </a:solidFill>
                <a:latin typeface="+mj-lt"/>
                <a:ea typeface="ＭＳ Ｐゴシック" charset="0"/>
                <a:cs typeface="Tipo de letra del sistema Fina" charset="0"/>
              </a:defRPr>
            </a:lvl1pPr>
          </a:lstStyle>
          <a:p>
            <a:pPr lvl="0"/>
            <a:r>
              <a:rPr lang="en-GB"/>
              <a:t>Click to edit Master title style</a:t>
            </a:r>
          </a:p>
        </p:txBody>
      </p:sp>
    </p:spTree>
    <p:extLst>
      <p:ext uri="{BB962C8B-B14F-4D97-AF65-F5344CB8AC3E}">
        <p14:creationId xmlns:p14="http://schemas.microsoft.com/office/powerpoint/2010/main" val="13637155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orient="horz" pos="2193">
          <p15:clr>
            <a:srgbClr val="FBAE40"/>
          </p15:clr>
        </p15:guide>
        <p15:guide id="3" pos="2675">
          <p15:clr>
            <a:srgbClr val="FBAE40"/>
          </p15:clr>
        </p15:guide>
        <p15:guide id="4" pos="320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57" name="Date Placeholder 56"/>
          <p:cNvSpPr>
            <a:spLocks noGrp="1"/>
          </p:cNvSpPr>
          <p:nvPr>
            <p:ph type="dt" sz="half" idx="14"/>
          </p:nvPr>
        </p:nvSpPr>
        <p:spPr>
          <a:xfrm>
            <a:off x="9677401" y="6405036"/>
            <a:ext cx="1482051" cy="153888"/>
          </a:xfrm>
          <a:prstGeom prst="rect">
            <a:avLst/>
          </a:prstGeom>
        </p:spPr>
        <p:txBody>
          <a:bodyPr/>
          <a:lstStyle>
            <a:lvl1pPr>
              <a:defRPr>
                <a:solidFill>
                  <a:schemeClr val="bg1">
                    <a:lumMod val="50000"/>
                  </a:schemeClr>
                </a:solidFill>
                <a:latin typeface="CiscoSansTT ExtraLight" panose="020B0303020201020303" pitchFamily="34" charset="0"/>
                <a:sym typeface="CiscoSansTT ExtraLight" panose="020B0303020201020303" pitchFamily="34" charset="0"/>
              </a:defRPr>
            </a:lvl1pPr>
          </a:lstStyle>
          <a:p>
            <a:pPr defTabSz="609585" fontAlgn="base">
              <a:spcBef>
                <a:spcPct val="0"/>
              </a:spcBef>
              <a:spcAft>
                <a:spcPct val="0"/>
              </a:spcAft>
              <a:defRPr/>
            </a:pPr>
            <a:endParaRPr lang="en-US" sz="2400">
              <a:solidFill>
                <a:srgbClr val="005073">
                  <a:lumMod val="50000"/>
                </a:srgbClr>
              </a:solidFill>
              <a:ea typeface="ＭＳ Ｐゴシック" charset="0"/>
            </a:endParaRPr>
          </a:p>
        </p:txBody>
      </p:sp>
      <p:sp>
        <p:nvSpPr>
          <p:cNvPr id="8" name="Title 7"/>
          <p:cNvSpPr>
            <a:spLocks noGrp="1"/>
          </p:cNvSpPr>
          <p:nvPr>
            <p:ph type="title" hasCustomPrompt="1"/>
          </p:nvPr>
        </p:nvSpPr>
        <p:spPr>
          <a:xfrm>
            <a:off x="630001" y="622802"/>
            <a:ext cx="10933351" cy="332399"/>
          </a:xfrm>
        </p:spPr>
        <p:txBody>
          <a:bodyPr/>
          <a:lstStyle>
            <a:lvl1pPr>
              <a:defRPr>
                <a:solidFill>
                  <a:srgbClr val="005073"/>
                </a:solidFill>
                <a:latin typeface="CiscoSansTT ExtraLight" panose="020B0303020201020303" pitchFamily="34" charset="0"/>
                <a:sym typeface="CiscoSansTT ExtraLight" panose="020B0303020201020303" pitchFamily="34" charset="0"/>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marL="0" marR="0" lvl="0" indent="0" algn="l" defTabSz="609585" rtl="0" eaLnBrk="1" fontAlgn="base" latinLnBrk="0" hangingPunct="1">
              <a:lnSpc>
                <a:spcPct val="90000"/>
              </a:lnSpc>
              <a:spcBef>
                <a:spcPct val="0"/>
              </a:spcBef>
              <a:spcAft>
                <a:spcPts val="600"/>
              </a:spcAft>
              <a:buClrTx/>
              <a:buSzTx/>
              <a:buFontTx/>
              <a:buNone/>
              <a:tabLst/>
              <a:defRPr/>
            </a:pPr>
            <a:r>
              <a:rPr kumimoji="0" lang="en-US" sz="700" b="0" i="0" u="none" strike="noStrike" kern="1200" cap="none" spc="0" normalizeH="0" baseline="0" noProof="0">
                <a:ln>
                  <a:noFill/>
                </a:ln>
                <a:solidFill>
                  <a:srgbClr val="005073">
                    <a:lumMod val="50000"/>
                  </a:srgbClr>
                </a:solidFill>
                <a:effectLst/>
                <a:uLnTx/>
                <a:uFillTx/>
                <a:latin typeface="CiscoSansTT ExtraLight" panose="020B0303020201020303" pitchFamily="34" charset="0"/>
                <a:ea typeface="ＭＳ Ｐゴシック" charset="0"/>
                <a:sym typeface="CiscoSansTT ExtraLight" panose="020B0303020201020303" pitchFamily="34" charset="0"/>
              </a:rPr>
              <a:t>20181116 CMS leadership checkin v11.pptx</a:t>
            </a:r>
          </a:p>
        </p:txBody>
      </p:sp>
    </p:spTree>
    <p:extLst>
      <p:ext uri="{BB962C8B-B14F-4D97-AF65-F5344CB8AC3E}">
        <p14:creationId xmlns:p14="http://schemas.microsoft.com/office/powerpoint/2010/main" val="1077409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C5D90D-C184-C74D-AF5F-9BC4CEEFC13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547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Bullet_Title only">
  <p:cSld name="Bullet_Title only">
    <p:spTree>
      <p:nvGrpSpPr>
        <p:cNvPr id="1" name="Shape 24"/>
        <p:cNvGrpSpPr/>
        <p:nvPr/>
      </p:nvGrpSpPr>
      <p:grpSpPr>
        <a:xfrm>
          <a:off x="0" y="0"/>
          <a:ext cx="0" cy="0"/>
          <a:chOff x="0" y="0"/>
          <a:chExt cx="0" cy="0"/>
        </a:xfrm>
      </p:grpSpPr>
      <p:sp>
        <p:nvSpPr>
          <p:cNvPr id="25" name="Google Shape;25;p6"/>
          <p:cNvSpPr txBox="1">
            <a:spLocks noGrp="1"/>
          </p:cNvSpPr>
          <p:nvPr>
            <p:ph type="title"/>
          </p:nvPr>
        </p:nvSpPr>
        <p:spPr>
          <a:xfrm>
            <a:off x="583688" y="455085"/>
            <a:ext cx="11127317" cy="975783"/>
          </a:xfrm>
          <a:prstGeom prst="rect">
            <a:avLst/>
          </a:prstGeom>
          <a:noFill/>
          <a:ln>
            <a:noFill/>
          </a:ln>
        </p:spPr>
        <p:txBody>
          <a:bodyPr spcFirstLastPara="1" wrap="square" lIns="91400" tIns="45700" rIns="91400" bIns="45700" anchor="ctr" anchorCtr="0">
            <a:noAutofit/>
          </a:bodyPr>
          <a:lstStyle>
            <a:lvl1pPr lvl="0" algn="l">
              <a:lnSpc>
                <a:spcPct val="80000"/>
              </a:lnSpc>
              <a:spcBef>
                <a:spcPts val="0"/>
              </a:spcBef>
              <a:spcAft>
                <a:spcPts val="0"/>
              </a:spcAft>
              <a:buSzPts val="1400"/>
              <a:buNone/>
              <a:defRPr sz="3733" b="0" i="0">
                <a:solidFill>
                  <a:schemeClr val="dk2"/>
                </a:solidFill>
                <a:latin typeface="CiscoSansTT ExtraLight" panose="020B0303020201020303" pitchFamily="34" charset="0"/>
                <a:cs typeface="CiscoSansTT ExtraLight" panose="020B0303020201020303" pitchFamily="34" charset="0"/>
              </a:defRPr>
            </a:lvl1pPr>
            <a:lvl2pPr lvl="1" algn="l">
              <a:lnSpc>
                <a:spcPct val="80000"/>
              </a:lnSpc>
              <a:spcBef>
                <a:spcPts val="0"/>
              </a:spcBef>
              <a:spcAft>
                <a:spcPts val="0"/>
              </a:spcAft>
              <a:buSzPts val="1400"/>
              <a:buNone/>
              <a:defRPr/>
            </a:lvl2pPr>
            <a:lvl3pPr lvl="2" algn="l">
              <a:lnSpc>
                <a:spcPct val="80000"/>
              </a:lnSpc>
              <a:spcBef>
                <a:spcPts val="0"/>
              </a:spcBef>
              <a:spcAft>
                <a:spcPts val="0"/>
              </a:spcAft>
              <a:buSzPts val="1400"/>
              <a:buNone/>
              <a:defRPr/>
            </a:lvl3pPr>
            <a:lvl4pPr lvl="3" algn="l">
              <a:lnSpc>
                <a:spcPct val="80000"/>
              </a:lnSpc>
              <a:spcBef>
                <a:spcPts val="0"/>
              </a:spcBef>
              <a:spcAft>
                <a:spcPts val="0"/>
              </a:spcAft>
              <a:buSzPts val="1400"/>
              <a:buNone/>
              <a:defRPr/>
            </a:lvl4pPr>
            <a:lvl5pPr lvl="4" algn="l">
              <a:lnSpc>
                <a:spcPct val="80000"/>
              </a:lnSpc>
              <a:spcBef>
                <a:spcPts val="0"/>
              </a:spcBef>
              <a:spcAft>
                <a:spcPts val="0"/>
              </a:spcAft>
              <a:buSzPts val="1400"/>
              <a:buNone/>
              <a:defRPr/>
            </a:lvl5pPr>
            <a:lvl6pPr lvl="5" algn="l">
              <a:lnSpc>
                <a:spcPct val="80000"/>
              </a:lnSpc>
              <a:spcBef>
                <a:spcPts val="0"/>
              </a:spcBef>
              <a:spcAft>
                <a:spcPts val="0"/>
              </a:spcAft>
              <a:buSzPts val="1400"/>
              <a:buNone/>
              <a:defRPr/>
            </a:lvl6pPr>
            <a:lvl7pPr lvl="6" algn="l">
              <a:lnSpc>
                <a:spcPct val="80000"/>
              </a:lnSpc>
              <a:spcBef>
                <a:spcPts val="0"/>
              </a:spcBef>
              <a:spcAft>
                <a:spcPts val="0"/>
              </a:spcAft>
              <a:buSzPts val="1400"/>
              <a:buNone/>
              <a:defRPr/>
            </a:lvl7pPr>
            <a:lvl8pPr lvl="7" algn="l">
              <a:lnSpc>
                <a:spcPct val="80000"/>
              </a:lnSpc>
              <a:spcBef>
                <a:spcPts val="0"/>
              </a:spcBef>
              <a:spcAft>
                <a:spcPts val="0"/>
              </a:spcAft>
              <a:buSzPts val="1400"/>
              <a:buNone/>
              <a:defRPr/>
            </a:lvl8pPr>
            <a:lvl9pPr lvl="8" algn="l">
              <a:lnSpc>
                <a:spcPct val="8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944990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Custom Layout" userDrawn="1">
  <p:cSld name="1_Custom Layout">
    <p:bg>
      <p:bgPr>
        <a:solidFill>
          <a:schemeClr val="dk2"/>
        </a:solidFill>
        <a:effectLst/>
      </p:bgPr>
    </p:bg>
    <p:spTree>
      <p:nvGrpSpPr>
        <p:cNvPr id="1" name="Shape 257"/>
        <p:cNvGrpSpPr/>
        <p:nvPr/>
      </p:nvGrpSpPr>
      <p:grpSpPr>
        <a:xfrm>
          <a:off x="0" y="0"/>
          <a:ext cx="0" cy="0"/>
          <a:chOff x="0" y="0"/>
          <a:chExt cx="0" cy="0"/>
        </a:xfrm>
      </p:grpSpPr>
      <p:sp>
        <p:nvSpPr>
          <p:cNvPr id="259" name="Google Shape;259;p28"/>
          <p:cNvSpPr/>
          <p:nvPr/>
        </p:nvSpPr>
        <p:spPr>
          <a:xfrm>
            <a:off x="-499767" y="-660533"/>
            <a:ext cx="1736800" cy="1736800"/>
          </a:xfrm>
          <a:prstGeom prst="ellipse">
            <a:avLst/>
          </a:prstGeom>
          <a:solidFill>
            <a:schemeClr val="accent1"/>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6" name="Google Shape;260;p28">
            <a:extLst>
              <a:ext uri="{FF2B5EF4-FFF2-40B4-BE49-F238E27FC236}">
                <a16:creationId xmlns:a16="http://schemas.microsoft.com/office/drawing/2014/main" id="{A5C521EF-E9CA-5D47-982D-88E9F32F9263}"/>
              </a:ext>
            </a:extLst>
          </p:cNvPr>
          <p:cNvSpPr/>
          <p:nvPr userDrawn="1"/>
        </p:nvSpPr>
        <p:spPr>
          <a:xfrm>
            <a:off x="562043" y="6386633"/>
            <a:ext cx="3997624" cy="240000"/>
          </a:xfrm>
          <a:prstGeom prst="rect">
            <a:avLst/>
          </a:prstGeom>
          <a:solidFill>
            <a:schemeClr val="dk2"/>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Arial"/>
              <a:ea typeface="Arial"/>
              <a:cs typeface="Arial"/>
              <a:sym typeface="Arial"/>
            </a:endParaRPr>
          </a:p>
        </p:txBody>
      </p:sp>
      <p:sp>
        <p:nvSpPr>
          <p:cNvPr id="7" name="Google Shape;256;p27">
            <a:extLst>
              <a:ext uri="{FF2B5EF4-FFF2-40B4-BE49-F238E27FC236}">
                <a16:creationId xmlns:a16="http://schemas.microsoft.com/office/drawing/2014/main" id="{C9370674-3A75-D145-A176-6F7DFFA42EE0}"/>
              </a:ext>
            </a:extLst>
          </p:cNvPr>
          <p:cNvSpPr txBox="1">
            <a:spLocks noGrp="1"/>
          </p:cNvSpPr>
          <p:nvPr>
            <p:ph type="body" idx="2"/>
          </p:nvPr>
        </p:nvSpPr>
        <p:spPr>
          <a:xfrm>
            <a:off x="720000" y="2208001"/>
            <a:ext cx="4320000" cy="1223999"/>
          </a:xfrm>
          <a:prstGeom prst="rect">
            <a:avLst/>
          </a:prstGeom>
          <a:noFill/>
          <a:ln>
            <a:noFill/>
          </a:ln>
        </p:spPr>
        <p:txBody>
          <a:bodyPr spcFirstLastPara="1" wrap="square" lIns="0" tIns="0" rIns="0" bIns="0" anchor="t" anchorCtr="0">
            <a:noAutofit/>
          </a:bodyPr>
          <a:lstStyle>
            <a:lvl1pPr marL="0" marR="0" lvl="0" indent="0" algn="l" rtl="0">
              <a:lnSpc>
                <a:spcPts val="4800"/>
              </a:lnSpc>
              <a:spcBef>
                <a:spcPts val="0"/>
              </a:spcBef>
              <a:spcAft>
                <a:spcPts val="0"/>
              </a:spcAft>
              <a:buSzPts val="1400"/>
              <a:buNone/>
              <a:defRPr sz="4800" b="0" i="0" u="none" strike="noStrike" cap="none">
                <a:solidFill>
                  <a:schemeClr val="lt1"/>
                </a:solidFill>
                <a:latin typeface="CiscoSansTT ExtraLight" panose="020B0303020201020303" pitchFamily="34" charset="0"/>
                <a:ea typeface="CiscoSansTT ExtraLight" panose="020B0303020201020303" pitchFamily="34" charset="0"/>
                <a:cs typeface="CiscoSansTT ExtraLight" panose="020B0303020201020303" pitchFamily="34" charset="0"/>
                <a:sym typeface="Arial"/>
              </a:defRPr>
            </a:lvl1pPr>
            <a:lvl2pPr marL="1219170" marR="0" lvl="1"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828754" marR="0" lvl="2"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2438339" marR="0" lvl="3"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3047924" marR="0" lvl="4"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3657509" marR="0" lvl="5"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pPr lvl="0"/>
            <a:r>
              <a:rPr lang="en-GB"/>
              <a:t>Click to edit Master text styles</a:t>
            </a:r>
          </a:p>
        </p:txBody>
      </p:sp>
      <p:sp>
        <p:nvSpPr>
          <p:cNvPr id="8" name="Google Shape;252;p27">
            <a:extLst>
              <a:ext uri="{FF2B5EF4-FFF2-40B4-BE49-F238E27FC236}">
                <a16:creationId xmlns:a16="http://schemas.microsoft.com/office/drawing/2014/main" id="{BBE22824-870A-614A-AA09-21D43BB123AC}"/>
              </a:ext>
            </a:extLst>
          </p:cNvPr>
          <p:cNvSpPr txBox="1">
            <a:spLocks noGrp="1"/>
          </p:cNvSpPr>
          <p:nvPr>
            <p:ph type="body" idx="1"/>
          </p:nvPr>
        </p:nvSpPr>
        <p:spPr>
          <a:xfrm>
            <a:off x="720000" y="1800000"/>
            <a:ext cx="4320000" cy="240000"/>
          </a:xfrm>
          <a:prstGeom prst="rect">
            <a:avLst/>
          </a:prstGeom>
          <a:noFill/>
          <a:ln>
            <a:noFill/>
          </a:ln>
        </p:spPr>
        <p:txBody>
          <a:bodyPr spcFirstLastPara="1" wrap="square" lIns="0" tIns="0" rIns="0" bIns="0" anchor="t" anchorCtr="0">
            <a:noAutofit/>
          </a:bodyPr>
          <a:lstStyle>
            <a:lvl1pPr marL="0" marR="0" lvl="0" indent="0" algn="l" rtl="0">
              <a:lnSpc>
                <a:spcPct val="100000"/>
              </a:lnSpc>
              <a:spcBef>
                <a:spcPts val="0"/>
              </a:spcBef>
              <a:spcAft>
                <a:spcPts val="0"/>
              </a:spcAft>
              <a:buSzPts val="1400"/>
              <a:buNone/>
              <a:defRPr sz="1600" b="0" i="0" u="none" strike="noStrike" cap="none">
                <a:solidFill>
                  <a:schemeClr val="lt1"/>
                </a:solidFill>
                <a:latin typeface="CiscoSansTT ExtraLight" panose="020B0303020201020303" pitchFamily="34" charset="0"/>
                <a:ea typeface="CiscoSansTT ExtraLight" panose="020B0303020201020303" pitchFamily="34" charset="0"/>
                <a:cs typeface="CiscoSansTT ExtraLight" panose="020B0303020201020303" pitchFamily="34" charset="0"/>
                <a:sym typeface="Arial"/>
              </a:defRPr>
            </a:lvl1pPr>
            <a:lvl2pPr marL="1219170" marR="0" lvl="1" indent="-304792" algn="l" rtl="0">
              <a:lnSpc>
                <a:spcPct val="100000"/>
              </a:lnSpc>
              <a:spcBef>
                <a:spcPts val="0"/>
              </a:spcBef>
              <a:spcAft>
                <a:spcPts val="0"/>
              </a:spcAft>
              <a:buSzPts val="1400"/>
              <a:buNone/>
              <a:defRPr sz="1600" b="0" i="0" u="none" strike="noStrike" cap="none">
                <a:solidFill>
                  <a:srgbClr val="000000"/>
                </a:solidFill>
                <a:latin typeface="Arial"/>
                <a:ea typeface="Arial"/>
                <a:cs typeface="Arial"/>
                <a:sym typeface="Arial"/>
              </a:defRPr>
            </a:lvl2pPr>
            <a:lvl3pPr marL="1828754" marR="0" lvl="2" indent="-304792" algn="l" rtl="0">
              <a:lnSpc>
                <a:spcPct val="100000"/>
              </a:lnSpc>
              <a:spcBef>
                <a:spcPts val="0"/>
              </a:spcBef>
              <a:spcAft>
                <a:spcPts val="0"/>
              </a:spcAft>
              <a:buSzPts val="1400"/>
              <a:buNone/>
              <a:defRPr sz="1600" b="0" i="0" u="none" strike="noStrike" cap="none">
                <a:solidFill>
                  <a:srgbClr val="000000"/>
                </a:solidFill>
                <a:latin typeface="Arial"/>
                <a:ea typeface="Arial"/>
                <a:cs typeface="Arial"/>
                <a:sym typeface="Arial"/>
              </a:defRPr>
            </a:lvl3pPr>
            <a:lvl4pPr marL="2438339" marR="0" lvl="3" indent="-304792" algn="l" rtl="0">
              <a:lnSpc>
                <a:spcPct val="100000"/>
              </a:lnSpc>
              <a:spcBef>
                <a:spcPts val="0"/>
              </a:spcBef>
              <a:spcAft>
                <a:spcPts val="0"/>
              </a:spcAft>
              <a:buSzPts val="1400"/>
              <a:buNone/>
              <a:defRPr sz="1600" b="0" i="0" u="none" strike="noStrike" cap="none">
                <a:solidFill>
                  <a:srgbClr val="000000"/>
                </a:solidFill>
                <a:latin typeface="Arial"/>
                <a:ea typeface="Arial"/>
                <a:cs typeface="Arial"/>
                <a:sym typeface="Arial"/>
              </a:defRPr>
            </a:lvl4pPr>
            <a:lvl5pPr marL="3047924" marR="0" lvl="4" indent="-304792" algn="l" rtl="0">
              <a:lnSpc>
                <a:spcPct val="100000"/>
              </a:lnSpc>
              <a:spcBef>
                <a:spcPts val="0"/>
              </a:spcBef>
              <a:spcAft>
                <a:spcPts val="0"/>
              </a:spcAft>
              <a:buSzPts val="1400"/>
              <a:buNone/>
              <a:defRPr sz="1600" b="0" i="0" u="none" strike="noStrike" cap="none">
                <a:solidFill>
                  <a:srgbClr val="000000"/>
                </a:solidFill>
                <a:latin typeface="Arial"/>
                <a:ea typeface="Arial"/>
                <a:cs typeface="Arial"/>
                <a:sym typeface="Arial"/>
              </a:defRPr>
            </a:lvl5pPr>
            <a:lvl6pPr marL="3657509" marR="0" lvl="5"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pPr lvl="0"/>
            <a:r>
              <a:rPr lang="en-GB"/>
              <a:t>Click to edit Master text styles</a:t>
            </a:r>
          </a:p>
        </p:txBody>
      </p:sp>
      <p:sp>
        <p:nvSpPr>
          <p:cNvPr id="9" name="Google Shape;533;p53">
            <a:extLst>
              <a:ext uri="{FF2B5EF4-FFF2-40B4-BE49-F238E27FC236}">
                <a16:creationId xmlns:a16="http://schemas.microsoft.com/office/drawing/2014/main" id="{A7C089D6-ECB1-CC4A-82DD-0818584B75AC}"/>
              </a:ext>
            </a:extLst>
          </p:cNvPr>
          <p:cNvSpPr/>
          <p:nvPr userDrawn="1"/>
        </p:nvSpPr>
        <p:spPr>
          <a:xfrm>
            <a:off x="10915033" y="5691500"/>
            <a:ext cx="1671600" cy="1671600"/>
          </a:xfrm>
          <a:prstGeom prst="ellipse">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9635654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Title Slide" userDrawn="1">
  <p:cSld name="1_Title Slide">
    <p:bg>
      <p:bgPr>
        <a:solidFill>
          <a:schemeClr val="lt2"/>
        </a:solidFill>
        <a:effectLst/>
      </p:bgPr>
    </p:bg>
    <p:spTree>
      <p:nvGrpSpPr>
        <p:cNvPr id="1" name="Shape 245"/>
        <p:cNvGrpSpPr/>
        <p:nvPr/>
      </p:nvGrpSpPr>
      <p:grpSpPr>
        <a:xfrm>
          <a:off x="0" y="0"/>
          <a:ext cx="0" cy="0"/>
          <a:chOff x="0" y="0"/>
          <a:chExt cx="0" cy="0"/>
        </a:xfrm>
      </p:grpSpPr>
      <p:pic>
        <p:nvPicPr>
          <p:cNvPr id="247" name="Google Shape;247;p26" descr="A close up of a sign&#10;&#10;Description automatically generated"/>
          <p:cNvPicPr preferRelativeResize="0"/>
          <p:nvPr/>
        </p:nvPicPr>
        <p:blipFill rotWithShape="1">
          <a:blip r:embed="rId2">
            <a:alphaModFix/>
          </a:blip>
          <a:srcRect/>
          <a:stretch/>
        </p:blipFill>
        <p:spPr>
          <a:xfrm>
            <a:off x="5129963" y="2310511"/>
            <a:ext cx="7680768" cy="5504549"/>
          </a:xfrm>
          <a:prstGeom prst="rect">
            <a:avLst/>
          </a:prstGeom>
          <a:noFill/>
          <a:ln>
            <a:noFill/>
          </a:ln>
        </p:spPr>
      </p:pic>
      <p:sp>
        <p:nvSpPr>
          <p:cNvPr id="248" name="Google Shape;248;p26"/>
          <p:cNvSpPr/>
          <p:nvPr/>
        </p:nvSpPr>
        <p:spPr>
          <a:xfrm>
            <a:off x="730522" y="661025"/>
            <a:ext cx="826145" cy="438900"/>
          </a:xfrm>
          <a:custGeom>
            <a:avLst/>
            <a:gdLst/>
            <a:ahLst/>
            <a:cxnLst/>
            <a:rect l="l" t="t" r="r" b="b"/>
            <a:pathLst>
              <a:path w="3456" h="1834" extrusionOk="0">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dk1"/>
          </a:solidFill>
          <a:ln>
            <a:noFill/>
          </a:ln>
        </p:spPr>
        <p:txBody>
          <a:bodyPr spcFirstLastPara="1" wrap="square" lIns="121900" tIns="60933" rIns="121900" bIns="60933"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chemeClr val="dk1"/>
              </a:solidFill>
              <a:latin typeface="Arial"/>
              <a:ea typeface="Arial"/>
              <a:cs typeface="Arial"/>
              <a:sym typeface="Arial"/>
            </a:endParaRPr>
          </a:p>
        </p:txBody>
      </p:sp>
      <p:sp>
        <p:nvSpPr>
          <p:cNvPr id="10" name="Google Shape;20;p4">
            <a:extLst>
              <a:ext uri="{FF2B5EF4-FFF2-40B4-BE49-F238E27FC236}">
                <a16:creationId xmlns:a16="http://schemas.microsoft.com/office/drawing/2014/main" id="{ADF83CA8-A12D-4E4E-8419-84F36DE8E5FD}"/>
              </a:ext>
            </a:extLst>
          </p:cNvPr>
          <p:cNvSpPr txBox="1">
            <a:spLocks noGrp="1"/>
          </p:cNvSpPr>
          <p:nvPr>
            <p:ph type="body" idx="1"/>
          </p:nvPr>
        </p:nvSpPr>
        <p:spPr>
          <a:xfrm>
            <a:off x="720001" y="4680000"/>
            <a:ext cx="4320000" cy="288000"/>
          </a:xfrm>
          <a:prstGeom prst="rect">
            <a:avLst/>
          </a:prstGeom>
          <a:noFill/>
          <a:ln>
            <a:noFill/>
          </a:ln>
        </p:spPr>
        <p:txBody>
          <a:bodyPr spcFirstLastPara="1" wrap="square" lIns="0" tIns="0" rIns="0" bIns="0" anchor="t" anchorCtr="0">
            <a:noAutofit/>
          </a:bodyPr>
          <a:lstStyle>
            <a:lvl1pPr marL="0" marR="0" lvl="0" indent="0" algn="l" rtl="0">
              <a:lnSpc>
                <a:spcPts val="1467"/>
              </a:lnSpc>
              <a:spcBef>
                <a:spcPts val="0"/>
              </a:spcBef>
              <a:spcAft>
                <a:spcPts val="0"/>
              </a:spcAft>
              <a:buSzPts val="1400"/>
              <a:buNone/>
              <a:defRPr sz="1467" b="0" i="0" u="none" strike="noStrike" cap="none">
                <a:solidFill>
                  <a:schemeClr val="tx1"/>
                </a:solidFill>
                <a:latin typeface="CiscoSansTT ExtraLight" panose="020B0303020201020303" pitchFamily="34" charset="0"/>
                <a:ea typeface="CiscoSansTT ExtraLight" panose="020B0303020201020303" pitchFamily="34" charset="0"/>
                <a:cs typeface="CiscoSansTT ExtraLight" panose="020B0303020201020303" pitchFamily="34" charset="0"/>
                <a:sym typeface="Arial"/>
              </a:defRPr>
            </a:lvl1pPr>
            <a:lvl2pPr marL="1219170" marR="0" lvl="1" indent="-304792" algn="l" rtl="0">
              <a:lnSpc>
                <a:spcPct val="100000"/>
              </a:lnSpc>
              <a:spcBef>
                <a:spcPts val="0"/>
              </a:spcBef>
              <a:spcAft>
                <a:spcPts val="0"/>
              </a:spcAft>
              <a:buSzPts val="1400"/>
              <a:buNone/>
              <a:defRPr sz="1467" b="0" i="0" u="none" strike="noStrike" cap="none">
                <a:solidFill>
                  <a:srgbClr val="000000"/>
                </a:solidFill>
                <a:latin typeface="Arial"/>
                <a:ea typeface="Arial"/>
                <a:cs typeface="Arial"/>
                <a:sym typeface="Arial"/>
              </a:defRPr>
            </a:lvl2pPr>
            <a:lvl3pPr marL="1828754" marR="0" lvl="2" indent="-304792" algn="l" rtl="0">
              <a:lnSpc>
                <a:spcPct val="100000"/>
              </a:lnSpc>
              <a:spcBef>
                <a:spcPts val="0"/>
              </a:spcBef>
              <a:spcAft>
                <a:spcPts val="0"/>
              </a:spcAft>
              <a:buSzPts val="1400"/>
              <a:buNone/>
              <a:defRPr sz="1467" b="0" i="0" u="none" strike="noStrike" cap="none">
                <a:solidFill>
                  <a:srgbClr val="000000"/>
                </a:solidFill>
                <a:latin typeface="Arial"/>
                <a:ea typeface="Arial"/>
                <a:cs typeface="Arial"/>
                <a:sym typeface="Arial"/>
              </a:defRPr>
            </a:lvl3pPr>
            <a:lvl4pPr marL="2438339" marR="0" lvl="3" indent="-304792" algn="l" rtl="0">
              <a:lnSpc>
                <a:spcPct val="100000"/>
              </a:lnSpc>
              <a:spcBef>
                <a:spcPts val="0"/>
              </a:spcBef>
              <a:spcAft>
                <a:spcPts val="0"/>
              </a:spcAft>
              <a:buSzPts val="1400"/>
              <a:buNone/>
              <a:defRPr sz="1467" b="0" i="0" u="none" strike="noStrike" cap="none">
                <a:solidFill>
                  <a:srgbClr val="000000"/>
                </a:solidFill>
                <a:latin typeface="Arial"/>
                <a:ea typeface="Arial"/>
                <a:cs typeface="Arial"/>
                <a:sym typeface="Arial"/>
              </a:defRPr>
            </a:lvl4pPr>
            <a:lvl5pPr marL="3047924" marR="0" lvl="4" indent="-304792" algn="l" rtl="0">
              <a:lnSpc>
                <a:spcPct val="100000"/>
              </a:lnSpc>
              <a:spcBef>
                <a:spcPts val="0"/>
              </a:spcBef>
              <a:spcAft>
                <a:spcPts val="0"/>
              </a:spcAft>
              <a:buSzPts val="1400"/>
              <a:buNone/>
              <a:defRPr sz="1467" b="0" i="0" u="none" strike="noStrike" cap="none">
                <a:solidFill>
                  <a:srgbClr val="000000"/>
                </a:solidFill>
                <a:latin typeface="Arial"/>
                <a:ea typeface="Arial"/>
                <a:cs typeface="Arial"/>
                <a:sym typeface="Arial"/>
              </a:defRPr>
            </a:lvl5pPr>
            <a:lvl6pPr marL="3657509" marR="0" lvl="5"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pPr lvl="0"/>
            <a:r>
              <a:rPr lang="en-GB"/>
              <a:t>Click to edit Master text styles</a:t>
            </a:r>
          </a:p>
        </p:txBody>
      </p:sp>
      <p:sp>
        <p:nvSpPr>
          <p:cNvPr id="11" name="Google Shape;21;p4">
            <a:extLst>
              <a:ext uri="{FF2B5EF4-FFF2-40B4-BE49-F238E27FC236}">
                <a16:creationId xmlns:a16="http://schemas.microsoft.com/office/drawing/2014/main" id="{EC560137-A6BD-B24C-B2D5-077682F83C43}"/>
              </a:ext>
            </a:extLst>
          </p:cNvPr>
          <p:cNvSpPr txBox="1">
            <a:spLocks noGrp="1"/>
          </p:cNvSpPr>
          <p:nvPr>
            <p:ph type="body" idx="2"/>
          </p:nvPr>
        </p:nvSpPr>
        <p:spPr>
          <a:xfrm>
            <a:off x="720001" y="3840000"/>
            <a:ext cx="4320000" cy="720000"/>
          </a:xfrm>
          <a:prstGeom prst="rect">
            <a:avLst/>
          </a:prstGeom>
          <a:noFill/>
          <a:ln>
            <a:noFill/>
          </a:ln>
        </p:spPr>
        <p:txBody>
          <a:bodyPr spcFirstLastPara="1" wrap="square" lIns="0" tIns="0" rIns="0" bIns="0" anchor="t" anchorCtr="0">
            <a:noAutofit/>
          </a:bodyPr>
          <a:lstStyle>
            <a:lvl1pPr marL="0" marR="0" lvl="0" indent="0" algn="l" rtl="0">
              <a:lnSpc>
                <a:spcPts val="2400"/>
              </a:lnSpc>
              <a:spcBef>
                <a:spcPts val="0"/>
              </a:spcBef>
              <a:spcAft>
                <a:spcPts val="0"/>
              </a:spcAft>
              <a:buSzPts val="1400"/>
              <a:buNone/>
              <a:defRPr sz="2400" b="0" i="0" u="none" strike="noStrike" cap="none">
                <a:solidFill>
                  <a:schemeClr val="tx1"/>
                </a:solidFill>
                <a:latin typeface="CiscoSansTT ExtraLight" panose="020B0303020201020303" pitchFamily="34" charset="0"/>
                <a:ea typeface="CiscoSansTT ExtraLight" panose="020B0303020201020303" pitchFamily="34" charset="0"/>
                <a:cs typeface="CiscoSansTT ExtraLight" panose="020B0303020201020303" pitchFamily="34" charset="0"/>
                <a:sym typeface="Arial"/>
              </a:defRPr>
            </a:lvl1pPr>
            <a:lvl2pPr marL="1219170" marR="0" lvl="1" indent="-304792" algn="l" rtl="0">
              <a:lnSpc>
                <a:spcPct val="100000"/>
              </a:lnSpc>
              <a:spcBef>
                <a:spcPts val="0"/>
              </a:spcBef>
              <a:spcAft>
                <a:spcPts val="0"/>
              </a:spcAft>
              <a:buSzPts val="1400"/>
              <a:buNone/>
              <a:defRPr sz="2400" b="0" i="0" u="none" strike="noStrike" cap="none">
                <a:solidFill>
                  <a:srgbClr val="000000"/>
                </a:solidFill>
                <a:latin typeface="Arial"/>
                <a:ea typeface="Arial"/>
                <a:cs typeface="Arial"/>
                <a:sym typeface="Arial"/>
              </a:defRPr>
            </a:lvl2pPr>
            <a:lvl3pPr marL="1828754" marR="0" lvl="2" indent="-304792" algn="l" rtl="0">
              <a:lnSpc>
                <a:spcPct val="100000"/>
              </a:lnSpc>
              <a:spcBef>
                <a:spcPts val="0"/>
              </a:spcBef>
              <a:spcAft>
                <a:spcPts val="0"/>
              </a:spcAft>
              <a:buSzPts val="1400"/>
              <a:buNone/>
              <a:defRPr sz="2400" b="0" i="0" u="none" strike="noStrike" cap="none">
                <a:solidFill>
                  <a:srgbClr val="000000"/>
                </a:solidFill>
                <a:latin typeface="Arial"/>
                <a:ea typeface="Arial"/>
                <a:cs typeface="Arial"/>
                <a:sym typeface="Arial"/>
              </a:defRPr>
            </a:lvl3pPr>
            <a:lvl4pPr marL="2438339" marR="0" lvl="3" indent="-304792" algn="l" rtl="0">
              <a:lnSpc>
                <a:spcPct val="100000"/>
              </a:lnSpc>
              <a:spcBef>
                <a:spcPts val="0"/>
              </a:spcBef>
              <a:spcAft>
                <a:spcPts val="0"/>
              </a:spcAft>
              <a:buSzPts val="1400"/>
              <a:buNone/>
              <a:defRPr sz="2400" b="0" i="0" u="none" strike="noStrike" cap="none">
                <a:solidFill>
                  <a:srgbClr val="000000"/>
                </a:solidFill>
                <a:latin typeface="Arial"/>
                <a:ea typeface="Arial"/>
                <a:cs typeface="Arial"/>
                <a:sym typeface="Arial"/>
              </a:defRPr>
            </a:lvl4pPr>
            <a:lvl5pPr marL="3047924" marR="0" lvl="4" indent="-304792" algn="l" rtl="0">
              <a:lnSpc>
                <a:spcPct val="100000"/>
              </a:lnSpc>
              <a:spcBef>
                <a:spcPts val="0"/>
              </a:spcBef>
              <a:spcAft>
                <a:spcPts val="0"/>
              </a:spcAft>
              <a:buSzPts val="1400"/>
              <a:buNone/>
              <a:defRPr sz="2400" b="0" i="0" u="none" strike="noStrike" cap="none">
                <a:solidFill>
                  <a:srgbClr val="000000"/>
                </a:solidFill>
                <a:latin typeface="Arial"/>
                <a:ea typeface="Arial"/>
                <a:cs typeface="Arial"/>
                <a:sym typeface="Arial"/>
              </a:defRPr>
            </a:lvl5pPr>
            <a:lvl6pPr marL="3657509" marR="0" lvl="5"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pPr lvl="0"/>
            <a:r>
              <a:rPr lang="en-GB"/>
              <a:t>Click to edit Master text styles</a:t>
            </a:r>
          </a:p>
        </p:txBody>
      </p:sp>
      <p:sp>
        <p:nvSpPr>
          <p:cNvPr id="12" name="Google Shape;26;p4">
            <a:extLst>
              <a:ext uri="{FF2B5EF4-FFF2-40B4-BE49-F238E27FC236}">
                <a16:creationId xmlns:a16="http://schemas.microsoft.com/office/drawing/2014/main" id="{19C76950-C277-8C41-9005-68D8FA63CAFC}"/>
              </a:ext>
            </a:extLst>
          </p:cNvPr>
          <p:cNvSpPr txBox="1">
            <a:spLocks noGrp="1"/>
          </p:cNvSpPr>
          <p:nvPr>
            <p:ph type="body" idx="3"/>
          </p:nvPr>
        </p:nvSpPr>
        <p:spPr>
          <a:xfrm>
            <a:off x="719667" y="1800539"/>
            <a:ext cx="4320000" cy="1920000"/>
          </a:xfrm>
          <a:prstGeom prst="rect">
            <a:avLst/>
          </a:prstGeom>
          <a:noFill/>
          <a:ln>
            <a:noFill/>
          </a:ln>
        </p:spPr>
        <p:txBody>
          <a:bodyPr spcFirstLastPara="1" wrap="square" lIns="0" tIns="0" rIns="0" bIns="0" anchor="b" anchorCtr="0">
            <a:noAutofit/>
          </a:bodyPr>
          <a:lstStyle>
            <a:lvl1pPr marL="0" marR="0" lvl="0" indent="0" algn="l" rtl="0">
              <a:lnSpc>
                <a:spcPts val="4800"/>
              </a:lnSpc>
              <a:spcBef>
                <a:spcPts val="0"/>
              </a:spcBef>
              <a:spcAft>
                <a:spcPts val="0"/>
              </a:spcAft>
              <a:buSzPts val="1400"/>
              <a:buNone/>
              <a:defRPr sz="4800" b="0" i="0" u="none" strike="noStrike" cap="none">
                <a:solidFill>
                  <a:schemeClr val="tx1"/>
                </a:solidFill>
                <a:latin typeface="CiscoSansTT ExtraLight" panose="020B0303020201020303" pitchFamily="34" charset="0"/>
                <a:ea typeface="CiscoSansTT ExtraLight" panose="020B0303020201020303" pitchFamily="34" charset="0"/>
                <a:cs typeface="CiscoSansTT ExtraLight" panose="020B0303020201020303" pitchFamily="34" charset="0"/>
                <a:sym typeface="Arial"/>
              </a:defRPr>
            </a:lvl1pPr>
            <a:lvl2pPr marL="1219170" marR="0" lvl="1"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828754" marR="0" lvl="2"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2438339" marR="0" lvl="3"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3047924" marR="0" lvl="4"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3657509" marR="0" lvl="5"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pPr lvl="0"/>
            <a:r>
              <a:rPr lang="en-GB"/>
              <a:t>Click to edit Master text styles</a:t>
            </a:r>
          </a:p>
        </p:txBody>
      </p:sp>
    </p:spTree>
    <p:extLst>
      <p:ext uri="{BB962C8B-B14F-4D97-AF65-F5344CB8AC3E}">
        <p14:creationId xmlns:p14="http://schemas.microsoft.com/office/powerpoint/2010/main" val="1726839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Top Centre" preserve="1" userDrawn="1">
  <p:cSld name="1_Title Top Centre">
    <p:spTree>
      <p:nvGrpSpPr>
        <p:cNvPr id="1" name="Shape 17"/>
        <p:cNvGrpSpPr/>
        <p:nvPr/>
      </p:nvGrpSpPr>
      <p:grpSpPr>
        <a:xfrm>
          <a:off x="0" y="0"/>
          <a:ext cx="0" cy="0"/>
          <a:chOff x="0" y="0"/>
          <a:chExt cx="0" cy="0"/>
        </a:xfrm>
      </p:grpSpPr>
      <p:sp>
        <p:nvSpPr>
          <p:cNvPr id="18" name="Google Shape;18;p3"/>
          <p:cNvSpPr txBox="1">
            <a:spLocks noGrp="1"/>
          </p:cNvSpPr>
          <p:nvPr>
            <p:ph type="body" idx="1"/>
          </p:nvPr>
        </p:nvSpPr>
        <p:spPr>
          <a:xfrm>
            <a:off x="719667" y="719997"/>
            <a:ext cx="3120000" cy="2712000"/>
          </a:xfrm>
          <a:prstGeom prst="rect">
            <a:avLst/>
          </a:prstGeom>
          <a:noFill/>
          <a:ln>
            <a:noFill/>
          </a:ln>
        </p:spPr>
        <p:txBody>
          <a:bodyPr spcFirstLastPara="1" wrap="square" lIns="0" tIns="0" rIns="0" bIns="0" anchor="t" anchorCtr="0">
            <a:noAutofit/>
          </a:bodyPr>
          <a:lstStyle>
            <a:lvl1pPr marL="0" marR="0" lvl="0" indent="0" algn="l" rtl="0">
              <a:lnSpc>
                <a:spcPts val="4000"/>
              </a:lnSpc>
              <a:spcBef>
                <a:spcPts val="0"/>
              </a:spcBef>
              <a:spcAft>
                <a:spcPts val="0"/>
              </a:spcAft>
              <a:buSzPts val="1400"/>
              <a:buNone/>
              <a:defRPr sz="4000" b="0" i="0" u="none" strike="noStrike" cap="none">
                <a:solidFill>
                  <a:schemeClr val="tx1"/>
                </a:solidFill>
                <a:latin typeface="CiscoSansTT ExtraLight" panose="020B0303020201020303" pitchFamily="34" charset="0"/>
                <a:ea typeface="CiscoSansTT ExtraLight" panose="020B0303020201020303" pitchFamily="34" charset="0"/>
                <a:cs typeface="CiscoSansTT ExtraLight" panose="020B0303020201020303" pitchFamily="34" charset="0"/>
                <a:sym typeface="Arial"/>
              </a:defRPr>
            </a:lvl1pPr>
            <a:lvl2pPr marL="1219170" marR="0" lvl="1"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828754" marR="0" lvl="2"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2438339" marR="0" lvl="3"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3047924" marR="0" lvl="4"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3657509" marR="0" lvl="5"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pPr lvl="0"/>
            <a:r>
              <a:rPr lang="en-GB"/>
              <a:t>Click to edit Master text styles</a:t>
            </a:r>
          </a:p>
        </p:txBody>
      </p:sp>
    </p:spTree>
    <p:extLst>
      <p:ext uri="{BB962C8B-B14F-4D97-AF65-F5344CB8AC3E}">
        <p14:creationId xmlns:p14="http://schemas.microsoft.com/office/powerpoint/2010/main" val="16416466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Google Shape;769;p184">
            <a:extLst>
              <a:ext uri="{FF2B5EF4-FFF2-40B4-BE49-F238E27FC236}">
                <a16:creationId xmlns:a16="http://schemas.microsoft.com/office/drawing/2014/main" id="{BD158146-A831-3249-BE9A-CFF6AC341850}"/>
              </a:ext>
            </a:extLst>
          </p:cNvPr>
          <p:cNvSpPr/>
          <p:nvPr userDrawn="1"/>
        </p:nvSpPr>
        <p:spPr>
          <a:xfrm>
            <a:off x="10925420" y="-518868"/>
            <a:ext cx="1573600" cy="1573600"/>
          </a:xfrm>
          <a:prstGeom prst="ellipse">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5" name="Text Placeholder 9">
            <a:extLst>
              <a:ext uri="{FF2B5EF4-FFF2-40B4-BE49-F238E27FC236}">
                <a16:creationId xmlns:a16="http://schemas.microsoft.com/office/drawing/2014/main" id="{DC2B1723-EA06-A14F-B25F-22730EA192F5}"/>
              </a:ext>
            </a:extLst>
          </p:cNvPr>
          <p:cNvSpPr>
            <a:spLocks noGrp="1"/>
          </p:cNvSpPr>
          <p:nvPr>
            <p:ph type="body" sz="quarter" idx="11" hasCustomPrompt="1"/>
          </p:nvPr>
        </p:nvSpPr>
        <p:spPr>
          <a:xfrm>
            <a:off x="617053" y="1408529"/>
            <a:ext cx="4015907" cy="1407584"/>
          </a:xfrm>
          <a:prstGeom prst="rect">
            <a:avLst/>
          </a:prstGeom>
        </p:spPr>
        <p:txBody>
          <a:bodyPr/>
          <a:lstStyle>
            <a:lvl1pPr>
              <a:defRPr sz="4800"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itle</a:t>
            </a:r>
            <a:endParaRPr lang="en-US"/>
          </a:p>
        </p:txBody>
      </p:sp>
    </p:spTree>
    <p:extLst>
      <p:ext uri="{BB962C8B-B14F-4D97-AF65-F5344CB8AC3E}">
        <p14:creationId xmlns:p14="http://schemas.microsoft.com/office/powerpoint/2010/main" val="4036076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Top Centre" preserve="1" userDrawn="1">
  <p:cSld name="1_Title Top Centre">
    <p:spTree>
      <p:nvGrpSpPr>
        <p:cNvPr id="1" name="Shape 17"/>
        <p:cNvGrpSpPr/>
        <p:nvPr/>
      </p:nvGrpSpPr>
      <p:grpSpPr>
        <a:xfrm>
          <a:off x="0" y="0"/>
          <a:ext cx="0" cy="0"/>
          <a:chOff x="0" y="0"/>
          <a:chExt cx="0" cy="0"/>
        </a:xfrm>
      </p:grpSpPr>
      <p:sp>
        <p:nvSpPr>
          <p:cNvPr id="18" name="Google Shape;18;p3"/>
          <p:cNvSpPr txBox="1">
            <a:spLocks noGrp="1"/>
          </p:cNvSpPr>
          <p:nvPr>
            <p:ph type="body" idx="1"/>
          </p:nvPr>
        </p:nvSpPr>
        <p:spPr>
          <a:xfrm>
            <a:off x="719666" y="720000"/>
            <a:ext cx="10752668" cy="480000"/>
          </a:xfrm>
          <a:prstGeom prst="rect">
            <a:avLst/>
          </a:prstGeom>
          <a:noFill/>
          <a:ln>
            <a:noFill/>
          </a:ln>
        </p:spPr>
        <p:txBody>
          <a:bodyPr spcFirstLastPara="1" wrap="square" lIns="0" tIns="0" rIns="0" bIns="0" anchor="t" anchorCtr="0">
            <a:noAutofit/>
          </a:bodyPr>
          <a:lstStyle>
            <a:lvl1pPr marL="0" marR="0" lvl="0" indent="0" algn="ctr" rtl="0">
              <a:lnSpc>
                <a:spcPts val="4000"/>
              </a:lnSpc>
              <a:spcBef>
                <a:spcPts val="0"/>
              </a:spcBef>
              <a:spcAft>
                <a:spcPts val="0"/>
              </a:spcAft>
              <a:buSzPts val="1400"/>
              <a:buNone/>
              <a:defRPr sz="4000" b="0" i="0" u="none" strike="noStrike" cap="none">
                <a:solidFill>
                  <a:schemeClr val="tx1"/>
                </a:solidFill>
                <a:latin typeface="CiscoSansTT ExtraLight" panose="020B0303020201020303" pitchFamily="34" charset="0"/>
                <a:ea typeface="CiscoSansTT ExtraLight" panose="020B0303020201020303" pitchFamily="34" charset="0"/>
                <a:cs typeface="CiscoSansTT ExtraLight" panose="020B0303020201020303" pitchFamily="34" charset="0"/>
                <a:sym typeface="Arial"/>
              </a:defRPr>
            </a:lvl1pPr>
            <a:lvl2pPr marL="1219170" marR="0" lvl="1"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828754" marR="0" lvl="2"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2438339" marR="0" lvl="3"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3047924" marR="0" lvl="4"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3657509" marR="0" lvl="5"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pPr lvl="0"/>
            <a:r>
              <a:rPr lang="en-GB"/>
              <a:t>Click to edit Master text styles</a:t>
            </a:r>
          </a:p>
        </p:txBody>
      </p:sp>
      <p:sp>
        <p:nvSpPr>
          <p:cNvPr id="4" name="Google Shape;102;p12">
            <a:extLst>
              <a:ext uri="{FF2B5EF4-FFF2-40B4-BE49-F238E27FC236}">
                <a16:creationId xmlns:a16="http://schemas.microsoft.com/office/drawing/2014/main" id="{D4251358-2940-A140-ACFF-3936EEB33211}"/>
              </a:ext>
            </a:extLst>
          </p:cNvPr>
          <p:cNvSpPr txBox="1">
            <a:spLocks noGrp="1"/>
          </p:cNvSpPr>
          <p:nvPr>
            <p:ph type="body" idx="3"/>
          </p:nvPr>
        </p:nvSpPr>
        <p:spPr>
          <a:xfrm>
            <a:off x="720000" y="2207684"/>
            <a:ext cx="6000000" cy="3360000"/>
          </a:xfrm>
          <a:prstGeom prst="rect">
            <a:avLst/>
          </a:prstGeom>
          <a:noFill/>
          <a:ln>
            <a:noFill/>
          </a:ln>
        </p:spPr>
        <p:txBody>
          <a:bodyPr spcFirstLastPara="1" wrap="square" lIns="0" tIns="0" rIns="0" bIns="0" anchor="t" anchorCtr="0">
            <a:noAutofit/>
          </a:bodyPr>
          <a:lstStyle>
            <a:lvl1pPr marL="239994" marR="0" lvl="0" indent="-239994" algn="l" rtl="0">
              <a:lnSpc>
                <a:spcPts val="1733"/>
              </a:lnSpc>
              <a:spcBef>
                <a:spcPts val="0"/>
              </a:spcBef>
              <a:spcAft>
                <a:spcPts val="1333"/>
              </a:spcAft>
              <a:buClr>
                <a:schemeClr val="accent1"/>
              </a:buClr>
              <a:buSzPct val="110000"/>
              <a:buFont typeface="Arial"/>
              <a:buChar char="•"/>
              <a:defRPr sz="1467" b="0" i="0" u="none" strike="noStrike" cap="none">
                <a:solidFill>
                  <a:schemeClr val="tx1"/>
                </a:solidFill>
                <a:latin typeface="CiscoSansTT ExtraLight" panose="020B0303020201020303" pitchFamily="34" charset="0"/>
                <a:ea typeface="CiscoSansTT ExtraLight" panose="020B0303020201020303" pitchFamily="34" charset="0"/>
                <a:cs typeface="CiscoSansTT ExtraLight" panose="020B0303020201020303" pitchFamily="34" charset="0"/>
                <a:sym typeface="Arial"/>
              </a:defRPr>
            </a:lvl1pPr>
            <a:lvl2pPr marL="1219170" marR="0" lvl="1" indent="-304792" algn="l" rtl="0">
              <a:lnSpc>
                <a:spcPct val="100000"/>
              </a:lnSpc>
              <a:spcBef>
                <a:spcPts val="0"/>
              </a:spcBef>
              <a:spcAft>
                <a:spcPts val="0"/>
              </a:spcAft>
              <a:buSzPts val="1400"/>
              <a:buNone/>
              <a:defRPr sz="1467" b="0" i="0" u="none" strike="noStrike" cap="none">
                <a:solidFill>
                  <a:srgbClr val="000000"/>
                </a:solidFill>
                <a:latin typeface="Arial"/>
                <a:ea typeface="Arial"/>
                <a:cs typeface="Arial"/>
                <a:sym typeface="Arial"/>
              </a:defRPr>
            </a:lvl2pPr>
            <a:lvl3pPr marL="1828754" marR="0" lvl="2" indent="-304792" algn="l" rtl="0">
              <a:lnSpc>
                <a:spcPct val="100000"/>
              </a:lnSpc>
              <a:spcBef>
                <a:spcPts val="0"/>
              </a:spcBef>
              <a:spcAft>
                <a:spcPts val="0"/>
              </a:spcAft>
              <a:buSzPts val="1400"/>
              <a:buNone/>
              <a:defRPr sz="1467" b="0" i="0" u="none" strike="noStrike" cap="none">
                <a:solidFill>
                  <a:srgbClr val="000000"/>
                </a:solidFill>
                <a:latin typeface="Arial"/>
                <a:ea typeface="Arial"/>
                <a:cs typeface="Arial"/>
                <a:sym typeface="Arial"/>
              </a:defRPr>
            </a:lvl3pPr>
            <a:lvl4pPr marL="2438339" marR="0" lvl="3" indent="-304792" algn="l" rtl="0">
              <a:lnSpc>
                <a:spcPct val="100000"/>
              </a:lnSpc>
              <a:spcBef>
                <a:spcPts val="0"/>
              </a:spcBef>
              <a:spcAft>
                <a:spcPts val="0"/>
              </a:spcAft>
              <a:buSzPts val="1400"/>
              <a:buNone/>
              <a:defRPr sz="1467" b="0" i="0" u="none" strike="noStrike" cap="none">
                <a:solidFill>
                  <a:srgbClr val="000000"/>
                </a:solidFill>
                <a:latin typeface="Arial"/>
                <a:ea typeface="Arial"/>
                <a:cs typeface="Arial"/>
                <a:sym typeface="Arial"/>
              </a:defRPr>
            </a:lvl4pPr>
            <a:lvl5pPr marL="3047924" marR="0" lvl="4" indent="-304792" algn="l" rtl="0">
              <a:lnSpc>
                <a:spcPct val="100000"/>
              </a:lnSpc>
              <a:spcBef>
                <a:spcPts val="0"/>
              </a:spcBef>
              <a:spcAft>
                <a:spcPts val="0"/>
              </a:spcAft>
              <a:buSzPts val="1400"/>
              <a:buNone/>
              <a:defRPr sz="1467" b="0" i="0" u="none" strike="noStrike" cap="none">
                <a:solidFill>
                  <a:srgbClr val="000000"/>
                </a:solidFill>
                <a:latin typeface="Arial"/>
                <a:ea typeface="Arial"/>
                <a:cs typeface="Arial"/>
                <a:sym typeface="Arial"/>
              </a:defRPr>
            </a:lvl5pPr>
            <a:lvl6pPr marL="3657509" marR="0" lvl="5"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pPr lvl="0"/>
            <a:r>
              <a:rPr lang="en-GB"/>
              <a:t>Click to edit Master text styles</a:t>
            </a:r>
          </a:p>
        </p:txBody>
      </p:sp>
      <p:sp>
        <p:nvSpPr>
          <p:cNvPr id="6" name="Google Shape;83;p10">
            <a:extLst>
              <a:ext uri="{FF2B5EF4-FFF2-40B4-BE49-F238E27FC236}">
                <a16:creationId xmlns:a16="http://schemas.microsoft.com/office/drawing/2014/main" id="{2DB786FA-640B-E34D-A412-B2BD8B69E16A}"/>
              </a:ext>
            </a:extLst>
          </p:cNvPr>
          <p:cNvSpPr/>
          <p:nvPr userDrawn="1"/>
        </p:nvSpPr>
        <p:spPr>
          <a:xfrm>
            <a:off x="-744000" y="-744751"/>
            <a:ext cx="1453835" cy="1453835"/>
          </a:xfrm>
          <a:prstGeom prst="ellipse">
            <a:avLst/>
          </a:prstGeom>
          <a:solidFill>
            <a:schemeClr val="accent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9591362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2_Custom Layout" preserve="1" userDrawn="1">
  <p:cSld name="3_Custom Layout">
    <p:spTree>
      <p:nvGrpSpPr>
        <p:cNvPr id="1" name="Shape 79"/>
        <p:cNvGrpSpPr/>
        <p:nvPr/>
      </p:nvGrpSpPr>
      <p:grpSpPr>
        <a:xfrm>
          <a:off x="0" y="0"/>
          <a:ext cx="0" cy="0"/>
          <a:chOff x="0" y="0"/>
          <a:chExt cx="0" cy="0"/>
        </a:xfrm>
      </p:grpSpPr>
      <p:sp>
        <p:nvSpPr>
          <p:cNvPr id="81" name="Google Shape;81;p10"/>
          <p:cNvSpPr txBox="1">
            <a:spLocks noGrp="1"/>
          </p:cNvSpPr>
          <p:nvPr>
            <p:ph type="body" idx="2"/>
          </p:nvPr>
        </p:nvSpPr>
        <p:spPr>
          <a:xfrm>
            <a:off x="5160000" y="1608000"/>
            <a:ext cx="6309403" cy="3720000"/>
          </a:xfrm>
          <a:prstGeom prst="rect">
            <a:avLst/>
          </a:prstGeom>
          <a:noFill/>
          <a:ln>
            <a:noFill/>
          </a:ln>
        </p:spPr>
        <p:txBody>
          <a:bodyPr spcFirstLastPara="1" wrap="square" lIns="0" tIns="0" rIns="0" bIns="0" anchor="t" anchorCtr="0">
            <a:noAutofit/>
          </a:bodyPr>
          <a:lstStyle>
            <a:lvl1pPr marL="228594" marR="0" lvl="0" indent="-228594" algn="l" rtl="0">
              <a:lnSpc>
                <a:spcPts val="1733"/>
              </a:lnSpc>
              <a:spcBef>
                <a:spcPts val="0"/>
              </a:spcBef>
              <a:spcAft>
                <a:spcPts val="1333"/>
              </a:spcAft>
              <a:buSzPct val="110000"/>
              <a:buFont typeface="Arial" panose="020B0604020202020204" pitchFamily="34" charset="0"/>
              <a:buChar char="•"/>
              <a:defRPr sz="1467" b="0" i="0" u="none" strike="noStrike" cap="none">
                <a:solidFill>
                  <a:schemeClr val="tx1"/>
                </a:solidFill>
                <a:latin typeface="CiscoSansTT ExtraLight" panose="020B0303020201020303" pitchFamily="34" charset="0"/>
                <a:ea typeface="CiscoSansTT ExtraLight" panose="020B0303020201020303" pitchFamily="34" charset="0"/>
                <a:cs typeface="CiscoSansTT ExtraLight" panose="020B0303020201020303" pitchFamily="34" charset="0"/>
                <a:sym typeface="Arial"/>
              </a:defRPr>
            </a:lvl1pPr>
            <a:lvl2pPr marL="1219170" marR="0" lvl="1" indent="-304792" algn="l" rtl="0">
              <a:lnSpc>
                <a:spcPct val="100000"/>
              </a:lnSpc>
              <a:spcBef>
                <a:spcPts val="0"/>
              </a:spcBef>
              <a:spcAft>
                <a:spcPts val="0"/>
              </a:spcAft>
              <a:buSzPts val="1400"/>
              <a:buNone/>
              <a:defRPr sz="1467" b="0" i="0" u="none" strike="noStrike" cap="none">
                <a:solidFill>
                  <a:srgbClr val="000000"/>
                </a:solidFill>
                <a:latin typeface="Arial"/>
                <a:ea typeface="Arial"/>
                <a:cs typeface="Arial"/>
                <a:sym typeface="Arial"/>
              </a:defRPr>
            </a:lvl2pPr>
            <a:lvl3pPr marL="1828754" marR="0" lvl="2" indent="-304792" algn="l" rtl="0">
              <a:lnSpc>
                <a:spcPct val="100000"/>
              </a:lnSpc>
              <a:spcBef>
                <a:spcPts val="0"/>
              </a:spcBef>
              <a:spcAft>
                <a:spcPts val="0"/>
              </a:spcAft>
              <a:buSzPts val="1400"/>
              <a:buNone/>
              <a:defRPr sz="1467" b="0" i="0" u="none" strike="noStrike" cap="none">
                <a:solidFill>
                  <a:srgbClr val="000000"/>
                </a:solidFill>
                <a:latin typeface="Arial"/>
                <a:ea typeface="Arial"/>
                <a:cs typeface="Arial"/>
                <a:sym typeface="Arial"/>
              </a:defRPr>
            </a:lvl3pPr>
            <a:lvl4pPr marL="2438339" marR="0" lvl="3" indent="-304792" algn="l" rtl="0">
              <a:lnSpc>
                <a:spcPct val="100000"/>
              </a:lnSpc>
              <a:spcBef>
                <a:spcPts val="0"/>
              </a:spcBef>
              <a:spcAft>
                <a:spcPts val="0"/>
              </a:spcAft>
              <a:buSzPts val="1400"/>
              <a:buNone/>
              <a:defRPr sz="1467" b="0" i="0" u="none" strike="noStrike" cap="none">
                <a:solidFill>
                  <a:srgbClr val="000000"/>
                </a:solidFill>
                <a:latin typeface="Arial"/>
                <a:ea typeface="Arial"/>
                <a:cs typeface="Arial"/>
                <a:sym typeface="Arial"/>
              </a:defRPr>
            </a:lvl4pPr>
            <a:lvl5pPr marL="3047924" marR="0" lvl="4" indent="-304792" algn="l" rtl="0">
              <a:lnSpc>
                <a:spcPct val="100000"/>
              </a:lnSpc>
              <a:spcBef>
                <a:spcPts val="0"/>
              </a:spcBef>
              <a:spcAft>
                <a:spcPts val="0"/>
              </a:spcAft>
              <a:buSzPts val="1400"/>
              <a:buNone/>
              <a:defRPr sz="1467" b="0" i="0" u="none" strike="noStrike" cap="none">
                <a:solidFill>
                  <a:srgbClr val="000000"/>
                </a:solidFill>
                <a:latin typeface="Arial"/>
                <a:ea typeface="Arial"/>
                <a:cs typeface="Arial"/>
                <a:sym typeface="Arial"/>
              </a:defRPr>
            </a:lvl5pPr>
            <a:lvl6pPr marL="3657509" marR="0" lvl="5"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pPr lvl="0"/>
            <a:r>
              <a:rPr lang="en-GB"/>
              <a:t>Click to edit Master text styles</a:t>
            </a:r>
          </a:p>
        </p:txBody>
      </p:sp>
      <p:sp>
        <p:nvSpPr>
          <p:cNvPr id="82" name="Google Shape;82;p10"/>
          <p:cNvSpPr txBox="1">
            <a:spLocks noGrp="1"/>
          </p:cNvSpPr>
          <p:nvPr>
            <p:ph type="body" idx="3"/>
          </p:nvPr>
        </p:nvSpPr>
        <p:spPr>
          <a:xfrm>
            <a:off x="719667" y="1608000"/>
            <a:ext cx="3600000" cy="1800000"/>
          </a:xfrm>
          <a:prstGeom prst="rect">
            <a:avLst/>
          </a:prstGeom>
          <a:noFill/>
          <a:ln>
            <a:noFill/>
          </a:ln>
        </p:spPr>
        <p:txBody>
          <a:bodyPr spcFirstLastPara="1" wrap="square" lIns="0" tIns="0" rIns="0" bIns="0" anchor="t" anchorCtr="0">
            <a:noAutofit/>
          </a:bodyPr>
          <a:lstStyle>
            <a:lvl1pPr marL="0" marR="0" lvl="0" indent="0" algn="l" rtl="0">
              <a:lnSpc>
                <a:spcPts val="4000"/>
              </a:lnSpc>
              <a:spcBef>
                <a:spcPts val="0"/>
              </a:spcBef>
              <a:spcAft>
                <a:spcPts val="0"/>
              </a:spcAft>
              <a:buClr>
                <a:schemeClr val="dk2"/>
              </a:buClr>
              <a:buSzPts val="3600"/>
              <a:buFont typeface="Arial"/>
              <a:buNone/>
              <a:defRPr sz="4000" b="0" i="0" u="none" strike="noStrike" cap="none">
                <a:solidFill>
                  <a:schemeClr val="tx1"/>
                </a:solidFill>
                <a:latin typeface="CiscoSansTT ExtraLight" panose="020B0303020201020303" pitchFamily="34" charset="0"/>
                <a:ea typeface="CiscoSansTT ExtraLight" panose="020B0303020201020303" pitchFamily="34" charset="0"/>
                <a:cs typeface="CiscoSansTT ExtraLight" panose="020B0303020201020303" pitchFamily="34" charset="0"/>
                <a:sym typeface="Arial"/>
              </a:defRPr>
            </a:lvl1pPr>
            <a:lvl2pPr marL="1219170" marR="0" lvl="1" indent="-304792" algn="l" rtl="0">
              <a:lnSpc>
                <a:spcPct val="100000"/>
              </a:lnSpc>
              <a:spcBef>
                <a:spcPts val="0"/>
              </a:spcBef>
              <a:spcAft>
                <a:spcPts val="0"/>
              </a:spcAft>
              <a:buSzPts val="1400"/>
              <a:buNone/>
              <a:defRPr sz="4800" b="0" i="0" u="none" strike="noStrike" cap="none">
                <a:solidFill>
                  <a:srgbClr val="000000"/>
                </a:solidFill>
                <a:latin typeface="Arial"/>
                <a:ea typeface="Arial"/>
                <a:cs typeface="Arial"/>
                <a:sym typeface="Arial"/>
              </a:defRPr>
            </a:lvl2pPr>
            <a:lvl3pPr marL="1828754" marR="0" lvl="2" indent="-304792" algn="l" rtl="0">
              <a:lnSpc>
                <a:spcPct val="100000"/>
              </a:lnSpc>
              <a:spcBef>
                <a:spcPts val="0"/>
              </a:spcBef>
              <a:spcAft>
                <a:spcPts val="0"/>
              </a:spcAft>
              <a:buSzPts val="1400"/>
              <a:buNone/>
              <a:defRPr sz="4800" b="0" i="0" u="none" strike="noStrike" cap="none">
                <a:solidFill>
                  <a:srgbClr val="000000"/>
                </a:solidFill>
                <a:latin typeface="Arial"/>
                <a:ea typeface="Arial"/>
                <a:cs typeface="Arial"/>
                <a:sym typeface="Arial"/>
              </a:defRPr>
            </a:lvl3pPr>
            <a:lvl4pPr marL="2438339" marR="0" lvl="3" indent="-304792" algn="l" rtl="0">
              <a:lnSpc>
                <a:spcPct val="100000"/>
              </a:lnSpc>
              <a:spcBef>
                <a:spcPts val="0"/>
              </a:spcBef>
              <a:spcAft>
                <a:spcPts val="0"/>
              </a:spcAft>
              <a:buSzPts val="1400"/>
              <a:buNone/>
              <a:defRPr sz="4800" b="0" i="0" u="none" strike="noStrike" cap="none">
                <a:solidFill>
                  <a:srgbClr val="000000"/>
                </a:solidFill>
                <a:latin typeface="Arial"/>
                <a:ea typeface="Arial"/>
                <a:cs typeface="Arial"/>
                <a:sym typeface="Arial"/>
              </a:defRPr>
            </a:lvl4pPr>
            <a:lvl5pPr marL="3047924" marR="0" lvl="4" indent="-304792" algn="l" rtl="0">
              <a:lnSpc>
                <a:spcPct val="100000"/>
              </a:lnSpc>
              <a:spcBef>
                <a:spcPts val="0"/>
              </a:spcBef>
              <a:spcAft>
                <a:spcPts val="0"/>
              </a:spcAft>
              <a:buSzPts val="1400"/>
              <a:buNone/>
              <a:defRPr sz="4800" b="0" i="0" u="none" strike="noStrike" cap="none">
                <a:solidFill>
                  <a:srgbClr val="000000"/>
                </a:solidFill>
                <a:latin typeface="Arial"/>
                <a:ea typeface="Arial"/>
                <a:cs typeface="Arial"/>
                <a:sym typeface="Arial"/>
              </a:defRPr>
            </a:lvl5pPr>
            <a:lvl6pPr marL="3657509" marR="0" lvl="5"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pPr lvl="0"/>
            <a:r>
              <a:rPr lang="en-GB"/>
              <a:t>Click to edit Master text styles</a:t>
            </a:r>
          </a:p>
        </p:txBody>
      </p:sp>
      <p:sp>
        <p:nvSpPr>
          <p:cNvPr id="6" name="Google Shape;77;p9">
            <a:extLst>
              <a:ext uri="{FF2B5EF4-FFF2-40B4-BE49-F238E27FC236}">
                <a16:creationId xmlns:a16="http://schemas.microsoft.com/office/drawing/2014/main" id="{56085580-1CE1-494B-A71B-0C6D504518BC}"/>
              </a:ext>
            </a:extLst>
          </p:cNvPr>
          <p:cNvSpPr/>
          <p:nvPr userDrawn="1"/>
        </p:nvSpPr>
        <p:spPr>
          <a:xfrm>
            <a:off x="11479373" y="6118987"/>
            <a:ext cx="1453835" cy="1453835"/>
          </a:xfrm>
          <a:prstGeom prst="ellipse">
            <a:avLst/>
          </a:prstGeom>
          <a:solidFill>
            <a:schemeClr val="accent1"/>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0815118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Top Centre" preserve="1" userDrawn="1">
  <p:cSld name="1_Title Top Centre">
    <p:spTree>
      <p:nvGrpSpPr>
        <p:cNvPr id="1" name="Shape 17"/>
        <p:cNvGrpSpPr/>
        <p:nvPr/>
      </p:nvGrpSpPr>
      <p:grpSpPr>
        <a:xfrm>
          <a:off x="0" y="0"/>
          <a:ext cx="0" cy="0"/>
          <a:chOff x="0" y="0"/>
          <a:chExt cx="0" cy="0"/>
        </a:xfrm>
      </p:grpSpPr>
      <p:sp>
        <p:nvSpPr>
          <p:cNvPr id="18" name="Google Shape;18;p3"/>
          <p:cNvSpPr txBox="1">
            <a:spLocks noGrp="1"/>
          </p:cNvSpPr>
          <p:nvPr>
            <p:ph type="body" idx="1"/>
          </p:nvPr>
        </p:nvSpPr>
        <p:spPr>
          <a:xfrm>
            <a:off x="719666" y="720000"/>
            <a:ext cx="10752668" cy="480000"/>
          </a:xfrm>
          <a:prstGeom prst="rect">
            <a:avLst/>
          </a:prstGeom>
          <a:noFill/>
          <a:ln>
            <a:noFill/>
          </a:ln>
        </p:spPr>
        <p:txBody>
          <a:bodyPr spcFirstLastPara="1" wrap="square" lIns="0" tIns="0" rIns="0" bIns="0" anchor="t" anchorCtr="0">
            <a:noAutofit/>
          </a:bodyPr>
          <a:lstStyle>
            <a:lvl1pPr marL="0" marR="0" lvl="0" indent="0" algn="ctr" rtl="0">
              <a:lnSpc>
                <a:spcPts val="4000"/>
              </a:lnSpc>
              <a:spcBef>
                <a:spcPts val="0"/>
              </a:spcBef>
              <a:spcAft>
                <a:spcPts val="0"/>
              </a:spcAft>
              <a:buSzPts val="1400"/>
              <a:buNone/>
              <a:defRPr sz="4000" b="0" i="0" u="none" strike="noStrike" cap="none">
                <a:solidFill>
                  <a:schemeClr val="tx1"/>
                </a:solidFill>
                <a:latin typeface="CiscoSansTT ExtraLight" panose="020B0303020201020303" pitchFamily="34" charset="0"/>
                <a:ea typeface="CiscoSansTT ExtraLight" panose="020B0303020201020303" pitchFamily="34" charset="0"/>
                <a:cs typeface="CiscoSansTT ExtraLight" panose="020B0303020201020303" pitchFamily="34" charset="0"/>
                <a:sym typeface="Arial"/>
              </a:defRPr>
            </a:lvl1pPr>
            <a:lvl2pPr marL="1219170" marR="0" lvl="1"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828754" marR="0" lvl="2"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2438339" marR="0" lvl="3"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3047924" marR="0" lvl="4"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3657509" marR="0" lvl="5"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pPr lvl="0"/>
            <a:r>
              <a:rPr lang="en-GB"/>
              <a:t>Click to edit Master text styles</a:t>
            </a:r>
          </a:p>
        </p:txBody>
      </p:sp>
      <p:sp>
        <p:nvSpPr>
          <p:cNvPr id="4" name="Google Shape;102;p12">
            <a:extLst>
              <a:ext uri="{FF2B5EF4-FFF2-40B4-BE49-F238E27FC236}">
                <a16:creationId xmlns:a16="http://schemas.microsoft.com/office/drawing/2014/main" id="{D4251358-2940-A140-ACFF-3936EEB33211}"/>
              </a:ext>
            </a:extLst>
          </p:cNvPr>
          <p:cNvSpPr txBox="1">
            <a:spLocks noGrp="1"/>
          </p:cNvSpPr>
          <p:nvPr>
            <p:ph type="body" idx="3"/>
          </p:nvPr>
        </p:nvSpPr>
        <p:spPr>
          <a:xfrm>
            <a:off x="720000" y="2207684"/>
            <a:ext cx="6000000" cy="3360000"/>
          </a:xfrm>
          <a:prstGeom prst="rect">
            <a:avLst/>
          </a:prstGeom>
          <a:noFill/>
          <a:ln>
            <a:noFill/>
          </a:ln>
        </p:spPr>
        <p:txBody>
          <a:bodyPr spcFirstLastPara="1" wrap="square" lIns="0" tIns="0" rIns="0" bIns="0" anchor="t" anchorCtr="0">
            <a:noAutofit/>
          </a:bodyPr>
          <a:lstStyle>
            <a:lvl1pPr marL="287993" marR="0" lvl="0" indent="-287993" algn="l" rtl="0">
              <a:lnSpc>
                <a:spcPts val="1733"/>
              </a:lnSpc>
              <a:spcBef>
                <a:spcPts val="0"/>
              </a:spcBef>
              <a:spcAft>
                <a:spcPts val="1333"/>
              </a:spcAft>
              <a:buClr>
                <a:schemeClr val="accent1"/>
              </a:buClr>
              <a:buSzPct val="100000"/>
              <a:buFont typeface="+mj-lt"/>
              <a:buAutoNum type="arabicPeriod"/>
              <a:defRPr sz="1467" b="0" i="0" u="none" strike="noStrike" cap="none">
                <a:solidFill>
                  <a:schemeClr val="tx1"/>
                </a:solidFill>
                <a:latin typeface="CiscoSansTT ExtraLight" panose="020B0303020201020303" pitchFamily="34" charset="0"/>
                <a:ea typeface="CiscoSansTT ExtraLight" panose="020B0303020201020303" pitchFamily="34" charset="0"/>
                <a:cs typeface="CiscoSansTT ExtraLight" panose="020B0303020201020303" pitchFamily="34" charset="0"/>
                <a:sym typeface="Arial"/>
              </a:defRPr>
            </a:lvl1pPr>
            <a:lvl2pPr marL="1219170" marR="0" lvl="1" indent="-304792" algn="l" rtl="0">
              <a:lnSpc>
                <a:spcPct val="100000"/>
              </a:lnSpc>
              <a:spcBef>
                <a:spcPts val="0"/>
              </a:spcBef>
              <a:spcAft>
                <a:spcPts val="0"/>
              </a:spcAft>
              <a:buSzPts val="1400"/>
              <a:buNone/>
              <a:defRPr sz="1467" b="0" i="0" u="none" strike="noStrike" cap="none">
                <a:solidFill>
                  <a:srgbClr val="000000"/>
                </a:solidFill>
                <a:latin typeface="Arial"/>
                <a:ea typeface="Arial"/>
                <a:cs typeface="Arial"/>
                <a:sym typeface="Arial"/>
              </a:defRPr>
            </a:lvl2pPr>
            <a:lvl3pPr marL="1828754" marR="0" lvl="2" indent="-304792" algn="l" rtl="0">
              <a:lnSpc>
                <a:spcPct val="100000"/>
              </a:lnSpc>
              <a:spcBef>
                <a:spcPts val="0"/>
              </a:spcBef>
              <a:spcAft>
                <a:spcPts val="0"/>
              </a:spcAft>
              <a:buSzPts val="1400"/>
              <a:buNone/>
              <a:defRPr sz="1467" b="0" i="0" u="none" strike="noStrike" cap="none">
                <a:solidFill>
                  <a:srgbClr val="000000"/>
                </a:solidFill>
                <a:latin typeface="Arial"/>
                <a:ea typeface="Arial"/>
                <a:cs typeface="Arial"/>
                <a:sym typeface="Arial"/>
              </a:defRPr>
            </a:lvl3pPr>
            <a:lvl4pPr marL="2438339" marR="0" lvl="3" indent="-304792" algn="l" rtl="0">
              <a:lnSpc>
                <a:spcPct val="100000"/>
              </a:lnSpc>
              <a:spcBef>
                <a:spcPts val="0"/>
              </a:spcBef>
              <a:spcAft>
                <a:spcPts val="0"/>
              </a:spcAft>
              <a:buSzPts val="1400"/>
              <a:buNone/>
              <a:defRPr sz="1467" b="0" i="0" u="none" strike="noStrike" cap="none">
                <a:solidFill>
                  <a:srgbClr val="000000"/>
                </a:solidFill>
                <a:latin typeface="Arial"/>
                <a:ea typeface="Arial"/>
                <a:cs typeface="Arial"/>
                <a:sym typeface="Arial"/>
              </a:defRPr>
            </a:lvl4pPr>
            <a:lvl5pPr marL="3047924" marR="0" lvl="4" indent="-304792" algn="l" rtl="0">
              <a:lnSpc>
                <a:spcPct val="100000"/>
              </a:lnSpc>
              <a:spcBef>
                <a:spcPts val="0"/>
              </a:spcBef>
              <a:spcAft>
                <a:spcPts val="0"/>
              </a:spcAft>
              <a:buSzPts val="1400"/>
              <a:buNone/>
              <a:defRPr sz="1467" b="0" i="0" u="none" strike="noStrike" cap="none">
                <a:solidFill>
                  <a:srgbClr val="000000"/>
                </a:solidFill>
                <a:latin typeface="Arial"/>
                <a:ea typeface="Arial"/>
                <a:cs typeface="Arial"/>
                <a:sym typeface="Arial"/>
              </a:defRPr>
            </a:lvl5pPr>
            <a:lvl6pPr marL="3657509" marR="0" lvl="5"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pPr lvl="0"/>
            <a:r>
              <a:rPr lang="en-GB"/>
              <a:t>Click to edit Master text styles</a:t>
            </a:r>
          </a:p>
        </p:txBody>
      </p:sp>
      <p:sp>
        <p:nvSpPr>
          <p:cNvPr id="5" name="Google Shape;83;p10">
            <a:extLst>
              <a:ext uri="{FF2B5EF4-FFF2-40B4-BE49-F238E27FC236}">
                <a16:creationId xmlns:a16="http://schemas.microsoft.com/office/drawing/2014/main" id="{C3FD0A65-44E3-3043-863C-2AC414E0552A}"/>
              </a:ext>
            </a:extLst>
          </p:cNvPr>
          <p:cNvSpPr/>
          <p:nvPr userDrawn="1"/>
        </p:nvSpPr>
        <p:spPr>
          <a:xfrm>
            <a:off x="-744000" y="-744751"/>
            <a:ext cx="1453835" cy="1453835"/>
          </a:xfrm>
          <a:prstGeom prst="ellipse">
            <a:avLst/>
          </a:prstGeom>
          <a:solidFill>
            <a:schemeClr val="accent1"/>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140259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2_Custom Layout" preserve="1" userDrawn="1">
  <p:cSld name="3_Custom Layout">
    <p:spTree>
      <p:nvGrpSpPr>
        <p:cNvPr id="1" name="Shape 79"/>
        <p:cNvGrpSpPr/>
        <p:nvPr/>
      </p:nvGrpSpPr>
      <p:grpSpPr>
        <a:xfrm>
          <a:off x="0" y="0"/>
          <a:ext cx="0" cy="0"/>
          <a:chOff x="0" y="0"/>
          <a:chExt cx="0" cy="0"/>
        </a:xfrm>
      </p:grpSpPr>
      <p:sp>
        <p:nvSpPr>
          <p:cNvPr id="81" name="Google Shape;81;p10"/>
          <p:cNvSpPr txBox="1">
            <a:spLocks noGrp="1"/>
          </p:cNvSpPr>
          <p:nvPr>
            <p:ph type="body" idx="2"/>
          </p:nvPr>
        </p:nvSpPr>
        <p:spPr>
          <a:xfrm>
            <a:off x="5160000" y="1608000"/>
            <a:ext cx="6309403" cy="3720000"/>
          </a:xfrm>
          <a:prstGeom prst="rect">
            <a:avLst/>
          </a:prstGeom>
          <a:noFill/>
          <a:ln>
            <a:noFill/>
          </a:ln>
        </p:spPr>
        <p:txBody>
          <a:bodyPr spcFirstLastPara="1" wrap="square" lIns="0" tIns="0" rIns="0" bIns="0" anchor="t" anchorCtr="0">
            <a:noAutofit/>
          </a:bodyPr>
          <a:lstStyle>
            <a:lvl1pPr marL="287993" marR="0" lvl="0" indent="-287993" algn="l" rtl="0">
              <a:lnSpc>
                <a:spcPts val="1733"/>
              </a:lnSpc>
              <a:spcBef>
                <a:spcPts val="0"/>
              </a:spcBef>
              <a:spcAft>
                <a:spcPts val="1333"/>
              </a:spcAft>
              <a:buSzPct val="100000"/>
              <a:buFont typeface="+mj-lt"/>
              <a:buAutoNum type="arabicPeriod"/>
              <a:defRPr sz="1467" b="0" i="0" u="none" strike="noStrike" cap="none">
                <a:solidFill>
                  <a:schemeClr val="tx1"/>
                </a:solidFill>
                <a:latin typeface="CiscoSansTT ExtraLight" panose="020B0303020201020303" pitchFamily="34" charset="0"/>
                <a:ea typeface="CiscoSansTT ExtraLight" panose="020B0303020201020303" pitchFamily="34" charset="0"/>
                <a:cs typeface="CiscoSansTT ExtraLight" panose="020B0303020201020303" pitchFamily="34" charset="0"/>
                <a:sym typeface="Arial"/>
              </a:defRPr>
            </a:lvl1pPr>
            <a:lvl2pPr marL="1219170" marR="0" lvl="1" indent="-304792" algn="l" rtl="0">
              <a:lnSpc>
                <a:spcPct val="100000"/>
              </a:lnSpc>
              <a:spcBef>
                <a:spcPts val="0"/>
              </a:spcBef>
              <a:spcAft>
                <a:spcPts val="0"/>
              </a:spcAft>
              <a:buSzPts val="1400"/>
              <a:buNone/>
              <a:defRPr sz="1467" b="0" i="0" u="none" strike="noStrike" cap="none">
                <a:solidFill>
                  <a:srgbClr val="000000"/>
                </a:solidFill>
                <a:latin typeface="Arial"/>
                <a:ea typeface="Arial"/>
                <a:cs typeface="Arial"/>
                <a:sym typeface="Arial"/>
              </a:defRPr>
            </a:lvl2pPr>
            <a:lvl3pPr marL="1828754" marR="0" lvl="2" indent="-304792" algn="l" rtl="0">
              <a:lnSpc>
                <a:spcPct val="100000"/>
              </a:lnSpc>
              <a:spcBef>
                <a:spcPts val="0"/>
              </a:spcBef>
              <a:spcAft>
                <a:spcPts val="0"/>
              </a:spcAft>
              <a:buSzPts val="1400"/>
              <a:buNone/>
              <a:defRPr sz="1467" b="0" i="0" u="none" strike="noStrike" cap="none">
                <a:solidFill>
                  <a:srgbClr val="000000"/>
                </a:solidFill>
                <a:latin typeface="Arial"/>
                <a:ea typeface="Arial"/>
                <a:cs typeface="Arial"/>
                <a:sym typeface="Arial"/>
              </a:defRPr>
            </a:lvl3pPr>
            <a:lvl4pPr marL="2438339" marR="0" lvl="3" indent="-304792" algn="l" rtl="0">
              <a:lnSpc>
                <a:spcPct val="100000"/>
              </a:lnSpc>
              <a:spcBef>
                <a:spcPts val="0"/>
              </a:spcBef>
              <a:spcAft>
                <a:spcPts val="0"/>
              </a:spcAft>
              <a:buSzPts val="1400"/>
              <a:buNone/>
              <a:defRPr sz="1467" b="0" i="0" u="none" strike="noStrike" cap="none">
                <a:solidFill>
                  <a:srgbClr val="000000"/>
                </a:solidFill>
                <a:latin typeface="Arial"/>
                <a:ea typeface="Arial"/>
                <a:cs typeface="Arial"/>
                <a:sym typeface="Arial"/>
              </a:defRPr>
            </a:lvl4pPr>
            <a:lvl5pPr marL="3047924" marR="0" lvl="4" indent="-304792" algn="l" rtl="0">
              <a:lnSpc>
                <a:spcPct val="100000"/>
              </a:lnSpc>
              <a:spcBef>
                <a:spcPts val="0"/>
              </a:spcBef>
              <a:spcAft>
                <a:spcPts val="0"/>
              </a:spcAft>
              <a:buSzPts val="1400"/>
              <a:buNone/>
              <a:defRPr sz="1467" b="0" i="0" u="none" strike="noStrike" cap="none">
                <a:solidFill>
                  <a:srgbClr val="000000"/>
                </a:solidFill>
                <a:latin typeface="Arial"/>
                <a:ea typeface="Arial"/>
                <a:cs typeface="Arial"/>
                <a:sym typeface="Arial"/>
              </a:defRPr>
            </a:lvl5pPr>
            <a:lvl6pPr marL="3657509" marR="0" lvl="5"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pPr lvl="0"/>
            <a:r>
              <a:rPr lang="en-GB"/>
              <a:t>Click to edit Master text styles</a:t>
            </a:r>
          </a:p>
        </p:txBody>
      </p:sp>
      <p:sp>
        <p:nvSpPr>
          <p:cNvPr id="82" name="Google Shape;82;p10"/>
          <p:cNvSpPr txBox="1">
            <a:spLocks noGrp="1"/>
          </p:cNvSpPr>
          <p:nvPr>
            <p:ph type="body" idx="3"/>
          </p:nvPr>
        </p:nvSpPr>
        <p:spPr>
          <a:xfrm>
            <a:off x="719667" y="1608000"/>
            <a:ext cx="3600000" cy="1800000"/>
          </a:xfrm>
          <a:prstGeom prst="rect">
            <a:avLst/>
          </a:prstGeom>
          <a:noFill/>
          <a:ln>
            <a:noFill/>
          </a:ln>
        </p:spPr>
        <p:txBody>
          <a:bodyPr spcFirstLastPara="1" wrap="square" lIns="0" tIns="0" rIns="0" bIns="0" anchor="t" anchorCtr="0">
            <a:noAutofit/>
          </a:bodyPr>
          <a:lstStyle>
            <a:lvl1pPr marL="0" marR="0" lvl="0" indent="0" algn="l" rtl="0">
              <a:lnSpc>
                <a:spcPts val="4000"/>
              </a:lnSpc>
              <a:spcBef>
                <a:spcPts val="0"/>
              </a:spcBef>
              <a:spcAft>
                <a:spcPts val="0"/>
              </a:spcAft>
              <a:buClr>
                <a:schemeClr val="dk2"/>
              </a:buClr>
              <a:buSzPts val="3600"/>
              <a:buFont typeface="Arial"/>
              <a:buNone/>
              <a:defRPr sz="4000" b="0" i="0" u="none" strike="noStrike" cap="none">
                <a:solidFill>
                  <a:schemeClr val="tx1"/>
                </a:solidFill>
                <a:latin typeface="CiscoSansTT ExtraLight" panose="020B0303020201020303" pitchFamily="34" charset="0"/>
                <a:ea typeface="CiscoSansTT ExtraLight" panose="020B0303020201020303" pitchFamily="34" charset="0"/>
                <a:cs typeface="CiscoSansTT ExtraLight" panose="020B0303020201020303" pitchFamily="34" charset="0"/>
                <a:sym typeface="Arial"/>
              </a:defRPr>
            </a:lvl1pPr>
            <a:lvl2pPr marL="1219170" marR="0" lvl="1" indent="-304792" algn="l" rtl="0">
              <a:lnSpc>
                <a:spcPct val="100000"/>
              </a:lnSpc>
              <a:spcBef>
                <a:spcPts val="0"/>
              </a:spcBef>
              <a:spcAft>
                <a:spcPts val="0"/>
              </a:spcAft>
              <a:buSzPts val="1400"/>
              <a:buNone/>
              <a:defRPr sz="4800" b="0" i="0" u="none" strike="noStrike" cap="none">
                <a:solidFill>
                  <a:srgbClr val="000000"/>
                </a:solidFill>
                <a:latin typeface="Arial"/>
                <a:ea typeface="Arial"/>
                <a:cs typeface="Arial"/>
                <a:sym typeface="Arial"/>
              </a:defRPr>
            </a:lvl2pPr>
            <a:lvl3pPr marL="1828754" marR="0" lvl="2" indent="-304792" algn="l" rtl="0">
              <a:lnSpc>
                <a:spcPct val="100000"/>
              </a:lnSpc>
              <a:spcBef>
                <a:spcPts val="0"/>
              </a:spcBef>
              <a:spcAft>
                <a:spcPts val="0"/>
              </a:spcAft>
              <a:buSzPts val="1400"/>
              <a:buNone/>
              <a:defRPr sz="4800" b="0" i="0" u="none" strike="noStrike" cap="none">
                <a:solidFill>
                  <a:srgbClr val="000000"/>
                </a:solidFill>
                <a:latin typeface="Arial"/>
                <a:ea typeface="Arial"/>
                <a:cs typeface="Arial"/>
                <a:sym typeface="Arial"/>
              </a:defRPr>
            </a:lvl3pPr>
            <a:lvl4pPr marL="2438339" marR="0" lvl="3" indent="-304792" algn="l" rtl="0">
              <a:lnSpc>
                <a:spcPct val="100000"/>
              </a:lnSpc>
              <a:spcBef>
                <a:spcPts val="0"/>
              </a:spcBef>
              <a:spcAft>
                <a:spcPts val="0"/>
              </a:spcAft>
              <a:buSzPts val="1400"/>
              <a:buNone/>
              <a:defRPr sz="4800" b="0" i="0" u="none" strike="noStrike" cap="none">
                <a:solidFill>
                  <a:srgbClr val="000000"/>
                </a:solidFill>
                <a:latin typeface="Arial"/>
                <a:ea typeface="Arial"/>
                <a:cs typeface="Arial"/>
                <a:sym typeface="Arial"/>
              </a:defRPr>
            </a:lvl4pPr>
            <a:lvl5pPr marL="3047924" marR="0" lvl="4" indent="-304792" algn="l" rtl="0">
              <a:lnSpc>
                <a:spcPct val="100000"/>
              </a:lnSpc>
              <a:spcBef>
                <a:spcPts val="0"/>
              </a:spcBef>
              <a:spcAft>
                <a:spcPts val="0"/>
              </a:spcAft>
              <a:buSzPts val="1400"/>
              <a:buNone/>
              <a:defRPr sz="4800" b="0" i="0" u="none" strike="noStrike" cap="none">
                <a:solidFill>
                  <a:srgbClr val="000000"/>
                </a:solidFill>
                <a:latin typeface="Arial"/>
                <a:ea typeface="Arial"/>
                <a:cs typeface="Arial"/>
                <a:sym typeface="Arial"/>
              </a:defRPr>
            </a:lvl5pPr>
            <a:lvl6pPr marL="3657509" marR="0" lvl="5"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pPr lvl="0"/>
            <a:r>
              <a:rPr lang="en-GB"/>
              <a:t>Click to edit Master text styles</a:t>
            </a:r>
          </a:p>
        </p:txBody>
      </p:sp>
      <p:sp>
        <p:nvSpPr>
          <p:cNvPr id="5" name="Google Shape;77;p9">
            <a:extLst>
              <a:ext uri="{FF2B5EF4-FFF2-40B4-BE49-F238E27FC236}">
                <a16:creationId xmlns:a16="http://schemas.microsoft.com/office/drawing/2014/main" id="{19C30474-525C-8E48-8A66-095B62EE47B0}"/>
              </a:ext>
            </a:extLst>
          </p:cNvPr>
          <p:cNvSpPr/>
          <p:nvPr userDrawn="1"/>
        </p:nvSpPr>
        <p:spPr>
          <a:xfrm>
            <a:off x="11479373" y="6118987"/>
            <a:ext cx="1453835" cy="1453835"/>
          </a:xfrm>
          <a:prstGeom prst="ellipse">
            <a:avLst/>
          </a:prstGeom>
          <a:solidFill>
            <a:schemeClr val="accent5"/>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9320080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2_Half_Page_Text">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58802" y="2209800"/>
            <a:ext cx="5103284" cy="24384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6796619" y="709083"/>
            <a:ext cx="4734983" cy="5412316"/>
          </a:xfrm>
          <a:prstGeom prst="rect">
            <a:avLst/>
          </a:prstGeom>
        </p:spPr>
        <p:txBody>
          <a:bodyPr lIns="0" rIns="0" anchor="ctr" anchorCtr="0"/>
          <a:lstStyle>
            <a:lvl1pPr marL="226473" indent="-226473">
              <a:lnSpc>
                <a:spcPct val="100000"/>
              </a:lnSpc>
              <a:buClr>
                <a:schemeClr val="tx1"/>
              </a:buClr>
              <a:buSzPct val="60000"/>
              <a:buFont typeface="Arial" panose="020B0604020202020204" pitchFamily="34" charset="0"/>
              <a:buChar char="•"/>
              <a:tabLst>
                <a:tab pos="304784" algn="l"/>
              </a:tabLst>
              <a:defRPr sz="3200"/>
            </a:lvl1pPr>
            <a:lvl2pPr marL="461411" indent="-228589">
              <a:lnSpc>
                <a:spcPct val="100000"/>
              </a:lnSpc>
              <a:buClr>
                <a:schemeClr val="tx1"/>
              </a:buClr>
              <a:buSzPct val="60000"/>
              <a:buFont typeface="Arial" panose="020B0604020202020204" pitchFamily="34" charset="0"/>
              <a:buChar char="•"/>
              <a:defRPr sz="3200"/>
            </a:lvl2pPr>
            <a:lvl3pPr marL="609570" indent="-156625">
              <a:lnSpc>
                <a:spcPct val="100000"/>
              </a:lnSpc>
              <a:buClr>
                <a:schemeClr val="tx1"/>
              </a:buClr>
              <a:buSzPct val="60000"/>
              <a:buFont typeface="Arial" panose="020B0604020202020204" pitchFamily="34" charset="0"/>
              <a:buChar char="•"/>
              <a:defRPr sz="2667"/>
            </a:lvl3pPr>
            <a:lvl4pPr marL="766196" indent="-156625">
              <a:lnSpc>
                <a:spcPct val="100000"/>
              </a:lnSpc>
              <a:buClr>
                <a:schemeClr val="tx1"/>
              </a:buClr>
              <a:buSzPct val="60000"/>
              <a:buFont typeface="Arial" panose="020B0604020202020204" pitchFamily="34" charset="0"/>
              <a:buChar char="•"/>
              <a:tabLst/>
              <a:defRPr sz="2400"/>
            </a:lvl4pPr>
            <a:lvl5pPr marL="992669" indent="-150276">
              <a:lnSpc>
                <a:spcPct val="100000"/>
              </a:lnSpc>
              <a:buClr>
                <a:schemeClr val="tx1"/>
              </a:buClr>
              <a:buSzPct val="60000"/>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896858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bg1"/>
                </a:solidFill>
              </a:defRPr>
            </a:lvl1pPr>
          </a:lstStyle>
          <a:p>
            <a:pPr lvl="0"/>
            <a:r>
              <a:rPr lang="en-GB"/>
              <a:t>Click to edit Master title style</a:t>
            </a:r>
          </a:p>
        </p:txBody>
      </p:sp>
    </p:spTree>
    <p:extLst>
      <p:ext uri="{BB962C8B-B14F-4D97-AF65-F5344CB8AC3E}">
        <p14:creationId xmlns:p14="http://schemas.microsoft.com/office/powerpoint/2010/main" val="24690413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30164317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5282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itle Top Centre">
  <p:cSld name="Title Top Centre">
    <p:spTree>
      <p:nvGrpSpPr>
        <p:cNvPr id="1" name="Shape 17"/>
        <p:cNvGrpSpPr/>
        <p:nvPr/>
      </p:nvGrpSpPr>
      <p:grpSpPr>
        <a:xfrm>
          <a:off x="0" y="0"/>
          <a:ext cx="0" cy="0"/>
          <a:chOff x="0" y="0"/>
          <a:chExt cx="0" cy="0"/>
        </a:xfrm>
      </p:grpSpPr>
      <p:sp>
        <p:nvSpPr>
          <p:cNvPr id="18" name="Google Shape;18;p3"/>
          <p:cNvSpPr txBox="1">
            <a:spLocks noGrp="1"/>
          </p:cNvSpPr>
          <p:nvPr>
            <p:ph type="body" idx="1"/>
          </p:nvPr>
        </p:nvSpPr>
        <p:spPr>
          <a:xfrm>
            <a:off x="719666" y="720000"/>
            <a:ext cx="10752668" cy="480000"/>
          </a:xfrm>
          <a:prstGeom prst="rect">
            <a:avLst/>
          </a:prstGeom>
          <a:noFill/>
          <a:ln>
            <a:noFill/>
          </a:ln>
        </p:spPr>
        <p:txBody>
          <a:bodyPr spcFirstLastPara="1" wrap="square" lIns="0" tIns="0" rIns="0" bIns="0" anchor="t" anchorCtr="0">
            <a:noAutofit/>
          </a:bodyPr>
          <a:lstStyle>
            <a:lvl1pPr marL="0" marR="0" lvl="0" indent="0" algn="ctr" rtl="0">
              <a:lnSpc>
                <a:spcPts val="4000"/>
              </a:lnSpc>
              <a:spcBef>
                <a:spcPts val="0"/>
              </a:spcBef>
              <a:spcAft>
                <a:spcPts val="0"/>
              </a:spcAft>
              <a:buSzPts val="1400"/>
              <a:buNone/>
              <a:defRPr sz="4000" b="0" i="0" u="none" strike="noStrike" cap="none">
                <a:solidFill>
                  <a:schemeClr val="tx1"/>
                </a:solidFill>
                <a:latin typeface="CiscoSansTT ExtraLight" panose="020B0303020201020303" pitchFamily="34" charset="0"/>
                <a:ea typeface="CiscoSansTT ExtraLight" panose="020B0303020201020303" pitchFamily="34" charset="0"/>
                <a:cs typeface="CiscoSansTT ExtraLight" panose="020B0303020201020303" pitchFamily="34" charset="0"/>
                <a:sym typeface="Arial"/>
              </a:defRPr>
            </a:lvl1pPr>
            <a:lvl2pPr marL="1219170" marR="0" lvl="1"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828754" marR="0" lvl="2"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2438339" marR="0" lvl="3"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3047924" marR="0" lvl="4"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3657509" marR="0" lvl="5"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pPr lvl="0"/>
            <a:r>
              <a:rPr lang="en-GB"/>
              <a:t>Click to edit Master text styles</a:t>
            </a:r>
          </a:p>
        </p:txBody>
      </p:sp>
    </p:spTree>
    <p:extLst>
      <p:ext uri="{BB962C8B-B14F-4D97-AF65-F5344CB8AC3E}">
        <p14:creationId xmlns:p14="http://schemas.microsoft.com/office/powerpoint/2010/main" val="11469927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8971497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2"/>
      </p:bgRef>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9475E96C-D3E5-614C-A33B-4639F6544959}"/>
              </a:ext>
            </a:extLst>
          </p:cNvPr>
          <p:cNvSpPr>
            <a:spLocks noGrp="1"/>
          </p:cNvSpPr>
          <p:nvPr>
            <p:ph type="body" sz="quarter" idx="10"/>
          </p:nvPr>
        </p:nvSpPr>
        <p:spPr>
          <a:xfrm>
            <a:off x="589032" y="2215989"/>
            <a:ext cx="3977216" cy="395817"/>
          </a:xfrm>
          <a:prstGeom prst="rect">
            <a:avLst/>
          </a:prstGeom>
        </p:spPr>
        <p:txBody>
          <a:bodyPr/>
          <a:lstStyle>
            <a:lvl1pPr>
              <a:defRPr sz="1600" b="0" i="0">
                <a:solidFill>
                  <a:schemeClr val="tx1"/>
                </a:solidFill>
                <a:latin typeface="CiscoSansTT ExtraLight" panose="020B0303020201020303" pitchFamily="34" charset="0"/>
                <a:cs typeface="CiscoSansTT ExtraLight" panose="020B0303020201020303" pitchFamily="34" charset="0"/>
              </a:defRPr>
            </a:lvl1pPr>
            <a:lvl2pPr>
              <a:defRPr sz="1600"/>
            </a:lvl2pPr>
            <a:lvl3pPr>
              <a:defRPr sz="1600"/>
            </a:lvl3pPr>
            <a:lvl4pPr>
              <a:defRPr sz="1600"/>
            </a:lvl4pPr>
            <a:lvl5pPr>
              <a:defRPr sz="1600"/>
            </a:lvl5pPr>
          </a:lstStyle>
          <a:p>
            <a:pPr>
              <a:buClr>
                <a:srgbClr val="005073"/>
              </a:buClr>
              <a:buSzPts val="2200"/>
              <a:buFont typeface="Helvetica Neue"/>
              <a:buNone/>
            </a:pPr>
            <a:endParaRPr lang="en-US" sz="1600">
              <a:solidFill>
                <a:srgbClr val="FFFFFF"/>
              </a:solidFill>
              <a:latin typeface="CiscoSansTT ExtraLight" panose="020B0303020201020303" pitchFamily="34" charset="0"/>
              <a:cs typeface="CiscoSansTT ExtraLight" panose="020B0303020201020303" pitchFamily="34" charset="0"/>
              <a:sym typeface="Helvetica Neue Light"/>
            </a:endParaRPr>
          </a:p>
        </p:txBody>
      </p:sp>
      <p:sp>
        <p:nvSpPr>
          <p:cNvPr id="3" name="Google Shape;903;p191">
            <a:extLst>
              <a:ext uri="{FF2B5EF4-FFF2-40B4-BE49-F238E27FC236}">
                <a16:creationId xmlns:a16="http://schemas.microsoft.com/office/drawing/2014/main" id="{863D4346-86FF-F945-993E-ABBABED1B017}"/>
              </a:ext>
            </a:extLst>
          </p:cNvPr>
          <p:cNvSpPr/>
          <p:nvPr userDrawn="1"/>
        </p:nvSpPr>
        <p:spPr>
          <a:xfrm>
            <a:off x="-499767" y="-660533"/>
            <a:ext cx="1736800" cy="1736800"/>
          </a:xfrm>
          <a:prstGeom prst="ellipse">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8" name="Rectangle 7">
            <a:extLst>
              <a:ext uri="{FF2B5EF4-FFF2-40B4-BE49-F238E27FC236}">
                <a16:creationId xmlns:a16="http://schemas.microsoft.com/office/drawing/2014/main" id="{4BBB5314-F22F-8E47-BF2F-342008A5E2D0}"/>
              </a:ext>
            </a:extLst>
          </p:cNvPr>
          <p:cNvSpPr/>
          <p:nvPr userDrawn="1"/>
        </p:nvSpPr>
        <p:spPr>
          <a:xfrm>
            <a:off x="696767" y="6348761"/>
            <a:ext cx="3392013" cy="1486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Text Placeholder 9">
            <a:extLst>
              <a:ext uri="{FF2B5EF4-FFF2-40B4-BE49-F238E27FC236}">
                <a16:creationId xmlns:a16="http://schemas.microsoft.com/office/drawing/2014/main" id="{9ECE22FA-A92C-FA45-B637-1203617C607C}"/>
              </a:ext>
            </a:extLst>
          </p:cNvPr>
          <p:cNvSpPr>
            <a:spLocks noGrp="1"/>
          </p:cNvSpPr>
          <p:nvPr>
            <p:ph type="body" sz="quarter" idx="11" hasCustomPrompt="1"/>
          </p:nvPr>
        </p:nvSpPr>
        <p:spPr>
          <a:xfrm>
            <a:off x="577430" y="2614757"/>
            <a:ext cx="4096137" cy="1407584"/>
          </a:xfrm>
          <a:prstGeom prst="rect">
            <a:avLst/>
          </a:prstGeom>
        </p:spPr>
        <p:txBody>
          <a:bodyPr/>
          <a:lstStyle>
            <a:lvl1pPr>
              <a:defRPr sz="5067"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itle</a:t>
            </a:r>
            <a:endParaRPr lang="en-US"/>
          </a:p>
        </p:txBody>
      </p:sp>
    </p:spTree>
    <p:extLst>
      <p:ext uri="{BB962C8B-B14F-4D97-AF65-F5344CB8AC3E}">
        <p14:creationId xmlns:p14="http://schemas.microsoft.com/office/powerpoint/2010/main" val="1380374603"/>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11413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5528725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06532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2576407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31199481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11963707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525582"/>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81434581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447779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Title Top Centre">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C1246713-C040-2E42-85D6-7551D77BE603}"/>
              </a:ext>
            </a:extLst>
          </p:cNvPr>
          <p:cNvSpPr>
            <a:spLocks noGrp="1"/>
          </p:cNvSpPr>
          <p:nvPr>
            <p:ph type="body" sz="quarter" idx="14" hasCustomPrompt="1"/>
          </p:nvPr>
        </p:nvSpPr>
        <p:spPr>
          <a:xfrm>
            <a:off x="1570000" y="550633"/>
            <a:ext cx="9052000" cy="685200"/>
          </a:xfrm>
          <a:prstGeom prst="rect">
            <a:avLst/>
          </a:prstGeom>
        </p:spPr>
        <p:txBody>
          <a:bodyPr/>
          <a:lstStyle>
            <a:lvl1pPr algn="ctr">
              <a:defRPr sz="4000" b="0" i="0">
                <a:solidFill>
                  <a:schemeClr val="tx1"/>
                </a:solidFill>
                <a:latin typeface="CiscoSansTT ExtraLight" panose="020B0303020201020303" pitchFamily="34" charset="0"/>
                <a:cs typeface="CiscoSansTT ExtraLight" panose="020B0303020201020303" pitchFamily="34" charset="0"/>
              </a:defRPr>
            </a:lvl1pPr>
          </a:lstStyle>
          <a:p>
            <a:pPr lvl="0"/>
            <a:r>
              <a:rPr lang="en-GB" dirty="0"/>
              <a:t>Click to add title</a:t>
            </a:r>
            <a:endParaRPr lang="en-US" dirty="0"/>
          </a:p>
        </p:txBody>
      </p:sp>
    </p:spTree>
    <p:extLst>
      <p:ext uri="{BB962C8B-B14F-4D97-AF65-F5344CB8AC3E}">
        <p14:creationId xmlns:p14="http://schemas.microsoft.com/office/powerpoint/2010/main" val="27140467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itle Top Centre">
  <p:cSld name="Title Top Centre">
    <p:spTree>
      <p:nvGrpSpPr>
        <p:cNvPr id="1" name="Shape 17"/>
        <p:cNvGrpSpPr/>
        <p:nvPr/>
      </p:nvGrpSpPr>
      <p:grpSpPr>
        <a:xfrm>
          <a:off x="0" y="0"/>
          <a:ext cx="0" cy="0"/>
          <a:chOff x="0" y="0"/>
          <a:chExt cx="0" cy="0"/>
        </a:xfrm>
      </p:grpSpPr>
      <p:sp>
        <p:nvSpPr>
          <p:cNvPr id="18" name="Google Shape;18;p3"/>
          <p:cNvSpPr txBox="1">
            <a:spLocks noGrp="1"/>
          </p:cNvSpPr>
          <p:nvPr>
            <p:ph type="body" idx="1"/>
          </p:nvPr>
        </p:nvSpPr>
        <p:spPr>
          <a:xfrm>
            <a:off x="719666" y="720000"/>
            <a:ext cx="10752668" cy="480000"/>
          </a:xfrm>
          <a:prstGeom prst="rect">
            <a:avLst/>
          </a:prstGeom>
          <a:noFill/>
          <a:ln>
            <a:noFill/>
          </a:ln>
        </p:spPr>
        <p:txBody>
          <a:bodyPr spcFirstLastPara="1" wrap="square" lIns="0" tIns="0" rIns="0" bIns="0" anchor="t" anchorCtr="0">
            <a:noAutofit/>
          </a:bodyPr>
          <a:lstStyle>
            <a:lvl1pPr marL="0" marR="0" lvl="0" indent="0" algn="ctr" rtl="0">
              <a:lnSpc>
                <a:spcPts val="4000"/>
              </a:lnSpc>
              <a:spcBef>
                <a:spcPts val="0"/>
              </a:spcBef>
              <a:spcAft>
                <a:spcPts val="0"/>
              </a:spcAft>
              <a:buSzPts val="1400"/>
              <a:buNone/>
              <a:defRPr sz="4000" b="0" i="0" u="none" strike="noStrike" cap="none">
                <a:solidFill>
                  <a:schemeClr val="tx1"/>
                </a:solidFill>
                <a:latin typeface="CiscoSansTT ExtraLight" panose="020B0303020201020303" pitchFamily="34" charset="0"/>
                <a:ea typeface="CiscoSansTT ExtraLight" panose="020B0303020201020303" pitchFamily="34" charset="0"/>
                <a:cs typeface="CiscoSansTT ExtraLight" panose="020B0303020201020303" pitchFamily="34" charset="0"/>
                <a:sym typeface="Arial"/>
              </a:defRPr>
            </a:lvl1pPr>
            <a:lvl2pPr marL="1219170" marR="0" lvl="1"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L="1828754" marR="0" lvl="2"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L="2438339" marR="0" lvl="3"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L="3047924" marR="0" lvl="4"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L="3657509" marR="0" lvl="5"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L="4267093" marR="0" lvl="6"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L="4876678" marR="0" lvl="7"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L="5486263" marR="0" lvl="8" indent="-30479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pPr lvl="0"/>
            <a:r>
              <a:rPr lang="en-GB"/>
              <a:t>Click to edit Master text styles</a:t>
            </a:r>
          </a:p>
        </p:txBody>
      </p:sp>
    </p:spTree>
    <p:extLst>
      <p:ext uri="{BB962C8B-B14F-4D97-AF65-F5344CB8AC3E}">
        <p14:creationId xmlns:p14="http://schemas.microsoft.com/office/powerpoint/2010/main" val="27204345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oint Lis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197C6C4-1E88-FF4D-A6EB-4648CAAEB1C7}"/>
              </a:ext>
            </a:extLst>
          </p:cNvPr>
          <p:cNvSpPr>
            <a:spLocks noGrp="1"/>
          </p:cNvSpPr>
          <p:nvPr>
            <p:ph type="body" sz="quarter" idx="10"/>
          </p:nvPr>
        </p:nvSpPr>
        <p:spPr>
          <a:xfrm>
            <a:off x="8075084" y="1264883"/>
            <a:ext cx="2766483" cy="675216"/>
          </a:xfrm>
          <a:prstGeom prst="rect">
            <a:avLst/>
          </a:prstGeom>
        </p:spPr>
        <p:txBody>
          <a:bodyPr/>
          <a:lstStyle>
            <a:lvl1pPr marL="0" marR="0" indent="0" algn="l" rtl="0">
              <a:lnSpc>
                <a:spcPct val="100000"/>
              </a:lnSpc>
              <a:spcBef>
                <a:spcPts val="0"/>
              </a:spcBef>
              <a:spcAft>
                <a:spcPts val="0"/>
              </a:spcAft>
              <a:buNone/>
              <a:defRPr sz="1867" b="0" i="0">
                <a:solidFill>
                  <a:schemeClr val="tx1"/>
                </a:solidFill>
                <a:latin typeface="CiscoSansTT ExtraLight" panose="020B0303020201020303" pitchFamily="34" charset="0"/>
                <a:cs typeface="CiscoSansTT ExtraLight" panose="020B0303020201020303" pitchFamily="34" charset="0"/>
              </a:defRPr>
            </a:lvl1pPr>
            <a:lvl2pPr>
              <a:defRPr sz="1867"/>
            </a:lvl2pPr>
            <a:lvl3pPr>
              <a:defRPr sz="1867"/>
            </a:lvl3pPr>
            <a:lvl4pPr>
              <a:defRPr sz="1867"/>
            </a:lvl4pPr>
            <a:lvl5pPr>
              <a:defRPr sz="1867"/>
            </a:lvl5pPr>
          </a:lstStyle>
          <a:p>
            <a:pPr marL="0" marR="0" lvl="0" indent="0" algn="l" rtl="0">
              <a:lnSpc>
                <a:spcPct val="100000"/>
              </a:lnSpc>
              <a:spcBef>
                <a:spcPts val="0"/>
              </a:spcBef>
              <a:spcAft>
                <a:spcPts val="0"/>
              </a:spcAft>
              <a:buNone/>
            </a:pPr>
            <a:endParaRPr lang="en-US" u="none" strike="noStrike" cap="none">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4" name="Google Shape;1105;p206">
            <a:extLst>
              <a:ext uri="{FF2B5EF4-FFF2-40B4-BE49-F238E27FC236}">
                <a16:creationId xmlns:a16="http://schemas.microsoft.com/office/drawing/2014/main" id="{A306A90D-FB8F-1647-A074-A576A886F114}"/>
              </a:ext>
            </a:extLst>
          </p:cNvPr>
          <p:cNvSpPr/>
          <p:nvPr userDrawn="1"/>
        </p:nvSpPr>
        <p:spPr>
          <a:xfrm>
            <a:off x="6393167" y="893967"/>
            <a:ext cx="1322400" cy="6938400"/>
          </a:xfrm>
          <a:prstGeom prst="roundRect">
            <a:avLst>
              <a:gd name="adj" fmla="val 49012"/>
            </a:avLst>
          </a:prstGeom>
          <a:solidFill>
            <a:srgbClr val="EDF1F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5" name="Google Shape;1106;p206">
            <a:extLst>
              <a:ext uri="{FF2B5EF4-FFF2-40B4-BE49-F238E27FC236}">
                <a16:creationId xmlns:a16="http://schemas.microsoft.com/office/drawing/2014/main" id="{8F6E79AF-1259-6A42-BE37-DBAE2EE9E373}"/>
              </a:ext>
            </a:extLst>
          </p:cNvPr>
          <p:cNvSpPr/>
          <p:nvPr userDrawn="1"/>
        </p:nvSpPr>
        <p:spPr>
          <a:xfrm>
            <a:off x="6558167" y="2772333"/>
            <a:ext cx="992400" cy="992400"/>
          </a:xfrm>
          <a:prstGeom prst="ellipse">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6" name="Google Shape;1107;p206">
            <a:extLst>
              <a:ext uri="{FF2B5EF4-FFF2-40B4-BE49-F238E27FC236}">
                <a16:creationId xmlns:a16="http://schemas.microsoft.com/office/drawing/2014/main" id="{A98CFA87-2D80-054C-963F-F23B22699D15}"/>
              </a:ext>
            </a:extLst>
          </p:cNvPr>
          <p:cNvSpPr/>
          <p:nvPr userDrawn="1"/>
        </p:nvSpPr>
        <p:spPr>
          <a:xfrm>
            <a:off x="6558167" y="4430900"/>
            <a:ext cx="992400" cy="992400"/>
          </a:xfrm>
          <a:prstGeom prst="ellipse">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7" name="Google Shape;1108;p206">
            <a:extLst>
              <a:ext uri="{FF2B5EF4-FFF2-40B4-BE49-F238E27FC236}">
                <a16:creationId xmlns:a16="http://schemas.microsoft.com/office/drawing/2014/main" id="{64CBF592-D44A-3446-B161-F70A2641A9F4}"/>
              </a:ext>
            </a:extLst>
          </p:cNvPr>
          <p:cNvSpPr/>
          <p:nvPr userDrawn="1"/>
        </p:nvSpPr>
        <p:spPr>
          <a:xfrm>
            <a:off x="6558167" y="1113767"/>
            <a:ext cx="992400" cy="992400"/>
          </a:xfrm>
          <a:prstGeom prst="ellipse">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4" name="Text Placeholder 12">
            <a:extLst>
              <a:ext uri="{FF2B5EF4-FFF2-40B4-BE49-F238E27FC236}">
                <a16:creationId xmlns:a16="http://schemas.microsoft.com/office/drawing/2014/main" id="{F8E33F91-D3E3-5348-9046-E8E44A701145}"/>
              </a:ext>
            </a:extLst>
          </p:cNvPr>
          <p:cNvSpPr>
            <a:spLocks noGrp="1"/>
          </p:cNvSpPr>
          <p:nvPr>
            <p:ph type="body" sz="quarter" idx="11"/>
          </p:nvPr>
        </p:nvSpPr>
        <p:spPr>
          <a:xfrm>
            <a:off x="8075084" y="2936491"/>
            <a:ext cx="2766483" cy="675216"/>
          </a:xfrm>
          <a:prstGeom prst="rect">
            <a:avLst/>
          </a:prstGeom>
        </p:spPr>
        <p:txBody>
          <a:bodyPr/>
          <a:lstStyle>
            <a:lvl1pPr marL="0" marR="0" indent="0" algn="l" rtl="0">
              <a:lnSpc>
                <a:spcPct val="100000"/>
              </a:lnSpc>
              <a:spcBef>
                <a:spcPts val="0"/>
              </a:spcBef>
              <a:spcAft>
                <a:spcPts val="0"/>
              </a:spcAft>
              <a:buNone/>
              <a:defRPr sz="1867" b="0" i="0">
                <a:solidFill>
                  <a:schemeClr val="tx1"/>
                </a:solidFill>
                <a:latin typeface="CiscoSansTT ExtraLight" panose="020B0303020201020303" pitchFamily="34" charset="0"/>
                <a:cs typeface="CiscoSansTT ExtraLight" panose="020B0303020201020303" pitchFamily="34" charset="0"/>
              </a:defRPr>
            </a:lvl1pPr>
            <a:lvl2pPr>
              <a:defRPr sz="1867"/>
            </a:lvl2pPr>
            <a:lvl3pPr>
              <a:defRPr sz="1867"/>
            </a:lvl3pPr>
            <a:lvl4pPr>
              <a:defRPr sz="1867"/>
            </a:lvl4pPr>
            <a:lvl5pPr>
              <a:defRPr sz="1867"/>
            </a:lvl5pPr>
          </a:lstStyle>
          <a:p>
            <a:pPr marL="0" marR="0" lvl="0" indent="0" algn="l" rtl="0">
              <a:lnSpc>
                <a:spcPct val="100000"/>
              </a:lnSpc>
              <a:spcBef>
                <a:spcPts val="0"/>
              </a:spcBef>
              <a:spcAft>
                <a:spcPts val="0"/>
              </a:spcAft>
              <a:buNone/>
            </a:pPr>
            <a:endParaRPr lang="en-US" u="none" strike="noStrike" cap="none">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15" name="Text Placeholder 12">
            <a:extLst>
              <a:ext uri="{FF2B5EF4-FFF2-40B4-BE49-F238E27FC236}">
                <a16:creationId xmlns:a16="http://schemas.microsoft.com/office/drawing/2014/main" id="{1F3FE1AB-0D7D-E34F-B442-EB54DC668994}"/>
              </a:ext>
            </a:extLst>
          </p:cNvPr>
          <p:cNvSpPr>
            <a:spLocks noGrp="1"/>
          </p:cNvSpPr>
          <p:nvPr>
            <p:ph type="body" sz="quarter" idx="12"/>
          </p:nvPr>
        </p:nvSpPr>
        <p:spPr>
          <a:xfrm>
            <a:off x="8075084" y="4577427"/>
            <a:ext cx="2766483" cy="675216"/>
          </a:xfrm>
          <a:prstGeom prst="rect">
            <a:avLst/>
          </a:prstGeom>
        </p:spPr>
        <p:txBody>
          <a:bodyPr/>
          <a:lstStyle>
            <a:lvl1pPr marL="0" marR="0" indent="0" algn="l" rtl="0">
              <a:lnSpc>
                <a:spcPct val="100000"/>
              </a:lnSpc>
              <a:spcBef>
                <a:spcPts val="0"/>
              </a:spcBef>
              <a:spcAft>
                <a:spcPts val="0"/>
              </a:spcAft>
              <a:buNone/>
              <a:defRPr sz="1867" b="0" i="0">
                <a:solidFill>
                  <a:schemeClr val="tx1"/>
                </a:solidFill>
                <a:latin typeface="CiscoSansTT ExtraLight" panose="020B0303020201020303" pitchFamily="34" charset="0"/>
                <a:cs typeface="CiscoSansTT ExtraLight" panose="020B0303020201020303" pitchFamily="34" charset="0"/>
              </a:defRPr>
            </a:lvl1pPr>
            <a:lvl2pPr>
              <a:defRPr sz="1867"/>
            </a:lvl2pPr>
            <a:lvl3pPr>
              <a:defRPr sz="1867"/>
            </a:lvl3pPr>
            <a:lvl4pPr>
              <a:defRPr sz="1867"/>
            </a:lvl4pPr>
            <a:lvl5pPr>
              <a:defRPr sz="1867"/>
            </a:lvl5pPr>
          </a:lstStyle>
          <a:p>
            <a:pPr marL="0" marR="0" lvl="0" indent="0" algn="l" rtl="0">
              <a:lnSpc>
                <a:spcPct val="100000"/>
              </a:lnSpc>
              <a:spcBef>
                <a:spcPts val="0"/>
              </a:spcBef>
              <a:spcAft>
                <a:spcPts val="0"/>
              </a:spcAft>
              <a:buNone/>
            </a:pPr>
            <a:endParaRPr lang="en-US" u="none" strike="noStrike" cap="none">
              <a:solidFill>
                <a:schemeClr val="tx1"/>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11" name="Text Placeholder 9">
            <a:extLst>
              <a:ext uri="{FF2B5EF4-FFF2-40B4-BE49-F238E27FC236}">
                <a16:creationId xmlns:a16="http://schemas.microsoft.com/office/drawing/2014/main" id="{F72B3282-A25F-BB4E-9611-38F6DC20B0A3}"/>
              </a:ext>
            </a:extLst>
          </p:cNvPr>
          <p:cNvSpPr>
            <a:spLocks noGrp="1"/>
          </p:cNvSpPr>
          <p:nvPr>
            <p:ph type="body" sz="quarter" idx="13" hasCustomPrompt="1"/>
          </p:nvPr>
        </p:nvSpPr>
        <p:spPr>
          <a:xfrm>
            <a:off x="546198" y="4270803"/>
            <a:ext cx="3564468" cy="1691085"/>
          </a:xfrm>
          <a:prstGeom prst="rect">
            <a:avLst/>
          </a:prstGeom>
        </p:spPr>
        <p:txBody>
          <a:bodyPr/>
          <a:lstStyle>
            <a:lvl1pPr>
              <a:defRPr sz="4000"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itle</a:t>
            </a:r>
            <a:endParaRPr lang="en-US"/>
          </a:p>
        </p:txBody>
      </p:sp>
    </p:spTree>
    <p:extLst>
      <p:ext uri="{BB962C8B-B14F-4D97-AF65-F5344CB8AC3E}">
        <p14:creationId xmlns:p14="http://schemas.microsoft.com/office/powerpoint/2010/main" val="32487013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oduct Showcase">
    <p:spTree>
      <p:nvGrpSpPr>
        <p:cNvPr id="1" name=""/>
        <p:cNvGrpSpPr/>
        <p:nvPr/>
      </p:nvGrpSpPr>
      <p:grpSpPr>
        <a:xfrm>
          <a:off x="0" y="0"/>
          <a:ext cx="0" cy="0"/>
          <a:chOff x="0" y="0"/>
          <a:chExt cx="0" cy="0"/>
        </a:xfrm>
      </p:grpSpPr>
      <p:sp>
        <p:nvSpPr>
          <p:cNvPr id="18" name="Text Placeholder 16">
            <a:extLst>
              <a:ext uri="{FF2B5EF4-FFF2-40B4-BE49-F238E27FC236}">
                <a16:creationId xmlns:a16="http://schemas.microsoft.com/office/drawing/2014/main" id="{61097E46-88D4-B64F-A9B9-477EBA65B218}"/>
              </a:ext>
            </a:extLst>
          </p:cNvPr>
          <p:cNvSpPr>
            <a:spLocks noGrp="1"/>
          </p:cNvSpPr>
          <p:nvPr>
            <p:ph type="body" sz="quarter" idx="12"/>
          </p:nvPr>
        </p:nvSpPr>
        <p:spPr>
          <a:xfrm>
            <a:off x="7484534" y="4299109"/>
            <a:ext cx="3786717" cy="709083"/>
          </a:xfrm>
          <a:prstGeom prst="rect">
            <a:avLst/>
          </a:prstGeom>
        </p:spPr>
        <p:txBody>
          <a:bodyPr/>
          <a:lstStyle>
            <a:lvl1pPr>
              <a:defRPr sz="1467" b="0" i="0">
                <a:solidFill>
                  <a:schemeClr val="tx1"/>
                </a:solidFill>
                <a:latin typeface="CiscoSansTT ExtraLight" panose="020B0303020201020303" pitchFamily="34" charset="0"/>
                <a:cs typeface="CiscoSansTT ExtraLight" panose="020B0303020201020303" pitchFamily="34" charset="0"/>
              </a:defRPr>
            </a:lvl1pPr>
            <a:lvl2pPr>
              <a:defRPr sz="1467"/>
            </a:lvl2pPr>
            <a:lvl3pPr>
              <a:defRPr sz="1467"/>
            </a:lvl3pPr>
            <a:lvl4pPr>
              <a:defRPr sz="1467"/>
            </a:lvl4pPr>
            <a:lvl5pPr>
              <a:defRPr sz="1467"/>
            </a:lvl5pPr>
          </a:lstStyle>
          <a:p>
            <a:pPr>
              <a:lnSpc>
                <a:spcPct val="115000"/>
              </a:lnSpc>
            </a:pPr>
            <a:endParaRPr lang="en-US" sz="1467">
              <a:solidFill>
                <a:schemeClr val="tx1"/>
              </a:solidFill>
              <a:latin typeface="CiscoSansTT ExtraLight" panose="020B0303020201020303" pitchFamily="34" charset="0"/>
              <a:cs typeface="CiscoSansTT ExtraLight" panose="020B0303020201020303" pitchFamily="34" charset="0"/>
              <a:sym typeface="Helvetica Neue Light"/>
            </a:endParaRPr>
          </a:p>
        </p:txBody>
      </p:sp>
      <p:sp>
        <p:nvSpPr>
          <p:cNvPr id="19" name="Text Placeholder 13">
            <a:extLst>
              <a:ext uri="{FF2B5EF4-FFF2-40B4-BE49-F238E27FC236}">
                <a16:creationId xmlns:a16="http://schemas.microsoft.com/office/drawing/2014/main" id="{E674CEC4-E67F-1248-A499-B15645D72FA7}"/>
              </a:ext>
            </a:extLst>
          </p:cNvPr>
          <p:cNvSpPr>
            <a:spLocks noGrp="1"/>
          </p:cNvSpPr>
          <p:nvPr>
            <p:ph type="body" sz="quarter" idx="13"/>
          </p:nvPr>
        </p:nvSpPr>
        <p:spPr>
          <a:xfrm>
            <a:off x="7484530" y="3875595"/>
            <a:ext cx="3786717" cy="368300"/>
          </a:xfrm>
          <a:prstGeom prst="rect">
            <a:avLst/>
          </a:prstGeom>
        </p:spPr>
        <p:txBody>
          <a:bodyPr/>
          <a:lstStyle>
            <a:lvl1pPr>
              <a:defRPr sz="1867" b="0" i="0">
                <a:solidFill>
                  <a:schemeClr val="accent1"/>
                </a:solidFill>
                <a:latin typeface="CiscoSansTT ExtraLight" panose="020B0303020201020303" pitchFamily="34" charset="0"/>
                <a:cs typeface="CiscoSansTT ExtraLight" panose="020B0303020201020303" pitchFamily="34" charset="0"/>
              </a:defRPr>
            </a:lvl1pPr>
          </a:lstStyle>
          <a:p>
            <a:pPr>
              <a:lnSpc>
                <a:spcPct val="115000"/>
              </a:lnSpc>
            </a:pPr>
            <a:endParaRPr lang="en-US">
              <a:solidFill>
                <a:schemeClr val="accent1"/>
              </a:solidFill>
              <a:latin typeface="CiscoSansTT ExtraLight" panose="020B0303020201020303" pitchFamily="34" charset="0"/>
              <a:cs typeface="CiscoSansTT ExtraLight" panose="020B0303020201020303" pitchFamily="34" charset="0"/>
              <a:sym typeface="Helvetica Neue Light"/>
            </a:endParaRPr>
          </a:p>
        </p:txBody>
      </p:sp>
      <p:sp>
        <p:nvSpPr>
          <p:cNvPr id="17" name="Text Placeholder 16">
            <a:extLst>
              <a:ext uri="{FF2B5EF4-FFF2-40B4-BE49-F238E27FC236}">
                <a16:creationId xmlns:a16="http://schemas.microsoft.com/office/drawing/2014/main" id="{7532A9EE-4B65-A846-8B5E-BE2879268B8F}"/>
              </a:ext>
            </a:extLst>
          </p:cNvPr>
          <p:cNvSpPr>
            <a:spLocks noGrp="1"/>
          </p:cNvSpPr>
          <p:nvPr>
            <p:ph type="body" sz="quarter" idx="11"/>
          </p:nvPr>
        </p:nvSpPr>
        <p:spPr>
          <a:xfrm>
            <a:off x="7484534" y="2918884"/>
            <a:ext cx="3786717" cy="709083"/>
          </a:xfrm>
          <a:prstGeom prst="rect">
            <a:avLst/>
          </a:prstGeom>
        </p:spPr>
        <p:txBody>
          <a:bodyPr/>
          <a:lstStyle>
            <a:lvl1pPr>
              <a:defRPr sz="1467" b="0" i="0">
                <a:solidFill>
                  <a:schemeClr val="tx1"/>
                </a:solidFill>
                <a:latin typeface="CiscoSansTT ExtraLight" panose="020B0303020201020303" pitchFamily="34" charset="0"/>
                <a:cs typeface="CiscoSansTT ExtraLight" panose="020B0303020201020303" pitchFamily="34" charset="0"/>
              </a:defRPr>
            </a:lvl1pPr>
            <a:lvl2pPr>
              <a:defRPr sz="1467"/>
            </a:lvl2pPr>
            <a:lvl3pPr>
              <a:defRPr sz="1467"/>
            </a:lvl3pPr>
            <a:lvl4pPr>
              <a:defRPr sz="1467"/>
            </a:lvl4pPr>
            <a:lvl5pPr>
              <a:defRPr sz="1467"/>
            </a:lvl5pPr>
          </a:lstStyle>
          <a:p>
            <a:pPr>
              <a:lnSpc>
                <a:spcPct val="115000"/>
              </a:lnSpc>
            </a:pPr>
            <a:endParaRPr lang="en-US" sz="1467">
              <a:solidFill>
                <a:schemeClr val="tx1"/>
              </a:solidFill>
              <a:latin typeface="CiscoSansTT ExtraLight" panose="020B0303020201020303" pitchFamily="34" charset="0"/>
              <a:cs typeface="CiscoSansTT ExtraLight" panose="020B0303020201020303" pitchFamily="34" charset="0"/>
              <a:sym typeface="Helvetica Neue Light"/>
            </a:endParaRPr>
          </a:p>
        </p:txBody>
      </p:sp>
      <p:sp>
        <p:nvSpPr>
          <p:cNvPr id="14" name="Text Placeholder 13">
            <a:extLst>
              <a:ext uri="{FF2B5EF4-FFF2-40B4-BE49-F238E27FC236}">
                <a16:creationId xmlns:a16="http://schemas.microsoft.com/office/drawing/2014/main" id="{4962D45B-C6EB-254C-834A-83FDBA682DFE}"/>
              </a:ext>
            </a:extLst>
          </p:cNvPr>
          <p:cNvSpPr>
            <a:spLocks noGrp="1"/>
          </p:cNvSpPr>
          <p:nvPr>
            <p:ph type="body" sz="quarter" idx="10"/>
          </p:nvPr>
        </p:nvSpPr>
        <p:spPr>
          <a:xfrm>
            <a:off x="7484530" y="2495370"/>
            <a:ext cx="3786717" cy="368300"/>
          </a:xfrm>
          <a:prstGeom prst="rect">
            <a:avLst/>
          </a:prstGeom>
        </p:spPr>
        <p:txBody>
          <a:bodyPr/>
          <a:lstStyle>
            <a:lvl1pPr>
              <a:defRPr sz="1867" b="0" i="0">
                <a:solidFill>
                  <a:schemeClr val="accent1"/>
                </a:solidFill>
                <a:latin typeface="CiscoSansTT ExtraLight" panose="020B0303020201020303" pitchFamily="34" charset="0"/>
                <a:cs typeface="CiscoSansTT ExtraLight" panose="020B0303020201020303" pitchFamily="34" charset="0"/>
              </a:defRPr>
            </a:lvl1pPr>
          </a:lstStyle>
          <a:p>
            <a:pPr>
              <a:lnSpc>
                <a:spcPct val="115000"/>
              </a:lnSpc>
            </a:pPr>
            <a:endParaRPr lang="en-US">
              <a:solidFill>
                <a:schemeClr val="accent1"/>
              </a:solidFill>
              <a:latin typeface="CiscoSansTT ExtraLight" panose="020B0303020201020303" pitchFamily="34" charset="0"/>
              <a:cs typeface="CiscoSansTT ExtraLight" panose="020B0303020201020303" pitchFamily="34" charset="0"/>
              <a:sym typeface="Helvetica Neue Light"/>
            </a:endParaRPr>
          </a:p>
        </p:txBody>
      </p:sp>
      <p:sp>
        <p:nvSpPr>
          <p:cNvPr id="3" name="Google Shape;1144;p208">
            <a:extLst>
              <a:ext uri="{FF2B5EF4-FFF2-40B4-BE49-F238E27FC236}">
                <a16:creationId xmlns:a16="http://schemas.microsoft.com/office/drawing/2014/main" id="{6CED10B6-3538-6647-A237-DA7A74D0AA91}"/>
              </a:ext>
            </a:extLst>
          </p:cNvPr>
          <p:cNvSpPr/>
          <p:nvPr userDrawn="1"/>
        </p:nvSpPr>
        <p:spPr>
          <a:xfrm>
            <a:off x="-391333" y="466800"/>
            <a:ext cx="1540800" cy="1540800"/>
          </a:xfrm>
          <a:prstGeom prst="ellipse">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pic>
        <p:nvPicPr>
          <p:cNvPr id="6" name="Google Shape;1147;p208">
            <a:extLst>
              <a:ext uri="{FF2B5EF4-FFF2-40B4-BE49-F238E27FC236}">
                <a16:creationId xmlns:a16="http://schemas.microsoft.com/office/drawing/2014/main" id="{FD81E3C2-E027-144B-ACD4-2AAF9A3A73C2}"/>
              </a:ext>
            </a:extLst>
          </p:cNvPr>
          <p:cNvPicPr preferRelativeResize="0"/>
          <p:nvPr/>
        </p:nvPicPr>
        <p:blipFill rotWithShape="1">
          <a:blip r:embed="rId2">
            <a:alphaModFix/>
          </a:blip>
          <a:srcRect l="10303" t="12827" r="14762" b="18575"/>
          <a:stretch/>
        </p:blipFill>
        <p:spPr>
          <a:xfrm>
            <a:off x="-1109490" y="1328665"/>
            <a:ext cx="8478085" cy="4942479"/>
          </a:xfrm>
          <a:prstGeom prst="rect">
            <a:avLst/>
          </a:prstGeom>
          <a:noFill/>
          <a:ln>
            <a:noFill/>
          </a:ln>
        </p:spPr>
      </p:pic>
      <p:sp>
        <p:nvSpPr>
          <p:cNvPr id="11" name="Text Placeholder 9">
            <a:extLst>
              <a:ext uri="{FF2B5EF4-FFF2-40B4-BE49-F238E27FC236}">
                <a16:creationId xmlns:a16="http://schemas.microsoft.com/office/drawing/2014/main" id="{EA76D1E0-B63D-6C4C-997C-DDEBE1B617D7}"/>
              </a:ext>
            </a:extLst>
          </p:cNvPr>
          <p:cNvSpPr>
            <a:spLocks noGrp="1"/>
          </p:cNvSpPr>
          <p:nvPr>
            <p:ph type="body" sz="quarter" idx="14" hasCustomPrompt="1"/>
          </p:nvPr>
        </p:nvSpPr>
        <p:spPr>
          <a:xfrm>
            <a:off x="7460834" y="512064"/>
            <a:ext cx="3564468" cy="1580813"/>
          </a:xfrm>
          <a:prstGeom prst="rect">
            <a:avLst/>
          </a:prstGeom>
        </p:spPr>
        <p:txBody>
          <a:bodyPr/>
          <a:lstStyle>
            <a:lvl1pPr>
              <a:defRPr sz="4000"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itle</a:t>
            </a:r>
            <a:endParaRPr lang="en-US"/>
          </a:p>
        </p:txBody>
      </p:sp>
      <p:pic>
        <p:nvPicPr>
          <p:cNvPr id="12" name="Picture 11">
            <a:extLst>
              <a:ext uri="{FF2B5EF4-FFF2-40B4-BE49-F238E27FC236}">
                <a16:creationId xmlns:a16="http://schemas.microsoft.com/office/drawing/2014/main" id="{FD55DAAE-226F-47D7-B232-443560589714}"/>
              </a:ext>
            </a:extLst>
          </p:cNvPr>
          <p:cNvPicPr>
            <a:picLocks noChangeAspect="1"/>
          </p:cNvPicPr>
          <p:nvPr userDrawn="1"/>
        </p:nvPicPr>
        <p:blipFill rotWithShape="1">
          <a:blip r:embed="rId3"/>
          <a:srcRect l="396" r="22100" b="5115"/>
          <a:stretch/>
        </p:blipFill>
        <p:spPr>
          <a:xfrm>
            <a:off x="152403" y="1671187"/>
            <a:ext cx="5874328" cy="3648960"/>
          </a:xfrm>
          <a:prstGeom prst="rect">
            <a:avLst/>
          </a:prstGeom>
        </p:spPr>
      </p:pic>
    </p:spTree>
    <p:extLst>
      <p:ext uri="{BB962C8B-B14F-4D97-AF65-F5344CB8AC3E}">
        <p14:creationId xmlns:p14="http://schemas.microsoft.com/office/powerpoint/2010/main" val="6635167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oint List 2">
    <p:spTree>
      <p:nvGrpSpPr>
        <p:cNvPr id="1" name=""/>
        <p:cNvGrpSpPr/>
        <p:nvPr/>
      </p:nvGrpSpPr>
      <p:grpSpPr>
        <a:xfrm>
          <a:off x="0" y="0"/>
          <a:ext cx="0" cy="0"/>
          <a:chOff x="0" y="0"/>
          <a:chExt cx="0" cy="0"/>
        </a:xfrm>
      </p:grpSpPr>
      <p:sp>
        <p:nvSpPr>
          <p:cNvPr id="16" name="Text Placeholder 13">
            <a:extLst>
              <a:ext uri="{FF2B5EF4-FFF2-40B4-BE49-F238E27FC236}">
                <a16:creationId xmlns:a16="http://schemas.microsoft.com/office/drawing/2014/main" id="{283383B7-A0E5-3B4C-B4FC-5AE6D6C06DE0}"/>
              </a:ext>
            </a:extLst>
          </p:cNvPr>
          <p:cNvSpPr>
            <a:spLocks noGrp="1"/>
          </p:cNvSpPr>
          <p:nvPr>
            <p:ph type="body" sz="quarter" idx="13"/>
          </p:nvPr>
        </p:nvSpPr>
        <p:spPr>
          <a:xfrm>
            <a:off x="7559494" y="4855645"/>
            <a:ext cx="3155949" cy="361951"/>
          </a:xfrm>
          <a:prstGeom prst="rect">
            <a:avLst/>
          </a:prstGeom>
        </p:spPr>
        <p:txBody>
          <a:bodyPr/>
          <a:lstStyle>
            <a:lvl1pPr>
              <a:defRPr sz="2133" b="0" i="0">
                <a:solidFill>
                  <a:schemeClr val="tx1"/>
                </a:solidFill>
                <a:latin typeface="CiscoSansTT ExtraLight" panose="020B0303020201020303" pitchFamily="34" charset="0"/>
                <a:cs typeface="CiscoSansTT ExtraLight" panose="020B0303020201020303" pitchFamily="34" charset="0"/>
              </a:defRPr>
            </a:lvl1pPr>
            <a:lvl2pPr>
              <a:defRPr sz="2133"/>
            </a:lvl2pPr>
            <a:lvl3pPr>
              <a:defRPr sz="2133"/>
            </a:lvl3pPr>
            <a:lvl4pPr>
              <a:defRPr sz="2133"/>
            </a:lvl4pPr>
            <a:lvl5pPr>
              <a:defRPr sz="2133"/>
            </a:lvl5pPr>
          </a:lstStyle>
          <a:p>
            <a:endParaRPr lang="en-US" sz="2133">
              <a:solidFill>
                <a:schemeClr val="tx1"/>
              </a:solidFill>
              <a:latin typeface="CiscoSansTT ExtraLight" panose="020B0303020201020303" pitchFamily="34" charset="0"/>
              <a:cs typeface="CiscoSansTT ExtraLight" panose="020B0303020201020303" pitchFamily="34" charset="0"/>
            </a:endParaRPr>
          </a:p>
        </p:txBody>
      </p:sp>
      <p:sp>
        <p:nvSpPr>
          <p:cNvPr id="15" name="Text Placeholder 13">
            <a:extLst>
              <a:ext uri="{FF2B5EF4-FFF2-40B4-BE49-F238E27FC236}">
                <a16:creationId xmlns:a16="http://schemas.microsoft.com/office/drawing/2014/main" id="{0E1A1A50-E09C-BC41-BEB2-5590491B06A6}"/>
              </a:ext>
            </a:extLst>
          </p:cNvPr>
          <p:cNvSpPr>
            <a:spLocks noGrp="1"/>
          </p:cNvSpPr>
          <p:nvPr>
            <p:ph type="body" sz="quarter" idx="12"/>
          </p:nvPr>
        </p:nvSpPr>
        <p:spPr>
          <a:xfrm>
            <a:off x="7559494" y="3191705"/>
            <a:ext cx="3155949" cy="361951"/>
          </a:xfrm>
          <a:prstGeom prst="rect">
            <a:avLst/>
          </a:prstGeom>
        </p:spPr>
        <p:txBody>
          <a:bodyPr/>
          <a:lstStyle>
            <a:lvl1pPr>
              <a:defRPr sz="2133" b="0" i="0">
                <a:solidFill>
                  <a:schemeClr val="tx1"/>
                </a:solidFill>
                <a:latin typeface="CiscoSansTT ExtraLight" panose="020B0303020201020303" pitchFamily="34" charset="0"/>
                <a:cs typeface="CiscoSansTT ExtraLight" panose="020B0303020201020303" pitchFamily="34" charset="0"/>
              </a:defRPr>
            </a:lvl1pPr>
            <a:lvl2pPr>
              <a:defRPr sz="2133"/>
            </a:lvl2pPr>
            <a:lvl3pPr>
              <a:defRPr sz="2133"/>
            </a:lvl3pPr>
            <a:lvl4pPr>
              <a:defRPr sz="2133"/>
            </a:lvl4pPr>
            <a:lvl5pPr>
              <a:defRPr sz="2133"/>
            </a:lvl5pPr>
          </a:lstStyle>
          <a:p>
            <a:endParaRPr lang="en-US" sz="2133">
              <a:solidFill>
                <a:schemeClr val="tx1"/>
              </a:solidFill>
              <a:latin typeface="CiscoSansTT ExtraLight" panose="020B0303020201020303" pitchFamily="34" charset="0"/>
              <a:cs typeface="CiscoSansTT ExtraLight" panose="020B0303020201020303" pitchFamily="34" charset="0"/>
            </a:endParaRPr>
          </a:p>
        </p:txBody>
      </p:sp>
      <p:sp>
        <p:nvSpPr>
          <p:cNvPr id="14" name="Text Placeholder 13">
            <a:extLst>
              <a:ext uri="{FF2B5EF4-FFF2-40B4-BE49-F238E27FC236}">
                <a16:creationId xmlns:a16="http://schemas.microsoft.com/office/drawing/2014/main" id="{719A126E-1EB3-EF42-BC33-C1F2B52F3F84}"/>
              </a:ext>
            </a:extLst>
          </p:cNvPr>
          <p:cNvSpPr>
            <a:spLocks noGrp="1"/>
          </p:cNvSpPr>
          <p:nvPr>
            <p:ph type="body" sz="quarter" idx="11"/>
          </p:nvPr>
        </p:nvSpPr>
        <p:spPr>
          <a:xfrm>
            <a:off x="7559494" y="1535433"/>
            <a:ext cx="3155949" cy="361951"/>
          </a:xfrm>
          <a:prstGeom prst="rect">
            <a:avLst/>
          </a:prstGeom>
        </p:spPr>
        <p:txBody>
          <a:bodyPr/>
          <a:lstStyle>
            <a:lvl1pPr>
              <a:defRPr sz="2133" b="0" i="0">
                <a:solidFill>
                  <a:schemeClr val="tx1"/>
                </a:solidFill>
                <a:latin typeface="CiscoSansTT ExtraLight" panose="020B0303020201020303" pitchFamily="34" charset="0"/>
                <a:cs typeface="CiscoSansTT ExtraLight" panose="020B0303020201020303" pitchFamily="34" charset="0"/>
              </a:defRPr>
            </a:lvl1pPr>
            <a:lvl2pPr>
              <a:defRPr sz="2133"/>
            </a:lvl2pPr>
            <a:lvl3pPr>
              <a:defRPr sz="2133"/>
            </a:lvl3pPr>
            <a:lvl4pPr>
              <a:defRPr sz="2133"/>
            </a:lvl4pPr>
            <a:lvl5pPr>
              <a:defRPr sz="2133"/>
            </a:lvl5pPr>
          </a:lstStyle>
          <a:p>
            <a:endParaRPr lang="en-US" sz="2133">
              <a:solidFill>
                <a:schemeClr val="tx1"/>
              </a:solidFill>
              <a:latin typeface="CiscoSansTT ExtraLight" panose="020B0303020201020303" pitchFamily="34" charset="0"/>
              <a:cs typeface="CiscoSansTT ExtraLight" panose="020B0303020201020303" pitchFamily="34" charset="0"/>
            </a:endParaRPr>
          </a:p>
        </p:txBody>
      </p:sp>
      <p:sp>
        <p:nvSpPr>
          <p:cNvPr id="12" name="Text Placeholder 7">
            <a:extLst>
              <a:ext uri="{FF2B5EF4-FFF2-40B4-BE49-F238E27FC236}">
                <a16:creationId xmlns:a16="http://schemas.microsoft.com/office/drawing/2014/main" id="{B42ACD8F-CFFE-CE4A-853F-583D069DE65C}"/>
              </a:ext>
            </a:extLst>
          </p:cNvPr>
          <p:cNvSpPr>
            <a:spLocks noGrp="1"/>
          </p:cNvSpPr>
          <p:nvPr>
            <p:ph type="body" sz="quarter" idx="10"/>
          </p:nvPr>
        </p:nvSpPr>
        <p:spPr>
          <a:xfrm>
            <a:off x="639188" y="3836477"/>
            <a:ext cx="3455483" cy="1179600"/>
          </a:xfrm>
          <a:prstGeom prst="rect">
            <a:avLst/>
          </a:prstGeom>
        </p:spPr>
        <p:txBody>
          <a:bodyPr/>
          <a:lstStyle>
            <a:lvl1pPr>
              <a:defRPr sz="1467" b="0" i="0">
                <a:solidFill>
                  <a:schemeClr val="tx1"/>
                </a:solidFill>
                <a:latin typeface="CiscoSansTT ExtraLight" panose="020B0303020201020303" pitchFamily="34" charset="0"/>
                <a:cs typeface="CiscoSansTT ExtraLight" panose="020B0303020201020303" pitchFamily="34" charset="0"/>
              </a:defRPr>
            </a:lvl1pPr>
            <a:lvl2pPr>
              <a:defRPr sz="1467" b="0" i="0">
                <a:solidFill>
                  <a:schemeClr val="tx1"/>
                </a:solidFill>
                <a:latin typeface="CiscoSansTT ExtraLight" panose="020B0303020201020303" pitchFamily="34" charset="0"/>
                <a:cs typeface="CiscoSansTT ExtraLight" panose="020B0303020201020303" pitchFamily="34" charset="0"/>
              </a:defRPr>
            </a:lvl2pPr>
            <a:lvl3pPr>
              <a:defRPr sz="1467" b="0" i="0">
                <a:solidFill>
                  <a:schemeClr val="tx1"/>
                </a:solidFill>
                <a:latin typeface="CiscoSansTT ExtraLight" panose="020B0303020201020303" pitchFamily="34" charset="0"/>
                <a:cs typeface="CiscoSansTT ExtraLight" panose="020B0303020201020303" pitchFamily="34" charset="0"/>
              </a:defRPr>
            </a:lvl3pPr>
            <a:lvl4pPr>
              <a:defRPr sz="1467" b="0" i="0">
                <a:solidFill>
                  <a:schemeClr val="tx1"/>
                </a:solidFill>
                <a:latin typeface="CiscoSansTT ExtraLight" panose="020B0303020201020303" pitchFamily="34" charset="0"/>
                <a:cs typeface="CiscoSansTT ExtraLight" panose="020B0303020201020303" pitchFamily="34" charset="0"/>
              </a:defRPr>
            </a:lvl4pPr>
            <a:lvl5pPr>
              <a:defRPr sz="1467" b="0" i="0">
                <a:solidFill>
                  <a:schemeClr val="tx1"/>
                </a:solidFill>
                <a:latin typeface="CiscoSansTT ExtraLight" panose="020B0303020201020303" pitchFamily="34" charset="0"/>
                <a:cs typeface="CiscoSansTT ExtraLight" panose="020B0303020201020303" pitchFamily="34" charset="0"/>
              </a:defRPr>
            </a:lvl5pPr>
          </a:lstStyle>
          <a:p>
            <a:pPr>
              <a:lnSpc>
                <a:spcPct val="115000"/>
              </a:lnSpc>
            </a:pPr>
            <a:endParaRPr lang="en-US" sz="1467">
              <a:solidFill>
                <a:schemeClr val="tx1"/>
              </a:solidFill>
              <a:latin typeface="CiscoSansTT ExtraLight" panose="020B0303020201020303" pitchFamily="34" charset="0"/>
              <a:cs typeface="CiscoSansTT ExtraLight" panose="020B0303020201020303" pitchFamily="34" charset="0"/>
              <a:sym typeface="Helvetica Neue Light"/>
            </a:endParaRPr>
          </a:p>
        </p:txBody>
      </p:sp>
      <p:sp>
        <p:nvSpPr>
          <p:cNvPr id="3" name="Google Shape;991;p198">
            <a:extLst>
              <a:ext uri="{FF2B5EF4-FFF2-40B4-BE49-F238E27FC236}">
                <a16:creationId xmlns:a16="http://schemas.microsoft.com/office/drawing/2014/main" id="{93B0408F-1A69-ED48-8028-E2E1EBEA6215}"/>
              </a:ext>
            </a:extLst>
          </p:cNvPr>
          <p:cNvSpPr/>
          <p:nvPr userDrawn="1"/>
        </p:nvSpPr>
        <p:spPr>
          <a:xfrm>
            <a:off x="6172033" y="1207433"/>
            <a:ext cx="1109600" cy="1109600"/>
          </a:xfrm>
          <a:prstGeom prst="ellipse">
            <a:avLst/>
          </a:prstGeom>
          <a:solidFill>
            <a:srgbClr val="F3F7F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6" name="Google Shape;995;p198">
            <a:extLst>
              <a:ext uri="{FF2B5EF4-FFF2-40B4-BE49-F238E27FC236}">
                <a16:creationId xmlns:a16="http://schemas.microsoft.com/office/drawing/2014/main" id="{D7ABA654-3FF4-5648-AD89-5167E4AE5CFF}"/>
              </a:ext>
            </a:extLst>
          </p:cNvPr>
          <p:cNvSpPr/>
          <p:nvPr userDrawn="1"/>
        </p:nvSpPr>
        <p:spPr>
          <a:xfrm>
            <a:off x="-664967" y="-787367"/>
            <a:ext cx="1791600" cy="1791600"/>
          </a:xfrm>
          <a:prstGeom prst="ellipse">
            <a:avLst/>
          </a:pr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8" name="Google Shape;997;p198">
            <a:extLst>
              <a:ext uri="{FF2B5EF4-FFF2-40B4-BE49-F238E27FC236}">
                <a16:creationId xmlns:a16="http://schemas.microsoft.com/office/drawing/2014/main" id="{FC3DE68A-567A-EA44-A9EF-0602F0CDE066}"/>
              </a:ext>
            </a:extLst>
          </p:cNvPr>
          <p:cNvSpPr/>
          <p:nvPr userDrawn="1"/>
        </p:nvSpPr>
        <p:spPr>
          <a:xfrm>
            <a:off x="6172033" y="2856867"/>
            <a:ext cx="1109600" cy="1109600"/>
          </a:xfrm>
          <a:prstGeom prst="ellipse">
            <a:avLst/>
          </a:prstGeom>
          <a:solidFill>
            <a:srgbClr val="F3F7F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0" name="Google Shape;999;p198">
            <a:extLst>
              <a:ext uri="{FF2B5EF4-FFF2-40B4-BE49-F238E27FC236}">
                <a16:creationId xmlns:a16="http://schemas.microsoft.com/office/drawing/2014/main" id="{DB8AC9AE-1CD1-7D4F-B6C0-DC1AB03BB5F7}"/>
              </a:ext>
            </a:extLst>
          </p:cNvPr>
          <p:cNvSpPr/>
          <p:nvPr userDrawn="1"/>
        </p:nvSpPr>
        <p:spPr>
          <a:xfrm>
            <a:off x="6172033" y="4506300"/>
            <a:ext cx="1109600" cy="1109600"/>
          </a:xfrm>
          <a:prstGeom prst="ellipse">
            <a:avLst/>
          </a:prstGeom>
          <a:solidFill>
            <a:srgbClr val="F3F7F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1" name="Text Placeholder 9">
            <a:extLst>
              <a:ext uri="{FF2B5EF4-FFF2-40B4-BE49-F238E27FC236}">
                <a16:creationId xmlns:a16="http://schemas.microsoft.com/office/drawing/2014/main" id="{FE56F998-1687-4C4C-9CE7-BD0C4B7E758F}"/>
              </a:ext>
            </a:extLst>
          </p:cNvPr>
          <p:cNvSpPr>
            <a:spLocks noGrp="1"/>
          </p:cNvSpPr>
          <p:nvPr>
            <p:ph type="body" sz="quarter" idx="14" hasCustomPrompt="1"/>
          </p:nvPr>
        </p:nvSpPr>
        <p:spPr>
          <a:xfrm>
            <a:off x="584695" y="2255664"/>
            <a:ext cx="3564468" cy="1580813"/>
          </a:xfrm>
          <a:prstGeom prst="rect">
            <a:avLst/>
          </a:prstGeom>
        </p:spPr>
        <p:txBody>
          <a:bodyPr/>
          <a:lstStyle>
            <a:lvl1pPr>
              <a:defRPr sz="4000"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itle</a:t>
            </a:r>
            <a:endParaRPr lang="en-US"/>
          </a:p>
        </p:txBody>
      </p:sp>
    </p:spTree>
    <p:extLst>
      <p:ext uri="{BB962C8B-B14F-4D97-AF65-F5344CB8AC3E}">
        <p14:creationId xmlns:p14="http://schemas.microsoft.com/office/powerpoint/2010/main" val="38872542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Left">
    <p:spTree>
      <p:nvGrpSpPr>
        <p:cNvPr id="1" name=""/>
        <p:cNvGrpSpPr/>
        <p:nvPr/>
      </p:nvGrpSpPr>
      <p:grpSpPr>
        <a:xfrm>
          <a:off x="0" y="0"/>
          <a:ext cx="0" cy="0"/>
          <a:chOff x="0" y="0"/>
          <a:chExt cx="0" cy="0"/>
        </a:xfrm>
      </p:grpSpPr>
      <p:sp>
        <p:nvSpPr>
          <p:cNvPr id="12" name="Text Placeholder 7">
            <a:extLst>
              <a:ext uri="{FF2B5EF4-FFF2-40B4-BE49-F238E27FC236}">
                <a16:creationId xmlns:a16="http://schemas.microsoft.com/office/drawing/2014/main" id="{B42ACD8F-CFFE-CE4A-853F-583D069DE65C}"/>
              </a:ext>
            </a:extLst>
          </p:cNvPr>
          <p:cNvSpPr>
            <a:spLocks noGrp="1"/>
          </p:cNvSpPr>
          <p:nvPr>
            <p:ph type="body" sz="quarter" idx="10"/>
          </p:nvPr>
        </p:nvSpPr>
        <p:spPr>
          <a:xfrm>
            <a:off x="639188" y="3836477"/>
            <a:ext cx="3455483" cy="1179600"/>
          </a:xfrm>
          <a:prstGeom prst="rect">
            <a:avLst/>
          </a:prstGeom>
        </p:spPr>
        <p:txBody>
          <a:bodyPr/>
          <a:lstStyle>
            <a:lvl1pPr>
              <a:defRPr sz="1467" b="0" i="0">
                <a:solidFill>
                  <a:schemeClr val="tx1"/>
                </a:solidFill>
                <a:latin typeface="CiscoSansTT ExtraLight" panose="020B0303020201020303" pitchFamily="34" charset="0"/>
                <a:cs typeface="CiscoSansTT ExtraLight" panose="020B0303020201020303" pitchFamily="34" charset="0"/>
              </a:defRPr>
            </a:lvl1pPr>
            <a:lvl2pPr>
              <a:defRPr sz="1467" b="0" i="0">
                <a:solidFill>
                  <a:schemeClr val="tx1"/>
                </a:solidFill>
                <a:latin typeface="CiscoSansTT ExtraLight" panose="020B0303020201020303" pitchFamily="34" charset="0"/>
                <a:cs typeface="CiscoSansTT ExtraLight" panose="020B0303020201020303" pitchFamily="34" charset="0"/>
              </a:defRPr>
            </a:lvl2pPr>
            <a:lvl3pPr>
              <a:defRPr sz="1467" b="0" i="0">
                <a:solidFill>
                  <a:schemeClr val="tx1"/>
                </a:solidFill>
                <a:latin typeface="CiscoSansTT ExtraLight" panose="020B0303020201020303" pitchFamily="34" charset="0"/>
                <a:cs typeface="CiscoSansTT ExtraLight" panose="020B0303020201020303" pitchFamily="34" charset="0"/>
              </a:defRPr>
            </a:lvl3pPr>
            <a:lvl4pPr>
              <a:defRPr sz="1467" b="0" i="0">
                <a:solidFill>
                  <a:schemeClr val="tx1"/>
                </a:solidFill>
                <a:latin typeface="CiscoSansTT ExtraLight" panose="020B0303020201020303" pitchFamily="34" charset="0"/>
                <a:cs typeface="CiscoSansTT ExtraLight" panose="020B0303020201020303" pitchFamily="34" charset="0"/>
              </a:defRPr>
            </a:lvl4pPr>
            <a:lvl5pPr>
              <a:defRPr sz="1467" b="0" i="0">
                <a:solidFill>
                  <a:schemeClr val="tx1"/>
                </a:solidFill>
                <a:latin typeface="CiscoSansTT ExtraLight" panose="020B0303020201020303" pitchFamily="34" charset="0"/>
                <a:cs typeface="CiscoSansTT ExtraLight" panose="020B0303020201020303" pitchFamily="34" charset="0"/>
              </a:defRPr>
            </a:lvl5pPr>
          </a:lstStyle>
          <a:p>
            <a:pPr>
              <a:lnSpc>
                <a:spcPct val="115000"/>
              </a:lnSpc>
            </a:pPr>
            <a:endParaRPr lang="en-US" sz="1467">
              <a:solidFill>
                <a:schemeClr val="tx1"/>
              </a:solidFill>
              <a:latin typeface="CiscoSansTT ExtraLight" panose="020B0303020201020303" pitchFamily="34" charset="0"/>
              <a:cs typeface="CiscoSansTT ExtraLight" panose="020B0303020201020303" pitchFamily="34" charset="0"/>
              <a:sym typeface="Helvetica Neue Light"/>
            </a:endParaRPr>
          </a:p>
        </p:txBody>
      </p:sp>
      <p:sp>
        <p:nvSpPr>
          <p:cNvPr id="5" name="Text Placeholder 9">
            <a:extLst>
              <a:ext uri="{FF2B5EF4-FFF2-40B4-BE49-F238E27FC236}">
                <a16:creationId xmlns:a16="http://schemas.microsoft.com/office/drawing/2014/main" id="{46CF2CB9-94B1-6746-B0FC-C5D7CF500A31}"/>
              </a:ext>
            </a:extLst>
          </p:cNvPr>
          <p:cNvSpPr>
            <a:spLocks noGrp="1"/>
          </p:cNvSpPr>
          <p:nvPr>
            <p:ph type="body" sz="quarter" idx="14" hasCustomPrompt="1"/>
          </p:nvPr>
        </p:nvSpPr>
        <p:spPr>
          <a:xfrm>
            <a:off x="584695" y="2255664"/>
            <a:ext cx="3564468" cy="1580813"/>
          </a:xfrm>
          <a:prstGeom prst="rect">
            <a:avLst/>
          </a:prstGeom>
        </p:spPr>
        <p:txBody>
          <a:bodyPr/>
          <a:lstStyle>
            <a:lvl1pPr>
              <a:defRPr sz="4000"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itle</a:t>
            </a:r>
            <a:endParaRPr lang="en-US"/>
          </a:p>
        </p:txBody>
      </p:sp>
    </p:spTree>
    <p:extLst>
      <p:ext uri="{BB962C8B-B14F-4D97-AF65-F5344CB8AC3E}">
        <p14:creationId xmlns:p14="http://schemas.microsoft.com/office/powerpoint/2010/main" val="9829911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Top Centre">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C1246713-C040-2E42-85D6-7551D77BE603}"/>
              </a:ext>
            </a:extLst>
          </p:cNvPr>
          <p:cNvSpPr>
            <a:spLocks noGrp="1"/>
          </p:cNvSpPr>
          <p:nvPr>
            <p:ph type="body" sz="quarter" idx="14" hasCustomPrompt="1"/>
          </p:nvPr>
        </p:nvSpPr>
        <p:spPr>
          <a:xfrm>
            <a:off x="1570000" y="550633"/>
            <a:ext cx="9052000" cy="685200"/>
          </a:xfrm>
          <a:prstGeom prst="rect">
            <a:avLst/>
          </a:prstGeom>
        </p:spPr>
        <p:txBody>
          <a:bodyPr/>
          <a:lstStyle>
            <a:lvl1pPr algn="ctr">
              <a:defRPr sz="4000" b="0" i="0">
                <a:solidFill>
                  <a:schemeClr val="tx1"/>
                </a:solidFill>
                <a:latin typeface="CiscoSansTT ExtraLight" panose="020B0303020201020303" pitchFamily="34" charset="0"/>
                <a:cs typeface="CiscoSansTT ExtraLight" panose="020B0303020201020303" pitchFamily="34" charset="0"/>
              </a:defRPr>
            </a:lvl1pPr>
          </a:lstStyle>
          <a:p>
            <a:pPr lvl="0"/>
            <a:r>
              <a:rPr lang="en-GB"/>
              <a:t>Click to add title</a:t>
            </a:r>
            <a:endParaRPr lang="en-US"/>
          </a:p>
        </p:txBody>
      </p:sp>
    </p:spTree>
    <p:extLst>
      <p:ext uri="{BB962C8B-B14F-4D97-AF65-F5344CB8AC3E}">
        <p14:creationId xmlns:p14="http://schemas.microsoft.com/office/powerpoint/2010/main" val="13817507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5" Type="http://schemas.openxmlformats.org/officeDocument/2006/relationships/theme" Target="../theme/theme2.xml"/><Relationship Id="rId4"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40.xml"/><Relationship Id="rId1"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42.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43.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6.xml"/><Relationship Id="rId7" Type="http://schemas.openxmlformats.org/officeDocument/2006/relationships/theme" Target="../theme/theme7.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4"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9"/>
        <p:cNvGrpSpPr/>
        <p:nvPr/>
      </p:nvGrpSpPr>
      <p:grpSpPr>
        <a:xfrm>
          <a:off x="0" y="0"/>
          <a:ext cx="0" cy="0"/>
          <a:chOff x="0" y="0"/>
          <a:chExt cx="0" cy="0"/>
        </a:xfrm>
      </p:grpSpPr>
      <p:sp>
        <p:nvSpPr>
          <p:cNvPr id="11" name="Google Shape;11;p1"/>
          <p:cNvSpPr/>
          <p:nvPr/>
        </p:nvSpPr>
        <p:spPr>
          <a:xfrm>
            <a:off x="636907" y="6324615"/>
            <a:ext cx="4534800" cy="206000"/>
          </a:xfrm>
          <a:prstGeom prst="rect">
            <a:avLst/>
          </a:prstGeom>
          <a:noFill/>
          <a:ln>
            <a:noFill/>
          </a:ln>
        </p:spPr>
        <p:txBody>
          <a:bodyPr spcFirstLastPara="1" wrap="square" lIns="82100" tIns="41033" rIns="82100" bIns="41033" anchor="b" anchorCtr="0">
            <a:noAutofit/>
          </a:bodyPr>
          <a:lstStyle/>
          <a:p>
            <a:pPr marL="0" marR="0" lvl="0" indent="0" algn="l" rtl="0">
              <a:spcBef>
                <a:spcPts val="0"/>
              </a:spcBef>
              <a:spcAft>
                <a:spcPts val="0"/>
              </a:spcAft>
              <a:buNone/>
            </a:pPr>
            <a:r>
              <a:rPr lang="en-US" sz="800" b="0" i="0">
                <a:solidFill>
                  <a:srgbClr val="B9BDC2"/>
                </a:solidFill>
                <a:latin typeface="CiscoSansTT ExtraLight" panose="020B0303020201020303" pitchFamily="34" charset="0"/>
                <a:ea typeface="Helvetica Neue Light"/>
                <a:cs typeface="CiscoSansTT ExtraLight" panose="020B0303020201020303" pitchFamily="34" charset="0"/>
                <a:sym typeface="Helvetica Neue Light"/>
              </a:rPr>
              <a:t>© 2020  Cisco and/or its affiliates. All rights reserved. Cisco Confidential</a:t>
            </a:r>
            <a:endParaRPr sz="800" b="0" i="0">
              <a:solidFill>
                <a:srgbClr val="B9BDC2"/>
              </a:solidFill>
              <a:latin typeface="CiscoSansTT ExtraLight" panose="020B0303020201020303" pitchFamily="34" charset="0"/>
              <a:ea typeface="Helvetica Neue Light"/>
              <a:cs typeface="CiscoSansTT ExtraLight" panose="020B0303020201020303" pitchFamily="34" charset="0"/>
              <a:sym typeface="Helvetica Neue Light"/>
            </a:endParaRPr>
          </a:p>
        </p:txBody>
      </p:sp>
      <p:sp>
        <p:nvSpPr>
          <p:cNvPr id="5" name="Google Shape;775;p184">
            <a:extLst>
              <a:ext uri="{FF2B5EF4-FFF2-40B4-BE49-F238E27FC236}">
                <a16:creationId xmlns:a16="http://schemas.microsoft.com/office/drawing/2014/main" id="{749EE712-55CA-5140-9777-7364460E6153}"/>
              </a:ext>
            </a:extLst>
          </p:cNvPr>
          <p:cNvSpPr txBox="1">
            <a:spLocks/>
          </p:cNvSpPr>
          <p:nvPr userDrawn="1"/>
        </p:nvSpPr>
        <p:spPr>
          <a:xfrm>
            <a:off x="6186316" y="2437540"/>
            <a:ext cx="3864400" cy="3776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tx1"/>
                </a:solidFill>
                <a:latin typeface="CiscoSansTT ExtraLight" panose="020B0303020201020303" pitchFamily="34" charset="0"/>
                <a:ea typeface="Arial"/>
                <a:cs typeface="CiscoSansTT ExtraLight" panose="020B0303020201020303"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SzPts val="800"/>
            </a:pPr>
            <a:endParaRPr lang="en-US" sz="2133">
              <a:ea typeface="Helvetica Neue Light"/>
              <a:sym typeface="Helvetica Neue Light"/>
            </a:endParaRPr>
          </a:p>
        </p:txBody>
      </p:sp>
      <p:sp>
        <p:nvSpPr>
          <p:cNvPr id="6" name="Google Shape;779;p184">
            <a:extLst>
              <a:ext uri="{FF2B5EF4-FFF2-40B4-BE49-F238E27FC236}">
                <a16:creationId xmlns:a16="http://schemas.microsoft.com/office/drawing/2014/main" id="{8BE808AE-5BD5-EA4B-9F3E-BA66E4D3B144}"/>
              </a:ext>
            </a:extLst>
          </p:cNvPr>
          <p:cNvSpPr txBox="1">
            <a:spLocks/>
          </p:cNvSpPr>
          <p:nvPr userDrawn="1"/>
        </p:nvSpPr>
        <p:spPr>
          <a:xfrm>
            <a:off x="6186316" y="3212879"/>
            <a:ext cx="3864400" cy="3776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tx1"/>
                </a:solidFill>
                <a:latin typeface="CiscoSansTT ExtraLight" panose="020B0303020201020303" pitchFamily="34" charset="0"/>
                <a:ea typeface="Arial"/>
                <a:cs typeface="CiscoSansTT ExtraLight" panose="020B0303020201020303"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SzPts val="800"/>
            </a:pPr>
            <a:endParaRPr lang="en-US" sz="2133">
              <a:ea typeface="Helvetica Neue Light"/>
              <a:sym typeface="Helvetica Neue Light"/>
            </a:endParaRPr>
          </a:p>
        </p:txBody>
      </p:sp>
      <p:sp>
        <p:nvSpPr>
          <p:cNvPr id="7" name="Google Shape;783;p184">
            <a:extLst>
              <a:ext uri="{FF2B5EF4-FFF2-40B4-BE49-F238E27FC236}">
                <a16:creationId xmlns:a16="http://schemas.microsoft.com/office/drawing/2014/main" id="{8C9BCFAB-4B90-6F45-8D08-8BBEFDC6D5BF}"/>
              </a:ext>
            </a:extLst>
          </p:cNvPr>
          <p:cNvSpPr txBox="1">
            <a:spLocks/>
          </p:cNvSpPr>
          <p:nvPr userDrawn="1"/>
        </p:nvSpPr>
        <p:spPr>
          <a:xfrm>
            <a:off x="6186316" y="3990549"/>
            <a:ext cx="3864400" cy="3776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tx1"/>
                </a:solidFill>
                <a:latin typeface="CiscoSansTT ExtraLight" panose="020B0303020201020303" pitchFamily="34" charset="0"/>
                <a:ea typeface="Arial"/>
                <a:cs typeface="CiscoSansTT ExtraLight" panose="020B0303020201020303"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SzPts val="800"/>
            </a:pPr>
            <a:endParaRPr lang="en-US" sz="2133">
              <a:ea typeface="Helvetica Neue Light"/>
              <a:sym typeface="Helvetica Neue Light"/>
            </a:endParaRPr>
          </a:p>
        </p:txBody>
      </p:sp>
      <p:sp>
        <p:nvSpPr>
          <p:cNvPr id="8" name="Google Shape;784;p184">
            <a:extLst>
              <a:ext uri="{FF2B5EF4-FFF2-40B4-BE49-F238E27FC236}">
                <a16:creationId xmlns:a16="http://schemas.microsoft.com/office/drawing/2014/main" id="{A9484629-4846-104D-A9BB-D25A81C2E273}"/>
              </a:ext>
            </a:extLst>
          </p:cNvPr>
          <p:cNvSpPr txBox="1">
            <a:spLocks/>
          </p:cNvSpPr>
          <p:nvPr userDrawn="1"/>
        </p:nvSpPr>
        <p:spPr>
          <a:xfrm>
            <a:off x="6186316" y="4761256"/>
            <a:ext cx="3864400" cy="3776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tx1"/>
                </a:solidFill>
                <a:latin typeface="CiscoSansTT ExtraLight" panose="020B0303020201020303" pitchFamily="34" charset="0"/>
                <a:ea typeface="Arial"/>
                <a:cs typeface="CiscoSansTT ExtraLight" panose="020B0303020201020303"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SzPts val="800"/>
            </a:pPr>
            <a:endParaRPr lang="en-US" sz="2133">
              <a:ea typeface="Helvetica Neue Light"/>
              <a:sym typeface="Helvetica Neue Light"/>
            </a:endParaRPr>
          </a:p>
        </p:txBody>
      </p:sp>
      <p:sp>
        <p:nvSpPr>
          <p:cNvPr id="9" name="Google Shape;788;p184">
            <a:extLst>
              <a:ext uri="{FF2B5EF4-FFF2-40B4-BE49-F238E27FC236}">
                <a16:creationId xmlns:a16="http://schemas.microsoft.com/office/drawing/2014/main" id="{CED24F07-DF3F-3447-81C6-A74561F8A89E}"/>
              </a:ext>
            </a:extLst>
          </p:cNvPr>
          <p:cNvSpPr txBox="1">
            <a:spLocks/>
          </p:cNvSpPr>
          <p:nvPr userDrawn="1"/>
        </p:nvSpPr>
        <p:spPr>
          <a:xfrm>
            <a:off x="6186316" y="5537275"/>
            <a:ext cx="3864400" cy="3776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tx1"/>
                </a:solidFill>
                <a:latin typeface="CiscoSansTT ExtraLight" panose="020B0303020201020303" pitchFamily="34" charset="0"/>
                <a:ea typeface="Arial"/>
                <a:cs typeface="CiscoSansTT ExtraLight" panose="020B0303020201020303"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SzPts val="800"/>
            </a:pPr>
            <a:r>
              <a:rPr lang="en-US" sz="2133">
                <a:ea typeface="Helvetica Neue Light"/>
                <a:sym typeface="Helvetica Neue Light"/>
              </a:rPr>
              <a:t> </a:t>
            </a:r>
          </a:p>
        </p:txBody>
      </p:sp>
    </p:spTree>
    <p:extLst>
      <p:ext uri="{BB962C8B-B14F-4D97-AF65-F5344CB8AC3E}">
        <p14:creationId xmlns:p14="http://schemas.microsoft.com/office/powerpoint/2010/main" val="3657558818"/>
      </p:ext>
    </p:extLst>
  </p:cSld>
  <p:clrMap bg1="lt1" tx1="dk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9" r:id="rId28"/>
    <p:sldLayoutId id="2147483690" r:id="rId29"/>
    <p:sldLayoutId id="2147483691" r:id="rId30"/>
    <p:sldLayoutId id="2147483692" r:id="rId31"/>
    <p:sldLayoutId id="2147483693" r:id="rId32"/>
    <p:sldLayoutId id="2147483694" r:id="rId33"/>
    <p:sldLayoutId id="2147483749" r:id="rId3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userDrawn="1"/>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a:solidFill>
                  <a:schemeClr val="bg2">
                    <a:lumMod val="65000"/>
                  </a:schemeClr>
                </a:solidFill>
                <a:latin typeface="+mn-lt"/>
                <a:ea typeface="+mn-ea"/>
                <a:cs typeface="CiscoSans Thin"/>
              </a:rPr>
              <a:t>© 2020  Cisco and/or its affiliates. All rights reserved.   Partner Confidential</a:t>
            </a:r>
          </a:p>
        </p:txBody>
      </p:sp>
    </p:spTree>
    <p:extLst>
      <p:ext uri="{BB962C8B-B14F-4D97-AF65-F5344CB8AC3E}">
        <p14:creationId xmlns:p14="http://schemas.microsoft.com/office/powerpoint/2010/main" val="97324262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700" r:id="rId3"/>
    <p:sldLayoutId id="2147483747" r:id="rId4"/>
  </p:sldLayoutIdLst>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a:solidFill>
                  <a:schemeClr val="bg2">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4084057624"/>
      </p:ext>
    </p:extLst>
  </p:cSld>
  <p:clrMap bg1="lt1" tx1="dk1" bg2="lt2" tx2="dk2" accent1="accent1" accent2="accent2" accent3="accent3" accent4="accent4" accent5="accent5" accent6="accent6" hlink="hlink" folHlink="folHlink"/>
  <p:sldLayoutIdLst>
    <p:sldLayoutId id="2147483703" r:id="rId1"/>
    <p:sldLayoutId id="2147483704" r:id="rId2"/>
  </p:sldLayoutIdLst>
  <p:txStyles>
    <p:titleStyle>
      <a:lvl1pPr algn="l" defTabSz="912261" rtl="0" eaLnBrk="1" fontAlgn="base" hangingPunct="1">
        <a:lnSpc>
          <a:spcPct val="80000"/>
        </a:lnSpc>
        <a:spcBef>
          <a:spcPct val="0"/>
        </a:spcBef>
        <a:spcAft>
          <a:spcPct val="0"/>
        </a:spcAft>
        <a:defRPr lang="en-US" sz="3733" b="0" i="0"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a:solidFill>
                  <a:schemeClr val="bg2">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478306291"/>
      </p:ext>
    </p:extLst>
  </p:cSld>
  <p:clrMap bg1="lt1" tx1="dk1" bg2="lt2" tx2="dk2" accent1="accent1" accent2="accent2" accent3="accent3" accent4="accent4" accent5="accent5" accent6="accent6" hlink="hlink" folHlink="folHlink"/>
  <p:sldLayoutIdLst>
    <p:sldLayoutId id="2147483706" r:id="rId1"/>
  </p:sldLayoutIdLst>
  <p:txStyles>
    <p:titleStyle>
      <a:lvl1pPr algn="l" defTabSz="912261" rtl="0" eaLnBrk="1" fontAlgn="base" hangingPunct="1">
        <a:lnSpc>
          <a:spcPct val="80000"/>
        </a:lnSpc>
        <a:spcBef>
          <a:spcPct val="0"/>
        </a:spcBef>
        <a:spcAft>
          <a:spcPct val="0"/>
        </a:spcAft>
        <a:defRPr lang="en-US" sz="3733" b="0" i="0"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a:solidFill>
                  <a:schemeClr val="bg2">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905302253"/>
      </p:ext>
    </p:extLst>
  </p:cSld>
  <p:clrMap bg1="lt1" tx1="dk1" bg2="lt2" tx2="dk2" accent1="accent1" accent2="accent2" accent3="accent3" accent4="accent4" accent5="accent5" accent6="accent6" hlink="hlink" folHlink="folHlink"/>
  <p:sldLayoutIdLst>
    <p:sldLayoutId id="2147483751" r:id="rId1"/>
  </p:sldLayoutIdLst>
  <p:txStyles>
    <p:titleStyle>
      <a:lvl1pPr algn="l" defTabSz="912261" rtl="0" eaLnBrk="1" fontAlgn="base" hangingPunct="1">
        <a:lnSpc>
          <a:spcPct val="80000"/>
        </a:lnSpc>
        <a:spcBef>
          <a:spcPct val="0"/>
        </a:spcBef>
        <a:spcAft>
          <a:spcPct val="0"/>
        </a:spcAft>
        <a:defRPr lang="en-US" sz="3733" b="0" i="0"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userDrawn="1"/>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a:solidFill>
                  <a:schemeClr val="bg2">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397945973"/>
      </p:ext>
    </p:extLst>
  </p:cSld>
  <p:clrMap bg1="lt1" tx1="dk1" bg2="lt2" tx2="dk2" accent1="accent1" accent2="accent2" accent3="accent3" accent4="accent4" accent5="accent5" accent6="accent6" hlink="hlink" folHlink="folHlink"/>
  <p:sldLayoutIdLst>
    <p:sldLayoutId id="2147483753" r:id="rId1"/>
  </p:sldLayoutIdLst>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userDrawn="1"/>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a:solidFill>
                  <a:schemeClr val="bg2">
                    <a:lumMod val="65000"/>
                  </a:schemeClr>
                </a:solidFill>
                <a:latin typeface="+mn-lt"/>
                <a:ea typeface="+mn-ea"/>
                <a:cs typeface="CiscoSans Thin"/>
              </a:rPr>
              <a:t>© 2020  Cisco and/or its affiliates. All rights reserved.   Partner Confidential</a:t>
            </a:r>
          </a:p>
        </p:txBody>
      </p:sp>
    </p:spTree>
    <p:extLst>
      <p:ext uri="{BB962C8B-B14F-4D97-AF65-F5344CB8AC3E}">
        <p14:creationId xmlns:p14="http://schemas.microsoft.com/office/powerpoint/2010/main" val="334293212"/>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8" r:id="rId5"/>
    <p:sldLayoutId id="2147483769" r:id="rId6"/>
  </p:sldLayoutIdLst>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21.xml"/><Relationship Id="rId6" Type="http://schemas.openxmlformats.org/officeDocument/2006/relationships/image" Target="../media/image27.png"/><Relationship Id="rId11" Type="http://schemas.openxmlformats.org/officeDocument/2006/relationships/image" Target="../media/image32.tiff"/><Relationship Id="rId5" Type="http://schemas.openxmlformats.org/officeDocument/2006/relationships/image" Target="../media/image26.png"/><Relationship Id="rId10" Type="http://schemas.openxmlformats.org/officeDocument/2006/relationships/image" Target="../media/image31.tiff"/><Relationship Id="rId4" Type="http://schemas.openxmlformats.org/officeDocument/2006/relationships/image" Target="../media/image25.png"/><Relationship Id="rId9" Type="http://schemas.openxmlformats.org/officeDocument/2006/relationships/image" Target="../media/image30.tiff"/></Relationships>
</file>

<file path=ppt/slides/_rels/slide1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4.emf"/><Relationship Id="rId7"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39.xml"/><Relationship Id="rId6" Type="http://schemas.openxmlformats.org/officeDocument/2006/relationships/image" Target="../media/image37.png"/><Relationship Id="rId11" Type="http://schemas.openxmlformats.org/officeDocument/2006/relationships/image" Target="../media/image41.wmf"/><Relationship Id="rId5" Type="http://schemas.openxmlformats.org/officeDocument/2006/relationships/image" Target="../media/image36.png"/><Relationship Id="rId10" Type="http://schemas.openxmlformats.org/officeDocument/2006/relationships/image" Target="../media/image40.png"/><Relationship Id="rId4" Type="http://schemas.openxmlformats.org/officeDocument/2006/relationships/image" Target="../media/image35.png"/><Relationship Id="rId9"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image" Target="../media/image30.tiff"/><Relationship Id="rId2" Type="http://schemas.openxmlformats.org/officeDocument/2006/relationships/notesSlide" Target="../notesSlides/notesSlide9.xml"/><Relationship Id="rId1" Type="http://schemas.openxmlformats.org/officeDocument/2006/relationships/slideLayout" Target="../slideLayouts/slideLayout35.xml"/><Relationship Id="rId6" Type="http://schemas.openxmlformats.org/officeDocument/2006/relationships/image" Target="../media/image33.png"/><Relationship Id="rId5" Type="http://schemas.openxmlformats.org/officeDocument/2006/relationships/image" Target="../media/image32.tiff"/><Relationship Id="rId4" Type="http://schemas.openxmlformats.org/officeDocument/2006/relationships/image" Target="../media/image31.tif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11.xml"/><Relationship Id="rId1" Type="http://schemas.openxmlformats.org/officeDocument/2006/relationships/slideLayout" Target="../slideLayouts/slideLayout41.xml"/><Relationship Id="rId6" Type="http://schemas.openxmlformats.org/officeDocument/2006/relationships/image" Target="../media/image44.png"/><Relationship Id="rId5" Type="http://schemas.openxmlformats.org/officeDocument/2006/relationships/image" Target="../media/image37.png"/><Relationship Id="rId4" Type="http://schemas.openxmlformats.org/officeDocument/2006/relationships/image" Target="../media/image43.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49.xml"/><Relationship Id="rId5" Type="http://schemas.openxmlformats.org/officeDocument/2006/relationships/image" Target="../media/image47.png"/><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6.xml"/><Relationship Id="rId1" Type="http://schemas.openxmlformats.org/officeDocument/2006/relationships/slideLayout" Target="../slideLayouts/slideLayout37.xml"/><Relationship Id="rId5" Type="http://schemas.openxmlformats.org/officeDocument/2006/relationships/image" Target="../media/image49.png"/><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21.xml"/><Relationship Id="rId6" Type="http://schemas.openxmlformats.org/officeDocument/2006/relationships/image" Target="../media/image24.png"/><Relationship Id="rId5" Type="http://schemas.openxmlformats.org/officeDocument/2006/relationships/image" Target="../media/image25.png"/><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4.xml"/></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0.xml"/><Relationship Id="rId1" Type="http://schemas.openxmlformats.org/officeDocument/2006/relationships/slideLayout" Target="../slideLayouts/slideLayout26.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1.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3.xml"/><Relationship Id="rId1" Type="http://schemas.openxmlformats.org/officeDocument/2006/relationships/slideLayout" Target="../slideLayouts/slideLayout37.xml"/><Relationship Id="rId4" Type="http://schemas.openxmlformats.org/officeDocument/2006/relationships/image" Target="../media/image49.png"/></Relationships>
</file>

<file path=ppt/slides/_rels/slide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4.xml"/><Relationship Id="rId1" Type="http://schemas.openxmlformats.org/officeDocument/2006/relationships/slideLayout" Target="../slideLayouts/slideLayout37.xml"/><Relationship Id="rId6" Type="http://schemas.openxmlformats.org/officeDocument/2006/relationships/image" Target="../media/image49.png"/><Relationship Id="rId5" Type="http://schemas.openxmlformats.org/officeDocument/2006/relationships/image" Target="../media/image55.png"/><Relationship Id="rId4" Type="http://schemas.openxmlformats.org/officeDocument/2006/relationships/image" Target="../media/image54.png"/></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37.xml"/><Relationship Id="rId5" Type="http://schemas.openxmlformats.org/officeDocument/2006/relationships/image" Target="../media/image49.png"/><Relationship Id="rId4" Type="http://schemas.openxmlformats.org/officeDocument/2006/relationships/image" Target="../media/image7.png"/></Relationships>
</file>

<file path=ppt/slides/_rels/slide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6.xml"/><Relationship Id="rId1" Type="http://schemas.openxmlformats.org/officeDocument/2006/relationships/slideLayout" Target="../slideLayouts/slideLayout37.xml"/><Relationship Id="rId5" Type="http://schemas.openxmlformats.org/officeDocument/2006/relationships/image" Target="../media/image49.png"/><Relationship Id="rId4" Type="http://schemas.openxmlformats.org/officeDocument/2006/relationships/image" Target="../media/image57.png"/></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7.xml"/><Relationship Id="rId1" Type="http://schemas.openxmlformats.org/officeDocument/2006/relationships/slideLayout" Target="../slideLayouts/slideLayout37.xml"/><Relationship Id="rId5" Type="http://schemas.openxmlformats.org/officeDocument/2006/relationships/image" Target="../media/image49.png"/><Relationship Id="rId4" Type="http://schemas.openxmlformats.org/officeDocument/2006/relationships/image" Target="../media/image58.png"/></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37.xml"/><Relationship Id="rId5" Type="http://schemas.openxmlformats.org/officeDocument/2006/relationships/image" Target="../media/image49.png"/><Relationship Id="rId4" Type="http://schemas.openxmlformats.org/officeDocument/2006/relationships/image" Target="../media/image7.png"/></Relationships>
</file>

<file path=ppt/slides/_rels/slide3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9.xml"/><Relationship Id="rId1" Type="http://schemas.openxmlformats.org/officeDocument/2006/relationships/slideLayout" Target="../slideLayouts/slideLayout37.xml"/><Relationship Id="rId5" Type="http://schemas.openxmlformats.org/officeDocument/2006/relationships/image" Target="../media/image49.png"/><Relationship Id="rId4" Type="http://schemas.openxmlformats.org/officeDocument/2006/relationships/image" Target="../media/image7.png"/></Relationships>
</file>

<file path=ppt/slides/_rels/slide3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60.png"/><Relationship Id="rId7" Type="http://schemas.openxmlformats.org/officeDocument/2006/relationships/image" Target="../media/image49.png"/><Relationship Id="rId2" Type="http://schemas.openxmlformats.org/officeDocument/2006/relationships/notesSlide" Target="../notesSlides/notesSlide30.xml"/><Relationship Id="rId1" Type="http://schemas.openxmlformats.org/officeDocument/2006/relationships/slideLayout" Target="../slideLayouts/slideLayout37.xml"/><Relationship Id="rId6" Type="http://schemas.openxmlformats.org/officeDocument/2006/relationships/image" Target="../media/image7.png"/><Relationship Id="rId5" Type="http://schemas.openxmlformats.org/officeDocument/2006/relationships/image" Target="../media/image62.png"/><Relationship Id="rId4" Type="http://schemas.openxmlformats.org/officeDocument/2006/relationships/image" Target="../media/image61.png"/></Relationships>
</file>

<file path=ppt/slides/_rels/slide3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1.xml"/><Relationship Id="rId1" Type="http://schemas.openxmlformats.org/officeDocument/2006/relationships/slideLayout" Target="../slideLayouts/slideLayout37.xml"/><Relationship Id="rId5" Type="http://schemas.openxmlformats.org/officeDocument/2006/relationships/image" Target="../media/image49.png"/><Relationship Id="rId4" Type="http://schemas.openxmlformats.org/officeDocument/2006/relationships/image" Target="../media/image7.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4.emf"/><Relationship Id="rId1" Type="http://schemas.openxmlformats.org/officeDocument/2006/relationships/slideLayout" Target="../slideLayouts/slideLayout26.xml"/><Relationship Id="rId5" Type="http://schemas.openxmlformats.org/officeDocument/2006/relationships/image" Target="../media/image33.png"/><Relationship Id="rId4" Type="http://schemas.openxmlformats.org/officeDocument/2006/relationships/image" Target="../media/image39.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3.xml.rels><?xml version="1.0" encoding="UTF-8" standalone="yes"?>
<Relationships xmlns="http://schemas.openxmlformats.org/package/2006/relationships"><Relationship Id="rId8" Type="http://schemas.openxmlformats.org/officeDocument/2006/relationships/image" Target="../media/image69.tiff"/><Relationship Id="rId3" Type="http://schemas.openxmlformats.org/officeDocument/2006/relationships/image" Target="../media/image64.tiff"/><Relationship Id="rId7" Type="http://schemas.openxmlformats.org/officeDocument/2006/relationships/image" Target="../media/image68.tiff"/><Relationship Id="rId2" Type="http://schemas.openxmlformats.org/officeDocument/2006/relationships/notesSlide" Target="../notesSlides/notesSlide35.xml"/><Relationship Id="rId1" Type="http://schemas.openxmlformats.org/officeDocument/2006/relationships/slideLayout" Target="../slideLayouts/slideLayout21.xml"/><Relationship Id="rId6" Type="http://schemas.openxmlformats.org/officeDocument/2006/relationships/image" Target="../media/image67.tiff"/><Relationship Id="rId5" Type="http://schemas.openxmlformats.org/officeDocument/2006/relationships/image" Target="../media/image66.tiff"/><Relationship Id="rId10" Type="http://schemas.openxmlformats.org/officeDocument/2006/relationships/image" Target="../media/image71.png"/><Relationship Id="rId4" Type="http://schemas.openxmlformats.org/officeDocument/2006/relationships/image" Target="../media/image65.tiff"/><Relationship Id="rId9" Type="http://schemas.openxmlformats.org/officeDocument/2006/relationships/image" Target="../media/image70.png"/></Relationships>
</file>

<file path=ppt/slides/_rels/slide44.xml.rels><?xml version="1.0" encoding="UTF-8" standalone="yes"?>
<Relationships xmlns="http://schemas.openxmlformats.org/package/2006/relationships"><Relationship Id="rId8" Type="http://schemas.openxmlformats.org/officeDocument/2006/relationships/image" Target="../media/image69.tiff"/><Relationship Id="rId3" Type="http://schemas.openxmlformats.org/officeDocument/2006/relationships/image" Target="../media/image65.tiff"/><Relationship Id="rId7" Type="http://schemas.openxmlformats.org/officeDocument/2006/relationships/image" Target="../media/image68.tiff"/><Relationship Id="rId2" Type="http://schemas.openxmlformats.org/officeDocument/2006/relationships/notesSlide" Target="../notesSlides/notesSlide36.xml"/><Relationship Id="rId1" Type="http://schemas.openxmlformats.org/officeDocument/2006/relationships/slideLayout" Target="../slideLayouts/slideLayout21.xml"/><Relationship Id="rId6" Type="http://schemas.openxmlformats.org/officeDocument/2006/relationships/image" Target="../media/image71.png"/><Relationship Id="rId5" Type="http://schemas.openxmlformats.org/officeDocument/2006/relationships/image" Target="../media/image67.tiff"/><Relationship Id="rId4" Type="http://schemas.openxmlformats.org/officeDocument/2006/relationships/image" Target="../media/image66.tiff"/><Relationship Id="rId9" Type="http://schemas.openxmlformats.org/officeDocument/2006/relationships/image" Target="../media/image70.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hyperlink" Target="cisco.com/go/cms" TargetMode="External"/><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hyperlink" Target="https://cybersecurityventures.com/jobs/" TargetMode="External"/><Relationship Id="rId7"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21.xml"/><Relationship Id="rId6" Type="http://schemas.openxmlformats.org/officeDocument/2006/relationships/image" Target="../media/image19.png"/><Relationship Id="rId5" Type="http://schemas.openxmlformats.org/officeDocument/2006/relationships/image" Target="../media/image23.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hyperlink" Target="https://databreachcalculator.mybluemix.net/" TargetMode="External"/><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sign&#10;&#10;Description automatically generated">
            <a:extLst>
              <a:ext uri="{FF2B5EF4-FFF2-40B4-BE49-F238E27FC236}">
                <a16:creationId xmlns:a16="http://schemas.microsoft.com/office/drawing/2014/main" id="{60E08D81-67F5-3340-8A1B-A11DFAD646F4}"/>
              </a:ext>
            </a:extLst>
          </p:cNvPr>
          <p:cNvPicPr>
            <a:picLocks noChangeAspect="1"/>
          </p:cNvPicPr>
          <p:nvPr/>
        </p:nvPicPr>
        <p:blipFill>
          <a:blip r:embed="rId2"/>
          <a:stretch>
            <a:fillRect/>
          </a:stretch>
        </p:blipFill>
        <p:spPr>
          <a:xfrm>
            <a:off x="5129963" y="2310511"/>
            <a:ext cx="7680768" cy="5504549"/>
          </a:xfrm>
          <a:prstGeom prst="rect">
            <a:avLst/>
          </a:prstGeom>
        </p:spPr>
      </p:pic>
      <p:sp>
        <p:nvSpPr>
          <p:cNvPr id="14" name="Text Placeholder 4">
            <a:extLst>
              <a:ext uri="{FF2B5EF4-FFF2-40B4-BE49-F238E27FC236}">
                <a16:creationId xmlns:a16="http://schemas.microsoft.com/office/drawing/2014/main" id="{2A9F64A2-BEE4-434A-99CC-CCFE2BB9F977}"/>
              </a:ext>
            </a:extLst>
          </p:cNvPr>
          <p:cNvSpPr>
            <a:spLocks noGrp="1"/>
          </p:cNvSpPr>
          <p:nvPr>
            <p:ph type="body" sz="quarter" idx="4294967295"/>
          </p:nvPr>
        </p:nvSpPr>
        <p:spPr>
          <a:xfrm>
            <a:off x="584200" y="2521634"/>
            <a:ext cx="6428897" cy="1319423"/>
          </a:xfrm>
          <a:prstGeom prst="rect">
            <a:avLst/>
          </a:prstGeom>
        </p:spPr>
        <p:txBody>
          <a:bodyPr anchor="t"/>
          <a:lstStyle/>
          <a:p>
            <a:r>
              <a:rPr lang="en-US" sz="3733">
                <a:solidFill>
                  <a:schemeClr val="tx1"/>
                </a:solidFill>
                <a:latin typeface="CiscoSansTT ExtraLight"/>
                <a:ea typeface="CiscoSansTT ExtraLight" charset="0"/>
                <a:cs typeface="CiscoSansTT ExtraLight" charset="0"/>
              </a:rPr>
              <a:t>Managed Detection </a:t>
            </a:r>
            <a:br>
              <a:rPr lang="en-US" sz="3733">
                <a:solidFill>
                  <a:schemeClr val="tx1"/>
                </a:solidFill>
                <a:latin typeface="CiscoSansTT ExtraLight"/>
                <a:ea typeface="CiscoSansTT ExtraLight" charset="0"/>
                <a:cs typeface="CiscoSansTT ExtraLight" charset="0"/>
              </a:rPr>
            </a:br>
            <a:r>
              <a:rPr lang="en-US" sz="3733">
                <a:solidFill>
                  <a:schemeClr val="tx1"/>
                </a:solidFill>
                <a:latin typeface="CiscoSansTT ExtraLight"/>
                <a:ea typeface="CiscoSansTT ExtraLight" charset="0"/>
                <a:cs typeface="CiscoSansTT ExtraLight" charset="0"/>
              </a:rPr>
              <a:t>and Response (MDR)</a:t>
            </a:r>
            <a:endParaRPr lang="en-US" sz="3733">
              <a:solidFill>
                <a:schemeClr val="tx1"/>
              </a:solidFill>
              <a:latin typeface="CiscoSansTT ExtraLight" charset="0"/>
              <a:ea typeface="CiscoSansTT ExtraLight" charset="0"/>
              <a:cs typeface="CiscoSansTT ExtraLight" charset="0"/>
            </a:endParaRPr>
          </a:p>
        </p:txBody>
      </p:sp>
      <p:sp>
        <p:nvSpPr>
          <p:cNvPr id="16" name="Text Placeholder 2">
            <a:extLst>
              <a:ext uri="{FF2B5EF4-FFF2-40B4-BE49-F238E27FC236}">
                <a16:creationId xmlns:a16="http://schemas.microsoft.com/office/drawing/2014/main" id="{A523786C-A464-DC43-88CD-9286D3491787}"/>
              </a:ext>
            </a:extLst>
          </p:cNvPr>
          <p:cNvSpPr>
            <a:spLocks noGrp="1"/>
          </p:cNvSpPr>
          <p:nvPr>
            <p:ph type="body" sz="quarter" idx="4294967295"/>
          </p:nvPr>
        </p:nvSpPr>
        <p:spPr>
          <a:xfrm>
            <a:off x="584200" y="4391933"/>
            <a:ext cx="5691717" cy="305975"/>
          </a:xfrm>
          <a:prstGeom prst="rect">
            <a:avLst/>
          </a:prstGeom>
        </p:spPr>
        <p:txBody>
          <a:bodyPr/>
          <a:lstStyle/>
          <a:p>
            <a:r>
              <a:rPr lang="en-US" sz="2400" dirty="0">
                <a:solidFill>
                  <a:schemeClr val="tx1"/>
                </a:solidFill>
                <a:latin typeface="CiscoSansTT ExtraLight" charset="0"/>
                <a:ea typeface="CiscoSansTT ExtraLight" charset="0"/>
                <a:cs typeface="CiscoSansTT ExtraLight" charset="0"/>
              </a:rPr>
              <a:t>For Technical Decision Makers </a:t>
            </a:r>
            <a:endParaRPr lang="en-US" sz="2400" dirty="0">
              <a:solidFill>
                <a:schemeClr val="tx1"/>
              </a:solidFill>
              <a:latin typeface="CiscoSansTT ExtraLight" charset="0"/>
              <a:ea typeface="CiscoSansTT ExtraLight" charset="0"/>
              <a:cs typeface="CiscoSansTT ExtraLight" charset="0"/>
              <a:sym typeface="Helvetica Neue Light"/>
            </a:endParaRPr>
          </a:p>
        </p:txBody>
      </p:sp>
      <p:sp>
        <p:nvSpPr>
          <p:cNvPr id="19" name="Google Shape;735;p181"/>
          <p:cNvSpPr/>
          <p:nvPr/>
        </p:nvSpPr>
        <p:spPr>
          <a:xfrm>
            <a:off x="713229" y="661025"/>
            <a:ext cx="826145" cy="438900"/>
          </a:xfrm>
          <a:custGeom>
            <a:avLst/>
            <a:gdLst/>
            <a:ahLst/>
            <a:cxnLst/>
            <a:rect l="l" t="t" r="r" b="b"/>
            <a:pathLst>
              <a:path w="3456" h="1834" extrusionOk="0">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a:noFill/>
          </a:ln>
        </p:spPr>
        <p:txBody>
          <a:bodyPr spcFirstLastPara="1" wrap="square" lIns="121900" tIns="60933" rIns="121900" bIns="60933" anchor="t" anchorCtr="0">
            <a:noAutofit/>
          </a:bodyPr>
          <a:lstStyle/>
          <a:p>
            <a:pPr defTabSz="1219170">
              <a:buClr>
                <a:srgbClr val="000000"/>
              </a:buClr>
              <a:buSzPts val="1800"/>
              <a:defRPr/>
            </a:pPr>
            <a:endParaRPr sz="2400" kern="0">
              <a:solidFill>
                <a:srgbClr val="003C56"/>
              </a:solidFill>
              <a:latin typeface="Arial"/>
              <a:ea typeface="Arial"/>
              <a:cs typeface="Arial"/>
              <a:sym typeface="Arial"/>
            </a:endParaRPr>
          </a:p>
        </p:txBody>
      </p:sp>
    </p:spTree>
    <p:extLst>
      <p:ext uri="{BB962C8B-B14F-4D97-AF65-F5344CB8AC3E}">
        <p14:creationId xmlns:p14="http://schemas.microsoft.com/office/powerpoint/2010/main" val="1870365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Rounded Corners 49">
            <a:extLst>
              <a:ext uri="{FF2B5EF4-FFF2-40B4-BE49-F238E27FC236}">
                <a16:creationId xmlns:a16="http://schemas.microsoft.com/office/drawing/2014/main" id="{7A8AF375-D461-EF4D-A527-0073F0BF23D3}"/>
              </a:ext>
            </a:extLst>
          </p:cNvPr>
          <p:cNvSpPr/>
          <p:nvPr/>
        </p:nvSpPr>
        <p:spPr bwMode="auto">
          <a:xfrm>
            <a:off x="1103587" y="4466537"/>
            <a:ext cx="9978691" cy="1536017"/>
          </a:xfrm>
          <a:prstGeom prst="roundRect">
            <a:avLst>
              <a:gd name="adj" fmla="val 50000"/>
            </a:avLst>
          </a:prstGeom>
          <a:noFill/>
          <a:ln w="12700" cap="flat">
            <a:solidFill>
              <a:srgbClr val="BBCDDF"/>
            </a:solidFill>
            <a:prstDash val="lgDashDotDot"/>
            <a:miter lim="800000"/>
            <a:headEnd type="none" w="med" len="med"/>
            <a:tailEnd type="none" w="med" len="med"/>
          </a:ln>
        </p:spPr>
        <p:txBody>
          <a:bodyPr lIns="162560" tIns="81280" rIns="162560" bIns="81280" rtlCol="0" anchor="ctr"/>
          <a:lstStyle/>
          <a:p>
            <a:pPr algn="ctr" defTabSz="914354" fontAlgn="base">
              <a:spcBef>
                <a:spcPct val="0"/>
              </a:spcBef>
              <a:spcAft>
                <a:spcPct val="0"/>
              </a:spcAft>
              <a:buClr>
                <a:srgbClr val="000000"/>
              </a:buClr>
              <a:defRPr/>
            </a:pPr>
            <a:endParaRPr lang="en-US" sz="2489" kern="0">
              <a:solidFill>
                <a:srgbClr val="005073"/>
              </a:solidFill>
              <a:latin typeface="Arial" charset="0"/>
              <a:ea typeface="Arial" pitchFamily="-107" charset="0"/>
              <a:cs typeface="Arial" pitchFamily="-107" charset="0"/>
              <a:sym typeface="Arial" pitchFamily="-107" charset="0"/>
            </a:endParaRPr>
          </a:p>
        </p:txBody>
      </p:sp>
      <p:sp>
        <p:nvSpPr>
          <p:cNvPr id="6" name="Rectangle 5">
            <a:extLst>
              <a:ext uri="{FF2B5EF4-FFF2-40B4-BE49-F238E27FC236}">
                <a16:creationId xmlns:a16="http://schemas.microsoft.com/office/drawing/2014/main" id="{3C2E179D-76E6-D547-AF2D-3DDB1EB2CEDF}"/>
              </a:ext>
            </a:extLst>
          </p:cNvPr>
          <p:cNvSpPr/>
          <p:nvPr/>
        </p:nvSpPr>
        <p:spPr>
          <a:xfrm>
            <a:off x="5382790" y="5858136"/>
            <a:ext cx="1420287" cy="2570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US" sz="1867" kern="0">
              <a:solidFill>
                <a:srgbClr val="FFFFFF"/>
              </a:solidFill>
              <a:latin typeface="CiscoSansTT ExtraLight"/>
              <a:sym typeface="Arial"/>
            </a:endParaRPr>
          </a:p>
        </p:txBody>
      </p:sp>
      <p:sp>
        <p:nvSpPr>
          <p:cNvPr id="51" name="Rectangle: Rounded Corners 49">
            <a:extLst>
              <a:ext uri="{FF2B5EF4-FFF2-40B4-BE49-F238E27FC236}">
                <a16:creationId xmlns:a16="http://schemas.microsoft.com/office/drawing/2014/main" id="{6061AD72-590A-BD4A-8D29-4EA59858BD93}"/>
              </a:ext>
            </a:extLst>
          </p:cNvPr>
          <p:cNvSpPr/>
          <p:nvPr/>
        </p:nvSpPr>
        <p:spPr bwMode="auto">
          <a:xfrm>
            <a:off x="1396331" y="4662149"/>
            <a:ext cx="9399339" cy="1102360"/>
          </a:xfrm>
          <a:prstGeom prst="roundRect">
            <a:avLst>
              <a:gd name="adj" fmla="val 50000"/>
            </a:avLst>
          </a:prstGeom>
          <a:solidFill>
            <a:srgbClr val="EDF1F7"/>
          </a:solidFill>
          <a:ln w="12700" cap="flat">
            <a:noFill/>
            <a:miter lim="800000"/>
            <a:headEnd type="none" w="med" len="med"/>
            <a:tailEnd type="none" w="med" len="med"/>
          </a:ln>
        </p:spPr>
        <p:txBody>
          <a:bodyPr lIns="162560" tIns="81280" rIns="162560" bIns="81280" rtlCol="0" anchor="ctr"/>
          <a:lstStyle/>
          <a:p>
            <a:pPr algn="ctr" defTabSz="914354" fontAlgn="base">
              <a:spcBef>
                <a:spcPct val="0"/>
              </a:spcBef>
              <a:spcAft>
                <a:spcPct val="0"/>
              </a:spcAft>
              <a:buClr>
                <a:srgbClr val="000000"/>
              </a:buClr>
              <a:defRPr/>
            </a:pPr>
            <a:endParaRPr lang="en-US" sz="2489" kern="0">
              <a:solidFill>
                <a:srgbClr val="005073"/>
              </a:solidFill>
              <a:latin typeface="Arial" charset="0"/>
              <a:ea typeface="Arial" pitchFamily="-107" charset="0"/>
              <a:cs typeface="Arial" pitchFamily="-107" charset="0"/>
              <a:sym typeface="Arial" pitchFamily="-107" charset="0"/>
            </a:endParaRPr>
          </a:p>
        </p:txBody>
      </p:sp>
      <p:sp>
        <p:nvSpPr>
          <p:cNvPr id="3" name="Rectangle 2">
            <a:extLst>
              <a:ext uri="{FF2B5EF4-FFF2-40B4-BE49-F238E27FC236}">
                <a16:creationId xmlns:a16="http://schemas.microsoft.com/office/drawing/2014/main" id="{501F2E5B-5C89-364B-A1AB-1A6D53465591}"/>
              </a:ext>
            </a:extLst>
          </p:cNvPr>
          <p:cNvSpPr/>
          <p:nvPr/>
        </p:nvSpPr>
        <p:spPr>
          <a:xfrm>
            <a:off x="-1" y="1876729"/>
            <a:ext cx="12192000" cy="720000"/>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fontAlgn="base">
              <a:spcBef>
                <a:spcPct val="0"/>
              </a:spcBef>
              <a:spcAft>
                <a:spcPct val="0"/>
              </a:spcAft>
              <a:buClr>
                <a:srgbClr val="000000"/>
              </a:buClr>
              <a:defRPr/>
            </a:pPr>
            <a:endParaRPr lang="en-US" sz="3200" kern="0">
              <a:solidFill>
                <a:srgbClr val="005073"/>
              </a:solidFill>
              <a:latin typeface="CiscoSansTT ExtraLight"/>
              <a:sym typeface="Arial"/>
            </a:endParaRPr>
          </a:p>
        </p:txBody>
      </p:sp>
      <p:sp>
        <p:nvSpPr>
          <p:cNvPr id="4" name="Oval 75">
            <a:extLst>
              <a:ext uri="{FF2B5EF4-FFF2-40B4-BE49-F238E27FC236}">
                <a16:creationId xmlns:a16="http://schemas.microsoft.com/office/drawing/2014/main" id="{51681A7A-F460-264E-85C4-BF7593AEA542}"/>
              </a:ext>
            </a:extLst>
          </p:cNvPr>
          <p:cNvSpPr>
            <a:spLocks noChangeArrowheads="1"/>
          </p:cNvSpPr>
          <p:nvPr/>
        </p:nvSpPr>
        <p:spPr bwMode="auto">
          <a:xfrm>
            <a:off x="6299035" y="1503903"/>
            <a:ext cx="1411103" cy="1410485"/>
          </a:xfrm>
          <a:prstGeom prst="ellipse">
            <a:avLst/>
          </a:prstGeom>
          <a:solidFill>
            <a:schemeClr val="accent5"/>
          </a:solidFill>
          <a:ln>
            <a:noFill/>
          </a:ln>
        </p:spPr>
        <p:txBody>
          <a:bodyPr vert="horz" wrap="square" lIns="162539" tIns="81269" rIns="162539" bIns="81269" numCol="1" anchor="t" anchorCtr="0" compatLnSpc="1">
            <a:prstTxWarp prst="textNoShape">
              <a:avLst/>
            </a:prstTxWarp>
          </a:bodyPr>
          <a:lstStyle/>
          <a:p>
            <a:pPr defTabSz="609461" fontAlgn="base">
              <a:spcBef>
                <a:spcPct val="0"/>
              </a:spcBef>
              <a:spcAft>
                <a:spcPct val="0"/>
              </a:spcAft>
              <a:buClr>
                <a:srgbClr val="000000"/>
              </a:buClr>
              <a:defRPr/>
            </a:pPr>
            <a:endParaRPr lang="en-US" sz="3200" kern="0">
              <a:solidFill>
                <a:srgbClr val="FBAB18"/>
              </a:solidFill>
              <a:latin typeface="CiscoSansTT ExtraLight"/>
              <a:ea typeface="ＭＳ Ｐゴシック" charset="0"/>
              <a:cs typeface="Arial"/>
              <a:sym typeface="Arial"/>
            </a:endParaRPr>
          </a:p>
        </p:txBody>
      </p:sp>
      <p:cxnSp>
        <p:nvCxnSpPr>
          <p:cNvPr id="5" name="Straight Connector 4">
            <a:extLst>
              <a:ext uri="{FF2B5EF4-FFF2-40B4-BE49-F238E27FC236}">
                <a16:creationId xmlns:a16="http://schemas.microsoft.com/office/drawing/2014/main" id="{7DE91C51-88B9-B44F-9B85-A277251715BA}"/>
              </a:ext>
            </a:extLst>
          </p:cNvPr>
          <p:cNvCxnSpPr/>
          <p:nvPr/>
        </p:nvCxnSpPr>
        <p:spPr>
          <a:xfrm flipV="1">
            <a:off x="1019705" y="2215049"/>
            <a:ext cx="10079305" cy="35151"/>
          </a:xfrm>
          <a:prstGeom prst="line">
            <a:avLst/>
          </a:prstGeom>
          <a:ln w="76200">
            <a:solidFill>
              <a:srgbClr val="EDF1F7"/>
            </a:solidFill>
          </a:ln>
        </p:spPr>
        <p:style>
          <a:lnRef idx="1">
            <a:schemeClr val="dk1"/>
          </a:lnRef>
          <a:fillRef idx="0">
            <a:schemeClr val="dk1"/>
          </a:fillRef>
          <a:effectRef idx="0">
            <a:schemeClr val="dk1"/>
          </a:effectRef>
          <a:fontRef idx="minor">
            <a:schemeClr val="tx1"/>
          </a:fontRef>
        </p:style>
      </p:cxnSp>
      <p:cxnSp>
        <p:nvCxnSpPr>
          <p:cNvPr id="72" name="Straight Connector 127">
            <a:extLst>
              <a:ext uri="{FF2B5EF4-FFF2-40B4-BE49-F238E27FC236}">
                <a16:creationId xmlns:a16="http://schemas.microsoft.com/office/drawing/2014/main" id="{7CA14446-50CF-0D40-A9B1-80C6DE12B04B}"/>
              </a:ext>
            </a:extLst>
          </p:cNvPr>
          <p:cNvCxnSpPr>
            <a:cxnSpLocks/>
            <a:endCxn id="78" idx="0"/>
          </p:cNvCxnSpPr>
          <p:nvPr/>
        </p:nvCxnSpPr>
        <p:spPr>
          <a:xfrm rot="5400000">
            <a:off x="5594528" y="3406949"/>
            <a:ext cx="1634507" cy="236259"/>
          </a:xfrm>
          <a:prstGeom prst="bentConnector3">
            <a:avLst>
              <a:gd name="adj1" fmla="val 108"/>
            </a:avLst>
          </a:prstGeom>
          <a:noFill/>
          <a:ln w="31750" cap="rnd" cmpd="sng" algn="ctr">
            <a:solidFill>
              <a:schemeClr val="accent5"/>
            </a:solidFill>
            <a:prstDash val="solid"/>
          </a:ln>
          <a:effectLst/>
        </p:spPr>
      </p:cxnSp>
      <p:pic>
        <p:nvPicPr>
          <p:cNvPr id="82" name="Google Shape;1603;p248">
            <a:extLst>
              <a:ext uri="{FF2B5EF4-FFF2-40B4-BE49-F238E27FC236}">
                <a16:creationId xmlns:a16="http://schemas.microsoft.com/office/drawing/2014/main" id="{041AFFE0-7384-BF4D-B9B7-E1DCC5C3EE22}"/>
              </a:ext>
            </a:extLst>
          </p:cNvPr>
          <p:cNvPicPr preferRelativeResize="0">
            <a:picLocks noChangeAspect="1"/>
          </p:cNvPicPr>
          <p:nvPr/>
        </p:nvPicPr>
        <p:blipFill rotWithShape="1">
          <a:blip r:embed="rId3">
            <a:alphaModFix/>
          </a:blip>
          <a:srcRect/>
          <a:stretch/>
        </p:blipFill>
        <p:spPr>
          <a:xfrm>
            <a:off x="6411781" y="1605695"/>
            <a:ext cx="1200000" cy="1200000"/>
          </a:xfrm>
          <a:prstGeom prst="rect">
            <a:avLst/>
          </a:prstGeom>
          <a:noFill/>
          <a:ln>
            <a:noFill/>
          </a:ln>
        </p:spPr>
      </p:pic>
      <p:pic>
        <p:nvPicPr>
          <p:cNvPr id="81" name="Google Shape;1745;p254">
            <a:extLst>
              <a:ext uri="{FF2B5EF4-FFF2-40B4-BE49-F238E27FC236}">
                <a16:creationId xmlns:a16="http://schemas.microsoft.com/office/drawing/2014/main" id="{B5FFB47A-47DC-E746-AF47-858BE742A023}"/>
              </a:ext>
            </a:extLst>
          </p:cNvPr>
          <p:cNvPicPr preferRelativeResize="0">
            <a:picLocks noChangeAspect="1"/>
          </p:cNvPicPr>
          <p:nvPr/>
        </p:nvPicPr>
        <p:blipFill rotWithShape="1">
          <a:blip r:embed="rId4">
            <a:alphaModFix/>
          </a:blip>
          <a:srcRect/>
          <a:stretch/>
        </p:blipFill>
        <p:spPr>
          <a:xfrm>
            <a:off x="4733432" y="1720433"/>
            <a:ext cx="1014337" cy="1014337"/>
          </a:xfrm>
          <a:prstGeom prst="rect">
            <a:avLst/>
          </a:prstGeom>
          <a:noFill/>
          <a:ln>
            <a:noFill/>
          </a:ln>
        </p:spPr>
      </p:pic>
      <p:pic>
        <p:nvPicPr>
          <p:cNvPr id="80" name="Google Shape;1808;p257">
            <a:extLst>
              <a:ext uri="{FF2B5EF4-FFF2-40B4-BE49-F238E27FC236}">
                <a16:creationId xmlns:a16="http://schemas.microsoft.com/office/drawing/2014/main" id="{CB2B1F38-3E26-2540-88C5-54BE54473FFA}"/>
              </a:ext>
            </a:extLst>
          </p:cNvPr>
          <p:cNvPicPr preferRelativeResize="0">
            <a:picLocks noChangeAspect="1"/>
          </p:cNvPicPr>
          <p:nvPr/>
        </p:nvPicPr>
        <p:blipFill rotWithShape="1">
          <a:blip r:embed="rId5">
            <a:alphaModFix/>
          </a:blip>
          <a:srcRect/>
          <a:stretch/>
        </p:blipFill>
        <p:spPr>
          <a:xfrm>
            <a:off x="3232108" y="1724433"/>
            <a:ext cx="983392" cy="983392"/>
          </a:xfrm>
          <a:prstGeom prst="rect">
            <a:avLst/>
          </a:prstGeom>
          <a:noFill/>
          <a:ln>
            <a:noFill/>
          </a:ln>
        </p:spPr>
      </p:pic>
      <p:pic>
        <p:nvPicPr>
          <p:cNvPr id="79" name="Google Shape;1621;p249">
            <a:extLst>
              <a:ext uri="{FF2B5EF4-FFF2-40B4-BE49-F238E27FC236}">
                <a16:creationId xmlns:a16="http://schemas.microsoft.com/office/drawing/2014/main" id="{D8AEAB4C-F3A3-1644-8ED3-641BA27EFBB5}"/>
              </a:ext>
            </a:extLst>
          </p:cNvPr>
          <p:cNvPicPr preferRelativeResize="0">
            <a:picLocks noChangeAspect="1"/>
          </p:cNvPicPr>
          <p:nvPr/>
        </p:nvPicPr>
        <p:blipFill rotWithShape="1">
          <a:blip r:embed="rId6">
            <a:alphaModFix/>
          </a:blip>
          <a:srcRect/>
          <a:stretch/>
        </p:blipFill>
        <p:spPr>
          <a:xfrm>
            <a:off x="1618717" y="1720433"/>
            <a:ext cx="1014337" cy="1014337"/>
          </a:xfrm>
          <a:prstGeom prst="rect">
            <a:avLst/>
          </a:prstGeom>
          <a:noFill/>
          <a:ln>
            <a:noFill/>
          </a:ln>
        </p:spPr>
      </p:pic>
      <p:sp>
        <p:nvSpPr>
          <p:cNvPr id="2" name="Text Placeholder 1">
            <a:extLst>
              <a:ext uri="{FF2B5EF4-FFF2-40B4-BE49-F238E27FC236}">
                <a16:creationId xmlns:a16="http://schemas.microsoft.com/office/drawing/2014/main" id="{45F8A5C1-4805-5047-8533-609858BD2E2D}"/>
              </a:ext>
            </a:extLst>
          </p:cNvPr>
          <p:cNvSpPr>
            <a:spLocks noGrp="1"/>
          </p:cNvSpPr>
          <p:nvPr>
            <p:ph type="body" idx="1"/>
          </p:nvPr>
        </p:nvSpPr>
        <p:spPr>
          <a:xfrm>
            <a:off x="484095" y="720000"/>
            <a:ext cx="10988239" cy="480000"/>
          </a:xfrm>
        </p:spPr>
        <p:txBody>
          <a:bodyPr/>
          <a:lstStyle/>
          <a:p>
            <a:r>
              <a:rPr lang="en-US"/>
              <a:t>Cisco Managed Detection and Response (MDR)</a:t>
            </a:r>
          </a:p>
        </p:txBody>
      </p:sp>
      <p:sp>
        <p:nvSpPr>
          <p:cNvPr id="8" name="TextBox 7">
            <a:extLst>
              <a:ext uri="{FF2B5EF4-FFF2-40B4-BE49-F238E27FC236}">
                <a16:creationId xmlns:a16="http://schemas.microsoft.com/office/drawing/2014/main" id="{C98FE7E7-5895-C24F-A2D8-62080F281E68}"/>
              </a:ext>
            </a:extLst>
          </p:cNvPr>
          <p:cNvSpPr txBox="1"/>
          <p:nvPr/>
        </p:nvSpPr>
        <p:spPr>
          <a:xfrm>
            <a:off x="3037920" y="2923883"/>
            <a:ext cx="1371768" cy="995401"/>
          </a:xfrm>
          <a:prstGeom prst="rect">
            <a:avLst/>
          </a:prstGeom>
          <a:noFill/>
        </p:spPr>
        <p:txBody>
          <a:bodyPr wrap="square" lIns="0" rIns="0" rtlCol="0">
            <a:spAutoFit/>
          </a:bodyPr>
          <a:lstStyle/>
          <a:p>
            <a:pPr algn="ctr" defTabSz="1219108" fontAlgn="base">
              <a:spcBef>
                <a:spcPct val="0"/>
              </a:spcBef>
              <a:spcAft>
                <a:spcPct val="0"/>
              </a:spcAft>
              <a:buClr>
                <a:srgbClr val="000000"/>
              </a:buClr>
              <a:defRPr/>
            </a:pPr>
            <a:r>
              <a:rPr lang="en-US" sz="1467">
                <a:solidFill>
                  <a:srgbClr val="005073"/>
                </a:solidFill>
                <a:latin typeface="CiscoSansTT ExtraLight"/>
                <a:ea typeface="ＭＳ Ｐゴシック" charset="0"/>
                <a:cs typeface="Arial"/>
                <a:sym typeface="Arial"/>
              </a:rPr>
              <a:t>MDR Threat Intelligence </a:t>
            </a:r>
            <a:br>
              <a:rPr lang="en-US" sz="1467">
                <a:solidFill>
                  <a:srgbClr val="005073"/>
                </a:solidFill>
                <a:latin typeface="CiscoSansTT ExtraLight"/>
                <a:ea typeface="ＭＳ Ｐゴシック" charset="0"/>
                <a:cs typeface="Arial"/>
                <a:sym typeface="Arial"/>
              </a:rPr>
            </a:br>
            <a:r>
              <a:rPr lang="en-US" sz="1467">
                <a:solidFill>
                  <a:srgbClr val="005073"/>
                </a:solidFill>
                <a:latin typeface="CiscoSansTT ExtraLight"/>
                <a:ea typeface="ＭＳ Ｐゴシック" charset="0"/>
                <a:cs typeface="Arial"/>
                <a:sym typeface="Arial"/>
              </a:rPr>
              <a:t>and Automation Platform </a:t>
            </a:r>
          </a:p>
        </p:txBody>
      </p:sp>
      <p:sp>
        <p:nvSpPr>
          <p:cNvPr id="9" name="TextBox 8">
            <a:extLst>
              <a:ext uri="{FF2B5EF4-FFF2-40B4-BE49-F238E27FC236}">
                <a16:creationId xmlns:a16="http://schemas.microsoft.com/office/drawing/2014/main" id="{C14B09DB-2B87-B640-8983-BF22E7D71C80}"/>
              </a:ext>
            </a:extLst>
          </p:cNvPr>
          <p:cNvSpPr txBox="1"/>
          <p:nvPr/>
        </p:nvSpPr>
        <p:spPr>
          <a:xfrm>
            <a:off x="1440000" y="2887757"/>
            <a:ext cx="1371768" cy="1221168"/>
          </a:xfrm>
          <a:prstGeom prst="rect">
            <a:avLst/>
          </a:prstGeom>
          <a:noFill/>
        </p:spPr>
        <p:txBody>
          <a:bodyPr wrap="square" lIns="0" rIns="0" rtlCol="0">
            <a:spAutoFit/>
          </a:bodyPr>
          <a:lstStyle>
            <a:defPPr>
              <a:defRPr lang="en-US"/>
            </a:defPPr>
            <a:lvl1pPr marL="0" algn="l" defTabSz="457181" rtl="0" eaLnBrk="1" latinLnBrk="0" hangingPunct="1">
              <a:defRPr sz="1800" kern="1200">
                <a:solidFill>
                  <a:schemeClr val="tx1"/>
                </a:solidFill>
                <a:latin typeface="+mn-lt"/>
                <a:ea typeface="+mn-ea"/>
                <a:cs typeface="+mn-cs"/>
              </a:defRPr>
            </a:lvl1pPr>
            <a:lvl2pPr marL="457181" algn="l" defTabSz="457181" rtl="0" eaLnBrk="1" latinLnBrk="0" hangingPunct="1">
              <a:defRPr sz="1800" kern="1200">
                <a:solidFill>
                  <a:schemeClr val="tx1"/>
                </a:solidFill>
                <a:latin typeface="+mn-lt"/>
                <a:ea typeface="+mn-ea"/>
                <a:cs typeface="+mn-cs"/>
              </a:defRPr>
            </a:lvl2pPr>
            <a:lvl3pPr marL="914362" algn="l" defTabSz="457181" rtl="0" eaLnBrk="1" latinLnBrk="0" hangingPunct="1">
              <a:defRPr sz="1800" kern="1200">
                <a:solidFill>
                  <a:schemeClr val="tx1"/>
                </a:solidFill>
                <a:latin typeface="+mn-lt"/>
                <a:ea typeface="+mn-ea"/>
                <a:cs typeface="+mn-cs"/>
              </a:defRPr>
            </a:lvl3pPr>
            <a:lvl4pPr marL="1371543" algn="l" defTabSz="457181" rtl="0" eaLnBrk="1" latinLnBrk="0" hangingPunct="1">
              <a:defRPr sz="1800" kern="1200">
                <a:solidFill>
                  <a:schemeClr val="tx1"/>
                </a:solidFill>
                <a:latin typeface="+mn-lt"/>
                <a:ea typeface="+mn-ea"/>
                <a:cs typeface="+mn-cs"/>
              </a:defRPr>
            </a:lvl4pPr>
            <a:lvl5pPr marL="1828724" algn="l" defTabSz="457181" rtl="0" eaLnBrk="1" latinLnBrk="0" hangingPunct="1">
              <a:defRPr sz="1800" kern="1200">
                <a:solidFill>
                  <a:schemeClr val="tx1"/>
                </a:solidFill>
                <a:latin typeface="+mn-lt"/>
                <a:ea typeface="+mn-ea"/>
                <a:cs typeface="+mn-cs"/>
              </a:defRPr>
            </a:lvl5pPr>
            <a:lvl6pPr marL="2285905" algn="l" defTabSz="457181" rtl="0" eaLnBrk="1" latinLnBrk="0" hangingPunct="1">
              <a:defRPr sz="1800" kern="1200">
                <a:solidFill>
                  <a:schemeClr val="tx1"/>
                </a:solidFill>
                <a:latin typeface="+mn-lt"/>
                <a:ea typeface="+mn-ea"/>
                <a:cs typeface="+mn-cs"/>
              </a:defRPr>
            </a:lvl6pPr>
            <a:lvl7pPr marL="2743086" algn="l" defTabSz="457181" rtl="0" eaLnBrk="1" latinLnBrk="0" hangingPunct="1">
              <a:defRPr sz="1800" kern="1200">
                <a:solidFill>
                  <a:schemeClr val="tx1"/>
                </a:solidFill>
                <a:latin typeface="+mn-lt"/>
                <a:ea typeface="+mn-ea"/>
                <a:cs typeface="+mn-cs"/>
              </a:defRPr>
            </a:lvl7pPr>
            <a:lvl8pPr marL="3200266" algn="l" defTabSz="457181" rtl="0" eaLnBrk="1" latinLnBrk="0" hangingPunct="1">
              <a:defRPr sz="1800" kern="1200">
                <a:solidFill>
                  <a:schemeClr val="tx1"/>
                </a:solidFill>
                <a:latin typeface="+mn-lt"/>
                <a:ea typeface="+mn-ea"/>
                <a:cs typeface="+mn-cs"/>
              </a:defRPr>
            </a:lvl8pPr>
            <a:lvl9pPr marL="3657448" algn="l" defTabSz="457181" rtl="0" eaLnBrk="1" latinLnBrk="0" hangingPunct="1">
              <a:defRPr sz="1800" kern="1200">
                <a:solidFill>
                  <a:schemeClr val="tx1"/>
                </a:solidFill>
                <a:latin typeface="+mn-lt"/>
                <a:ea typeface="+mn-ea"/>
                <a:cs typeface="+mn-cs"/>
              </a:defRPr>
            </a:lvl9pPr>
          </a:lstStyle>
          <a:p>
            <a:pPr algn="ctr" defTabSz="812720" fontAlgn="base">
              <a:spcBef>
                <a:spcPct val="0"/>
              </a:spcBef>
              <a:spcAft>
                <a:spcPct val="0"/>
              </a:spcAft>
              <a:buClr>
                <a:srgbClr val="000000"/>
              </a:buClr>
              <a:defRPr/>
            </a:pPr>
            <a:r>
              <a:rPr lang="en-US" sz="1467">
                <a:solidFill>
                  <a:srgbClr val="005073"/>
                </a:solidFill>
                <a:latin typeface="CiscoSansTT ExtraLight"/>
                <a:ea typeface="ＭＳ Ｐゴシック" charset="0"/>
                <a:sym typeface="Arial"/>
              </a:rPr>
              <a:t>Expert team </a:t>
            </a:r>
            <a:br>
              <a:rPr lang="en-US" sz="1467">
                <a:solidFill>
                  <a:srgbClr val="005073"/>
                </a:solidFill>
                <a:latin typeface="CiscoSansTT ExtraLight"/>
                <a:ea typeface="ＭＳ Ｐゴシック" charset="0"/>
                <a:sym typeface="Arial"/>
              </a:rPr>
            </a:br>
            <a:r>
              <a:rPr lang="en-US" sz="1467">
                <a:solidFill>
                  <a:srgbClr val="005073"/>
                </a:solidFill>
                <a:latin typeface="CiscoSansTT ExtraLight"/>
                <a:ea typeface="ＭＳ Ｐゴシック" charset="0"/>
                <a:sym typeface="Arial"/>
              </a:rPr>
              <a:t>of researchers, investigators, and responders </a:t>
            </a:r>
          </a:p>
          <a:p>
            <a:pPr algn="ctr" defTabSz="812720" fontAlgn="base">
              <a:spcBef>
                <a:spcPct val="0"/>
              </a:spcBef>
              <a:spcAft>
                <a:spcPct val="0"/>
              </a:spcAft>
              <a:buClr>
                <a:srgbClr val="000000"/>
              </a:buClr>
              <a:defRPr/>
            </a:pPr>
            <a:endParaRPr lang="en-US" sz="1467">
              <a:solidFill>
                <a:srgbClr val="676767"/>
              </a:solidFill>
              <a:latin typeface="CiscoSansTT ExtraLight"/>
              <a:cs typeface="Arial" charset="0"/>
              <a:sym typeface="Arial"/>
            </a:endParaRPr>
          </a:p>
        </p:txBody>
      </p:sp>
      <p:sp>
        <p:nvSpPr>
          <p:cNvPr id="11" name="TextBox 10">
            <a:extLst>
              <a:ext uri="{FF2B5EF4-FFF2-40B4-BE49-F238E27FC236}">
                <a16:creationId xmlns:a16="http://schemas.microsoft.com/office/drawing/2014/main" id="{AF8ECAA8-F3BD-6843-9DD7-A041936D8F70}"/>
              </a:ext>
            </a:extLst>
          </p:cNvPr>
          <p:cNvSpPr txBox="1"/>
          <p:nvPr/>
        </p:nvSpPr>
        <p:spPr>
          <a:xfrm>
            <a:off x="8083207" y="2887759"/>
            <a:ext cx="1209516" cy="543867"/>
          </a:xfrm>
          <a:prstGeom prst="rect">
            <a:avLst/>
          </a:prstGeom>
          <a:noFill/>
        </p:spPr>
        <p:txBody>
          <a:bodyPr wrap="square" lIns="0" rIns="0" rtlCol="0">
            <a:spAutoFit/>
          </a:bodyPr>
          <a:lstStyle>
            <a:defPPr>
              <a:defRPr lang="en-US"/>
            </a:defPPr>
            <a:lvl1pPr marL="0" algn="l" defTabSz="457181" rtl="0" eaLnBrk="1" latinLnBrk="0" hangingPunct="1">
              <a:defRPr sz="1800" kern="1200">
                <a:solidFill>
                  <a:schemeClr val="tx1"/>
                </a:solidFill>
                <a:latin typeface="+mn-lt"/>
                <a:ea typeface="+mn-ea"/>
                <a:cs typeface="+mn-cs"/>
              </a:defRPr>
            </a:lvl1pPr>
            <a:lvl2pPr marL="457181" algn="l" defTabSz="457181" rtl="0" eaLnBrk="1" latinLnBrk="0" hangingPunct="1">
              <a:defRPr sz="1800" kern="1200">
                <a:solidFill>
                  <a:schemeClr val="tx1"/>
                </a:solidFill>
                <a:latin typeface="+mn-lt"/>
                <a:ea typeface="+mn-ea"/>
                <a:cs typeface="+mn-cs"/>
              </a:defRPr>
            </a:lvl2pPr>
            <a:lvl3pPr marL="914362" algn="l" defTabSz="457181" rtl="0" eaLnBrk="1" latinLnBrk="0" hangingPunct="1">
              <a:defRPr sz="1800" kern="1200">
                <a:solidFill>
                  <a:schemeClr val="tx1"/>
                </a:solidFill>
                <a:latin typeface="+mn-lt"/>
                <a:ea typeface="+mn-ea"/>
                <a:cs typeface="+mn-cs"/>
              </a:defRPr>
            </a:lvl3pPr>
            <a:lvl4pPr marL="1371543" algn="l" defTabSz="457181" rtl="0" eaLnBrk="1" latinLnBrk="0" hangingPunct="1">
              <a:defRPr sz="1800" kern="1200">
                <a:solidFill>
                  <a:schemeClr val="tx1"/>
                </a:solidFill>
                <a:latin typeface="+mn-lt"/>
                <a:ea typeface="+mn-ea"/>
                <a:cs typeface="+mn-cs"/>
              </a:defRPr>
            </a:lvl4pPr>
            <a:lvl5pPr marL="1828724" algn="l" defTabSz="457181" rtl="0" eaLnBrk="1" latinLnBrk="0" hangingPunct="1">
              <a:defRPr sz="1800" kern="1200">
                <a:solidFill>
                  <a:schemeClr val="tx1"/>
                </a:solidFill>
                <a:latin typeface="+mn-lt"/>
                <a:ea typeface="+mn-ea"/>
                <a:cs typeface="+mn-cs"/>
              </a:defRPr>
            </a:lvl5pPr>
            <a:lvl6pPr marL="2285905" algn="l" defTabSz="457181" rtl="0" eaLnBrk="1" latinLnBrk="0" hangingPunct="1">
              <a:defRPr sz="1800" kern="1200">
                <a:solidFill>
                  <a:schemeClr val="tx1"/>
                </a:solidFill>
                <a:latin typeface="+mn-lt"/>
                <a:ea typeface="+mn-ea"/>
                <a:cs typeface="+mn-cs"/>
              </a:defRPr>
            </a:lvl6pPr>
            <a:lvl7pPr marL="2743086" algn="l" defTabSz="457181" rtl="0" eaLnBrk="1" latinLnBrk="0" hangingPunct="1">
              <a:defRPr sz="1800" kern="1200">
                <a:solidFill>
                  <a:schemeClr val="tx1"/>
                </a:solidFill>
                <a:latin typeface="+mn-lt"/>
                <a:ea typeface="+mn-ea"/>
                <a:cs typeface="+mn-cs"/>
              </a:defRPr>
            </a:lvl7pPr>
            <a:lvl8pPr marL="3200266" algn="l" defTabSz="457181" rtl="0" eaLnBrk="1" latinLnBrk="0" hangingPunct="1">
              <a:defRPr sz="1800" kern="1200">
                <a:solidFill>
                  <a:schemeClr val="tx1"/>
                </a:solidFill>
                <a:latin typeface="+mn-lt"/>
                <a:ea typeface="+mn-ea"/>
                <a:cs typeface="+mn-cs"/>
              </a:defRPr>
            </a:lvl8pPr>
            <a:lvl9pPr marL="3657448" algn="l" defTabSz="457181" rtl="0" eaLnBrk="1" latinLnBrk="0" hangingPunct="1">
              <a:defRPr sz="1800" kern="1200">
                <a:solidFill>
                  <a:schemeClr val="tx1"/>
                </a:solidFill>
                <a:latin typeface="+mn-lt"/>
                <a:ea typeface="+mn-ea"/>
                <a:cs typeface="+mn-cs"/>
              </a:defRPr>
            </a:lvl9pPr>
          </a:lstStyle>
          <a:p>
            <a:pPr algn="ctr" defTabSz="812720" fontAlgn="base">
              <a:spcBef>
                <a:spcPct val="0"/>
              </a:spcBef>
              <a:spcAft>
                <a:spcPct val="0"/>
              </a:spcAft>
              <a:buClr>
                <a:srgbClr val="000000"/>
              </a:buClr>
              <a:defRPr/>
            </a:pPr>
            <a:r>
              <a:rPr lang="en-US" sz="1467">
                <a:solidFill>
                  <a:srgbClr val="005073"/>
                </a:solidFill>
                <a:latin typeface="CiscoSansTT ExtraLight"/>
                <a:cs typeface="Arial" charset="0"/>
                <a:sym typeface="Arial"/>
              </a:rPr>
              <a:t>Customer</a:t>
            </a:r>
            <a:br>
              <a:rPr lang="en-US" sz="1467">
                <a:solidFill>
                  <a:srgbClr val="005073"/>
                </a:solidFill>
                <a:latin typeface="CiscoSansTT ExtraLight"/>
                <a:cs typeface="Arial" charset="0"/>
                <a:sym typeface="Arial"/>
              </a:rPr>
            </a:br>
            <a:r>
              <a:rPr lang="en-US" sz="1467">
                <a:solidFill>
                  <a:srgbClr val="005073"/>
                </a:solidFill>
                <a:latin typeface="CiscoSansTT ExtraLight"/>
                <a:cs typeface="Arial" charset="0"/>
                <a:sym typeface="Arial"/>
              </a:rPr>
              <a:t>portal</a:t>
            </a:r>
          </a:p>
        </p:txBody>
      </p:sp>
      <p:sp>
        <p:nvSpPr>
          <p:cNvPr id="47" name="TextBox 46">
            <a:extLst>
              <a:ext uri="{FF2B5EF4-FFF2-40B4-BE49-F238E27FC236}">
                <a16:creationId xmlns:a16="http://schemas.microsoft.com/office/drawing/2014/main" id="{57EA32CF-8B38-B341-96CC-05FC8A0EDCAB}"/>
              </a:ext>
            </a:extLst>
          </p:cNvPr>
          <p:cNvSpPr txBox="1"/>
          <p:nvPr/>
        </p:nvSpPr>
        <p:spPr>
          <a:xfrm>
            <a:off x="9600001" y="2887759"/>
            <a:ext cx="1482276" cy="543867"/>
          </a:xfrm>
          <a:prstGeom prst="rect">
            <a:avLst/>
          </a:prstGeom>
          <a:noFill/>
        </p:spPr>
        <p:txBody>
          <a:bodyPr wrap="square" lIns="0" rIns="0" rtlCol="0">
            <a:spAutoFit/>
          </a:bodyPr>
          <a:lstStyle>
            <a:defPPr>
              <a:defRPr lang="en-US"/>
            </a:defPPr>
            <a:lvl1pPr marL="0" algn="l" defTabSz="457181" rtl="0" eaLnBrk="1" latinLnBrk="0" hangingPunct="1">
              <a:defRPr sz="1800" kern="1200">
                <a:solidFill>
                  <a:schemeClr val="tx1"/>
                </a:solidFill>
                <a:latin typeface="+mn-lt"/>
                <a:ea typeface="+mn-ea"/>
                <a:cs typeface="+mn-cs"/>
              </a:defRPr>
            </a:lvl1pPr>
            <a:lvl2pPr marL="457181" algn="l" defTabSz="457181" rtl="0" eaLnBrk="1" latinLnBrk="0" hangingPunct="1">
              <a:defRPr sz="1800" kern="1200">
                <a:solidFill>
                  <a:schemeClr val="tx1"/>
                </a:solidFill>
                <a:latin typeface="+mn-lt"/>
                <a:ea typeface="+mn-ea"/>
                <a:cs typeface="+mn-cs"/>
              </a:defRPr>
            </a:lvl2pPr>
            <a:lvl3pPr marL="914362" algn="l" defTabSz="457181" rtl="0" eaLnBrk="1" latinLnBrk="0" hangingPunct="1">
              <a:defRPr sz="1800" kern="1200">
                <a:solidFill>
                  <a:schemeClr val="tx1"/>
                </a:solidFill>
                <a:latin typeface="+mn-lt"/>
                <a:ea typeface="+mn-ea"/>
                <a:cs typeface="+mn-cs"/>
              </a:defRPr>
            </a:lvl3pPr>
            <a:lvl4pPr marL="1371543" algn="l" defTabSz="457181" rtl="0" eaLnBrk="1" latinLnBrk="0" hangingPunct="1">
              <a:defRPr sz="1800" kern="1200">
                <a:solidFill>
                  <a:schemeClr val="tx1"/>
                </a:solidFill>
                <a:latin typeface="+mn-lt"/>
                <a:ea typeface="+mn-ea"/>
                <a:cs typeface="+mn-cs"/>
              </a:defRPr>
            </a:lvl4pPr>
            <a:lvl5pPr marL="1828724" algn="l" defTabSz="457181" rtl="0" eaLnBrk="1" latinLnBrk="0" hangingPunct="1">
              <a:defRPr sz="1800" kern="1200">
                <a:solidFill>
                  <a:schemeClr val="tx1"/>
                </a:solidFill>
                <a:latin typeface="+mn-lt"/>
                <a:ea typeface="+mn-ea"/>
                <a:cs typeface="+mn-cs"/>
              </a:defRPr>
            </a:lvl5pPr>
            <a:lvl6pPr marL="2285905" algn="l" defTabSz="457181" rtl="0" eaLnBrk="1" latinLnBrk="0" hangingPunct="1">
              <a:defRPr sz="1800" kern="1200">
                <a:solidFill>
                  <a:schemeClr val="tx1"/>
                </a:solidFill>
                <a:latin typeface="+mn-lt"/>
                <a:ea typeface="+mn-ea"/>
                <a:cs typeface="+mn-cs"/>
              </a:defRPr>
            </a:lvl6pPr>
            <a:lvl7pPr marL="2743086" algn="l" defTabSz="457181" rtl="0" eaLnBrk="1" latinLnBrk="0" hangingPunct="1">
              <a:defRPr sz="1800" kern="1200">
                <a:solidFill>
                  <a:schemeClr val="tx1"/>
                </a:solidFill>
                <a:latin typeface="+mn-lt"/>
                <a:ea typeface="+mn-ea"/>
                <a:cs typeface="+mn-cs"/>
              </a:defRPr>
            </a:lvl7pPr>
            <a:lvl8pPr marL="3200266" algn="l" defTabSz="457181" rtl="0" eaLnBrk="1" latinLnBrk="0" hangingPunct="1">
              <a:defRPr sz="1800" kern="1200">
                <a:solidFill>
                  <a:schemeClr val="tx1"/>
                </a:solidFill>
                <a:latin typeface="+mn-lt"/>
                <a:ea typeface="+mn-ea"/>
                <a:cs typeface="+mn-cs"/>
              </a:defRPr>
            </a:lvl8pPr>
            <a:lvl9pPr marL="3657448" algn="l" defTabSz="457181" rtl="0" eaLnBrk="1" latinLnBrk="0" hangingPunct="1">
              <a:defRPr sz="1800" kern="1200">
                <a:solidFill>
                  <a:schemeClr val="tx1"/>
                </a:solidFill>
                <a:latin typeface="+mn-lt"/>
                <a:ea typeface="+mn-ea"/>
                <a:cs typeface="+mn-cs"/>
              </a:defRPr>
            </a:lvl9pPr>
          </a:lstStyle>
          <a:p>
            <a:pPr algn="ctr" defTabSz="812720" fontAlgn="base">
              <a:spcBef>
                <a:spcPct val="0"/>
              </a:spcBef>
              <a:spcAft>
                <a:spcPct val="0"/>
              </a:spcAft>
              <a:buClr>
                <a:srgbClr val="000000"/>
              </a:buClr>
              <a:defRPr/>
            </a:pPr>
            <a:r>
              <a:rPr lang="en-US" sz="1467" dirty="0" err="1">
                <a:solidFill>
                  <a:srgbClr val="005073"/>
                </a:solidFill>
                <a:latin typeface="CiscoSansTT ExtraLight"/>
                <a:cs typeface="Arial" charset="0"/>
                <a:sym typeface="Arial"/>
              </a:rPr>
              <a:t>Talos</a:t>
            </a:r>
            <a:r>
              <a:rPr lang="en-US" sz="1467" dirty="0">
                <a:solidFill>
                  <a:srgbClr val="005073"/>
                </a:solidFill>
                <a:latin typeface="CiscoSansTT ExtraLight" panose="020B0303020201020303" pitchFamily="34" charset="0"/>
                <a:cs typeface="CiscoSansTT ExtraLight" panose="020B0303020201020303" pitchFamily="34" charset="0"/>
                <a:sym typeface="Arial"/>
              </a:rPr>
              <a:t>®</a:t>
            </a:r>
            <a:r>
              <a:rPr lang="en-US" sz="1467" dirty="0">
                <a:solidFill>
                  <a:srgbClr val="005073"/>
                </a:solidFill>
                <a:latin typeface="CiscoSansTT ExtraLight"/>
                <a:cs typeface="Arial" charset="0"/>
                <a:sym typeface="Arial"/>
              </a:rPr>
              <a:t> Incident  Response</a:t>
            </a:r>
          </a:p>
        </p:txBody>
      </p:sp>
      <p:sp>
        <p:nvSpPr>
          <p:cNvPr id="49" name="TextBox 48">
            <a:extLst>
              <a:ext uri="{FF2B5EF4-FFF2-40B4-BE49-F238E27FC236}">
                <a16:creationId xmlns:a16="http://schemas.microsoft.com/office/drawing/2014/main" id="{62521B8F-C861-8B45-A16F-A075B20FB090}"/>
              </a:ext>
            </a:extLst>
          </p:cNvPr>
          <p:cNvSpPr txBox="1"/>
          <p:nvPr/>
        </p:nvSpPr>
        <p:spPr>
          <a:xfrm>
            <a:off x="4635842" y="2887758"/>
            <a:ext cx="1209516" cy="995401"/>
          </a:xfrm>
          <a:prstGeom prst="rect">
            <a:avLst/>
          </a:prstGeom>
          <a:noFill/>
        </p:spPr>
        <p:txBody>
          <a:bodyPr wrap="square" lIns="0" rIns="0" rtlCol="0">
            <a:spAutoFit/>
          </a:bodyPr>
          <a:lstStyle>
            <a:defPPr>
              <a:defRPr lang="en-US"/>
            </a:defPPr>
            <a:lvl1pPr marL="0" algn="l" defTabSz="457181" rtl="0" eaLnBrk="1" latinLnBrk="0" hangingPunct="1">
              <a:defRPr sz="1800" kern="1200">
                <a:solidFill>
                  <a:schemeClr val="tx1"/>
                </a:solidFill>
                <a:latin typeface="+mn-lt"/>
                <a:ea typeface="+mn-ea"/>
                <a:cs typeface="+mn-cs"/>
              </a:defRPr>
            </a:lvl1pPr>
            <a:lvl2pPr marL="457181" algn="l" defTabSz="457181" rtl="0" eaLnBrk="1" latinLnBrk="0" hangingPunct="1">
              <a:defRPr sz="1800" kern="1200">
                <a:solidFill>
                  <a:schemeClr val="tx1"/>
                </a:solidFill>
                <a:latin typeface="+mn-lt"/>
                <a:ea typeface="+mn-ea"/>
                <a:cs typeface="+mn-cs"/>
              </a:defRPr>
            </a:lvl2pPr>
            <a:lvl3pPr marL="914362" algn="l" defTabSz="457181" rtl="0" eaLnBrk="1" latinLnBrk="0" hangingPunct="1">
              <a:defRPr sz="1800" kern="1200">
                <a:solidFill>
                  <a:schemeClr val="tx1"/>
                </a:solidFill>
                <a:latin typeface="+mn-lt"/>
                <a:ea typeface="+mn-ea"/>
                <a:cs typeface="+mn-cs"/>
              </a:defRPr>
            </a:lvl3pPr>
            <a:lvl4pPr marL="1371543" algn="l" defTabSz="457181" rtl="0" eaLnBrk="1" latinLnBrk="0" hangingPunct="1">
              <a:defRPr sz="1800" kern="1200">
                <a:solidFill>
                  <a:schemeClr val="tx1"/>
                </a:solidFill>
                <a:latin typeface="+mn-lt"/>
                <a:ea typeface="+mn-ea"/>
                <a:cs typeface="+mn-cs"/>
              </a:defRPr>
            </a:lvl4pPr>
            <a:lvl5pPr marL="1828724" algn="l" defTabSz="457181" rtl="0" eaLnBrk="1" latinLnBrk="0" hangingPunct="1">
              <a:defRPr sz="1800" kern="1200">
                <a:solidFill>
                  <a:schemeClr val="tx1"/>
                </a:solidFill>
                <a:latin typeface="+mn-lt"/>
                <a:ea typeface="+mn-ea"/>
                <a:cs typeface="+mn-cs"/>
              </a:defRPr>
            </a:lvl5pPr>
            <a:lvl6pPr marL="2285905" algn="l" defTabSz="457181" rtl="0" eaLnBrk="1" latinLnBrk="0" hangingPunct="1">
              <a:defRPr sz="1800" kern="1200">
                <a:solidFill>
                  <a:schemeClr val="tx1"/>
                </a:solidFill>
                <a:latin typeface="+mn-lt"/>
                <a:ea typeface="+mn-ea"/>
                <a:cs typeface="+mn-cs"/>
              </a:defRPr>
            </a:lvl6pPr>
            <a:lvl7pPr marL="2743086" algn="l" defTabSz="457181" rtl="0" eaLnBrk="1" latinLnBrk="0" hangingPunct="1">
              <a:defRPr sz="1800" kern="1200">
                <a:solidFill>
                  <a:schemeClr val="tx1"/>
                </a:solidFill>
                <a:latin typeface="+mn-lt"/>
                <a:ea typeface="+mn-ea"/>
                <a:cs typeface="+mn-cs"/>
              </a:defRPr>
            </a:lvl7pPr>
            <a:lvl8pPr marL="3200266" algn="l" defTabSz="457181" rtl="0" eaLnBrk="1" latinLnBrk="0" hangingPunct="1">
              <a:defRPr sz="1800" kern="1200">
                <a:solidFill>
                  <a:schemeClr val="tx1"/>
                </a:solidFill>
                <a:latin typeface="+mn-lt"/>
                <a:ea typeface="+mn-ea"/>
                <a:cs typeface="+mn-cs"/>
              </a:defRPr>
            </a:lvl8pPr>
            <a:lvl9pPr marL="3657448" algn="l" defTabSz="457181" rtl="0" eaLnBrk="1" latinLnBrk="0" hangingPunct="1">
              <a:defRPr sz="1800" kern="1200">
                <a:solidFill>
                  <a:schemeClr val="tx1"/>
                </a:solidFill>
                <a:latin typeface="+mn-lt"/>
                <a:ea typeface="+mn-ea"/>
                <a:cs typeface="+mn-cs"/>
              </a:defRPr>
            </a:lvl9pPr>
          </a:lstStyle>
          <a:p>
            <a:pPr algn="ctr" defTabSz="1219108" fontAlgn="base">
              <a:spcBef>
                <a:spcPct val="0"/>
              </a:spcBef>
              <a:spcAft>
                <a:spcPct val="0"/>
              </a:spcAft>
              <a:buClr>
                <a:srgbClr val="000000"/>
              </a:buClr>
              <a:defRPr/>
            </a:pPr>
            <a:r>
              <a:rPr lang="en-US" sz="1467">
                <a:solidFill>
                  <a:srgbClr val="005073"/>
                </a:solidFill>
                <a:latin typeface="CiscoSansTT ExtraLight"/>
                <a:ea typeface="ＭＳ Ｐゴシック" charset="0"/>
                <a:sym typeface="Arial"/>
              </a:rPr>
              <a:t>Defined investigations </a:t>
            </a:r>
            <a:br>
              <a:rPr lang="en-US" sz="1467">
                <a:solidFill>
                  <a:srgbClr val="005073"/>
                </a:solidFill>
                <a:latin typeface="CiscoSansTT ExtraLight"/>
                <a:ea typeface="ＭＳ Ｐゴシック" charset="0"/>
                <a:sym typeface="Arial"/>
              </a:rPr>
            </a:br>
            <a:r>
              <a:rPr lang="en-US" sz="1467">
                <a:solidFill>
                  <a:srgbClr val="005073"/>
                </a:solidFill>
                <a:latin typeface="CiscoSansTT ExtraLight"/>
                <a:ea typeface="ＭＳ Ｐゴシック" charset="0"/>
                <a:sym typeface="Arial"/>
              </a:rPr>
              <a:t>and response playbooks</a:t>
            </a:r>
          </a:p>
        </p:txBody>
      </p:sp>
      <p:sp>
        <p:nvSpPr>
          <p:cNvPr id="52" name="Rectangle 51">
            <a:extLst>
              <a:ext uri="{FF2B5EF4-FFF2-40B4-BE49-F238E27FC236}">
                <a16:creationId xmlns:a16="http://schemas.microsoft.com/office/drawing/2014/main" id="{E7B6BE13-1E70-E044-BA0D-A113FBF61D23}"/>
              </a:ext>
            </a:extLst>
          </p:cNvPr>
          <p:cNvSpPr/>
          <p:nvPr/>
        </p:nvSpPr>
        <p:spPr>
          <a:xfrm>
            <a:off x="2540221" y="5448023"/>
            <a:ext cx="1704729" cy="201580"/>
          </a:xfrm>
          <a:prstGeom prst="rect">
            <a:avLst/>
          </a:prstGeom>
        </p:spPr>
        <p:txBody>
          <a:bodyPr wrap="square" lIns="0" tIns="0" rIns="0" bIns="0">
            <a:noAutofit/>
          </a:bodyPr>
          <a:lstStyle/>
          <a:p>
            <a:pPr algn="ctr" defTabSz="812760" fontAlgn="base">
              <a:spcBef>
                <a:spcPct val="0"/>
              </a:spcBef>
              <a:spcAft>
                <a:spcPct val="0"/>
              </a:spcAft>
              <a:buClr>
                <a:srgbClr val="000000"/>
              </a:buClr>
              <a:defRPr/>
            </a:pPr>
            <a:r>
              <a:rPr lang="en-US" sz="1333" kern="0">
                <a:solidFill>
                  <a:srgbClr val="005073"/>
                </a:solidFill>
                <a:latin typeface="CiscoSansTT ExtraLight"/>
                <a:ea typeface="ＭＳ Ｐゴシック" charset="0"/>
                <a:cs typeface="Arial"/>
                <a:sym typeface="Arial"/>
              </a:rPr>
              <a:t>Stealthwatch</a:t>
            </a:r>
            <a:r>
              <a:rPr lang="en-US" sz="1333" kern="0">
                <a:solidFill>
                  <a:srgbClr val="005073"/>
                </a:solidFill>
                <a:latin typeface="CiscoSansTT ExtraLight" panose="020B0303020201020303" pitchFamily="34" charset="0"/>
                <a:ea typeface="ＭＳ Ｐゴシック" charset="0"/>
                <a:cs typeface="CiscoSansTT ExtraLight" panose="020B0303020201020303" pitchFamily="34" charset="0"/>
                <a:sym typeface="Arial"/>
              </a:rPr>
              <a:t>®</a:t>
            </a:r>
            <a:r>
              <a:rPr lang="en-US" sz="1333" kern="0">
                <a:solidFill>
                  <a:srgbClr val="005073"/>
                </a:solidFill>
                <a:latin typeface="CiscoSansTT ExtraLight"/>
                <a:ea typeface="ＭＳ Ｐゴシック" charset="0"/>
                <a:cs typeface="Arial"/>
                <a:sym typeface="Arial"/>
              </a:rPr>
              <a:t> Cloud </a:t>
            </a:r>
          </a:p>
        </p:txBody>
      </p:sp>
      <p:sp>
        <p:nvSpPr>
          <p:cNvPr id="54" name="Rectangle 53">
            <a:extLst>
              <a:ext uri="{FF2B5EF4-FFF2-40B4-BE49-F238E27FC236}">
                <a16:creationId xmlns:a16="http://schemas.microsoft.com/office/drawing/2014/main" id="{092EA34F-C7CA-EB4C-857B-43806FF9BD92}"/>
              </a:ext>
            </a:extLst>
          </p:cNvPr>
          <p:cNvSpPr/>
          <p:nvPr/>
        </p:nvSpPr>
        <p:spPr>
          <a:xfrm>
            <a:off x="4548977" y="5454425"/>
            <a:ext cx="1420903" cy="201580"/>
          </a:xfrm>
          <a:prstGeom prst="rect">
            <a:avLst/>
          </a:prstGeom>
        </p:spPr>
        <p:txBody>
          <a:bodyPr wrap="square" lIns="0" tIns="0" rIns="0" bIns="0">
            <a:noAutofit/>
          </a:bodyPr>
          <a:lstStyle/>
          <a:p>
            <a:pPr algn="ctr" defTabSz="812760" fontAlgn="base">
              <a:spcBef>
                <a:spcPct val="0"/>
              </a:spcBef>
              <a:spcAft>
                <a:spcPct val="0"/>
              </a:spcAft>
              <a:buClr>
                <a:srgbClr val="000000"/>
              </a:buClr>
              <a:defRPr/>
            </a:pPr>
            <a:r>
              <a:rPr lang="en-US" sz="1333" kern="0">
                <a:solidFill>
                  <a:srgbClr val="005073"/>
                </a:solidFill>
                <a:latin typeface="CiscoSansTT ExtraLight"/>
                <a:ea typeface="ＭＳ Ｐゴシック" charset="0"/>
                <a:cs typeface="Arial"/>
                <a:sym typeface="Arial"/>
              </a:rPr>
              <a:t>AMP for Endpoints</a:t>
            </a:r>
          </a:p>
          <a:p>
            <a:pPr algn="ctr" defTabSz="812760" fontAlgn="base">
              <a:spcBef>
                <a:spcPct val="0"/>
              </a:spcBef>
              <a:spcAft>
                <a:spcPct val="0"/>
              </a:spcAft>
              <a:buClr>
                <a:srgbClr val="000000"/>
              </a:buClr>
              <a:defRPr/>
            </a:pPr>
            <a:endParaRPr lang="en-US" sz="1333" kern="0">
              <a:solidFill>
                <a:srgbClr val="005073"/>
              </a:solidFill>
              <a:latin typeface="CiscoSansTT ExtraLight"/>
              <a:ea typeface="ＭＳ Ｐゴシック" charset="0"/>
              <a:cs typeface="Arial"/>
              <a:sym typeface="Arial"/>
            </a:endParaRPr>
          </a:p>
        </p:txBody>
      </p:sp>
      <p:sp>
        <p:nvSpPr>
          <p:cNvPr id="56" name="Rectangle 55">
            <a:extLst>
              <a:ext uri="{FF2B5EF4-FFF2-40B4-BE49-F238E27FC236}">
                <a16:creationId xmlns:a16="http://schemas.microsoft.com/office/drawing/2014/main" id="{613EB134-D910-A248-8B99-D73F94742023}"/>
              </a:ext>
            </a:extLst>
          </p:cNvPr>
          <p:cNvSpPr/>
          <p:nvPr/>
        </p:nvSpPr>
        <p:spPr>
          <a:xfrm>
            <a:off x="6435988" y="5449267"/>
            <a:ext cx="1310309" cy="201580"/>
          </a:xfrm>
          <a:prstGeom prst="rect">
            <a:avLst/>
          </a:prstGeom>
        </p:spPr>
        <p:txBody>
          <a:bodyPr wrap="square" lIns="0" tIns="0" rIns="0" bIns="0">
            <a:noAutofit/>
          </a:bodyPr>
          <a:lstStyle/>
          <a:p>
            <a:pPr algn="ctr" defTabSz="812760" fontAlgn="base">
              <a:spcBef>
                <a:spcPct val="0"/>
              </a:spcBef>
              <a:spcAft>
                <a:spcPct val="0"/>
              </a:spcAft>
              <a:buClr>
                <a:srgbClr val="000000"/>
              </a:buClr>
              <a:defRPr/>
            </a:pPr>
            <a:r>
              <a:rPr lang="en-US" sz="1333" kern="0">
                <a:solidFill>
                  <a:srgbClr val="005073"/>
                </a:solidFill>
                <a:latin typeface="CiscoSansTT ExtraLight"/>
                <a:ea typeface="ＭＳ Ｐゴシック" charset="0"/>
                <a:cs typeface="Arial"/>
                <a:sym typeface="Arial"/>
              </a:rPr>
              <a:t>Threat Grid</a:t>
            </a:r>
          </a:p>
        </p:txBody>
      </p:sp>
      <p:sp>
        <p:nvSpPr>
          <p:cNvPr id="58" name="Rectangle 57">
            <a:extLst>
              <a:ext uri="{FF2B5EF4-FFF2-40B4-BE49-F238E27FC236}">
                <a16:creationId xmlns:a16="http://schemas.microsoft.com/office/drawing/2014/main" id="{EBD2B169-B32E-6E41-93F9-117D39FFF056}"/>
              </a:ext>
            </a:extLst>
          </p:cNvPr>
          <p:cNvSpPr/>
          <p:nvPr/>
        </p:nvSpPr>
        <p:spPr>
          <a:xfrm>
            <a:off x="8347284" y="5448023"/>
            <a:ext cx="1310309" cy="201580"/>
          </a:xfrm>
          <a:prstGeom prst="rect">
            <a:avLst/>
          </a:prstGeom>
        </p:spPr>
        <p:txBody>
          <a:bodyPr wrap="square" lIns="0" tIns="0" rIns="0" bIns="0">
            <a:noAutofit/>
          </a:bodyPr>
          <a:lstStyle/>
          <a:p>
            <a:pPr algn="ctr" defTabSz="812760" fontAlgn="base">
              <a:spcBef>
                <a:spcPct val="0"/>
              </a:spcBef>
              <a:spcAft>
                <a:spcPct val="0"/>
              </a:spcAft>
              <a:buClr>
                <a:srgbClr val="000000"/>
              </a:buClr>
              <a:defRPr/>
            </a:pPr>
            <a:r>
              <a:rPr lang="en-US" sz="1333" kern="0">
                <a:solidFill>
                  <a:srgbClr val="005073"/>
                </a:solidFill>
                <a:latin typeface="CiscoSansTT ExtraLight"/>
                <a:ea typeface="ＭＳ Ｐゴシック" charset="0"/>
                <a:cs typeface="Arial"/>
                <a:sym typeface="Arial"/>
              </a:rPr>
              <a:t>Umbrella</a:t>
            </a:r>
            <a:r>
              <a:rPr lang="en-US" sz="1333" kern="0">
                <a:solidFill>
                  <a:srgbClr val="005073"/>
                </a:solidFill>
                <a:latin typeface="CiscoSansTT ExtraLight" panose="020B0303020201020303" pitchFamily="34" charset="0"/>
                <a:ea typeface="ＭＳ Ｐゴシック" charset="0"/>
                <a:cs typeface="CiscoSansTT ExtraLight" panose="020B0303020201020303" pitchFamily="34" charset="0"/>
                <a:sym typeface="Arial"/>
              </a:rPr>
              <a:t>™</a:t>
            </a:r>
            <a:endParaRPr lang="en-US" sz="1333" kern="0">
              <a:solidFill>
                <a:srgbClr val="005073"/>
              </a:solidFill>
              <a:latin typeface="CiscoSansTT ExtraLight"/>
              <a:ea typeface="ＭＳ Ｐゴシック" charset="0"/>
              <a:cs typeface="Arial"/>
              <a:sym typeface="Arial"/>
            </a:endParaRPr>
          </a:p>
        </p:txBody>
      </p:sp>
      <p:sp>
        <p:nvSpPr>
          <p:cNvPr id="60" name="TextBox 59">
            <a:extLst>
              <a:ext uri="{FF2B5EF4-FFF2-40B4-BE49-F238E27FC236}">
                <a16:creationId xmlns:a16="http://schemas.microsoft.com/office/drawing/2014/main" id="{FC99E8A7-B813-E54A-A11A-AAA21C37FA9A}"/>
              </a:ext>
            </a:extLst>
          </p:cNvPr>
          <p:cNvSpPr txBox="1"/>
          <p:nvPr/>
        </p:nvSpPr>
        <p:spPr>
          <a:xfrm>
            <a:off x="6293653" y="2887759"/>
            <a:ext cx="1482276" cy="995401"/>
          </a:xfrm>
          <a:prstGeom prst="rect">
            <a:avLst/>
          </a:prstGeom>
          <a:noFill/>
        </p:spPr>
        <p:txBody>
          <a:bodyPr wrap="square" lIns="0" rIns="0" rtlCol="0">
            <a:spAutoFit/>
          </a:bodyPr>
          <a:lstStyle>
            <a:defPPr>
              <a:defRPr lang="en-US"/>
            </a:defPPr>
            <a:lvl1pPr marL="0" algn="l" defTabSz="457181" rtl="0" eaLnBrk="1" latinLnBrk="0" hangingPunct="1">
              <a:defRPr sz="1800" kern="1200">
                <a:solidFill>
                  <a:schemeClr val="tx1"/>
                </a:solidFill>
                <a:latin typeface="+mn-lt"/>
                <a:ea typeface="+mn-ea"/>
                <a:cs typeface="+mn-cs"/>
              </a:defRPr>
            </a:lvl1pPr>
            <a:lvl2pPr marL="457181" algn="l" defTabSz="457181" rtl="0" eaLnBrk="1" latinLnBrk="0" hangingPunct="1">
              <a:defRPr sz="1800" kern="1200">
                <a:solidFill>
                  <a:schemeClr val="tx1"/>
                </a:solidFill>
                <a:latin typeface="+mn-lt"/>
                <a:ea typeface="+mn-ea"/>
                <a:cs typeface="+mn-cs"/>
              </a:defRPr>
            </a:lvl2pPr>
            <a:lvl3pPr marL="914362" algn="l" defTabSz="457181" rtl="0" eaLnBrk="1" latinLnBrk="0" hangingPunct="1">
              <a:defRPr sz="1800" kern="1200">
                <a:solidFill>
                  <a:schemeClr val="tx1"/>
                </a:solidFill>
                <a:latin typeface="+mn-lt"/>
                <a:ea typeface="+mn-ea"/>
                <a:cs typeface="+mn-cs"/>
              </a:defRPr>
            </a:lvl3pPr>
            <a:lvl4pPr marL="1371543" algn="l" defTabSz="457181" rtl="0" eaLnBrk="1" latinLnBrk="0" hangingPunct="1">
              <a:defRPr sz="1800" kern="1200">
                <a:solidFill>
                  <a:schemeClr val="tx1"/>
                </a:solidFill>
                <a:latin typeface="+mn-lt"/>
                <a:ea typeface="+mn-ea"/>
                <a:cs typeface="+mn-cs"/>
              </a:defRPr>
            </a:lvl4pPr>
            <a:lvl5pPr marL="1828724" algn="l" defTabSz="457181" rtl="0" eaLnBrk="1" latinLnBrk="0" hangingPunct="1">
              <a:defRPr sz="1800" kern="1200">
                <a:solidFill>
                  <a:schemeClr val="tx1"/>
                </a:solidFill>
                <a:latin typeface="+mn-lt"/>
                <a:ea typeface="+mn-ea"/>
                <a:cs typeface="+mn-cs"/>
              </a:defRPr>
            </a:lvl5pPr>
            <a:lvl6pPr marL="2285905" algn="l" defTabSz="457181" rtl="0" eaLnBrk="1" latinLnBrk="0" hangingPunct="1">
              <a:defRPr sz="1800" kern="1200">
                <a:solidFill>
                  <a:schemeClr val="tx1"/>
                </a:solidFill>
                <a:latin typeface="+mn-lt"/>
                <a:ea typeface="+mn-ea"/>
                <a:cs typeface="+mn-cs"/>
              </a:defRPr>
            </a:lvl6pPr>
            <a:lvl7pPr marL="2743086" algn="l" defTabSz="457181" rtl="0" eaLnBrk="1" latinLnBrk="0" hangingPunct="1">
              <a:defRPr sz="1800" kern="1200">
                <a:solidFill>
                  <a:schemeClr val="tx1"/>
                </a:solidFill>
                <a:latin typeface="+mn-lt"/>
                <a:ea typeface="+mn-ea"/>
                <a:cs typeface="+mn-cs"/>
              </a:defRPr>
            </a:lvl7pPr>
            <a:lvl8pPr marL="3200266" algn="l" defTabSz="457181" rtl="0" eaLnBrk="1" latinLnBrk="0" hangingPunct="1">
              <a:defRPr sz="1800" kern="1200">
                <a:solidFill>
                  <a:schemeClr val="tx1"/>
                </a:solidFill>
                <a:latin typeface="+mn-lt"/>
                <a:ea typeface="+mn-ea"/>
                <a:cs typeface="+mn-cs"/>
              </a:defRPr>
            </a:lvl8pPr>
            <a:lvl9pPr marL="3657448" algn="l" defTabSz="457181" rtl="0" eaLnBrk="1" latinLnBrk="0" hangingPunct="1">
              <a:defRPr sz="1800" kern="1200">
                <a:solidFill>
                  <a:schemeClr val="tx1"/>
                </a:solidFill>
                <a:latin typeface="+mn-lt"/>
                <a:ea typeface="+mn-ea"/>
                <a:cs typeface="+mn-cs"/>
              </a:defRPr>
            </a:lvl9pPr>
          </a:lstStyle>
          <a:p>
            <a:pPr algn="ctr" defTabSz="1219108" fontAlgn="base">
              <a:spcBef>
                <a:spcPct val="0"/>
              </a:spcBef>
              <a:spcAft>
                <a:spcPct val="0"/>
              </a:spcAft>
              <a:buClr>
                <a:srgbClr val="000000"/>
              </a:buClr>
              <a:defRPr/>
            </a:pPr>
            <a:r>
              <a:rPr lang="en-US" sz="1467">
                <a:solidFill>
                  <a:srgbClr val="005073"/>
                </a:solidFill>
                <a:latin typeface="CiscoSansTT ExtraLight"/>
                <a:ea typeface="ＭＳ Ｐゴシック" charset="0"/>
                <a:sym typeface="Arial"/>
              </a:rPr>
              <a:t>Integrated</a:t>
            </a:r>
            <a:br>
              <a:rPr lang="en-US" sz="1467">
                <a:solidFill>
                  <a:srgbClr val="005073"/>
                </a:solidFill>
                <a:latin typeface="CiscoSansTT ExtraLight"/>
                <a:ea typeface="ＭＳ Ｐゴシック" charset="0"/>
                <a:sym typeface="Arial"/>
              </a:rPr>
            </a:br>
            <a:r>
              <a:rPr lang="en-US" sz="1467">
                <a:solidFill>
                  <a:srgbClr val="005073"/>
                </a:solidFill>
                <a:latin typeface="CiscoSansTT ExtraLight"/>
                <a:ea typeface="ＭＳ Ｐゴシック" charset="0"/>
                <a:sym typeface="Arial"/>
              </a:rPr>
              <a:t>security architecture </a:t>
            </a:r>
            <a:br>
              <a:rPr lang="en-US" sz="1467">
                <a:solidFill>
                  <a:srgbClr val="005073"/>
                </a:solidFill>
                <a:latin typeface="CiscoSansTT ExtraLight"/>
                <a:ea typeface="ＭＳ Ｐゴシック" charset="0"/>
                <a:sym typeface="Arial"/>
              </a:rPr>
            </a:br>
            <a:r>
              <a:rPr lang="en-US" sz="1467">
                <a:solidFill>
                  <a:srgbClr val="005073"/>
                </a:solidFill>
                <a:latin typeface="CiscoSansTT ExtraLight"/>
                <a:ea typeface="ＭＳ Ｐゴシック" charset="0"/>
                <a:sym typeface="Arial"/>
              </a:rPr>
              <a:t>and automation</a:t>
            </a:r>
          </a:p>
        </p:txBody>
      </p:sp>
      <p:grpSp>
        <p:nvGrpSpPr>
          <p:cNvPr id="75" name="Group 74">
            <a:extLst>
              <a:ext uri="{FF2B5EF4-FFF2-40B4-BE49-F238E27FC236}">
                <a16:creationId xmlns:a16="http://schemas.microsoft.com/office/drawing/2014/main" id="{10CEAD35-90A2-034A-87FE-6B2CEBFAC0CD}"/>
              </a:ext>
            </a:extLst>
          </p:cNvPr>
          <p:cNvGrpSpPr/>
          <p:nvPr/>
        </p:nvGrpSpPr>
        <p:grpSpPr>
          <a:xfrm>
            <a:off x="5726973" y="5858136"/>
            <a:ext cx="731921" cy="257096"/>
            <a:chOff x="4340006" y="4386097"/>
            <a:chExt cx="548941" cy="192822"/>
          </a:xfrm>
        </p:grpSpPr>
        <p:sp>
          <p:nvSpPr>
            <p:cNvPr id="76" name="Rectangle 75">
              <a:extLst>
                <a:ext uri="{FF2B5EF4-FFF2-40B4-BE49-F238E27FC236}">
                  <a16:creationId xmlns:a16="http://schemas.microsoft.com/office/drawing/2014/main" id="{54F3D153-138D-3B49-9480-CB3ED435604C}"/>
                </a:ext>
              </a:extLst>
            </p:cNvPr>
            <p:cNvSpPr/>
            <p:nvPr/>
          </p:nvSpPr>
          <p:spPr>
            <a:xfrm>
              <a:off x="4340006" y="4386097"/>
              <a:ext cx="548941" cy="19282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fontAlgn="base">
                <a:spcBef>
                  <a:spcPct val="0"/>
                </a:spcBef>
                <a:spcAft>
                  <a:spcPct val="0"/>
                </a:spcAft>
                <a:buClr>
                  <a:srgbClr val="000000"/>
                </a:buClr>
                <a:defRPr/>
              </a:pPr>
              <a:endParaRPr lang="en-US" sz="3200" kern="0">
                <a:solidFill>
                  <a:srgbClr val="005073"/>
                </a:solidFill>
                <a:latin typeface="CiscoSansTT ExtraLight"/>
                <a:sym typeface="Arial"/>
              </a:endParaRPr>
            </a:p>
          </p:txBody>
        </p:sp>
        <p:sp>
          <p:nvSpPr>
            <p:cNvPr id="77" name="Freeform 113">
              <a:extLst>
                <a:ext uri="{FF2B5EF4-FFF2-40B4-BE49-F238E27FC236}">
                  <a16:creationId xmlns:a16="http://schemas.microsoft.com/office/drawing/2014/main" id="{B4EF7A31-A267-5241-9CAC-CA043B297789}"/>
                </a:ext>
              </a:extLst>
            </p:cNvPr>
            <p:cNvSpPr>
              <a:spLocks noEditPoints="1"/>
            </p:cNvSpPr>
            <p:nvPr/>
          </p:nvSpPr>
          <p:spPr bwMode="auto">
            <a:xfrm>
              <a:off x="4344996" y="4413697"/>
              <a:ext cx="528039" cy="143336"/>
            </a:xfrm>
            <a:custGeom>
              <a:avLst/>
              <a:gdLst/>
              <a:ahLst/>
              <a:cxnLst>
                <a:cxn ang="0">
                  <a:pos x="131" y="20"/>
                </a:cxn>
                <a:cxn ang="0">
                  <a:pos x="107" y="0"/>
                </a:cxn>
                <a:cxn ang="0">
                  <a:pos x="79" y="0"/>
                </a:cxn>
                <a:cxn ang="0">
                  <a:pos x="85" y="11"/>
                </a:cxn>
                <a:cxn ang="0">
                  <a:pos x="114" y="13"/>
                </a:cxn>
                <a:cxn ang="0">
                  <a:pos x="121" y="69"/>
                </a:cxn>
                <a:cxn ang="0">
                  <a:pos x="111" y="82"/>
                </a:cxn>
                <a:cxn ang="0">
                  <a:pos x="81" y="74"/>
                </a:cxn>
                <a:cxn ang="0">
                  <a:pos x="96" y="50"/>
                </a:cxn>
                <a:cxn ang="0">
                  <a:pos x="119" y="38"/>
                </a:cxn>
                <a:cxn ang="0">
                  <a:pos x="83" y="42"/>
                </a:cxn>
                <a:cxn ang="0">
                  <a:pos x="74" y="87"/>
                </a:cxn>
                <a:cxn ang="0">
                  <a:pos x="114" y="94"/>
                </a:cxn>
                <a:cxn ang="0">
                  <a:pos x="131" y="93"/>
                </a:cxn>
                <a:cxn ang="0">
                  <a:pos x="333" y="73"/>
                </a:cxn>
                <a:cxn ang="0">
                  <a:pos x="320" y="40"/>
                </a:cxn>
                <a:cxn ang="0">
                  <a:pos x="292" y="38"/>
                </a:cxn>
                <a:cxn ang="0">
                  <a:pos x="294" y="13"/>
                </a:cxn>
                <a:cxn ang="0">
                  <a:pos x="329" y="10"/>
                </a:cxn>
                <a:cxn ang="0">
                  <a:pos x="332" y="1"/>
                </a:cxn>
                <a:cxn ang="0">
                  <a:pos x="294" y="1"/>
                </a:cxn>
                <a:cxn ang="0">
                  <a:pos x="281" y="34"/>
                </a:cxn>
                <a:cxn ang="0">
                  <a:pos x="318" y="52"/>
                </a:cxn>
                <a:cxn ang="0">
                  <a:pos x="323" y="69"/>
                </a:cxn>
                <a:cxn ang="0">
                  <a:pos x="303" y="80"/>
                </a:cxn>
                <a:cxn ang="0">
                  <a:pos x="275" y="92"/>
                </a:cxn>
                <a:cxn ang="0">
                  <a:pos x="322" y="94"/>
                </a:cxn>
                <a:cxn ang="0">
                  <a:pos x="0" y="1"/>
                </a:cxn>
                <a:cxn ang="0">
                  <a:pos x="25" y="12"/>
                </a:cxn>
                <a:cxn ang="0">
                  <a:pos x="28" y="80"/>
                </a:cxn>
                <a:cxn ang="0">
                  <a:pos x="39" y="94"/>
                </a:cxn>
                <a:cxn ang="0">
                  <a:pos x="40" y="16"/>
                </a:cxn>
                <a:cxn ang="0">
                  <a:pos x="58" y="12"/>
                </a:cxn>
                <a:cxn ang="0">
                  <a:pos x="0" y="0"/>
                </a:cxn>
                <a:cxn ang="0">
                  <a:pos x="161" y="80"/>
                </a:cxn>
                <a:cxn ang="0">
                  <a:pos x="157" y="14"/>
                </a:cxn>
                <a:cxn ang="0">
                  <a:pos x="146" y="2"/>
                </a:cxn>
                <a:cxn ang="0">
                  <a:pos x="155" y="94"/>
                </a:cxn>
                <a:cxn ang="0">
                  <a:pos x="200" y="88"/>
                </a:cxn>
                <a:cxn ang="0">
                  <a:pos x="257" y="23"/>
                </a:cxn>
                <a:cxn ang="0">
                  <a:pos x="255" y="75"/>
                </a:cxn>
                <a:cxn ang="0">
                  <a:pos x="218" y="77"/>
                </a:cxn>
                <a:cxn ang="0">
                  <a:pos x="213" y="84"/>
                </a:cxn>
                <a:cxn ang="0">
                  <a:pos x="242" y="93"/>
                </a:cxn>
                <a:cxn ang="0">
                  <a:pos x="264" y="20"/>
                </a:cxn>
                <a:cxn ang="0">
                  <a:pos x="212" y="63"/>
                </a:cxn>
                <a:cxn ang="0">
                  <a:pos x="250" y="17"/>
                </a:cxn>
                <a:cxn ang="0">
                  <a:pos x="256" y="10"/>
                </a:cxn>
                <a:cxn ang="0">
                  <a:pos x="221" y="4"/>
                </a:cxn>
                <a:cxn ang="0">
                  <a:pos x="206" y="75"/>
                </a:cxn>
                <a:cxn ang="0">
                  <a:pos x="212" y="69"/>
                </a:cxn>
                <a:cxn ang="0">
                  <a:pos x="257" y="20"/>
                </a:cxn>
                <a:cxn ang="0">
                  <a:pos x="254" y="17"/>
                </a:cxn>
                <a:cxn ang="0">
                  <a:pos x="213" y="73"/>
                </a:cxn>
                <a:cxn ang="0">
                  <a:pos x="215" y="77"/>
                </a:cxn>
                <a:cxn ang="0">
                  <a:pos x="331" y="91"/>
                </a:cxn>
                <a:cxn ang="0">
                  <a:pos x="331" y="91"/>
                </a:cxn>
                <a:cxn ang="0">
                  <a:pos x="330" y="90"/>
                </a:cxn>
                <a:cxn ang="0">
                  <a:pos x="334" y="93"/>
                </a:cxn>
                <a:cxn ang="0">
                  <a:pos x="333" y="94"/>
                </a:cxn>
                <a:cxn ang="0">
                  <a:pos x="333" y="91"/>
                </a:cxn>
                <a:cxn ang="0">
                  <a:pos x="335" y="91"/>
                </a:cxn>
                <a:cxn ang="0">
                  <a:pos x="336" y="94"/>
                </a:cxn>
              </a:cxnLst>
              <a:rect l="0" t="0" r="r" b="b"/>
              <a:pathLst>
                <a:path w="336" h="95">
                  <a:moveTo>
                    <a:pt x="131" y="59"/>
                  </a:moveTo>
                  <a:cubicBezTo>
                    <a:pt x="131" y="48"/>
                    <a:pt x="131" y="37"/>
                    <a:pt x="131" y="26"/>
                  </a:cubicBezTo>
                  <a:cubicBezTo>
                    <a:pt x="131" y="24"/>
                    <a:pt x="131" y="22"/>
                    <a:pt x="131" y="20"/>
                  </a:cubicBezTo>
                  <a:cubicBezTo>
                    <a:pt x="130" y="16"/>
                    <a:pt x="129" y="12"/>
                    <a:pt x="127" y="8"/>
                  </a:cubicBezTo>
                  <a:cubicBezTo>
                    <a:pt x="124" y="5"/>
                    <a:pt x="121" y="3"/>
                    <a:pt x="118" y="2"/>
                  </a:cubicBezTo>
                  <a:cubicBezTo>
                    <a:pt x="114" y="1"/>
                    <a:pt x="111" y="0"/>
                    <a:pt x="107" y="0"/>
                  </a:cubicBezTo>
                  <a:cubicBezTo>
                    <a:pt x="104" y="0"/>
                    <a:pt x="100" y="0"/>
                    <a:pt x="96" y="0"/>
                  </a:cubicBezTo>
                  <a:cubicBezTo>
                    <a:pt x="91" y="0"/>
                    <a:pt x="85" y="0"/>
                    <a:pt x="79" y="0"/>
                  </a:cubicBezTo>
                  <a:cubicBezTo>
                    <a:pt x="79" y="0"/>
                    <a:pt x="79" y="0"/>
                    <a:pt x="79" y="0"/>
                  </a:cubicBezTo>
                  <a:cubicBezTo>
                    <a:pt x="79" y="0"/>
                    <a:pt x="79" y="1"/>
                    <a:pt x="79" y="1"/>
                  </a:cubicBezTo>
                  <a:cubicBezTo>
                    <a:pt x="79" y="5"/>
                    <a:pt x="81" y="9"/>
                    <a:pt x="84" y="11"/>
                  </a:cubicBezTo>
                  <a:cubicBezTo>
                    <a:pt x="85" y="11"/>
                    <a:pt x="85" y="11"/>
                    <a:pt x="85" y="11"/>
                  </a:cubicBezTo>
                  <a:cubicBezTo>
                    <a:pt x="87" y="11"/>
                    <a:pt x="88" y="11"/>
                    <a:pt x="90" y="11"/>
                  </a:cubicBezTo>
                  <a:cubicBezTo>
                    <a:pt x="96" y="11"/>
                    <a:pt x="102" y="11"/>
                    <a:pt x="109" y="11"/>
                  </a:cubicBezTo>
                  <a:cubicBezTo>
                    <a:pt x="111" y="11"/>
                    <a:pt x="113" y="12"/>
                    <a:pt x="114" y="13"/>
                  </a:cubicBezTo>
                  <a:cubicBezTo>
                    <a:pt x="119" y="15"/>
                    <a:pt x="121" y="19"/>
                    <a:pt x="121" y="25"/>
                  </a:cubicBezTo>
                  <a:cubicBezTo>
                    <a:pt x="121" y="31"/>
                    <a:pt x="121" y="38"/>
                    <a:pt x="121" y="44"/>
                  </a:cubicBezTo>
                  <a:cubicBezTo>
                    <a:pt x="121" y="52"/>
                    <a:pt x="121" y="60"/>
                    <a:pt x="121" y="69"/>
                  </a:cubicBezTo>
                  <a:cubicBezTo>
                    <a:pt x="121" y="70"/>
                    <a:pt x="121" y="72"/>
                    <a:pt x="121" y="73"/>
                  </a:cubicBezTo>
                  <a:cubicBezTo>
                    <a:pt x="120" y="77"/>
                    <a:pt x="118" y="80"/>
                    <a:pt x="115" y="81"/>
                  </a:cubicBezTo>
                  <a:cubicBezTo>
                    <a:pt x="114" y="81"/>
                    <a:pt x="112" y="82"/>
                    <a:pt x="111" y="82"/>
                  </a:cubicBezTo>
                  <a:cubicBezTo>
                    <a:pt x="105" y="82"/>
                    <a:pt x="98" y="82"/>
                    <a:pt x="91" y="82"/>
                  </a:cubicBezTo>
                  <a:cubicBezTo>
                    <a:pt x="91" y="82"/>
                    <a:pt x="90" y="82"/>
                    <a:pt x="90" y="82"/>
                  </a:cubicBezTo>
                  <a:cubicBezTo>
                    <a:pt x="85" y="82"/>
                    <a:pt x="82" y="79"/>
                    <a:pt x="81" y="74"/>
                  </a:cubicBezTo>
                  <a:cubicBezTo>
                    <a:pt x="80" y="70"/>
                    <a:pt x="81" y="66"/>
                    <a:pt x="82" y="62"/>
                  </a:cubicBezTo>
                  <a:cubicBezTo>
                    <a:pt x="84" y="57"/>
                    <a:pt x="86" y="53"/>
                    <a:pt x="90" y="51"/>
                  </a:cubicBezTo>
                  <a:cubicBezTo>
                    <a:pt x="92" y="50"/>
                    <a:pt x="94" y="50"/>
                    <a:pt x="96" y="50"/>
                  </a:cubicBezTo>
                  <a:cubicBezTo>
                    <a:pt x="103" y="50"/>
                    <a:pt x="111" y="50"/>
                    <a:pt x="119" y="50"/>
                  </a:cubicBezTo>
                  <a:cubicBezTo>
                    <a:pt x="119" y="50"/>
                    <a:pt x="119" y="50"/>
                    <a:pt x="119" y="50"/>
                  </a:cubicBezTo>
                  <a:cubicBezTo>
                    <a:pt x="119" y="38"/>
                    <a:pt x="119" y="38"/>
                    <a:pt x="119" y="38"/>
                  </a:cubicBezTo>
                  <a:cubicBezTo>
                    <a:pt x="118" y="38"/>
                    <a:pt x="118" y="38"/>
                    <a:pt x="118" y="38"/>
                  </a:cubicBezTo>
                  <a:cubicBezTo>
                    <a:pt x="110" y="38"/>
                    <a:pt x="101" y="38"/>
                    <a:pt x="93" y="38"/>
                  </a:cubicBezTo>
                  <a:cubicBezTo>
                    <a:pt x="90" y="38"/>
                    <a:pt x="86" y="39"/>
                    <a:pt x="83" y="42"/>
                  </a:cubicBezTo>
                  <a:cubicBezTo>
                    <a:pt x="78" y="46"/>
                    <a:pt x="74" y="53"/>
                    <a:pt x="72" y="60"/>
                  </a:cubicBezTo>
                  <a:cubicBezTo>
                    <a:pt x="70" y="66"/>
                    <a:pt x="70" y="72"/>
                    <a:pt x="71" y="78"/>
                  </a:cubicBezTo>
                  <a:cubicBezTo>
                    <a:pt x="72" y="81"/>
                    <a:pt x="73" y="84"/>
                    <a:pt x="74" y="87"/>
                  </a:cubicBezTo>
                  <a:cubicBezTo>
                    <a:pt x="77" y="91"/>
                    <a:pt x="81" y="93"/>
                    <a:pt x="85" y="94"/>
                  </a:cubicBezTo>
                  <a:cubicBezTo>
                    <a:pt x="88" y="94"/>
                    <a:pt x="92" y="94"/>
                    <a:pt x="95" y="94"/>
                  </a:cubicBezTo>
                  <a:cubicBezTo>
                    <a:pt x="101" y="94"/>
                    <a:pt x="107" y="94"/>
                    <a:pt x="114" y="94"/>
                  </a:cubicBezTo>
                  <a:cubicBezTo>
                    <a:pt x="117" y="94"/>
                    <a:pt x="121" y="92"/>
                    <a:pt x="123" y="89"/>
                  </a:cubicBezTo>
                  <a:cubicBezTo>
                    <a:pt x="126" y="91"/>
                    <a:pt x="128" y="93"/>
                    <a:pt x="131" y="94"/>
                  </a:cubicBezTo>
                  <a:cubicBezTo>
                    <a:pt x="131" y="93"/>
                    <a:pt x="131" y="93"/>
                    <a:pt x="131" y="93"/>
                  </a:cubicBezTo>
                  <a:cubicBezTo>
                    <a:pt x="131" y="90"/>
                    <a:pt x="131" y="87"/>
                    <a:pt x="131" y="85"/>
                  </a:cubicBezTo>
                  <a:cubicBezTo>
                    <a:pt x="131" y="76"/>
                    <a:pt x="131" y="68"/>
                    <a:pt x="131" y="59"/>
                  </a:cubicBezTo>
                  <a:close/>
                  <a:moveTo>
                    <a:pt x="333" y="73"/>
                  </a:moveTo>
                  <a:cubicBezTo>
                    <a:pt x="333" y="67"/>
                    <a:pt x="333" y="62"/>
                    <a:pt x="333" y="56"/>
                  </a:cubicBezTo>
                  <a:cubicBezTo>
                    <a:pt x="333" y="54"/>
                    <a:pt x="333" y="52"/>
                    <a:pt x="332" y="50"/>
                  </a:cubicBezTo>
                  <a:cubicBezTo>
                    <a:pt x="330" y="43"/>
                    <a:pt x="326" y="40"/>
                    <a:pt x="320" y="40"/>
                  </a:cubicBezTo>
                  <a:cubicBezTo>
                    <a:pt x="313" y="40"/>
                    <a:pt x="306" y="40"/>
                    <a:pt x="299" y="40"/>
                  </a:cubicBezTo>
                  <a:cubicBezTo>
                    <a:pt x="297" y="40"/>
                    <a:pt x="296" y="40"/>
                    <a:pt x="295" y="40"/>
                  </a:cubicBezTo>
                  <a:cubicBezTo>
                    <a:pt x="293" y="40"/>
                    <a:pt x="292" y="39"/>
                    <a:pt x="292" y="38"/>
                  </a:cubicBezTo>
                  <a:cubicBezTo>
                    <a:pt x="291" y="37"/>
                    <a:pt x="291" y="36"/>
                    <a:pt x="291" y="34"/>
                  </a:cubicBezTo>
                  <a:cubicBezTo>
                    <a:pt x="291" y="29"/>
                    <a:pt x="291" y="23"/>
                    <a:pt x="292" y="18"/>
                  </a:cubicBezTo>
                  <a:cubicBezTo>
                    <a:pt x="292" y="16"/>
                    <a:pt x="292" y="14"/>
                    <a:pt x="294" y="13"/>
                  </a:cubicBezTo>
                  <a:cubicBezTo>
                    <a:pt x="295" y="12"/>
                    <a:pt x="296" y="11"/>
                    <a:pt x="298" y="11"/>
                  </a:cubicBezTo>
                  <a:cubicBezTo>
                    <a:pt x="307" y="11"/>
                    <a:pt x="316" y="11"/>
                    <a:pt x="325" y="11"/>
                  </a:cubicBezTo>
                  <a:cubicBezTo>
                    <a:pt x="327" y="11"/>
                    <a:pt x="328" y="11"/>
                    <a:pt x="329" y="10"/>
                  </a:cubicBezTo>
                  <a:cubicBezTo>
                    <a:pt x="329" y="10"/>
                    <a:pt x="329" y="10"/>
                    <a:pt x="329" y="9"/>
                  </a:cubicBezTo>
                  <a:cubicBezTo>
                    <a:pt x="332" y="7"/>
                    <a:pt x="333" y="4"/>
                    <a:pt x="333" y="1"/>
                  </a:cubicBezTo>
                  <a:cubicBezTo>
                    <a:pt x="332" y="1"/>
                    <a:pt x="332" y="1"/>
                    <a:pt x="332" y="1"/>
                  </a:cubicBezTo>
                  <a:cubicBezTo>
                    <a:pt x="326" y="1"/>
                    <a:pt x="320" y="0"/>
                    <a:pt x="313" y="0"/>
                  </a:cubicBezTo>
                  <a:cubicBezTo>
                    <a:pt x="309" y="0"/>
                    <a:pt x="304" y="0"/>
                    <a:pt x="300" y="0"/>
                  </a:cubicBezTo>
                  <a:cubicBezTo>
                    <a:pt x="298" y="0"/>
                    <a:pt x="296" y="0"/>
                    <a:pt x="294" y="1"/>
                  </a:cubicBezTo>
                  <a:cubicBezTo>
                    <a:pt x="290" y="1"/>
                    <a:pt x="286" y="4"/>
                    <a:pt x="284" y="8"/>
                  </a:cubicBezTo>
                  <a:cubicBezTo>
                    <a:pt x="283" y="11"/>
                    <a:pt x="282" y="13"/>
                    <a:pt x="282" y="16"/>
                  </a:cubicBezTo>
                  <a:cubicBezTo>
                    <a:pt x="282" y="22"/>
                    <a:pt x="281" y="28"/>
                    <a:pt x="281" y="34"/>
                  </a:cubicBezTo>
                  <a:cubicBezTo>
                    <a:pt x="281" y="38"/>
                    <a:pt x="282" y="42"/>
                    <a:pt x="284" y="46"/>
                  </a:cubicBezTo>
                  <a:cubicBezTo>
                    <a:pt x="286" y="50"/>
                    <a:pt x="290" y="52"/>
                    <a:pt x="294" y="52"/>
                  </a:cubicBezTo>
                  <a:cubicBezTo>
                    <a:pt x="302" y="52"/>
                    <a:pt x="310" y="52"/>
                    <a:pt x="318" y="52"/>
                  </a:cubicBezTo>
                  <a:cubicBezTo>
                    <a:pt x="318" y="52"/>
                    <a:pt x="319" y="52"/>
                    <a:pt x="319" y="52"/>
                  </a:cubicBezTo>
                  <a:cubicBezTo>
                    <a:pt x="322" y="53"/>
                    <a:pt x="323" y="55"/>
                    <a:pt x="323" y="58"/>
                  </a:cubicBezTo>
                  <a:cubicBezTo>
                    <a:pt x="323" y="62"/>
                    <a:pt x="323" y="66"/>
                    <a:pt x="323" y="69"/>
                  </a:cubicBezTo>
                  <a:cubicBezTo>
                    <a:pt x="323" y="71"/>
                    <a:pt x="324" y="73"/>
                    <a:pt x="323" y="75"/>
                  </a:cubicBezTo>
                  <a:cubicBezTo>
                    <a:pt x="323" y="78"/>
                    <a:pt x="321" y="80"/>
                    <a:pt x="318" y="80"/>
                  </a:cubicBezTo>
                  <a:cubicBezTo>
                    <a:pt x="313" y="80"/>
                    <a:pt x="308" y="80"/>
                    <a:pt x="303" y="80"/>
                  </a:cubicBezTo>
                  <a:cubicBezTo>
                    <a:pt x="297" y="80"/>
                    <a:pt x="291" y="80"/>
                    <a:pt x="286" y="80"/>
                  </a:cubicBezTo>
                  <a:cubicBezTo>
                    <a:pt x="285" y="80"/>
                    <a:pt x="284" y="81"/>
                    <a:pt x="283" y="81"/>
                  </a:cubicBezTo>
                  <a:cubicBezTo>
                    <a:pt x="280" y="84"/>
                    <a:pt x="277" y="87"/>
                    <a:pt x="275" y="92"/>
                  </a:cubicBezTo>
                  <a:cubicBezTo>
                    <a:pt x="275" y="93"/>
                    <a:pt x="275" y="93"/>
                    <a:pt x="275" y="94"/>
                  </a:cubicBezTo>
                  <a:cubicBezTo>
                    <a:pt x="319" y="94"/>
                    <a:pt x="319" y="94"/>
                    <a:pt x="319" y="94"/>
                  </a:cubicBezTo>
                  <a:cubicBezTo>
                    <a:pt x="320" y="94"/>
                    <a:pt x="321" y="94"/>
                    <a:pt x="322" y="94"/>
                  </a:cubicBezTo>
                  <a:cubicBezTo>
                    <a:pt x="329" y="92"/>
                    <a:pt x="333" y="84"/>
                    <a:pt x="333" y="78"/>
                  </a:cubicBezTo>
                  <a:cubicBezTo>
                    <a:pt x="333" y="76"/>
                    <a:pt x="333" y="74"/>
                    <a:pt x="333" y="73"/>
                  </a:cubicBezTo>
                  <a:close/>
                  <a:moveTo>
                    <a:pt x="0" y="1"/>
                  </a:moveTo>
                  <a:cubicBezTo>
                    <a:pt x="1" y="7"/>
                    <a:pt x="5" y="11"/>
                    <a:pt x="10" y="12"/>
                  </a:cubicBezTo>
                  <a:cubicBezTo>
                    <a:pt x="12" y="12"/>
                    <a:pt x="14" y="12"/>
                    <a:pt x="16" y="12"/>
                  </a:cubicBezTo>
                  <a:cubicBezTo>
                    <a:pt x="19" y="12"/>
                    <a:pt x="22" y="12"/>
                    <a:pt x="25" y="12"/>
                  </a:cubicBezTo>
                  <a:cubicBezTo>
                    <a:pt x="26" y="12"/>
                    <a:pt x="27" y="12"/>
                    <a:pt x="27" y="13"/>
                  </a:cubicBezTo>
                  <a:cubicBezTo>
                    <a:pt x="28" y="15"/>
                    <a:pt x="28" y="16"/>
                    <a:pt x="28" y="17"/>
                  </a:cubicBezTo>
                  <a:cubicBezTo>
                    <a:pt x="28" y="38"/>
                    <a:pt x="28" y="59"/>
                    <a:pt x="28" y="80"/>
                  </a:cubicBezTo>
                  <a:cubicBezTo>
                    <a:pt x="28" y="84"/>
                    <a:pt x="29" y="87"/>
                    <a:pt x="31" y="89"/>
                  </a:cubicBezTo>
                  <a:cubicBezTo>
                    <a:pt x="33" y="91"/>
                    <a:pt x="35" y="93"/>
                    <a:pt x="37" y="93"/>
                  </a:cubicBezTo>
                  <a:cubicBezTo>
                    <a:pt x="38" y="94"/>
                    <a:pt x="39" y="94"/>
                    <a:pt x="39" y="94"/>
                  </a:cubicBezTo>
                  <a:cubicBezTo>
                    <a:pt x="39" y="93"/>
                    <a:pt x="39" y="93"/>
                    <a:pt x="39" y="93"/>
                  </a:cubicBezTo>
                  <a:cubicBezTo>
                    <a:pt x="39" y="68"/>
                    <a:pt x="39" y="43"/>
                    <a:pt x="39" y="18"/>
                  </a:cubicBezTo>
                  <a:cubicBezTo>
                    <a:pt x="39" y="17"/>
                    <a:pt x="40" y="17"/>
                    <a:pt x="40" y="16"/>
                  </a:cubicBezTo>
                  <a:cubicBezTo>
                    <a:pt x="40" y="14"/>
                    <a:pt x="41" y="12"/>
                    <a:pt x="43" y="12"/>
                  </a:cubicBezTo>
                  <a:cubicBezTo>
                    <a:pt x="46" y="12"/>
                    <a:pt x="48" y="12"/>
                    <a:pt x="51" y="12"/>
                  </a:cubicBezTo>
                  <a:cubicBezTo>
                    <a:pt x="53" y="12"/>
                    <a:pt x="56" y="12"/>
                    <a:pt x="58" y="12"/>
                  </a:cubicBezTo>
                  <a:cubicBezTo>
                    <a:pt x="63" y="12"/>
                    <a:pt x="66" y="8"/>
                    <a:pt x="67" y="3"/>
                  </a:cubicBezTo>
                  <a:cubicBezTo>
                    <a:pt x="68" y="2"/>
                    <a:pt x="68" y="1"/>
                    <a:pt x="68" y="0"/>
                  </a:cubicBezTo>
                  <a:cubicBezTo>
                    <a:pt x="0" y="0"/>
                    <a:pt x="0" y="0"/>
                    <a:pt x="0" y="0"/>
                  </a:cubicBezTo>
                  <a:cubicBezTo>
                    <a:pt x="0" y="1"/>
                    <a:pt x="0" y="1"/>
                    <a:pt x="0" y="1"/>
                  </a:cubicBezTo>
                  <a:close/>
                  <a:moveTo>
                    <a:pt x="191" y="80"/>
                  </a:moveTo>
                  <a:cubicBezTo>
                    <a:pt x="181" y="80"/>
                    <a:pt x="171" y="80"/>
                    <a:pt x="161" y="80"/>
                  </a:cubicBezTo>
                  <a:cubicBezTo>
                    <a:pt x="159" y="80"/>
                    <a:pt x="158" y="79"/>
                    <a:pt x="157" y="76"/>
                  </a:cubicBezTo>
                  <a:cubicBezTo>
                    <a:pt x="157" y="73"/>
                    <a:pt x="157" y="71"/>
                    <a:pt x="157" y="68"/>
                  </a:cubicBezTo>
                  <a:cubicBezTo>
                    <a:pt x="157" y="50"/>
                    <a:pt x="157" y="32"/>
                    <a:pt x="157" y="14"/>
                  </a:cubicBezTo>
                  <a:cubicBezTo>
                    <a:pt x="157" y="11"/>
                    <a:pt x="156" y="8"/>
                    <a:pt x="154" y="5"/>
                  </a:cubicBezTo>
                  <a:cubicBezTo>
                    <a:pt x="152" y="2"/>
                    <a:pt x="149" y="1"/>
                    <a:pt x="146" y="1"/>
                  </a:cubicBezTo>
                  <a:cubicBezTo>
                    <a:pt x="146" y="2"/>
                    <a:pt x="146" y="2"/>
                    <a:pt x="146" y="2"/>
                  </a:cubicBezTo>
                  <a:cubicBezTo>
                    <a:pt x="146" y="28"/>
                    <a:pt x="146" y="54"/>
                    <a:pt x="146" y="80"/>
                  </a:cubicBezTo>
                  <a:cubicBezTo>
                    <a:pt x="146" y="81"/>
                    <a:pt x="146" y="82"/>
                    <a:pt x="146" y="83"/>
                  </a:cubicBezTo>
                  <a:cubicBezTo>
                    <a:pt x="146" y="89"/>
                    <a:pt x="150" y="94"/>
                    <a:pt x="155" y="94"/>
                  </a:cubicBezTo>
                  <a:cubicBezTo>
                    <a:pt x="170" y="94"/>
                    <a:pt x="185" y="94"/>
                    <a:pt x="200" y="94"/>
                  </a:cubicBezTo>
                  <a:cubicBezTo>
                    <a:pt x="201" y="94"/>
                    <a:pt x="201" y="94"/>
                    <a:pt x="201" y="94"/>
                  </a:cubicBezTo>
                  <a:cubicBezTo>
                    <a:pt x="201" y="92"/>
                    <a:pt x="201" y="90"/>
                    <a:pt x="200" y="88"/>
                  </a:cubicBezTo>
                  <a:cubicBezTo>
                    <a:pt x="199" y="83"/>
                    <a:pt x="196" y="80"/>
                    <a:pt x="191" y="80"/>
                  </a:cubicBezTo>
                  <a:close/>
                  <a:moveTo>
                    <a:pt x="262" y="17"/>
                  </a:moveTo>
                  <a:cubicBezTo>
                    <a:pt x="261" y="19"/>
                    <a:pt x="259" y="21"/>
                    <a:pt x="257" y="23"/>
                  </a:cubicBezTo>
                  <a:cubicBezTo>
                    <a:pt x="257" y="24"/>
                    <a:pt x="257" y="24"/>
                    <a:pt x="257" y="25"/>
                  </a:cubicBezTo>
                  <a:cubicBezTo>
                    <a:pt x="257" y="40"/>
                    <a:pt x="257" y="55"/>
                    <a:pt x="257" y="70"/>
                  </a:cubicBezTo>
                  <a:cubicBezTo>
                    <a:pt x="257" y="72"/>
                    <a:pt x="256" y="74"/>
                    <a:pt x="255" y="75"/>
                  </a:cubicBezTo>
                  <a:cubicBezTo>
                    <a:pt x="254" y="77"/>
                    <a:pt x="253" y="77"/>
                    <a:pt x="251" y="77"/>
                  </a:cubicBezTo>
                  <a:cubicBezTo>
                    <a:pt x="246" y="77"/>
                    <a:pt x="240" y="77"/>
                    <a:pt x="235" y="77"/>
                  </a:cubicBezTo>
                  <a:cubicBezTo>
                    <a:pt x="229" y="77"/>
                    <a:pt x="224" y="77"/>
                    <a:pt x="218" y="77"/>
                  </a:cubicBezTo>
                  <a:cubicBezTo>
                    <a:pt x="218" y="77"/>
                    <a:pt x="217" y="77"/>
                    <a:pt x="217" y="78"/>
                  </a:cubicBezTo>
                  <a:cubicBezTo>
                    <a:pt x="216" y="79"/>
                    <a:pt x="215" y="81"/>
                    <a:pt x="213" y="83"/>
                  </a:cubicBezTo>
                  <a:cubicBezTo>
                    <a:pt x="213" y="84"/>
                    <a:pt x="213" y="84"/>
                    <a:pt x="213" y="84"/>
                  </a:cubicBezTo>
                  <a:cubicBezTo>
                    <a:pt x="213" y="84"/>
                    <a:pt x="213" y="84"/>
                    <a:pt x="213" y="85"/>
                  </a:cubicBezTo>
                  <a:cubicBezTo>
                    <a:pt x="214" y="85"/>
                    <a:pt x="214" y="86"/>
                    <a:pt x="215" y="86"/>
                  </a:cubicBezTo>
                  <a:cubicBezTo>
                    <a:pt x="224" y="93"/>
                    <a:pt x="233" y="95"/>
                    <a:pt x="242" y="93"/>
                  </a:cubicBezTo>
                  <a:cubicBezTo>
                    <a:pt x="251" y="90"/>
                    <a:pt x="257" y="85"/>
                    <a:pt x="263" y="77"/>
                  </a:cubicBezTo>
                  <a:cubicBezTo>
                    <a:pt x="268" y="68"/>
                    <a:pt x="271" y="59"/>
                    <a:pt x="271" y="48"/>
                  </a:cubicBezTo>
                  <a:cubicBezTo>
                    <a:pt x="271" y="37"/>
                    <a:pt x="268" y="28"/>
                    <a:pt x="264" y="20"/>
                  </a:cubicBezTo>
                  <a:cubicBezTo>
                    <a:pt x="263" y="19"/>
                    <a:pt x="263" y="18"/>
                    <a:pt x="262" y="17"/>
                  </a:cubicBezTo>
                  <a:close/>
                  <a:moveTo>
                    <a:pt x="212" y="69"/>
                  </a:moveTo>
                  <a:cubicBezTo>
                    <a:pt x="212" y="67"/>
                    <a:pt x="212" y="65"/>
                    <a:pt x="212" y="63"/>
                  </a:cubicBezTo>
                  <a:cubicBezTo>
                    <a:pt x="212" y="24"/>
                    <a:pt x="212" y="24"/>
                    <a:pt x="212" y="24"/>
                  </a:cubicBezTo>
                  <a:cubicBezTo>
                    <a:pt x="212" y="20"/>
                    <a:pt x="215" y="17"/>
                    <a:pt x="218" y="17"/>
                  </a:cubicBezTo>
                  <a:cubicBezTo>
                    <a:pt x="229" y="17"/>
                    <a:pt x="239" y="17"/>
                    <a:pt x="250" y="17"/>
                  </a:cubicBezTo>
                  <a:cubicBezTo>
                    <a:pt x="251" y="17"/>
                    <a:pt x="251" y="17"/>
                    <a:pt x="252" y="16"/>
                  </a:cubicBezTo>
                  <a:cubicBezTo>
                    <a:pt x="253" y="14"/>
                    <a:pt x="255" y="12"/>
                    <a:pt x="256" y="10"/>
                  </a:cubicBezTo>
                  <a:cubicBezTo>
                    <a:pt x="256" y="10"/>
                    <a:pt x="256" y="10"/>
                    <a:pt x="256" y="10"/>
                  </a:cubicBezTo>
                  <a:cubicBezTo>
                    <a:pt x="256" y="9"/>
                    <a:pt x="256" y="9"/>
                    <a:pt x="256" y="9"/>
                  </a:cubicBezTo>
                  <a:cubicBezTo>
                    <a:pt x="250" y="4"/>
                    <a:pt x="244" y="1"/>
                    <a:pt x="237" y="0"/>
                  </a:cubicBezTo>
                  <a:cubicBezTo>
                    <a:pt x="232" y="0"/>
                    <a:pt x="226" y="1"/>
                    <a:pt x="221" y="4"/>
                  </a:cubicBezTo>
                  <a:cubicBezTo>
                    <a:pt x="214" y="8"/>
                    <a:pt x="208" y="14"/>
                    <a:pt x="204" y="23"/>
                  </a:cubicBezTo>
                  <a:cubicBezTo>
                    <a:pt x="199" y="32"/>
                    <a:pt x="198" y="42"/>
                    <a:pt x="199" y="53"/>
                  </a:cubicBezTo>
                  <a:cubicBezTo>
                    <a:pt x="200" y="61"/>
                    <a:pt x="202" y="69"/>
                    <a:pt x="206" y="75"/>
                  </a:cubicBezTo>
                  <a:cubicBezTo>
                    <a:pt x="206" y="76"/>
                    <a:pt x="207" y="76"/>
                    <a:pt x="207" y="77"/>
                  </a:cubicBezTo>
                  <a:cubicBezTo>
                    <a:pt x="207" y="76"/>
                    <a:pt x="207" y="76"/>
                    <a:pt x="207" y="76"/>
                  </a:cubicBezTo>
                  <a:cubicBezTo>
                    <a:pt x="209" y="74"/>
                    <a:pt x="211" y="72"/>
                    <a:pt x="212" y="69"/>
                  </a:cubicBezTo>
                  <a:cubicBezTo>
                    <a:pt x="212" y="69"/>
                    <a:pt x="212" y="69"/>
                    <a:pt x="212" y="69"/>
                  </a:cubicBezTo>
                  <a:close/>
                  <a:moveTo>
                    <a:pt x="255" y="19"/>
                  </a:moveTo>
                  <a:cubicBezTo>
                    <a:pt x="256" y="19"/>
                    <a:pt x="256" y="20"/>
                    <a:pt x="257" y="20"/>
                  </a:cubicBezTo>
                  <a:cubicBezTo>
                    <a:pt x="258" y="19"/>
                    <a:pt x="259" y="17"/>
                    <a:pt x="261" y="15"/>
                  </a:cubicBezTo>
                  <a:cubicBezTo>
                    <a:pt x="260" y="14"/>
                    <a:pt x="259" y="13"/>
                    <a:pt x="258" y="11"/>
                  </a:cubicBezTo>
                  <a:cubicBezTo>
                    <a:pt x="257" y="13"/>
                    <a:pt x="255" y="15"/>
                    <a:pt x="254" y="17"/>
                  </a:cubicBezTo>
                  <a:cubicBezTo>
                    <a:pt x="254" y="18"/>
                    <a:pt x="255" y="18"/>
                    <a:pt x="255" y="19"/>
                  </a:cubicBezTo>
                  <a:close/>
                  <a:moveTo>
                    <a:pt x="214" y="75"/>
                  </a:moveTo>
                  <a:cubicBezTo>
                    <a:pt x="213" y="74"/>
                    <a:pt x="213" y="74"/>
                    <a:pt x="213" y="73"/>
                  </a:cubicBezTo>
                  <a:cubicBezTo>
                    <a:pt x="211" y="75"/>
                    <a:pt x="210" y="77"/>
                    <a:pt x="208" y="79"/>
                  </a:cubicBezTo>
                  <a:cubicBezTo>
                    <a:pt x="209" y="80"/>
                    <a:pt x="210" y="81"/>
                    <a:pt x="211" y="82"/>
                  </a:cubicBezTo>
                  <a:cubicBezTo>
                    <a:pt x="212" y="80"/>
                    <a:pt x="214" y="79"/>
                    <a:pt x="215" y="77"/>
                  </a:cubicBezTo>
                  <a:cubicBezTo>
                    <a:pt x="215" y="76"/>
                    <a:pt x="214" y="76"/>
                    <a:pt x="214" y="75"/>
                  </a:cubicBezTo>
                  <a:close/>
                  <a:moveTo>
                    <a:pt x="330" y="91"/>
                  </a:moveTo>
                  <a:cubicBezTo>
                    <a:pt x="331" y="91"/>
                    <a:pt x="331" y="91"/>
                    <a:pt x="331" y="91"/>
                  </a:cubicBezTo>
                  <a:cubicBezTo>
                    <a:pt x="331" y="94"/>
                    <a:pt x="331" y="94"/>
                    <a:pt x="331" y="94"/>
                  </a:cubicBezTo>
                  <a:cubicBezTo>
                    <a:pt x="331" y="94"/>
                    <a:pt x="331" y="94"/>
                    <a:pt x="331" y="94"/>
                  </a:cubicBezTo>
                  <a:cubicBezTo>
                    <a:pt x="331" y="91"/>
                    <a:pt x="331" y="91"/>
                    <a:pt x="331" y="91"/>
                  </a:cubicBezTo>
                  <a:cubicBezTo>
                    <a:pt x="332" y="91"/>
                    <a:pt x="332" y="91"/>
                    <a:pt x="332" y="91"/>
                  </a:cubicBezTo>
                  <a:cubicBezTo>
                    <a:pt x="332" y="90"/>
                    <a:pt x="332" y="90"/>
                    <a:pt x="332" y="90"/>
                  </a:cubicBezTo>
                  <a:cubicBezTo>
                    <a:pt x="330" y="90"/>
                    <a:pt x="330" y="90"/>
                    <a:pt x="330" y="90"/>
                  </a:cubicBezTo>
                  <a:lnTo>
                    <a:pt x="330" y="91"/>
                  </a:lnTo>
                  <a:close/>
                  <a:moveTo>
                    <a:pt x="335" y="90"/>
                  </a:moveTo>
                  <a:cubicBezTo>
                    <a:pt x="334" y="93"/>
                    <a:pt x="334" y="93"/>
                    <a:pt x="334" y="93"/>
                  </a:cubicBezTo>
                  <a:cubicBezTo>
                    <a:pt x="334" y="90"/>
                    <a:pt x="334" y="90"/>
                    <a:pt x="334" y="90"/>
                  </a:cubicBezTo>
                  <a:cubicBezTo>
                    <a:pt x="333" y="90"/>
                    <a:pt x="333" y="90"/>
                    <a:pt x="333" y="90"/>
                  </a:cubicBezTo>
                  <a:cubicBezTo>
                    <a:pt x="333" y="94"/>
                    <a:pt x="333" y="94"/>
                    <a:pt x="333" y="94"/>
                  </a:cubicBezTo>
                  <a:cubicBezTo>
                    <a:pt x="333" y="94"/>
                    <a:pt x="333" y="94"/>
                    <a:pt x="333" y="94"/>
                  </a:cubicBezTo>
                  <a:cubicBezTo>
                    <a:pt x="333" y="93"/>
                    <a:pt x="333" y="93"/>
                    <a:pt x="333" y="93"/>
                  </a:cubicBezTo>
                  <a:cubicBezTo>
                    <a:pt x="333" y="91"/>
                    <a:pt x="333" y="91"/>
                    <a:pt x="333" y="91"/>
                  </a:cubicBezTo>
                  <a:cubicBezTo>
                    <a:pt x="334" y="94"/>
                    <a:pt x="334" y="94"/>
                    <a:pt x="334" y="94"/>
                  </a:cubicBezTo>
                  <a:cubicBezTo>
                    <a:pt x="334" y="94"/>
                    <a:pt x="334" y="94"/>
                    <a:pt x="334" y="94"/>
                  </a:cubicBezTo>
                  <a:cubicBezTo>
                    <a:pt x="335" y="91"/>
                    <a:pt x="335" y="91"/>
                    <a:pt x="335" y="91"/>
                  </a:cubicBezTo>
                  <a:cubicBezTo>
                    <a:pt x="335" y="93"/>
                    <a:pt x="335" y="93"/>
                    <a:pt x="335" y="93"/>
                  </a:cubicBezTo>
                  <a:cubicBezTo>
                    <a:pt x="335" y="94"/>
                    <a:pt x="335" y="94"/>
                    <a:pt x="335" y="94"/>
                  </a:cubicBezTo>
                  <a:cubicBezTo>
                    <a:pt x="336" y="94"/>
                    <a:pt x="336" y="94"/>
                    <a:pt x="336" y="94"/>
                  </a:cubicBezTo>
                  <a:cubicBezTo>
                    <a:pt x="336" y="90"/>
                    <a:pt x="336" y="90"/>
                    <a:pt x="336" y="90"/>
                  </a:cubicBezTo>
                  <a:lnTo>
                    <a:pt x="335" y="90"/>
                  </a:lnTo>
                  <a:close/>
                </a:path>
              </a:pathLst>
            </a:custGeom>
            <a:solidFill>
              <a:schemeClr val="tx1"/>
            </a:solidFill>
            <a:ln w="9525">
              <a:noFill/>
              <a:round/>
              <a:headEnd/>
              <a:tailEnd/>
            </a:ln>
          </p:spPr>
          <p:txBody>
            <a:bodyPr vert="horz" wrap="square" lIns="162560" tIns="81280" rIns="162560" bIns="81280" numCol="1" anchor="t" anchorCtr="0" compatLnSpc="1">
              <a:prstTxWarp prst="textNoShape">
                <a:avLst/>
              </a:prstTxWarp>
            </a:bodyPr>
            <a:lstStyle/>
            <a:p>
              <a:pPr defTabSz="812760" fontAlgn="base">
                <a:spcBef>
                  <a:spcPct val="0"/>
                </a:spcBef>
                <a:spcAft>
                  <a:spcPct val="0"/>
                </a:spcAft>
                <a:buClr>
                  <a:srgbClr val="000000"/>
                </a:buClr>
                <a:defRPr/>
              </a:pPr>
              <a:endParaRPr lang="en-US" sz="3200" kern="0">
                <a:solidFill>
                  <a:srgbClr val="282828"/>
                </a:solidFill>
                <a:latin typeface="CiscoSansTT ExtraLight"/>
                <a:ea typeface="ＭＳ Ｐゴシック" charset="0"/>
                <a:cs typeface="ＭＳ Ｐゴシック" charset="0"/>
                <a:sym typeface="Arial"/>
              </a:endParaRPr>
            </a:p>
          </p:txBody>
        </p:sp>
      </p:grpSp>
      <p:sp>
        <p:nvSpPr>
          <p:cNvPr id="78" name="Oval 77">
            <a:extLst>
              <a:ext uri="{FF2B5EF4-FFF2-40B4-BE49-F238E27FC236}">
                <a16:creationId xmlns:a16="http://schemas.microsoft.com/office/drawing/2014/main" id="{269EA582-B80F-FA4C-988E-11ED1CE396C3}"/>
              </a:ext>
            </a:extLst>
          </p:cNvPr>
          <p:cNvSpPr>
            <a:spLocks noChangeAspect="1"/>
          </p:cNvSpPr>
          <p:nvPr/>
        </p:nvSpPr>
        <p:spPr>
          <a:xfrm>
            <a:off x="6170459" y="4342333"/>
            <a:ext cx="246387" cy="249532"/>
          </a:xfrm>
          <a:prstGeom prst="ellipse">
            <a:avLst/>
          </a:prstGeom>
          <a:solidFill>
            <a:schemeClr val="accent5"/>
          </a:solidFill>
          <a:ln w="25400" cap="flat" cmpd="sng" algn="ctr">
            <a:noFill/>
            <a:prstDash val="solid"/>
          </a:ln>
          <a:effectLst/>
        </p:spPr>
        <p:txBody>
          <a:bodyPr lIns="162539" tIns="81269" rIns="162539" bIns="81269" rtlCol="0" anchor="ctr"/>
          <a:lstStyle/>
          <a:p>
            <a:pPr algn="ctr" defTabSz="609461" fontAlgn="base">
              <a:spcBef>
                <a:spcPct val="0"/>
              </a:spcBef>
              <a:spcAft>
                <a:spcPct val="0"/>
              </a:spcAft>
              <a:buClr>
                <a:srgbClr val="000000"/>
              </a:buClr>
              <a:defRPr/>
            </a:pPr>
            <a:endParaRPr lang="en-US" sz="3200" kern="0">
              <a:solidFill>
                <a:srgbClr val="FFFFFF"/>
              </a:solidFill>
              <a:latin typeface="CiscoSansTT ExtraLight"/>
              <a:ea typeface="ＭＳ Ｐゴシック" charset="0"/>
              <a:cs typeface="Arial"/>
              <a:sym typeface="Arial"/>
            </a:endParaRPr>
          </a:p>
        </p:txBody>
      </p:sp>
      <p:pic>
        <p:nvPicPr>
          <p:cNvPr id="83" name="Google Shape;1706;p252">
            <a:extLst>
              <a:ext uri="{FF2B5EF4-FFF2-40B4-BE49-F238E27FC236}">
                <a16:creationId xmlns:a16="http://schemas.microsoft.com/office/drawing/2014/main" id="{EF61F585-D77F-234C-9F1A-AF040C72BFFD}"/>
              </a:ext>
            </a:extLst>
          </p:cNvPr>
          <p:cNvPicPr preferRelativeResize="0">
            <a:picLocks noChangeAspect="1"/>
          </p:cNvPicPr>
          <p:nvPr/>
        </p:nvPicPr>
        <p:blipFill rotWithShape="1">
          <a:blip r:embed="rId7">
            <a:alphaModFix/>
          </a:blip>
          <a:srcRect/>
          <a:stretch/>
        </p:blipFill>
        <p:spPr>
          <a:xfrm>
            <a:off x="8176123" y="1720432"/>
            <a:ext cx="1023683" cy="1023683"/>
          </a:xfrm>
          <a:prstGeom prst="rect">
            <a:avLst/>
          </a:prstGeom>
          <a:noFill/>
          <a:ln>
            <a:noFill/>
          </a:ln>
        </p:spPr>
      </p:pic>
      <p:pic>
        <p:nvPicPr>
          <p:cNvPr id="34" name="Picture 33" descr="A close up of a sign&#10;&#10;Description automatically generated">
            <a:extLst>
              <a:ext uri="{FF2B5EF4-FFF2-40B4-BE49-F238E27FC236}">
                <a16:creationId xmlns:a16="http://schemas.microsoft.com/office/drawing/2014/main" id="{551B84E2-240B-7B47-9EDA-85E5B7B855CB}"/>
              </a:ext>
            </a:extLst>
          </p:cNvPr>
          <p:cNvPicPr>
            <a:picLocks noChangeAspect="1"/>
          </p:cNvPicPr>
          <p:nvPr/>
        </p:nvPicPr>
        <p:blipFill>
          <a:blip r:embed="rId8"/>
          <a:stretch>
            <a:fillRect/>
          </a:stretch>
        </p:blipFill>
        <p:spPr>
          <a:xfrm>
            <a:off x="9826448" y="1715536"/>
            <a:ext cx="1030336" cy="1024128"/>
          </a:xfrm>
          <a:prstGeom prst="rect">
            <a:avLst/>
          </a:prstGeom>
        </p:spPr>
      </p:pic>
      <p:pic>
        <p:nvPicPr>
          <p:cNvPr id="35" name="Picture 34">
            <a:extLst>
              <a:ext uri="{FF2B5EF4-FFF2-40B4-BE49-F238E27FC236}">
                <a16:creationId xmlns:a16="http://schemas.microsoft.com/office/drawing/2014/main" id="{157DDFF0-1239-4572-8886-3E737011B9D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127407" y="4764632"/>
            <a:ext cx="610439" cy="638281"/>
          </a:xfrm>
          <a:prstGeom prst="rect">
            <a:avLst/>
          </a:prstGeom>
        </p:spPr>
      </p:pic>
      <p:pic>
        <p:nvPicPr>
          <p:cNvPr id="36" name="Picture 35">
            <a:extLst>
              <a:ext uri="{FF2B5EF4-FFF2-40B4-BE49-F238E27FC236}">
                <a16:creationId xmlns:a16="http://schemas.microsoft.com/office/drawing/2014/main" id="{0F7F850C-F946-4B58-A870-1A5F87B0C874}"/>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957191" y="4764632"/>
            <a:ext cx="610439" cy="638281"/>
          </a:xfrm>
          <a:prstGeom prst="rect">
            <a:avLst/>
          </a:prstGeom>
        </p:spPr>
      </p:pic>
      <p:pic>
        <p:nvPicPr>
          <p:cNvPr id="37" name="Picture 36">
            <a:extLst>
              <a:ext uri="{FF2B5EF4-FFF2-40B4-BE49-F238E27FC236}">
                <a16:creationId xmlns:a16="http://schemas.microsoft.com/office/drawing/2014/main" id="{4C722085-A821-42C8-A8FD-CCC62C4796F6}"/>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759585" y="4764632"/>
            <a:ext cx="610439" cy="638281"/>
          </a:xfrm>
          <a:prstGeom prst="rect">
            <a:avLst/>
          </a:prstGeom>
        </p:spPr>
      </p:pic>
      <p:pic>
        <p:nvPicPr>
          <p:cNvPr id="38" name="Picture 37">
            <a:extLst>
              <a:ext uri="{FF2B5EF4-FFF2-40B4-BE49-F238E27FC236}">
                <a16:creationId xmlns:a16="http://schemas.microsoft.com/office/drawing/2014/main" id="{DBB17404-01CD-4B1D-9E7F-CAECE4ED9332}"/>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589368" y="4764631"/>
            <a:ext cx="610437" cy="638277"/>
          </a:xfrm>
          <a:prstGeom prst="rect">
            <a:avLst/>
          </a:prstGeom>
        </p:spPr>
      </p:pic>
    </p:spTree>
    <p:extLst>
      <p:ext uri="{BB962C8B-B14F-4D97-AF65-F5344CB8AC3E}">
        <p14:creationId xmlns:p14="http://schemas.microsoft.com/office/powerpoint/2010/main" val="24524844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 name="Rectangle 232">
            <a:extLst>
              <a:ext uri="{FF2B5EF4-FFF2-40B4-BE49-F238E27FC236}">
                <a16:creationId xmlns:a16="http://schemas.microsoft.com/office/drawing/2014/main" id="{2600EB5C-E7DA-0E48-A5E0-2EDD318D3981}"/>
              </a:ext>
            </a:extLst>
          </p:cNvPr>
          <p:cNvSpPr/>
          <p:nvPr/>
        </p:nvSpPr>
        <p:spPr>
          <a:xfrm>
            <a:off x="6438082" y="1"/>
            <a:ext cx="2699695" cy="6858000"/>
          </a:xfrm>
          <a:prstGeom prst="rect">
            <a:avLst/>
          </a:prstGeom>
          <a:gradFill>
            <a:gsLst>
              <a:gs pos="30000">
                <a:schemeClr val="bg2"/>
              </a:gs>
              <a:gs pos="69000">
                <a:schemeClr val="bg2">
                  <a:lumMod val="9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35" name="Rectangle 234">
            <a:extLst>
              <a:ext uri="{FF2B5EF4-FFF2-40B4-BE49-F238E27FC236}">
                <a16:creationId xmlns:a16="http://schemas.microsoft.com/office/drawing/2014/main" id="{1E6C1B03-1791-B045-AAD5-D07E5C1E9571}"/>
              </a:ext>
            </a:extLst>
          </p:cNvPr>
          <p:cNvSpPr/>
          <p:nvPr/>
        </p:nvSpPr>
        <p:spPr>
          <a:xfrm>
            <a:off x="20832" y="5325"/>
            <a:ext cx="3220568" cy="6858000"/>
          </a:xfrm>
          <a:prstGeom prst="rect">
            <a:avLst/>
          </a:prstGeom>
          <a:gradFill>
            <a:gsLst>
              <a:gs pos="30000">
                <a:schemeClr val="bg2"/>
              </a:gs>
              <a:gs pos="69000">
                <a:schemeClr val="bg2">
                  <a:lumMod val="9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cxnSp>
        <p:nvCxnSpPr>
          <p:cNvPr id="177" name="Straight Connector 176">
            <a:extLst>
              <a:ext uri="{FF2B5EF4-FFF2-40B4-BE49-F238E27FC236}">
                <a16:creationId xmlns:a16="http://schemas.microsoft.com/office/drawing/2014/main" id="{DB2A4C63-FEA3-4039-A34D-D8C19CFDE654}"/>
              </a:ext>
            </a:extLst>
          </p:cNvPr>
          <p:cNvCxnSpPr>
            <a:cxnSpLocks/>
          </p:cNvCxnSpPr>
          <p:nvPr/>
        </p:nvCxnSpPr>
        <p:spPr>
          <a:xfrm flipV="1">
            <a:off x="0" y="2059345"/>
            <a:ext cx="12192477" cy="88032"/>
          </a:xfrm>
          <a:prstGeom prst="line">
            <a:avLst/>
          </a:prstGeom>
          <a:ln w="76200">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90AB0EC4-49DD-4E9F-BFA8-41ED49F474EC}"/>
              </a:ext>
            </a:extLst>
          </p:cNvPr>
          <p:cNvGrpSpPr/>
          <p:nvPr/>
        </p:nvGrpSpPr>
        <p:grpSpPr>
          <a:xfrm>
            <a:off x="3306405" y="5710985"/>
            <a:ext cx="594978" cy="587169"/>
            <a:chOff x="3304253" y="4432670"/>
            <a:chExt cx="600989" cy="600990"/>
          </a:xfrm>
        </p:grpSpPr>
        <p:sp>
          <p:nvSpPr>
            <p:cNvPr id="323" name="Oval 322">
              <a:extLst>
                <a:ext uri="{FF2B5EF4-FFF2-40B4-BE49-F238E27FC236}">
                  <a16:creationId xmlns:a16="http://schemas.microsoft.com/office/drawing/2014/main" id="{123FBB47-8865-694C-B899-88DD20F00186}"/>
                </a:ext>
              </a:extLst>
            </p:cNvPr>
            <p:cNvSpPr/>
            <p:nvPr/>
          </p:nvSpPr>
          <p:spPr>
            <a:xfrm>
              <a:off x="3304253" y="4432670"/>
              <a:ext cx="600989" cy="60099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302" name="Group 301">
              <a:extLst>
                <a:ext uri="{FF2B5EF4-FFF2-40B4-BE49-F238E27FC236}">
                  <a16:creationId xmlns:a16="http://schemas.microsoft.com/office/drawing/2014/main" id="{BDF0E5A9-4764-5144-8A0E-EB5E371C1717}"/>
                </a:ext>
              </a:extLst>
            </p:cNvPr>
            <p:cNvGrpSpPr/>
            <p:nvPr/>
          </p:nvGrpSpPr>
          <p:grpSpPr>
            <a:xfrm>
              <a:off x="3373304" y="4535292"/>
              <a:ext cx="431017" cy="451633"/>
              <a:chOff x="4505325" y="4060825"/>
              <a:chExt cx="342900" cy="342900"/>
            </a:xfrm>
          </p:grpSpPr>
          <p:sp>
            <p:nvSpPr>
              <p:cNvPr id="303" name="Freeform 3">
                <a:extLst>
                  <a:ext uri="{FF2B5EF4-FFF2-40B4-BE49-F238E27FC236}">
                    <a16:creationId xmlns:a16="http://schemas.microsoft.com/office/drawing/2014/main" id="{EAC48AE8-D2C0-9143-A094-CA5BB555384F}"/>
                  </a:ext>
                </a:extLst>
              </p:cNvPr>
              <p:cNvSpPr>
                <a:spLocks noChangeArrowheads="1"/>
              </p:cNvSpPr>
              <p:nvPr/>
            </p:nvSpPr>
            <p:spPr bwMode="auto">
              <a:xfrm>
                <a:off x="4638675" y="4149725"/>
                <a:ext cx="120650" cy="120650"/>
              </a:xfrm>
              <a:custGeom>
                <a:avLst/>
                <a:gdLst>
                  <a:gd name="T0" fmla="*/ 334 w 335"/>
                  <a:gd name="T1" fmla="*/ 167 h 335"/>
                  <a:gd name="T2" fmla="*/ 311 w 335"/>
                  <a:gd name="T3" fmla="*/ 250 h 335"/>
                  <a:gd name="T4" fmla="*/ 250 w 335"/>
                  <a:gd name="T5" fmla="*/ 311 h 335"/>
                  <a:gd name="T6" fmla="*/ 167 w 335"/>
                  <a:gd name="T7" fmla="*/ 334 h 335"/>
                  <a:gd name="T8" fmla="*/ 83 w 335"/>
                  <a:gd name="T9" fmla="*/ 311 h 335"/>
                  <a:gd name="T10" fmla="*/ 22 w 335"/>
                  <a:gd name="T11" fmla="*/ 250 h 335"/>
                  <a:gd name="T12" fmla="*/ 0 w 335"/>
                  <a:gd name="T13" fmla="*/ 167 h 335"/>
                  <a:gd name="T14" fmla="*/ 22 w 335"/>
                  <a:gd name="T15" fmla="*/ 83 h 335"/>
                  <a:gd name="T16" fmla="*/ 83 w 335"/>
                  <a:gd name="T17" fmla="*/ 22 h 335"/>
                  <a:gd name="T18" fmla="*/ 167 w 335"/>
                  <a:gd name="T19" fmla="*/ 0 h 335"/>
                  <a:gd name="T20" fmla="*/ 250 w 335"/>
                  <a:gd name="T21" fmla="*/ 22 h 335"/>
                  <a:gd name="T22" fmla="*/ 311 w 335"/>
                  <a:gd name="T23" fmla="*/ 83 h 335"/>
                  <a:gd name="T24" fmla="*/ 334 w 335"/>
                  <a:gd name="T25" fmla="*/ 16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5" h="335">
                    <a:moveTo>
                      <a:pt x="334" y="167"/>
                    </a:moveTo>
                    <a:cubicBezTo>
                      <a:pt x="334" y="197"/>
                      <a:pt x="326" y="223"/>
                      <a:pt x="311" y="250"/>
                    </a:cubicBezTo>
                    <a:cubicBezTo>
                      <a:pt x="295" y="276"/>
                      <a:pt x="276" y="295"/>
                      <a:pt x="250" y="311"/>
                    </a:cubicBezTo>
                    <a:cubicBezTo>
                      <a:pt x="223" y="326"/>
                      <a:pt x="197" y="334"/>
                      <a:pt x="167" y="334"/>
                    </a:cubicBezTo>
                    <a:cubicBezTo>
                      <a:pt x="136" y="334"/>
                      <a:pt x="109" y="326"/>
                      <a:pt x="83" y="311"/>
                    </a:cubicBezTo>
                    <a:cubicBezTo>
                      <a:pt x="56" y="295"/>
                      <a:pt x="37" y="276"/>
                      <a:pt x="22" y="250"/>
                    </a:cubicBezTo>
                    <a:cubicBezTo>
                      <a:pt x="6" y="223"/>
                      <a:pt x="0" y="197"/>
                      <a:pt x="0" y="167"/>
                    </a:cubicBezTo>
                    <a:cubicBezTo>
                      <a:pt x="0" y="136"/>
                      <a:pt x="6" y="110"/>
                      <a:pt x="22" y="83"/>
                    </a:cubicBezTo>
                    <a:cubicBezTo>
                      <a:pt x="38" y="56"/>
                      <a:pt x="56" y="38"/>
                      <a:pt x="83" y="22"/>
                    </a:cubicBezTo>
                    <a:cubicBezTo>
                      <a:pt x="109" y="6"/>
                      <a:pt x="136" y="0"/>
                      <a:pt x="167" y="0"/>
                    </a:cubicBezTo>
                    <a:cubicBezTo>
                      <a:pt x="197" y="0"/>
                      <a:pt x="223" y="6"/>
                      <a:pt x="250" y="22"/>
                    </a:cubicBezTo>
                    <a:cubicBezTo>
                      <a:pt x="276" y="37"/>
                      <a:pt x="295" y="56"/>
                      <a:pt x="311" y="83"/>
                    </a:cubicBezTo>
                    <a:cubicBezTo>
                      <a:pt x="326" y="109"/>
                      <a:pt x="334" y="136"/>
                      <a:pt x="334" y="167"/>
                    </a:cubicBezTo>
                  </a:path>
                </a:pathLst>
              </a:custGeom>
              <a:solidFill>
                <a:srgbClr val="FFFFFF"/>
              </a:solidFill>
              <a:ln w="25400" cap="rnd">
                <a:solidFill>
                  <a:srgbClr val="049FD9"/>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1219170">
                  <a:defRPr/>
                </a:pPr>
                <a:endParaRPr lang="en-US" sz="2400" kern="0">
                  <a:solidFill>
                    <a:srgbClr val="333333"/>
                  </a:solidFill>
                  <a:ea typeface="ＭＳ Ｐゴシック" pitchFamily="34" charset="-128"/>
                  <a:cs typeface=""/>
                </a:endParaRPr>
              </a:p>
            </p:txBody>
          </p:sp>
          <p:sp>
            <p:nvSpPr>
              <p:cNvPr id="304" name="Freeform 5">
                <a:extLst>
                  <a:ext uri="{FF2B5EF4-FFF2-40B4-BE49-F238E27FC236}">
                    <a16:creationId xmlns:a16="http://schemas.microsoft.com/office/drawing/2014/main" id="{B10AA5C2-0DC2-684B-93C0-AC3208C41122}"/>
                  </a:ext>
                </a:extLst>
              </p:cNvPr>
              <p:cNvSpPr>
                <a:spLocks noChangeArrowheads="1"/>
              </p:cNvSpPr>
              <p:nvPr/>
            </p:nvSpPr>
            <p:spPr bwMode="auto">
              <a:xfrm>
                <a:off x="4505325" y="4113213"/>
                <a:ext cx="44450" cy="44450"/>
              </a:xfrm>
              <a:custGeom>
                <a:avLst/>
                <a:gdLst>
                  <a:gd name="T0" fmla="*/ 122 w 123"/>
                  <a:gd name="T1" fmla="*/ 61 h 123"/>
                  <a:gd name="T2" fmla="*/ 114 w 123"/>
                  <a:gd name="T3" fmla="*/ 92 h 123"/>
                  <a:gd name="T4" fmla="*/ 92 w 123"/>
                  <a:gd name="T5" fmla="*/ 114 h 123"/>
                  <a:gd name="T6" fmla="*/ 61 w 123"/>
                  <a:gd name="T7" fmla="*/ 122 h 123"/>
                  <a:gd name="T8" fmla="*/ 31 w 123"/>
                  <a:gd name="T9" fmla="*/ 114 h 123"/>
                  <a:gd name="T10" fmla="*/ 8 w 123"/>
                  <a:gd name="T11" fmla="*/ 92 h 123"/>
                  <a:gd name="T12" fmla="*/ 0 w 123"/>
                  <a:gd name="T13" fmla="*/ 61 h 123"/>
                  <a:gd name="T14" fmla="*/ 8 w 123"/>
                  <a:gd name="T15" fmla="*/ 31 h 123"/>
                  <a:gd name="T16" fmla="*/ 31 w 123"/>
                  <a:gd name="T17" fmla="*/ 8 h 123"/>
                  <a:gd name="T18" fmla="*/ 61 w 123"/>
                  <a:gd name="T19" fmla="*/ 0 h 123"/>
                  <a:gd name="T20" fmla="*/ 92 w 123"/>
                  <a:gd name="T21" fmla="*/ 8 h 123"/>
                  <a:gd name="T22" fmla="*/ 114 w 123"/>
                  <a:gd name="T23" fmla="*/ 31 h 123"/>
                  <a:gd name="T24" fmla="*/ 122 w 123"/>
                  <a:gd name="T25" fmla="*/ 6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3">
                    <a:moveTo>
                      <a:pt x="122" y="61"/>
                    </a:moveTo>
                    <a:cubicBezTo>
                      <a:pt x="122" y="72"/>
                      <a:pt x="120" y="82"/>
                      <a:pt x="114" y="92"/>
                    </a:cubicBezTo>
                    <a:cubicBezTo>
                      <a:pt x="108" y="101"/>
                      <a:pt x="101" y="108"/>
                      <a:pt x="92" y="114"/>
                    </a:cubicBezTo>
                    <a:cubicBezTo>
                      <a:pt x="82" y="120"/>
                      <a:pt x="72" y="122"/>
                      <a:pt x="61" y="122"/>
                    </a:cubicBezTo>
                    <a:cubicBezTo>
                      <a:pt x="50" y="122"/>
                      <a:pt x="41" y="120"/>
                      <a:pt x="31" y="114"/>
                    </a:cubicBezTo>
                    <a:cubicBezTo>
                      <a:pt x="21" y="108"/>
                      <a:pt x="14" y="102"/>
                      <a:pt x="8" y="92"/>
                    </a:cubicBezTo>
                    <a:cubicBezTo>
                      <a:pt x="2" y="82"/>
                      <a:pt x="0" y="72"/>
                      <a:pt x="0" y="61"/>
                    </a:cubicBezTo>
                    <a:cubicBezTo>
                      <a:pt x="0" y="50"/>
                      <a:pt x="2" y="40"/>
                      <a:pt x="8" y="31"/>
                    </a:cubicBezTo>
                    <a:cubicBezTo>
                      <a:pt x="13" y="21"/>
                      <a:pt x="21" y="14"/>
                      <a:pt x="31" y="8"/>
                    </a:cubicBezTo>
                    <a:cubicBezTo>
                      <a:pt x="40" y="2"/>
                      <a:pt x="50" y="0"/>
                      <a:pt x="61" y="0"/>
                    </a:cubicBezTo>
                    <a:cubicBezTo>
                      <a:pt x="72" y="0"/>
                      <a:pt x="82" y="2"/>
                      <a:pt x="92" y="8"/>
                    </a:cubicBezTo>
                    <a:cubicBezTo>
                      <a:pt x="102" y="14"/>
                      <a:pt x="108" y="21"/>
                      <a:pt x="114" y="31"/>
                    </a:cubicBezTo>
                    <a:cubicBezTo>
                      <a:pt x="120" y="41"/>
                      <a:pt x="122" y="50"/>
                      <a:pt x="122" y="61"/>
                    </a:cubicBezTo>
                  </a:path>
                </a:pathLst>
              </a:custGeom>
              <a:solidFill>
                <a:srgbClr val="999999"/>
              </a:solidFill>
              <a:ln w="25400" cap="rnd">
                <a:solidFill>
                  <a:srgbClr val="049FD9"/>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1219170">
                  <a:defRPr/>
                </a:pPr>
                <a:endParaRPr lang="en-US" sz="2400" kern="0">
                  <a:solidFill>
                    <a:srgbClr val="333333"/>
                  </a:solidFill>
                  <a:ea typeface="ＭＳ Ｐゴシック" pitchFamily="34" charset="-128"/>
                  <a:cs typeface=""/>
                </a:endParaRPr>
              </a:p>
            </p:txBody>
          </p:sp>
          <p:sp>
            <p:nvSpPr>
              <p:cNvPr id="305" name="Freeform 6">
                <a:extLst>
                  <a:ext uri="{FF2B5EF4-FFF2-40B4-BE49-F238E27FC236}">
                    <a16:creationId xmlns:a16="http://schemas.microsoft.com/office/drawing/2014/main" id="{B30D7B72-930C-1C44-AAB8-DB1AF4D8974A}"/>
                  </a:ext>
                </a:extLst>
              </p:cNvPr>
              <p:cNvSpPr>
                <a:spLocks noChangeArrowheads="1"/>
              </p:cNvSpPr>
              <p:nvPr/>
            </p:nvSpPr>
            <p:spPr bwMode="auto">
              <a:xfrm>
                <a:off x="4505325" y="4113213"/>
                <a:ext cx="44450" cy="44450"/>
              </a:xfrm>
              <a:custGeom>
                <a:avLst/>
                <a:gdLst>
                  <a:gd name="T0" fmla="*/ 122 w 123"/>
                  <a:gd name="T1" fmla="*/ 61 h 123"/>
                  <a:gd name="T2" fmla="*/ 114 w 123"/>
                  <a:gd name="T3" fmla="*/ 92 h 123"/>
                  <a:gd name="T4" fmla="*/ 92 w 123"/>
                  <a:gd name="T5" fmla="*/ 114 h 123"/>
                  <a:gd name="T6" fmla="*/ 61 w 123"/>
                  <a:gd name="T7" fmla="*/ 122 h 123"/>
                  <a:gd name="T8" fmla="*/ 31 w 123"/>
                  <a:gd name="T9" fmla="*/ 114 h 123"/>
                  <a:gd name="T10" fmla="*/ 8 w 123"/>
                  <a:gd name="T11" fmla="*/ 92 h 123"/>
                  <a:gd name="T12" fmla="*/ 0 w 123"/>
                  <a:gd name="T13" fmla="*/ 61 h 123"/>
                  <a:gd name="T14" fmla="*/ 8 w 123"/>
                  <a:gd name="T15" fmla="*/ 31 h 123"/>
                  <a:gd name="T16" fmla="*/ 31 w 123"/>
                  <a:gd name="T17" fmla="*/ 8 h 123"/>
                  <a:gd name="T18" fmla="*/ 61 w 123"/>
                  <a:gd name="T19" fmla="*/ 0 h 123"/>
                  <a:gd name="T20" fmla="*/ 92 w 123"/>
                  <a:gd name="T21" fmla="*/ 8 h 123"/>
                  <a:gd name="T22" fmla="*/ 114 w 123"/>
                  <a:gd name="T23" fmla="*/ 31 h 123"/>
                  <a:gd name="T24" fmla="*/ 122 w 123"/>
                  <a:gd name="T25" fmla="*/ 6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3">
                    <a:moveTo>
                      <a:pt x="122" y="61"/>
                    </a:moveTo>
                    <a:cubicBezTo>
                      <a:pt x="122" y="72"/>
                      <a:pt x="120" y="82"/>
                      <a:pt x="114" y="92"/>
                    </a:cubicBezTo>
                    <a:cubicBezTo>
                      <a:pt x="108" y="101"/>
                      <a:pt x="101" y="108"/>
                      <a:pt x="92" y="114"/>
                    </a:cubicBezTo>
                    <a:cubicBezTo>
                      <a:pt x="82" y="120"/>
                      <a:pt x="72" y="122"/>
                      <a:pt x="61" y="122"/>
                    </a:cubicBezTo>
                    <a:cubicBezTo>
                      <a:pt x="50" y="122"/>
                      <a:pt x="41" y="120"/>
                      <a:pt x="31" y="114"/>
                    </a:cubicBezTo>
                    <a:cubicBezTo>
                      <a:pt x="21" y="108"/>
                      <a:pt x="14" y="102"/>
                      <a:pt x="8" y="92"/>
                    </a:cubicBezTo>
                    <a:cubicBezTo>
                      <a:pt x="2" y="82"/>
                      <a:pt x="0" y="72"/>
                      <a:pt x="0" y="61"/>
                    </a:cubicBezTo>
                    <a:cubicBezTo>
                      <a:pt x="0" y="50"/>
                      <a:pt x="2" y="40"/>
                      <a:pt x="8" y="31"/>
                    </a:cubicBezTo>
                    <a:cubicBezTo>
                      <a:pt x="13" y="21"/>
                      <a:pt x="21" y="14"/>
                      <a:pt x="31" y="8"/>
                    </a:cubicBezTo>
                    <a:cubicBezTo>
                      <a:pt x="40" y="2"/>
                      <a:pt x="50" y="0"/>
                      <a:pt x="61" y="0"/>
                    </a:cubicBezTo>
                    <a:cubicBezTo>
                      <a:pt x="72" y="0"/>
                      <a:pt x="82" y="2"/>
                      <a:pt x="92" y="8"/>
                    </a:cubicBezTo>
                    <a:cubicBezTo>
                      <a:pt x="102" y="14"/>
                      <a:pt x="108" y="21"/>
                      <a:pt x="114" y="31"/>
                    </a:cubicBezTo>
                    <a:cubicBezTo>
                      <a:pt x="120" y="41"/>
                      <a:pt x="122" y="50"/>
                      <a:pt x="122" y="61"/>
                    </a:cubicBezTo>
                  </a:path>
                </a:pathLst>
              </a:custGeom>
              <a:solidFill>
                <a:srgbClr val="049FD9"/>
              </a:solidFill>
              <a:ln w="25400" cap="rnd">
                <a:solidFill>
                  <a:srgbClr val="049FD9"/>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1219170">
                  <a:defRPr/>
                </a:pPr>
                <a:endParaRPr lang="en-US" sz="2400" kern="0">
                  <a:solidFill>
                    <a:srgbClr val="333333"/>
                  </a:solidFill>
                  <a:ea typeface="ＭＳ Ｐゴシック" pitchFamily="34" charset="-128"/>
                  <a:cs typeface=""/>
                </a:endParaRPr>
              </a:p>
            </p:txBody>
          </p:sp>
          <p:sp>
            <p:nvSpPr>
              <p:cNvPr id="306" name="Freeform 7">
                <a:extLst>
                  <a:ext uri="{FF2B5EF4-FFF2-40B4-BE49-F238E27FC236}">
                    <a16:creationId xmlns:a16="http://schemas.microsoft.com/office/drawing/2014/main" id="{C832B001-5990-714F-B1BC-0CA56BCACB87}"/>
                  </a:ext>
                </a:extLst>
              </p:cNvPr>
              <p:cNvSpPr>
                <a:spLocks noChangeArrowheads="1"/>
              </p:cNvSpPr>
              <p:nvPr/>
            </p:nvSpPr>
            <p:spPr bwMode="auto">
              <a:xfrm>
                <a:off x="4803775" y="4060825"/>
                <a:ext cx="44450" cy="44450"/>
              </a:xfrm>
              <a:custGeom>
                <a:avLst/>
                <a:gdLst>
                  <a:gd name="T0" fmla="*/ 122 w 123"/>
                  <a:gd name="T1" fmla="*/ 61 h 122"/>
                  <a:gd name="T2" fmla="*/ 114 w 123"/>
                  <a:gd name="T3" fmla="*/ 91 h 122"/>
                  <a:gd name="T4" fmla="*/ 91 w 123"/>
                  <a:gd name="T5" fmla="*/ 113 h 122"/>
                  <a:gd name="T6" fmla="*/ 61 w 123"/>
                  <a:gd name="T7" fmla="*/ 121 h 122"/>
                  <a:gd name="T8" fmla="*/ 31 w 123"/>
                  <a:gd name="T9" fmla="*/ 113 h 122"/>
                  <a:gd name="T10" fmla="*/ 8 w 123"/>
                  <a:gd name="T11" fmla="*/ 91 h 122"/>
                  <a:gd name="T12" fmla="*/ 0 w 123"/>
                  <a:gd name="T13" fmla="*/ 61 h 122"/>
                  <a:gd name="T14" fmla="*/ 8 w 123"/>
                  <a:gd name="T15" fmla="*/ 30 h 122"/>
                  <a:gd name="T16" fmla="*/ 31 w 123"/>
                  <a:gd name="T17" fmla="*/ 8 h 122"/>
                  <a:gd name="T18" fmla="*/ 61 w 123"/>
                  <a:gd name="T19" fmla="*/ 0 h 122"/>
                  <a:gd name="T20" fmla="*/ 91 w 123"/>
                  <a:gd name="T21" fmla="*/ 8 h 122"/>
                  <a:gd name="T22" fmla="*/ 114 w 123"/>
                  <a:gd name="T23" fmla="*/ 30 h 122"/>
                  <a:gd name="T24" fmla="*/ 122 w 123"/>
                  <a:gd name="T25"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2">
                    <a:moveTo>
                      <a:pt x="122" y="61"/>
                    </a:moveTo>
                    <a:cubicBezTo>
                      <a:pt x="122" y="72"/>
                      <a:pt x="119" y="81"/>
                      <a:pt x="114" y="91"/>
                    </a:cubicBezTo>
                    <a:cubicBezTo>
                      <a:pt x="108" y="101"/>
                      <a:pt x="101" y="107"/>
                      <a:pt x="91" y="113"/>
                    </a:cubicBezTo>
                    <a:cubicBezTo>
                      <a:pt x="81" y="119"/>
                      <a:pt x="72" y="121"/>
                      <a:pt x="61" y="121"/>
                    </a:cubicBezTo>
                    <a:cubicBezTo>
                      <a:pt x="50" y="121"/>
                      <a:pt x="41" y="119"/>
                      <a:pt x="31" y="113"/>
                    </a:cubicBezTo>
                    <a:cubicBezTo>
                      <a:pt x="21" y="107"/>
                      <a:pt x="14" y="101"/>
                      <a:pt x="8" y="91"/>
                    </a:cubicBezTo>
                    <a:cubicBezTo>
                      <a:pt x="2" y="81"/>
                      <a:pt x="0" y="72"/>
                      <a:pt x="0" y="61"/>
                    </a:cubicBezTo>
                    <a:cubicBezTo>
                      <a:pt x="0" y="49"/>
                      <a:pt x="2" y="40"/>
                      <a:pt x="8" y="30"/>
                    </a:cubicBezTo>
                    <a:cubicBezTo>
                      <a:pt x="14" y="20"/>
                      <a:pt x="21" y="14"/>
                      <a:pt x="31" y="8"/>
                    </a:cubicBezTo>
                    <a:cubicBezTo>
                      <a:pt x="41" y="2"/>
                      <a:pt x="50" y="0"/>
                      <a:pt x="61" y="0"/>
                    </a:cubicBezTo>
                    <a:cubicBezTo>
                      <a:pt x="72" y="0"/>
                      <a:pt x="81" y="2"/>
                      <a:pt x="91" y="8"/>
                    </a:cubicBezTo>
                    <a:cubicBezTo>
                      <a:pt x="101" y="14"/>
                      <a:pt x="108" y="20"/>
                      <a:pt x="114" y="30"/>
                    </a:cubicBezTo>
                    <a:cubicBezTo>
                      <a:pt x="119" y="40"/>
                      <a:pt x="122" y="49"/>
                      <a:pt x="122" y="61"/>
                    </a:cubicBezTo>
                  </a:path>
                </a:pathLst>
              </a:custGeom>
              <a:solidFill>
                <a:srgbClr val="049FD9"/>
              </a:solidFill>
              <a:ln w="25400" cap="rnd">
                <a:solidFill>
                  <a:srgbClr val="049FD9"/>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1219170">
                  <a:defRPr/>
                </a:pPr>
                <a:endParaRPr lang="en-US" sz="2400" kern="0">
                  <a:solidFill>
                    <a:srgbClr val="333333"/>
                  </a:solidFill>
                  <a:ea typeface="ＭＳ Ｐゴシック" pitchFamily="34" charset="-128"/>
                  <a:cs typeface=""/>
                </a:endParaRPr>
              </a:p>
            </p:txBody>
          </p:sp>
          <p:sp>
            <p:nvSpPr>
              <p:cNvPr id="307" name="Freeform 8">
                <a:extLst>
                  <a:ext uri="{FF2B5EF4-FFF2-40B4-BE49-F238E27FC236}">
                    <a16:creationId xmlns:a16="http://schemas.microsoft.com/office/drawing/2014/main" id="{3D877709-15E8-4646-AEC8-81E70CA22857}"/>
                  </a:ext>
                </a:extLst>
              </p:cNvPr>
              <p:cNvSpPr>
                <a:spLocks noChangeArrowheads="1"/>
              </p:cNvSpPr>
              <p:nvPr/>
            </p:nvSpPr>
            <p:spPr bwMode="auto">
              <a:xfrm>
                <a:off x="4803775" y="4060825"/>
                <a:ext cx="44450" cy="44450"/>
              </a:xfrm>
              <a:custGeom>
                <a:avLst/>
                <a:gdLst>
                  <a:gd name="T0" fmla="*/ 122 w 123"/>
                  <a:gd name="T1" fmla="*/ 61 h 122"/>
                  <a:gd name="T2" fmla="*/ 114 w 123"/>
                  <a:gd name="T3" fmla="*/ 91 h 122"/>
                  <a:gd name="T4" fmla="*/ 91 w 123"/>
                  <a:gd name="T5" fmla="*/ 113 h 122"/>
                  <a:gd name="T6" fmla="*/ 61 w 123"/>
                  <a:gd name="T7" fmla="*/ 121 h 122"/>
                  <a:gd name="T8" fmla="*/ 31 w 123"/>
                  <a:gd name="T9" fmla="*/ 113 h 122"/>
                  <a:gd name="T10" fmla="*/ 8 w 123"/>
                  <a:gd name="T11" fmla="*/ 91 h 122"/>
                  <a:gd name="T12" fmla="*/ 0 w 123"/>
                  <a:gd name="T13" fmla="*/ 61 h 122"/>
                  <a:gd name="T14" fmla="*/ 8 w 123"/>
                  <a:gd name="T15" fmla="*/ 30 h 122"/>
                  <a:gd name="T16" fmla="*/ 31 w 123"/>
                  <a:gd name="T17" fmla="*/ 8 h 122"/>
                  <a:gd name="T18" fmla="*/ 61 w 123"/>
                  <a:gd name="T19" fmla="*/ 0 h 122"/>
                  <a:gd name="T20" fmla="*/ 91 w 123"/>
                  <a:gd name="T21" fmla="*/ 8 h 122"/>
                  <a:gd name="T22" fmla="*/ 114 w 123"/>
                  <a:gd name="T23" fmla="*/ 30 h 122"/>
                  <a:gd name="T24" fmla="*/ 122 w 123"/>
                  <a:gd name="T25"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2">
                    <a:moveTo>
                      <a:pt x="122" y="61"/>
                    </a:moveTo>
                    <a:cubicBezTo>
                      <a:pt x="122" y="72"/>
                      <a:pt x="119" y="81"/>
                      <a:pt x="114" y="91"/>
                    </a:cubicBezTo>
                    <a:cubicBezTo>
                      <a:pt x="108" y="101"/>
                      <a:pt x="101" y="107"/>
                      <a:pt x="91" y="113"/>
                    </a:cubicBezTo>
                    <a:cubicBezTo>
                      <a:pt x="81" y="119"/>
                      <a:pt x="72" y="121"/>
                      <a:pt x="61" y="121"/>
                    </a:cubicBezTo>
                    <a:cubicBezTo>
                      <a:pt x="50" y="121"/>
                      <a:pt x="41" y="119"/>
                      <a:pt x="31" y="113"/>
                    </a:cubicBezTo>
                    <a:cubicBezTo>
                      <a:pt x="21" y="107"/>
                      <a:pt x="14" y="101"/>
                      <a:pt x="8" y="91"/>
                    </a:cubicBezTo>
                    <a:cubicBezTo>
                      <a:pt x="2" y="81"/>
                      <a:pt x="0" y="72"/>
                      <a:pt x="0" y="61"/>
                    </a:cubicBezTo>
                    <a:cubicBezTo>
                      <a:pt x="0" y="49"/>
                      <a:pt x="2" y="40"/>
                      <a:pt x="8" y="30"/>
                    </a:cubicBezTo>
                    <a:cubicBezTo>
                      <a:pt x="14" y="20"/>
                      <a:pt x="21" y="14"/>
                      <a:pt x="31" y="8"/>
                    </a:cubicBezTo>
                    <a:cubicBezTo>
                      <a:pt x="41" y="2"/>
                      <a:pt x="50" y="0"/>
                      <a:pt x="61" y="0"/>
                    </a:cubicBezTo>
                    <a:cubicBezTo>
                      <a:pt x="72" y="0"/>
                      <a:pt x="81" y="2"/>
                      <a:pt x="91" y="8"/>
                    </a:cubicBezTo>
                    <a:cubicBezTo>
                      <a:pt x="101" y="14"/>
                      <a:pt x="108" y="20"/>
                      <a:pt x="114" y="30"/>
                    </a:cubicBezTo>
                    <a:cubicBezTo>
                      <a:pt x="119" y="40"/>
                      <a:pt x="122" y="49"/>
                      <a:pt x="122" y="61"/>
                    </a:cubicBezTo>
                  </a:path>
                </a:pathLst>
              </a:custGeom>
              <a:noFill/>
              <a:ln w="25400" cap="rnd">
                <a:solidFill>
                  <a:srgbClr val="049FD9"/>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1219170">
                  <a:defRPr/>
                </a:pPr>
                <a:endParaRPr lang="en-US" sz="2400" kern="0">
                  <a:solidFill>
                    <a:srgbClr val="333333"/>
                  </a:solidFill>
                  <a:ea typeface="ＭＳ Ｐゴシック" pitchFamily="34" charset="-128"/>
                  <a:cs typeface=""/>
                </a:endParaRPr>
              </a:p>
            </p:txBody>
          </p:sp>
          <p:sp>
            <p:nvSpPr>
              <p:cNvPr id="310" name="Freeform 11">
                <a:extLst>
                  <a:ext uri="{FF2B5EF4-FFF2-40B4-BE49-F238E27FC236}">
                    <a16:creationId xmlns:a16="http://schemas.microsoft.com/office/drawing/2014/main" id="{49198C65-4571-8E45-B716-D1B4E0CEC514}"/>
                  </a:ext>
                </a:extLst>
              </p:cNvPr>
              <p:cNvSpPr>
                <a:spLocks noChangeArrowheads="1"/>
              </p:cNvSpPr>
              <p:nvPr/>
            </p:nvSpPr>
            <p:spPr bwMode="auto">
              <a:xfrm>
                <a:off x="4676775" y="4359275"/>
                <a:ext cx="44450" cy="44450"/>
              </a:xfrm>
              <a:custGeom>
                <a:avLst/>
                <a:gdLst>
                  <a:gd name="T0" fmla="*/ 122 w 123"/>
                  <a:gd name="T1" fmla="*/ 61 h 123"/>
                  <a:gd name="T2" fmla="*/ 114 w 123"/>
                  <a:gd name="T3" fmla="*/ 92 h 123"/>
                  <a:gd name="T4" fmla="*/ 91 w 123"/>
                  <a:gd name="T5" fmla="*/ 114 h 123"/>
                  <a:gd name="T6" fmla="*/ 61 w 123"/>
                  <a:gd name="T7" fmla="*/ 122 h 123"/>
                  <a:gd name="T8" fmla="*/ 30 w 123"/>
                  <a:gd name="T9" fmla="*/ 114 h 123"/>
                  <a:gd name="T10" fmla="*/ 8 w 123"/>
                  <a:gd name="T11" fmla="*/ 92 h 123"/>
                  <a:gd name="T12" fmla="*/ 0 w 123"/>
                  <a:gd name="T13" fmla="*/ 61 h 123"/>
                  <a:gd name="T14" fmla="*/ 8 w 123"/>
                  <a:gd name="T15" fmla="*/ 31 h 123"/>
                  <a:gd name="T16" fmla="*/ 30 w 123"/>
                  <a:gd name="T17" fmla="*/ 9 h 123"/>
                  <a:gd name="T18" fmla="*/ 61 w 123"/>
                  <a:gd name="T19" fmla="*/ 0 h 123"/>
                  <a:gd name="T20" fmla="*/ 91 w 123"/>
                  <a:gd name="T21" fmla="*/ 9 h 123"/>
                  <a:gd name="T22" fmla="*/ 114 w 123"/>
                  <a:gd name="T23" fmla="*/ 31 h 123"/>
                  <a:gd name="T24" fmla="*/ 122 w 123"/>
                  <a:gd name="T25" fmla="*/ 6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3">
                    <a:moveTo>
                      <a:pt x="122" y="61"/>
                    </a:moveTo>
                    <a:cubicBezTo>
                      <a:pt x="122" y="73"/>
                      <a:pt x="119" y="82"/>
                      <a:pt x="114" y="92"/>
                    </a:cubicBezTo>
                    <a:cubicBezTo>
                      <a:pt x="108" y="102"/>
                      <a:pt x="100" y="108"/>
                      <a:pt x="91" y="114"/>
                    </a:cubicBezTo>
                    <a:cubicBezTo>
                      <a:pt x="81" y="120"/>
                      <a:pt x="72" y="122"/>
                      <a:pt x="61" y="122"/>
                    </a:cubicBezTo>
                    <a:cubicBezTo>
                      <a:pt x="50" y="122"/>
                      <a:pt x="40" y="120"/>
                      <a:pt x="30" y="114"/>
                    </a:cubicBezTo>
                    <a:cubicBezTo>
                      <a:pt x="20" y="108"/>
                      <a:pt x="14" y="102"/>
                      <a:pt x="8" y="92"/>
                    </a:cubicBezTo>
                    <a:cubicBezTo>
                      <a:pt x="2" y="82"/>
                      <a:pt x="0" y="72"/>
                      <a:pt x="0" y="61"/>
                    </a:cubicBezTo>
                    <a:cubicBezTo>
                      <a:pt x="0" y="49"/>
                      <a:pt x="2" y="41"/>
                      <a:pt x="8" y="31"/>
                    </a:cubicBezTo>
                    <a:cubicBezTo>
                      <a:pt x="14" y="21"/>
                      <a:pt x="20" y="15"/>
                      <a:pt x="30" y="9"/>
                    </a:cubicBezTo>
                    <a:cubicBezTo>
                      <a:pt x="39" y="3"/>
                      <a:pt x="50" y="0"/>
                      <a:pt x="61" y="0"/>
                    </a:cubicBezTo>
                    <a:cubicBezTo>
                      <a:pt x="72" y="0"/>
                      <a:pt x="81" y="3"/>
                      <a:pt x="91" y="9"/>
                    </a:cubicBezTo>
                    <a:cubicBezTo>
                      <a:pt x="101" y="15"/>
                      <a:pt x="108" y="21"/>
                      <a:pt x="114" y="31"/>
                    </a:cubicBezTo>
                    <a:cubicBezTo>
                      <a:pt x="119" y="41"/>
                      <a:pt x="122" y="50"/>
                      <a:pt x="122" y="61"/>
                    </a:cubicBezTo>
                  </a:path>
                </a:pathLst>
              </a:custGeom>
              <a:solidFill>
                <a:srgbClr val="999999"/>
              </a:solidFill>
              <a:ln w="25400" cap="rnd">
                <a:solidFill>
                  <a:srgbClr val="049FD9"/>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1219170">
                  <a:defRPr/>
                </a:pPr>
                <a:endParaRPr lang="en-US" sz="2400" kern="0">
                  <a:solidFill>
                    <a:srgbClr val="333333"/>
                  </a:solidFill>
                  <a:ea typeface="ＭＳ Ｐゴシック" pitchFamily="34" charset="-128"/>
                  <a:cs typeface=""/>
                </a:endParaRPr>
              </a:p>
            </p:txBody>
          </p:sp>
          <p:sp>
            <p:nvSpPr>
              <p:cNvPr id="311" name="Freeform 12">
                <a:extLst>
                  <a:ext uri="{FF2B5EF4-FFF2-40B4-BE49-F238E27FC236}">
                    <a16:creationId xmlns:a16="http://schemas.microsoft.com/office/drawing/2014/main" id="{26E75FA5-330A-3B4A-9586-A4A5E4D5707B}"/>
                  </a:ext>
                </a:extLst>
              </p:cNvPr>
              <p:cNvSpPr>
                <a:spLocks noChangeArrowheads="1"/>
              </p:cNvSpPr>
              <p:nvPr/>
            </p:nvSpPr>
            <p:spPr bwMode="auto">
              <a:xfrm>
                <a:off x="4676775" y="4359275"/>
                <a:ext cx="44450" cy="44450"/>
              </a:xfrm>
              <a:custGeom>
                <a:avLst/>
                <a:gdLst>
                  <a:gd name="T0" fmla="*/ 122 w 123"/>
                  <a:gd name="T1" fmla="*/ 61 h 123"/>
                  <a:gd name="T2" fmla="*/ 114 w 123"/>
                  <a:gd name="T3" fmla="*/ 92 h 123"/>
                  <a:gd name="T4" fmla="*/ 91 w 123"/>
                  <a:gd name="T5" fmla="*/ 114 h 123"/>
                  <a:gd name="T6" fmla="*/ 61 w 123"/>
                  <a:gd name="T7" fmla="*/ 122 h 123"/>
                  <a:gd name="T8" fmla="*/ 30 w 123"/>
                  <a:gd name="T9" fmla="*/ 114 h 123"/>
                  <a:gd name="T10" fmla="*/ 8 w 123"/>
                  <a:gd name="T11" fmla="*/ 92 h 123"/>
                  <a:gd name="T12" fmla="*/ 0 w 123"/>
                  <a:gd name="T13" fmla="*/ 61 h 123"/>
                  <a:gd name="T14" fmla="*/ 8 w 123"/>
                  <a:gd name="T15" fmla="*/ 31 h 123"/>
                  <a:gd name="T16" fmla="*/ 30 w 123"/>
                  <a:gd name="T17" fmla="*/ 9 h 123"/>
                  <a:gd name="T18" fmla="*/ 61 w 123"/>
                  <a:gd name="T19" fmla="*/ 0 h 123"/>
                  <a:gd name="T20" fmla="*/ 91 w 123"/>
                  <a:gd name="T21" fmla="*/ 9 h 123"/>
                  <a:gd name="T22" fmla="*/ 114 w 123"/>
                  <a:gd name="T23" fmla="*/ 31 h 123"/>
                  <a:gd name="T24" fmla="*/ 122 w 123"/>
                  <a:gd name="T25" fmla="*/ 6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3">
                    <a:moveTo>
                      <a:pt x="122" y="61"/>
                    </a:moveTo>
                    <a:cubicBezTo>
                      <a:pt x="122" y="73"/>
                      <a:pt x="119" y="82"/>
                      <a:pt x="114" y="92"/>
                    </a:cubicBezTo>
                    <a:cubicBezTo>
                      <a:pt x="108" y="102"/>
                      <a:pt x="100" y="108"/>
                      <a:pt x="91" y="114"/>
                    </a:cubicBezTo>
                    <a:cubicBezTo>
                      <a:pt x="81" y="120"/>
                      <a:pt x="72" y="122"/>
                      <a:pt x="61" y="122"/>
                    </a:cubicBezTo>
                    <a:cubicBezTo>
                      <a:pt x="50" y="122"/>
                      <a:pt x="40" y="120"/>
                      <a:pt x="30" y="114"/>
                    </a:cubicBezTo>
                    <a:cubicBezTo>
                      <a:pt x="20" y="108"/>
                      <a:pt x="14" y="102"/>
                      <a:pt x="8" y="92"/>
                    </a:cubicBezTo>
                    <a:cubicBezTo>
                      <a:pt x="2" y="82"/>
                      <a:pt x="0" y="72"/>
                      <a:pt x="0" y="61"/>
                    </a:cubicBezTo>
                    <a:cubicBezTo>
                      <a:pt x="0" y="49"/>
                      <a:pt x="2" y="41"/>
                      <a:pt x="8" y="31"/>
                    </a:cubicBezTo>
                    <a:cubicBezTo>
                      <a:pt x="14" y="21"/>
                      <a:pt x="20" y="15"/>
                      <a:pt x="30" y="9"/>
                    </a:cubicBezTo>
                    <a:cubicBezTo>
                      <a:pt x="39" y="3"/>
                      <a:pt x="50" y="0"/>
                      <a:pt x="61" y="0"/>
                    </a:cubicBezTo>
                    <a:cubicBezTo>
                      <a:pt x="72" y="0"/>
                      <a:pt x="81" y="3"/>
                      <a:pt x="91" y="9"/>
                    </a:cubicBezTo>
                    <a:cubicBezTo>
                      <a:pt x="101" y="15"/>
                      <a:pt x="108" y="21"/>
                      <a:pt x="114" y="31"/>
                    </a:cubicBezTo>
                    <a:cubicBezTo>
                      <a:pt x="119" y="41"/>
                      <a:pt x="122" y="50"/>
                      <a:pt x="122" y="61"/>
                    </a:cubicBezTo>
                  </a:path>
                </a:pathLst>
              </a:custGeom>
              <a:solidFill>
                <a:srgbClr val="049FD9"/>
              </a:solidFill>
              <a:ln w="25400" cap="rnd">
                <a:solidFill>
                  <a:srgbClr val="049FD9"/>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1219170">
                  <a:defRPr/>
                </a:pPr>
                <a:endParaRPr lang="en-US" sz="2400" kern="0">
                  <a:solidFill>
                    <a:srgbClr val="333333"/>
                  </a:solidFill>
                  <a:ea typeface="ＭＳ Ｐゴシック" pitchFamily="34" charset="-128"/>
                  <a:cs typeface=""/>
                </a:endParaRPr>
              </a:p>
            </p:txBody>
          </p:sp>
          <p:sp>
            <p:nvSpPr>
              <p:cNvPr id="312" name="Line 13">
                <a:extLst>
                  <a:ext uri="{FF2B5EF4-FFF2-40B4-BE49-F238E27FC236}">
                    <a16:creationId xmlns:a16="http://schemas.microsoft.com/office/drawing/2014/main" id="{42631134-7775-FD46-BA28-CB6CA01036D2}"/>
                  </a:ext>
                </a:extLst>
              </p:cNvPr>
              <p:cNvSpPr>
                <a:spLocks noChangeShapeType="1"/>
              </p:cNvSpPr>
              <p:nvPr/>
            </p:nvSpPr>
            <p:spPr bwMode="auto">
              <a:xfrm flipV="1">
                <a:off x="4543425" y="4251325"/>
                <a:ext cx="112713" cy="115888"/>
              </a:xfrm>
              <a:prstGeom prst="line">
                <a:avLst/>
              </a:prstGeom>
              <a:noFill/>
              <a:ln w="25400" cap="rnd">
                <a:solidFill>
                  <a:srgbClr val="049FD9"/>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1219170">
                  <a:defRPr/>
                </a:pPr>
                <a:endParaRPr lang="en-US" sz="2400" kern="0">
                  <a:solidFill>
                    <a:srgbClr val="333333"/>
                  </a:solidFill>
                  <a:ea typeface="ＭＳ Ｐゴシック" pitchFamily="34" charset="-128"/>
                  <a:cs typeface=""/>
                </a:endParaRPr>
              </a:p>
            </p:txBody>
          </p:sp>
          <p:sp>
            <p:nvSpPr>
              <p:cNvPr id="313" name="Line 14">
                <a:extLst>
                  <a:ext uri="{FF2B5EF4-FFF2-40B4-BE49-F238E27FC236}">
                    <a16:creationId xmlns:a16="http://schemas.microsoft.com/office/drawing/2014/main" id="{20E5B4E2-B892-BC41-8892-1964F43DC816}"/>
                  </a:ext>
                </a:extLst>
              </p:cNvPr>
              <p:cNvSpPr>
                <a:spLocks noChangeShapeType="1"/>
              </p:cNvSpPr>
              <p:nvPr/>
            </p:nvSpPr>
            <p:spPr bwMode="auto">
              <a:xfrm flipV="1">
                <a:off x="4740275" y="4097338"/>
                <a:ext cx="69850" cy="71437"/>
              </a:xfrm>
              <a:prstGeom prst="line">
                <a:avLst/>
              </a:prstGeom>
              <a:noFill/>
              <a:ln w="25400" cap="rnd">
                <a:solidFill>
                  <a:srgbClr val="049FD9"/>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1219170">
                  <a:defRPr/>
                </a:pPr>
                <a:endParaRPr lang="en-US" sz="2400" kern="0">
                  <a:solidFill>
                    <a:srgbClr val="333333"/>
                  </a:solidFill>
                  <a:ea typeface="ＭＳ Ｐゴシック" pitchFamily="34" charset="-128"/>
                  <a:cs typeface=""/>
                </a:endParaRPr>
              </a:p>
            </p:txBody>
          </p:sp>
          <p:sp>
            <p:nvSpPr>
              <p:cNvPr id="314" name="Line 15">
                <a:extLst>
                  <a:ext uri="{FF2B5EF4-FFF2-40B4-BE49-F238E27FC236}">
                    <a16:creationId xmlns:a16="http://schemas.microsoft.com/office/drawing/2014/main" id="{EE345591-9BBE-734E-9A4D-E9CA7157AC36}"/>
                  </a:ext>
                </a:extLst>
              </p:cNvPr>
              <p:cNvSpPr>
                <a:spLocks noChangeShapeType="1"/>
              </p:cNvSpPr>
              <p:nvPr/>
            </p:nvSpPr>
            <p:spPr bwMode="auto">
              <a:xfrm>
                <a:off x="4546600" y="4144963"/>
                <a:ext cx="96838" cy="41275"/>
              </a:xfrm>
              <a:prstGeom prst="line">
                <a:avLst/>
              </a:prstGeom>
              <a:noFill/>
              <a:ln w="25400" cap="rnd">
                <a:solidFill>
                  <a:srgbClr val="049FD9"/>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1219170">
                  <a:defRPr/>
                </a:pPr>
                <a:endParaRPr lang="en-US" sz="2400" kern="0">
                  <a:solidFill>
                    <a:srgbClr val="333333"/>
                  </a:solidFill>
                  <a:ea typeface="ＭＳ Ｐゴシック" pitchFamily="34" charset="-128"/>
                  <a:cs typeface=""/>
                </a:endParaRPr>
              </a:p>
            </p:txBody>
          </p:sp>
          <p:sp>
            <p:nvSpPr>
              <p:cNvPr id="315" name="Line 16">
                <a:extLst>
                  <a:ext uri="{FF2B5EF4-FFF2-40B4-BE49-F238E27FC236}">
                    <a16:creationId xmlns:a16="http://schemas.microsoft.com/office/drawing/2014/main" id="{5039F212-705C-E34A-B5E1-3F6922954686}"/>
                  </a:ext>
                </a:extLst>
              </p:cNvPr>
              <p:cNvSpPr>
                <a:spLocks noChangeShapeType="1"/>
              </p:cNvSpPr>
              <p:nvPr/>
            </p:nvSpPr>
            <p:spPr bwMode="auto">
              <a:xfrm flipH="1" flipV="1">
                <a:off x="4748213" y="4237038"/>
                <a:ext cx="57150" cy="26987"/>
              </a:xfrm>
              <a:prstGeom prst="line">
                <a:avLst/>
              </a:prstGeom>
              <a:noFill/>
              <a:ln w="25400" cap="rnd">
                <a:solidFill>
                  <a:srgbClr val="049FD9"/>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1219170">
                  <a:defRPr/>
                </a:pPr>
                <a:endParaRPr lang="en-US" sz="2400" kern="0">
                  <a:solidFill>
                    <a:srgbClr val="333333"/>
                  </a:solidFill>
                  <a:ea typeface="ＭＳ Ｐゴシック" pitchFamily="34" charset="-128"/>
                  <a:cs typeface=""/>
                </a:endParaRPr>
              </a:p>
            </p:txBody>
          </p:sp>
          <p:sp>
            <p:nvSpPr>
              <p:cNvPr id="316" name="Line 17">
                <a:extLst>
                  <a:ext uri="{FF2B5EF4-FFF2-40B4-BE49-F238E27FC236}">
                    <a16:creationId xmlns:a16="http://schemas.microsoft.com/office/drawing/2014/main" id="{F684E316-DAE4-A640-A6F8-14BDE535980F}"/>
                  </a:ext>
                </a:extLst>
              </p:cNvPr>
              <p:cNvSpPr>
                <a:spLocks noChangeShapeType="1"/>
              </p:cNvSpPr>
              <p:nvPr/>
            </p:nvSpPr>
            <p:spPr bwMode="auto">
              <a:xfrm flipV="1">
                <a:off x="4699000" y="4268788"/>
                <a:ext cx="1588" cy="92075"/>
              </a:xfrm>
              <a:prstGeom prst="line">
                <a:avLst/>
              </a:prstGeom>
              <a:noFill/>
              <a:ln w="25400" cap="rnd">
                <a:solidFill>
                  <a:srgbClr val="049FD9"/>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1219170">
                  <a:defRPr/>
                </a:pPr>
                <a:endParaRPr lang="en-US" sz="2400" kern="0">
                  <a:solidFill>
                    <a:srgbClr val="333333"/>
                  </a:solidFill>
                  <a:ea typeface="ＭＳ Ｐゴシック" pitchFamily="34" charset="-128"/>
                  <a:cs typeface=""/>
                </a:endParaRPr>
              </a:p>
            </p:txBody>
          </p:sp>
          <p:sp>
            <p:nvSpPr>
              <p:cNvPr id="317" name="Freeform 18">
                <a:extLst>
                  <a:ext uri="{FF2B5EF4-FFF2-40B4-BE49-F238E27FC236}">
                    <a16:creationId xmlns:a16="http://schemas.microsoft.com/office/drawing/2014/main" id="{F2CC5B9A-4591-0449-A579-8110B055F673}"/>
                  </a:ext>
                </a:extLst>
              </p:cNvPr>
              <p:cNvSpPr>
                <a:spLocks noChangeArrowheads="1"/>
              </p:cNvSpPr>
              <p:nvPr/>
            </p:nvSpPr>
            <p:spPr bwMode="auto">
              <a:xfrm>
                <a:off x="4803775" y="4246563"/>
                <a:ext cx="44450" cy="44450"/>
              </a:xfrm>
              <a:custGeom>
                <a:avLst/>
                <a:gdLst>
                  <a:gd name="T0" fmla="*/ 122 w 123"/>
                  <a:gd name="T1" fmla="*/ 61 h 122"/>
                  <a:gd name="T2" fmla="*/ 114 w 123"/>
                  <a:gd name="T3" fmla="*/ 91 h 122"/>
                  <a:gd name="T4" fmla="*/ 91 w 123"/>
                  <a:gd name="T5" fmla="*/ 113 h 122"/>
                  <a:gd name="T6" fmla="*/ 61 w 123"/>
                  <a:gd name="T7" fmla="*/ 121 h 122"/>
                  <a:gd name="T8" fmla="*/ 31 w 123"/>
                  <a:gd name="T9" fmla="*/ 113 h 122"/>
                  <a:gd name="T10" fmla="*/ 8 w 123"/>
                  <a:gd name="T11" fmla="*/ 91 h 122"/>
                  <a:gd name="T12" fmla="*/ 0 w 123"/>
                  <a:gd name="T13" fmla="*/ 61 h 122"/>
                  <a:gd name="T14" fmla="*/ 8 w 123"/>
                  <a:gd name="T15" fmla="*/ 30 h 122"/>
                  <a:gd name="T16" fmla="*/ 31 w 123"/>
                  <a:gd name="T17" fmla="*/ 8 h 122"/>
                  <a:gd name="T18" fmla="*/ 61 w 123"/>
                  <a:gd name="T19" fmla="*/ 0 h 122"/>
                  <a:gd name="T20" fmla="*/ 91 w 123"/>
                  <a:gd name="T21" fmla="*/ 8 h 122"/>
                  <a:gd name="T22" fmla="*/ 114 w 123"/>
                  <a:gd name="T23" fmla="*/ 30 h 122"/>
                  <a:gd name="T24" fmla="*/ 122 w 123"/>
                  <a:gd name="T25"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2">
                    <a:moveTo>
                      <a:pt x="122" y="61"/>
                    </a:moveTo>
                    <a:cubicBezTo>
                      <a:pt x="122" y="72"/>
                      <a:pt x="119" y="81"/>
                      <a:pt x="114" y="91"/>
                    </a:cubicBezTo>
                    <a:cubicBezTo>
                      <a:pt x="108" y="101"/>
                      <a:pt x="101" y="107"/>
                      <a:pt x="91" y="113"/>
                    </a:cubicBezTo>
                    <a:cubicBezTo>
                      <a:pt x="81" y="119"/>
                      <a:pt x="72" y="121"/>
                      <a:pt x="61" y="121"/>
                    </a:cubicBezTo>
                    <a:cubicBezTo>
                      <a:pt x="50" y="121"/>
                      <a:pt x="41" y="119"/>
                      <a:pt x="31" y="113"/>
                    </a:cubicBezTo>
                    <a:cubicBezTo>
                      <a:pt x="21" y="107"/>
                      <a:pt x="14" y="101"/>
                      <a:pt x="8" y="91"/>
                    </a:cubicBezTo>
                    <a:cubicBezTo>
                      <a:pt x="2" y="81"/>
                      <a:pt x="0" y="72"/>
                      <a:pt x="0" y="61"/>
                    </a:cubicBezTo>
                    <a:cubicBezTo>
                      <a:pt x="0" y="49"/>
                      <a:pt x="2" y="40"/>
                      <a:pt x="8" y="30"/>
                    </a:cubicBezTo>
                    <a:cubicBezTo>
                      <a:pt x="14" y="20"/>
                      <a:pt x="21" y="14"/>
                      <a:pt x="31" y="8"/>
                    </a:cubicBezTo>
                    <a:cubicBezTo>
                      <a:pt x="41" y="2"/>
                      <a:pt x="50" y="0"/>
                      <a:pt x="61" y="0"/>
                    </a:cubicBezTo>
                    <a:cubicBezTo>
                      <a:pt x="72" y="0"/>
                      <a:pt x="81" y="2"/>
                      <a:pt x="91" y="8"/>
                    </a:cubicBezTo>
                    <a:cubicBezTo>
                      <a:pt x="101" y="14"/>
                      <a:pt x="108" y="20"/>
                      <a:pt x="114" y="30"/>
                    </a:cubicBezTo>
                    <a:cubicBezTo>
                      <a:pt x="119" y="40"/>
                      <a:pt x="122" y="49"/>
                      <a:pt x="122" y="61"/>
                    </a:cubicBezTo>
                  </a:path>
                </a:pathLst>
              </a:custGeom>
              <a:solidFill>
                <a:srgbClr val="049FD9"/>
              </a:solidFill>
              <a:ln w="25400" cap="rnd">
                <a:solidFill>
                  <a:srgbClr val="049FD9"/>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1219170">
                  <a:defRPr/>
                </a:pPr>
                <a:endParaRPr lang="en-US" sz="2400" kern="0">
                  <a:solidFill>
                    <a:srgbClr val="333333"/>
                  </a:solidFill>
                  <a:ea typeface="ＭＳ Ｐゴシック" pitchFamily="34" charset="-128"/>
                  <a:cs typeface=""/>
                </a:endParaRPr>
              </a:p>
            </p:txBody>
          </p:sp>
          <p:sp>
            <p:nvSpPr>
              <p:cNvPr id="318" name="Freeform 19">
                <a:extLst>
                  <a:ext uri="{FF2B5EF4-FFF2-40B4-BE49-F238E27FC236}">
                    <a16:creationId xmlns:a16="http://schemas.microsoft.com/office/drawing/2014/main" id="{2D8EE14B-9E55-A94F-931E-EAFBB9D4DBED}"/>
                  </a:ext>
                </a:extLst>
              </p:cNvPr>
              <p:cNvSpPr>
                <a:spLocks noChangeArrowheads="1"/>
              </p:cNvSpPr>
              <p:nvPr/>
            </p:nvSpPr>
            <p:spPr bwMode="auto">
              <a:xfrm>
                <a:off x="4803775" y="4246563"/>
                <a:ext cx="44450" cy="44450"/>
              </a:xfrm>
              <a:custGeom>
                <a:avLst/>
                <a:gdLst>
                  <a:gd name="T0" fmla="*/ 122 w 123"/>
                  <a:gd name="T1" fmla="*/ 61 h 122"/>
                  <a:gd name="T2" fmla="*/ 114 w 123"/>
                  <a:gd name="T3" fmla="*/ 91 h 122"/>
                  <a:gd name="T4" fmla="*/ 91 w 123"/>
                  <a:gd name="T5" fmla="*/ 113 h 122"/>
                  <a:gd name="T6" fmla="*/ 61 w 123"/>
                  <a:gd name="T7" fmla="*/ 121 h 122"/>
                  <a:gd name="T8" fmla="*/ 31 w 123"/>
                  <a:gd name="T9" fmla="*/ 113 h 122"/>
                  <a:gd name="T10" fmla="*/ 8 w 123"/>
                  <a:gd name="T11" fmla="*/ 91 h 122"/>
                  <a:gd name="T12" fmla="*/ 0 w 123"/>
                  <a:gd name="T13" fmla="*/ 61 h 122"/>
                  <a:gd name="T14" fmla="*/ 8 w 123"/>
                  <a:gd name="T15" fmla="*/ 30 h 122"/>
                  <a:gd name="T16" fmla="*/ 31 w 123"/>
                  <a:gd name="T17" fmla="*/ 8 h 122"/>
                  <a:gd name="T18" fmla="*/ 61 w 123"/>
                  <a:gd name="T19" fmla="*/ 0 h 122"/>
                  <a:gd name="T20" fmla="*/ 91 w 123"/>
                  <a:gd name="T21" fmla="*/ 8 h 122"/>
                  <a:gd name="T22" fmla="*/ 114 w 123"/>
                  <a:gd name="T23" fmla="*/ 30 h 122"/>
                  <a:gd name="T24" fmla="*/ 122 w 123"/>
                  <a:gd name="T25"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2">
                    <a:moveTo>
                      <a:pt x="122" y="61"/>
                    </a:moveTo>
                    <a:cubicBezTo>
                      <a:pt x="122" y="72"/>
                      <a:pt x="119" y="81"/>
                      <a:pt x="114" y="91"/>
                    </a:cubicBezTo>
                    <a:cubicBezTo>
                      <a:pt x="108" y="101"/>
                      <a:pt x="101" y="107"/>
                      <a:pt x="91" y="113"/>
                    </a:cubicBezTo>
                    <a:cubicBezTo>
                      <a:pt x="81" y="119"/>
                      <a:pt x="72" y="121"/>
                      <a:pt x="61" y="121"/>
                    </a:cubicBezTo>
                    <a:cubicBezTo>
                      <a:pt x="50" y="121"/>
                      <a:pt x="41" y="119"/>
                      <a:pt x="31" y="113"/>
                    </a:cubicBezTo>
                    <a:cubicBezTo>
                      <a:pt x="21" y="107"/>
                      <a:pt x="14" y="101"/>
                      <a:pt x="8" y="91"/>
                    </a:cubicBezTo>
                    <a:cubicBezTo>
                      <a:pt x="2" y="81"/>
                      <a:pt x="0" y="72"/>
                      <a:pt x="0" y="61"/>
                    </a:cubicBezTo>
                    <a:cubicBezTo>
                      <a:pt x="0" y="49"/>
                      <a:pt x="2" y="40"/>
                      <a:pt x="8" y="30"/>
                    </a:cubicBezTo>
                    <a:cubicBezTo>
                      <a:pt x="14" y="20"/>
                      <a:pt x="21" y="14"/>
                      <a:pt x="31" y="8"/>
                    </a:cubicBezTo>
                    <a:cubicBezTo>
                      <a:pt x="41" y="2"/>
                      <a:pt x="50" y="0"/>
                      <a:pt x="61" y="0"/>
                    </a:cubicBezTo>
                    <a:cubicBezTo>
                      <a:pt x="72" y="0"/>
                      <a:pt x="81" y="2"/>
                      <a:pt x="91" y="8"/>
                    </a:cubicBezTo>
                    <a:cubicBezTo>
                      <a:pt x="101" y="14"/>
                      <a:pt x="108" y="20"/>
                      <a:pt x="114" y="30"/>
                    </a:cubicBezTo>
                    <a:cubicBezTo>
                      <a:pt x="119" y="40"/>
                      <a:pt x="122" y="49"/>
                      <a:pt x="122" y="61"/>
                    </a:cubicBezTo>
                  </a:path>
                </a:pathLst>
              </a:custGeom>
              <a:solidFill>
                <a:srgbClr val="049FD9"/>
              </a:solidFill>
              <a:ln w="25400" cap="rnd">
                <a:solidFill>
                  <a:srgbClr val="049FD9"/>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1219170">
                  <a:defRPr/>
                </a:pPr>
                <a:endParaRPr lang="en-US" sz="2400" kern="0">
                  <a:solidFill>
                    <a:srgbClr val="333333"/>
                  </a:solidFill>
                  <a:ea typeface="ＭＳ Ｐゴシック" pitchFamily="34" charset="-128"/>
                  <a:cs typeface=""/>
                </a:endParaRPr>
              </a:p>
            </p:txBody>
          </p:sp>
          <p:sp>
            <p:nvSpPr>
              <p:cNvPr id="319" name="Freeform 4">
                <a:extLst>
                  <a:ext uri="{FF2B5EF4-FFF2-40B4-BE49-F238E27FC236}">
                    <a16:creationId xmlns:a16="http://schemas.microsoft.com/office/drawing/2014/main" id="{C017E6B7-D4D7-6C45-B830-5BC29CAA7464}"/>
                  </a:ext>
                </a:extLst>
              </p:cNvPr>
              <p:cNvSpPr>
                <a:spLocks noChangeArrowheads="1"/>
              </p:cNvSpPr>
              <p:nvPr/>
            </p:nvSpPr>
            <p:spPr bwMode="auto">
              <a:xfrm>
                <a:off x="4638675" y="4149725"/>
                <a:ext cx="120650" cy="120650"/>
              </a:xfrm>
              <a:custGeom>
                <a:avLst/>
                <a:gdLst>
                  <a:gd name="T0" fmla="*/ 334 w 335"/>
                  <a:gd name="T1" fmla="*/ 167 h 335"/>
                  <a:gd name="T2" fmla="*/ 311 w 335"/>
                  <a:gd name="T3" fmla="*/ 250 h 335"/>
                  <a:gd name="T4" fmla="*/ 250 w 335"/>
                  <a:gd name="T5" fmla="*/ 311 h 335"/>
                  <a:gd name="T6" fmla="*/ 167 w 335"/>
                  <a:gd name="T7" fmla="*/ 334 h 335"/>
                  <a:gd name="T8" fmla="*/ 83 w 335"/>
                  <a:gd name="T9" fmla="*/ 311 h 335"/>
                  <a:gd name="T10" fmla="*/ 22 w 335"/>
                  <a:gd name="T11" fmla="*/ 250 h 335"/>
                  <a:gd name="T12" fmla="*/ 0 w 335"/>
                  <a:gd name="T13" fmla="*/ 167 h 335"/>
                  <a:gd name="T14" fmla="*/ 22 w 335"/>
                  <a:gd name="T15" fmla="*/ 83 h 335"/>
                  <a:gd name="T16" fmla="*/ 83 w 335"/>
                  <a:gd name="T17" fmla="*/ 22 h 335"/>
                  <a:gd name="T18" fmla="*/ 167 w 335"/>
                  <a:gd name="T19" fmla="*/ 0 h 335"/>
                  <a:gd name="T20" fmla="*/ 250 w 335"/>
                  <a:gd name="T21" fmla="*/ 22 h 335"/>
                  <a:gd name="T22" fmla="*/ 311 w 335"/>
                  <a:gd name="T23" fmla="*/ 83 h 335"/>
                  <a:gd name="T24" fmla="*/ 334 w 335"/>
                  <a:gd name="T25" fmla="*/ 16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5" h="335">
                    <a:moveTo>
                      <a:pt x="334" y="167"/>
                    </a:moveTo>
                    <a:cubicBezTo>
                      <a:pt x="334" y="197"/>
                      <a:pt x="326" y="223"/>
                      <a:pt x="311" y="250"/>
                    </a:cubicBezTo>
                    <a:cubicBezTo>
                      <a:pt x="295" y="276"/>
                      <a:pt x="276" y="295"/>
                      <a:pt x="250" y="311"/>
                    </a:cubicBezTo>
                    <a:cubicBezTo>
                      <a:pt x="223" y="326"/>
                      <a:pt x="197" y="334"/>
                      <a:pt x="167" y="334"/>
                    </a:cubicBezTo>
                    <a:cubicBezTo>
                      <a:pt x="136" y="334"/>
                      <a:pt x="109" y="326"/>
                      <a:pt x="83" y="311"/>
                    </a:cubicBezTo>
                    <a:cubicBezTo>
                      <a:pt x="56" y="295"/>
                      <a:pt x="37" y="276"/>
                      <a:pt x="22" y="250"/>
                    </a:cubicBezTo>
                    <a:cubicBezTo>
                      <a:pt x="6" y="223"/>
                      <a:pt x="0" y="197"/>
                      <a:pt x="0" y="167"/>
                    </a:cubicBezTo>
                    <a:cubicBezTo>
                      <a:pt x="0" y="136"/>
                      <a:pt x="6" y="110"/>
                      <a:pt x="22" y="83"/>
                    </a:cubicBezTo>
                    <a:cubicBezTo>
                      <a:pt x="38" y="56"/>
                      <a:pt x="56" y="38"/>
                      <a:pt x="83" y="22"/>
                    </a:cubicBezTo>
                    <a:cubicBezTo>
                      <a:pt x="109" y="6"/>
                      <a:pt x="136" y="0"/>
                      <a:pt x="167" y="0"/>
                    </a:cubicBezTo>
                    <a:cubicBezTo>
                      <a:pt x="197" y="0"/>
                      <a:pt x="223" y="6"/>
                      <a:pt x="250" y="22"/>
                    </a:cubicBezTo>
                    <a:cubicBezTo>
                      <a:pt x="276" y="37"/>
                      <a:pt x="295" y="56"/>
                      <a:pt x="311" y="83"/>
                    </a:cubicBezTo>
                    <a:cubicBezTo>
                      <a:pt x="326" y="109"/>
                      <a:pt x="334" y="136"/>
                      <a:pt x="334" y="167"/>
                    </a:cubicBezTo>
                  </a:path>
                </a:pathLst>
              </a:custGeom>
              <a:solidFill>
                <a:srgbClr val="FFFFFF"/>
              </a:solidFill>
              <a:ln w="25400" cap="rnd">
                <a:solidFill>
                  <a:srgbClr val="049FD9"/>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1219170">
                  <a:defRPr/>
                </a:pPr>
                <a:endParaRPr lang="en-US" sz="2400" kern="0">
                  <a:solidFill>
                    <a:srgbClr val="333333"/>
                  </a:solidFill>
                  <a:ea typeface="ＭＳ Ｐゴシック" pitchFamily="34" charset="-128"/>
                  <a:cs typeface=""/>
                </a:endParaRPr>
              </a:p>
            </p:txBody>
          </p:sp>
        </p:grpSp>
      </p:grpSp>
      <p:sp>
        <p:nvSpPr>
          <p:cNvPr id="157" name="Title 1">
            <a:extLst>
              <a:ext uri="{FF2B5EF4-FFF2-40B4-BE49-F238E27FC236}">
                <a16:creationId xmlns:a16="http://schemas.microsoft.com/office/drawing/2014/main" id="{E70B65C3-6939-714A-B13E-EAEE14876C55}"/>
              </a:ext>
            </a:extLst>
          </p:cNvPr>
          <p:cNvSpPr txBox="1">
            <a:spLocks/>
          </p:cNvSpPr>
          <p:nvPr/>
        </p:nvSpPr>
        <p:spPr bwMode="auto">
          <a:xfrm>
            <a:off x="457518" y="499281"/>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9" tIns="60949" rIns="121899" bIns="60949"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kern="120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r>
              <a:rPr lang="en-US" sz="3733"/>
              <a:t>Gain visibility and apply context </a:t>
            </a:r>
            <a:br>
              <a:rPr lang="en-US" sz="3733"/>
            </a:br>
            <a:r>
              <a:rPr lang="en-US" sz="3733"/>
              <a:t>across the attack surface</a:t>
            </a:r>
            <a:endParaRPr lang="en-US" sz="4267">
              <a:solidFill>
                <a:schemeClr val="accent1"/>
              </a:solidFill>
            </a:endParaRPr>
          </a:p>
        </p:txBody>
      </p:sp>
      <p:sp>
        <p:nvSpPr>
          <p:cNvPr id="30" name="TextBox 29">
            <a:extLst>
              <a:ext uri="{FF2B5EF4-FFF2-40B4-BE49-F238E27FC236}">
                <a16:creationId xmlns:a16="http://schemas.microsoft.com/office/drawing/2014/main" id="{A4F638D9-92B2-3D4B-BF24-5094B8A80ECE}"/>
              </a:ext>
            </a:extLst>
          </p:cNvPr>
          <p:cNvSpPr txBox="1"/>
          <p:nvPr/>
        </p:nvSpPr>
        <p:spPr>
          <a:xfrm>
            <a:off x="-204998" y="2552609"/>
            <a:ext cx="3838316" cy="666977"/>
          </a:xfrm>
          <a:prstGeom prst="rect">
            <a:avLst/>
          </a:prstGeom>
          <a:noFill/>
        </p:spPr>
        <p:txBody>
          <a:bodyPr wrap="square" rtlCol="0">
            <a:spAutoFit/>
          </a:bodyPr>
          <a:lstStyle/>
          <a:p>
            <a:pPr algn="ctr"/>
            <a:r>
              <a:rPr lang="en-US" sz="1867" dirty="0">
                <a:solidFill>
                  <a:schemeClr val="bg1"/>
                </a:solidFill>
                <a:latin typeface="CiscoSans ExtraLight" panose="020B0503020201020303" pitchFamily="34" charset="0"/>
              </a:rPr>
              <a:t>Network-wide visibility with </a:t>
            </a:r>
            <a:br>
              <a:rPr lang="en-US" sz="1867" dirty="0">
                <a:solidFill>
                  <a:schemeClr val="bg1"/>
                </a:solidFill>
                <a:latin typeface="CiscoSans ExtraLight" panose="020B0503020201020303" pitchFamily="34" charset="0"/>
              </a:rPr>
            </a:br>
            <a:r>
              <a:rPr lang="en-US" sz="1867" dirty="0">
                <a:solidFill>
                  <a:schemeClr val="accent2"/>
                </a:solidFill>
                <a:latin typeface="CiscoSans ExtraLight" panose="020B0503020201020303" pitchFamily="34" charset="0"/>
              </a:rPr>
              <a:t>Stealthwatch Cloud</a:t>
            </a:r>
          </a:p>
        </p:txBody>
      </p:sp>
      <p:grpSp>
        <p:nvGrpSpPr>
          <p:cNvPr id="60" name="Group 59">
            <a:extLst>
              <a:ext uri="{FF2B5EF4-FFF2-40B4-BE49-F238E27FC236}">
                <a16:creationId xmlns:a16="http://schemas.microsoft.com/office/drawing/2014/main" id="{B6904567-9366-824A-AC70-D4ED633CEE67}"/>
              </a:ext>
            </a:extLst>
          </p:cNvPr>
          <p:cNvGrpSpPr/>
          <p:nvPr/>
        </p:nvGrpSpPr>
        <p:grpSpPr>
          <a:xfrm>
            <a:off x="220655" y="3538748"/>
            <a:ext cx="590448" cy="595862"/>
            <a:chOff x="6758708" y="3160023"/>
            <a:chExt cx="725842" cy="725842"/>
          </a:xfrm>
        </p:grpSpPr>
        <p:grpSp>
          <p:nvGrpSpPr>
            <p:cNvPr id="113" name="Group 112">
              <a:extLst>
                <a:ext uri="{FF2B5EF4-FFF2-40B4-BE49-F238E27FC236}">
                  <a16:creationId xmlns:a16="http://schemas.microsoft.com/office/drawing/2014/main" id="{0DC8E465-4724-614A-912E-E5DA085A5E4D}"/>
                </a:ext>
              </a:extLst>
            </p:cNvPr>
            <p:cNvGrpSpPr/>
            <p:nvPr/>
          </p:nvGrpSpPr>
          <p:grpSpPr>
            <a:xfrm>
              <a:off x="6758708" y="3160023"/>
              <a:ext cx="725842" cy="725842"/>
              <a:chOff x="7808476" y="2218755"/>
              <a:chExt cx="725842" cy="725842"/>
            </a:xfrm>
          </p:grpSpPr>
          <p:sp>
            <p:nvSpPr>
              <p:cNvPr id="112" name="Oval 111">
                <a:extLst>
                  <a:ext uri="{FF2B5EF4-FFF2-40B4-BE49-F238E27FC236}">
                    <a16:creationId xmlns:a16="http://schemas.microsoft.com/office/drawing/2014/main" id="{374F859B-002B-7843-82A9-A7F91FBC2C73}"/>
                  </a:ext>
                </a:extLst>
              </p:cNvPr>
              <p:cNvSpPr/>
              <p:nvPr/>
            </p:nvSpPr>
            <p:spPr>
              <a:xfrm>
                <a:off x="7808476" y="2218755"/>
                <a:ext cx="725842" cy="725842"/>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11" name="Rectangle 311">
                <a:extLst>
                  <a:ext uri="{FF2B5EF4-FFF2-40B4-BE49-F238E27FC236}">
                    <a16:creationId xmlns:a16="http://schemas.microsoft.com/office/drawing/2014/main" id="{E60C8FD4-5A3B-A24D-B396-AEAF2608B9DD}"/>
                  </a:ext>
                </a:extLst>
              </p:cNvPr>
              <p:cNvSpPr>
                <a:spLocks noChangeArrowheads="1"/>
              </p:cNvSpPr>
              <p:nvPr/>
            </p:nvSpPr>
            <p:spPr bwMode="auto">
              <a:xfrm>
                <a:off x="8054150" y="2396175"/>
                <a:ext cx="234492" cy="360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grpSp>
        <p:grpSp>
          <p:nvGrpSpPr>
            <p:cNvPr id="236" name="Group 105">
              <a:extLst>
                <a:ext uri="{FF2B5EF4-FFF2-40B4-BE49-F238E27FC236}">
                  <a16:creationId xmlns:a16="http://schemas.microsoft.com/office/drawing/2014/main" id="{94B9F21F-4CEB-A946-9AB0-4D555F89D400}"/>
                </a:ext>
              </a:extLst>
            </p:cNvPr>
            <p:cNvGrpSpPr>
              <a:grpSpLocks noChangeAspect="1"/>
            </p:cNvGrpSpPr>
            <p:nvPr/>
          </p:nvGrpSpPr>
          <p:grpSpPr bwMode="auto">
            <a:xfrm>
              <a:off x="6932911" y="3348751"/>
              <a:ext cx="389385" cy="367099"/>
              <a:chOff x="1991" y="1544"/>
              <a:chExt cx="961" cy="906"/>
            </a:xfrm>
          </p:grpSpPr>
          <p:sp>
            <p:nvSpPr>
              <p:cNvPr id="237" name="Freeform 106">
                <a:extLst>
                  <a:ext uri="{FF2B5EF4-FFF2-40B4-BE49-F238E27FC236}">
                    <a16:creationId xmlns:a16="http://schemas.microsoft.com/office/drawing/2014/main" id="{CAB6C78B-E451-5445-8A01-AAC3F3FC51CD}"/>
                  </a:ext>
                </a:extLst>
              </p:cNvPr>
              <p:cNvSpPr>
                <a:spLocks/>
              </p:cNvSpPr>
              <p:nvPr/>
            </p:nvSpPr>
            <p:spPr bwMode="auto">
              <a:xfrm>
                <a:off x="1991" y="1544"/>
                <a:ext cx="585" cy="906"/>
              </a:xfrm>
              <a:custGeom>
                <a:avLst/>
                <a:gdLst>
                  <a:gd name="T0" fmla="*/ 5 w 70"/>
                  <a:gd name="T1" fmla="*/ 0 h 111"/>
                  <a:gd name="T2" fmla="*/ 0 w 70"/>
                  <a:gd name="T3" fmla="*/ 5 h 111"/>
                  <a:gd name="T4" fmla="*/ 0 w 70"/>
                  <a:gd name="T5" fmla="*/ 111 h 111"/>
                  <a:gd name="T6" fmla="*/ 70 w 70"/>
                  <a:gd name="T7" fmla="*/ 111 h 111"/>
                  <a:gd name="T8" fmla="*/ 70 w 70"/>
                  <a:gd name="T9" fmla="*/ 5 h 111"/>
                  <a:gd name="T10" fmla="*/ 65 w 70"/>
                  <a:gd name="T11" fmla="*/ 0 h 111"/>
                  <a:gd name="T12" fmla="*/ 5 w 70"/>
                  <a:gd name="T13" fmla="*/ 0 h 111"/>
                </a:gdLst>
                <a:ahLst/>
                <a:cxnLst>
                  <a:cxn ang="0">
                    <a:pos x="T0" y="T1"/>
                  </a:cxn>
                  <a:cxn ang="0">
                    <a:pos x="T2" y="T3"/>
                  </a:cxn>
                  <a:cxn ang="0">
                    <a:pos x="T4" y="T5"/>
                  </a:cxn>
                  <a:cxn ang="0">
                    <a:pos x="T6" y="T7"/>
                  </a:cxn>
                  <a:cxn ang="0">
                    <a:pos x="T8" y="T9"/>
                  </a:cxn>
                  <a:cxn ang="0">
                    <a:pos x="T10" y="T11"/>
                  </a:cxn>
                  <a:cxn ang="0">
                    <a:pos x="T12" y="T13"/>
                  </a:cxn>
                </a:cxnLst>
                <a:rect l="0" t="0" r="r" b="b"/>
                <a:pathLst>
                  <a:path w="70" h="111">
                    <a:moveTo>
                      <a:pt x="5" y="0"/>
                    </a:moveTo>
                    <a:cubicBezTo>
                      <a:pt x="2" y="0"/>
                      <a:pt x="0" y="3"/>
                      <a:pt x="0" y="5"/>
                    </a:cubicBezTo>
                    <a:cubicBezTo>
                      <a:pt x="0" y="111"/>
                      <a:pt x="0" y="111"/>
                      <a:pt x="0" y="111"/>
                    </a:cubicBezTo>
                    <a:cubicBezTo>
                      <a:pt x="70" y="111"/>
                      <a:pt x="70" y="111"/>
                      <a:pt x="70" y="111"/>
                    </a:cubicBezTo>
                    <a:cubicBezTo>
                      <a:pt x="70" y="5"/>
                      <a:pt x="70" y="5"/>
                      <a:pt x="70" y="5"/>
                    </a:cubicBezTo>
                    <a:cubicBezTo>
                      <a:pt x="70" y="3"/>
                      <a:pt x="67" y="0"/>
                      <a:pt x="65" y="0"/>
                    </a:cubicBezTo>
                    <a:lnTo>
                      <a:pt x="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38" name="Rectangle 107">
                <a:extLst>
                  <a:ext uri="{FF2B5EF4-FFF2-40B4-BE49-F238E27FC236}">
                    <a16:creationId xmlns:a16="http://schemas.microsoft.com/office/drawing/2014/main" id="{72509415-979A-094E-917A-E675E67BBEE5}"/>
                  </a:ext>
                </a:extLst>
              </p:cNvPr>
              <p:cNvSpPr>
                <a:spLocks noChangeArrowheads="1"/>
              </p:cNvSpPr>
              <p:nvPr/>
            </p:nvSpPr>
            <p:spPr bwMode="auto">
              <a:xfrm>
                <a:off x="2099"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39" name="Rectangle 108">
                <a:extLst>
                  <a:ext uri="{FF2B5EF4-FFF2-40B4-BE49-F238E27FC236}">
                    <a16:creationId xmlns:a16="http://schemas.microsoft.com/office/drawing/2014/main" id="{3548AEEB-ED66-8E4A-993C-559E4674FD11}"/>
                  </a:ext>
                </a:extLst>
              </p:cNvPr>
              <p:cNvSpPr>
                <a:spLocks noChangeArrowheads="1"/>
              </p:cNvSpPr>
              <p:nvPr/>
            </p:nvSpPr>
            <p:spPr bwMode="auto">
              <a:xfrm>
                <a:off x="2241"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0" name="Rectangle 109">
                <a:extLst>
                  <a:ext uri="{FF2B5EF4-FFF2-40B4-BE49-F238E27FC236}">
                    <a16:creationId xmlns:a16="http://schemas.microsoft.com/office/drawing/2014/main" id="{4E8F0FC9-4931-8446-A177-C8AEE4E15601}"/>
                  </a:ext>
                </a:extLst>
              </p:cNvPr>
              <p:cNvSpPr>
                <a:spLocks noChangeArrowheads="1"/>
              </p:cNvSpPr>
              <p:nvPr/>
            </p:nvSpPr>
            <p:spPr bwMode="auto">
              <a:xfrm>
                <a:off x="2383"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1" name="Rectangle 110">
                <a:extLst>
                  <a:ext uri="{FF2B5EF4-FFF2-40B4-BE49-F238E27FC236}">
                    <a16:creationId xmlns:a16="http://schemas.microsoft.com/office/drawing/2014/main" id="{6B4EE9C5-9785-584E-9430-42428F105B2A}"/>
                  </a:ext>
                </a:extLst>
              </p:cNvPr>
              <p:cNvSpPr>
                <a:spLocks noChangeArrowheads="1"/>
              </p:cNvSpPr>
              <p:nvPr/>
            </p:nvSpPr>
            <p:spPr bwMode="auto">
              <a:xfrm>
                <a:off x="2099"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2" name="Rectangle 111">
                <a:extLst>
                  <a:ext uri="{FF2B5EF4-FFF2-40B4-BE49-F238E27FC236}">
                    <a16:creationId xmlns:a16="http://schemas.microsoft.com/office/drawing/2014/main" id="{CCCE1D24-B28C-2D4E-B334-1BA95A0FB17B}"/>
                  </a:ext>
                </a:extLst>
              </p:cNvPr>
              <p:cNvSpPr>
                <a:spLocks noChangeArrowheads="1"/>
              </p:cNvSpPr>
              <p:nvPr/>
            </p:nvSpPr>
            <p:spPr bwMode="auto">
              <a:xfrm>
                <a:off x="2241"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3" name="Rectangle 112">
                <a:extLst>
                  <a:ext uri="{FF2B5EF4-FFF2-40B4-BE49-F238E27FC236}">
                    <a16:creationId xmlns:a16="http://schemas.microsoft.com/office/drawing/2014/main" id="{BD7DDC79-D6E4-244C-BDD8-EF2F4037459B}"/>
                  </a:ext>
                </a:extLst>
              </p:cNvPr>
              <p:cNvSpPr>
                <a:spLocks noChangeArrowheads="1"/>
              </p:cNvSpPr>
              <p:nvPr/>
            </p:nvSpPr>
            <p:spPr bwMode="auto">
              <a:xfrm>
                <a:off x="2383"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4" name="Rectangle 113">
                <a:extLst>
                  <a:ext uri="{FF2B5EF4-FFF2-40B4-BE49-F238E27FC236}">
                    <a16:creationId xmlns:a16="http://schemas.microsoft.com/office/drawing/2014/main" id="{CD3504FA-8EC0-AD42-85E6-F864D4677355}"/>
                  </a:ext>
                </a:extLst>
              </p:cNvPr>
              <p:cNvSpPr>
                <a:spLocks noChangeArrowheads="1"/>
              </p:cNvSpPr>
              <p:nvPr/>
            </p:nvSpPr>
            <p:spPr bwMode="auto">
              <a:xfrm>
                <a:off x="2099"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5" name="Rectangle 114">
                <a:extLst>
                  <a:ext uri="{FF2B5EF4-FFF2-40B4-BE49-F238E27FC236}">
                    <a16:creationId xmlns:a16="http://schemas.microsoft.com/office/drawing/2014/main" id="{97C0713E-26E7-C642-8733-7E26235BE7CE}"/>
                  </a:ext>
                </a:extLst>
              </p:cNvPr>
              <p:cNvSpPr>
                <a:spLocks noChangeArrowheads="1"/>
              </p:cNvSpPr>
              <p:nvPr/>
            </p:nvSpPr>
            <p:spPr bwMode="auto">
              <a:xfrm>
                <a:off x="2241"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6" name="Rectangle 115">
                <a:extLst>
                  <a:ext uri="{FF2B5EF4-FFF2-40B4-BE49-F238E27FC236}">
                    <a16:creationId xmlns:a16="http://schemas.microsoft.com/office/drawing/2014/main" id="{FBAAF8D9-D9A4-594F-B268-6CBB5B8C6485}"/>
                  </a:ext>
                </a:extLst>
              </p:cNvPr>
              <p:cNvSpPr>
                <a:spLocks noChangeArrowheads="1"/>
              </p:cNvSpPr>
              <p:nvPr/>
            </p:nvSpPr>
            <p:spPr bwMode="auto">
              <a:xfrm>
                <a:off x="2383"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7" name="Freeform 116">
                <a:extLst>
                  <a:ext uri="{FF2B5EF4-FFF2-40B4-BE49-F238E27FC236}">
                    <a16:creationId xmlns:a16="http://schemas.microsoft.com/office/drawing/2014/main" id="{66CA0D20-A855-D947-AE69-1D50169CF6A2}"/>
                  </a:ext>
                </a:extLst>
              </p:cNvPr>
              <p:cNvSpPr>
                <a:spLocks/>
              </p:cNvSpPr>
              <p:nvPr/>
            </p:nvSpPr>
            <p:spPr bwMode="auto">
              <a:xfrm>
                <a:off x="2517" y="1846"/>
                <a:ext cx="435" cy="604"/>
              </a:xfrm>
              <a:custGeom>
                <a:avLst/>
                <a:gdLst>
                  <a:gd name="T0" fmla="*/ 5 w 52"/>
                  <a:gd name="T1" fmla="*/ 0 h 74"/>
                  <a:gd name="T2" fmla="*/ 0 w 52"/>
                  <a:gd name="T3" fmla="*/ 5 h 74"/>
                  <a:gd name="T4" fmla="*/ 0 w 52"/>
                  <a:gd name="T5" fmla="*/ 74 h 74"/>
                  <a:gd name="T6" fmla="*/ 52 w 52"/>
                  <a:gd name="T7" fmla="*/ 74 h 74"/>
                  <a:gd name="T8" fmla="*/ 52 w 52"/>
                  <a:gd name="T9" fmla="*/ 5 h 74"/>
                  <a:gd name="T10" fmla="*/ 47 w 52"/>
                  <a:gd name="T11" fmla="*/ 0 h 74"/>
                  <a:gd name="T12" fmla="*/ 5 w 52"/>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52" h="74">
                    <a:moveTo>
                      <a:pt x="5" y="0"/>
                    </a:moveTo>
                    <a:cubicBezTo>
                      <a:pt x="2" y="0"/>
                      <a:pt x="0" y="2"/>
                      <a:pt x="0" y="5"/>
                    </a:cubicBezTo>
                    <a:cubicBezTo>
                      <a:pt x="0" y="74"/>
                      <a:pt x="0" y="74"/>
                      <a:pt x="0" y="74"/>
                    </a:cubicBezTo>
                    <a:cubicBezTo>
                      <a:pt x="52" y="74"/>
                      <a:pt x="52" y="74"/>
                      <a:pt x="52" y="74"/>
                    </a:cubicBezTo>
                    <a:cubicBezTo>
                      <a:pt x="52" y="5"/>
                      <a:pt x="52" y="5"/>
                      <a:pt x="52" y="5"/>
                    </a:cubicBezTo>
                    <a:cubicBezTo>
                      <a:pt x="52" y="2"/>
                      <a:pt x="50" y="0"/>
                      <a:pt x="47" y="0"/>
                    </a:cubicBezTo>
                    <a:lnTo>
                      <a:pt x="5" y="0"/>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8" name="Rectangle 117">
                <a:extLst>
                  <a:ext uri="{FF2B5EF4-FFF2-40B4-BE49-F238E27FC236}">
                    <a16:creationId xmlns:a16="http://schemas.microsoft.com/office/drawing/2014/main" id="{DBC40DE3-3215-AD41-9110-7B2D01429156}"/>
                  </a:ext>
                </a:extLst>
              </p:cNvPr>
              <p:cNvSpPr>
                <a:spLocks noChangeArrowheads="1"/>
              </p:cNvSpPr>
              <p:nvPr/>
            </p:nvSpPr>
            <p:spPr bwMode="auto">
              <a:xfrm>
                <a:off x="2601" y="1927"/>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49" name="Rectangle 118">
                <a:extLst>
                  <a:ext uri="{FF2B5EF4-FFF2-40B4-BE49-F238E27FC236}">
                    <a16:creationId xmlns:a16="http://schemas.microsoft.com/office/drawing/2014/main" id="{F51FF82A-3B85-544C-BBEF-D3E298EB86E7}"/>
                  </a:ext>
                </a:extLst>
              </p:cNvPr>
              <p:cNvSpPr>
                <a:spLocks noChangeArrowheads="1"/>
              </p:cNvSpPr>
              <p:nvPr/>
            </p:nvSpPr>
            <p:spPr bwMode="auto">
              <a:xfrm>
                <a:off x="2709" y="1927"/>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50" name="Rectangle 119">
                <a:extLst>
                  <a:ext uri="{FF2B5EF4-FFF2-40B4-BE49-F238E27FC236}">
                    <a16:creationId xmlns:a16="http://schemas.microsoft.com/office/drawing/2014/main" id="{55487844-071A-1E4D-926A-F1BDAB8035A6}"/>
                  </a:ext>
                </a:extLst>
              </p:cNvPr>
              <p:cNvSpPr>
                <a:spLocks noChangeArrowheads="1"/>
              </p:cNvSpPr>
              <p:nvPr/>
            </p:nvSpPr>
            <p:spPr bwMode="auto">
              <a:xfrm>
                <a:off x="2810" y="1927"/>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51" name="Rectangle 120">
                <a:extLst>
                  <a:ext uri="{FF2B5EF4-FFF2-40B4-BE49-F238E27FC236}">
                    <a16:creationId xmlns:a16="http://schemas.microsoft.com/office/drawing/2014/main" id="{B4A8A86F-8302-104F-BE96-9210DB40A7DF}"/>
                  </a:ext>
                </a:extLst>
              </p:cNvPr>
              <p:cNvSpPr>
                <a:spLocks noChangeArrowheads="1"/>
              </p:cNvSpPr>
              <p:nvPr/>
            </p:nvSpPr>
            <p:spPr bwMode="auto">
              <a:xfrm>
                <a:off x="2601" y="2189"/>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52" name="Rectangle 121">
                <a:extLst>
                  <a:ext uri="{FF2B5EF4-FFF2-40B4-BE49-F238E27FC236}">
                    <a16:creationId xmlns:a16="http://schemas.microsoft.com/office/drawing/2014/main" id="{EAE16488-16CD-334B-BF1C-94A88BE9920A}"/>
                  </a:ext>
                </a:extLst>
              </p:cNvPr>
              <p:cNvSpPr>
                <a:spLocks noChangeArrowheads="1"/>
              </p:cNvSpPr>
              <p:nvPr/>
            </p:nvSpPr>
            <p:spPr bwMode="auto">
              <a:xfrm>
                <a:off x="2709" y="2189"/>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53" name="Rectangle 122">
                <a:extLst>
                  <a:ext uri="{FF2B5EF4-FFF2-40B4-BE49-F238E27FC236}">
                    <a16:creationId xmlns:a16="http://schemas.microsoft.com/office/drawing/2014/main" id="{F33BE7A3-EC23-564C-921B-0888477D1D63}"/>
                  </a:ext>
                </a:extLst>
              </p:cNvPr>
              <p:cNvSpPr>
                <a:spLocks noChangeArrowheads="1"/>
              </p:cNvSpPr>
              <p:nvPr/>
            </p:nvSpPr>
            <p:spPr bwMode="auto">
              <a:xfrm>
                <a:off x="2810" y="2189"/>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54" name="Rectangle 123">
                <a:extLst>
                  <a:ext uri="{FF2B5EF4-FFF2-40B4-BE49-F238E27FC236}">
                    <a16:creationId xmlns:a16="http://schemas.microsoft.com/office/drawing/2014/main" id="{674B5103-962E-3C4F-A363-E494F28383DD}"/>
                  </a:ext>
                </a:extLst>
              </p:cNvPr>
              <p:cNvSpPr>
                <a:spLocks noChangeArrowheads="1"/>
              </p:cNvSpPr>
              <p:nvPr/>
            </p:nvSpPr>
            <p:spPr bwMode="auto">
              <a:xfrm>
                <a:off x="2601" y="2058"/>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55" name="Rectangle 124">
                <a:extLst>
                  <a:ext uri="{FF2B5EF4-FFF2-40B4-BE49-F238E27FC236}">
                    <a16:creationId xmlns:a16="http://schemas.microsoft.com/office/drawing/2014/main" id="{6E5125F1-BA17-F54F-9126-7EEF17A5D4A7}"/>
                  </a:ext>
                </a:extLst>
              </p:cNvPr>
              <p:cNvSpPr>
                <a:spLocks noChangeArrowheads="1"/>
              </p:cNvSpPr>
              <p:nvPr/>
            </p:nvSpPr>
            <p:spPr bwMode="auto">
              <a:xfrm>
                <a:off x="2709" y="2058"/>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56" name="Rectangle 125">
                <a:extLst>
                  <a:ext uri="{FF2B5EF4-FFF2-40B4-BE49-F238E27FC236}">
                    <a16:creationId xmlns:a16="http://schemas.microsoft.com/office/drawing/2014/main" id="{B67C5DB8-B5ED-FA48-B9E7-49270878FB25}"/>
                  </a:ext>
                </a:extLst>
              </p:cNvPr>
              <p:cNvSpPr>
                <a:spLocks noChangeArrowheads="1"/>
              </p:cNvSpPr>
              <p:nvPr/>
            </p:nvSpPr>
            <p:spPr bwMode="auto">
              <a:xfrm>
                <a:off x="2810" y="2058"/>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grpSp>
      </p:grpSp>
      <p:sp>
        <p:nvSpPr>
          <p:cNvPr id="211" name="Rectangle 210">
            <a:extLst>
              <a:ext uri="{FF2B5EF4-FFF2-40B4-BE49-F238E27FC236}">
                <a16:creationId xmlns:a16="http://schemas.microsoft.com/office/drawing/2014/main" id="{8A4C40AF-D607-804C-8F4F-99A535E8053E}"/>
              </a:ext>
            </a:extLst>
          </p:cNvPr>
          <p:cNvSpPr/>
          <p:nvPr/>
        </p:nvSpPr>
        <p:spPr>
          <a:xfrm>
            <a:off x="924165" y="3570370"/>
            <a:ext cx="2390607" cy="769634"/>
          </a:xfrm>
          <a:prstGeom prst="rect">
            <a:avLst/>
          </a:prstGeom>
        </p:spPr>
        <p:txBody>
          <a:bodyPr wrap="square">
            <a:spAutoFit/>
          </a:bodyPr>
          <a:lstStyle/>
          <a:p>
            <a:pPr defTabSz="812760"/>
            <a:r>
              <a:rPr lang="en-US" sz="1467" dirty="0">
                <a:solidFill>
                  <a:schemeClr val="bg1"/>
                </a:solidFill>
                <a:latin typeface="CiscoSansTT ExtraLight"/>
              </a:rPr>
              <a:t>Detect threats on-premises and across multi-cloud environments</a:t>
            </a:r>
          </a:p>
        </p:txBody>
      </p:sp>
      <p:grpSp>
        <p:nvGrpSpPr>
          <p:cNvPr id="225" name="Group 224">
            <a:extLst>
              <a:ext uri="{FF2B5EF4-FFF2-40B4-BE49-F238E27FC236}">
                <a16:creationId xmlns:a16="http://schemas.microsoft.com/office/drawing/2014/main" id="{B003EE3B-BF1A-F442-9437-74724293C07C}"/>
              </a:ext>
            </a:extLst>
          </p:cNvPr>
          <p:cNvGrpSpPr>
            <a:grpSpLocks noChangeAspect="1"/>
          </p:cNvGrpSpPr>
          <p:nvPr/>
        </p:nvGrpSpPr>
        <p:grpSpPr>
          <a:xfrm>
            <a:off x="219943" y="5710986"/>
            <a:ext cx="596506" cy="605177"/>
            <a:chOff x="3693942" y="2337102"/>
            <a:chExt cx="1756116" cy="1756116"/>
          </a:xfrm>
        </p:grpSpPr>
        <p:sp>
          <p:nvSpPr>
            <p:cNvPr id="226" name="Oval 43">
              <a:extLst>
                <a:ext uri="{FF2B5EF4-FFF2-40B4-BE49-F238E27FC236}">
                  <a16:creationId xmlns:a16="http://schemas.microsoft.com/office/drawing/2014/main" id="{28280AF1-3D92-BB48-944D-C25A1F2E45C5}"/>
                </a:ext>
              </a:extLst>
            </p:cNvPr>
            <p:cNvSpPr>
              <a:spLocks noChangeArrowheads="1"/>
            </p:cNvSpPr>
            <p:nvPr/>
          </p:nvSpPr>
          <p:spPr bwMode="auto">
            <a:xfrm>
              <a:off x="3693942" y="2337102"/>
              <a:ext cx="1756116" cy="1756116"/>
            </a:xfrm>
            <a:prstGeom prst="ellipse">
              <a:avLst/>
            </a:pr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27" name="Freeform 19">
              <a:extLst>
                <a:ext uri="{FF2B5EF4-FFF2-40B4-BE49-F238E27FC236}">
                  <a16:creationId xmlns:a16="http://schemas.microsoft.com/office/drawing/2014/main" id="{CE922A64-627D-884F-8AA0-DC7668DF01A4}"/>
                </a:ext>
              </a:extLst>
            </p:cNvPr>
            <p:cNvSpPr>
              <a:spLocks noEditPoints="1"/>
            </p:cNvSpPr>
            <p:nvPr/>
          </p:nvSpPr>
          <p:spPr bwMode="auto">
            <a:xfrm>
              <a:off x="4042987" y="2571750"/>
              <a:ext cx="786544" cy="1010726"/>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endParaRPr lang="en-US" sz="2400" dirty="0"/>
            </a:p>
          </p:txBody>
        </p:sp>
        <p:sp>
          <p:nvSpPr>
            <p:cNvPr id="228" name="Oval 47">
              <a:extLst>
                <a:ext uri="{FF2B5EF4-FFF2-40B4-BE49-F238E27FC236}">
                  <a16:creationId xmlns:a16="http://schemas.microsoft.com/office/drawing/2014/main" id="{238C9162-FA4B-8346-AD19-32D5D391D200}"/>
                </a:ext>
              </a:extLst>
            </p:cNvPr>
            <p:cNvSpPr>
              <a:spLocks noChangeArrowheads="1"/>
            </p:cNvSpPr>
            <p:nvPr/>
          </p:nvSpPr>
          <p:spPr bwMode="auto">
            <a:xfrm>
              <a:off x="4635851" y="3039962"/>
              <a:ext cx="564405" cy="566026"/>
            </a:xfrm>
            <a:prstGeom prst="ellipse">
              <a:avLst/>
            </a:prstGeom>
            <a:solidFill>
              <a:schemeClr val="bg2">
                <a:lumMod val="95000"/>
              </a:schemeClr>
            </a:solid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p>
          </p:txBody>
        </p:sp>
        <p:grpSp>
          <p:nvGrpSpPr>
            <p:cNvPr id="229" name="Group 228">
              <a:extLst>
                <a:ext uri="{FF2B5EF4-FFF2-40B4-BE49-F238E27FC236}">
                  <a16:creationId xmlns:a16="http://schemas.microsoft.com/office/drawing/2014/main" id="{8D67D065-CB83-FA4B-91B0-8AC1181A382D}"/>
                </a:ext>
              </a:extLst>
            </p:cNvPr>
            <p:cNvGrpSpPr/>
            <p:nvPr/>
          </p:nvGrpSpPr>
          <p:grpSpPr>
            <a:xfrm>
              <a:off x="4260847" y="2989191"/>
              <a:ext cx="987975" cy="725685"/>
              <a:chOff x="-3406597" y="2475489"/>
              <a:chExt cx="1130209" cy="827778"/>
            </a:xfrm>
          </p:grpSpPr>
          <p:sp>
            <p:nvSpPr>
              <p:cNvPr id="260" name="Freeform 103">
                <a:extLst>
                  <a:ext uri="{FF2B5EF4-FFF2-40B4-BE49-F238E27FC236}">
                    <a16:creationId xmlns:a16="http://schemas.microsoft.com/office/drawing/2014/main" id="{1D75139B-AAD3-0C47-AC97-F6EAA0A8144D}"/>
                  </a:ext>
                </a:extLst>
              </p:cNvPr>
              <p:cNvSpPr>
                <a:spLocks/>
              </p:cNvSpPr>
              <p:nvPr/>
            </p:nvSpPr>
            <p:spPr bwMode="auto">
              <a:xfrm rot="19203019" flipH="1">
                <a:off x="-3406597" y="3209775"/>
                <a:ext cx="602446" cy="93492"/>
              </a:xfrm>
              <a:prstGeom prst="roundRect">
                <a:avLst>
                  <a:gd name="adj" fmla="val 50000"/>
                </a:avLst>
              </a:prstGeom>
              <a:solidFill>
                <a:srgbClr val="34B2DE"/>
              </a:solidFill>
              <a:ln>
                <a:noFill/>
              </a:ln>
            </p:spPr>
            <p:txBody>
              <a:bodyPr vert="horz" wrap="square" lIns="121920" tIns="60960" rIns="121920" bIns="60960" numCol="1" anchor="t" anchorCtr="0" compatLnSpc="1">
                <a:prstTxWarp prst="textNoShape">
                  <a:avLst/>
                </a:prstTxWarp>
              </a:bodyPr>
              <a:lstStyle/>
              <a:p>
                <a:endParaRPr lang="en-US" sz="2400" dirty="0"/>
              </a:p>
            </p:txBody>
          </p:sp>
          <p:sp>
            <p:nvSpPr>
              <p:cNvPr id="261" name="Freeform 277">
                <a:extLst>
                  <a:ext uri="{FF2B5EF4-FFF2-40B4-BE49-F238E27FC236}">
                    <a16:creationId xmlns:a16="http://schemas.microsoft.com/office/drawing/2014/main" id="{F9D8BDC1-DBEA-E049-B9B0-26AFB0FBE415}"/>
                  </a:ext>
                </a:extLst>
              </p:cNvPr>
              <p:cNvSpPr>
                <a:spLocks noEditPoints="1"/>
              </p:cNvSpPr>
              <p:nvPr/>
            </p:nvSpPr>
            <p:spPr bwMode="auto">
              <a:xfrm>
                <a:off x="-3036926" y="2475489"/>
                <a:ext cx="760538" cy="760538"/>
              </a:xfrm>
              <a:prstGeom prst="donut">
                <a:avLst>
                  <a:gd name="adj" fmla="val 11461"/>
                </a:avLst>
              </a:prstGeom>
              <a:solidFill>
                <a:srgbClr val="34B2DE"/>
              </a:solidFill>
              <a:ln>
                <a:noFill/>
              </a:ln>
            </p:spPr>
            <p:txBody>
              <a:bodyPr vert="horz" wrap="square" lIns="121920" tIns="60960" rIns="121920" bIns="60960" numCol="1" anchor="t" anchorCtr="0" compatLnSpc="1">
                <a:prstTxWarp prst="textNoShape">
                  <a:avLst/>
                </a:prstTxWarp>
              </a:bodyPr>
              <a:lstStyle/>
              <a:p>
                <a:endParaRPr lang="en-US" sz="2400" dirty="0"/>
              </a:p>
            </p:txBody>
          </p:sp>
        </p:grpSp>
        <p:grpSp>
          <p:nvGrpSpPr>
            <p:cNvPr id="230" name="Group 229">
              <a:extLst>
                <a:ext uri="{FF2B5EF4-FFF2-40B4-BE49-F238E27FC236}">
                  <a16:creationId xmlns:a16="http://schemas.microsoft.com/office/drawing/2014/main" id="{2A41D000-9E4A-E747-989F-5F85C044C505}"/>
                </a:ext>
              </a:extLst>
            </p:cNvPr>
            <p:cNvGrpSpPr>
              <a:grpSpLocks noChangeAspect="1"/>
            </p:cNvGrpSpPr>
            <p:nvPr/>
          </p:nvGrpSpPr>
          <p:grpSpPr>
            <a:xfrm>
              <a:off x="4737474" y="3174540"/>
              <a:ext cx="328465" cy="323050"/>
              <a:chOff x="6333580" y="2334557"/>
              <a:chExt cx="545984" cy="536983"/>
            </a:xfrm>
          </p:grpSpPr>
          <p:sp>
            <p:nvSpPr>
              <p:cNvPr id="231" name="Freeform 251">
                <a:extLst>
                  <a:ext uri="{FF2B5EF4-FFF2-40B4-BE49-F238E27FC236}">
                    <a16:creationId xmlns:a16="http://schemas.microsoft.com/office/drawing/2014/main" id="{625B529C-D6BC-A642-8055-A475A026C73B}"/>
                  </a:ext>
                </a:extLst>
              </p:cNvPr>
              <p:cNvSpPr>
                <a:spLocks/>
              </p:cNvSpPr>
              <p:nvPr/>
            </p:nvSpPr>
            <p:spPr bwMode="auto">
              <a:xfrm>
                <a:off x="6551574" y="2334557"/>
                <a:ext cx="327990" cy="526984"/>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121920" tIns="60960" rIns="121920" bIns="60960" numCol="1" anchor="t" anchorCtr="0" compatLnSpc="1">
                <a:prstTxWarp prst="textNoShape">
                  <a:avLst/>
                </a:prstTxWarp>
              </a:bodyPr>
              <a:lstStyle/>
              <a:p>
                <a:endParaRPr lang="en-US" sz="2400" dirty="0"/>
              </a:p>
            </p:txBody>
          </p:sp>
          <p:sp>
            <p:nvSpPr>
              <p:cNvPr id="232" name="Freeform 256">
                <a:extLst>
                  <a:ext uri="{FF2B5EF4-FFF2-40B4-BE49-F238E27FC236}">
                    <a16:creationId xmlns:a16="http://schemas.microsoft.com/office/drawing/2014/main" id="{79FA080C-B46F-8146-B849-9B0950BFB9B5}"/>
                  </a:ext>
                </a:extLst>
              </p:cNvPr>
              <p:cNvSpPr>
                <a:spLocks/>
              </p:cNvSpPr>
              <p:nvPr/>
            </p:nvSpPr>
            <p:spPr bwMode="auto">
              <a:xfrm>
                <a:off x="6333580" y="2502552"/>
                <a:ext cx="217993" cy="358989"/>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121920" tIns="60960" rIns="121920" bIns="60960" numCol="1" anchor="t" anchorCtr="0" compatLnSpc="1">
                <a:prstTxWarp prst="textNoShape">
                  <a:avLst/>
                </a:prstTxWarp>
              </a:bodyPr>
              <a:lstStyle/>
              <a:p>
                <a:endParaRPr lang="en-US" sz="2400" dirty="0"/>
              </a:p>
            </p:txBody>
          </p:sp>
          <p:sp>
            <p:nvSpPr>
              <p:cNvPr id="259" name="Freeform 260">
                <a:extLst>
                  <a:ext uri="{FF2B5EF4-FFF2-40B4-BE49-F238E27FC236}">
                    <a16:creationId xmlns:a16="http://schemas.microsoft.com/office/drawing/2014/main" id="{35AEDDC6-1473-5448-B2DF-A887E10E04C9}"/>
                  </a:ext>
                </a:extLst>
              </p:cNvPr>
              <p:cNvSpPr>
                <a:spLocks/>
              </p:cNvSpPr>
              <p:nvPr/>
            </p:nvSpPr>
            <p:spPr bwMode="auto">
              <a:xfrm>
                <a:off x="6461576" y="2648547"/>
                <a:ext cx="176995" cy="222993"/>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121920" tIns="60960" rIns="121920" bIns="60960" numCol="1" anchor="t" anchorCtr="0" compatLnSpc="1">
                <a:prstTxWarp prst="textNoShape">
                  <a:avLst/>
                </a:prstTxWarp>
              </a:bodyPr>
              <a:lstStyle/>
              <a:p>
                <a:endParaRPr lang="en-US" sz="2400" dirty="0"/>
              </a:p>
            </p:txBody>
          </p:sp>
        </p:grpSp>
      </p:grpSp>
      <p:grpSp>
        <p:nvGrpSpPr>
          <p:cNvPr id="3" name="Group 2">
            <a:extLst>
              <a:ext uri="{FF2B5EF4-FFF2-40B4-BE49-F238E27FC236}">
                <a16:creationId xmlns:a16="http://schemas.microsoft.com/office/drawing/2014/main" id="{1EE7D9E4-AD87-B443-83F2-A6D0A4F8853B}"/>
              </a:ext>
            </a:extLst>
          </p:cNvPr>
          <p:cNvGrpSpPr>
            <a:grpSpLocks noChangeAspect="1"/>
          </p:cNvGrpSpPr>
          <p:nvPr/>
        </p:nvGrpSpPr>
        <p:grpSpPr>
          <a:xfrm>
            <a:off x="219942" y="4654945"/>
            <a:ext cx="589279" cy="597845"/>
            <a:chOff x="4897439" y="1102867"/>
            <a:chExt cx="640080" cy="640080"/>
          </a:xfrm>
        </p:grpSpPr>
        <p:sp>
          <p:nvSpPr>
            <p:cNvPr id="263" name="Oval 262">
              <a:extLst>
                <a:ext uri="{FF2B5EF4-FFF2-40B4-BE49-F238E27FC236}">
                  <a16:creationId xmlns:a16="http://schemas.microsoft.com/office/drawing/2014/main" id="{C7A58428-54D3-2C43-8456-A41A32329B8C}"/>
                </a:ext>
              </a:extLst>
            </p:cNvPr>
            <p:cNvSpPr>
              <a:spLocks noChangeAspect="1"/>
            </p:cNvSpPr>
            <p:nvPr/>
          </p:nvSpPr>
          <p:spPr>
            <a:xfrm>
              <a:off x="4897439" y="1102867"/>
              <a:ext cx="640080" cy="64008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264" name="Group 263">
              <a:extLst>
                <a:ext uri="{FF2B5EF4-FFF2-40B4-BE49-F238E27FC236}">
                  <a16:creationId xmlns:a16="http://schemas.microsoft.com/office/drawing/2014/main" id="{2F7A859A-AD11-DF41-B7D1-33B39505FF72}"/>
                </a:ext>
              </a:extLst>
            </p:cNvPr>
            <p:cNvGrpSpPr>
              <a:grpSpLocks noChangeAspect="1"/>
            </p:cNvGrpSpPr>
            <p:nvPr/>
          </p:nvGrpSpPr>
          <p:grpSpPr bwMode="auto">
            <a:xfrm>
              <a:off x="4979838" y="1199006"/>
              <a:ext cx="408564" cy="389924"/>
              <a:chOff x="2346" y="1107"/>
              <a:chExt cx="1074" cy="1025"/>
            </a:xfrm>
          </p:grpSpPr>
          <p:sp>
            <p:nvSpPr>
              <p:cNvPr id="265" name="Freeform 5">
                <a:extLst>
                  <a:ext uri="{FF2B5EF4-FFF2-40B4-BE49-F238E27FC236}">
                    <a16:creationId xmlns:a16="http://schemas.microsoft.com/office/drawing/2014/main" id="{9D9E9099-56CF-A846-9205-A3357EAF5B24}"/>
                  </a:ext>
                </a:extLst>
              </p:cNvPr>
              <p:cNvSpPr>
                <a:spLocks noEditPoints="1"/>
              </p:cNvSpPr>
              <p:nvPr/>
            </p:nvSpPr>
            <p:spPr bwMode="auto">
              <a:xfrm>
                <a:off x="2346" y="1107"/>
                <a:ext cx="1074" cy="1025"/>
              </a:xfrm>
              <a:custGeom>
                <a:avLst/>
                <a:gdLst>
                  <a:gd name="T0" fmla="*/ 854 w 875"/>
                  <a:gd name="T1" fmla="*/ 769 h 856"/>
                  <a:gd name="T2" fmla="*/ 614 w 875"/>
                  <a:gd name="T3" fmla="*/ 543 h 856"/>
                  <a:gd name="T4" fmla="*/ 685 w 875"/>
                  <a:gd name="T5" fmla="*/ 338 h 856"/>
                  <a:gd name="T6" fmla="*/ 342 w 875"/>
                  <a:gd name="T7" fmla="*/ 0 h 856"/>
                  <a:gd name="T8" fmla="*/ 0 w 875"/>
                  <a:gd name="T9" fmla="*/ 338 h 856"/>
                  <a:gd name="T10" fmla="*/ 342 w 875"/>
                  <a:gd name="T11" fmla="*/ 676 h 856"/>
                  <a:gd name="T12" fmla="*/ 541 w 875"/>
                  <a:gd name="T13" fmla="*/ 613 h 856"/>
                  <a:gd name="T14" fmla="*/ 785 w 875"/>
                  <a:gd name="T15" fmla="*/ 842 h 856"/>
                  <a:gd name="T16" fmla="*/ 819 w 875"/>
                  <a:gd name="T17" fmla="*/ 856 h 856"/>
                  <a:gd name="T18" fmla="*/ 856 w 875"/>
                  <a:gd name="T19" fmla="*/ 840 h 856"/>
                  <a:gd name="T20" fmla="*/ 854 w 875"/>
                  <a:gd name="T21" fmla="*/ 769 h 856"/>
                  <a:gd name="T22" fmla="*/ 80 w 875"/>
                  <a:gd name="T23" fmla="*/ 338 h 856"/>
                  <a:gd name="T24" fmla="*/ 342 w 875"/>
                  <a:gd name="T25" fmla="*/ 81 h 856"/>
                  <a:gd name="T26" fmla="*/ 604 w 875"/>
                  <a:gd name="T27" fmla="*/ 338 h 856"/>
                  <a:gd name="T28" fmla="*/ 342 w 875"/>
                  <a:gd name="T29" fmla="*/ 595 h 856"/>
                  <a:gd name="T30" fmla="*/ 80 w 875"/>
                  <a:gd name="T31" fmla="*/ 338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5" h="856">
                    <a:moveTo>
                      <a:pt x="854" y="769"/>
                    </a:moveTo>
                    <a:cubicBezTo>
                      <a:pt x="614" y="543"/>
                      <a:pt x="614" y="543"/>
                      <a:pt x="614" y="543"/>
                    </a:cubicBezTo>
                    <a:cubicBezTo>
                      <a:pt x="659" y="486"/>
                      <a:pt x="685" y="415"/>
                      <a:pt x="685" y="338"/>
                    </a:cubicBezTo>
                    <a:cubicBezTo>
                      <a:pt x="685" y="152"/>
                      <a:pt x="531" y="0"/>
                      <a:pt x="342" y="0"/>
                    </a:cubicBezTo>
                    <a:cubicBezTo>
                      <a:pt x="153" y="0"/>
                      <a:pt x="0" y="152"/>
                      <a:pt x="0" y="338"/>
                    </a:cubicBezTo>
                    <a:cubicBezTo>
                      <a:pt x="0" y="524"/>
                      <a:pt x="153" y="676"/>
                      <a:pt x="342" y="676"/>
                    </a:cubicBezTo>
                    <a:cubicBezTo>
                      <a:pt x="416" y="676"/>
                      <a:pt x="485" y="652"/>
                      <a:pt x="541" y="613"/>
                    </a:cubicBezTo>
                    <a:cubicBezTo>
                      <a:pt x="785" y="842"/>
                      <a:pt x="785" y="842"/>
                      <a:pt x="785" y="842"/>
                    </a:cubicBezTo>
                    <a:cubicBezTo>
                      <a:pt x="795" y="852"/>
                      <a:pt x="807" y="856"/>
                      <a:pt x="819" y="856"/>
                    </a:cubicBezTo>
                    <a:cubicBezTo>
                      <a:pt x="833" y="856"/>
                      <a:pt x="846" y="851"/>
                      <a:pt x="856" y="840"/>
                    </a:cubicBezTo>
                    <a:cubicBezTo>
                      <a:pt x="875" y="820"/>
                      <a:pt x="874" y="788"/>
                      <a:pt x="854" y="769"/>
                    </a:cubicBezTo>
                    <a:close/>
                    <a:moveTo>
                      <a:pt x="80" y="338"/>
                    </a:moveTo>
                    <a:cubicBezTo>
                      <a:pt x="80" y="196"/>
                      <a:pt x="198" y="81"/>
                      <a:pt x="342" y="81"/>
                    </a:cubicBezTo>
                    <a:cubicBezTo>
                      <a:pt x="487" y="81"/>
                      <a:pt x="604" y="196"/>
                      <a:pt x="604" y="338"/>
                    </a:cubicBezTo>
                    <a:cubicBezTo>
                      <a:pt x="604" y="480"/>
                      <a:pt x="487" y="595"/>
                      <a:pt x="342" y="595"/>
                    </a:cubicBezTo>
                    <a:cubicBezTo>
                      <a:pt x="198" y="595"/>
                      <a:pt x="80" y="480"/>
                      <a:pt x="80" y="33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66" name="Freeform 6">
                <a:extLst>
                  <a:ext uri="{FF2B5EF4-FFF2-40B4-BE49-F238E27FC236}">
                    <a16:creationId xmlns:a16="http://schemas.microsoft.com/office/drawing/2014/main" id="{F46221C4-9F00-7942-A1EF-16F39453E12F}"/>
                  </a:ext>
                </a:extLst>
              </p:cNvPr>
              <p:cNvSpPr>
                <a:spLocks/>
              </p:cNvSpPr>
              <p:nvPr/>
            </p:nvSpPr>
            <p:spPr bwMode="auto">
              <a:xfrm>
                <a:off x="2519" y="1578"/>
                <a:ext cx="149" cy="226"/>
              </a:xfrm>
              <a:custGeom>
                <a:avLst/>
                <a:gdLst>
                  <a:gd name="T0" fmla="*/ 100 w 121"/>
                  <a:gd name="T1" fmla="*/ 0 h 189"/>
                  <a:gd name="T2" fmla="*/ 20 w 121"/>
                  <a:gd name="T3" fmla="*/ 0 h 189"/>
                  <a:gd name="T4" fmla="*/ 0 w 121"/>
                  <a:gd name="T5" fmla="*/ 21 h 189"/>
                  <a:gd name="T6" fmla="*/ 0 w 121"/>
                  <a:gd name="T7" fmla="*/ 109 h 189"/>
                  <a:gd name="T8" fmla="*/ 121 w 121"/>
                  <a:gd name="T9" fmla="*/ 189 h 189"/>
                  <a:gd name="T10" fmla="*/ 121 w 121"/>
                  <a:gd name="T11" fmla="*/ 21 h 189"/>
                  <a:gd name="T12" fmla="*/ 100 w 121"/>
                  <a:gd name="T13" fmla="*/ 0 h 189"/>
                </a:gdLst>
                <a:ahLst/>
                <a:cxnLst>
                  <a:cxn ang="0">
                    <a:pos x="T0" y="T1"/>
                  </a:cxn>
                  <a:cxn ang="0">
                    <a:pos x="T2" y="T3"/>
                  </a:cxn>
                  <a:cxn ang="0">
                    <a:pos x="T4" y="T5"/>
                  </a:cxn>
                  <a:cxn ang="0">
                    <a:pos x="T6" y="T7"/>
                  </a:cxn>
                  <a:cxn ang="0">
                    <a:pos x="T8" y="T9"/>
                  </a:cxn>
                  <a:cxn ang="0">
                    <a:pos x="T10" y="T11"/>
                  </a:cxn>
                  <a:cxn ang="0">
                    <a:pos x="T12" y="T13"/>
                  </a:cxn>
                </a:cxnLst>
                <a:rect l="0" t="0" r="r" b="b"/>
                <a:pathLst>
                  <a:path w="121" h="189">
                    <a:moveTo>
                      <a:pt x="100" y="0"/>
                    </a:moveTo>
                    <a:cubicBezTo>
                      <a:pt x="20" y="0"/>
                      <a:pt x="20" y="0"/>
                      <a:pt x="20" y="0"/>
                    </a:cubicBezTo>
                    <a:cubicBezTo>
                      <a:pt x="9" y="0"/>
                      <a:pt x="0" y="9"/>
                      <a:pt x="0" y="21"/>
                    </a:cubicBezTo>
                    <a:cubicBezTo>
                      <a:pt x="0" y="109"/>
                      <a:pt x="0" y="109"/>
                      <a:pt x="0" y="109"/>
                    </a:cubicBezTo>
                    <a:cubicBezTo>
                      <a:pt x="31" y="146"/>
                      <a:pt x="73" y="174"/>
                      <a:pt x="121" y="189"/>
                    </a:cubicBezTo>
                    <a:cubicBezTo>
                      <a:pt x="121" y="21"/>
                      <a:pt x="121" y="21"/>
                      <a:pt x="121" y="21"/>
                    </a:cubicBezTo>
                    <a:cubicBezTo>
                      <a:pt x="121" y="9"/>
                      <a:pt x="112" y="0"/>
                      <a:pt x="100"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67" name="Freeform 7">
                <a:extLst>
                  <a:ext uri="{FF2B5EF4-FFF2-40B4-BE49-F238E27FC236}">
                    <a16:creationId xmlns:a16="http://schemas.microsoft.com/office/drawing/2014/main" id="{D5C3F047-F2DF-E247-85BE-64664BE54BB0}"/>
                  </a:ext>
                </a:extLst>
              </p:cNvPr>
              <p:cNvSpPr>
                <a:spLocks/>
              </p:cNvSpPr>
              <p:nvPr/>
            </p:nvSpPr>
            <p:spPr bwMode="auto">
              <a:xfrm>
                <a:off x="2692" y="1325"/>
                <a:ext cx="149" cy="494"/>
              </a:xfrm>
              <a:custGeom>
                <a:avLst/>
                <a:gdLst>
                  <a:gd name="T0" fmla="*/ 121 w 121"/>
                  <a:gd name="T1" fmla="*/ 20 h 413"/>
                  <a:gd name="T2" fmla="*/ 101 w 121"/>
                  <a:gd name="T3" fmla="*/ 0 h 413"/>
                  <a:gd name="T4" fmla="*/ 20 w 121"/>
                  <a:gd name="T5" fmla="*/ 0 h 413"/>
                  <a:gd name="T6" fmla="*/ 0 w 121"/>
                  <a:gd name="T7" fmla="*/ 20 h 413"/>
                  <a:gd name="T8" fmla="*/ 0 w 121"/>
                  <a:gd name="T9" fmla="*/ 403 h 413"/>
                  <a:gd name="T10" fmla="*/ 0 w 121"/>
                  <a:gd name="T11" fmla="*/ 406 h 413"/>
                  <a:gd name="T12" fmla="*/ 60 w 121"/>
                  <a:gd name="T13" fmla="*/ 413 h 413"/>
                  <a:gd name="T14" fmla="*/ 120 w 121"/>
                  <a:gd name="T15" fmla="*/ 406 h 413"/>
                  <a:gd name="T16" fmla="*/ 121 w 121"/>
                  <a:gd name="T17" fmla="*/ 403 h 413"/>
                  <a:gd name="T18" fmla="*/ 121 w 121"/>
                  <a:gd name="T19" fmla="*/ 2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413">
                    <a:moveTo>
                      <a:pt x="121" y="20"/>
                    </a:moveTo>
                    <a:cubicBezTo>
                      <a:pt x="121" y="9"/>
                      <a:pt x="112" y="0"/>
                      <a:pt x="101" y="0"/>
                    </a:cubicBezTo>
                    <a:cubicBezTo>
                      <a:pt x="20" y="0"/>
                      <a:pt x="20" y="0"/>
                      <a:pt x="20" y="0"/>
                    </a:cubicBezTo>
                    <a:cubicBezTo>
                      <a:pt x="9" y="0"/>
                      <a:pt x="0" y="9"/>
                      <a:pt x="0" y="20"/>
                    </a:cubicBezTo>
                    <a:cubicBezTo>
                      <a:pt x="0" y="403"/>
                      <a:pt x="0" y="403"/>
                      <a:pt x="0" y="403"/>
                    </a:cubicBezTo>
                    <a:cubicBezTo>
                      <a:pt x="0" y="404"/>
                      <a:pt x="0" y="405"/>
                      <a:pt x="0" y="406"/>
                    </a:cubicBezTo>
                    <a:cubicBezTo>
                      <a:pt x="19" y="411"/>
                      <a:pt x="40" y="413"/>
                      <a:pt x="60" y="413"/>
                    </a:cubicBezTo>
                    <a:cubicBezTo>
                      <a:pt x="81" y="413"/>
                      <a:pt x="101" y="411"/>
                      <a:pt x="120" y="406"/>
                    </a:cubicBezTo>
                    <a:cubicBezTo>
                      <a:pt x="121" y="405"/>
                      <a:pt x="121" y="404"/>
                      <a:pt x="121" y="403"/>
                    </a:cubicBezTo>
                    <a:lnTo>
                      <a:pt x="121" y="2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68" name="Freeform 8">
                <a:extLst>
                  <a:ext uri="{FF2B5EF4-FFF2-40B4-BE49-F238E27FC236}">
                    <a16:creationId xmlns:a16="http://schemas.microsoft.com/office/drawing/2014/main" id="{C4DD59EF-1436-0D41-B54F-FB58197469DD}"/>
                  </a:ext>
                </a:extLst>
              </p:cNvPr>
              <p:cNvSpPr>
                <a:spLocks/>
              </p:cNvSpPr>
              <p:nvPr/>
            </p:nvSpPr>
            <p:spPr bwMode="auto">
              <a:xfrm>
                <a:off x="2865" y="1409"/>
                <a:ext cx="149" cy="395"/>
              </a:xfrm>
              <a:custGeom>
                <a:avLst/>
                <a:gdLst>
                  <a:gd name="T0" fmla="*/ 101 w 121"/>
                  <a:gd name="T1" fmla="*/ 0 h 330"/>
                  <a:gd name="T2" fmla="*/ 20 w 121"/>
                  <a:gd name="T3" fmla="*/ 0 h 330"/>
                  <a:gd name="T4" fmla="*/ 0 w 121"/>
                  <a:gd name="T5" fmla="*/ 20 h 330"/>
                  <a:gd name="T6" fmla="*/ 0 w 121"/>
                  <a:gd name="T7" fmla="*/ 330 h 330"/>
                  <a:gd name="T8" fmla="*/ 121 w 121"/>
                  <a:gd name="T9" fmla="*/ 250 h 330"/>
                  <a:gd name="T10" fmla="*/ 121 w 121"/>
                  <a:gd name="T11" fmla="*/ 20 h 330"/>
                  <a:gd name="T12" fmla="*/ 101 w 121"/>
                  <a:gd name="T13" fmla="*/ 0 h 330"/>
                </a:gdLst>
                <a:ahLst/>
                <a:cxnLst>
                  <a:cxn ang="0">
                    <a:pos x="T0" y="T1"/>
                  </a:cxn>
                  <a:cxn ang="0">
                    <a:pos x="T2" y="T3"/>
                  </a:cxn>
                  <a:cxn ang="0">
                    <a:pos x="T4" y="T5"/>
                  </a:cxn>
                  <a:cxn ang="0">
                    <a:pos x="T6" y="T7"/>
                  </a:cxn>
                  <a:cxn ang="0">
                    <a:pos x="T8" y="T9"/>
                  </a:cxn>
                  <a:cxn ang="0">
                    <a:pos x="T10" y="T11"/>
                  </a:cxn>
                  <a:cxn ang="0">
                    <a:pos x="T12" y="T13"/>
                  </a:cxn>
                </a:cxnLst>
                <a:rect l="0" t="0" r="r" b="b"/>
                <a:pathLst>
                  <a:path w="121" h="330">
                    <a:moveTo>
                      <a:pt x="101" y="0"/>
                    </a:moveTo>
                    <a:cubicBezTo>
                      <a:pt x="20" y="0"/>
                      <a:pt x="20" y="0"/>
                      <a:pt x="20" y="0"/>
                    </a:cubicBezTo>
                    <a:cubicBezTo>
                      <a:pt x="9" y="0"/>
                      <a:pt x="0" y="9"/>
                      <a:pt x="0" y="20"/>
                    </a:cubicBezTo>
                    <a:cubicBezTo>
                      <a:pt x="0" y="330"/>
                      <a:pt x="0" y="330"/>
                      <a:pt x="0" y="330"/>
                    </a:cubicBezTo>
                    <a:cubicBezTo>
                      <a:pt x="48" y="315"/>
                      <a:pt x="89" y="287"/>
                      <a:pt x="121" y="250"/>
                    </a:cubicBezTo>
                    <a:cubicBezTo>
                      <a:pt x="121" y="20"/>
                      <a:pt x="121" y="20"/>
                      <a:pt x="121" y="20"/>
                    </a:cubicBezTo>
                    <a:cubicBezTo>
                      <a:pt x="121" y="9"/>
                      <a:pt x="112" y="0"/>
                      <a:pt x="101"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grpSp>
      </p:grpSp>
      <p:sp>
        <p:nvSpPr>
          <p:cNvPr id="282" name="Rectangle 281">
            <a:extLst>
              <a:ext uri="{FF2B5EF4-FFF2-40B4-BE49-F238E27FC236}">
                <a16:creationId xmlns:a16="http://schemas.microsoft.com/office/drawing/2014/main" id="{D97EE156-BCCF-F144-8B59-70D4C1A5FA57}"/>
              </a:ext>
            </a:extLst>
          </p:cNvPr>
          <p:cNvSpPr/>
          <p:nvPr/>
        </p:nvSpPr>
        <p:spPr>
          <a:xfrm>
            <a:off x="950530" y="5770443"/>
            <a:ext cx="2415868" cy="769634"/>
          </a:xfrm>
          <a:prstGeom prst="rect">
            <a:avLst/>
          </a:prstGeom>
        </p:spPr>
        <p:txBody>
          <a:bodyPr wrap="square">
            <a:spAutoFit/>
          </a:bodyPr>
          <a:lstStyle/>
          <a:p>
            <a:pPr defTabSz="812760"/>
            <a:r>
              <a:rPr lang="en-US" sz="1467" dirty="0">
                <a:solidFill>
                  <a:schemeClr val="bg1"/>
                </a:solidFill>
                <a:latin typeface="CiscoSansTT ExtraLight"/>
              </a:rPr>
              <a:t>Detect threats in encrypted traffic without decryption</a:t>
            </a:r>
          </a:p>
        </p:txBody>
      </p:sp>
      <p:sp>
        <p:nvSpPr>
          <p:cNvPr id="283" name="Rectangle 282">
            <a:extLst>
              <a:ext uri="{FF2B5EF4-FFF2-40B4-BE49-F238E27FC236}">
                <a16:creationId xmlns:a16="http://schemas.microsoft.com/office/drawing/2014/main" id="{D36C8BAC-B987-DA40-8AF6-AB530A406F2D}"/>
              </a:ext>
            </a:extLst>
          </p:cNvPr>
          <p:cNvSpPr/>
          <p:nvPr/>
        </p:nvSpPr>
        <p:spPr>
          <a:xfrm>
            <a:off x="920409" y="4785663"/>
            <a:ext cx="2415868" cy="543867"/>
          </a:xfrm>
          <a:prstGeom prst="rect">
            <a:avLst/>
          </a:prstGeom>
        </p:spPr>
        <p:txBody>
          <a:bodyPr wrap="square">
            <a:spAutoFit/>
          </a:bodyPr>
          <a:lstStyle/>
          <a:p>
            <a:pPr defTabSz="812760"/>
            <a:r>
              <a:rPr lang="en-US" sz="1467" dirty="0">
                <a:solidFill>
                  <a:schemeClr val="bg1"/>
                </a:solidFill>
                <a:latin typeface="CiscoSansTT ExtraLight"/>
              </a:rPr>
              <a:t>Classify devices and model normal behavior</a:t>
            </a:r>
          </a:p>
        </p:txBody>
      </p:sp>
      <p:grpSp>
        <p:nvGrpSpPr>
          <p:cNvPr id="98" name="Group 97">
            <a:extLst>
              <a:ext uri="{FF2B5EF4-FFF2-40B4-BE49-F238E27FC236}">
                <a16:creationId xmlns:a16="http://schemas.microsoft.com/office/drawing/2014/main" id="{B5C8E35E-DB89-46E0-9BF7-8541E7DD61AF}"/>
              </a:ext>
            </a:extLst>
          </p:cNvPr>
          <p:cNvGrpSpPr/>
          <p:nvPr/>
        </p:nvGrpSpPr>
        <p:grpSpPr>
          <a:xfrm>
            <a:off x="1124997" y="1642120"/>
            <a:ext cx="813134" cy="834184"/>
            <a:chOff x="960621" y="1379200"/>
            <a:chExt cx="1142631" cy="1142631"/>
          </a:xfrm>
        </p:grpSpPr>
        <p:sp>
          <p:nvSpPr>
            <p:cNvPr id="99" name="Oval 98">
              <a:extLst>
                <a:ext uri="{FF2B5EF4-FFF2-40B4-BE49-F238E27FC236}">
                  <a16:creationId xmlns:a16="http://schemas.microsoft.com/office/drawing/2014/main" id="{61E168E7-0114-4A0E-BF9D-AABDCCCD230C}"/>
                </a:ext>
              </a:extLst>
            </p:cNvPr>
            <p:cNvSpPr/>
            <p:nvPr/>
          </p:nvSpPr>
          <p:spPr>
            <a:xfrm>
              <a:off x="960621" y="1379200"/>
              <a:ext cx="1142631" cy="1142631"/>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100" name="Picture 99">
              <a:extLst>
                <a:ext uri="{FF2B5EF4-FFF2-40B4-BE49-F238E27FC236}">
                  <a16:creationId xmlns:a16="http://schemas.microsoft.com/office/drawing/2014/main" id="{CA96B41F-06EA-4014-9407-BBF8138E31F1}"/>
                </a:ext>
              </a:extLst>
            </p:cNvPr>
            <p:cNvPicPr>
              <a:picLocks noChangeAspect="1"/>
            </p:cNvPicPr>
            <p:nvPr/>
          </p:nvPicPr>
          <p:blipFill>
            <a:blip r:embed="rId3"/>
            <a:stretch>
              <a:fillRect/>
            </a:stretch>
          </p:blipFill>
          <p:spPr>
            <a:xfrm>
              <a:off x="1134271" y="1629793"/>
              <a:ext cx="789202" cy="747111"/>
            </a:xfrm>
            <a:prstGeom prst="rect">
              <a:avLst/>
            </a:prstGeom>
          </p:spPr>
        </p:pic>
      </p:grpSp>
      <p:sp>
        <p:nvSpPr>
          <p:cNvPr id="28" name="TextBox 27">
            <a:extLst>
              <a:ext uri="{FF2B5EF4-FFF2-40B4-BE49-F238E27FC236}">
                <a16:creationId xmlns:a16="http://schemas.microsoft.com/office/drawing/2014/main" id="{DA31A7BA-D02A-9C40-8F97-1AC874F39778}"/>
              </a:ext>
            </a:extLst>
          </p:cNvPr>
          <p:cNvSpPr txBox="1"/>
          <p:nvPr/>
        </p:nvSpPr>
        <p:spPr>
          <a:xfrm>
            <a:off x="3262484" y="2552609"/>
            <a:ext cx="3230928" cy="666977"/>
          </a:xfrm>
          <a:prstGeom prst="rect">
            <a:avLst/>
          </a:prstGeom>
          <a:noFill/>
        </p:spPr>
        <p:txBody>
          <a:bodyPr wrap="square" rtlCol="0">
            <a:spAutoFit/>
          </a:bodyPr>
          <a:lstStyle/>
          <a:p>
            <a:pPr algn="ctr"/>
            <a:r>
              <a:rPr lang="en-US" sz="1867" dirty="0">
                <a:solidFill>
                  <a:schemeClr val="bg1"/>
                </a:solidFill>
                <a:latin typeface="CiscoSans ExtraLight" panose="020B0503020201020303" pitchFamily="34" charset="0"/>
              </a:rPr>
              <a:t>Endpoint visibility with </a:t>
            </a:r>
            <a:br>
              <a:rPr lang="en-US" sz="1867" dirty="0">
                <a:solidFill>
                  <a:schemeClr val="bg1"/>
                </a:solidFill>
                <a:latin typeface="CiscoSans ExtraLight" panose="020B0503020201020303" pitchFamily="34" charset="0"/>
              </a:rPr>
            </a:br>
            <a:r>
              <a:rPr lang="en-US" sz="1867" dirty="0">
                <a:solidFill>
                  <a:schemeClr val="accent2"/>
                </a:solidFill>
                <a:latin typeface="CiscoSans ExtraLight" panose="020B0503020201020303" pitchFamily="34" charset="0"/>
              </a:rPr>
              <a:t>AMP for Endpoints</a:t>
            </a:r>
            <a:endParaRPr lang="en-US" sz="1867" baseline="30000" dirty="0">
              <a:solidFill>
                <a:schemeClr val="accent2"/>
              </a:solidFill>
              <a:latin typeface="CiscoSans ExtraLight" panose="020B0503020201020303" pitchFamily="34" charset="0"/>
            </a:endParaRPr>
          </a:p>
        </p:txBody>
      </p:sp>
      <p:sp>
        <p:nvSpPr>
          <p:cNvPr id="171" name="Rectangle 170">
            <a:extLst>
              <a:ext uri="{FF2B5EF4-FFF2-40B4-BE49-F238E27FC236}">
                <a16:creationId xmlns:a16="http://schemas.microsoft.com/office/drawing/2014/main" id="{5DDA4EB7-113B-C942-A6BF-5BAB911ED402}"/>
              </a:ext>
            </a:extLst>
          </p:cNvPr>
          <p:cNvSpPr/>
          <p:nvPr/>
        </p:nvSpPr>
        <p:spPr>
          <a:xfrm>
            <a:off x="4052798" y="3570369"/>
            <a:ext cx="2181697" cy="543867"/>
          </a:xfrm>
          <a:prstGeom prst="rect">
            <a:avLst/>
          </a:prstGeom>
        </p:spPr>
        <p:txBody>
          <a:bodyPr wrap="square">
            <a:spAutoFit/>
          </a:bodyPr>
          <a:lstStyle/>
          <a:p>
            <a:pPr defTabSz="812760"/>
            <a:r>
              <a:rPr lang="en-US" sz="1467" dirty="0">
                <a:solidFill>
                  <a:schemeClr val="bg1"/>
                </a:solidFill>
                <a:latin typeface="CiscoSansTT ExtraLight"/>
              </a:rPr>
              <a:t>Map the entire attacker infrastructure</a:t>
            </a:r>
          </a:p>
        </p:txBody>
      </p:sp>
      <p:sp>
        <p:nvSpPr>
          <p:cNvPr id="172" name="Rectangle 171">
            <a:extLst>
              <a:ext uri="{FF2B5EF4-FFF2-40B4-BE49-F238E27FC236}">
                <a16:creationId xmlns:a16="http://schemas.microsoft.com/office/drawing/2014/main" id="{BB1A6C5F-8AB7-B644-B470-6679AB5F4BA9}"/>
              </a:ext>
            </a:extLst>
          </p:cNvPr>
          <p:cNvSpPr/>
          <p:nvPr/>
        </p:nvSpPr>
        <p:spPr>
          <a:xfrm>
            <a:off x="4118943" y="4595381"/>
            <a:ext cx="2544447" cy="769634"/>
          </a:xfrm>
          <a:prstGeom prst="rect">
            <a:avLst/>
          </a:prstGeom>
        </p:spPr>
        <p:txBody>
          <a:bodyPr wrap="square">
            <a:spAutoFit/>
          </a:bodyPr>
          <a:lstStyle/>
          <a:p>
            <a:pPr defTabSz="812760"/>
            <a:r>
              <a:rPr lang="en-US" sz="1467" dirty="0">
                <a:solidFill>
                  <a:schemeClr val="bg1"/>
                </a:solidFill>
                <a:latin typeface="CiscoSansTT ExtraLight"/>
              </a:rPr>
              <a:t>Leverage predictive intelligence to uncover future threats</a:t>
            </a:r>
          </a:p>
        </p:txBody>
      </p:sp>
      <p:sp>
        <p:nvSpPr>
          <p:cNvPr id="173" name="Rectangle 172">
            <a:extLst>
              <a:ext uri="{FF2B5EF4-FFF2-40B4-BE49-F238E27FC236}">
                <a16:creationId xmlns:a16="http://schemas.microsoft.com/office/drawing/2014/main" id="{D79DFF42-06AC-5C46-8F28-C937FF7BFF92}"/>
              </a:ext>
            </a:extLst>
          </p:cNvPr>
          <p:cNvSpPr/>
          <p:nvPr/>
        </p:nvSpPr>
        <p:spPr>
          <a:xfrm>
            <a:off x="4157813" y="5755662"/>
            <a:ext cx="2544447" cy="769634"/>
          </a:xfrm>
          <a:prstGeom prst="rect">
            <a:avLst/>
          </a:prstGeom>
        </p:spPr>
        <p:txBody>
          <a:bodyPr wrap="square">
            <a:spAutoFit/>
          </a:bodyPr>
          <a:lstStyle/>
          <a:p>
            <a:pPr defTabSz="812760"/>
            <a:r>
              <a:rPr lang="en-US" sz="1467" dirty="0">
                <a:solidFill>
                  <a:schemeClr val="bg1"/>
                </a:solidFill>
                <a:latin typeface="CiscoSansTT ExtraLight"/>
              </a:rPr>
              <a:t>Analyze the relationships between domains, IPs, networks, files</a:t>
            </a:r>
          </a:p>
        </p:txBody>
      </p:sp>
      <p:grpSp>
        <p:nvGrpSpPr>
          <p:cNvPr id="320" name="Group 319">
            <a:extLst>
              <a:ext uri="{FF2B5EF4-FFF2-40B4-BE49-F238E27FC236}">
                <a16:creationId xmlns:a16="http://schemas.microsoft.com/office/drawing/2014/main" id="{974B2A23-AB0D-A543-83A1-81EE87B0B6A5}"/>
              </a:ext>
            </a:extLst>
          </p:cNvPr>
          <p:cNvGrpSpPr/>
          <p:nvPr/>
        </p:nvGrpSpPr>
        <p:grpSpPr>
          <a:xfrm>
            <a:off x="3288449" y="3538747"/>
            <a:ext cx="594978" cy="587169"/>
            <a:chOff x="3583410" y="3471476"/>
            <a:chExt cx="600989" cy="600989"/>
          </a:xfrm>
        </p:grpSpPr>
        <p:sp>
          <p:nvSpPr>
            <p:cNvPr id="321" name="Oval 320">
              <a:extLst>
                <a:ext uri="{FF2B5EF4-FFF2-40B4-BE49-F238E27FC236}">
                  <a16:creationId xmlns:a16="http://schemas.microsoft.com/office/drawing/2014/main" id="{D622C21C-19B1-7044-A17B-B0B14AB30A7E}"/>
                </a:ext>
              </a:extLst>
            </p:cNvPr>
            <p:cNvSpPr/>
            <p:nvPr/>
          </p:nvSpPr>
          <p:spPr>
            <a:xfrm>
              <a:off x="3583410" y="3471476"/>
              <a:ext cx="600989" cy="60098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22" name="Freeform 594">
              <a:extLst>
                <a:ext uri="{FF2B5EF4-FFF2-40B4-BE49-F238E27FC236}">
                  <a16:creationId xmlns:a16="http://schemas.microsoft.com/office/drawing/2014/main" id="{97B75AE8-9F40-D545-A891-392AA47750B9}"/>
                </a:ext>
              </a:extLst>
            </p:cNvPr>
            <p:cNvSpPr>
              <a:spLocks noChangeAspect="1" noEditPoints="1"/>
            </p:cNvSpPr>
            <p:nvPr/>
          </p:nvSpPr>
          <p:spPr bwMode="auto">
            <a:xfrm>
              <a:off x="3673440" y="3565060"/>
              <a:ext cx="425983" cy="424480"/>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1"/>
            </a:solid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p>
          </p:txBody>
        </p:sp>
      </p:grpSp>
      <p:pic>
        <p:nvPicPr>
          <p:cNvPr id="324" name="Picture 323">
            <a:extLst>
              <a:ext uri="{FF2B5EF4-FFF2-40B4-BE49-F238E27FC236}">
                <a16:creationId xmlns:a16="http://schemas.microsoft.com/office/drawing/2014/main" id="{707ED8FB-7DA6-1B41-A3F0-E12583B2E79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9732" y="4583519"/>
            <a:ext cx="636703" cy="636703"/>
          </a:xfrm>
          <a:prstGeom prst="rect">
            <a:avLst/>
          </a:prstGeom>
        </p:spPr>
      </p:pic>
      <p:pic>
        <p:nvPicPr>
          <p:cNvPr id="101" name="Picture 100" descr="A close up of a sign&#10;&#10;Description automatically generated">
            <a:extLst>
              <a:ext uri="{FF2B5EF4-FFF2-40B4-BE49-F238E27FC236}">
                <a16:creationId xmlns:a16="http://schemas.microsoft.com/office/drawing/2014/main" id="{7A892954-A47A-480B-B62B-2383210B3004}"/>
              </a:ext>
            </a:extLst>
          </p:cNvPr>
          <p:cNvPicPr>
            <a:picLocks noChangeAspect="1"/>
          </p:cNvPicPr>
          <p:nvPr/>
        </p:nvPicPr>
        <p:blipFill>
          <a:blip r:embed="rId5"/>
          <a:stretch>
            <a:fillRect/>
          </a:stretch>
        </p:blipFill>
        <p:spPr>
          <a:xfrm>
            <a:off x="4047590" y="1605481"/>
            <a:ext cx="1508938" cy="850035"/>
          </a:xfrm>
          <a:prstGeom prst="rect">
            <a:avLst/>
          </a:prstGeom>
        </p:spPr>
      </p:pic>
      <p:sp>
        <p:nvSpPr>
          <p:cNvPr id="234" name="TextBox 233">
            <a:extLst>
              <a:ext uri="{FF2B5EF4-FFF2-40B4-BE49-F238E27FC236}">
                <a16:creationId xmlns:a16="http://schemas.microsoft.com/office/drawing/2014/main" id="{C455C718-A36E-7E4C-8703-967137CD81E7}"/>
              </a:ext>
            </a:extLst>
          </p:cNvPr>
          <p:cNvSpPr txBox="1"/>
          <p:nvPr/>
        </p:nvSpPr>
        <p:spPr>
          <a:xfrm>
            <a:off x="9137776" y="2552608"/>
            <a:ext cx="3033392" cy="666977"/>
          </a:xfrm>
          <a:prstGeom prst="rect">
            <a:avLst/>
          </a:prstGeom>
          <a:noFill/>
        </p:spPr>
        <p:txBody>
          <a:bodyPr wrap="square" rtlCol="0">
            <a:spAutoFit/>
          </a:bodyPr>
          <a:lstStyle/>
          <a:p>
            <a:pPr algn="ctr"/>
            <a:r>
              <a:rPr lang="en-US" sz="1867" dirty="0">
                <a:solidFill>
                  <a:schemeClr val="bg1"/>
                </a:solidFill>
                <a:latin typeface="CiscoSans ExtraLight" panose="020B0503020201020303" pitchFamily="34" charset="0"/>
              </a:rPr>
              <a:t>Internet-wide visibility with </a:t>
            </a:r>
            <a:br>
              <a:rPr lang="en-US" sz="1867" dirty="0">
                <a:solidFill>
                  <a:schemeClr val="bg1"/>
                </a:solidFill>
                <a:latin typeface="CiscoSans ExtraLight" panose="020B0503020201020303" pitchFamily="34" charset="0"/>
              </a:rPr>
            </a:br>
            <a:r>
              <a:rPr lang="en-US" sz="1867" dirty="0">
                <a:solidFill>
                  <a:schemeClr val="accent2"/>
                </a:solidFill>
                <a:latin typeface="CiscoSans ExtraLight" panose="020B0503020201020303" pitchFamily="34" charset="0"/>
              </a:rPr>
              <a:t>Cisco Umbrella</a:t>
            </a:r>
          </a:p>
        </p:txBody>
      </p:sp>
      <p:sp>
        <p:nvSpPr>
          <p:cNvPr id="258" name="Rectangle 257">
            <a:extLst>
              <a:ext uri="{FF2B5EF4-FFF2-40B4-BE49-F238E27FC236}">
                <a16:creationId xmlns:a16="http://schemas.microsoft.com/office/drawing/2014/main" id="{9444FBC3-5CCF-2946-A652-964C78F64E5F}"/>
              </a:ext>
            </a:extLst>
          </p:cNvPr>
          <p:cNvSpPr/>
          <p:nvPr/>
        </p:nvSpPr>
        <p:spPr>
          <a:xfrm>
            <a:off x="9965534" y="5701513"/>
            <a:ext cx="2290724" cy="769634"/>
          </a:xfrm>
          <a:prstGeom prst="rect">
            <a:avLst/>
          </a:prstGeom>
        </p:spPr>
        <p:txBody>
          <a:bodyPr wrap="square">
            <a:spAutoFit/>
          </a:bodyPr>
          <a:lstStyle/>
          <a:p>
            <a:pPr defTabSz="812760"/>
            <a:r>
              <a:rPr lang="en-US" sz="1467" dirty="0">
                <a:solidFill>
                  <a:schemeClr val="bg1"/>
                </a:solidFill>
                <a:latin typeface="CiscoSansTT ExtraLight"/>
              </a:rPr>
              <a:t>Apply dynamic analysis and sandboxing to detect malicious files</a:t>
            </a:r>
          </a:p>
        </p:txBody>
      </p:sp>
      <p:sp>
        <p:nvSpPr>
          <p:cNvPr id="270" name="Rectangle 269">
            <a:extLst>
              <a:ext uri="{FF2B5EF4-FFF2-40B4-BE49-F238E27FC236}">
                <a16:creationId xmlns:a16="http://schemas.microsoft.com/office/drawing/2014/main" id="{5632DA42-A76B-8048-931D-35C12D8A27A3}"/>
              </a:ext>
            </a:extLst>
          </p:cNvPr>
          <p:cNvSpPr/>
          <p:nvPr/>
        </p:nvSpPr>
        <p:spPr>
          <a:xfrm>
            <a:off x="10020488" y="4563849"/>
            <a:ext cx="2076304" cy="543867"/>
          </a:xfrm>
          <a:prstGeom prst="rect">
            <a:avLst/>
          </a:prstGeom>
        </p:spPr>
        <p:txBody>
          <a:bodyPr wrap="square">
            <a:spAutoFit/>
          </a:bodyPr>
          <a:lstStyle/>
          <a:p>
            <a:pPr defTabSz="812760"/>
            <a:r>
              <a:rPr lang="en-US" sz="1467" dirty="0">
                <a:solidFill>
                  <a:schemeClr val="bg1"/>
                </a:solidFill>
                <a:latin typeface="CiscoSansTT ExtraLight"/>
              </a:rPr>
              <a:t>Monitor process </a:t>
            </a:r>
            <a:br>
              <a:rPr lang="en-US" sz="1467" dirty="0">
                <a:solidFill>
                  <a:schemeClr val="bg1"/>
                </a:solidFill>
                <a:latin typeface="CiscoSansTT ExtraLight"/>
              </a:rPr>
            </a:br>
            <a:r>
              <a:rPr lang="en-US" sz="1467" dirty="0">
                <a:solidFill>
                  <a:schemeClr val="bg1"/>
                </a:solidFill>
                <a:latin typeface="CiscoSansTT ExtraLight"/>
              </a:rPr>
              <a:t>and system behavior</a:t>
            </a:r>
          </a:p>
        </p:txBody>
      </p:sp>
      <p:grpSp>
        <p:nvGrpSpPr>
          <p:cNvPr id="271" name="Group 270">
            <a:extLst>
              <a:ext uri="{FF2B5EF4-FFF2-40B4-BE49-F238E27FC236}">
                <a16:creationId xmlns:a16="http://schemas.microsoft.com/office/drawing/2014/main" id="{6552866A-101F-CA41-9E14-9D3EEE1B2864}"/>
              </a:ext>
            </a:extLst>
          </p:cNvPr>
          <p:cNvGrpSpPr>
            <a:grpSpLocks noChangeAspect="1"/>
          </p:cNvGrpSpPr>
          <p:nvPr/>
        </p:nvGrpSpPr>
        <p:grpSpPr>
          <a:xfrm>
            <a:off x="9211147" y="4536397"/>
            <a:ext cx="623970" cy="622181"/>
            <a:chOff x="3641520" y="1555996"/>
            <a:chExt cx="1866584" cy="1861234"/>
          </a:xfrm>
        </p:grpSpPr>
        <p:sp>
          <p:nvSpPr>
            <p:cNvPr id="272" name="Oval 43">
              <a:extLst>
                <a:ext uri="{FF2B5EF4-FFF2-40B4-BE49-F238E27FC236}">
                  <a16:creationId xmlns:a16="http://schemas.microsoft.com/office/drawing/2014/main" id="{057E5510-92BB-E142-9A96-064811843B82}"/>
                </a:ext>
              </a:extLst>
            </p:cNvPr>
            <p:cNvSpPr>
              <a:spLocks noChangeArrowheads="1"/>
            </p:cNvSpPr>
            <p:nvPr/>
          </p:nvSpPr>
          <p:spPr bwMode="auto">
            <a:xfrm>
              <a:off x="3641520" y="1555996"/>
              <a:ext cx="1866584" cy="1861234"/>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73" name="Freeform 44">
              <a:extLst>
                <a:ext uri="{FF2B5EF4-FFF2-40B4-BE49-F238E27FC236}">
                  <a16:creationId xmlns:a16="http://schemas.microsoft.com/office/drawing/2014/main" id="{7D1B44F3-83AF-3A4D-B006-FC775E5AE2D1}"/>
                </a:ext>
              </a:extLst>
            </p:cNvPr>
            <p:cNvSpPr>
              <a:spLocks/>
            </p:cNvSpPr>
            <p:nvPr/>
          </p:nvSpPr>
          <p:spPr bwMode="auto">
            <a:xfrm>
              <a:off x="3866152" y="1739178"/>
              <a:ext cx="1636604" cy="1678052"/>
            </a:xfrm>
            <a:custGeom>
              <a:avLst/>
              <a:gdLst>
                <a:gd name="T0" fmla="*/ 517 w 517"/>
                <a:gd name="T1" fmla="*/ 237 h 531"/>
                <a:gd name="T2" fmla="*/ 517 w 517"/>
                <a:gd name="T3" fmla="*/ 237 h 531"/>
                <a:gd name="T4" fmla="*/ 222 w 517"/>
                <a:gd name="T5" fmla="*/ 0 h 531"/>
                <a:gd name="T6" fmla="*/ 0 w 517"/>
                <a:gd name="T7" fmla="*/ 387 h 531"/>
                <a:gd name="T8" fmla="*/ 215 w 517"/>
                <a:gd name="T9" fmla="*/ 531 h 531"/>
                <a:gd name="T10" fmla="*/ 222 w 517"/>
                <a:gd name="T11" fmla="*/ 531 h 531"/>
                <a:gd name="T12" fmla="*/ 517 w 517"/>
                <a:gd name="T13" fmla="*/ 237 h 531"/>
              </a:gdLst>
              <a:ahLst/>
              <a:cxnLst>
                <a:cxn ang="0">
                  <a:pos x="T0" y="T1"/>
                </a:cxn>
                <a:cxn ang="0">
                  <a:pos x="T2" y="T3"/>
                </a:cxn>
                <a:cxn ang="0">
                  <a:pos x="T4" y="T5"/>
                </a:cxn>
                <a:cxn ang="0">
                  <a:pos x="T6" y="T7"/>
                </a:cxn>
                <a:cxn ang="0">
                  <a:pos x="T8" y="T9"/>
                </a:cxn>
                <a:cxn ang="0">
                  <a:pos x="T10" y="T11"/>
                </a:cxn>
                <a:cxn ang="0">
                  <a:pos x="T12" y="T13"/>
                </a:cxn>
              </a:cxnLst>
              <a:rect l="0" t="0" r="r" b="b"/>
              <a:pathLst>
                <a:path w="517" h="531">
                  <a:moveTo>
                    <a:pt x="517" y="237"/>
                  </a:moveTo>
                  <a:cubicBezTo>
                    <a:pt x="517" y="237"/>
                    <a:pt x="517" y="237"/>
                    <a:pt x="517" y="237"/>
                  </a:cubicBezTo>
                  <a:cubicBezTo>
                    <a:pt x="222" y="0"/>
                    <a:pt x="222" y="0"/>
                    <a:pt x="222" y="0"/>
                  </a:cubicBezTo>
                  <a:cubicBezTo>
                    <a:pt x="0" y="387"/>
                    <a:pt x="0" y="387"/>
                    <a:pt x="0" y="387"/>
                  </a:cubicBezTo>
                  <a:cubicBezTo>
                    <a:pt x="215" y="531"/>
                    <a:pt x="215" y="531"/>
                    <a:pt x="215" y="531"/>
                  </a:cubicBezTo>
                  <a:cubicBezTo>
                    <a:pt x="218" y="531"/>
                    <a:pt x="220" y="531"/>
                    <a:pt x="222" y="531"/>
                  </a:cubicBezTo>
                  <a:cubicBezTo>
                    <a:pt x="385" y="531"/>
                    <a:pt x="517" y="399"/>
                    <a:pt x="517" y="237"/>
                  </a:cubicBezTo>
                  <a:close/>
                </a:path>
              </a:pathLst>
            </a:custGeom>
            <a:solidFill>
              <a:srgbClr val="063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74" name="Freeform 45">
              <a:extLst>
                <a:ext uri="{FF2B5EF4-FFF2-40B4-BE49-F238E27FC236}">
                  <a16:creationId xmlns:a16="http://schemas.microsoft.com/office/drawing/2014/main" id="{AB3C284E-8FED-4B44-BB41-54784DBB3CDC}"/>
                </a:ext>
              </a:extLst>
            </p:cNvPr>
            <p:cNvSpPr>
              <a:spLocks/>
            </p:cNvSpPr>
            <p:nvPr/>
          </p:nvSpPr>
          <p:spPr bwMode="auto">
            <a:xfrm>
              <a:off x="3859466" y="1735167"/>
              <a:ext cx="1421332" cy="1227452"/>
            </a:xfrm>
            <a:custGeom>
              <a:avLst/>
              <a:gdLst>
                <a:gd name="T0" fmla="*/ 218 w 449"/>
                <a:gd name="T1" fmla="*/ 5 h 388"/>
                <a:gd name="T2" fmla="*/ 3 w 449"/>
                <a:gd name="T3" fmla="*/ 376 h 388"/>
                <a:gd name="T4" fmla="*/ 10 w 449"/>
                <a:gd name="T5" fmla="*/ 388 h 388"/>
                <a:gd name="T6" fmla="*/ 439 w 449"/>
                <a:gd name="T7" fmla="*/ 388 h 388"/>
                <a:gd name="T8" fmla="*/ 446 w 449"/>
                <a:gd name="T9" fmla="*/ 376 h 388"/>
                <a:gd name="T10" fmla="*/ 231 w 449"/>
                <a:gd name="T11" fmla="*/ 5 h 388"/>
                <a:gd name="T12" fmla="*/ 218 w 449"/>
                <a:gd name="T13" fmla="*/ 5 h 388"/>
              </a:gdLst>
              <a:ahLst/>
              <a:cxnLst>
                <a:cxn ang="0">
                  <a:pos x="T0" y="T1"/>
                </a:cxn>
                <a:cxn ang="0">
                  <a:pos x="T2" y="T3"/>
                </a:cxn>
                <a:cxn ang="0">
                  <a:pos x="T4" y="T5"/>
                </a:cxn>
                <a:cxn ang="0">
                  <a:pos x="T6" y="T7"/>
                </a:cxn>
                <a:cxn ang="0">
                  <a:pos x="T8" y="T9"/>
                </a:cxn>
                <a:cxn ang="0">
                  <a:pos x="T10" y="T11"/>
                </a:cxn>
                <a:cxn ang="0">
                  <a:pos x="T12" y="T13"/>
                </a:cxn>
              </a:cxnLst>
              <a:rect l="0" t="0" r="r" b="b"/>
              <a:pathLst>
                <a:path w="449" h="388">
                  <a:moveTo>
                    <a:pt x="218" y="5"/>
                  </a:moveTo>
                  <a:cubicBezTo>
                    <a:pt x="3" y="376"/>
                    <a:pt x="3" y="376"/>
                    <a:pt x="3" y="376"/>
                  </a:cubicBezTo>
                  <a:cubicBezTo>
                    <a:pt x="0" y="381"/>
                    <a:pt x="4" y="388"/>
                    <a:pt x="10" y="388"/>
                  </a:cubicBezTo>
                  <a:cubicBezTo>
                    <a:pt x="439" y="388"/>
                    <a:pt x="439" y="388"/>
                    <a:pt x="439" y="388"/>
                  </a:cubicBezTo>
                  <a:cubicBezTo>
                    <a:pt x="445" y="388"/>
                    <a:pt x="449" y="381"/>
                    <a:pt x="446" y="376"/>
                  </a:cubicBezTo>
                  <a:cubicBezTo>
                    <a:pt x="231" y="5"/>
                    <a:pt x="231" y="5"/>
                    <a:pt x="231" y="5"/>
                  </a:cubicBezTo>
                  <a:cubicBezTo>
                    <a:pt x="228" y="0"/>
                    <a:pt x="221" y="0"/>
                    <a:pt x="218" y="5"/>
                  </a:cubicBezTo>
                  <a:close/>
                </a:path>
              </a:pathLst>
            </a:custGeom>
            <a:solidFill>
              <a:srgbClr val="FAAC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75" name="Oval 47">
              <a:extLst>
                <a:ext uri="{FF2B5EF4-FFF2-40B4-BE49-F238E27FC236}">
                  <a16:creationId xmlns:a16="http://schemas.microsoft.com/office/drawing/2014/main" id="{B79C3F43-5261-4543-9DB1-816914346416}"/>
                </a:ext>
              </a:extLst>
            </p:cNvPr>
            <p:cNvSpPr>
              <a:spLocks noChangeArrowheads="1"/>
            </p:cNvSpPr>
            <p:nvPr/>
          </p:nvSpPr>
          <p:spPr bwMode="auto">
            <a:xfrm>
              <a:off x="4270691" y="2210574"/>
              <a:ext cx="608240" cy="6082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276" name="Freeform 46">
              <a:extLst>
                <a:ext uri="{FF2B5EF4-FFF2-40B4-BE49-F238E27FC236}">
                  <a16:creationId xmlns:a16="http://schemas.microsoft.com/office/drawing/2014/main" id="{FD1CF0C2-435E-814F-90C0-3F907C0FD6CE}"/>
                </a:ext>
              </a:extLst>
            </p:cNvPr>
            <p:cNvSpPr>
              <a:spLocks noEditPoints="1"/>
            </p:cNvSpPr>
            <p:nvPr/>
          </p:nvSpPr>
          <p:spPr bwMode="auto">
            <a:xfrm>
              <a:off x="4239201" y="2181756"/>
              <a:ext cx="671221" cy="665873"/>
            </a:xfrm>
            <a:custGeom>
              <a:avLst/>
              <a:gdLst>
                <a:gd name="T0" fmla="*/ 0 w 212"/>
                <a:gd name="T1" fmla="*/ 106 h 211"/>
                <a:gd name="T2" fmla="*/ 106 w 212"/>
                <a:gd name="T3" fmla="*/ 0 h 211"/>
                <a:gd name="T4" fmla="*/ 212 w 212"/>
                <a:gd name="T5" fmla="*/ 106 h 211"/>
                <a:gd name="T6" fmla="*/ 106 w 212"/>
                <a:gd name="T7" fmla="*/ 211 h 211"/>
                <a:gd name="T8" fmla="*/ 0 w 212"/>
                <a:gd name="T9" fmla="*/ 106 h 211"/>
                <a:gd name="T10" fmla="*/ 20 w 212"/>
                <a:gd name="T11" fmla="*/ 106 h 211"/>
                <a:gd name="T12" fmla="*/ 106 w 212"/>
                <a:gd name="T13" fmla="*/ 192 h 211"/>
                <a:gd name="T14" fmla="*/ 192 w 212"/>
                <a:gd name="T15" fmla="*/ 106 h 211"/>
                <a:gd name="T16" fmla="*/ 106 w 212"/>
                <a:gd name="T17" fmla="*/ 19 h 211"/>
                <a:gd name="T18" fmla="*/ 20 w 212"/>
                <a:gd name="T1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1">
                  <a:moveTo>
                    <a:pt x="0" y="106"/>
                  </a:moveTo>
                  <a:cubicBezTo>
                    <a:pt x="0" y="47"/>
                    <a:pt x="48" y="0"/>
                    <a:pt x="106" y="0"/>
                  </a:cubicBezTo>
                  <a:cubicBezTo>
                    <a:pt x="165" y="0"/>
                    <a:pt x="212" y="47"/>
                    <a:pt x="212" y="106"/>
                  </a:cubicBezTo>
                  <a:cubicBezTo>
                    <a:pt x="212" y="164"/>
                    <a:pt x="165" y="211"/>
                    <a:pt x="106" y="211"/>
                  </a:cubicBezTo>
                  <a:cubicBezTo>
                    <a:pt x="48" y="211"/>
                    <a:pt x="0" y="164"/>
                    <a:pt x="0" y="106"/>
                  </a:cubicBezTo>
                  <a:close/>
                  <a:moveTo>
                    <a:pt x="20" y="106"/>
                  </a:moveTo>
                  <a:cubicBezTo>
                    <a:pt x="20" y="153"/>
                    <a:pt x="59" y="192"/>
                    <a:pt x="106" y="192"/>
                  </a:cubicBezTo>
                  <a:cubicBezTo>
                    <a:pt x="154" y="192"/>
                    <a:pt x="192" y="153"/>
                    <a:pt x="192" y="106"/>
                  </a:cubicBezTo>
                  <a:cubicBezTo>
                    <a:pt x="192" y="58"/>
                    <a:pt x="154" y="19"/>
                    <a:pt x="106" y="19"/>
                  </a:cubicBezTo>
                  <a:cubicBezTo>
                    <a:pt x="59" y="19"/>
                    <a:pt x="20" y="58"/>
                    <a:pt x="20" y="106"/>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endParaRPr lang="en-US" sz="2400" dirty="0"/>
            </a:p>
          </p:txBody>
        </p:sp>
        <p:sp>
          <p:nvSpPr>
            <p:cNvPr id="277" name="Freeform 48">
              <a:extLst>
                <a:ext uri="{FF2B5EF4-FFF2-40B4-BE49-F238E27FC236}">
                  <a16:creationId xmlns:a16="http://schemas.microsoft.com/office/drawing/2014/main" id="{A8405917-B8A2-BD4D-A938-1B88B8591BE1}"/>
                </a:ext>
              </a:extLst>
            </p:cNvPr>
            <p:cNvSpPr>
              <a:spLocks/>
            </p:cNvSpPr>
            <p:nvPr/>
          </p:nvSpPr>
          <p:spPr bwMode="auto">
            <a:xfrm>
              <a:off x="4538210" y="2307660"/>
              <a:ext cx="63844" cy="305541"/>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E3241B"/>
            </a:solidFill>
            <a:ln>
              <a:noFill/>
            </a:ln>
          </p:spPr>
          <p:txBody>
            <a:bodyPr vert="horz" wrap="square" lIns="121920" tIns="60960" rIns="121920" bIns="60960" numCol="1" anchor="t" anchorCtr="0" compatLnSpc="1">
              <a:prstTxWarp prst="textNoShape">
                <a:avLst/>
              </a:prstTxWarp>
            </a:bodyPr>
            <a:lstStyle/>
            <a:p>
              <a:endParaRPr lang="en-US" sz="2400" dirty="0"/>
            </a:p>
          </p:txBody>
        </p:sp>
        <p:sp>
          <p:nvSpPr>
            <p:cNvPr id="278" name="Oval 49">
              <a:extLst>
                <a:ext uri="{FF2B5EF4-FFF2-40B4-BE49-F238E27FC236}">
                  <a16:creationId xmlns:a16="http://schemas.microsoft.com/office/drawing/2014/main" id="{6B4235F2-7DBF-004C-9DBB-BF523CD38D6A}"/>
                </a:ext>
              </a:extLst>
            </p:cNvPr>
            <p:cNvSpPr>
              <a:spLocks noChangeArrowheads="1"/>
            </p:cNvSpPr>
            <p:nvPr/>
          </p:nvSpPr>
          <p:spPr bwMode="auto">
            <a:xfrm>
              <a:off x="4535199" y="2633285"/>
              <a:ext cx="66855" cy="65518"/>
            </a:xfrm>
            <a:prstGeom prst="ellipse">
              <a:avLst/>
            </a:prstGeom>
            <a:solidFill>
              <a:srgbClr val="E3241B"/>
            </a:solidFill>
            <a:ln>
              <a:noFill/>
            </a:ln>
          </p:spPr>
          <p:txBody>
            <a:bodyPr vert="horz" wrap="square" lIns="121920" tIns="60960" rIns="121920" bIns="60960" numCol="1" anchor="t" anchorCtr="0" compatLnSpc="1">
              <a:prstTxWarp prst="textNoShape">
                <a:avLst/>
              </a:prstTxWarp>
            </a:bodyPr>
            <a:lstStyle/>
            <a:p>
              <a:endParaRPr lang="en-US" sz="2400" dirty="0"/>
            </a:p>
          </p:txBody>
        </p:sp>
      </p:grpSp>
      <p:pic>
        <p:nvPicPr>
          <p:cNvPr id="280" name="Picture 279">
            <a:extLst>
              <a:ext uri="{FF2B5EF4-FFF2-40B4-BE49-F238E27FC236}">
                <a16:creationId xmlns:a16="http://schemas.microsoft.com/office/drawing/2014/main" id="{7BB99502-B937-5D4C-9F5E-5CB41B6769C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235279" y="5740967"/>
            <a:ext cx="590291" cy="590291"/>
          </a:xfrm>
          <a:prstGeom prst="rect">
            <a:avLst/>
          </a:prstGeom>
        </p:spPr>
      </p:pic>
      <p:pic>
        <p:nvPicPr>
          <p:cNvPr id="151" name="Picture 150">
            <a:extLst>
              <a:ext uri="{FF2B5EF4-FFF2-40B4-BE49-F238E27FC236}">
                <a16:creationId xmlns:a16="http://schemas.microsoft.com/office/drawing/2014/main" id="{29C3B8A6-ACC0-F84C-94BD-AD5B016E47D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220643" y="3538747"/>
            <a:ext cx="616548" cy="622406"/>
          </a:xfrm>
          <a:prstGeom prst="rect">
            <a:avLst/>
          </a:prstGeom>
        </p:spPr>
      </p:pic>
      <p:sp>
        <p:nvSpPr>
          <p:cNvPr id="153" name="Rectangle 152">
            <a:extLst>
              <a:ext uri="{FF2B5EF4-FFF2-40B4-BE49-F238E27FC236}">
                <a16:creationId xmlns:a16="http://schemas.microsoft.com/office/drawing/2014/main" id="{2111828F-DD60-9246-B26A-E265F41140ED}"/>
              </a:ext>
            </a:extLst>
          </p:cNvPr>
          <p:cNvSpPr/>
          <p:nvPr/>
        </p:nvSpPr>
        <p:spPr>
          <a:xfrm>
            <a:off x="10012449" y="3570370"/>
            <a:ext cx="1902167" cy="769634"/>
          </a:xfrm>
          <a:prstGeom prst="rect">
            <a:avLst/>
          </a:prstGeom>
        </p:spPr>
        <p:txBody>
          <a:bodyPr wrap="square">
            <a:spAutoFit/>
          </a:bodyPr>
          <a:lstStyle/>
          <a:p>
            <a:pPr defTabSz="812760"/>
            <a:r>
              <a:rPr lang="en-US" sz="1467" dirty="0">
                <a:solidFill>
                  <a:schemeClr val="bg1"/>
                </a:solidFill>
                <a:latin typeface="CiscoSansTT ExtraLight"/>
              </a:rPr>
              <a:t>Detect threats across all operating systems</a:t>
            </a:r>
          </a:p>
        </p:txBody>
      </p:sp>
      <p:pic>
        <p:nvPicPr>
          <p:cNvPr id="103" name="Picture 102">
            <a:extLst>
              <a:ext uri="{FF2B5EF4-FFF2-40B4-BE49-F238E27FC236}">
                <a16:creationId xmlns:a16="http://schemas.microsoft.com/office/drawing/2014/main" id="{D46A9C41-15D7-43BB-BF78-DA7CD0EE894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088905" y="1573640"/>
            <a:ext cx="911405" cy="902663"/>
          </a:xfrm>
          <a:prstGeom prst="rect">
            <a:avLst/>
          </a:prstGeom>
        </p:spPr>
      </p:pic>
      <p:pic>
        <p:nvPicPr>
          <p:cNvPr id="106" name="Picture 105">
            <a:extLst>
              <a:ext uri="{FF2B5EF4-FFF2-40B4-BE49-F238E27FC236}">
                <a16:creationId xmlns:a16="http://schemas.microsoft.com/office/drawing/2014/main" id="{68715656-06F8-4F4A-85F4-7AD58557A9D4}"/>
              </a:ext>
            </a:extLst>
          </p:cNvPr>
          <p:cNvPicPr>
            <a:picLocks noChangeAspect="1"/>
          </p:cNvPicPr>
          <p:nvPr/>
        </p:nvPicPr>
        <p:blipFill>
          <a:blip r:embed="rId9"/>
          <a:stretch>
            <a:fillRect/>
          </a:stretch>
        </p:blipFill>
        <p:spPr>
          <a:xfrm>
            <a:off x="7420742" y="1613328"/>
            <a:ext cx="862975" cy="862975"/>
          </a:xfrm>
          <a:prstGeom prst="rect">
            <a:avLst/>
          </a:prstGeom>
        </p:spPr>
      </p:pic>
      <p:sp>
        <p:nvSpPr>
          <p:cNvPr id="107" name="TextBox 106">
            <a:extLst>
              <a:ext uri="{FF2B5EF4-FFF2-40B4-BE49-F238E27FC236}">
                <a16:creationId xmlns:a16="http://schemas.microsoft.com/office/drawing/2014/main" id="{7C00FAA0-E309-444D-AE81-51393DECF1C9}"/>
              </a:ext>
            </a:extLst>
          </p:cNvPr>
          <p:cNvSpPr txBox="1"/>
          <p:nvPr/>
        </p:nvSpPr>
        <p:spPr>
          <a:xfrm>
            <a:off x="6395513" y="2552608"/>
            <a:ext cx="2831759" cy="666977"/>
          </a:xfrm>
          <a:prstGeom prst="rect">
            <a:avLst/>
          </a:prstGeom>
          <a:noFill/>
        </p:spPr>
        <p:txBody>
          <a:bodyPr wrap="square" rtlCol="0">
            <a:spAutoFit/>
          </a:bodyPr>
          <a:lstStyle/>
          <a:p>
            <a:pPr algn="ctr"/>
            <a:r>
              <a:rPr lang="en-US" sz="1867" dirty="0">
                <a:solidFill>
                  <a:schemeClr val="bg1"/>
                </a:solidFill>
                <a:latin typeface="CiscoSans ExtraLight" panose="020B0503020201020303" pitchFamily="34" charset="0"/>
              </a:rPr>
              <a:t>Threat Intelligence with </a:t>
            </a:r>
          </a:p>
          <a:p>
            <a:pPr algn="ctr"/>
            <a:r>
              <a:rPr lang="en-US" sz="1867" dirty="0">
                <a:solidFill>
                  <a:schemeClr val="accent2"/>
                </a:solidFill>
                <a:latin typeface="CiscoSans ExtraLight" panose="020B0503020201020303" pitchFamily="34" charset="0"/>
              </a:rPr>
              <a:t>Threat Grid</a:t>
            </a:r>
            <a:endParaRPr lang="en-US" sz="1867" baseline="30000" dirty="0">
              <a:solidFill>
                <a:schemeClr val="accent2"/>
              </a:solidFill>
              <a:latin typeface="CiscoSans ExtraLight" panose="020B0503020201020303" pitchFamily="34" charset="0"/>
            </a:endParaRPr>
          </a:p>
        </p:txBody>
      </p:sp>
      <p:sp>
        <p:nvSpPr>
          <p:cNvPr id="108" name="Rectangle 107">
            <a:extLst>
              <a:ext uri="{FF2B5EF4-FFF2-40B4-BE49-F238E27FC236}">
                <a16:creationId xmlns:a16="http://schemas.microsoft.com/office/drawing/2014/main" id="{788A85CA-C8D3-4C2E-BB61-72AA298B0F64}"/>
              </a:ext>
            </a:extLst>
          </p:cNvPr>
          <p:cNvSpPr/>
          <p:nvPr/>
        </p:nvSpPr>
        <p:spPr>
          <a:xfrm>
            <a:off x="7204136" y="3570369"/>
            <a:ext cx="2296667" cy="769634"/>
          </a:xfrm>
          <a:prstGeom prst="rect">
            <a:avLst/>
          </a:prstGeom>
        </p:spPr>
        <p:txBody>
          <a:bodyPr wrap="square">
            <a:spAutoFit/>
          </a:bodyPr>
          <a:lstStyle/>
          <a:p>
            <a:pPr defTabSz="812760"/>
            <a:r>
              <a:rPr lang="en-US" sz="1467" dirty="0">
                <a:solidFill>
                  <a:schemeClr val="bg1"/>
                </a:solidFill>
                <a:latin typeface="CiscoSansTT ExtraLight"/>
              </a:rPr>
              <a:t>Correlate against samples of malware artifacts </a:t>
            </a:r>
          </a:p>
        </p:txBody>
      </p:sp>
      <p:sp>
        <p:nvSpPr>
          <p:cNvPr id="109" name="Rectangle 108">
            <a:extLst>
              <a:ext uri="{FF2B5EF4-FFF2-40B4-BE49-F238E27FC236}">
                <a16:creationId xmlns:a16="http://schemas.microsoft.com/office/drawing/2014/main" id="{3EEA8D34-1CB5-4A77-97A5-122159E5F814}"/>
              </a:ext>
            </a:extLst>
          </p:cNvPr>
          <p:cNvSpPr/>
          <p:nvPr/>
        </p:nvSpPr>
        <p:spPr>
          <a:xfrm>
            <a:off x="7204137" y="4629377"/>
            <a:ext cx="2678532" cy="543867"/>
          </a:xfrm>
          <a:prstGeom prst="rect">
            <a:avLst/>
          </a:prstGeom>
        </p:spPr>
        <p:txBody>
          <a:bodyPr wrap="square">
            <a:spAutoFit/>
          </a:bodyPr>
          <a:lstStyle/>
          <a:p>
            <a:pPr defTabSz="812760"/>
            <a:r>
              <a:rPr lang="en-US" sz="1467" dirty="0">
                <a:solidFill>
                  <a:schemeClr val="bg1"/>
                </a:solidFill>
                <a:latin typeface="CiscoSansTT ExtraLight"/>
              </a:rPr>
              <a:t>Prioritize malware </a:t>
            </a:r>
            <a:br>
              <a:rPr lang="en-US" sz="1467" dirty="0">
                <a:solidFill>
                  <a:schemeClr val="bg1"/>
                </a:solidFill>
                <a:latin typeface="CiscoSansTT ExtraLight"/>
              </a:rPr>
            </a:br>
            <a:r>
              <a:rPr lang="en-US" sz="1467" dirty="0">
                <a:solidFill>
                  <a:schemeClr val="bg1"/>
                </a:solidFill>
                <a:latin typeface="CiscoSansTT ExtraLight"/>
              </a:rPr>
              <a:t>response </a:t>
            </a:r>
          </a:p>
        </p:txBody>
      </p:sp>
      <p:sp>
        <p:nvSpPr>
          <p:cNvPr id="110" name="Rectangle 109">
            <a:extLst>
              <a:ext uri="{FF2B5EF4-FFF2-40B4-BE49-F238E27FC236}">
                <a16:creationId xmlns:a16="http://schemas.microsoft.com/office/drawing/2014/main" id="{987B7983-9B3D-48E3-B1A8-C906B06CF6CE}"/>
              </a:ext>
            </a:extLst>
          </p:cNvPr>
          <p:cNvSpPr/>
          <p:nvPr/>
        </p:nvSpPr>
        <p:spPr>
          <a:xfrm>
            <a:off x="7164163" y="5784269"/>
            <a:ext cx="2063108" cy="543867"/>
          </a:xfrm>
          <a:prstGeom prst="rect">
            <a:avLst/>
          </a:prstGeom>
        </p:spPr>
        <p:txBody>
          <a:bodyPr wrap="square">
            <a:spAutoFit/>
          </a:bodyPr>
          <a:lstStyle/>
          <a:p>
            <a:pPr defTabSz="812760"/>
            <a:r>
              <a:rPr lang="en-US" sz="1467" dirty="0">
                <a:solidFill>
                  <a:schemeClr val="bg1"/>
                </a:solidFill>
                <a:latin typeface="CiscoSansTT ExtraLight"/>
              </a:rPr>
              <a:t>Automate submission</a:t>
            </a:r>
            <a:br>
              <a:rPr lang="en-US" sz="1467" dirty="0">
                <a:solidFill>
                  <a:schemeClr val="bg1"/>
                </a:solidFill>
                <a:latin typeface="CiscoSansTT ExtraLight"/>
              </a:rPr>
            </a:br>
            <a:r>
              <a:rPr lang="en-US" sz="1467" dirty="0">
                <a:solidFill>
                  <a:schemeClr val="bg1"/>
                </a:solidFill>
                <a:latin typeface="CiscoSansTT ExtraLight"/>
              </a:rPr>
              <a:t>of suspicious files </a:t>
            </a:r>
          </a:p>
        </p:txBody>
      </p:sp>
      <p:pic>
        <p:nvPicPr>
          <p:cNvPr id="114" name="Picture 113">
            <a:extLst>
              <a:ext uri="{FF2B5EF4-FFF2-40B4-BE49-F238E27FC236}">
                <a16:creationId xmlns:a16="http://schemas.microsoft.com/office/drawing/2014/main" id="{9B718D89-9AF4-4404-BB5D-1AF8427D34E0}"/>
              </a:ext>
            </a:extLst>
          </p:cNvPr>
          <p:cNvPicPr>
            <a:picLocks noChangeAspect="1"/>
          </p:cNvPicPr>
          <p:nvPr/>
        </p:nvPicPr>
        <p:blipFill>
          <a:blip r:embed="rId10"/>
          <a:stretch>
            <a:fillRect/>
          </a:stretch>
        </p:blipFill>
        <p:spPr>
          <a:xfrm>
            <a:off x="6540167" y="3538747"/>
            <a:ext cx="578037" cy="578037"/>
          </a:xfrm>
          <a:prstGeom prst="rect">
            <a:avLst/>
          </a:prstGeom>
        </p:spPr>
      </p:pic>
      <p:grpSp>
        <p:nvGrpSpPr>
          <p:cNvPr id="115" name="Group 114">
            <a:extLst>
              <a:ext uri="{FF2B5EF4-FFF2-40B4-BE49-F238E27FC236}">
                <a16:creationId xmlns:a16="http://schemas.microsoft.com/office/drawing/2014/main" id="{70CE7C16-B623-4CC6-8A23-C1ABB6811077}"/>
              </a:ext>
            </a:extLst>
          </p:cNvPr>
          <p:cNvGrpSpPr>
            <a:grpSpLocks noChangeAspect="1"/>
          </p:cNvGrpSpPr>
          <p:nvPr/>
        </p:nvGrpSpPr>
        <p:grpSpPr>
          <a:xfrm>
            <a:off x="6558366" y="4572077"/>
            <a:ext cx="564143" cy="564143"/>
            <a:chOff x="7840905" y="2072481"/>
            <a:chExt cx="726221" cy="726221"/>
          </a:xfrm>
        </p:grpSpPr>
        <p:sp>
          <p:nvSpPr>
            <p:cNvPr id="116" name="Oval 115">
              <a:extLst>
                <a:ext uri="{FF2B5EF4-FFF2-40B4-BE49-F238E27FC236}">
                  <a16:creationId xmlns:a16="http://schemas.microsoft.com/office/drawing/2014/main" id="{9825E61A-904C-4E49-99CF-C0AA48EA1D48}"/>
                </a:ext>
              </a:extLst>
            </p:cNvPr>
            <p:cNvSpPr/>
            <p:nvPr/>
          </p:nvSpPr>
          <p:spPr>
            <a:xfrm>
              <a:off x="7840905" y="2072481"/>
              <a:ext cx="726221" cy="726221"/>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117" name="Group 116">
              <a:extLst>
                <a:ext uri="{FF2B5EF4-FFF2-40B4-BE49-F238E27FC236}">
                  <a16:creationId xmlns:a16="http://schemas.microsoft.com/office/drawing/2014/main" id="{E6A82D64-F077-4712-B08D-CC00FB8A232E}"/>
                </a:ext>
              </a:extLst>
            </p:cNvPr>
            <p:cNvGrpSpPr/>
            <p:nvPr/>
          </p:nvGrpSpPr>
          <p:grpSpPr>
            <a:xfrm>
              <a:off x="7919326" y="2172902"/>
              <a:ext cx="568207" cy="516123"/>
              <a:chOff x="1471619" y="3558323"/>
              <a:chExt cx="756284" cy="686960"/>
            </a:xfrm>
            <a:solidFill>
              <a:schemeClr val="accent1"/>
            </a:solidFill>
          </p:grpSpPr>
          <p:grpSp>
            <p:nvGrpSpPr>
              <p:cNvPr id="118" name="Group 117">
                <a:extLst>
                  <a:ext uri="{FF2B5EF4-FFF2-40B4-BE49-F238E27FC236}">
                    <a16:creationId xmlns:a16="http://schemas.microsoft.com/office/drawing/2014/main" id="{EDC03044-F717-4C7E-91A2-172648218DE2}"/>
                  </a:ext>
                </a:extLst>
              </p:cNvPr>
              <p:cNvGrpSpPr/>
              <p:nvPr/>
            </p:nvGrpSpPr>
            <p:grpSpPr>
              <a:xfrm>
                <a:off x="1716917" y="3953085"/>
                <a:ext cx="260048" cy="292198"/>
                <a:chOff x="-938060" y="-316399"/>
                <a:chExt cx="418810" cy="470589"/>
              </a:xfrm>
              <a:grpFill/>
            </p:grpSpPr>
            <p:sp>
              <p:nvSpPr>
                <p:cNvPr id="161" name="Freeform 80">
                  <a:extLst>
                    <a:ext uri="{FF2B5EF4-FFF2-40B4-BE49-F238E27FC236}">
                      <a16:creationId xmlns:a16="http://schemas.microsoft.com/office/drawing/2014/main" id="{7B264CAC-67ED-4F41-8A79-48FED72DC8FC}"/>
                    </a:ext>
                  </a:extLst>
                </p:cNvPr>
                <p:cNvSpPr>
                  <a:spLocks noEditPoints="1"/>
                </p:cNvSpPr>
                <p:nvPr/>
              </p:nvSpPr>
              <p:spPr bwMode="auto">
                <a:xfrm>
                  <a:off x="-938060" y="-97829"/>
                  <a:ext cx="243772" cy="247896"/>
                </a:xfrm>
                <a:custGeom>
                  <a:avLst/>
                  <a:gdLst>
                    <a:gd name="T0" fmla="*/ 224 w 224"/>
                    <a:gd name="T1" fmla="*/ 218 h 228"/>
                    <a:gd name="T2" fmla="*/ 223 w 224"/>
                    <a:gd name="T3" fmla="*/ 219 h 228"/>
                    <a:gd name="T4" fmla="*/ 210 w 224"/>
                    <a:gd name="T5" fmla="*/ 228 h 228"/>
                    <a:gd name="T6" fmla="*/ 223 w 224"/>
                    <a:gd name="T7" fmla="*/ 219 h 228"/>
                    <a:gd name="T8" fmla="*/ 224 w 224"/>
                    <a:gd name="T9" fmla="*/ 218 h 228"/>
                    <a:gd name="T10" fmla="*/ 224 w 224"/>
                    <a:gd name="T11" fmla="*/ 218 h 228"/>
                    <a:gd name="T12" fmla="*/ 224 w 224"/>
                    <a:gd name="T13" fmla="*/ 218 h 228"/>
                    <a:gd name="T14" fmla="*/ 48 w 224"/>
                    <a:gd name="T15" fmla="*/ 0 h 228"/>
                    <a:gd name="T16" fmla="*/ 17 w 224"/>
                    <a:gd name="T17" fmla="*/ 13 h 228"/>
                    <a:gd name="T18" fmla="*/ 17 w 224"/>
                    <a:gd name="T19" fmla="*/ 13 h 228"/>
                    <a:gd name="T20" fmla="*/ 17 w 224"/>
                    <a:gd name="T21" fmla="*/ 13 h 228"/>
                    <a:gd name="T22" fmla="*/ 13 w 224"/>
                    <a:gd name="T23" fmla="*/ 17 h 228"/>
                    <a:gd name="T24" fmla="*/ 17 w 224"/>
                    <a:gd name="T25" fmla="*/ 74 h 228"/>
                    <a:gd name="T26" fmla="*/ 113 w 224"/>
                    <a:gd name="T27" fmla="*/ 170 h 228"/>
                    <a:gd name="T28" fmla="*/ 161 w 224"/>
                    <a:gd name="T29" fmla="*/ 218 h 228"/>
                    <a:gd name="T30" fmla="*/ 149 w 224"/>
                    <a:gd name="T31" fmla="*/ 188 h 228"/>
                    <a:gd name="T32" fmla="*/ 149 w 224"/>
                    <a:gd name="T33" fmla="*/ 188 h 228"/>
                    <a:gd name="T34" fmla="*/ 149 w 224"/>
                    <a:gd name="T35" fmla="*/ 84 h 228"/>
                    <a:gd name="T36" fmla="*/ 149 w 224"/>
                    <a:gd name="T37" fmla="*/ 84 h 228"/>
                    <a:gd name="T38" fmla="*/ 78 w 224"/>
                    <a:gd name="T39" fmla="*/ 13 h 228"/>
                    <a:gd name="T40" fmla="*/ 78 w 224"/>
                    <a:gd name="T41" fmla="*/ 13 h 228"/>
                    <a:gd name="T42" fmla="*/ 48 w 224"/>
                    <a:gd name="T43"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4" h="228">
                      <a:moveTo>
                        <a:pt x="224" y="218"/>
                      </a:moveTo>
                      <a:cubicBezTo>
                        <a:pt x="223" y="219"/>
                        <a:pt x="223" y="219"/>
                        <a:pt x="223" y="219"/>
                      </a:cubicBezTo>
                      <a:cubicBezTo>
                        <a:pt x="219" y="223"/>
                        <a:pt x="215" y="226"/>
                        <a:pt x="210" y="228"/>
                      </a:cubicBezTo>
                      <a:cubicBezTo>
                        <a:pt x="215" y="226"/>
                        <a:pt x="219" y="223"/>
                        <a:pt x="223" y="219"/>
                      </a:cubicBezTo>
                      <a:cubicBezTo>
                        <a:pt x="224" y="218"/>
                        <a:pt x="224" y="218"/>
                        <a:pt x="224" y="218"/>
                      </a:cubicBezTo>
                      <a:cubicBezTo>
                        <a:pt x="224" y="218"/>
                        <a:pt x="224" y="218"/>
                        <a:pt x="224" y="218"/>
                      </a:cubicBezTo>
                      <a:cubicBezTo>
                        <a:pt x="224" y="218"/>
                        <a:pt x="224" y="218"/>
                        <a:pt x="224" y="218"/>
                      </a:cubicBezTo>
                      <a:moveTo>
                        <a:pt x="48" y="0"/>
                      </a:moveTo>
                      <a:cubicBezTo>
                        <a:pt x="37" y="0"/>
                        <a:pt x="25" y="4"/>
                        <a:pt x="17" y="13"/>
                      </a:cubicBezTo>
                      <a:cubicBezTo>
                        <a:pt x="17" y="13"/>
                        <a:pt x="17" y="13"/>
                        <a:pt x="17" y="13"/>
                      </a:cubicBezTo>
                      <a:cubicBezTo>
                        <a:pt x="17" y="13"/>
                        <a:pt x="17" y="13"/>
                        <a:pt x="17" y="13"/>
                      </a:cubicBezTo>
                      <a:cubicBezTo>
                        <a:pt x="16" y="14"/>
                        <a:pt x="14" y="16"/>
                        <a:pt x="13" y="17"/>
                      </a:cubicBezTo>
                      <a:cubicBezTo>
                        <a:pt x="0" y="34"/>
                        <a:pt x="2" y="59"/>
                        <a:pt x="17" y="74"/>
                      </a:cubicBezTo>
                      <a:cubicBezTo>
                        <a:pt x="113" y="170"/>
                        <a:pt x="113" y="170"/>
                        <a:pt x="113" y="170"/>
                      </a:cubicBezTo>
                      <a:cubicBezTo>
                        <a:pt x="161" y="218"/>
                        <a:pt x="161" y="218"/>
                        <a:pt x="161" y="218"/>
                      </a:cubicBezTo>
                      <a:cubicBezTo>
                        <a:pt x="153" y="209"/>
                        <a:pt x="149" y="199"/>
                        <a:pt x="149" y="188"/>
                      </a:cubicBezTo>
                      <a:cubicBezTo>
                        <a:pt x="149" y="188"/>
                        <a:pt x="149" y="188"/>
                        <a:pt x="149" y="188"/>
                      </a:cubicBezTo>
                      <a:cubicBezTo>
                        <a:pt x="149" y="84"/>
                        <a:pt x="149" y="84"/>
                        <a:pt x="149" y="84"/>
                      </a:cubicBezTo>
                      <a:cubicBezTo>
                        <a:pt x="149" y="84"/>
                        <a:pt x="149" y="84"/>
                        <a:pt x="149" y="84"/>
                      </a:cubicBezTo>
                      <a:cubicBezTo>
                        <a:pt x="78" y="13"/>
                        <a:pt x="78" y="13"/>
                        <a:pt x="78" y="13"/>
                      </a:cubicBezTo>
                      <a:cubicBezTo>
                        <a:pt x="78" y="13"/>
                        <a:pt x="78" y="13"/>
                        <a:pt x="78" y="13"/>
                      </a:cubicBezTo>
                      <a:cubicBezTo>
                        <a:pt x="70" y="4"/>
                        <a:pt x="59" y="0"/>
                        <a:pt x="48" y="0"/>
                      </a:cubicBezTo>
                    </a:path>
                  </a:pathLst>
                </a:custGeom>
                <a:grp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62" name="Freeform 78">
                  <a:extLst>
                    <a:ext uri="{FF2B5EF4-FFF2-40B4-BE49-F238E27FC236}">
                      <a16:creationId xmlns:a16="http://schemas.microsoft.com/office/drawing/2014/main" id="{5DA9E1A3-6412-4230-8AC7-9073CFA1E386}"/>
                    </a:ext>
                  </a:extLst>
                </p:cNvPr>
                <p:cNvSpPr>
                  <a:spLocks/>
                </p:cNvSpPr>
                <p:nvPr/>
              </p:nvSpPr>
              <p:spPr bwMode="auto">
                <a:xfrm>
                  <a:off x="-776310" y="-316399"/>
                  <a:ext cx="94851" cy="356493"/>
                </a:xfrm>
                <a:custGeom>
                  <a:avLst/>
                  <a:gdLst>
                    <a:gd name="T0" fmla="*/ 44 w 87"/>
                    <a:gd name="T1" fmla="*/ 0 h 328"/>
                    <a:gd name="T2" fmla="*/ 0 w 87"/>
                    <a:gd name="T3" fmla="*/ 43 h 328"/>
                    <a:gd name="T4" fmla="*/ 0 w 87"/>
                    <a:gd name="T5" fmla="*/ 285 h 328"/>
                    <a:gd name="T6" fmla="*/ 43 w 87"/>
                    <a:gd name="T7" fmla="*/ 328 h 328"/>
                    <a:gd name="T8" fmla="*/ 87 w 87"/>
                    <a:gd name="T9" fmla="*/ 285 h 328"/>
                    <a:gd name="T10" fmla="*/ 87 w 87"/>
                    <a:gd name="T11" fmla="*/ 43 h 328"/>
                    <a:gd name="T12" fmla="*/ 44 w 87"/>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87" h="328">
                      <a:moveTo>
                        <a:pt x="44" y="0"/>
                      </a:moveTo>
                      <a:cubicBezTo>
                        <a:pt x="20" y="0"/>
                        <a:pt x="0" y="19"/>
                        <a:pt x="0" y="43"/>
                      </a:cubicBezTo>
                      <a:cubicBezTo>
                        <a:pt x="0" y="285"/>
                        <a:pt x="0" y="285"/>
                        <a:pt x="0" y="285"/>
                      </a:cubicBezTo>
                      <a:cubicBezTo>
                        <a:pt x="43" y="328"/>
                        <a:pt x="43" y="328"/>
                        <a:pt x="43" y="328"/>
                      </a:cubicBezTo>
                      <a:cubicBezTo>
                        <a:pt x="87" y="285"/>
                        <a:pt x="87" y="285"/>
                        <a:pt x="87" y="285"/>
                      </a:cubicBezTo>
                      <a:cubicBezTo>
                        <a:pt x="87" y="43"/>
                        <a:pt x="87" y="43"/>
                        <a:pt x="87" y="43"/>
                      </a:cubicBezTo>
                      <a:cubicBezTo>
                        <a:pt x="87" y="19"/>
                        <a:pt x="67" y="0"/>
                        <a:pt x="44" y="0"/>
                      </a:cubicBezTo>
                    </a:path>
                  </a:pathLst>
                </a:custGeom>
                <a:grp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63" name="Freeform 79">
                  <a:extLst>
                    <a:ext uri="{FF2B5EF4-FFF2-40B4-BE49-F238E27FC236}">
                      <a16:creationId xmlns:a16="http://schemas.microsoft.com/office/drawing/2014/main" id="{913C5D2E-5495-4965-87F8-7281AC2335D3}"/>
                    </a:ext>
                  </a:extLst>
                </p:cNvPr>
                <p:cNvSpPr>
                  <a:spLocks noEditPoints="1"/>
                </p:cNvSpPr>
                <p:nvPr/>
              </p:nvSpPr>
              <p:spPr bwMode="auto">
                <a:xfrm>
                  <a:off x="-938060" y="-84083"/>
                  <a:ext cx="243772" cy="238273"/>
                </a:xfrm>
                <a:custGeom>
                  <a:avLst/>
                  <a:gdLst>
                    <a:gd name="T0" fmla="*/ 224 w 224"/>
                    <a:gd name="T1" fmla="*/ 205 h 219"/>
                    <a:gd name="T2" fmla="*/ 224 w 224"/>
                    <a:gd name="T3" fmla="*/ 205 h 219"/>
                    <a:gd name="T4" fmla="*/ 223 w 224"/>
                    <a:gd name="T5" fmla="*/ 206 h 219"/>
                    <a:gd name="T6" fmla="*/ 210 w 224"/>
                    <a:gd name="T7" fmla="*/ 215 h 219"/>
                    <a:gd name="T8" fmla="*/ 200 w 224"/>
                    <a:gd name="T9" fmla="*/ 218 h 219"/>
                    <a:gd name="T10" fmla="*/ 193 w 224"/>
                    <a:gd name="T11" fmla="*/ 219 h 219"/>
                    <a:gd name="T12" fmla="*/ 192 w 224"/>
                    <a:gd name="T13" fmla="*/ 219 h 219"/>
                    <a:gd name="T14" fmla="*/ 193 w 224"/>
                    <a:gd name="T15" fmla="*/ 219 h 219"/>
                    <a:gd name="T16" fmla="*/ 223 w 224"/>
                    <a:gd name="T17" fmla="*/ 206 h 219"/>
                    <a:gd name="T18" fmla="*/ 223 w 224"/>
                    <a:gd name="T19" fmla="*/ 206 h 219"/>
                    <a:gd name="T20" fmla="*/ 224 w 224"/>
                    <a:gd name="T21" fmla="*/ 205 h 219"/>
                    <a:gd name="T22" fmla="*/ 13 w 224"/>
                    <a:gd name="T23" fmla="*/ 4 h 219"/>
                    <a:gd name="T24" fmla="*/ 17 w 224"/>
                    <a:gd name="T25" fmla="*/ 61 h 219"/>
                    <a:gd name="T26" fmla="*/ 113 w 224"/>
                    <a:gd name="T27" fmla="*/ 157 h 219"/>
                    <a:gd name="T28" fmla="*/ 17 w 224"/>
                    <a:gd name="T29" fmla="*/ 61 h 219"/>
                    <a:gd name="T30" fmla="*/ 13 w 224"/>
                    <a:gd name="T31" fmla="*/ 4 h 219"/>
                    <a:gd name="T32" fmla="*/ 78 w 224"/>
                    <a:gd name="T33" fmla="*/ 0 h 219"/>
                    <a:gd name="T34" fmla="*/ 78 w 224"/>
                    <a:gd name="T35" fmla="*/ 0 h 219"/>
                    <a:gd name="T36" fmla="*/ 149 w 224"/>
                    <a:gd name="T37" fmla="*/ 71 h 219"/>
                    <a:gd name="T38" fmla="*/ 78 w 224"/>
                    <a:gd name="T39" fmla="*/ 0 h 219"/>
                    <a:gd name="T40" fmla="*/ 78 w 224"/>
                    <a:gd name="T4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19">
                      <a:moveTo>
                        <a:pt x="224" y="205"/>
                      </a:moveTo>
                      <a:cubicBezTo>
                        <a:pt x="224" y="205"/>
                        <a:pt x="224" y="205"/>
                        <a:pt x="224" y="205"/>
                      </a:cubicBezTo>
                      <a:cubicBezTo>
                        <a:pt x="223" y="206"/>
                        <a:pt x="223" y="206"/>
                        <a:pt x="223" y="206"/>
                      </a:cubicBezTo>
                      <a:cubicBezTo>
                        <a:pt x="219" y="210"/>
                        <a:pt x="215" y="213"/>
                        <a:pt x="210" y="215"/>
                      </a:cubicBezTo>
                      <a:cubicBezTo>
                        <a:pt x="207" y="216"/>
                        <a:pt x="204" y="217"/>
                        <a:pt x="200" y="218"/>
                      </a:cubicBezTo>
                      <a:cubicBezTo>
                        <a:pt x="198" y="218"/>
                        <a:pt x="195" y="219"/>
                        <a:pt x="193" y="219"/>
                      </a:cubicBezTo>
                      <a:cubicBezTo>
                        <a:pt x="193" y="219"/>
                        <a:pt x="193" y="219"/>
                        <a:pt x="192" y="219"/>
                      </a:cubicBezTo>
                      <a:cubicBezTo>
                        <a:pt x="193" y="219"/>
                        <a:pt x="193" y="219"/>
                        <a:pt x="193" y="219"/>
                      </a:cubicBezTo>
                      <a:cubicBezTo>
                        <a:pt x="204" y="219"/>
                        <a:pt x="215" y="214"/>
                        <a:pt x="223" y="206"/>
                      </a:cubicBezTo>
                      <a:cubicBezTo>
                        <a:pt x="223" y="206"/>
                        <a:pt x="223" y="206"/>
                        <a:pt x="223" y="206"/>
                      </a:cubicBezTo>
                      <a:cubicBezTo>
                        <a:pt x="224" y="205"/>
                        <a:pt x="224" y="205"/>
                        <a:pt x="224" y="205"/>
                      </a:cubicBezTo>
                      <a:moveTo>
                        <a:pt x="13" y="4"/>
                      </a:moveTo>
                      <a:cubicBezTo>
                        <a:pt x="0" y="21"/>
                        <a:pt x="2" y="46"/>
                        <a:pt x="17" y="61"/>
                      </a:cubicBezTo>
                      <a:cubicBezTo>
                        <a:pt x="113" y="157"/>
                        <a:pt x="113" y="157"/>
                        <a:pt x="113" y="157"/>
                      </a:cubicBezTo>
                      <a:cubicBezTo>
                        <a:pt x="17" y="61"/>
                        <a:pt x="17" y="61"/>
                        <a:pt x="17" y="61"/>
                      </a:cubicBezTo>
                      <a:cubicBezTo>
                        <a:pt x="2" y="46"/>
                        <a:pt x="0" y="21"/>
                        <a:pt x="13" y="4"/>
                      </a:cubicBezTo>
                      <a:moveTo>
                        <a:pt x="78" y="0"/>
                      </a:moveTo>
                      <a:cubicBezTo>
                        <a:pt x="78" y="0"/>
                        <a:pt x="78" y="0"/>
                        <a:pt x="78" y="0"/>
                      </a:cubicBezTo>
                      <a:cubicBezTo>
                        <a:pt x="149" y="71"/>
                        <a:pt x="149" y="71"/>
                        <a:pt x="149" y="71"/>
                      </a:cubicBezTo>
                      <a:cubicBezTo>
                        <a:pt x="78" y="0"/>
                        <a:pt x="78" y="0"/>
                        <a:pt x="78" y="0"/>
                      </a:cubicBezTo>
                      <a:cubicBezTo>
                        <a:pt x="78" y="0"/>
                        <a:pt x="78" y="0"/>
                        <a:pt x="78"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64" name="Freeform 81">
                  <a:extLst>
                    <a:ext uri="{FF2B5EF4-FFF2-40B4-BE49-F238E27FC236}">
                      <a16:creationId xmlns:a16="http://schemas.microsoft.com/office/drawing/2014/main" id="{C4F01F02-44A1-4DBA-A293-3E46CE681687}"/>
                    </a:ext>
                  </a:extLst>
                </p:cNvPr>
                <p:cNvSpPr>
                  <a:spLocks/>
                </p:cNvSpPr>
                <p:nvPr/>
              </p:nvSpPr>
              <p:spPr bwMode="auto">
                <a:xfrm>
                  <a:off x="-728197" y="153274"/>
                  <a:ext cx="7790" cy="916"/>
                </a:xfrm>
                <a:custGeom>
                  <a:avLst/>
                  <a:gdLst>
                    <a:gd name="T0" fmla="*/ 7 w 7"/>
                    <a:gd name="T1" fmla="*/ 0 h 1"/>
                    <a:gd name="T2" fmla="*/ 0 w 7"/>
                    <a:gd name="T3" fmla="*/ 1 h 1"/>
                    <a:gd name="T4" fmla="*/ 7 w 7"/>
                    <a:gd name="T5" fmla="*/ 0 h 1"/>
                  </a:gdLst>
                  <a:ahLst/>
                  <a:cxnLst>
                    <a:cxn ang="0">
                      <a:pos x="T0" y="T1"/>
                    </a:cxn>
                    <a:cxn ang="0">
                      <a:pos x="T2" y="T3"/>
                    </a:cxn>
                    <a:cxn ang="0">
                      <a:pos x="T4" y="T5"/>
                    </a:cxn>
                  </a:cxnLst>
                  <a:rect l="0" t="0" r="r" b="b"/>
                  <a:pathLst>
                    <a:path w="7" h="1">
                      <a:moveTo>
                        <a:pt x="7" y="0"/>
                      </a:moveTo>
                      <a:cubicBezTo>
                        <a:pt x="5" y="0"/>
                        <a:pt x="2" y="1"/>
                        <a:pt x="0" y="1"/>
                      </a:cubicBezTo>
                      <a:cubicBezTo>
                        <a:pt x="2" y="1"/>
                        <a:pt x="5" y="0"/>
                        <a:pt x="7"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65" name="Freeform 82">
                  <a:extLst>
                    <a:ext uri="{FF2B5EF4-FFF2-40B4-BE49-F238E27FC236}">
                      <a16:creationId xmlns:a16="http://schemas.microsoft.com/office/drawing/2014/main" id="{1A12F678-C7A1-43E3-8767-1DEEBCB594F8}"/>
                    </a:ext>
                  </a:extLst>
                </p:cNvPr>
                <p:cNvSpPr>
                  <a:spLocks/>
                </p:cNvSpPr>
                <p:nvPr/>
              </p:nvSpPr>
              <p:spPr bwMode="auto">
                <a:xfrm>
                  <a:off x="-776310" y="-6644"/>
                  <a:ext cx="47196" cy="113180"/>
                </a:xfrm>
                <a:custGeom>
                  <a:avLst/>
                  <a:gdLst>
                    <a:gd name="T0" fmla="*/ 0 w 43"/>
                    <a:gd name="T1" fmla="*/ 0 h 104"/>
                    <a:gd name="T2" fmla="*/ 0 w 43"/>
                    <a:gd name="T3" fmla="*/ 104 h 104"/>
                    <a:gd name="T4" fmla="*/ 0 w 43"/>
                    <a:gd name="T5" fmla="*/ 104 h 104"/>
                    <a:gd name="T6" fmla="*/ 13 w 43"/>
                    <a:gd name="T7" fmla="*/ 74 h 104"/>
                    <a:gd name="T8" fmla="*/ 43 w 43"/>
                    <a:gd name="T9" fmla="*/ 43 h 104"/>
                    <a:gd name="T10" fmla="*/ 0 w 43"/>
                    <a:gd name="T11" fmla="*/ 0 h 104"/>
                  </a:gdLst>
                  <a:ahLst/>
                  <a:cxnLst>
                    <a:cxn ang="0">
                      <a:pos x="T0" y="T1"/>
                    </a:cxn>
                    <a:cxn ang="0">
                      <a:pos x="T2" y="T3"/>
                    </a:cxn>
                    <a:cxn ang="0">
                      <a:pos x="T4" y="T5"/>
                    </a:cxn>
                    <a:cxn ang="0">
                      <a:pos x="T6" y="T7"/>
                    </a:cxn>
                    <a:cxn ang="0">
                      <a:pos x="T8" y="T9"/>
                    </a:cxn>
                    <a:cxn ang="0">
                      <a:pos x="T10" y="T11"/>
                    </a:cxn>
                  </a:cxnLst>
                  <a:rect l="0" t="0" r="r" b="b"/>
                  <a:pathLst>
                    <a:path w="43" h="104">
                      <a:moveTo>
                        <a:pt x="0" y="0"/>
                      </a:moveTo>
                      <a:cubicBezTo>
                        <a:pt x="0" y="104"/>
                        <a:pt x="0" y="104"/>
                        <a:pt x="0" y="104"/>
                      </a:cubicBezTo>
                      <a:cubicBezTo>
                        <a:pt x="0" y="104"/>
                        <a:pt x="0" y="104"/>
                        <a:pt x="0" y="104"/>
                      </a:cubicBezTo>
                      <a:cubicBezTo>
                        <a:pt x="0" y="93"/>
                        <a:pt x="4" y="82"/>
                        <a:pt x="13" y="74"/>
                      </a:cubicBezTo>
                      <a:cubicBezTo>
                        <a:pt x="43" y="43"/>
                        <a:pt x="43" y="43"/>
                        <a:pt x="43" y="43"/>
                      </a:cubicBezTo>
                      <a:cubicBezTo>
                        <a:pt x="0" y="0"/>
                        <a:pt x="0" y="0"/>
                        <a:pt x="0" y="0"/>
                      </a:cubicBezTo>
                    </a:path>
                  </a:pathLst>
                </a:custGeom>
                <a:grp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66" name="Freeform 83">
                  <a:extLst>
                    <a:ext uri="{FF2B5EF4-FFF2-40B4-BE49-F238E27FC236}">
                      <a16:creationId xmlns:a16="http://schemas.microsoft.com/office/drawing/2014/main" id="{2A2984DD-C2DF-4794-B676-18177C69B8FD}"/>
                    </a:ext>
                  </a:extLst>
                </p:cNvPr>
                <p:cNvSpPr>
                  <a:spLocks noEditPoints="1"/>
                </p:cNvSpPr>
                <p:nvPr/>
              </p:nvSpPr>
              <p:spPr bwMode="auto">
                <a:xfrm>
                  <a:off x="-763022" y="-88207"/>
                  <a:ext cx="243772" cy="242397"/>
                </a:xfrm>
                <a:custGeom>
                  <a:avLst/>
                  <a:gdLst>
                    <a:gd name="T0" fmla="*/ 0 w 224"/>
                    <a:gd name="T1" fmla="*/ 209 h 223"/>
                    <a:gd name="T2" fmla="*/ 1 w 224"/>
                    <a:gd name="T3" fmla="*/ 210 h 223"/>
                    <a:gd name="T4" fmla="*/ 31 w 224"/>
                    <a:gd name="T5" fmla="*/ 223 h 223"/>
                    <a:gd name="T6" fmla="*/ 31 w 224"/>
                    <a:gd name="T7" fmla="*/ 223 h 223"/>
                    <a:gd name="T8" fmla="*/ 20 w 224"/>
                    <a:gd name="T9" fmla="*/ 221 h 223"/>
                    <a:gd name="T10" fmla="*/ 1 w 224"/>
                    <a:gd name="T11" fmla="*/ 210 h 223"/>
                    <a:gd name="T12" fmla="*/ 0 w 224"/>
                    <a:gd name="T13" fmla="*/ 209 h 223"/>
                    <a:gd name="T14" fmla="*/ 0 w 224"/>
                    <a:gd name="T15" fmla="*/ 209 h 223"/>
                    <a:gd name="T16" fmla="*/ 146 w 224"/>
                    <a:gd name="T17" fmla="*/ 4 h 223"/>
                    <a:gd name="T18" fmla="*/ 146 w 224"/>
                    <a:gd name="T19" fmla="*/ 4 h 223"/>
                    <a:gd name="T20" fmla="*/ 75 w 224"/>
                    <a:gd name="T21" fmla="*/ 75 h 223"/>
                    <a:gd name="T22" fmla="*/ 75 w 224"/>
                    <a:gd name="T23" fmla="*/ 75 h 223"/>
                    <a:gd name="T24" fmla="*/ 146 w 224"/>
                    <a:gd name="T25" fmla="*/ 4 h 223"/>
                    <a:gd name="T26" fmla="*/ 146 w 224"/>
                    <a:gd name="T27" fmla="*/ 4 h 223"/>
                    <a:gd name="T28" fmla="*/ 203 w 224"/>
                    <a:gd name="T29" fmla="*/ 0 h 223"/>
                    <a:gd name="T30" fmla="*/ 207 w 224"/>
                    <a:gd name="T31" fmla="*/ 4 h 223"/>
                    <a:gd name="T32" fmla="*/ 207 w 224"/>
                    <a:gd name="T33" fmla="*/ 65 h 223"/>
                    <a:gd name="T34" fmla="*/ 99 w 224"/>
                    <a:gd name="T35" fmla="*/ 173 h 223"/>
                    <a:gd name="T36" fmla="*/ 207 w 224"/>
                    <a:gd name="T37" fmla="*/ 65 h 223"/>
                    <a:gd name="T38" fmla="*/ 207 w 224"/>
                    <a:gd name="T39" fmla="*/ 4 h 223"/>
                    <a:gd name="T40" fmla="*/ 207 w 224"/>
                    <a:gd name="T41" fmla="*/ 4 h 223"/>
                    <a:gd name="T42" fmla="*/ 203 w 224"/>
                    <a:gd name="T43"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4" h="223">
                      <a:moveTo>
                        <a:pt x="0" y="209"/>
                      </a:moveTo>
                      <a:cubicBezTo>
                        <a:pt x="0" y="209"/>
                        <a:pt x="0" y="209"/>
                        <a:pt x="1" y="210"/>
                      </a:cubicBezTo>
                      <a:cubicBezTo>
                        <a:pt x="9" y="218"/>
                        <a:pt x="20" y="223"/>
                        <a:pt x="31" y="223"/>
                      </a:cubicBezTo>
                      <a:cubicBezTo>
                        <a:pt x="31" y="223"/>
                        <a:pt x="31" y="223"/>
                        <a:pt x="31" y="223"/>
                      </a:cubicBezTo>
                      <a:cubicBezTo>
                        <a:pt x="28" y="223"/>
                        <a:pt x="24" y="222"/>
                        <a:pt x="20" y="221"/>
                      </a:cubicBezTo>
                      <a:cubicBezTo>
                        <a:pt x="13" y="219"/>
                        <a:pt x="6" y="215"/>
                        <a:pt x="1" y="210"/>
                      </a:cubicBezTo>
                      <a:cubicBezTo>
                        <a:pt x="0" y="209"/>
                        <a:pt x="0" y="209"/>
                        <a:pt x="0" y="209"/>
                      </a:cubicBezTo>
                      <a:cubicBezTo>
                        <a:pt x="0" y="209"/>
                        <a:pt x="0" y="209"/>
                        <a:pt x="0" y="209"/>
                      </a:cubicBezTo>
                      <a:moveTo>
                        <a:pt x="146" y="4"/>
                      </a:moveTo>
                      <a:cubicBezTo>
                        <a:pt x="146" y="4"/>
                        <a:pt x="146" y="4"/>
                        <a:pt x="146" y="4"/>
                      </a:cubicBezTo>
                      <a:cubicBezTo>
                        <a:pt x="75" y="75"/>
                        <a:pt x="75" y="75"/>
                        <a:pt x="75" y="75"/>
                      </a:cubicBezTo>
                      <a:cubicBezTo>
                        <a:pt x="75" y="75"/>
                        <a:pt x="75" y="75"/>
                        <a:pt x="75" y="75"/>
                      </a:cubicBezTo>
                      <a:cubicBezTo>
                        <a:pt x="146" y="4"/>
                        <a:pt x="146" y="4"/>
                        <a:pt x="146" y="4"/>
                      </a:cubicBezTo>
                      <a:cubicBezTo>
                        <a:pt x="146" y="4"/>
                        <a:pt x="146" y="4"/>
                        <a:pt x="146" y="4"/>
                      </a:cubicBezTo>
                      <a:moveTo>
                        <a:pt x="203" y="0"/>
                      </a:moveTo>
                      <a:cubicBezTo>
                        <a:pt x="204" y="1"/>
                        <a:pt x="206" y="3"/>
                        <a:pt x="207" y="4"/>
                      </a:cubicBezTo>
                      <a:cubicBezTo>
                        <a:pt x="224" y="21"/>
                        <a:pt x="224" y="48"/>
                        <a:pt x="207" y="65"/>
                      </a:cubicBezTo>
                      <a:cubicBezTo>
                        <a:pt x="99" y="173"/>
                        <a:pt x="99" y="173"/>
                        <a:pt x="99" y="173"/>
                      </a:cubicBezTo>
                      <a:cubicBezTo>
                        <a:pt x="207" y="65"/>
                        <a:pt x="207" y="65"/>
                        <a:pt x="207" y="65"/>
                      </a:cubicBezTo>
                      <a:cubicBezTo>
                        <a:pt x="224" y="48"/>
                        <a:pt x="224" y="21"/>
                        <a:pt x="207" y="4"/>
                      </a:cubicBezTo>
                      <a:cubicBezTo>
                        <a:pt x="207" y="4"/>
                        <a:pt x="207" y="4"/>
                        <a:pt x="207" y="4"/>
                      </a:cubicBezTo>
                      <a:cubicBezTo>
                        <a:pt x="206" y="3"/>
                        <a:pt x="204" y="1"/>
                        <a:pt x="203"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67" name="Freeform 84">
                  <a:extLst>
                    <a:ext uri="{FF2B5EF4-FFF2-40B4-BE49-F238E27FC236}">
                      <a16:creationId xmlns:a16="http://schemas.microsoft.com/office/drawing/2014/main" id="{494011CE-C252-4769-8131-0F5DFE482C82}"/>
                    </a:ext>
                  </a:extLst>
                </p:cNvPr>
                <p:cNvSpPr>
                  <a:spLocks noEditPoints="1"/>
                </p:cNvSpPr>
                <p:nvPr/>
              </p:nvSpPr>
              <p:spPr bwMode="auto">
                <a:xfrm>
                  <a:off x="-763022" y="-97829"/>
                  <a:ext cx="243772" cy="249728"/>
                </a:xfrm>
                <a:custGeom>
                  <a:avLst/>
                  <a:gdLst>
                    <a:gd name="T0" fmla="*/ 0 w 224"/>
                    <a:gd name="T1" fmla="*/ 218 h 230"/>
                    <a:gd name="T2" fmla="*/ 0 w 224"/>
                    <a:gd name="T3" fmla="*/ 218 h 230"/>
                    <a:gd name="T4" fmla="*/ 0 w 224"/>
                    <a:gd name="T5" fmla="*/ 218 h 230"/>
                    <a:gd name="T6" fmla="*/ 1 w 224"/>
                    <a:gd name="T7" fmla="*/ 219 h 230"/>
                    <a:gd name="T8" fmla="*/ 20 w 224"/>
                    <a:gd name="T9" fmla="*/ 230 h 230"/>
                    <a:gd name="T10" fmla="*/ 1 w 224"/>
                    <a:gd name="T11" fmla="*/ 219 h 230"/>
                    <a:gd name="T12" fmla="*/ 0 w 224"/>
                    <a:gd name="T13" fmla="*/ 218 h 230"/>
                    <a:gd name="T14" fmla="*/ 176 w 224"/>
                    <a:gd name="T15" fmla="*/ 0 h 230"/>
                    <a:gd name="T16" fmla="*/ 146 w 224"/>
                    <a:gd name="T17" fmla="*/ 13 h 230"/>
                    <a:gd name="T18" fmla="*/ 146 w 224"/>
                    <a:gd name="T19" fmla="*/ 13 h 230"/>
                    <a:gd name="T20" fmla="*/ 75 w 224"/>
                    <a:gd name="T21" fmla="*/ 84 h 230"/>
                    <a:gd name="T22" fmla="*/ 75 w 224"/>
                    <a:gd name="T23" fmla="*/ 188 h 230"/>
                    <a:gd name="T24" fmla="*/ 73 w 224"/>
                    <a:gd name="T25" fmla="*/ 202 h 230"/>
                    <a:gd name="T26" fmla="*/ 63 w 224"/>
                    <a:gd name="T27" fmla="*/ 218 h 230"/>
                    <a:gd name="T28" fmla="*/ 99 w 224"/>
                    <a:gd name="T29" fmla="*/ 182 h 230"/>
                    <a:gd name="T30" fmla="*/ 207 w 224"/>
                    <a:gd name="T31" fmla="*/ 74 h 230"/>
                    <a:gd name="T32" fmla="*/ 207 w 224"/>
                    <a:gd name="T33" fmla="*/ 13 h 230"/>
                    <a:gd name="T34" fmla="*/ 203 w 224"/>
                    <a:gd name="T35" fmla="*/ 9 h 230"/>
                    <a:gd name="T36" fmla="*/ 176 w 224"/>
                    <a:gd name="T37"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4" h="230">
                      <a:moveTo>
                        <a:pt x="0" y="218"/>
                      </a:moveTo>
                      <a:cubicBezTo>
                        <a:pt x="0" y="218"/>
                        <a:pt x="0" y="218"/>
                        <a:pt x="0" y="218"/>
                      </a:cubicBezTo>
                      <a:cubicBezTo>
                        <a:pt x="0" y="218"/>
                        <a:pt x="0" y="218"/>
                        <a:pt x="0" y="218"/>
                      </a:cubicBezTo>
                      <a:cubicBezTo>
                        <a:pt x="1" y="219"/>
                        <a:pt x="1" y="219"/>
                        <a:pt x="1" y="219"/>
                      </a:cubicBezTo>
                      <a:cubicBezTo>
                        <a:pt x="6" y="224"/>
                        <a:pt x="13" y="228"/>
                        <a:pt x="20" y="230"/>
                      </a:cubicBezTo>
                      <a:cubicBezTo>
                        <a:pt x="13" y="228"/>
                        <a:pt x="6" y="224"/>
                        <a:pt x="1" y="219"/>
                      </a:cubicBezTo>
                      <a:cubicBezTo>
                        <a:pt x="0" y="218"/>
                        <a:pt x="0" y="218"/>
                        <a:pt x="0" y="218"/>
                      </a:cubicBezTo>
                      <a:moveTo>
                        <a:pt x="176" y="0"/>
                      </a:moveTo>
                      <a:cubicBezTo>
                        <a:pt x="165" y="0"/>
                        <a:pt x="154" y="4"/>
                        <a:pt x="146" y="13"/>
                      </a:cubicBezTo>
                      <a:cubicBezTo>
                        <a:pt x="146" y="13"/>
                        <a:pt x="146" y="13"/>
                        <a:pt x="146" y="13"/>
                      </a:cubicBezTo>
                      <a:cubicBezTo>
                        <a:pt x="75" y="84"/>
                        <a:pt x="75" y="84"/>
                        <a:pt x="75" y="84"/>
                      </a:cubicBezTo>
                      <a:cubicBezTo>
                        <a:pt x="75" y="188"/>
                        <a:pt x="75" y="188"/>
                        <a:pt x="75" y="188"/>
                      </a:cubicBezTo>
                      <a:cubicBezTo>
                        <a:pt x="75" y="193"/>
                        <a:pt x="74" y="198"/>
                        <a:pt x="73" y="202"/>
                      </a:cubicBezTo>
                      <a:cubicBezTo>
                        <a:pt x="71" y="208"/>
                        <a:pt x="68" y="213"/>
                        <a:pt x="63" y="218"/>
                      </a:cubicBezTo>
                      <a:cubicBezTo>
                        <a:pt x="99" y="182"/>
                        <a:pt x="99" y="182"/>
                        <a:pt x="99" y="182"/>
                      </a:cubicBezTo>
                      <a:cubicBezTo>
                        <a:pt x="207" y="74"/>
                        <a:pt x="207" y="74"/>
                        <a:pt x="207" y="74"/>
                      </a:cubicBezTo>
                      <a:cubicBezTo>
                        <a:pt x="224" y="57"/>
                        <a:pt x="224" y="30"/>
                        <a:pt x="207" y="13"/>
                      </a:cubicBezTo>
                      <a:cubicBezTo>
                        <a:pt x="206" y="12"/>
                        <a:pt x="204" y="10"/>
                        <a:pt x="203" y="9"/>
                      </a:cubicBezTo>
                      <a:cubicBezTo>
                        <a:pt x="195" y="3"/>
                        <a:pt x="186" y="0"/>
                        <a:pt x="176" y="0"/>
                      </a:cubicBezTo>
                    </a:path>
                  </a:pathLst>
                </a:custGeom>
                <a:grp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68" name="Freeform 85">
                  <a:extLst>
                    <a:ext uri="{FF2B5EF4-FFF2-40B4-BE49-F238E27FC236}">
                      <a16:creationId xmlns:a16="http://schemas.microsoft.com/office/drawing/2014/main" id="{AE07F140-7D14-4568-884C-9BCEB45661B2}"/>
                    </a:ext>
                  </a:extLst>
                </p:cNvPr>
                <p:cNvSpPr>
                  <a:spLocks/>
                </p:cNvSpPr>
                <p:nvPr/>
              </p:nvSpPr>
              <p:spPr bwMode="auto">
                <a:xfrm>
                  <a:off x="-729113" y="-6644"/>
                  <a:ext cx="49946" cy="128301"/>
                </a:xfrm>
                <a:custGeom>
                  <a:avLst/>
                  <a:gdLst>
                    <a:gd name="T0" fmla="*/ 44 w 46"/>
                    <a:gd name="T1" fmla="*/ 0 h 118"/>
                    <a:gd name="T2" fmla="*/ 0 w 46"/>
                    <a:gd name="T3" fmla="*/ 43 h 118"/>
                    <a:gd name="T4" fmla="*/ 31 w 46"/>
                    <a:gd name="T5" fmla="*/ 74 h 118"/>
                    <a:gd name="T6" fmla="*/ 42 w 46"/>
                    <a:gd name="T7" fmla="*/ 118 h 118"/>
                    <a:gd name="T8" fmla="*/ 44 w 46"/>
                    <a:gd name="T9" fmla="*/ 104 h 118"/>
                    <a:gd name="T10" fmla="*/ 44 w 46"/>
                    <a:gd name="T11" fmla="*/ 0 h 118"/>
                  </a:gdLst>
                  <a:ahLst/>
                  <a:cxnLst>
                    <a:cxn ang="0">
                      <a:pos x="T0" y="T1"/>
                    </a:cxn>
                    <a:cxn ang="0">
                      <a:pos x="T2" y="T3"/>
                    </a:cxn>
                    <a:cxn ang="0">
                      <a:pos x="T4" y="T5"/>
                    </a:cxn>
                    <a:cxn ang="0">
                      <a:pos x="T6" y="T7"/>
                    </a:cxn>
                    <a:cxn ang="0">
                      <a:pos x="T8" y="T9"/>
                    </a:cxn>
                    <a:cxn ang="0">
                      <a:pos x="T10" y="T11"/>
                    </a:cxn>
                  </a:cxnLst>
                  <a:rect l="0" t="0" r="r" b="b"/>
                  <a:pathLst>
                    <a:path w="46" h="118">
                      <a:moveTo>
                        <a:pt x="44" y="0"/>
                      </a:moveTo>
                      <a:cubicBezTo>
                        <a:pt x="0" y="43"/>
                        <a:pt x="0" y="43"/>
                        <a:pt x="0" y="43"/>
                      </a:cubicBezTo>
                      <a:cubicBezTo>
                        <a:pt x="31" y="74"/>
                        <a:pt x="31" y="74"/>
                        <a:pt x="31" y="74"/>
                      </a:cubicBezTo>
                      <a:cubicBezTo>
                        <a:pt x="43" y="86"/>
                        <a:pt x="46" y="103"/>
                        <a:pt x="42" y="118"/>
                      </a:cubicBezTo>
                      <a:cubicBezTo>
                        <a:pt x="43" y="114"/>
                        <a:pt x="44" y="109"/>
                        <a:pt x="44" y="104"/>
                      </a:cubicBezTo>
                      <a:cubicBezTo>
                        <a:pt x="44" y="0"/>
                        <a:pt x="44" y="0"/>
                        <a:pt x="44" y="0"/>
                      </a:cubicBezTo>
                    </a:path>
                  </a:pathLst>
                </a:custGeom>
                <a:grp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69" name="Freeform 86">
                  <a:extLst>
                    <a:ext uri="{FF2B5EF4-FFF2-40B4-BE49-F238E27FC236}">
                      <a16:creationId xmlns:a16="http://schemas.microsoft.com/office/drawing/2014/main" id="{2A0511C1-FF42-4E01-8079-3EB98A4D327A}"/>
                    </a:ext>
                  </a:extLst>
                </p:cNvPr>
                <p:cNvSpPr>
                  <a:spLocks noEditPoints="1"/>
                </p:cNvSpPr>
                <p:nvPr/>
              </p:nvSpPr>
              <p:spPr bwMode="auto">
                <a:xfrm>
                  <a:off x="-741485" y="150066"/>
                  <a:ext cx="31617" cy="4124"/>
                </a:xfrm>
                <a:custGeom>
                  <a:avLst/>
                  <a:gdLst>
                    <a:gd name="T0" fmla="*/ 0 w 29"/>
                    <a:gd name="T1" fmla="*/ 2 h 4"/>
                    <a:gd name="T2" fmla="*/ 11 w 29"/>
                    <a:gd name="T3" fmla="*/ 4 h 4"/>
                    <a:gd name="T4" fmla="*/ 12 w 29"/>
                    <a:gd name="T5" fmla="*/ 4 h 4"/>
                    <a:gd name="T6" fmla="*/ 12 w 29"/>
                    <a:gd name="T7" fmla="*/ 4 h 4"/>
                    <a:gd name="T8" fmla="*/ 4 w 29"/>
                    <a:gd name="T9" fmla="*/ 3 h 4"/>
                    <a:gd name="T10" fmla="*/ 0 w 29"/>
                    <a:gd name="T11" fmla="*/ 2 h 4"/>
                    <a:gd name="T12" fmla="*/ 29 w 29"/>
                    <a:gd name="T13" fmla="*/ 0 h 4"/>
                    <a:gd name="T14" fmla="*/ 25 w 29"/>
                    <a:gd name="T15" fmla="*/ 2 h 4"/>
                    <a:gd name="T16" fmla="*/ 19 w 29"/>
                    <a:gd name="T17" fmla="*/ 3 h 4"/>
                    <a:gd name="T18" fmla="*/ 29 w 29"/>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4">
                      <a:moveTo>
                        <a:pt x="0" y="2"/>
                      </a:moveTo>
                      <a:cubicBezTo>
                        <a:pt x="4" y="3"/>
                        <a:pt x="8" y="4"/>
                        <a:pt x="11" y="4"/>
                      </a:cubicBezTo>
                      <a:cubicBezTo>
                        <a:pt x="12" y="4"/>
                        <a:pt x="12" y="4"/>
                        <a:pt x="12" y="4"/>
                      </a:cubicBezTo>
                      <a:cubicBezTo>
                        <a:pt x="12" y="4"/>
                        <a:pt x="12" y="4"/>
                        <a:pt x="12" y="4"/>
                      </a:cubicBezTo>
                      <a:cubicBezTo>
                        <a:pt x="9" y="4"/>
                        <a:pt x="7" y="3"/>
                        <a:pt x="4" y="3"/>
                      </a:cubicBezTo>
                      <a:cubicBezTo>
                        <a:pt x="3" y="3"/>
                        <a:pt x="2" y="2"/>
                        <a:pt x="0" y="2"/>
                      </a:cubicBezTo>
                      <a:moveTo>
                        <a:pt x="29" y="0"/>
                      </a:moveTo>
                      <a:cubicBezTo>
                        <a:pt x="28" y="0"/>
                        <a:pt x="26" y="1"/>
                        <a:pt x="25" y="2"/>
                      </a:cubicBezTo>
                      <a:cubicBezTo>
                        <a:pt x="23" y="2"/>
                        <a:pt x="21" y="2"/>
                        <a:pt x="19" y="3"/>
                      </a:cubicBezTo>
                      <a:cubicBezTo>
                        <a:pt x="23" y="2"/>
                        <a:pt x="26" y="1"/>
                        <a:pt x="29"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70" name="Freeform 87">
                  <a:extLst>
                    <a:ext uri="{FF2B5EF4-FFF2-40B4-BE49-F238E27FC236}">
                      <a16:creationId xmlns:a16="http://schemas.microsoft.com/office/drawing/2014/main" id="{EFF5CE9D-9E56-418E-A461-EECCC71362E2}"/>
                    </a:ext>
                  </a:extLst>
                </p:cNvPr>
                <p:cNvSpPr>
                  <a:spLocks noEditPoints="1"/>
                </p:cNvSpPr>
                <p:nvPr/>
              </p:nvSpPr>
              <p:spPr bwMode="auto">
                <a:xfrm>
                  <a:off x="-776310" y="106536"/>
                  <a:ext cx="92560" cy="46738"/>
                </a:xfrm>
                <a:custGeom>
                  <a:avLst/>
                  <a:gdLst>
                    <a:gd name="T0" fmla="*/ 85 w 85"/>
                    <a:gd name="T1" fmla="*/ 14 h 43"/>
                    <a:gd name="T2" fmla="*/ 57 w 85"/>
                    <a:gd name="T3" fmla="*/ 42 h 43"/>
                    <a:gd name="T4" fmla="*/ 61 w 85"/>
                    <a:gd name="T5" fmla="*/ 40 h 43"/>
                    <a:gd name="T6" fmla="*/ 74 w 85"/>
                    <a:gd name="T7" fmla="*/ 31 h 43"/>
                    <a:gd name="T8" fmla="*/ 75 w 85"/>
                    <a:gd name="T9" fmla="*/ 30 h 43"/>
                    <a:gd name="T10" fmla="*/ 85 w 85"/>
                    <a:gd name="T11" fmla="*/ 14 h 43"/>
                    <a:gd name="T12" fmla="*/ 0 w 85"/>
                    <a:gd name="T13" fmla="*/ 0 h 43"/>
                    <a:gd name="T14" fmla="*/ 12 w 85"/>
                    <a:gd name="T15" fmla="*/ 30 h 43"/>
                    <a:gd name="T16" fmla="*/ 13 w 85"/>
                    <a:gd name="T17" fmla="*/ 31 h 43"/>
                    <a:gd name="T18" fmla="*/ 32 w 85"/>
                    <a:gd name="T19" fmla="*/ 42 h 43"/>
                    <a:gd name="T20" fmla="*/ 36 w 85"/>
                    <a:gd name="T21" fmla="*/ 43 h 43"/>
                    <a:gd name="T22" fmla="*/ 0 w 85"/>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43">
                      <a:moveTo>
                        <a:pt x="85" y="14"/>
                      </a:moveTo>
                      <a:cubicBezTo>
                        <a:pt x="80" y="27"/>
                        <a:pt x="70" y="37"/>
                        <a:pt x="57" y="42"/>
                      </a:cubicBezTo>
                      <a:cubicBezTo>
                        <a:pt x="58" y="41"/>
                        <a:pt x="60" y="40"/>
                        <a:pt x="61" y="40"/>
                      </a:cubicBezTo>
                      <a:cubicBezTo>
                        <a:pt x="66" y="38"/>
                        <a:pt x="70" y="35"/>
                        <a:pt x="74" y="31"/>
                      </a:cubicBezTo>
                      <a:cubicBezTo>
                        <a:pt x="75" y="30"/>
                        <a:pt x="75" y="30"/>
                        <a:pt x="75" y="30"/>
                      </a:cubicBezTo>
                      <a:cubicBezTo>
                        <a:pt x="80" y="25"/>
                        <a:pt x="83" y="20"/>
                        <a:pt x="85" y="14"/>
                      </a:cubicBezTo>
                      <a:moveTo>
                        <a:pt x="0" y="0"/>
                      </a:moveTo>
                      <a:cubicBezTo>
                        <a:pt x="0" y="11"/>
                        <a:pt x="4" y="21"/>
                        <a:pt x="12" y="30"/>
                      </a:cubicBezTo>
                      <a:cubicBezTo>
                        <a:pt x="13" y="31"/>
                        <a:pt x="13" y="31"/>
                        <a:pt x="13" y="31"/>
                      </a:cubicBezTo>
                      <a:cubicBezTo>
                        <a:pt x="18" y="36"/>
                        <a:pt x="25" y="40"/>
                        <a:pt x="32" y="42"/>
                      </a:cubicBezTo>
                      <a:cubicBezTo>
                        <a:pt x="34" y="42"/>
                        <a:pt x="35" y="43"/>
                        <a:pt x="36" y="43"/>
                      </a:cubicBezTo>
                      <a:cubicBezTo>
                        <a:pt x="16" y="40"/>
                        <a:pt x="0" y="22"/>
                        <a:pt x="0"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74" name="Freeform 88">
                  <a:extLst>
                    <a:ext uri="{FF2B5EF4-FFF2-40B4-BE49-F238E27FC236}">
                      <a16:creationId xmlns:a16="http://schemas.microsoft.com/office/drawing/2014/main" id="{E8620BF0-DB32-4CB9-8C3F-E7F9A823BC90}"/>
                    </a:ext>
                  </a:extLst>
                </p:cNvPr>
                <p:cNvSpPr>
                  <a:spLocks/>
                </p:cNvSpPr>
                <p:nvPr/>
              </p:nvSpPr>
              <p:spPr bwMode="auto">
                <a:xfrm>
                  <a:off x="-736903" y="151899"/>
                  <a:ext cx="22911" cy="2291"/>
                </a:xfrm>
                <a:custGeom>
                  <a:avLst/>
                  <a:gdLst>
                    <a:gd name="T0" fmla="*/ 21 w 21"/>
                    <a:gd name="T1" fmla="*/ 0 h 2"/>
                    <a:gd name="T2" fmla="*/ 17 w 21"/>
                    <a:gd name="T3" fmla="*/ 1 h 2"/>
                    <a:gd name="T4" fmla="*/ 16 w 21"/>
                    <a:gd name="T5" fmla="*/ 1 h 2"/>
                    <a:gd name="T6" fmla="*/ 13 w 21"/>
                    <a:gd name="T7" fmla="*/ 1 h 2"/>
                    <a:gd name="T8" fmla="*/ 12 w 21"/>
                    <a:gd name="T9" fmla="*/ 1 h 2"/>
                    <a:gd name="T10" fmla="*/ 7 w 21"/>
                    <a:gd name="T11" fmla="*/ 2 h 2"/>
                    <a:gd name="T12" fmla="*/ 3 w 21"/>
                    <a:gd name="T13" fmla="*/ 1 h 2"/>
                    <a:gd name="T14" fmla="*/ 3 w 21"/>
                    <a:gd name="T15" fmla="*/ 1 h 2"/>
                    <a:gd name="T16" fmla="*/ 0 w 21"/>
                    <a:gd name="T17" fmla="*/ 1 h 2"/>
                    <a:gd name="T18" fmla="*/ 8 w 21"/>
                    <a:gd name="T19" fmla="*/ 2 h 2"/>
                    <a:gd name="T20" fmla="*/ 8 w 21"/>
                    <a:gd name="T21" fmla="*/ 2 h 2"/>
                    <a:gd name="T22" fmla="*/ 15 w 21"/>
                    <a:gd name="T23" fmla="*/ 1 h 2"/>
                    <a:gd name="T24" fmla="*/ 21 w 21"/>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
                      <a:moveTo>
                        <a:pt x="21" y="0"/>
                      </a:moveTo>
                      <a:cubicBezTo>
                        <a:pt x="19" y="0"/>
                        <a:pt x="18" y="0"/>
                        <a:pt x="17" y="1"/>
                      </a:cubicBezTo>
                      <a:cubicBezTo>
                        <a:pt x="16" y="1"/>
                        <a:pt x="16" y="1"/>
                        <a:pt x="16" y="1"/>
                      </a:cubicBezTo>
                      <a:cubicBezTo>
                        <a:pt x="15" y="1"/>
                        <a:pt x="14" y="1"/>
                        <a:pt x="13" y="1"/>
                      </a:cubicBezTo>
                      <a:cubicBezTo>
                        <a:pt x="12" y="1"/>
                        <a:pt x="12" y="1"/>
                        <a:pt x="12" y="1"/>
                      </a:cubicBezTo>
                      <a:cubicBezTo>
                        <a:pt x="10" y="1"/>
                        <a:pt x="9" y="2"/>
                        <a:pt x="7" y="2"/>
                      </a:cubicBezTo>
                      <a:cubicBezTo>
                        <a:pt x="6" y="2"/>
                        <a:pt x="5" y="1"/>
                        <a:pt x="3" y="1"/>
                      </a:cubicBezTo>
                      <a:cubicBezTo>
                        <a:pt x="3" y="1"/>
                        <a:pt x="3" y="1"/>
                        <a:pt x="3" y="1"/>
                      </a:cubicBezTo>
                      <a:cubicBezTo>
                        <a:pt x="2" y="1"/>
                        <a:pt x="1" y="1"/>
                        <a:pt x="0" y="1"/>
                      </a:cubicBezTo>
                      <a:cubicBezTo>
                        <a:pt x="3" y="1"/>
                        <a:pt x="5" y="2"/>
                        <a:pt x="8" y="2"/>
                      </a:cubicBezTo>
                      <a:cubicBezTo>
                        <a:pt x="8" y="2"/>
                        <a:pt x="8" y="2"/>
                        <a:pt x="8" y="2"/>
                      </a:cubicBezTo>
                      <a:cubicBezTo>
                        <a:pt x="10" y="2"/>
                        <a:pt x="13" y="1"/>
                        <a:pt x="15" y="1"/>
                      </a:cubicBezTo>
                      <a:cubicBezTo>
                        <a:pt x="17" y="0"/>
                        <a:pt x="19" y="0"/>
                        <a:pt x="21"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75" name="Freeform 89">
                  <a:extLst>
                    <a:ext uri="{FF2B5EF4-FFF2-40B4-BE49-F238E27FC236}">
                      <a16:creationId xmlns:a16="http://schemas.microsoft.com/office/drawing/2014/main" id="{6E90381C-0946-404E-A95E-EDA4DE474B66}"/>
                    </a:ext>
                  </a:extLst>
                </p:cNvPr>
                <p:cNvSpPr>
                  <a:spLocks/>
                </p:cNvSpPr>
                <p:nvPr/>
              </p:nvSpPr>
              <p:spPr bwMode="auto">
                <a:xfrm>
                  <a:off x="-776310" y="40094"/>
                  <a:ext cx="97142" cy="114096"/>
                </a:xfrm>
                <a:custGeom>
                  <a:avLst/>
                  <a:gdLst>
                    <a:gd name="T0" fmla="*/ 43 w 89"/>
                    <a:gd name="T1" fmla="*/ 0 h 105"/>
                    <a:gd name="T2" fmla="*/ 13 w 89"/>
                    <a:gd name="T3" fmla="*/ 31 h 105"/>
                    <a:gd name="T4" fmla="*/ 0 w 89"/>
                    <a:gd name="T5" fmla="*/ 61 h 105"/>
                    <a:gd name="T6" fmla="*/ 36 w 89"/>
                    <a:gd name="T7" fmla="*/ 104 h 105"/>
                    <a:gd name="T8" fmla="*/ 39 w 89"/>
                    <a:gd name="T9" fmla="*/ 104 h 105"/>
                    <a:gd name="T10" fmla="*/ 39 w 89"/>
                    <a:gd name="T11" fmla="*/ 104 h 105"/>
                    <a:gd name="T12" fmla="*/ 43 w 89"/>
                    <a:gd name="T13" fmla="*/ 105 h 105"/>
                    <a:gd name="T14" fmla="*/ 48 w 89"/>
                    <a:gd name="T15" fmla="*/ 104 h 105"/>
                    <a:gd name="T16" fmla="*/ 49 w 89"/>
                    <a:gd name="T17" fmla="*/ 104 h 105"/>
                    <a:gd name="T18" fmla="*/ 52 w 89"/>
                    <a:gd name="T19" fmla="*/ 104 h 105"/>
                    <a:gd name="T20" fmla="*/ 53 w 89"/>
                    <a:gd name="T21" fmla="*/ 104 h 105"/>
                    <a:gd name="T22" fmla="*/ 57 w 89"/>
                    <a:gd name="T23" fmla="*/ 103 h 105"/>
                    <a:gd name="T24" fmla="*/ 85 w 89"/>
                    <a:gd name="T25" fmla="*/ 75 h 105"/>
                    <a:gd name="T26" fmla="*/ 74 w 89"/>
                    <a:gd name="T27" fmla="*/ 31 h 105"/>
                    <a:gd name="T28" fmla="*/ 43 w 89"/>
                    <a:gd name="T2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105">
                      <a:moveTo>
                        <a:pt x="43" y="0"/>
                      </a:moveTo>
                      <a:cubicBezTo>
                        <a:pt x="13" y="31"/>
                        <a:pt x="13" y="31"/>
                        <a:pt x="13" y="31"/>
                      </a:cubicBezTo>
                      <a:cubicBezTo>
                        <a:pt x="4" y="39"/>
                        <a:pt x="0" y="50"/>
                        <a:pt x="0" y="61"/>
                      </a:cubicBezTo>
                      <a:cubicBezTo>
                        <a:pt x="0" y="83"/>
                        <a:pt x="16" y="101"/>
                        <a:pt x="36" y="104"/>
                      </a:cubicBezTo>
                      <a:cubicBezTo>
                        <a:pt x="37" y="104"/>
                        <a:pt x="38" y="104"/>
                        <a:pt x="39" y="104"/>
                      </a:cubicBezTo>
                      <a:cubicBezTo>
                        <a:pt x="39" y="104"/>
                        <a:pt x="39" y="104"/>
                        <a:pt x="39" y="104"/>
                      </a:cubicBezTo>
                      <a:cubicBezTo>
                        <a:pt x="41" y="104"/>
                        <a:pt x="42" y="105"/>
                        <a:pt x="43" y="105"/>
                      </a:cubicBezTo>
                      <a:cubicBezTo>
                        <a:pt x="45" y="105"/>
                        <a:pt x="46" y="104"/>
                        <a:pt x="48" y="104"/>
                      </a:cubicBezTo>
                      <a:cubicBezTo>
                        <a:pt x="49" y="104"/>
                        <a:pt x="49" y="104"/>
                        <a:pt x="49" y="104"/>
                      </a:cubicBezTo>
                      <a:cubicBezTo>
                        <a:pt x="50" y="104"/>
                        <a:pt x="51" y="104"/>
                        <a:pt x="52" y="104"/>
                      </a:cubicBezTo>
                      <a:cubicBezTo>
                        <a:pt x="53" y="104"/>
                        <a:pt x="53" y="104"/>
                        <a:pt x="53" y="104"/>
                      </a:cubicBezTo>
                      <a:cubicBezTo>
                        <a:pt x="54" y="103"/>
                        <a:pt x="55" y="103"/>
                        <a:pt x="57" y="103"/>
                      </a:cubicBezTo>
                      <a:cubicBezTo>
                        <a:pt x="70" y="98"/>
                        <a:pt x="80" y="88"/>
                        <a:pt x="85" y="75"/>
                      </a:cubicBezTo>
                      <a:cubicBezTo>
                        <a:pt x="89" y="60"/>
                        <a:pt x="86" y="43"/>
                        <a:pt x="74" y="31"/>
                      </a:cubicBezTo>
                      <a:cubicBezTo>
                        <a:pt x="43" y="0"/>
                        <a:pt x="43" y="0"/>
                        <a:pt x="43" y="0"/>
                      </a:cubicBezTo>
                    </a:path>
                  </a:pathLst>
                </a:custGeom>
                <a:grp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grpSp>
          <p:grpSp>
            <p:nvGrpSpPr>
              <p:cNvPr id="119" name="Group 118">
                <a:extLst>
                  <a:ext uri="{FF2B5EF4-FFF2-40B4-BE49-F238E27FC236}">
                    <a16:creationId xmlns:a16="http://schemas.microsoft.com/office/drawing/2014/main" id="{3BA86306-99E8-478C-923C-DE50E2604458}"/>
                  </a:ext>
                </a:extLst>
              </p:cNvPr>
              <p:cNvGrpSpPr/>
              <p:nvPr/>
            </p:nvGrpSpPr>
            <p:grpSpPr>
              <a:xfrm rot="10800000">
                <a:off x="1716917" y="3558323"/>
                <a:ext cx="260048" cy="292198"/>
                <a:chOff x="-938060" y="-316399"/>
                <a:chExt cx="418810" cy="470589"/>
              </a:xfrm>
              <a:grpFill/>
            </p:grpSpPr>
            <p:sp>
              <p:nvSpPr>
                <p:cNvPr id="146" name="Freeform 80">
                  <a:extLst>
                    <a:ext uri="{FF2B5EF4-FFF2-40B4-BE49-F238E27FC236}">
                      <a16:creationId xmlns:a16="http://schemas.microsoft.com/office/drawing/2014/main" id="{1F99F597-EE68-4DF5-93B1-69C98A5D82B7}"/>
                    </a:ext>
                  </a:extLst>
                </p:cNvPr>
                <p:cNvSpPr>
                  <a:spLocks noEditPoints="1"/>
                </p:cNvSpPr>
                <p:nvPr/>
              </p:nvSpPr>
              <p:spPr bwMode="auto">
                <a:xfrm>
                  <a:off x="-938060" y="-97829"/>
                  <a:ext cx="243772" cy="247896"/>
                </a:xfrm>
                <a:custGeom>
                  <a:avLst/>
                  <a:gdLst>
                    <a:gd name="T0" fmla="*/ 224 w 224"/>
                    <a:gd name="T1" fmla="*/ 218 h 228"/>
                    <a:gd name="T2" fmla="*/ 223 w 224"/>
                    <a:gd name="T3" fmla="*/ 219 h 228"/>
                    <a:gd name="T4" fmla="*/ 210 w 224"/>
                    <a:gd name="T5" fmla="*/ 228 h 228"/>
                    <a:gd name="T6" fmla="*/ 223 w 224"/>
                    <a:gd name="T7" fmla="*/ 219 h 228"/>
                    <a:gd name="T8" fmla="*/ 224 w 224"/>
                    <a:gd name="T9" fmla="*/ 218 h 228"/>
                    <a:gd name="T10" fmla="*/ 224 w 224"/>
                    <a:gd name="T11" fmla="*/ 218 h 228"/>
                    <a:gd name="T12" fmla="*/ 224 w 224"/>
                    <a:gd name="T13" fmla="*/ 218 h 228"/>
                    <a:gd name="T14" fmla="*/ 48 w 224"/>
                    <a:gd name="T15" fmla="*/ 0 h 228"/>
                    <a:gd name="T16" fmla="*/ 17 w 224"/>
                    <a:gd name="T17" fmla="*/ 13 h 228"/>
                    <a:gd name="T18" fmla="*/ 17 w 224"/>
                    <a:gd name="T19" fmla="*/ 13 h 228"/>
                    <a:gd name="T20" fmla="*/ 17 w 224"/>
                    <a:gd name="T21" fmla="*/ 13 h 228"/>
                    <a:gd name="T22" fmla="*/ 13 w 224"/>
                    <a:gd name="T23" fmla="*/ 17 h 228"/>
                    <a:gd name="T24" fmla="*/ 17 w 224"/>
                    <a:gd name="T25" fmla="*/ 74 h 228"/>
                    <a:gd name="T26" fmla="*/ 113 w 224"/>
                    <a:gd name="T27" fmla="*/ 170 h 228"/>
                    <a:gd name="T28" fmla="*/ 161 w 224"/>
                    <a:gd name="T29" fmla="*/ 218 h 228"/>
                    <a:gd name="T30" fmla="*/ 149 w 224"/>
                    <a:gd name="T31" fmla="*/ 188 h 228"/>
                    <a:gd name="T32" fmla="*/ 149 w 224"/>
                    <a:gd name="T33" fmla="*/ 188 h 228"/>
                    <a:gd name="T34" fmla="*/ 149 w 224"/>
                    <a:gd name="T35" fmla="*/ 84 h 228"/>
                    <a:gd name="T36" fmla="*/ 149 w 224"/>
                    <a:gd name="T37" fmla="*/ 84 h 228"/>
                    <a:gd name="T38" fmla="*/ 78 w 224"/>
                    <a:gd name="T39" fmla="*/ 13 h 228"/>
                    <a:gd name="T40" fmla="*/ 78 w 224"/>
                    <a:gd name="T41" fmla="*/ 13 h 228"/>
                    <a:gd name="T42" fmla="*/ 48 w 224"/>
                    <a:gd name="T43"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4" h="228">
                      <a:moveTo>
                        <a:pt x="224" y="218"/>
                      </a:moveTo>
                      <a:cubicBezTo>
                        <a:pt x="223" y="219"/>
                        <a:pt x="223" y="219"/>
                        <a:pt x="223" y="219"/>
                      </a:cubicBezTo>
                      <a:cubicBezTo>
                        <a:pt x="219" y="223"/>
                        <a:pt x="215" y="226"/>
                        <a:pt x="210" y="228"/>
                      </a:cubicBezTo>
                      <a:cubicBezTo>
                        <a:pt x="215" y="226"/>
                        <a:pt x="219" y="223"/>
                        <a:pt x="223" y="219"/>
                      </a:cubicBezTo>
                      <a:cubicBezTo>
                        <a:pt x="224" y="218"/>
                        <a:pt x="224" y="218"/>
                        <a:pt x="224" y="218"/>
                      </a:cubicBezTo>
                      <a:cubicBezTo>
                        <a:pt x="224" y="218"/>
                        <a:pt x="224" y="218"/>
                        <a:pt x="224" y="218"/>
                      </a:cubicBezTo>
                      <a:cubicBezTo>
                        <a:pt x="224" y="218"/>
                        <a:pt x="224" y="218"/>
                        <a:pt x="224" y="218"/>
                      </a:cubicBezTo>
                      <a:moveTo>
                        <a:pt x="48" y="0"/>
                      </a:moveTo>
                      <a:cubicBezTo>
                        <a:pt x="37" y="0"/>
                        <a:pt x="25" y="4"/>
                        <a:pt x="17" y="13"/>
                      </a:cubicBezTo>
                      <a:cubicBezTo>
                        <a:pt x="17" y="13"/>
                        <a:pt x="17" y="13"/>
                        <a:pt x="17" y="13"/>
                      </a:cubicBezTo>
                      <a:cubicBezTo>
                        <a:pt x="17" y="13"/>
                        <a:pt x="17" y="13"/>
                        <a:pt x="17" y="13"/>
                      </a:cubicBezTo>
                      <a:cubicBezTo>
                        <a:pt x="16" y="14"/>
                        <a:pt x="14" y="16"/>
                        <a:pt x="13" y="17"/>
                      </a:cubicBezTo>
                      <a:cubicBezTo>
                        <a:pt x="0" y="34"/>
                        <a:pt x="2" y="59"/>
                        <a:pt x="17" y="74"/>
                      </a:cubicBezTo>
                      <a:cubicBezTo>
                        <a:pt x="113" y="170"/>
                        <a:pt x="113" y="170"/>
                        <a:pt x="113" y="170"/>
                      </a:cubicBezTo>
                      <a:cubicBezTo>
                        <a:pt x="161" y="218"/>
                        <a:pt x="161" y="218"/>
                        <a:pt x="161" y="218"/>
                      </a:cubicBezTo>
                      <a:cubicBezTo>
                        <a:pt x="153" y="209"/>
                        <a:pt x="149" y="199"/>
                        <a:pt x="149" y="188"/>
                      </a:cubicBezTo>
                      <a:cubicBezTo>
                        <a:pt x="149" y="188"/>
                        <a:pt x="149" y="188"/>
                        <a:pt x="149" y="188"/>
                      </a:cubicBezTo>
                      <a:cubicBezTo>
                        <a:pt x="149" y="84"/>
                        <a:pt x="149" y="84"/>
                        <a:pt x="149" y="84"/>
                      </a:cubicBezTo>
                      <a:cubicBezTo>
                        <a:pt x="149" y="84"/>
                        <a:pt x="149" y="84"/>
                        <a:pt x="149" y="84"/>
                      </a:cubicBezTo>
                      <a:cubicBezTo>
                        <a:pt x="78" y="13"/>
                        <a:pt x="78" y="13"/>
                        <a:pt x="78" y="13"/>
                      </a:cubicBezTo>
                      <a:cubicBezTo>
                        <a:pt x="78" y="13"/>
                        <a:pt x="78" y="13"/>
                        <a:pt x="78" y="13"/>
                      </a:cubicBezTo>
                      <a:cubicBezTo>
                        <a:pt x="70" y="4"/>
                        <a:pt x="59" y="0"/>
                        <a:pt x="48" y="0"/>
                      </a:cubicBezTo>
                    </a:path>
                  </a:pathLst>
                </a:custGeom>
                <a:grp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47" name="Freeform 78">
                  <a:extLst>
                    <a:ext uri="{FF2B5EF4-FFF2-40B4-BE49-F238E27FC236}">
                      <a16:creationId xmlns:a16="http://schemas.microsoft.com/office/drawing/2014/main" id="{1299C2EB-E1B2-422A-A68F-778563681C98}"/>
                    </a:ext>
                  </a:extLst>
                </p:cNvPr>
                <p:cNvSpPr>
                  <a:spLocks/>
                </p:cNvSpPr>
                <p:nvPr/>
              </p:nvSpPr>
              <p:spPr bwMode="auto">
                <a:xfrm>
                  <a:off x="-776310" y="-316399"/>
                  <a:ext cx="94851" cy="356493"/>
                </a:xfrm>
                <a:custGeom>
                  <a:avLst/>
                  <a:gdLst>
                    <a:gd name="T0" fmla="*/ 44 w 87"/>
                    <a:gd name="T1" fmla="*/ 0 h 328"/>
                    <a:gd name="T2" fmla="*/ 0 w 87"/>
                    <a:gd name="T3" fmla="*/ 43 h 328"/>
                    <a:gd name="T4" fmla="*/ 0 w 87"/>
                    <a:gd name="T5" fmla="*/ 285 h 328"/>
                    <a:gd name="T6" fmla="*/ 43 w 87"/>
                    <a:gd name="T7" fmla="*/ 328 h 328"/>
                    <a:gd name="T8" fmla="*/ 87 w 87"/>
                    <a:gd name="T9" fmla="*/ 285 h 328"/>
                    <a:gd name="T10" fmla="*/ 87 w 87"/>
                    <a:gd name="T11" fmla="*/ 43 h 328"/>
                    <a:gd name="T12" fmla="*/ 44 w 87"/>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87" h="328">
                      <a:moveTo>
                        <a:pt x="44" y="0"/>
                      </a:moveTo>
                      <a:cubicBezTo>
                        <a:pt x="20" y="0"/>
                        <a:pt x="0" y="19"/>
                        <a:pt x="0" y="43"/>
                      </a:cubicBezTo>
                      <a:cubicBezTo>
                        <a:pt x="0" y="285"/>
                        <a:pt x="0" y="285"/>
                        <a:pt x="0" y="285"/>
                      </a:cubicBezTo>
                      <a:cubicBezTo>
                        <a:pt x="43" y="328"/>
                        <a:pt x="43" y="328"/>
                        <a:pt x="43" y="328"/>
                      </a:cubicBezTo>
                      <a:cubicBezTo>
                        <a:pt x="87" y="285"/>
                        <a:pt x="87" y="285"/>
                        <a:pt x="87" y="285"/>
                      </a:cubicBezTo>
                      <a:cubicBezTo>
                        <a:pt x="87" y="43"/>
                        <a:pt x="87" y="43"/>
                        <a:pt x="87" y="43"/>
                      </a:cubicBezTo>
                      <a:cubicBezTo>
                        <a:pt x="87" y="19"/>
                        <a:pt x="67" y="0"/>
                        <a:pt x="44" y="0"/>
                      </a:cubicBezTo>
                    </a:path>
                  </a:pathLst>
                </a:custGeom>
                <a:grp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48" name="Freeform 79">
                  <a:extLst>
                    <a:ext uri="{FF2B5EF4-FFF2-40B4-BE49-F238E27FC236}">
                      <a16:creationId xmlns:a16="http://schemas.microsoft.com/office/drawing/2014/main" id="{1746AE28-FA7D-4C38-A6DE-0AD25C6A411A}"/>
                    </a:ext>
                  </a:extLst>
                </p:cNvPr>
                <p:cNvSpPr>
                  <a:spLocks noEditPoints="1"/>
                </p:cNvSpPr>
                <p:nvPr/>
              </p:nvSpPr>
              <p:spPr bwMode="auto">
                <a:xfrm>
                  <a:off x="-938060" y="-84083"/>
                  <a:ext cx="243772" cy="238273"/>
                </a:xfrm>
                <a:custGeom>
                  <a:avLst/>
                  <a:gdLst>
                    <a:gd name="T0" fmla="*/ 224 w 224"/>
                    <a:gd name="T1" fmla="*/ 205 h 219"/>
                    <a:gd name="T2" fmla="*/ 224 w 224"/>
                    <a:gd name="T3" fmla="*/ 205 h 219"/>
                    <a:gd name="T4" fmla="*/ 223 w 224"/>
                    <a:gd name="T5" fmla="*/ 206 h 219"/>
                    <a:gd name="T6" fmla="*/ 210 w 224"/>
                    <a:gd name="T7" fmla="*/ 215 h 219"/>
                    <a:gd name="T8" fmla="*/ 200 w 224"/>
                    <a:gd name="T9" fmla="*/ 218 h 219"/>
                    <a:gd name="T10" fmla="*/ 193 w 224"/>
                    <a:gd name="T11" fmla="*/ 219 h 219"/>
                    <a:gd name="T12" fmla="*/ 192 w 224"/>
                    <a:gd name="T13" fmla="*/ 219 h 219"/>
                    <a:gd name="T14" fmla="*/ 193 w 224"/>
                    <a:gd name="T15" fmla="*/ 219 h 219"/>
                    <a:gd name="T16" fmla="*/ 223 w 224"/>
                    <a:gd name="T17" fmla="*/ 206 h 219"/>
                    <a:gd name="T18" fmla="*/ 223 w 224"/>
                    <a:gd name="T19" fmla="*/ 206 h 219"/>
                    <a:gd name="T20" fmla="*/ 224 w 224"/>
                    <a:gd name="T21" fmla="*/ 205 h 219"/>
                    <a:gd name="T22" fmla="*/ 13 w 224"/>
                    <a:gd name="T23" fmla="*/ 4 h 219"/>
                    <a:gd name="T24" fmla="*/ 17 w 224"/>
                    <a:gd name="T25" fmla="*/ 61 h 219"/>
                    <a:gd name="T26" fmla="*/ 113 w 224"/>
                    <a:gd name="T27" fmla="*/ 157 h 219"/>
                    <a:gd name="T28" fmla="*/ 17 w 224"/>
                    <a:gd name="T29" fmla="*/ 61 h 219"/>
                    <a:gd name="T30" fmla="*/ 13 w 224"/>
                    <a:gd name="T31" fmla="*/ 4 h 219"/>
                    <a:gd name="T32" fmla="*/ 78 w 224"/>
                    <a:gd name="T33" fmla="*/ 0 h 219"/>
                    <a:gd name="T34" fmla="*/ 78 w 224"/>
                    <a:gd name="T35" fmla="*/ 0 h 219"/>
                    <a:gd name="T36" fmla="*/ 149 w 224"/>
                    <a:gd name="T37" fmla="*/ 71 h 219"/>
                    <a:gd name="T38" fmla="*/ 78 w 224"/>
                    <a:gd name="T39" fmla="*/ 0 h 219"/>
                    <a:gd name="T40" fmla="*/ 78 w 224"/>
                    <a:gd name="T4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19">
                      <a:moveTo>
                        <a:pt x="224" y="205"/>
                      </a:moveTo>
                      <a:cubicBezTo>
                        <a:pt x="224" y="205"/>
                        <a:pt x="224" y="205"/>
                        <a:pt x="224" y="205"/>
                      </a:cubicBezTo>
                      <a:cubicBezTo>
                        <a:pt x="223" y="206"/>
                        <a:pt x="223" y="206"/>
                        <a:pt x="223" y="206"/>
                      </a:cubicBezTo>
                      <a:cubicBezTo>
                        <a:pt x="219" y="210"/>
                        <a:pt x="215" y="213"/>
                        <a:pt x="210" y="215"/>
                      </a:cubicBezTo>
                      <a:cubicBezTo>
                        <a:pt x="207" y="216"/>
                        <a:pt x="204" y="217"/>
                        <a:pt x="200" y="218"/>
                      </a:cubicBezTo>
                      <a:cubicBezTo>
                        <a:pt x="198" y="218"/>
                        <a:pt x="195" y="219"/>
                        <a:pt x="193" y="219"/>
                      </a:cubicBezTo>
                      <a:cubicBezTo>
                        <a:pt x="193" y="219"/>
                        <a:pt x="193" y="219"/>
                        <a:pt x="192" y="219"/>
                      </a:cubicBezTo>
                      <a:cubicBezTo>
                        <a:pt x="193" y="219"/>
                        <a:pt x="193" y="219"/>
                        <a:pt x="193" y="219"/>
                      </a:cubicBezTo>
                      <a:cubicBezTo>
                        <a:pt x="204" y="219"/>
                        <a:pt x="215" y="214"/>
                        <a:pt x="223" y="206"/>
                      </a:cubicBezTo>
                      <a:cubicBezTo>
                        <a:pt x="223" y="206"/>
                        <a:pt x="223" y="206"/>
                        <a:pt x="223" y="206"/>
                      </a:cubicBezTo>
                      <a:cubicBezTo>
                        <a:pt x="224" y="205"/>
                        <a:pt x="224" y="205"/>
                        <a:pt x="224" y="205"/>
                      </a:cubicBezTo>
                      <a:moveTo>
                        <a:pt x="13" y="4"/>
                      </a:moveTo>
                      <a:cubicBezTo>
                        <a:pt x="0" y="21"/>
                        <a:pt x="2" y="46"/>
                        <a:pt x="17" y="61"/>
                      </a:cubicBezTo>
                      <a:cubicBezTo>
                        <a:pt x="113" y="157"/>
                        <a:pt x="113" y="157"/>
                        <a:pt x="113" y="157"/>
                      </a:cubicBezTo>
                      <a:cubicBezTo>
                        <a:pt x="17" y="61"/>
                        <a:pt x="17" y="61"/>
                        <a:pt x="17" y="61"/>
                      </a:cubicBezTo>
                      <a:cubicBezTo>
                        <a:pt x="2" y="46"/>
                        <a:pt x="0" y="21"/>
                        <a:pt x="13" y="4"/>
                      </a:cubicBezTo>
                      <a:moveTo>
                        <a:pt x="78" y="0"/>
                      </a:moveTo>
                      <a:cubicBezTo>
                        <a:pt x="78" y="0"/>
                        <a:pt x="78" y="0"/>
                        <a:pt x="78" y="0"/>
                      </a:cubicBezTo>
                      <a:cubicBezTo>
                        <a:pt x="149" y="71"/>
                        <a:pt x="149" y="71"/>
                        <a:pt x="149" y="71"/>
                      </a:cubicBezTo>
                      <a:cubicBezTo>
                        <a:pt x="78" y="0"/>
                        <a:pt x="78" y="0"/>
                        <a:pt x="78" y="0"/>
                      </a:cubicBezTo>
                      <a:cubicBezTo>
                        <a:pt x="78" y="0"/>
                        <a:pt x="78" y="0"/>
                        <a:pt x="78"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49" name="Freeform 81">
                  <a:extLst>
                    <a:ext uri="{FF2B5EF4-FFF2-40B4-BE49-F238E27FC236}">
                      <a16:creationId xmlns:a16="http://schemas.microsoft.com/office/drawing/2014/main" id="{A17347A4-2FDB-4DA9-9146-941CCBC7DD9A}"/>
                    </a:ext>
                  </a:extLst>
                </p:cNvPr>
                <p:cNvSpPr>
                  <a:spLocks/>
                </p:cNvSpPr>
                <p:nvPr/>
              </p:nvSpPr>
              <p:spPr bwMode="auto">
                <a:xfrm>
                  <a:off x="-728197" y="153274"/>
                  <a:ext cx="7790" cy="916"/>
                </a:xfrm>
                <a:custGeom>
                  <a:avLst/>
                  <a:gdLst>
                    <a:gd name="T0" fmla="*/ 7 w 7"/>
                    <a:gd name="T1" fmla="*/ 0 h 1"/>
                    <a:gd name="T2" fmla="*/ 0 w 7"/>
                    <a:gd name="T3" fmla="*/ 1 h 1"/>
                    <a:gd name="T4" fmla="*/ 7 w 7"/>
                    <a:gd name="T5" fmla="*/ 0 h 1"/>
                  </a:gdLst>
                  <a:ahLst/>
                  <a:cxnLst>
                    <a:cxn ang="0">
                      <a:pos x="T0" y="T1"/>
                    </a:cxn>
                    <a:cxn ang="0">
                      <a:pos x="T2" y="T3"/>
                    </a:cxn>
                    <a:cxn ang="0">
                      <a:pos x="T4" y="T5"/>
                    </a:cxn>
                  </a:cxnLst>
                  <a:rect l="0" t="0" r="r" b="b"/>
                  <a:pathLst>
                    <a:path w="7" h="1">
                      <a:moveTo>
                        <a:pt x="7" y="0"/>
                      </a:moveTo>
                      <a:cubicBezTo>
                        <a:pt x="5" y="0"/>
                        <a:pt x="2" y="1"/>
                        <a:pt x="0" y="1"/>
                      </a:cubicBezTo>
                      <a:cubicBezTo>
                        <a:pt x="2" y="1"/>
                        <a:pt x="5" y="0"/>
                        <a:pt x="7"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50" name="Freeform 82">
                  <a:extLst>
                    <a:ext uri="{FF2B5EF4-FFF2-40B4-BE49-F238E27FC236}">
                      <a16:creationId xmlns:a16="http://schemas.microsoft.com/office/drawing/2014/main" id="{03203BEE-F050-49AE-AEED-39E3E3617126}"/>
                    </a:ext>
                  </a:extLst>
                </p:cNvPr>
                <p:cNvSpPr>
                  <a:spLocks/>
                </p:cNvSpPr>
                <p:nvPr/>
              </p:nvSpPr>
              <p:spPr bwMode="auto">
                <a:xfrm>
                  <a:off x="-776310" y="-6644"/>
                  <a:ext cx="47196" cy="113180"/>
                </a:xfrm>
                <a:custGeom>
                  <a:avLst/>
                  <a:gdLst>
                    <a:gd name="T0" fmla="*/ 0 w 43"/>
                    <a:gd name="T1" fmla="*/ 0 h 104"/>
                    <a:gd name="T2" fmla="*/ 0 w 43"/>
                    <a:gd name="T3" fmla="*/ 104 h 104"/>
                    <a:gd name="T4" fmla="*/ 0 w 43"/>
                    <a:gd name="T5" fmla="*/ 104 h 104"/>
                    <a:gd name="T6" fmla="*/ 13 w 43"/>
                    <a:gd name="T7" fmla="*/ 74 h 104"/>
                    <a:gd name="T8" fmla="*/ 43 w 43"/>
                    <a:gd name="T9" fmla="*/ 43 h 104"/>
                    <a:gd name="T10" fmla="*/ 0 w 43"/>
                    <a:gd name="T11" fmla="*/ 0 h 104"/>
                  </a:gdLst>
                  <a:ahLst/>
                  <a:cxnLst>
                    <a:cxn ang="0">
                      <a:pos x="T0" y="T1"/>
                    </a:cxn>
                    <a:cxn ang="0">
                      <a:pos x="T2" y="T3"/>
                    </a:cxn>
                    <a:cxn ang="0">
                      <a:pos x="T4" y="T5"/>
                    </a:cxn>
                    <a:cxn ang="0">
                      <a:pos x="T6" y="T7"/>
                    </a:cxn>
                    <a:cxn ang="0">
                      <a:pos x="T8" y="T9"/>
                    </a:cxn>
                    <a:cxn ang="0">
                      <a:pos x="T10" y="T11"/>
                    </a:cxn>
                  </a:cxnLst>
                  <a:rect l="0" t="0" r="r" b="b"/>
                  <a:pathLst>
                    <a:path w="43" h="104">
                      <a:moveTo>
                        <a:pt x="0" y="0"/>
                      </a:moveTo>
                      <a:cubicBezTo>
                        <a:pt x="0" y="104"/>
                        <a:pt x="0" y="104"/>
                        <a:pt x="0" y="104"/>
                      </a:cubicBezTo>
                      <a:cubicBezTo>
                        <a:pt x="0" y="104"/>
                        <a:pt x="0" y="104"/>
                        <a:pt x="0" y="104"/>
                      </a:cubicBezTo>
                      <a:cubicBezTo>
                        <a:pt x="0" y="93"/>
                        <a:pt x="4" y="82"/>
                        <a:pt x="13" y="74"/>
                      </a:cubicBezTo>
                      <a:cubicBezTo>
                        <a:pt x="43" y="43"/>
                        <a:pt x="43" y="43"/>
                        <a:pt x="43" y="43"/>
                      </a:cubicBezTo>
                      <a:cubicBezTo>
                        <a:pt x="0" y="0"/>
                        <a:pt x="0" y="0"/>
                        <a:pt x="0" y="0"/>
                      </a:cubicBezTo>
                    </a:path>
                  </a:pathLst>
                </a:custGeom>
                <a:grp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52" name="Freeform 83">
                  <a:extLst>
                    <a:ext uri="{FF2B5EF4-FFF2-40B4-BE49-F238E27FC236}">
                      <a16:creationId xmlns:a16="http://schemas.microsoft.com/office/drawing/2014/main" id="{009C7D5A-0987-43C2-B140-AFFB3EC08706}"/>
                    </a:ext>
                  </a:extLst>
                </p:cNvPr>
                <p:cNvSpPr>
                  <a:spLocks noEditPoints="1"/>
                </p:cNvSpPr>
                <p:nvPr/>
              </p:nvSpPr>
              <p:spPr bwMode="auto">
                <a:xfrm>
                  <a:off x="-763022" y="-88207"/>
                  <a:ext cx="243772" cy="242397"/>
                </a:xfrm>
                <a:custGeom>
                  <a:avLst/>
                  <a:gdLst>
                    <a:gd name="T0" fmla="*/ 0 w 224"/>
                    <a:gd name="T1" fmla="*/ 209 h 223"/>
                    <a:gd name="T2" fmla="*/ 1 w 224"/>
                    <a:gd name="T3" fmla="*/ 210 h 223"/>
                    <a:gd name="T4" fmla="*/ 31 w 224"/>
                    <a:gd name="T5" fmla="*/ 223 h 223"/>
                    <a:gd name="T6" fmla="*/ 31 w 224"/>
                    <a:gd name="T7" fmla="*/ 223 h 223"/>
                    <a:gd name="T8" fmla="*/ 20 w 224"/>
                    <a:gd name="T9" fmla="*/ 221 h 223"/>
                    <a:gd name="T10" fmla="*/ 1 w 224"/>
                    <a:gd name="T11" fmla="*/ 210 h 223"/>
                    <a:gd name="T12" fmla="*/ 0 w 224"/>
                    <a:gd name="T13" fmla="*/ 209 h 223"/>
                    <a:gd name="T14" fmla="*/ 0 w 224"/>
                    <a:gd name="T15" fmla="*/ 209 h 223"/>
                    <a:gd name="T16" fmla="*/ 146 w 224"/>
                    <a:gd name="T17" fmla="*/ 4 h 223"/>
                    <a:gd name="T18" fmla="*/ 146 w 224"/>
                    <a:gd name="T19" fmla="*/ 4 h 223"/>
                    <a:gd name="T20" fmla="*/ 75 w 224"/>
                    <a:gd name="T21" fmla="*/ 75 h 223"/>
                    <a:gd name="T22" fmla="*/ 75 w 224"/>
                    <a:gd name="T23" fmla="*/ 75 h 223"/>
                    <a:gd name="T24" fmla="*/ 146 w 224"/>
                    <a:gd name="T25" fmla="*/ 4 h 223"/>
                    <a:gd name="T26" fmla="*/ 146 w 224"/>
                    <a:gd name="T27" fmla="*/ 4 h 223"/>
                    <a:gd name="T28" fmla="*/ 203 w 224"/>
                    <a:gd name="T29" fmla="*/ 0 h 223"/>
                    <a:gd name="T30" fmla="*/ 207 w 224"/>
                    <a:gd name="T31" fmla="*/ 4 h 223"/>
                    <a:gd name="T32" fmla="*/ 207 w 224"/>
                    <a:gd name="T33" fmla="*/ 65 h 223"/>
                    <a:gd name="T34" fmla="*/ 99 w 224"/>
                    <a:gd name="T35" fmla="*/ 173 h 223"/>
                    <a:gd name="T36" fmla="*/ 207 w 224"/>
                    <a:gd name="T37" fmla="*/ 65 h 223"/>
                    <a:gd name="T38" fmla="*/ 207 w 224"/>
                    <a:gd name="T39" fmla="*/ 4 h 223"/>
                    <a:gd name="T40" fmla="*/ 207 w 224"/>
                    <a:gd name="T41" fmla="*/ 4 h 223"/>
                    <a:gd name="T42" fmla="*/ 203 w 224"/>
                    <a:gd name="T43"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4" h="223">
                      <a:moveTo>
                        <a:pt x="0" y="209"/>
                      </a:moveTo>
                      <a:cubicBezTo>
                        <a:pt x="0" y="209"/>
                        <a:pt x="0" y="209"/>
                        <a:pt x="1" y="210"/>
                      </a:cubicBezTo>
                      <a:cubicBezTo>
                        <a:pt x="9" y="218"/>
                        <a:pt x="20" y="223"/>
                        <a:pt x="31" y="223"/>
                      </a:cubicBezTo>
                      <a:cubicBezTo>
                        <a:pt x="31" y="223"/>
                        <a:pt x="31" y="223"/>
                        <a:pt x="31" y="223"/>
                      </a:cubicBezTo>
                      <a:cubicBezTo>
                        <a:pt x="28" y="223"/>
                        <a:pt x="24" y="222"/>
                        <a:pt x="20" y="221"/>
                      </a:cubicBezTo>
                      <a:cubicBezTo>
                        <a:pt x="13" y="219"/>
                        <a:pt x="6" y="215"/>
                        <a:pt x="1" y="210"/>
                      </a:cubicBezTo>
                      <a:cubicBezTo>
                        <a:pt x="0" y="209"/>
                        <a:pt x="0" y="209"/>
                        <a:pt x="0" y="209"/>
                      </a:cubicBezTo>
                      <a:cubicBezTo>
                        <a:pt x="0" y="209"/>
                        <a:pt x="0" y="209"/>
                        <a:pt x="0" y="209"/>
                      </a:cubicBezTo>
                      <a:moveTo>
                        <a:pt x="146" y="4"/>
                      </a:moveTo>
                      <a:cubicBezTo>
                        <a:pt x="146" y="4"/>
                        <a:pt x="146" y="4"/>
                        <a:pt x="146" y="4"/>
                      </a:cubicBezTo>
                      <a:cubicBezTo>
                        <a:pt x="75" y="75"/>
                        <a:pt x="75" y="75"/>
                        <a:pt x="75" y="75"/>
                      </a:cubicBezTo>
                      <a:cubicBezTo>
                        <a:pt x="75" y="75"/>
                        <a:pt x="75" y="75"/>
                        <a:pt x="75" y="75"/>
                      </a:cubicBezTo>
                      <a:cubicBezTo>
                        <a:pt x="146" y="4"/>
                        <a:pt x="146" y="4"/>
                        <a:pt x="146" y="4"/>
                      </a:cubicBezTo>
                      <a:cubicBezTo>
                        <a:pt x="146" y="4"/>
                        <a:pt x="146" y="4"/>
                        <a:pt x="146" y="4"/>
                      </a:cubicBezTo>
                      <a:moveTo>
                        <a:pt x="203" y="0"/>
                      </a:moveTo>
                      <a:cubicBezTo>
                        <a:pt x="204" y="1"/>
                        <a:pt x="206" y="3"/>
                        <a:pt x="207" y="4"/>
                      </a:cubicBezTo>
                      <a:cubicBezTo>
                        <a:pt x="224" y="21"/>
                        <a:pt x="224" y="48"/>
                        <a:pt x="207" y="65"/>
                      </a:cubicBezTo>
                      <a:cubicBezTo>
                        <a:pt x="99" y="173"/>
                        <a:pt x="99" y="173"/>
                        <a:pt x="99" y="173"/>
                      </a:cubicBezTo>
                      <a:cubicBezTo>
                        <a:pt x="207" y="65"/>
                        <a:pt x="207" y="65"/>
                        <a:pt x="207" y="65"/>
                      </a:cubicBezTo>
                      <a:cubicBezTo>
                        <a:pt x="224" y="48"/>
                        <a:pt x="224" y="21"/>
                        <a:pt x="207" y="4"/>
                      </a:cubicBezTo>
                      <a:cubicBezTo>
                        <a:pt x="207" y="4"/>
                        <a:pt x="207" y="4"/>
                        <a:pt x="207" y="4"/>
                      </a:cubicBezTo>
                      <a:cubicBezTo>
                        <a:pt x="206" y="3"/>
                        <a:pt x="204" y="1"/>
                        <a:pt x="203"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54" name="Freeform 84">
                  <a:extLst>
                    <a:ext uri="{FF2B5EF4-FFF2-40B4-BE49-F238E27FC236}">
                      <a16:creationId xmlns:a16="http://schemas.microsoft.com/office/drawing/2014/main" id="{D9DE530B-D0FC-4FB3-A44E-9B405B4A7A73}"/>
                    </a:ext>
                  </a:extLst>
                </p:cNvPr>
                <p:cNvSpPr>
                  <a:spLocks noEditPoints="1"/>
                </p:cNvSpPr>
                <p:nvPr/>
              </p:nvSpPr>
              <p:spPr bwMode="auto">
                <a:xfrm>
                  <a:off x="-763022" y="-97829"/>
                  <a:ext cx="243772" cy="249728"/>
                </a:xfrm>
                <a:custGeom>
                  <a:avLst/>
                  <a:gdLst>
                    <a:gd name="T0" fmla="*/ 0 w 224"/>
                    <a:gd name="T1" fmla="*/ 218 h 230"/>
                    <a:gd name="T2" fmla="*/ 0 w 224"/>
                    <a:gd name="T3" fmla="*/ 218 h 230"/>
                    <a:gd name="T4" fmla="*/ 0 w 224"/>
                    <a:gd name="T5" fmla="*/ 218 h 230"/>
                    <a:gd name="T6" fmla="*/ 1 w 224"/>
                    <a:gd name="T7" fmla="*/ 219 h 230"/>
                    <a:gd name="T8" fmla="*/ 20 w 224"/>
                    <a:gd name="T9" fmla="*/ 230 h 230"/>
                    <a:gd name="T10" fmla="*/ 1 w 224"/>
                    <a:gd name="T11" fmla="*/ 219 h 230"/>
                    <a:gd name="T12" fmla="*/ 0 w 224"/>
                    <a:gd name="T13" fmla="*/ 218 h 230"/>
                    <a:gd name="T14" fmla="*/ 176 w 224"/>
                    <a:gd name="T15" fmla="*/ 0 h 230"/>
                    <a:gd name="T16" fmla="*/ 146 w 224"/>
                    <a:gd name="T17" fmla="*/ 13 h 230"/>
                    <a:gd name="T18" fmla="*/ 146 w 224"/>
                    <a:gd name="T19" fmla="*/ 13 h 230"/>
                    <a:gd name="T20" fmla="*/ 75 w 224"/>
                    <a:gd name="T21" fmla="*/ 84 h 230"/>
                    <a:gd name="T22" fmla="*/ 75 w 224"/>
                    <a:gd name="T23" fmla="*/ 188 h 230"/>
                    <a:gd name="T24" fmla="*/ 73 w 224"/>
                    <a:gd name="T25" fmla="*/ 202 h 230"/>
                    <a:gd name="T26" fmla="*/ 63 w 224"/>
                    <a:gd name="T27" fmla="*/ 218 h 230"/>
                    <a:gd name="T28" fmla="*/ 99 w 224"/>
                    <a:gd name="T29" fmla="*/ 182 h 230"/>
                    <a:gd name="T30" fmla="*/ 207 w 224"/>
                    <a:gd name="T31" fmla="*/ 74 h 230"/>
                    <a:gd name="T32" fmla="*/ 207 w 224"/>
                    <a:gd name="T33" fmla="*/ 13 h 230"/>
                    <a:gd name="T34" fmla="*/ 203 w 224"/>
                    <a:gd name="T35" fmla="*/ 9 h 230"/>
                    <a:gd name="T36" fmla="*/ 176 w 224"/>
                    <a:gd name="T37"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4" h="230">
                      <a:moveTo>
                        <a:pt x="0" y="218"/>
                      </a:moveTo>
                      <a:cubicBezTo>
                        <a:pt x="0" y="218"/>
                        <a:pt x="0" y="218"/>
                        <a:pt x="0" y="218"/>
                      </a:cubicBezTo>
                      <a:cubicBezTo>
                        <a:pt x="0" y="218"/>
                        <a:pt x="0" y="218"/>
                        <a:pt x="0" y="218"/>
                      </a:cubicBezTo>
                      <a:cubicBezTo>
                        <a:pt x="1" y="219"/>
                        <a:pt x="1" y="219"/>
                        <a:pt x="1" y="219"/>
                      </a:cubicBezTo>
                      <a:cubicBezTo>
                        <a:pt x="6" y="224"/>
                        <a:pt x="13" y="228"/>
                        <a:pt x="20" y="230"/>
                      </a:cubicBezTo>
                      <a:cubicBezTo>
                        <a:pt x="13" y="228"/>
                        <a:pt x="6" y="224"/>
                        <a:pt x="1" y="219"/>
                      </a:cubicBezTo>
                      <a:cubicBezTo>
                        <a:pt x="0" y="218"/>
                        <a:pt x="0" y="218"/>
                        <a:pt x="0" y="218"/>
                      </a:cubicBezTo>
                      <a:moveTo>
                        <a:pt x="176" y="0"/>
                      </a:moveTo>
                      <a:cubicBezTo>
                        <a:pt x="165" y="0"/>
                        <a:pt x="154" y="4"/>
                        <a:pt x="146" y="13"/>
                      </a:cubicBezTo>
                      <a:cubicBezTo>
                        <a:pt x="146" y="13"/>
                        <a:pt x="146" y="13"/>
                        <a:pt x="146" y="13"/>
                      </a:cubicBezTo>
                      <a:cubicBezTo>
                        <a:pt x="75" y="84"/>
                        <a:pt x="75" y="84"/>
                        <a:pt x="75" y="84"/>
                      </a:cubicBezTo>
                      <a:cubicBezTo>
                        <a:pt x="75" y="188"/>
                        <a:pt x="75" y="188"/>
                        <a:pt x="75" y="188"/>
                      </a:cubicBezTo>
                      <a:cubicBezTo>
                        <a:pt x="75" y="193"/>
                        <a:pt x="74" y="198"/>
                        <a:pt x="73" y="202"/>
                      </a:cubicBezTo>
                      <a:cubicBezTo>
                        <a:pt x="71" y="208"/>
                        <a:pt x="68" y="213"/>
                        <a:pt x="63" y="218"/>
                      </a:cubicBezTo>
                      <a:cubicBezTo>
                        <a:pt x="99" y="182"/>
                        <a:pt x="99" y="182"/>
                        <a:pt x="99" y="182"/>
                      </a:cubicBezTo>
                      <a:cubicBezTo>
                        <a:pt x="207" y="74"/>
                        <a:pt x="207" y="74"/>
                        <a:pt x="207" y="74"/>
                      </a:cubicBezTo>
                      <a:cubicBezTo>
                        <a:pt x="224" y="57"/>
                        <a:pt x="224" y="30"/>
                        <a:pt x="207" y="13"/>
                      </a:cubicBezTo>
                      <a:cubicBezTo>
                        <a:pt x="206" y="12"/>
                        <a:pt x="204" y="10"/>
                        <a:pt x="203" y="9"/>
                      </a:cubicBezTo>
                      <a:cubicBezTo>
                        <a:pt x="195" y="3"/>
                        <a:pt x="186" y="0"/>
                        <a:pt x="176" y="0"/>
                      </a:cubicBezTo>
                    </a:path>
                  </a:pathLst>
                </a:custGeom>
                <a:grp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55" name="Freeform 85">
                  <a:extLst>
                    <a:ext uri="{FF2B5EF4-FFF2-40B4-BE49-F238E27FC236}">
                      <a16:creationId xmlns:a16="http://schemas.microsoft.com/office/drawing/2014/main" id="{95A21D5C-BD4E-4CFD-9C45-0C05E6730743}"/>
                    </a:ext>
                  </a:extLst>
                </p:cNvPr>
                <p:cNvSpPr>
                  <a:spLocks/>
                </p:cNvSpPr>
                <p:nvPr/>
              </p:nvSpPr>
              <p:spPr bwMode="auto">
                <a:xfrm>
                  <a:off x="-729113" y="-6644"/>
                  <a:ext cx="49946" cy="128301"/>
                </a:xfrm>
                <a:custGeom>
                  <a:avLst/>
                  <a:gdLst>
                    <a:gd name="T0" fmla="*/ 44 w 46"/>
                    <a:gd name="T1" fmla="*/ 0 h 118"/>
                    <a:gd name="T2" fmla="*/ 0 w 46"/>
                    <a:gd name="T3" fmla="*/ 43 h 118"/>
                    <a:gd name="T4" fmla="*/ 31 w 46"/>
                    <a:gd name="T5" fmla="*/ 74 h 118"/>
                    <a:gd name="T6" fmla="*/ 42 w 46"/>
                    <a:gd name="T7" fmla="*/ 118 h 118"/>
                    <a:gd name="T8" fmla="*/ 44 w 46"/>
                    <a:gd name="T9" fmla="*/ 104 h 118"/>
                    <a:gd name="T10" fmla="*/ 44 w 46"/>
                    <a:gd name="T11" fmla="*/ 0 h 118"/>
                  </a:gdLst>
                  <a:ahLst/>
                  <a:cxnLst>
                    <a:cxn ang="0">
                      <a:pos x="T0" y="T1"/>
                    </a:cxn>
                    <a:cxn ang="0">
                      <a:pos x="T2" y="T3"/>
                    </a:cxn>
                    <a:cxn ang="0">
                      <a:pos x="T4" y="T5"/>
                    </a:cxn>
                    <a:cxn ang="0">
                      <a:pos x="T6" y="T7"/>
                    </a:cxn>
                    <a:cxn ang="0">
                      <a:pos x="T8" y="T9"/>
                    </a:cxn>
                    <a:cxn ang="0">
                      <a:pos x="T10" y="T11"/>
                    </a:cxn>
                  </a:cxnLst>
                  <a:rect l="0" t="0" r="r" b="b"/>
                  <a:pathLst>
                    <a:path w="46" h="118">
                      <a:moveTo>
                        <a:pt x="44" y="0"/>
                      </a:moveTo>
                      <a:cubicBezTo>
                        <a:pt x="0" y="43"/>
                        <a:pt x="0" y="43"/>
                        <a:pt x="0" y="43"/>
                      </a:cubicBezTo>
                      <a:cubicBezTo>
                        <a:pt x="31" y="74"/>
                        <a:pt x="31" y="74"/>
                        <a:pt x="31" y="74"/>
                      </a:cubicBezTo>
                      <a:cubicBezTo>
                        <a:pt x="43" y="86"/>
                        <a:pt x="46" y="103"/>
                        <a:pt x="42" y="118"/>
                      </a:cubicBezTo>
                      <a:cubicBezTo>
                        <a:pt x="43" y="114"/>
                        <a:pt x="44" y="109"/>
                        <a:pt x="44" y="104"/>
                      </a:cubicBezTo>
                      <a:cubicBezTo>
                        <a:pt x="44" y="0"/>
                        <a:pt x="44" y="0"/>
                        <a:pt x="44" y="0"/>
                      </a:cubicBezTo>
                    </a:path>
                  </a:pathLst>
                </a:custGeom>
                <a:grp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56" name="Freeform 86">
                  <a:extLst>
                    <a:ext uri="{FF2B5EF4-FFF2-40B4-BE49-F238E27FC236}">
                      <a16:creationId xmlns:a16="http://schemas.microsoft.com/office/drawing/2014/main" id="{ED4B7B47-D6B4-4BEA-81A6-921292ACF729}"/>
                    </a:ext>
                  </a:extLst>
                </p:cNvPr>
                <p:cNvSpPr>
                  <a:spLocks noEditPoints="1"/>
                </p:cNvSpPr>
                <p:nvPr/>
              </p:nvSpPr>
              <p:spPr bwMode="auto">
                <a:xfrm>
                  <a:off x="-741485" y="150066"/>
                  <a:ext cx="31617" cy="4124"/>
                </a:xfrm>
                <a:custGeom>
                  <a:avLst/>
                  <a:gdLst>
                    <a:gd name="T0" fmla="*/ 0 w 29"/>
                    <a:gd name="T1" fmla="*/ 2 h 4"/>
                    <a:gd name="T2" fmla="*/ 11 w 29"/>
                    <a:gd name="T3" fmla="*/ 4 h 4"/>
                    <a:gd name="T4" fmla="*/ 12 w 29"/>
                    <a:gd name="T5" fmla="*/ 4 h 4"/>
                    <a:gd name="T6" fmla="*/ 12 w 29"/>
                    <a:gd name="T7" fmla="*/ 4 h 4"/>
                    <a:gd name="T8" fmla="*/ 4 w 29"/>
                    <a:gd name="T9" fmla="*/ 3 h 4"/>
                    <a:gd name="T10" fmla="*/ 0 w 29"/>
                    <a:gd name="T11" fmla="*/ 2 h 4"/>
                    <a:gd name="T12" fmla="*/ 29 w 29"/>
                    <a:gd name="T13" fmla="*/ 0 h 4"/>
                    <a:gd name="T14" fmla="*/ 25 w 29"/>
                    <a:gd name="T15" fmla="*/ 2 h 4"/>
                    <a:gd name="T16" fmla="*/ 19 w 29"/>
                    <a:gd name="T17" fmla="*/ 3 h 4"/>
                    <a:gd name="T18" fmla="*/ 29 w 29"/>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4">
                      <a:moveTo>
                        <a:pt x="0" y="2"/>
                      </a:moveTo>
                      <a:cubicBezTo>
                        <a:pt x="4" y="3"/>
                        <a:pt x="8" y="4"/>
                        <a:pt x="11" y="4"/>
                      </a:cubicBezTo>
                      <a:cubicBezTo>
                        <a:pt x="12" y="4"/>
                        <a:pt x="12" y="4"/>
                        <a:pt x="12" y="4"/>
                      </a:cubicBezTo>
                      <a:cubicBezTo>
                        <a:pt x="12" y="4"/>
                        <a:pt x="12" y="4"/>
                        <a:pt x="12" y="4"/>
                      </a:cubicBezTo>
                      <a:cubicBezTo>
                        <a:pt x="9" y="4"/>
                        <a:pt x="7" y="3"/>
                        <a:pt x="4" y="3"/>
                      </a:cubicBezTo>
                      <a:cubicBezTo>
                        <a:pt x="3" y="3"/>
                        <a:pt x="2" y="2"/>
                        <a:pt x="0" y="2"/>
                      </a:cubicBezTo>
                      <a:moveTo>
                        <a:pt x="29" y="0"/>
                      </a:moveTo>
                      <a:cubicBezTo>
                        <a:pt x="28" y="0"/>
                        <a:pt x="26" y="1"/>
                        <a:pt x="25" y="2"/>
                      </a:cubicBezTo>
                      <a:cubicBezTo>
                        <a:pt x="23" y="2"/>
                        <a:pt x="21" y="2"/>
                        <a:pt x="19" y="3"/>
                      </a:cubicBezTo>
                      <a:cubicBezTo>
                        <a:pt x="23" y="2"/>
                        <a:pt x="26" y="1"/>
                        <a:pt x="29"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58" name="Freeform 87">
                  <a:extLst>
                    <a:ext uri="{FF2B5EF4-FFF2-40B4-BE49-F238E27FC236}">
                      <a16:creationId xmlns:a16="http://schemas.microsoft.com/office/drawing/2014/main" id="{66BF4A96-30E7-43F4-A347-C651E33C537A}"/>
                    </a:ext>
                  </a:extLst>
                </p:cNvPr>
                <p:cNvSpPr>
                  <a:spLocks noEditPoints="1"/>
                </p:cNvSpPr>
                <p:nvPr/>
              </p:nvSpPr>
              <p:spPr bwMode="auto">
                <a:xfrm>
                  <a:off x="-776310" y="106536"/>
                  <a:ext cx="92560" cy="46738"/>
                </a:xfrm>
                <a:custGeom>
                  <a:avLst/>
                  <a:gdLst>
                    <a:gd name="T0" fmla="*/ 85 w 85"/>
                    <a:gd name="T1" fmla="*/ 14 h 43"/>
                    <a:gd name="T2" fmla="*/ 57 w 85"/>
                    <a:gd name="T3" fmla="*/ 42 h 43"/>
                    <a:gd name="T4" fmla="*/ 61 w 85"/>
                    <a:gd name="T5" fmla="*/ 40 h 43"/>
                    <a:gd name="T6" fmla="*/ 74 w 85"/>
                    <a:gd name="T7" fmla="*/ 31 h 43"/>
                    <a:gd name="T8" fmla="*/ 75 w 85"/>
                    <a:gd name="T9" fmla="*/ 30 h 43"/>
                    <a:gd name="T10" fmla="*/ 85 w 85"/>
                    <a:gd name="T11" fmla="*/ 14 h 43"/>
                    <a:gd name="T12" fmla="*/ 0 w 85"/>
                    <a:gd name="T13" fmla="*/ 0 h 43"/>
                    <a:gd name="T14" fmla="*/ 12 w 85"/>
                    <a:gd name="T15" fmla="*/ 30 h 43"/>
                    <a:gd name="T16" fmla="*/ 13 w 85"/>
                    <a:gd name="T17" fmla="*/ 31 h 43"/>
                    <a:gd name="T18" fmla="*/ 32 w 85"/>
                    <a:gd name="T19" fmla="*/ 42 h 43"/>
                    <a:gd name="T20" fmla="*/ 36 w 85"/>
                    <a:gd name="T21" fmla="*/ 43 h 43"/>
                    <a:gd name="T22" fmla="*/ 0 w 85"/>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43">
                      <a:moveTo>
                        <a:pt x="85" y="14"/>
                      </a:moveTo>
                      <a:cubicBezTo>
                        <a:pt x="80" y="27"/>
                        <a:pt x="70" y="37"/>
                        <a:pt x="57" y="42"/>
                      </a:cubicBezTo>
                      <a:cubicBezTo>
                        <a:pt x="58" y="41"/>
                        <a:pt x="60" y="40"/>
                        <a:pt x="61" y="40"/>
                      </a:cubicBezTo>
                      <a:cubicBezTo>
                        <a:pt x="66" y="38"/>
                        <a:pt x="70" y="35"/>
                        <a:pt x="74" y="31"/>
                      </a:cubicBezTo>
                      <a:cubicBezTo>
                        <a:pt x="75" y="30"/>
                        <a:pt x="75" y="30"/>
                        <a:pt x="75" y="30"/>
                      </a:cubicBezTo>
                      <a:cubicBezTo>
                        <a:pt x="80" y="25"/>
                        <a:pt x="83" y="20"/>
                        <a:pt x="85" y="14"/>
                      </a:cubicBezTo>
                      <a:moveTo>
                        <a:pt x="0" y="0"/>
                      </a:moveTo>
                      <a:cubicBezTo>
                        <a:pt x="0" y="11"/>
                        <a:pt x="4" y="21"/>
                        <a:pt x="12" y="30"/>
                      </a:cubicBezTo>
                      <a:cubicBezTo>
                        <a:pt x="13" y="31"/>
                        <a:pt x="13" y="31"/>
                        <a:pt x="13" y="31"/>
                      </a:cubicBezTo>
                      <a:cubicBezTo>
                        <a:pt x="18" y="36"/>
                        <a:pt x="25" y="40"/>
                        <a:pt x="32" y="42"/>
                      </a:cubicBezTo>
                      <a:cubicBezTo>
                        <a:pt x="34" y="42"/>
                        <a:pt x="35" y="43"/>
                        <a:pt x="36" y="43"/>
                      </a:cubicBezTo>
                      <a:cubicBezTo>
                        <a:pt x="16" y="40"/>
                        <a:pt x="0" y="22"/>
                        <a:pt x="0"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59" name="Freeform 88">
                  <a:extLst>
                    <a:ext uri="{FF2B5EF4-FFF2-40B4-BE49-F238E27FC236}">
                      <a16:creationId xmlns:a16="http://schemas.microsoft.com/office/drawing/2014/main" id="{86D944B7-6FC2-48CF-A19C-F74C1EE3A2A4}"/>
                    </a:ext>
                  </a:extLst>
                </p:cNvPr>
                <p:cNvSpPr>
                  <a:spLocks/>
                </p:cNvSpPr>
                <p:nvPr/>
              </p:nvSpPr>
              <p:spPr bwMode="auto">
                <a:xfrm>
                  <a:off x="-736903" y="151899"/>
                  <a:ext cx="22911" cy="2291"/>
                </a:xfrm>
                <a:custGeom>
                  <a:avLst/>
                  <a:gdLst>
                    <a:gd name="T0" fmla="*/ 21 w 21"/>
                    <a:gd name="T1" fmla="*/ 0 h 2"/>
                    <a:gd name="T2" fmla="*/ 17 w 21"/>
                    <a:gd name="T3" fmla="*/ 1 h 2"/>
                    <a:gd name="T4" fmla="*/ 16 w 21"/>
                    <a:gd name="T5" fmla="*/ 1 h 2"/>
                    <a:gd name="T6" fmla="*/ 13 w 21"/>
                    <a:gd name="T7" fmla="*/ 1 h 2"/>
                    <a:gd name="T8" fmla="*/ 12 w 21"/>
                    <a:gd name="T9" fmla="*/ 1 h 2"/>
                    <a:gd name="T10" fmla="*/ 7 w 21"/>
                    <a:gd name="T11" fmla="*/ 2 h 2"/>
                    <a:gd name="T12" fmla="*/ 3 w 21"/>
                    <a:gd name="T13" fmla="*/ 1 h 2"/>
                    <a:gd name="T14" fmla="*/ 3 w 21"/>
                    <a:gd name="T15" fmla="*/ 1 h 2"/>
                    <a:gd name="T16" fmla="*/ 0 w 21"/>
                    <a:gd name="T17" fmla="*/ 1 h 2"/>
                    <a:gd name="T18" fmla="*/ 8 w 21"/>
                    <a:gd name="T19" fmla="*/ 2 h 2"/>
                    <a:gd name="T20" fmla="*/ 8 w 21"/>
                    <a:gd name="T21" fmla="*/ 2 h 2"/>
                    <a:gd name="T22" fmla="*/ 15 w 21"/>
                    <a:gd name="T23" fmla="*/ 1 h 2"/>
                    <a:gd name="T24" fmla="*/ 21 w 21"/>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
                      <a:moveTo>
                        <a:pt x="21" y="0"/>
                      </a:moveTo>
                      <a:cubicBezTo>
                        <a:pt x="19" y="0"/>
                        <a:pt x="18" y="0"/>
                        <a:pt x="17" y="1"/>
                      </a:cubicBezTo>
                      <a:cubicBezTo>
                        <a:pt x="16" y="1"/>
                        <a:pt x="16" y="1"/>
                        <a:pt x="16" y="1"/>
                      </a:cubicBezTo>
                      <a:cubicBezTo>
                        <a:pt x="15" y="1"/>
                        <a:pt x="14" y="1"/>
                        <a:pt x="13" y="1"/>
                      </a:cubicBezTo>
                      <a:cubicBezTo>
                        <a:pt x="12" y="1"/>
                        <a:pt x="12" y="1"/>
                        <a:pt x="12" y="1"/>
                      </a:cubicBezTo>
                      <a:cubicBezTo>
                        <a:pt x="10" y="1"/>
                        <a:pt x="9" y="2"/>
                        <a:pt x="7" y="2"/>
                      </a:cubicBezTo>
                      <a:cubicBezTo>
                        <a:pt x="6" y="2"/>
                        <a:pt x="5" y="1"/>
                        <a:pt x="3" y="1"/>
                      </a:cubicBezTo>
                      <a:cubicBezTo>
                        <a:pt x="3" y="1"/>
                        <a:pt x="3" y="1"/>
                        <a:pt x="3" y="1"/>
                      </a:cubicBezTo>
                      <a:cubicBezTo>
                        <a:pt x="2" y="1"/>
                        <a:pt x="1" y="1"/>
                        <a:pt x="0" y="1"/>
                      </a:cubicBezTo>
                      <a:cubicBezTo>
                        <a:pt x="3" y="1"/>
                        <a:pt x="5" y="2"/>
                        <a:pt x="8" y="2"/>
                      </a:cubicBezTo>
                      <a:cubicBezTo>
                        <a:pt x="8" y="2"/>
                        <a:pt x="8" y="2"/>
                        <a:pt x="8" y="2"/>
                      </a:cubicBezTo>
                      <a:cubicBezTo>
                        <a:pt x="10" y="2"/>
                        <a:pt x="13" y="1"/>
                        <a:pt x="15" y="1"/>
                      </a:cubicBezTo>
                      <a:cubicBezTo>
                        <a:pt x="17" y="0"/>
                        <a:pt x="19" y="0"/>
                        <a:pt x="21"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60" name="Freeform 89">
                  <a:extLst>
                    <a:ext uri="{FF2B5EF4-FFF2-40B4-BE49-F238E27FC236}">
                      <a16:creationId xmlns:a16="http://schemas.microsoft.com/office/drawing/2014/main" id="{4AFBE3A6-E8BD-4300-808E-53CAB569A756}"/>
                    </a:ext>
                  </a:extLst>
                </p:cNvPr>
                <p:cNvSpPr>
                  <a:spLocks/>
                </p:cNvSpPr>
                <p:nvPr/>
              </p:nvSpPr>
              <p:spPr bwMode="auto">
                <a:xfrm>
                  <a:off x="-776310" y="40094"/>
                  <a:ext cx="97142" cy="114096"/>
                </a:xfrm>
                <a:custGeom>
                  <a:avLst/>
                  <a:gdLst>
                    <a:gd name="T0" fmla="*/ 43 w 89"/>
                    <a:gd name="T1" fmla="*/ 0 h 105"/>
                    <a:gd name="T2" fmla="*/ 13 w 89"/>
                    <a:gd name="T3" fmla="*/ 31 h 105"/>
                    <a:gd name="T4" fmla="*/ 0 w 89"/>
                    <a:gd name="T5" fmla="*/ 61 h 105"/>
                    <a:gd name="T6" fmla="*/ 36 w 89"/>
                    <a:gd name="T7" fmla="*/ 104 h 105"/>
                    <a:gd name="T8" fmla="*/ 39 w 89"/>
                    <a:gd name="T9" fmla="*/ 104 h 105"/>
                    <a:gd name="T10" fmla="*/ 39 w 89"/>
                    <a:gd name="T11" fmla="*/ 104 h 105"/>
                    <a:gd name="T12" fmla="*/ 43 w 89"/>
                    <a:gd name="T13" fmla="*/ 105 h 105"/>
                    <a:gd name="T14" fmla="*/ 48 w 89"/>
                    <a:gd name="T15" fmla="*/ 104 h 105"/>
                    <a:gd name="T16" fmla="*/ 49 w 89"/>
                    <a:gd name="T17" fmla="*/ 104 h 105"/>
                    <a:gd name="T18" fmla="*/ 52 w 89"/>
                    <a:gd name="T19" fmla="*/ 104 h 105"/>
                    <a:gd name="T20" fmla="*/ 53 w 89"/>
                    <a:gd name="T21" fmla="*/ 104 h 105"/>
                    <a:gd name="T22" fmla="*/ 57 w 89"/>
                    <a:gd name="T23" fmla="*/ 103 h 105"/>
                    <a:gd name="T24" fmla="*/ 85 w 89"/>
                    <a:gd name="T25" fmla="*/ 75 h 105"/>
                    <a:gd name="T26" fmla="*/ 74 w 89"/>
                    <a:gd name="T27" fmla="*/ 31 h 105"/>
                    <a:gd name="T28" fmla="*/ 43 w 89"/>
                    <a:gd name="T2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105">
                      <a:moveTo>
                        <a:pt x="43" y="0"/>
                      </a:moveTo>
                      <a:cubicBezTo>
                        <a:pt x="13" y="31"/>
                        <a:pt x="13" y="31"/>
                        <a:pt x="13" y="31"/>
                      </a:cubicBezTo>
                      <a:cubicBezTo>
                        <a:pt x="4" y="39"/>
                        <a:pt x="0" y="50"/>
                        <a:pt x="0" y="61"/>
                      </a:cubicBezTo>
                      <a:cubicBezTo>
                        <a:pt x="0" y="83"/>
                        <a:pt x="16" y="101"/>
                        <a:pt x="36" y="104"/>
                      </a:cubicBezTo>
                      <a:cubicBezTo>
                        <a:pt x="37" y="104"/>
                        <a:pt x="38" y="104"/>
                        <a:pt x="39" y="104"/>
                      </a:cubicBezTo>
                      <a:cubicBezTo>
                        <a:pt x="39" y="104"/>
                        <a:pt x="39" y="104"/>
                        <a:pt x="39" y="104"/>
                      </a:cubicBezTo>
                      <a:cubicBezTo>
                        <a:pt x="41" y="104"/>
                        <a:pt x="42" y="105"/>
                        <a:pt x="43" y="105"/>
                      </a:cubicBezTo>
                      <a:cubicBezTo>
                        <a:pt x="45" y="105"/>
                        <a:pt x="46" y="104"/>
                        <a:pt x="48" y="104"/>
                      </a:cubicBezTo>
                      <a:cubicBezTo>
                        <a:pt x="49" y="104"/>
                        <a:pt x="49" y="104"/>
                        <a:pt x="49" y="104"/>
                      </a:cubicBezTo>
                      <a:cubicBezTo>
                        <a:pt x="50" y="104"/>
                        <a:pt x="51" y="104"/>
                        <a:pt x="52" y="104"/>
                      </a:cubicBezTo>
                      <a:cubicBezTo>
                        <a:pt x="53" y="104"/>
                        <a:pt x="53" y="104"/>
                        <a:pt x="53" y="104"/>
                      </a:cubicBezTo>
                      <a:cubicBezTo>
                        <a:pt x="54" y="103"/>
                        <a:pt x="55" y="103"/>
                        <a:pt x="57" y="103"/>
                      </a:cubicBezTo>
                      <a:cubicBezTo>
                        <a:pt x="70" y="98"/>
                        <a:pt x="80" y="88"/>
                        <a:pt x="85" y="75"/>
                      </a:cubicBezTo>
                      <a:cubicBezTo>
                        <a:pt x="89" y="60"/>
                        <a:pt x="86" y="43"/>
                        <a:pt x="74" y="31"/>
                      </a:cubicBezTo>
                      <a:cubicBezTo>
                        <a:pt x="43" y="0"/>
                        <a:pt x="43" y="0"/>
                        <a:pt x="43" y="0"/>
                      </a:cubicBezTo>
                    </a:path>
                  </a:pathLst>
                </a:custGeom>
                <a:grp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grpSp>
          <p:grpSp>
            <p:nvGrpSpPr>
              <p:cNvPr id="120" name="Group 119">
                <a:extLst>
                  <a:ext uri="{FF2B5EF4-FFF2-40B4-BE49-F238E27FC236}">
                    <a16:creationId xmlns:a16="http://schemas.microsoft.com/office/drawing/2014/main" id="{EFBDC308-84EE-4521-9577-07F702120EFB}"/>
                  </a:ext>
                </a:extLst>
              </p:cNvPr>
              <p:cNvGrpSpPr/>
              <p:nvPr/>
            </p:nvGrpSpPr>
            <p:grpSpPr>
              <a:xfrm rot="5400000">
                <a:off x="1487694" y="3775885"/>
                <a:ext cx="260048" cy="292198"/>
                <a:chOff x="-938060" y="-316399"/>
                <a:chExt cx="418810" cy="470589"/>
              </a:xfrm>
              <a:grpFill/>
            </p:grpSpPr>
            <p:sp>
              <p:nvSpPr>
                <p:cNvPr id="134" name="Freeform 80">
                  <a:extLst>
                    <a:ext uri="{FF2B5EF4-FFF2-40B4-BE49-F238E27FC236}">
                      <a16:creationId xmlns:a16="http://schemas.microsoft.com/office/drawing/2014/main" id="{C5ACF3C9-91F6-4799-A0EC-1EB7C782CB22}"/>
                    </a:ext>
                  </a:extLst>
                </p:cNvPr>
                <p:cNvSpPr>
                  <a:spLocks noEditPoints="1"/>
                </p:cNvSpPr>
                <p:nvPr/>
              </p:nvSpPr>
              <p:spPr bwMode="auto">
                <a:xfrm>
                  <a:off x="-938060" y="-97829"/>
                  <a:ext cx="243772" cy="247896"/>
                </a:xfrm>
                <a:custGeom>
                  <a:avLst/>
                  <a:gdLst>
                    <a:gd name="T0" fmla="*/ 224 w 224"/>
                    <a:gd name="T1" fmla="*/ 218 h 228"/>
                    <a:gd name="T2" fmla="*/ 223 w 224"/>
                    <a:gd name="T3" fmla="*/ 219 h 228"/>
                    <a:gd name="T4" fmla="*/ 210 w 224"/>
                    <a:gd name="T5" fmla="*/ 228 h 228"/>
                    <a:gd name="T6" fmla="*/ 223 w 224"/>
                    <a:gd name="T7" fmla="*/ 219 h 228"/>
                    <a:gd name="T8" fmla="*/ 224 w 224"/>
                    <a:gd name="T9" fmla="*/ 218 h 228"/>
                    <a:gd name="T10" fmla="*/ 224 w 224"/>
                    <a:gd name="T11" fmla="*/ 218 h 228"/>
                    <a:gd name="T12" fmla="*/ 224 w 224"/>
                    <a:gd name="T13" fmla="*/ 218 h 228"/>
                    <a:gd name="T14" fmla="*/ 48 w 224"/>
                    <a:gd name="T15" fmla="*/ 0 h 228"/>
                    <a:gd name="T16" fmla="*/ 17 w 224"/>
                    <a:gd name="T17" fmla="*/ 13 h 228"/>
                    <a:gd name="T18" fmla="*/ 17 w 224"/>
                    <a:gd name="T19" fmla="*/ 13 h 228"/>
                    <a:gd name="T20" fmla="*/ 17 w 224"/>
                    <a:gd name="T21" fmla="*/ 13 h 228"/>
                    <a:gd name="T22" fmla="*/ 13 w 224"/>
                    <a:gd name="T23" fmla="*/ 17 h 228"/>
                    <a:gd name="T24" fmla="*/ 17 w 224"/>
                    <a:gd name="T25" fmla="*/ 74 h 228"/>
                    <a:gd name="T26" fmla="*/ 113 w 224"/>
                    <a:gd name="T27" fmla="*/ 170 h 228"/>
                    <a:gd name="T28" fmla="*/ 161 w 224"/>
                    <a:gd name="T29" fmla="*/ 218 h 228"/>
                    <a:gd name="T30" fmla="*/ 149 w 224"/>
                    <a:gd name="T31" fmla="*/ 188 h 228"/>
                    <a:gd name="T32" fmla="*/ 149 w 224"/>
                    <a:gd name="T33" fmla="*/ 188 h 228"/>
                    <a:gd name="T34" fmla="*/ 149 w 224"/>
                    <a:gd name="T35" fmla="*/ 84 h 228"/>
                    <a:gd name="T36" fmla="*/ 149 w 224"/>
                    <a:gd name="T37" fmla="*/ 84 h 228"/>
                    <a:gd name="T38" fmla="*/ 78 w 224"/>
                    <a:gd name="T39" fmla="*/ 13 h 228"/>
                    <a:gd name="T40" fmla="*/ 78 w 224"/>
                    <a:gd name="T41" fmla="*/ 13 h 228"/>
                    <a:gd name="T42" fmla="*/ 48 w 224"/>
                    <a:gd name="T43"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4" h="228">
                      <a:moveTo>
                        <a:pt x="224" y="218"/>
                      </a:moveTo>
                      <a:cubicBezTo>
                        <a:pt x="223" y="219"/>
                        <a:pt x="223" y="219"/>
                        <a:pt x="223" y="219"/>
                      </a:cubicBezTo>
                      <a:cubicBezTo>
                        <a:pt x="219" y="223"/>
                        <a:pt x="215" y="226"/>
                        <a:pt x="210" y="228"/>
                      </a:cubicBezTo>
                      <a:cubicBezTo>
                        <a:pt x="215" y="226"/>
                        <a:pt x="219" y="223"/>
                        <a:pt x="223" y="219"/>
                      </a:cubicBezTo>
                      <a:cubicBezTo>
                        <a:pt x="224" y="218"/>
                        <a:pt x="224" y="218"/>
                        <a:pt x="224" y="218"/>
                      </a:cubicBezTo>
                      <a:cubicBezTo>
                        <a:pt x="224" y="218"/>
                        <a:pt x="224" y="218"/>
                        <a:pt x="224" y="218"/>
                      </a:cubicBezTo>
                      <a:cubicBezTo>
                        <a:pt x="224" y="218"/>
                        <a:pt x="224" y="218"/>
                        <a:pt x="224" y="218"/>
                      </a:cubicBezTo>
                      <a:moveTo>
                        <a:pt x="48" y="0"/>
                      </a:moveTo>
                      <a:cubicBezTo>
                        <a:pt x="37" y="0"/>
                        <a:pt x="25" y="4"/>
                        <a:pt x="17" y="13"/>
                      </a:cubicBezTo>
                      <a:cubicBezTo>
                        <a:pt x="17" y="13"/>
                        <a:pt x="17" y="13"/>
                        <a:pt x="17" y="13"/>
                      </a:cubicBezTo>
                      <a:cubicBezTo>
                        <a:pt x="17" y="13"/>
                        <a:pt x="17" y="13"/>
                        <a:pt x="17" y="13"/>
                      </a:cubicBezTo>
                      <a:cubicBezTo>
                        <a:pt x="16" y="14"/>
                        <a:pt x="14" y="16"/>
                        <a:pt x="13" y="17"/>
                      </a:cubicBezTo>
                      <a:cubicBezTo>
                        <a:pt x="0" y="34"/>
                        <a:pt x="2" y="59"/>
                        <a:pt x="17" y="74"/>
                      </a:cubicBezTo>
                      <a:cubicBezTo>
                        <a:pt x="113" y="170"/>
                        <a:pt x="113" y="170"/>
                        <a:pt x="113" y="170"/>
                      </a:cubicBezTo>
                      <a:cubicBezTo>
                        <a:pt x="161" y="218"/>
                        <a:pt x="161" y="218"/>
                        <a:pt x="161" y="218"/>
                      </a:cubicBezTo>
                      <a:cubicBezTo>
                        <a:pt x="153" y="209"/>
                        <a:pt x="149" y="199"/>
                        <a:pt x="149" y="188"/>
                      </a:cubicBezTo>
                      <a:cubicBezTo>
                        <a:pt x="149" y="188"/>
                        <a:pt x="149" y="188"/>
                        <a:pt x="149" y="188"/>
                      </a:cubicBezTo>
                      <a:cubicBezTo>
                        <a:pt x="149" y="84"/>
                        <a:pt x="149" y="84"/>
                        <a:pt x="149" y="84"/>
                      </a:cubicBezTo>
                      <a:cubicBezTo>
                        <a:pt x="149" y="84"/>
                        <a:pt x="149" y="84"/>
                        <a:pt x="149" y="84"/>
                      </a:cubicBezTo>
                      <a:cubicBezTo>
                        <a:pt x="78" y="13"/>
                        <a:pt x="78" y="13"/>
                        <a:pt x="78" y="13"/>
                      </a:cubicBezTo>
                      <a:cubicBezTo>
                        <a:pt x="78" y="13"/>
                        <a:pt x="78" y="13"/>
                        <a:pt x="78" y="13"/>
                      </a:cubicBezTo>
                      <a:cubicBezTo>
                        <a:pt x="70" y="4"/>
                        <a:pt x="59" y="0"/>
                        <a:pt x="48" y="0"/>
                      </a:cubicBezTo>
                    </a:path>
                  </a:pathLst>
                </a:custGeom>
                <a:grp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35" name="Freeform 78">
                  <a:extLst>
                    <a:ext uri="{FF2B5EF4-FFF2-40B4-BE49-F238E27FC236}">
                      <a16:creationId xmlns:a16="http://schemas.microsoft.com/office/drawing/2014/main" id="{0BC963DE-6F60-4F71-B826-5BDFC6A1267F}"/>
                    </a:ext>
                  </a:extLst>
                </p:cNvPr>
                <p:cNvSpPr>
                  <a:spLocks/>
                </p:cNvSpPr>
                <p:nvPr/>
              </p:nvSpPr>
              <p:spPr bwMode="auto">
                <a:xfrm>
                  <a:off x="-776310" y="-316399"/>
                  <a:ext cx="94851" cy="356493"/>
                </a:xfrm>
                <a:custGeom>
                  <a:avLst/>
                  <a:gdLst>
                    <a:gd name="T0" fmla="*/ 44 w 87"/>
                    <a:gd name="T1" fmla="*/ 0 h 328"/>
                    <a:gd name="T2" fmla="*/ 0 w 87"/>
                    <a:gd name="T3" fmla="*/ 43 h 328"/>
                    <a:gd name="T4" fmla="*/ 0 w 87"/>
                    <a:gd name="T5" fmla="*/ 285 h 328"/>
                    <a:gd name="T6" fmla="*/ 43 w 87"/>
                    <a:gd name="T7" fmla="*/ 328 h 328"/>
                    <a:gd name="T8" fmla="*/ 87 w 87"/>
                    <a:gd name="T9" fmla="*/ 285 h 328"/>
                    <a:gd name="T10" fmla="*/ 87 w 87"/>
                    <a:gd name="T11" fmla="*/ 43 h 328"/>
                    <a:gd name="T12" fmla="*/ 44 w 87"/>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87" h="328">
                      <a:moveTo>
                        <a:pt x="44" y="0"/>
                      </a:moveTo>
                      <a:cubicBezTo>
                        <a:pt x="20" y="0"/>
                        <a:pt x="0" y="19"/>
                        <a:pt x="0" y="43"/>
                      </a:cubicBezTo>
                      <a:cubicBezTo>
                        <a:pt x="0" y="285"/>
                        <a:pt x="0" y="285"/>
                        <a:pt x="0" y="285"/>
                      </a:cubicBezTo>
                      <a:cubicBezTo>
                        <a:pt x="43" y="328"/>
                        <a:pt x="43" y="328"/>
                        <a:pt x="43" y="328"/>
                      </a:cubicBezTo>
                      <a:cubicBezTo>
                        <a:pt x="87" y="285"/>
                        <a:pt x="87" y="285"/>
                        <a:pt x="87" y="285"/>
                      </a:cubicBezTo>
                      <a:cubicBezTo>
                        <a:pt x="87" y="43"/>
                        <a:pt x="87" y="43"/>
                        <a:pt x="87" y="43"/>
                      </a:cubicBezTo>
                      <a:cubicBezTo>
                        <a:pt x="87" y="19"/>
                        <a:pt x="67" y="0"/>
                        <a:pt x="44" y="0"/>
                      </a:cubicBezTo>
                    </a:path>
                  </a:pathLst>
                </a:custGeom>
                <a:grp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36" name="Freeform 79">
                  <a:extLst>
                    <a:ext uri="{FF2B5EF4-FFF2-40B4-BE49-F238E27FC236}">
                      <a16:creationId xmlns:a16="http://schemas.microsoft.com/office/drawing/2014/main" id="{C6788B63-A4ED-4B32-BE82-B785FA920049}"/>
                    </a:ext>
                  </a:extLst>
                </p:cNvPr>
                <p:cNvSpPr>
                  <a:spLocks noEditPoints="1"/>
                </p:cNvSpPr>
                <p:nvPr/>
              </p:nvSpPr>
              <p:spPr bwMode="auto">
                <a:xfrm>
                  <a:off x="-938060" y="-84083"/>
                  <a:ext cx="243772" cy="238273"/>
                </a:xfrm>
                <a:custGeom>
                  <a:avLst/>
                  <a:gdLst>
                    <a:gd name="T0" fmla="*/ 224 w 224"/>
                    <a:gd name="T1" fmla="*/ 205 h 219"/>
                    <a:gd name="T2" fmla="*/ 224 w 224"/>
                    <a:gd name="T3" fmla="*/ 205 h 219"/>
                    <a:gd name="T4" fmla="*/ 223 w 224"/>
                    <a:gd name="T5" fmla="*/ 206 h 219"/>
                    <a:gd name="T6" fmla="*/ 210 w 224"/>
                    <a:gd name="T7" fmla="*/ 215 h 219"/>
                    <a:gd name="T8" fmla="*/ 200 w 224"/>
                    <a:gd name="T9" fmla="*/ 218 h 219"/>
                    <a:gd name="T10" fmla="*/ 193 w 224"/>
                    <a:gd name="T11" fmla="*/ 219 h 219"/>
                    <a:gd name="T12" fmla="*/ 192 w 224"/>
                    <a:gd name="T13" fmla="*/ 219 h 219"/>
                    <a:gd name="T14" fmla="*/ 193 w 224"/>
                    <a:gd name="T15" fmla="*/ 219 h 219"/>
                    <a:gd name="T16" fmla="*/ 223 w 224"/>
                    <a:gd name="T17" fmla="*/ 206 h 219"/>
                    <a:gd name="T18" fmla="*/ 223 w 224"/>
                    <a:gd name="T19" fmla="*/ 206 h 219"/>
                    <a:gd name="T20" fmla="*/ 224 w 224"/>
                    <a:gd name="T21" fmla="*/ 205 h 219"/>
                    <a:gd name="T22" fmla="*/ 13 w 224"/>
                    <a:gd name="T23" fmla="*/ 4 h 219"/>
                    <a:gd name="T24" fmla="*/ 17 w 224"/>
                    <a:gd name="T25" fmla="*/ 61 h 219"/>
                    <a:gd name="T26" fmla="*/ 113 w 224"/>
                    <a:gd name="T27" fmla="*/ 157 h 219"/>
                    <a:gd name="T28" fmla="*/ 17 w 224"/>
                    <a:gd name="T29" fmla="*/ 61 h 219"/>
                    <a:gd name="T30" fmla="*/ 13 w 224"/>
                    <a:gd name="T31" fmla="*/ 4 h 219"/>
                    <a:gd name="T32" fmla="*/ 78 w 224"/>
                    <a:gd name="T33" fmla="*/ 0 h 219"/>
                    <a:gd name="T34" fmla="*/ 78 w 224"/>
                    <a:gd name="T35" fmla="*/ 0 h 219"/>
                    <a:gd name="T36" fmla="*/ 149 w 224"/>
                    <a:gd name="T37" fmla="*/ 71 h 219"/>
                    <a:gd name="T38" fmla="*/ 78 w 224"/>
                    <a:gd name="T39" fmla="*/ 0 h 219"/>
                    <a:gd name="T40" fmla="*/ 78 w 224"/>
                    <a:gd name="T4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19">
                      <a:moveTo>
                        <a:pt x="224" y="205"/>
                      </a:moveTo>
                      <a:cubicBezTo>
                        <a:pt x="224" y="205"/>
                        <a:pt x="224" y="205"/>
                        <a:pt x="224" y="205"/>
                      </a:cubicBezTo>
                      <a:cubicBezTo>
                        <a:pt x="223" y="206"/>
                        <a:pt x="223" y="206"/>
                        <a:pt x="223" y="206"/>
                      </a:cubicBezTo>
                      <a:cubicBezTo>
                        <a:pt x="219" y="210"/>
                        <a:pt x="215" y="213"/>
                        <a:pt x="210" y="215"/>
                      </a:cubicBezTo>
                      <a:cubicBezTo>
                        <a:pt x="207" y="216"/>
                        <a:pt x="204" y="217"/>
                        <a:pt x="200" y="218"/>
                      </a:cubicBezTo>
                      <a:cubicBezTo>
                        <a:pt x="198" y="218"/>
                        <a:pt x="195" y="219"/>
                        <a:pt x="193" y="219"/>
                      </a:cubicBezTo>
                      <a:cubicBezTo>
                        <a:pt x="193" y="219"/>
                        <a:pt x="193" y="219"/>
                        <a:pt x="192" y="219"/>
                      </a:cubicBezTo>
                      <a:cubicBezTo>
                        <a:pt x="193" y="219"/>
                        <a:pt x="193" y="219"/>
                        <a:pt x="193" y="219"/>
                      </a:cubicBezTo>
                      <a:cubicBezTo>
                        <a:pt x="204" y="219"/>
                        <a:pt x="215" y="214"/>
                        <a:pt x="223" y="206"/>
                      </a:cubicBezTo>
                      <a:cubicBezTo>
                        <a:pt x="223" y="206"/>
                        <a:pt x="223" y="206"/>
                        <a:pt x="223" y="206"/>
                      </a:cubicBezTo>
                      <a:cubicBezTo>
                        <a:pt x="224" y="205"/>
                        <a:pt x="224" y="205"/>
                        <a:pt x="224" y="205"/>
                      </a:cubicBezTo>
                      <a:moveTo>
                        <a:pt x="13" y="4"/>
                      </a:moveTo>
                      <a:cubicBezTo>
                        <a:pt x="0" y="21"/>
                        <a:pt x="2" y="46"/>
                        <a:pt x="17" y="61"/>
                      </a:cubicBezTo>
                      <a:cubicBezTo>
                        <a:pt x="113" y="157"/>
                        <a:pt x="113" y="157"/>
                        <a:pt x="113" y="157"/>
                      </a:cubicBezTo>
                      <a:cubicBezTo>
                        <a:pt x="17" y="61"/>
                        <a:pt x="17" y="61"/>
                        <a:pt x="17" y="61"/>
                      </a:cubicBezTo>
                      <a:cubicBezTo>
                        <a:pt x="2" y="46"/>
                        <a:pt x="0" y="21"/>
                        <a:pt x="13" y="4"/>
                      </a:cubicBezTo>
                      <a:moveTo>
                        <a:pt x="78" y="0"/>
                      </a:moveTo>
                      <a:cubicBezTo>
                        <a:pt x="78" y="0"/>
                        <a:pt x="78" y="0"/>
                        <a:pt x="78" y="0"/>
                      </a:cubicBezTo>
                      <a:cubicBezTo>
                        <a:pt x="149" y="71"/>
                        <a:pt x="149" y="71"/>
                        <a:pt x="149" y="71"/>
                      </a:cubicBezTo>
                      <a:cubicBezTo>
                        <a:pt x="78" y="0"/>
                        <a:pt x="78" y="0"/>
                        <a:pt x="78" y="0"/>
                      </a:cubicBezTo>
                      <a:cubicBezTo>
                        <a:pt x="78" y="0"/>
                        <a:pt x="78" y="0"/>
                        <a:pt x="78"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37" name="Freeform 81">
                  <a:extLst>
                    <a:ext uri="{FF2B5EF4-FFF2-40B4-BE49-F238E27FC236}">
                      <a16:creationId xmlns:a16="http://schemas.microsoft.com/office/drawing/2014/main" id="{BD2D3CC5-48F8-4D6E-8540-97EAFF15687D}"/>
                    </a:ext>
                  </a:extLst>
                </p:cNvPr>
                <p:cNvSpPr>
                  <a:spLocks/>
                </p:cNvSpPr>
                <p:nvPr/>
              </p:nvSpPr>
              <p:spPr bwMode="auto">
                <a:xfrm>
                  <a:off x="-728197" y="153274"/>
                  <a:ext cx="7790" cy="916"/>
                </a:xfrm>
                <a:custGeom>
                  <a:avLst/>
                  <a:gdLst>
                    <a:gd name="T0" fmla="*/ 7 w 7"/>
                    <a:gd name="T1" fmla="*/ 0 h 1"/>
                    <a:gd name="T2" fmla="*/ 0 w 7"/>
                    <a:gd name="T3" fmla="*/ 1 h 1"/>
                    <a:gd name="T4" fmla="*/ 7 w 7"/>
                    <a:gd name="T5" fmla="*/ 0 h 1"/>
                  </a:gdLst>
                  <a:ahLst/>
                  <a:cxnLst>
                    <a:cxn ang="0">
                      <a:pos x="T0" y="T1"/>
                    </a:cxn>
                    <a:cxn ang="0">
                      <a:pos x="T2" y="T3"/>
                    </a:cxn>
                    <a:cxn ang="0">
                      <a:pos x="T4" y="T5"/>
                    </a:cxn>
                  </a:cxnLst>
                  <a:rect l="0" t="0" r="r" b="b"/>
                  <a:pathLst>
                    <a:path w="7" h="1">
                      <a:moveTo>
                        <a:pt x="7" y="0"/>
                      </a:moveTo>
                      <a:cubicBezTo>
                        <a:pt x="5" y="0"/>
                        <a:pt x="2" y="1"/>
                        <a:pt x="0" y="1"/>
                      </a:cubicBezTo>
                      <a:cubicBezTo>
                        <a:pt x="2" y="1"/>
                        <a:pt x="5" y="0"/>
                        <a:pt x="7"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38" name="Freeform 82">
                  <a:extLst>
                    <a:ext uri="{FF2B5EF4-FFF2-40B4-BE49-F238E27FC236}">
                      <a16:creationId xmlns:a16="http://schemas.microsoft.com/office/drawing/2014/main" id="{3EA4FA08-6303-4E66-9AFE-CB8F7E775994}"/>
                    </a:ext>
                  </a:extLst>
                </p:cNvPr>
                <p:cNvSpPr>
                  <a:spLocks/>
                </p:cNvSpPr>
                <p:nvPr/>
              </p:nvSpPr>
              <p:spPr bwMode="auto">
                <a:xfrm>
                  <a:off x="-776310" y="-6644"/>
                  <a:ext cx="47196" cy="113180"/>
                </a:xfrm>
                <a:custGeom>
                  <a:avLst/>
                  <a:gdLst>
                    <a:gd name="T0" fmla="*/ 0 w 43"/>
                    <a:gd name="T1" fmla="*/ 0 h 104"/>
                    <a:gd name="T2" fmla="*/ 0 w 43"/>
                    <a:gd name="T3" fmla="*/ 104 h 104"/>
                    <a:gd name="T4" fmla="*/ 0 w 43"/>
                    <a:gd name="T5" fmla="*/ 104 h 104"/>
                    <a:gd name="T6" fmla="*/ 13 w 43"/>
                    <a:gd name="T7" fmla="*/ 74 h 104"/>
                    <a:gd name="T8" fmla="*/ 43 w 43"/>
                    <a:gd name="T9" fmla="*/ 43 h 104"/>
                    <a:gd name="T10" fmla="*/ 0 w 43"/>
                    <a:gd name="T11" fmla="*/ 0 h 104"/>
                  </a:gdLst>
                  <a:ahLst/>
                  <a:cxnLst>
                    <a:cxn ang="0">
                      <a:pos x="T0" y="T1"/>
                    </a:cxn>
                    <a:cxn ang="0">
                      <a:pos x="T2" y="T3"/>
                    </a:cxn>
                    <a:cxn ang="0">
                      <a:pos x="T4" y="T5"/>
                    </a:cxn>
                    <a:cxn ang="0">
                      <a:pos x="T6" y="T7"/>
                    </a:cxn>
                    <a:cxn ang="0">
                      <a:pos x="T8" y="T9"/>
                    </a:cxn>
                    <a:cxn ang="0">
                      <a:pos x="T10" y="T11"/>
                    </a:cxn>
                  </a:cxnLst>
                  <a:rect l="0" t="0" r="r" b="b"/>
                  <a:pathLst>
                    <a:path w="43" h="104">
                      <a:moveTo>
                        <a:pt x="0" y="0"/>
                      </a:moveTo>
                      <a:cubicBezTo>
                        <a:pt x="0" y="104"/>
                        <a:pt x="0" y="104"/>
                        <a:pt x="0" y="104"/>
                      </a:cubicBezTo>
                      <a:cubicBezTo>
                        <a:pt x="0" y="104"/>
                        <a:pt x="0" y="104"/>
                        <a:pt x="0" y="104"/>
                      </a:cubicBezTo>
                      <a:cubicBezTo>
                        <a:pt x="0" y="93"/>
                        <a:pt x="4" y="82"/>
                        <a:pt x="13" y="74"/>
                      </a:cubicBezTo>
                      <a:cubicBezTo>
                        <a:pt x="43" y="43"/>
                        <a:pt x="43" y="43"/>
                        <a:pt x="43" y="43"/>
                      </a:cubicBezTo>
                      <a:cubicBezTo>
                        <a:pt x="0" y="0"/>
                        <a:pt x="0" y="0"/>
                        <a:pt x="0" y="0"/>
                      </a:cubicBezTo>
                    </a:path>
                  </a:pathLst>
                </a:custGeom>
                <a:grp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39" name="Freeform 83">
                  <a:extLst>
                    <a:ext uri="{FF2B5EF4-FFF2-40B4-BE49-F238E27FC236}">
                      <a16:creationId xmlns:a16="http://schemas.microsoft.com/office/drawing/2014/main" id="{1982F3D5-920B-41D0-BDEA-4471E73F6541}"/>
                    </a:ext>
                  </a:extLst>
                </p:cNvPr>
                <p:cNvSpPr>
                  <a:spLocks noEditPoints="1"/>
                </p:cNvSpPr>
                <p:nvPr/>
              </p:nvSpPr>
              <p:spPr bwMode="auto">
                <a:xfrm>
                  <a:off x="-763022" y="-88207"/>
                  <a:ext cx="243772" cy="242397"/>
                </a:xfrm>
                <a:custGeom>
                  <a:avLst/>
                  <a:gdLst>
                    <a:gd name="T0" fmla="*/ 0 w 224"/>
                    <a:gd name="T1" fmla="*/ 209 h 223"/>
                    <a:gd name="T2" fmla="*/ 1 w 224"/>
                    <a:gd name="T3" fmla="*/ 210 h 223"/>
                    <a:gd name="T4" fmla="*/ 31 w 224"/>
                    <a:gd name="T5" fmla="*/ 223 h 223"/>
                    <a:gd name="T6" fmla="*/ 31 w 224"/>
                    <a:gd name="T7" fmla="*/ 223 h 223"/>
                    <a:gd name="T8" fmla="*/ 20 w 224"/>
                    <a:gd name="T9" fmla="*/ 221 h 223"/>
                    <a:gd name="T10" fmla="*/ 1 w 224"/>
                    <a:gd name="T11" fmla="*/ 210 h 223"/>
                    <a:gd name="T12" fmla="*/ 0 w 224"/>
                    <a:gd name="T13" fmla="*/ 209 h 223"/>
                    <a:gd name="T14" fmla="*/ 0 w 224"/>
                    <a:gd name="T15" fmla="*/ 209 h 223"/>
                    <a:gd name="T16" fmla="*/ 146 w 224"/>
                    <a:gd name="T17" fmla="*/ 4 h 223"/>
                    <a:gd name="T18" fmla="*/ 146 w 224"/>
                    <a:gd name="T19" fmla="*/ 4 h 223"/>
                    <a:gd name="T20" fmla="*/ 75 w 224"/>
                    <a:gd name="T21" fmla="*/ 75 h 223"/>
                    <a:gd name="T22" fmla="*/ 75 w 224"/>
                    <a:gd name="T23" fmla="*/ 75 h 223"/>
                    <a:gd name="T24" fmla="*/ 146 w 224"/>
                    <a:gd name="T25" fmla="*/ 4 h 223"/>
                    <a:gd name="T26" fmla="*/ 146 w 224"/>
                    <a:gd name="T27" fmla="*/ 4 h 223"/>
                    <a:gd name="T28" fmla="*/ 203 w 224"/>
                    <a:gd name="T29" fmla="*/ 0 h 223"/>
                    <a:gd name="T30" fmla="*/ 207 w 224"/>
                    <a:gd name="T31" fmla="*/ 4 h 223"/>
                    <a:gd name="T32" fmla="*/ 207 w 224"/>
                    <a:gd name="T33" fmla="*/ 65 h 223"/>
                    <a:gd name="T34" fmla="*/ 99 w 224"/>
                    <a:gd name="T35" fmla="*/ 173 h 223"/>
                    <a:gd name="T36" fmla="*/ 207 w 224"/>
                    <a:gd name="T37" fmla="*/ 65 h 223"/>
                    <a:gd name="T38" fmla="*/ 207 w 224"/>
                    <a:gd name="T39" fmla="*/ 4 h 223"/>
                    <a:gd name="T40" fmla="*/ 207 w 224"/>
                    <a:gd name="T41" fmla="*/ 4 h 223"/>
                    <a:gd name="T42" fmla="*/ 203 w 224"/>
                    <a:gd name="T43"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4" h="223">
                      <a:moveTo>
                        <a:pt x="0" y="209"/>
                      </a:moveTo>
                      <a:cubicBezTo>
                        <a:pt x="0" y="209"/>
                        <a:pt x="0" y="209"/>
                        <a:pt x="1" y="210"/>
                      </a:cubicBezTo>
                      <a:cubicBezTo>
                        <a:pt x="9" y="218"/>
                        <a:pt x="20" y="223"/>
                        <a:pt x="31" y="223"/>
                      </a:cubicBezTo>
                      <a:cubicBezTo>
                        <a:pt x="31" y="223"/>
                        <a:pt x="31" y="223"/>
                        <a:pt x="31" y="223"/>
                      </a:cubicBezTo>
                      <a:cubicBezTo>
                        <a:pt x="28" y="223"/>
                        <a:pt x="24" y="222"/>
                        <a:pt x="20" y="221"/>
                      </a:cubicBezTo>
                      <a:cubicBezTo>
                        <a:pt x="13" y="219"/>
                        <a:pt x="6" y="215"/>
                        <a:pt x="1" y="210"/>
                      </a:cubicBezTo>
                      <a:cubicBezTo>
                        <a:pt x="0" y="209"/>
                        <a:pt x="0" y="209"/>
                        <a:pt x="0" y="209"/>
                      </a:cubicBezTo>
                      <a:cubicBezTo>
                        <a:pt x="0" y="209"/>
                        <a:pt x="0" y="209"/>
                        <a:pt x="0" y="209"/>
                      </a:cubicBezTo>
                      <a:moveTo>
                        <a:pt x="146" y="4"/>
                      </a:moveTo>
                      <a:cubicBezTo>
                        <a:pt x="146" y="4"/>
                        <a:pt x="146" y="4"/>
                        <a:pt x="146" y="4"/>
                      </a:cubicBezTo>
                      <a:cubicBezTo>
                        <a:pt x="75" y="75"/>
                        <a:pt x="75" y="75"/>
                        <a:pt x="75" y="75"/>
                      </a:cubicBezTo>
                      <a:cubicBezTo>
                        <a:pt x="75" y="75"/>
                        <a:pt x="75" y="75"/>
                        <a:pt x="75" y="75"/>
                      </a:cubicBezTo>
                      <a:cubicBezTo>
                        <a:pt x="146" y="4"/>
                        <a:pt x="146" y="4"/>
                        <a:pt x="146" y="4"/>
                      </a:cubicBezTo>
                      <a:cubicBezTo>
                        <a:pt x="146" y="4"/>
                        <a:pt x="146" y="4"/>
                        <a:pt x="146" y="4"/>
                      </a:cubicBezTo>
                      <a:moveTo>
                        <a:pt x="203" y="0"/>
                      </a:moveTo>
                      <a:cubicBezTo>
                        <a:pt x="204" y="1"/>
                        <a:pt x="206" y="3"/>
                        <a:pt x="207" y="4"/>
                      </a:cubicBezTo>
                      <a:cubicBezTo>
                        <a:pt x="224" y="21"/>
                        <a:pt x="224" y="48"/>
                        <a:pt x="207" y="65"/>
                      </a:cubicBezTo>
                      <a:cubicBezTo>
                        <a:pt x="99" y="173"/>
                        <a:pt x="99" y="173"/>
                        <a:pt x="99" y="173"/>
                      </a:cubicBezTo>
                      <a:cubicBezTo>
                        <a:pt x="207" y="65"/>
                        <a:pt x="207" y="65"/>
                        <a:pt x="207" y="65"/>
                      </a:cubicBezTo>
                      <a:cubicBezTo>
                        <a:pt x="224" y="48"/>
                        <a:pt x="224" y="21"/>
                        <a:pt x="207" y="4"/>
                      </a:cubicBezTo>
                      <a:cubicBezTo>
                        <a:pt x="207" y="4"/>
                        <a:pt x="207" y="4"/>
                        <a:pt x="207" y="4"/>
                      </a:cubicBezTo>
                      <a:cubicBezTo>
                        <a:pt x="206" y="3"/>
                        <a:pt x="204" y="1"/>
                        <a:pt x="203"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40" name="Freeform 84">
                  <a:extLst>
                    <a:ext uri="{FF2B5EF4-FFF2-40B4-BE49-F238E27FC236}">
                      <a16:creationId xmlns:a16="http://schemas.microsoft.com/office/drawing/2014/main" id="{591DA3B8-4025-40D3-A26D-23EC8EA3B094}"/>
                    </a:ext>
                  </a:extLst>
                </p:cNvPr>
                <p:cNvSpPr>
                  <a:spLocks noEditPoints="1"/>
                </p:cNvSpPr>
                <p:nvPr/>
              </p:nvSpPr>
              <p:spPr bwMode="auto">
                <a:xfrm>
                  <a:off x="-763022" y="-97829"/>
                  <a:ext cx="243772" cy="249728"/>
                </a:xfrm>
                <a:custGeom>
                  <a:avLst/>
                  <a:gdLst>
                    <a:gd name="T0" fmla="*/ 0 w 224"/>
                    <a:gd name="T1" fmla="*/ 218 h 230"/>
                    <a:gd name="T2" fmla="*/ 0 w 224"/>
                    <a:gd name="T3" fmla="*/ 218 h 230"/>
                    <a:gd name="T4" fmla="*/ 0 w 224"/>
                    <a:gd name="T5" fmla="*/ 218 h 230"/>
                    <a:gd name="T6" fmla="*/ 1 w 224"/>
                    <a:gd name="T7" fmla="*/ 219 h 230"/>
                    <a:gd name="T8" fmla="*/ 20 w 224"/>
                    <a:gd name="T9" fmla="*/ 230 h 230"/>
                    <a:gd name="T10" fmla="*/ 1 w 224"/>
                    <a:gd name="T11" fmla="*/ 219 h 230"/>
                    <a:gd name="T12" fmla="*/ 0 w 224"/>
                    <a:gd name="T13" fmla="*/ 218 h 230"/>
                    <a:gd name="T14" fmla="*/ 176 w 224"/>
                    <a:gd name="T15" fmla="*/ 0 h 230"/>
                    <a:gd name="T16" fmla="*/ 146 w 224"/>
                    <a:gd name="T17" fmla="*/ 13 h 230"/>
                    <a:gd name="T18" fmla="*/ 146 w 224"/>
                    <a:gd name="T19" fmla="*/ 13 h 230"/>
                    <a:gd name="T20" fmla="*/ 75 w 224"/>
                    <a:gd name="T21" fmla="*/ 84 h 230"/>
                    <a:gd name="T22" fmla="*/ 75 w 224"/>
                    <a:gd name="T23" fmla="*/ 188 h 230"/>
                    <a:gd name="T24" fmla="*/ 73 w 224"/>
                    <a:gd name="T25" fmla="*/ 202 h 230"/>
                    <a:gd name="T26" fmla="*/ 63 w 224"/>
                    <a:gd name="T27" fmla="*/ 218 h 230"/>
                    <a:gd name="T28" fmla="*/ 99 w 224"/>
                    <a:gd name="T29" fmla="*/ 182 h 230"/>
                    <a:gd name="T30" fmla="*/ 207 w 224"/>
                    <a:gd name="T31" fmla="*/ 74 h 230"/>
                    <a:gd name="T32" fmla="*/ 207 w 224"/>
                    <a:gd name="T33" fmla="*/ 13 h 230"/>
                    <a:gd name="T34" fmla="*/ 203 w 224"/>
                    <a:gd name="T35" fmla="*/ 9 h 230"/>
                    <a:gd name="T36" fmla="*/ 176 w 224"/>
                    <a:gd name="T37"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4" h="230">
                      <a:moveTo>
                        <a:pt x="0" y="218"/>
                      </a:moveTo>
                      <a:cubicBezTo>
                        <a:pt x="0" y="218"/>
                        <a:pt x="0" y="218"/>
                        <a:pt x="0" y="218"/>
                      </a:cubicBezTo>
                      <a:cubicBezTo>
                        <a:pt x="0" y="218"/>
                        <a:pt x="0" y="218"/>
                        <a:pt x="0" y="218"/>
                      </a:cubicBezTo>
                      <a:cubicBezTo>
                        <a:pt x="1" y="219"/>
                        <a:pt x="1" y="219"/>
                        <a:pt x="1" y="219"/>
                      </a:cubicBezTo>
                      <a:cubicBezTo>
                        <a:pt x="6" y="224"/>
                        <a:pt x="13" y="228"/>
                        <a:pt x="20" y="230"/>
                      </a:cubicBezTo>
                      <a:cubicBezTo>
                        <a:pt x="13" y="228"/>
                        <a:pt x="6" y="224"/>
                        <a:pt x="1" y="219"/>
                      </a:cubicBezTo>
                      <a:cubicBezTo>
                        <a:pt x="0" y="218"/>
                        <a:pt x="0" y="218"/>
                        <a:pt x="0" y="218"/>
                      </a:cubicBezTo>
                      <a:moveTo>
                        <a:pt x="176" y="0"/>
                      </a:moveTo>
                      <a:cubicBezTo>
                        <a:pt x="165" y="0"/>
                        <a:pt x="154" y="4"/>
                        <a:pt x="146" y="13"/>
                      </a:cubicBezTo>
                      <a:cubicBezTo>
                        <a:pt x="146" y="13"/>
                        <a:pt x="146" y="13"/>
                        <a:pt x="146" y="13"/>
                      </a:cubicBezTo>
                      <a:cubicBezTo>
                        <a:pt x="75" y="84"/>
                        <a:pt x="75" y="84"/>
                        <a:pt x="75" y="84"/>
                      </a:cubicBezTo>
                      <a:cubicBezTo>
                        <a:pt x="75" y="188"/>
                        <a:pt x="75" y="188"/>
                        <a:pt x="75" y="188"/>
                      </a:cubicBezTo>
                      <a:cubicBezTo>
                        <a:pt x="75" y="193"/>
                        <a:pt x="74" y="198"/>
                        <a:pt x="73" y="202"/>
                      </a:cubicBezTo>
                      <a:cubicBezTo>
                        <a:pt x="71" y="208"/>
                        <a:pt x="68" y="213"/>
                        <a:pt x="63" y="218"/>
                      </a:cubicBezTo>
                      <a:cubicBezTo>
                        <a:pt x="99" y="182"/>
                        <a:pt x="99" y="182"/>
                        <a:pt x="99" y="182"/>
                      </a:cubicBezTo>
                      <a:cubicBezTo>
                        <a:pt x="207" y="74"/>
                        <a:pt x="207" y="74"/>
                        <a:pt x="207" y="74"/>
                      </a:cubicBezTo>
                      <a:cubicBezTo>
                        <a:pt x="224" y="57"/>
                        <a:pt x="224" y="30"/>
                        <a:pt x="207" y="13"/>
                      </a:cubicBezTo>
                      <a:cubicBezTo>
                        <a:pt x="206" y="12"/>
                        <a:pt x="204" y="10"/>
                        <a:pt x="203" y="9"/>
                      </a:cubicBezTo>
                      <a:cubicBezTo>
                        <a:pt x="195" y="3"/>
                        <a:pt x="186" y="0"/>
                        <a:pt x="176" y="0"/>
                      </a:cubicBezTo>
                    </a:path>
                  </a:pathLst>
                </a:custGeom>
                <a:grp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41" name="Freeform 85">
                  <a:extLst>
                    <a:ext uri="{FF2B5EF4-FFF2-40B4-BE49-F238E27FC236}">
                      <a16:creationId xmlns:a16="http://schemas.microsoft.com/office/drawing/2014/main" id="{069FF311-E173-41B7-8351-29E490306B59}"/>
                    </a:ext>
                  </a:extLst>
                </p:cNvPr>
                <p:cNvSpPr>
                  <a:spLocks/>
                </p:cNvSpPr>
                <p:nvPr/>
              </p:nvSpPr>
              <p:spPr bwMode="auto">
                <a:xfrm>
                  <a:off x="-729113" y="-6644"/>
                  <a:ext cx="49946" cy="128301"/>
                </a:xfrm>
                <a:custGeom>
                  <a:avLst/>
                  <a:gdLst>
                    <a:gd name="T0" fmla="*/ 44 w 46"/>
                    <a:gd name="T1" fmla="*/ 0 h 118"/>
                    <a:gd name="T2" fmla="*/ 0 w 46"/>
                    <a:gd name="T3" fmla="*/ 43 h 118"/>
                    <a:gd name="T4" fmla="*/ 31 w 46"/>
                    <a:gd name="T5" fmla="*/ 74 h 118"/>
                    <a:gd name="T6" fmla="*/ 42 w 46"/>
                    <a:gd name="T7" fmla="*/ 118 h 118"/>
                    <a:gd name="T8" fmla="*/ 44 w 46"/>
                    <a:gd name="T9" fmla="*/ 104 h 118"/>
                    <a:gd name="T10" fmla="*/ 44 w 46"/>
                    <a:gd name="T11" fmla="*/ 0 h 118"/>
                  </a:gdLst>
                  <a:ahLst/>
                  <a:cxnLst>
                    <a:cxn ang="0">
                      <a:pos x="T0" y="T1"/>
                    </a:cxn>
                    <a:cxn ang="0">
                      <a:pos x="T2" y="T3"/>
                    </a:cxn>
                    <a:cxn ang="0">
                      <a:pos x="T4" y="T5"/>
                    </a:cxn>
                    <a:cxn ang="0">
                      <a:pos x="T6" y="T7"/>
                    </a:cxn>
                    <a:cxn ang="0">
                      <a:pos x="T8" y="T9"/>
                    </a:cxn>
                    <a:cxn ang="0">
                      <a:pos x="T10" y="T11"/>
                    </a:cxn>
                  </a:cxnLst>
                  <a:rect l="0" t="0" r="r" b="b"/>
                  <a:pathLst>
                    <a:path w="46" h="118">
                      <a:moveTo>
                        <a:pt x="44" y="0"/>
                      </a:moveTo>
                      <a:cubicBezTo>
                        <a:pt x="0" y="43"/>
                        <a:pt x="0" y="43"/>
                        <a:pt x="0" y="43"/>
                      </a:cubicBezTo>
                      <a:cubicBezTo>
                        <a:pt x="31" y="74"/>
                        <a:pt x="31" y="74"/>
                        <a:pt x="31" y="74"/>
                      </a:cubicBezTo>
                      <a:cubicBezTo>
                        <a:pt x="43" y="86"/>
                        <a:pt x="46" y="103"/>
                        <a:pt x="42" y="118"/>
                      </a:cubicBezTo>
                      <a:cubicBezTo>
                        <a:pt x="43" y="114"/>
                        <a:pt x="44" y="109"/>
                        <a:pt x="44" y="104"/>
                      </a:cubicBezTo>
                      <a:cubicBezTo>
                        <a:pt x="44" y="0"/>
                        <a:pt x="44" y="0"/>
                        <a:pt x="44" y="0"/>
                      </a:cubicBezTo>
                    </a:path>
                  </a:pathLst>
                </a:custGeom>
                <a:grp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42" name="Freeform 86">
                  <a:extLst>
                    <a:ext uri="{FF2B5EF4-FFF2-40B4-BE49-F238E27FC236}">
                      <a16:creationId xmlns:a16="http://schemas.microsoft.com/office/drawing/2014/main" id="{93CFB7BF-D1CB-49FC-8FCD-6FE3E18887C7}"/>
                    </a:ext>
                  </a:extLst>
                </p:cNvPr>
                <p:cNvSpPr>
                  <a:spLocks noEditPoints="1"/>
                </p:cNvSpPr>
                <p:nvPr/>
              </p:nvSpPr>
              <p:spPr bwMode="auto">
                <a:xfrm>
                  <a:off x="-741485" y="150066"/>
                  <a:ext cx="31617" cy="4124"/>
                </a:xfrm>
                <a:custGeom>
                  <a:avLst/>
                  <a:gdLst>
                    <a:gd name="T0" fmla="*/ 0 w 29"/>
                    <a:gd name="T1" fmla="*/ 2 h 4"/>
                    <a:gd name="T2" fmla="*/ 11 w 29"/>
                    <a:gd name="T3" fmla="*/ 4 h 4"/>
                    <a:gd name="T4" fmla="*/ 12 w 29"/>
                    <a:gd name="T5" fmla="*/ 4 h 4"/>
                    <a:gd name="T6" fmla="*/ 12 w 29"/>
                    <a:gd name="T7" fmla="*/ 4 h 4"/>
                    <a:gd name="T8" fmla="*/ 4 w 29"/>
                    <a:gd name="T9" fmla="*/ 3 h 4"/>
                    <a:gd name="T10" fmla="*/ 0 w 29"/>
                    <a:gd name="T11" fmla="*/ 2 h 4"/>
                    <a:gd name="T12" fmla="*/ 29 w 29"/>
                    <a:gd name="T13" fmla="*/ 0 h 4"/>
                    <a:gd name="T14" fmla="*/ 25 w 29"/>
                    <a:gd name="T15" fmla="*/ 2 h 4"/>
                    <a:gd name="T16" fmla="*/ 19 w 29"/>
                    <a:gd name="T17" fmla="*/ 3 h 4"/>
                    <a:gd name="T18" fmla="*/ 29 w 29"/>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4">
                      <a:moveTo>
                        <a:pt x="0" y="2"/>
                      </a:moveTo>
                      <a:cubicBezTo>
                        <a:pt x="4" y="3"/>
                        <a:pt x="8" y="4"/>
                        <a:pt x="11" y="4"/>
                      </a:cubicBezTo>
                      <a:cubicBezTo>
                        <a:pt x="12" y="4"/>
                        <a:pt x="12" y="4"/>
                        <a:pt x="12" y="4"/>
                      </a:cubicBezTo>
                      <a:cubicBezTo>
                        <a:pt x="12" y="4"/>
                        <a:pt x="12" y="4"/>
                        <a:pt x="12" y="4"/>
                      </a:cubicBezTo>
                      <a:cubicBezTo>
                        <a:pt x="9" y="4"/>
                        <a:pt x="7" y="3"/>
                        <a:pt x="4" y="3"/>
                      </a:cubicBezTo>
                      <a:cubicBezTo>
                        <a:pt x="3" y="3"/>
                        <a:pt x="2" y="2"/>
                        <a:pt x="0" y="2"/>
                      </a:cubicBezTo>
                      <a:moveTo>
                        <a:pt x="29" y="0"/>
                      </a:moveTo>
                      <a:cubicBezTo>
                        <a:pt x="28" y="0"/>
                        <a:pt x="26" y="1"/>
                        <a:pt x="25" y="2"/>
                      </a:cubicBezTo>
                      <a:cubicBezTo>
                        <a:pt x="23" y="2"/>
                        <a:pt x="21" y="2"/>
                        <a:pt x="19" y="3"/>
                      </a:cubicBezTo>
                      <a:cubicBezTo>
                        <a:pt x="23" y="2"/>
                        <a:pt x="26" y="1"/>
                        <a:pt x="29"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43" name="Freeform 87">
                  <a:extLst>
                    <a:ext uri="{FF2B5EF4-FFF2-40B4-BE49-F238E27FC236}">
                      <a16:creationId xmlns:a16="http://schemas.microsoft.com/office/drawing/2014/main" id="{16F1A480-8CEA-45FD-9C0C-391E2EA8AF43}"/>
                    </a:ext>
                  </a:extLst>
                </p:cNvPr>
                <p:cNvSpPr>
                  <a:spLocks noEditPoints="1"/>
                </p:cNvSpPr>
                <p:nvPr/>
              </p:nvSpPr>
              <p:spPr bwMode="auto">
                <a:xfrm>
                  <a:off x="-776310" y="106536"/>
                  <a:ext cx="92560" cy="46738"/>
                </a:xfrm>
                <a:custGeom>
                  <a:avLst/>
                  <a:gdLst>
                    <a:gd name="T0" fmla="*/ 85 w 85"/>
                    <a:gd name="T1" fmla="*/ 14 h 43"/>
                    <a:gd name="T2" fmla="*/ 57 w 85"/>
                    <a:gd name="T3" fmla="*/ 42 h 43"/>
                    <a:gd name="T4" fmla="*/ 61 w 85"/>
                    <a:gd name="T5" fmla="*/ 40 h 43"/>
                    <a:gd name="T6" fmla="*/ 74 w 85"/>
                    <a:gd name="T7" fmla="*/ 31 h 43"/>
                    <a:gd name="T8" fmla="*/ 75 w 85"/>
                    <a:gd name="T9" fmla="*/ 30 h 43"/>
                    <a:gd name="T10" fmla="*/ 85 w 85"/>
                    <a:gd name="T11" fmla="*/ 14 h 43"/>
                    <a:gd name="T12" fmla="*/ 0 w 85"/>
                    <a:gd name="T13" fmla="*/ 0 h 43"/>
                    <a:gd name="T14" fmla="*/ 12 w 85"/>
                    <a:gd name="T15" fmla="*/ 30 h 43"/>
                    <a:gd name="T16" fmla="*/ 13 w 85"/>
                    <a:gd name="T17" fmla="*/ 31 h 43"/>
                    <a:gd name="T18" fmla="*/ 32 w 85"/>
                    <a:gd name="T19" fmla="*/ 42 h 43"/>
                    <a:gd name="T20" fmla="*/ 36 w 85"/>
                    <a:gd name="T21" fmla="*/ 43 h 43"/>
                    <a:gd name="T22" fmla="*/ 0 w 85"/>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43">
                      <a:moveTo>
                        <a:pt x="85" y="14"/>
                      </a:moveTo>
                      <a:cubicBezTo>
                        <a:pt x="80" y="27"/>
                        <a:pt x="70" y="37"/>
                        <a:pt x="57" y="42"/>
                      </a:cubicBezTo>
                      <a:cubicBezTo>
                        <a:pt x="58" y="41"/>
                        <a:pt x="60" y="40"/>
                        <a:pt x="61" y="40"/>
                      </a:cubicBezTo>
                      <a:cubicBezTo>
                        <a:pt x="66" y="38"/>
                        <a:pt x="70" y="35"/>
                        <a:pt x="74" y="31"/>
                      </a:cubicBezTo>
                      <a:cubicBezTo>
                        <a:pt x="75" y="30"/>
                        <a:pt x="75" y="30"/>
                        <a:pt x="75" y="30"/>
                      </a:cubicBezTo>
                      <a:cubicBezTo>
                        <a:pt x="80" y="25"/>
                        <a:pt x="83" y="20"/>
                        <a:pt x="85" y="14"/>
                      </a:cubicBezTo>
                      <a:moveTo>
                        <a:pt x="0" y="0"/>
                      </a:moveTo>
                      <a:cubicBezTo>
                        <a:pt x="0" y="11"/>
                        <a:pt x="4" y="21"/>
                        <a:pt x="12" y="30"/>
                      </a:cubicBezTo>
                      <a:cubicBezTo>
                        <a:pt x="13" y="31"/>
                        <a:pt x="13" y="31"/>
                        <a:pt x="13" y="31"/>
                      </a:cubicBezTo>
                      <a:cubicBezTo>
                        <a:pt x="18" y="36"/>
                        <a:pt x="25" y="40"/>
                        <a:pt x="32" y="42"/>
                      </a:cubicBezTo>
                      <a:cubicBezTo>
                        <a:pt x="34" y="42"/>
                        <a:pt x="35" y="43"/>
                        <a:pt x="36" y="43"/>
                      </a:cubicBezTo>
                      <a:cubicBezTo>
                        <a:pt x="16" y="40"/>
                        <a:pt x="0" y="22"/>
                        <a:pt x="0"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44" name="Freeform 88">
                  <a:extLst>
                    <a:ext uri="{FF2B5EF4-FFF2-40B4-BE49-F238E27FC236}">
                      <a16:creationId xmlns:a16="http://schemas.microsoft.com/office/drawing/2014/main" id="{0933C168-FD42-438C-8729-D6CE07B5F564}"/>
                    </a:ext>
                  </a:extLst>
                </p:cNvPr>
                <p:cNvSpPr>
                  <a:spLocks/>
                </p:cNvSpPr>
                <p:nvPr/>
              </p:nvSpPr>
              <p:spPr bwMode="auto">
                <a:xfrm>
                  <a:off x="-736903" y="151899"/>
                  <a:ext cx="22911" cy="2291"/>
                </a:xfrm>
                <a:custGeom>
                  <a:avLst/>
                  <a:gdLst>
                    <a:gd name="T0" fmla="*/ 21 w 21"/>
                    <a:gd name="T1" fmla="*/ 0 h 2"/>
                    <a:gd name="T2" fmla="*/ 17 w 21"/>
                    <a:gd name="T3" fmla="*/ 1 h 2"/>
                    <a:gd name="T4" fmla="*/ 16 w 21"/>
                    <a:gd name="T5" fmla="*/ 1 h 2"/>
                    <a:gd name="T6" fmla="*/ 13 w 21"/>
                    <a:gd name="T7" fmla="*/ 1 h 2"/>
                    <a:gd name="T8" fmla="*/ 12 w 21"/>
                    <a:gd name="T9" fmla="*/ 1 h 2"/>
                    <a:gd name="T10" fmla="*/ 7 w 21"/>
                    <a:gd name="T11" fmla="*/ 2 h 2"/>
                    <a:gd name="T12" fmla="*/ 3 w 21"/>
                    <a:gd name="T13" fmla="*/ 1 h 2"/>
                    <a:gd name="T14" fmla="*/ 3 w 21"/>
                    <a:gd name="T15" fmla="*/ 1 h 2"/>
                    <a:gd name="T16" fmla="*/ 0 w 21"/>
                    <a:gd name="T17" fmla="*/ 1 h 2"/>
                    <a:gd name="T18" fmla="*/ 8 w 21"/>
                    <a:gd name="T19" fmla="*/ 2 h 2"/>
                    <a:gd name="T20" fmla="*/ 8 w 21"/>
                    <a:gd name="T21" fmla="*/ 2 h 2"/>
                    <a:gd name="T22" fmla="*/ 15 w 21"/>
                    <a:gd name="T23" fmla="*/ 1 h 2"/>
                    <a:gd name="T24" fmla="*/ 21 w 21"/>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
                      <a:moveTo>
                        <a:pt x="21" y="0"/>
                      </a:moveTo>
                      <a:cubicBezTo>
                        <a:pt x="19" y="0"/>
                        <a:pt x="18" y="0"/>
                        <a:pt x="17" y="1"/>
                      </a:cubicBezTo>
                      <a:cubicBezTo>
                        <a:pt x="16" y="1"/>
                        <a:pt x="16" y="1"/>
                        <a:pt x="16" y="1"/>
                      </a:cubicBezTo>
                      <a:cubicBezTo>
                        <a:pt x="15" y="1"/>
                        <a:pt x="14" y="1"/>
                        <a:pt x="13" y="1"/>
                      </a:cubicBezTo>
                      <a:cubicBezTo>
                        <a:pt x="12" y="1"/>
                        <a:pt x="12" y="1"/>
                        <a:pt x="12" y="1"/>
                      </a:cubicBezTo>
                      <a:cubicBezTo>
                        <a:pt x="10" y="1"/>
                        <a:pt x="9" y="2"/>
                        <a:pt x="7" y="2"/>
                      </a:cubicBezTo>
                      <a:cubicBezTo>
                        <a:pt x="6" y="2"/>
                        <a:pt x="5" y="1"/>
                        <a:pt x="3" y="1"/>
                      </a:cubicBezTo>
                      <a:cubicBezTo>
                        <a:pt x="3" y="1"/>
                        <a:pt x="3" y="1"/>
                        <a:pt x="3" y="1"/>
                      </a:cubicBezTo>
                      <a:cubicBezTo>
                        <a:pt x="2" y="1"/>
                        <a:pt x="1" y="1"/>
                        <a:pt x="0" y="1"/>
                      </a:cubicBezTo>
                      <a:cubicBezTo>
                        <a:pt x="3" y="1"/>
                        <a:pt x="5" y="2"/>
                        <a:pt x="8" y="2"/>
                      </a:cubicBezTo>
                      <a:cubicBezTo>
                        <a:pt x="8" y="2"/>
                        <a:pt x="8" y="2"/>
                        <a:pt x="8" y="2"/>
                      </a:cubicBezTo>
                      <a:cubicBezTo>
                        <a:pt x="10" y="2"/>
                        <a:pt x="13" y="1"/>
                        <a:pt x="15" y="1"/>
                      </a:cubicBezTo>
                      <a:cubicBezTo>
                        <a:pt x="17" y="0"/>
                        <a:pt x="19" y="0"/>
                        <a:pt x="21"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45" name="Freeform 89">
                  <a:extLst>
                    <a:ext uri="{FF2B5EF4-FFF2-40B4-BE49-F238E27FC236}">
                      <a16:creationId xmlns:a16="http://schemas.microsoft.com/office/drawing/2014/main" id="{DF357B4B-5E18-40E9-BECC-A4CB6E7D36A1}"/>
                    </a:ext>
                  </a:extLst>
                </p:cNvPr>
                <p:cNvSpPr>
                  <a:spLocks/>
                </p:cNvSpPr>
                <p:nvPr/>
              </p:nvSpPr>
              <p:spPr bwMode="auto">
                <a:xfrm>
                  <a:off x="-776310" y="40094"/>
                  <a:ext cx="97142" cy="114096"/>
                </a:xfrm>
                <a:custGeom>
                  <a:avLst/>
                  <a:gdLst>
                    <a:gd name="T0" fmla="*/ 43 w 89"/>
                    <a:gd name="T1" fmla="*/ 0 h 105"/>
                    <a:gd name="T2" fmla="*/ 13 w 89"/>
                    <a:gd name="T3" fmla="*/ 31 h 105"/>
                    <a:gd name="T4" fmla="*/ 0 w 89"/>
                    <a:gd name="T5" fmla="*/ 61 h 105"/>
                    <a:gd name="T6" fmla="*/ 36 w 89"/>
                    <a:gd name="T7" fmla="*/ 104 h 105"/>
                    <a:gd name="T8" fmla="*/ 39 w 89"/>
                    <a:gd name="T9" fmla="*/ 104 h 105"/>
                    <a:gd name="T10" fmla="*/ 39 w 89"/>
                    <a:gd name="T11" fmla="*/ 104 h 105"/>
                    <a:gd name="T12" fmla="*/ 43 w 89"/>
                    <a:gd name="T13" fmla="*/ 105 h 105"/>
                    <a:gd name="T14" fmla="*/ 48 w 89"/>
                    <a:gd name="T15" fmla="*/ 104 h 105"/>
                    <a:gd name="T16" fmla="*/ 49 w 89"/>
                    <a:gd name="T17" fmla="*/ 104 h 105"/>
                    <a:gd name="T18" fmla="*/ 52 w 89"/>
                    <a:gd name="T19" fmla="*/ 104 h 105"/>
                    <a:gd name="T20" fmla="*/ 53 w 89"/>
                    <a:gd name="T21" fmla="*/ 104 h 105"/>
                    <a:gd name="T22" fmla="*/ 57 w 89"/>
                    <a:gd name="T23" fmla="*/ 103 h 105"/>
                    <a:gd name="T24" fmla="*/ 85 w 89"/>
                    <a:gd name="T25" fmla="*/ 75 h 105"/>
                    <a:gd name="T26" fmla="*/ 74 w 89"/>
                    <a:gd name="T27" fmla="*/ 31 h 105"/>
                    <a:gd name="T28" fmla="*/ 43 w 89"/>
                    <a:gd name="T2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105">
                      <a:moveTo>
                        <a:pt x="43" y="0"/>
                      </a:moveTo>
                      <a:cubicBezTo>
                        <a:pt x="13" y="31"/>
                        <a:pt x="13" y="31"/>
                        <a:pt x="13" y="31"/>
                      </a:cubicBezTo>
                      <a:cubicBezTo>
                        <a:pt x="4" y="39"/>
                        <a:pt x="0" y="50"/>
                        <a:pt x="0" y="61"/>
                      </a:cubicBezTo>
                      <a:cubicBezTo>
                        <a:pt x="0" y="83"/>
                        <a:pt x="16" y="101"/>
                        <a:pt x="36" y="104"/>
                      </a:cubicBezTo>
                      <a:cubicBezTo>
                        <a:pt x="37" y="104"/>
                        <a:pt x="38" y="104"/>
                        <a:pt x="39" y="104"/>
                      </a:cubicBezTo>
                      <a:cubicBezTo>
                        <a:pt x="39" y="104"/>
                        <a:pt x="39" y="104"/>
                        <a:pt x="39" y="104"/>
                      </a:cubicBezTo>
                      <a:cubicBezTo>
                        <a:pt x="41" y="104"/>
                        <a:pt x="42" y="105"/>
                        <a:pt x="43" y="105"/>
                      </a:cubicBezTo>
                      <a:cubicBezTo>
                        <a:pt x="45" y="105"/>
                        <a:pt x="46" y="104"/>
                        <a:pt x="48" y="104"/>
                      </a:cubicBezTo>
                      <a:cubicBezTo>
                        <a:pt x="49" y="104"/>
                        <a:pt x="49" y="104"/>
                        <a:pt x="49" y="104"/>
                      </a:cubicBezTo>
                      <a:cubicBezTo>
                        <a:pt x="50" y="104"/>
                        <a:pt x="51" y="104"/>
                        <a:pt x="52" y="104"/>
                      </a:cubicBezTo>
                      <a:cubicBezTo>
                        <a:pt x="53" y="104"/>
                        <a:pt x="53" y="104"/>
                        <a:pt x="53" y="104"/>
                      </a:cubicBezTo>
                      <a:cubicBezTo>
                        <a:pt x="54" y="103"/>
                        <a:pt x="55" y="103"/>
                        <a:pt x="57" y="103"/>
                      </a:cubicBezTo>
                      <a:cubicBezTo>
                        <a:pt x="70" y="98"/>
                        <a:pt x="80" y="88"/>
                        <a:pt x="85" y="75"/>
                      </a:cubicBezTo>
                      <a:cubicBezTo>
                        <a:pt x="89" y="60"/>
                        <a:pt x="86" y="43"/>
                        <a:pt x="74" y="31"/>
                      </a:cubicBezTo>
                      <a:cubicBezTo>
                        <a:pt x="43" y="0"/>
                        <a:pt x="43" y="0"/>
                        <a:pt x="43" y="0"/>
                      </a:cubicBezTo>
                    </a:path>
                  </a:pathLst>
                </a:custGeom>
                <a:grp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grpSp>
          <p:grpSp>
            <p:nvGrpSpPr>
              <p:cNvPr id="121" name="Group 120">
                <a:extLst>
                  <a:ext uri="{FF2B5EF4-FFF2-40B4-BE49-F238E27FC236}">
                    <a16:creationId xmlns:a16="http://schemas.microsoft.com/office/drawing/2014/main" id="{E6BBCC47-CE07-4A33-AF53-0EB15F5A2258}"/>
                  </a:ext>
                </a:extLst>
              </p:cNvPr>
              <p:cNvGrpSpPr/>
              <p:nvPr/>
            </p:nvGrpSpPr>
            <p:grpSpPr>
              <a:xfrm rot="16200000">
                <a:off x="1951780" y="3775885"/>
                <a:ext cx="260048" cy="292198"/>
                <a:chOff x="-938060" y="-316399"/>
                <a:chExt cx="418810" cy="470589"/>
              </a:xfrm>
              <a:grpFill/>
            </p:grpSpPr>
            <p:sp>
              <p:nvSpPr>
                <p:cNvPr id="122" name="Freeform 80">
                  <a:extLst>
                    <a:ext uri="{FF2B5EF4-FFF2-40B4-BE49-F238E27FC236}">
                      <a16:creationId xmlns:a16="http://schemas.microsoft.com/office/drawing/2014/main" id="{1794F350-5381-4D62-A003-E3F9D6E57F03}"/>
                    </a:ext>
                  </a:extLst>
                </p:cNvPr>
                <p:cNvSpPr>
                  <a:spLocks noEditPoints="1"/>
                </p:cNvSpPr>
                <p:nvPr/>
              </p:nvSpPr>
              <p:spPr bwMode="auto">
                <a:xfrm>
                  <a:off x="-938060" y="-97829"/>
                  <a:ext cx="243772" cy="247896"/>
                </a:xfrm>
                <a:custGeom>
                  <a:avLst/>
                  <a:gdLst>
                    <a:gd name="T0" fmla="*/ 224 w 224"/>
                    <a:gd name="T1" fmla="*/ 218 h 228"/>
                    <a:gd name="T2" fmla="*/ 223 w 224"/>
                    <a:gd name="T3" fmla="*/ 219 h 228"/>
                    <a:gd name="T4" fmla="*/ 210 w 224"/>
                    <a:gd name="T5" fmla="*/ 228 h 228"/>
                    <a:gd name="T6" fmla="*/ 223 w 224"/>
                    <a:gd name="T7" fmla="*/ 219 h 228"/>
                    <a:gd name="T8" fmla="*/ 224 w 224"/>
                    <a:gd name="T9" fmla="*/ 218 h 228"/>
                    <a:gd name="T10" fmla="*/ 224 w 224"/>
                    <a:gd name="T11" fmla="*/ 218 h 228"/>
                    <a:gd name="T12" fmla="*/ 224 w 224"/>
                    <a:gd name="T13" fmla="*/ 218 h 228"/>
                    <a:gd name="T14" fmla="*/ 48 w 224"/>
                    <a:gd name="T15" fmla="*/ 0 h 228"/>
                    <a:gd name="T16" fmla="*/ 17 w 224"/>
                    <a:gd name="T17" fmla="*/ 13 h 228"/>
                    <a:gd name="T18" fmla="*/ 17 w 224"/>
                    <a:gd name="T19" fmla="*/ 13 h 228"/>
                    <a:gd name="T20" fmla="*/ 17 w 224"/>
                    <a:gd name="T21" fmla="*/ 13 h 228"/>
                    <a:gd name="T22" fmla="*/ 13 w 224"/>
                    <a:gd name="T23" fmla="*/ 17 h 228"/>
                    <a:gd name="T24" fmla="*/ 17 w 224"/>
                    <a:gd name="T25" fmla="*/ 74 h 228"/>
                    <a:gd name="T26" fmla="*/ 113 w 224"/>
                    <a:gd name="T27" fmla="*/ 170 h 228"/>
                    <a:gd name="T28" fmla="*/ 161 w 224"/>
                    <a:gd name="T29" fmla="*/ 218 h 228"/>
                    <a:gd name="T30" fmla="*/ 149 w 224"/>
                    <a:gd name="T31" fmla="*/ 188 h 228"/>
                    <a:gd name="T32" fmla="*/ 149 w 224"/>
                    <a:gd name="T33" fmla="*/ 188 h 228"/>
                    <a:gd name="T34" fmla="*/ 149 w 224"/>
                    <a:gd name="T35" fmla="*/ 84 h 228"/>
                    <a:gd name="T36" fmla="*/ 149 w 224"/>
                    <a:gd name="T37" fmla="*/ 84 h 228"/>
                    <a:gd name="T38" fmla="*/ 78 w 224"/>
                    <a:gd name="T39" fmla="*/ 13 h 228"/>
                    <a:gd name="T40" fmla="*/ 78 w 224"/>
                    <a:gd name="T41" fmla="*/ 13 h 228"/>
                    <a:gd name="T42" fmla="*/ 48 w 224"/>
                    <a:gd name="T43"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4" h="228">
                      <a:moveTo>
                        <a:pt x="224" y="218"/>
                      </a:moveTo>
                      <a:cubicBezTo>
                        <a:pt x="223" y="219"/>
                        <a:pt x="223" y="219"/>
                        <a:pt x="223" y="219"/>
                      </a:cubicBezTo>
                      <a:cubicBezTo>
                        <a:pt x="219" y="223"/>
                        <a:pt x="215" y="226"/>
                        <a:pt x="210" y="228"/>
                      </a:cubicBezTo>
                      <a:cubicBezTo>
                        <a:pt x="215" y="226"/>
                        <a:pt x="219" y="223"/>
                        <a:pt x="223" y="219"/>
                      </a:cubicBezTo>
                      <a:cubicBezTo>
                        <a:pt x="224" y="218"/>
                        <a:pt x="224" y="218"/>
                        <a:pt x="224" y="218"/>
                      </a:cubicBezTo>
                      <a:cubicBezTo>
                        <a:pt x="224" y="218"/>
                        <a:pt x="224" y="218"/>
                        <a:pt x="224" y="218"/>
                      </a:cubicBezTo>
                      <a:cubicBezTo>
                        <a:pt x="224" y="218"/>
                        <a:pt x="224" y="218"/>
                        <a:pt x="224" y="218"/>
                      </a:cubicBezTo>
                      <a:moveTo>
                        <a:pt x="48" y="0"/>
                      </a:moveTo>
                      <a:cubicBezTo>
                        <a:pt x="37" y="0"/>
                        <a:pt x="25" y="4"/>
                        <a:pt x="17" y="13"/>
                      </a:cubicBezTo>
                      <a:cubicBezTo>
                        <a:pt x="17" y="13"/>
                        <a:pt x="17" y="13"/>
                        <a:pt x="17" y="13"/>
                      </a:cubicBezTo>
                      <a:cubicBezTo>
                        <a:pt x="17" y="13"/>
                        <a:pt x="17" y="13"/>
                        <a:pt x="17" y="13"/>
                      </a:cubicBezTo>
                      <a:cubicBezTo>
                        <a:pt x="16" y="14"/>
                        <a:pt x="14" y="16"/>
                        <a:pt x="13" y="17"/>
                      </a:cubicBezTo>
                      <a:cubicBezTo>
                        <a:pt x="0" y="34"/>
                        <a:pt x="2" y="59"/>
                        <a:pt x="17" y="74"/>
                      </a:cubicBezTo>
                      <a:cubicBezTo>
                        <a:pt x="113" y="170"/>
                        <a:pt x="113" y="170"/>
                        <a:pt x="113" y="170"/>
                      </a:cubicBezTo>
                      <a:cubicBezTo>
                        <a:pt x="161" y="218"/>
                        <a:pt x="161" y="218"/>
                        <a:pt x="161" y="218"/>
                      </a:cubicBezTo>
                      <a:cubicBezTo>
                        <a:pt x="153" y="209"/>
                        <a:pt x="149" y="199"/>
                        <a:pt x="149" y="188"/>
                      </a:cubicBezTo>
                      <a:cubicBezTo>
                        <a:pt x="149" y="188"/>
                        <a:pt x="149" y="188"/>
                        <a:pt x="149" y="188"/>
                      </a:cubicBezTo>
                      <a:cubicBezTo>
                        <a:pt x="149" y="84"/>
                        <a:pt x="149" y="84"/>
                        <a:pt x="149" y="84"/>
                      </a:cubicBezTo>
                      <a:cubicBezTo>
                        <a:pt x="149" y="84"/>
                        <a:pt x="149" y="84"/>
                        <a:pt x="149" y="84"/>
                      </a:cubicBezTo>
                      <a:cubicBezTo>
                        <a:pt x="78" y="13"/>
                        <a:pt x="78" y="13"/>
                        <a:pt x="78" y="13"/>
                      </a:cubicBezTo>
                      <a:cubicBezTo>
                        <a:pt x="78" y="13"/>
                        <a:pt x="78" y="13"/>
                        <a:pt x="78" y="13"/>
                      </a:cubicBezTo>
                      <a:cubicBezTo>
                        <a:pt x="70" y="4"/>
                        <a:pt x="59" y="0"/>
                        <a:pt x="48" y="0"/>
                      </a:cubicBezTo>
                    </a:path>
                  </a:pathLst>
                </a:custGeom>
                <a:grp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23" name="Freeform 78">
                  <a:extLst>
                    <a:ext uri="{FF2B5EF4-FFF2-40B4-BE49-F238E27FC236}">
                      <a16:creationId xmlns:a16="http://schemas.microsoft.com/office/drawing/2014/main" id="{D1233B77-1031-4BA1-B5D7-3E5CE6C35C33}"/>
                    </a:ext>
                  </a:extLst>
                </p:cNvPr>
                <p:cNvSpPr>
                  <a:spLocks/>
                </p:cNvSpPr>
                <p:nvPr/>
              </p:nvSpPr>
              <p:spPr bwMode="auto">
                <a:xfrm>
                  <a:off x="-776310" y="-316399"/>
                  <a:ext cx="94851" cy="356493"/>
                </a:xfrm>
                <a:custGeom>
                  <a:avLst/>
                  <a:gdLst>
                    <a:gd name="T0" fmla="*/ 44 w 87"/>
                    <a:gd name="T1" fmla="*/ 0 h 328"/>
                    <a:gd name="T2" fmla="*/ 0 w 87"/>
                    <a:gd name="T3" fmla="*/ 43 h 328"/>
                    <a:gd name="T4" fmla="*/ 0 w 87"/>
                    <a:gd name="T5" fmla="*/ 285 h 328"/>
                    <a:gd name="T6" fmla="*/ 43 w 87"/>
                    <a:gd name="T7" fmla="*/ 328 h 328"/>
                    <a:gd name="T8" fmla="*/ 87 w 87"/>
                    <a:gd name="T9" fmla="*/ 285 h 328"/>
                    <a:gd name="T10" fmla="*/ 87 w 87"/>
                    <a:gd name="T11" fmla="*/ 43 h 328"/>
                    <a:gd name="T12" fmla="*/ 44 w 87"/>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87" h="328">
                      <a:moveTo>
                        <a:pt x="44" y="0"/>
                      </a:moveTo>
                      <a:cubicBezTo>
                        <a:pt x="20" y="0"/>
                        <a:pt x="0" y="19"/>
                        <a:pt x="0" y="43"/>
                      </a:cubicBezTo>
                      <a:cubicBezTo>
                        <a:pt x="0" y="285"/>
                        <a:pt x="0" y="285"/>
                        <a:pt x="0" y="285"/>
                      </a:cubicBezTo>
                      <a:cubicBezTo>
                        <a:pt x="43" y="328"/>
                        <a:pt x="43" y="328"/>
                        <a:pt x="43" y="328"/>
                      </a:cubicBezTo>
                      <a:cubicBezTo>
                        <a:pt x="87" y="285"/>
                        <a:pt x="87" y="285"/>
                        <a:pt x="87" y="285"/>
                      </a:cubicBezTo>
                      <a:cubicBezTo>
                        <a:pt x="87" y="43"/>
                        <a:pt x="87" y="43"/>
                        <a:pt x="87" y="43"/>
                      </a:cubicBezTo>
                      <a:cubicBezTo>
                        <a:pt x="87" y="19"/>
                        <a:pt x="67" y="0"/>
                        <a:pt x="44" y="0"/>
                      </a:cubicBezTo>
                    </a:path>
                  </a:pathLst>
                </a:custGeom>
                <a:grp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24" name="Freeform 79">
                  <a:extLst>
                    <a:ext uri="{FF2B5EF4-FFF2-40B4-BE49-F238E27FC236}">
                      <a16:creationId xmlns:a16="http://schemas.microsoft.com/office/drawing/2014/main" id="{2A95793C-F773-4149-B4AA-9CA26B6667BD}"/>
                    </a:ext>
                  </a:extLst>
                </p:cNvPr>
                <p:cNvSpPr>
                  <a:spLocks noEditPoints="1"/>
                </p:cNvSpPr>
                <p:nvPr/>
              </p:nvSpPr>
              <p:spPr bwMode="auto">
                <a:xfrm>
                  <a:off x="-938060" y="-84083"/>
                  <a:ext cx="243772" cy="238273"/>
                </a:xfrm>
                <a:custGeom>
                  <a:avLst/>
                  <a:gdLst>
                    <a:gd name="T0" fmla="*/ 224 w 224"/>
                    <a:gd name="T1" fmla="*/ 205 h 219"/>
                    <a:gd name="T2" fmla="*/ 224 w 224"/>
                    <a:gd name="T3" fmla="*/ 205 h 219"/>
                    <a:gd name="T4" fmla="*/ 223 w 224"/>
                    <a:gd name="T5" fmla="*/ 206 h 219"/>
                    <a:gd name="T6" fmla="*/ 210 w 224"/>
                    <a:gd name="T7" fmla="*/ 215 h 219"/>
                    <a:gd name="T8" fmla="*/ 200 w 224"/>
                    <a:gd name="T9" fmla="*/ 218 h 219"/>
                    <a:gd name="T10" fmla="*/ 193 w 224"/>
                    <a:gd name="T11" fmla="*/ 219 h 219"/>
                    <a:gd name="T12" fmla="*/ 192 w 224"/>
                    <a:gd name="T13" fmla="*/ 219 h 219"/>
                    <a:gd name="T14" fmla="*/ 193 w 224"/>
                    <a:gd name="T15" fmla="*/ 219 h 219"/>
                    <a:gd name="T16" fmla="*/ 223 w 224"/>
                    <a:gd name="T17" fmla="*/ 206 h 219"/>
                    <a:gd name="T18" fmla="*/ 223 w 224"/>
                    <a:gd name="T19" fmla="*/ 206 h 219"/>
                    <a:gd name="T20" fmla="*/ 224 w 224"/>
                    <a:gd name="T21" fmla="*/ 205 h 219"/>
                    <a:gd name="T22" fmla="*/ 13 w 224"/>
                    <a:gd name="T23" fmla="*/ 4 h 219"/>
                    <a:gd name="T24" fmla="*/ 17 w 224"/>
                    <a:gd name="T25" fmla="*/ 61 h 219"/>
                    <a:gd name="T26" fmla="*/ 113 w 224"/>
                    <a:gd name="T27" fmla="*/ 157 h 219"/>
                    <a:gd name="T28" fmla="*/ 17 w 224"/>
                    <a:gd name="T29" fmla="*/ 61 h 219"/>
                    <a:gd name="T30" fmla="*/ 13 w 224"/>
                    <a:gd name="T31" fmla="*/ 4 h 219"/>
                    <a:gd name="T32" fmla="*/ 78 w 224"/>
                    <a:gd name="T33" fmla="*/ 0 h 219"/>
                    <a:gd name="T34" fmla="*/ 78 w 224"/>
                    <a:gd name="T35" fmla="*/ 0 h 219"/>
                    <a:gd name="T36" fmla="*/ 149 w 224"/>
                    <a:gd name="T37" fmla="*/ 71 h 219"/>
                    <a:gd name="T38" fmla="*/ 78 w 224"/>
                    <a:gd name="T39" fmla="*/ 0 h 219"/>
                    <a:gd name="T40" fmla="*/ 78 w 224"/>
                    <a:gd name="T4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19">
                      <a:moveTo>
                        <a:pt x="224" y="205"/>
                      </a:moveTo>
                      <a:cubicBezTo>
                        <a:pt x="224" y="205"/>
                        <a:pt x="224" y="205"/>
                        <a:pt x="224" y="205"/>
                      </a:cubicBezTo>
                      <a:cubicBezTo>
                        <a:pt x="223" y="206"/>
                        <a:pt x="223" y="206"/>
                        <a:pt x="223" y="206"/>
                      </a:cubicBezTo>
                      <a:cubicBezTo>
                        <a:pt x="219" y="210"/>
                        <a:pt x="215" y="213"/>
                        <a:pt x="210" y="215"/>
                      </a:cubicBezTo>
                      <a:cubicBezTo>
                        <a:pt x="207" y="216"/>
                        <a:pt x="204" y="217"/>
                        <a:pt x="200" y="218"/>
                      </a:cubicBezTo>
                      <a:cubicBezTo>
                        <a:pt x="198" y="218"/>
                        <a:pt x="195" y="219"/>
                        <a:pt x="193" y="219"/>
                      </a:cubicBezTo>
                      <a:cubicBezTo>
                        <a:pt x="193" y="219"/>
                        <a:pt x="193" y="219"/>
                        <a:pt x="192" y="219"/>
                      </a:cubicBezTo>
                      <a:cubicBezTo>
                        <a:pt x="193" y="219"/>
                        <a:pt x="193" y="219"/>
                        <a:pt x="193" y="219"/>
                      </a:cubicBezTo>
                      <a:cubicBezTo>
                        <a:pt x="204" y="219"/>
                        <a:pt x="215" y="214"/>
                        <a:pt x="223" y="206"/>
                      </a:cubicBezTo>
                      <a:cubicBezTo>
                        <a:pt x="223" y="206"/>
                        <a:pt x="223" y="206"/>
                        <a:pt x="223" y="206"/>
                      </a:cubicBezTo>
                      <a:cubicBezTo>
                        <a:pt x="224" y="205"/>
                        <a:pt x="224" y="205"/>
                        <a:pt x="224" y="205"/>
                      </a:cubicBezTo>
                      <a:moveTo>
                        <a:pt x="13" y="4"/>
                      </a:moveTo>
                      <a:cubicBezTo>
                        <a:pt x="0" y="21"/>
                        <a:pt x="2" y="46"/>
                        <a:pt x="17" y="61"/>
                      </a:cubicBezTo>
                      <a:cubicBezTo>
                        <a:pt x="113" y="157"/>
                        <a:pt x="113" y="157"/>
                        <a:pt x="113" y="157"/>
                      </a:cubicBezTo>
                      <a:cubicBezTo>
                        <a:pt x="17" y="61"/>
                        <a:pt x="17" y="61"/>
                        <a:pt x="17" y="61"/>
                      </a:cubicBezTo>
                      <a:cubicBezTo>
                        <a:pt x="2" y="46"/>
                        <a:pt x="0" y="21"/>
                        <a:pt x="13" y="4"/>
                      </a:cubicBezTo>
                      <a:moveTo>
                        <a:pt x="78" y="0"/>
                      </a:moveTo>
                      <a:cubicBezTo>
                        <a:pt x="78" y="0"/>
                        <a:pt x="78" y="0"/>
                        <a:pt x="78" y="0"/>
                      </a:cubicBezTo>
                      <a:cubicBezTo>
                        <a:pt x="149" y="71"/>
                        <a:pt x="149" y="71"/>
                        <a:pt x="149" y="71"/>
                      </a:cubicBezTo>
                      <a:cubicBezTo>
                        <a:pt x="78" y="0"/>
                        <a:pt x="78" y="0"/>
                        <a:pt x="78" y="0"/>
                      </a:cubicBezTo>
                      <a:cubicBezTo>
                        <a:pt x="78" y="0"/>
                        <a:pt x="78" y="0"/>
                        <a:pt x="78"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25" name="Freeform 81">
                  <a:extLst>
                    <a:ext uri="{FF2B5EF4-FFF2-40B4-BE49-F238E27FC236}">
                      <a16:creationId xmlns:a16="http://schemas.microsoft.com/office/drawing/2014/main" id="{AA320EA8-47B3-4D3C-80F6-84F94B05A665}"/>
                    </a:ext>
                  </a:extLst>
                </p:cNvPr>
                <p:cNvSpPr>
                  <a:spLocks/>
                </p:cNvSpPr>
                <p:nvPr/>
              </p:nvSpPr>
              <p:spPr bwMode="auto">
                <a:xfrm>
                  <a:off x="-728197" y="153274"/>
                  <a:ext cx="7790" cy="916"/>
                </a:xfrm>
                <a:custGeom>
                  <a:avLst/>
                  <a:gdLst>
                    <a:gd name="T0" fmla="*/ 7 w 7"/>
                    <a:gd name="T1" fmla="*/ 0 h 1"/>
                    <a:gd name="T2" fmla="*/ 0 w 7"/>
                    <a:gd name="T3" fmla="*/ 1 h 1"/>
                    <a:gd name="T4" fmla="*/ 7 w 7"/>
                    <a:gd name="T5" fmla="*/ 0 h 1"/>
                  </a:gdLst>
                  <a:ahLst/>
                  <a:cxnLst>
                    <a:cxn ang="0">
                      <a:pos x="T0" y="T1"/>
                    </a:cxn>
                    <a:cxn ang="0">
                      <a:pos x="T2" y="T3"/>
                    </a:cxn>
                    <a:cxn ang="0">
                      <a:pos x="T4" y="T5"/>
                    </a:cxn>
                  </a:cxnLst>
                  <a:rect l="0" t="0" r="r" b="b"/>
                  <a:pathLst>
                    <a:path w="7" h="1">
                      <a:moveTo>
                        <a:pt x="7" y="0"/>
                      </a:moveTo>
                      <a:cubicBezTo>
                        <a:pt x="5" y="0"/>
                        <a:pt x="2" y="1"/>
                        <a:pt x="0" y="1"/>
                      </a:cubicBezTo>
                      <a:cubicBezTo>
                        <a:pt x="2" y="1"/>
                        <a:pt x="5" y="0"/>
                        <a:pt x="7"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26" name="Freeform 82">
                  <a:extLst>
                    <a:ext uri="{FF2B5EF4-FFF2-40B4-BE49-F238E27FC236}">
                      <a16:creationId xmlns:a16="http://schemas.microsoft.com/office/drawing/2014/main" id="{4EB98937-2147-4ED4-B7CF-A3E14584F5F8}"/>
                    </a:ext>
                  </a:extLst>
                </p:cNvPr>
                <p:cNvSpPr>
                  <a:spLocks/>
                </p:cNvSpPr>
                <p:nvPr/>
              </p:nvSpPr>
              <p:spPr bwMode="auto">
                <a:xfrm>
                  <a:off x="-776310" y="-6644"/>
                  <a:ext cx="47196" cy="113180"/>
                </a:xfrm>
                <a:custGeom>
                  <a:avLst/>
                  <a:gdLst>
                    <a:gd name="T0" fmla="*/ 0 w 43"/>
                    <a:gd name="T1" fmla="*/ 0 h 104"/>
                    <a:gd name="T2" fmla="*/ 0 w 43"/>
                    <a:gd name="T3" fmla="*/ 104 h 104"/>
                    <a:gd name="T4" fmla="*/ 0 w 43"/>
                    <a:gd name="T5" fmla="*/ 104 h 104"/>
                    <a:gd name="T6" fmla="*/ 13 w 43"/>
                    <a:gd name="T7" fmla="*/ 74 h 104"/>
                    <a:gd name="T8" fmla="*/ 43 w 43"/>
                    <a:gd name="T9" fmla="*/ 43 h 104"/>
                    <a:gd name="T10" fmla="*/ 0 w 43"/>
                    <a:gd name="T11" fmla="*/ 0 h 104"/>
                  </a:gdLst>
                  <a:ahLst/>
                  <a:cxnLst>
                    <a:cxn ang="0">
                      <a:pos x="T0" y="T1"/>
                    </a:cxn>
                    <a:cxn ang="0">
                      <a:pos x="T2" y="T3"/>
                    </a:cxn>
                    <a:cxn ang="0">
                      <a:pos x="T4" y="T5"/>
                    </a:cxn>
                    <a:cxn ang="0">
                      <a:pos x="T6" y="T7"/>
                    </a:cxn>
                    <a:cxn ang="0">
                      <a:pos x="T8" y="T9"/>
                    </a:cxn>
                    <a:cxn ang="0">
                      <a:pos x="T10" y="T11"/>
                    </a:cxn>
                  </a:cxnLst>
                  <a:rect l="0" t="0" r="r" b="b"/>
                  <a:pathLst>
                    <a:path w="43" h="104">
                      <a:moveTo>
                        <a:pt x="0" y="0"/>
                      </a:moveTo>
                      <a:cubicBezTo>
                        <a:pt x="0" y="104"/>
                        <a:pt x="0" y="104"/>
                        <a:pt x="0" y="104"/>
                      </a:cubicBezTo>
                      <a:cubicBezTo>
                        <a:pt x="0" y="104"/>
                        <a:pt x="0" y="104"/>
                        <a:pt x="0" y="104"/>
                      </a:cubicBezTo>
                      <a:cubicBezTo>
                        <a:pt x="0" y="93"/>
                        <a:pt x="4" y="82"/>
                        <a:pt x="13" y="74"/>
                      </a:cubicBezTo>
                      <a:cubicBezTo>
                        <a:pt x="43" y="43"/>
                        <a:pt x="43" y="43"/>
                        <a:pt x="43" y="43"/>
                      </a:cubicBezTo>
                      <a:cubicBezTo>
                        <a:pt x="0" y="0"/>
                        <a:pt x="0" y="0"/>
                        <a:pt x="0" y="0"/>
                      </a:cubicBezTo>
                    </a:path>
                  </a:pathLst>
                </a:custGeom>
                <a:grp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27" name="Freeform 83">
                  <a:extLst>
                    <a:ext uri="{FF2B5EF4-FFF2-40B4-BE49-F238E27FC236}">
                      <a16:creationId xmlns:a16="http://schemas.microsoft.com/office/drawing/2014/main" id="{82397B78-FFC5-4E40-8E5D-AC0F7C691FCD}"/>
                    </a:ext>
                  </a:extLst>
                </p:cNvPr>
                <p:cNvSpPr>
                  <a:spLocks noEditPoints="1"/>
                </p:cNvSpPr>
                <p:nvPr/>
              </p:nvSpPr>
              <p:spPr bwMode="auto">
                <a:xfrm>
                  <a:off x="-763022" y="-88207"/>
                  <a:ext cx="243772" cy="242397"/>
                </a:xfrm>
                <a:custGeom>
                  <a:avLst/>
                  <a:gdLst>
                    <a:gd name="T0" fmla="*/ 0 w 224"/>
                    <a:gd name="T1" fmla="*/ 209 h 223"/>
                    <a:gd name="T2" fmla="*/ 1 w 224"/>
                    <a:gd name="T3" fmla="*/ 210 h 223"/>
                    <a:gd name="T4" fmla="*/ 31 w 224"/>
                    <a:gd name="T5" fmla="*/ 223 h 223"/>
                    <a:gd name="T6" fmla="*/ 31 w 224"/>
                    <a:gd name="T7" fmla="*/ 223 h 223"/>
                    <a:gd name="T8" fmla="*/ 20 w 224"/>
                    <a:gd name="T9" fmla="*/ 221 h 223"/>
                    <a:gd name="T10" fmla="*/ 1 w 224"/>
                    <a:gd name="T11" fmla="*/ 210 h 223"/>
                    <a:gd name="T12" fmla="*/ 0 w 224"/>
                    <a:gd name="T13" fmla="*/ 209 h 223"/>
                    <a:gd name="T14" fmla="*/ 0 w 224"/>
                    <a:gd name="T15" fmla="*/ 209 h 223"/>
                    <a:gd name="T16" fmla="*/ 146 w 224"/>
                    <a:gd name="T17" fmla="*/ 4 h 223"/>
                    <a:gd name="T18" fmla="*/ 146 w 224"/>
                    <a:gd name="T19" fmla="*/ 4 h 223"/>
                    <a:gd name="T20" fmla="*/ 75 w 224"/>
                    <a:gd name="T21" fmla="*/ 75 h 223"/>
                    <a:gd name="T22" fmla="*/ 75 w 224"/>
                    <a:gd name="T23" fmla="*/ 75 h 223"/>
                    <a:gd name="T24" fmla="*/ 146 w 224"/>
                    <a:gd name="T25" fmla="*/ 4 h 223"/>
                    <a:gd name="T26" fmla="*/ 146 w 224"/>
                    <a:gd name="T27" fmla="*/ 4 h 223"/>
                    <a:gd name="T28" fmla="*/ 203 w 224"/>
                    <a:gd name="T29" fmla="*/ 0 h 223"/>
                    <a:gd name="T30" fmla="*/ 207 w 224"/>
                    <a:gd name="T31" fmla="*/ 4 h 223"/>
                    <a:gd name="T32" fmla="*/ 207 w 224"/>
                    <a:gd name="T33" fmla="*/ 65 h 223"/>
                    <a:gd name="T34" fmla="*/ 99 w 224"/>
                    <a:gd name="T35" fmla="*/ 173 h 223"/>
                    <a:gd name="T36" fmla="*/ 207 w 224"/>
                    <a:gd name="T37" fmla="*/ 65 h 223"/>
                    <a:gd name="T38" fmla="*/ 207 w 224"/>
                    <a:gd name="T39" fmla="*/ 4 h 223"/>
                    <a:gd name="T40" fmla="*/ 207 w 224"/>
                    <a:gd name="T41" fmla="*/ 4 h 223"/>
                    <a:gd name="T42" fmla="*/ 203 w 224"/>
                    <a:gd name="T43"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4" h="223">
                      <a:moveTo>
                        <a:pt x="0" y="209"/>
                      </a:moveTo>
                      <a:cubicBezTo>
                        <a:pt x="0" y="209"/>
                        <a:pt x="0" y="209"/>
                        <a:pt x="1" y="210"/>
                      </a:cubicBezTo>
                      <a:cubicBezTo>
                        <a:pt x="9" y="218"/>
                        <a:pt x="20" y="223"/>
                        <a:pt x="31" y="223"/>
                      </a:cubicBezTo>
                      <a:cubicBezTo>
                        <a:pt x="31" y="223"/>
                        <a:pt x="31" y="223"/>
                        <a:pt x="31" y="223"/>
                      </a:cubicBezTo>
                      <a:cubicBezTo>
                        <a:pt x="28" y="223"/>
                        <a:pt x="24" y="222"/>
                        <a:pt x="20" y="221"/>
                      </a:cubicBezTo>
                      <a:cubicBezTo>
                        <a:pt x="13" y="219"/>
                        <a:pt x="6" y="215"/>
                        <a:pt x="1" y="210"/>
                      </a:cubicBezTo>
                      <a:cubicBezTo>
                        <a:pt x="0" y="209"/>
                        <a:pt x="0" y="209"/>
                        <a:pt x="0" y="209"/>
                      </a:cubicBezTo>
                      <a:cubicBezTo>
                        <a:pt x="0" y="209"/>
                        <a:pt x="0" y="209"/>
                        <a:pt x="0" y="209"/>
                      </a:cubicBezTo>
                      <a:moveTo>
                        <a:pt x="146" y="4"/>
                      </a:moveTo>
                      <a:cubicBezTo>
                        <a:pt x="146" y="4"/>
                        <a:pt x="146" y="4"/>
                        <a:pt x="146" y="4"/>
                      </a:cubicBezTo>
                      <a:cubicBezTo>
                        <a:pt x="75" y="75"/>
                        <a:pt x="75" y="75"/>
                        <a:pt x="75" y="75"/>
                      </a:cubicBezTo>
                      <a:cubicBezTo>
                        <a:pt x="75" y="75"/>
                        <a:pt x="75" y="75"/>
                        <a:pt x="75" y="75"/>
                      </a:cubicBezTo>
                      <a:cubicBezTo>
                        <a:pt x="146" y="4"/>
                        <a:pt x="146" y="4"/>
                        <a:pt x="146" y="4"/>
                      </a:cubicBezTo>
                      <a:cubicBezTo>
                        <a:pt x="146" y="4"/>
                        <a:pt x="146" y="4"/>
                        <a:pt x="146" y="4"/>
                      </a:cubicBezTo>
                      <a:moveTo>
                        <a:pt x="203" y="0"/>
                      </a:moveTo>
                      <a:cubicBezTo>
                        <a:pt x="204" y="1"/>
                        <a:pt x="206" y="3"/>
                        <a:pt x="207" y="4"/>
                      </a:cubicBezTo>
                      <a:cubicBezTo>
                        <a:pt x="224" y="21"/>
                        <a:pt x="224" y="48"/>
                        <a:pt x="207" y="65"/>
                      </a:cubicBezTo>
                      <a:cubicBezTo>
                        <a:pt x="99" y="173"/>
                        <a:pt x="99" y="173"/>
                        <a:pt x="99" y="173"/>
                      </a:cubicBezTo>
                      <a:cubicBezTo>
                        <a:pt x="207" y="65"/>
                        <a:pt x="207" y="65"/>
                        <a:pt x="207" y="65"/>
                      </a:cubicBezTo>
                      <a:cubicBezTo>
                        <a:pt x="224" y="48"/>
                        <a:pt x="224" y="21"/>
                        <a:pt x="207" y="4"/>
                      </a:cubicBezTo>
                      <a:cubicBezTo>
                        <a:pt x="207" y="4"/>
                        <a:pt x="207" y="4"/>
                        <a:pt x="207" y="4"/>
                      </a:cubicBezTo>
                      <a:cubicBezTo>
                        <a:pt x="206" y="3"/>
                        <a:pt x="204" y="1"/>
                        <a:pt x="203"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28" name="Freeform 84">
                  <a:extLst>
                    <a:ext uri="{FF2B5EF4-FFF2-40B4-BE49-F238E27FC236}">
                      <a16:creationId xmlns:a16="http://schemas.microsoft.com/office/drawing/2014/main" id="{410346A3-74CC-4DA7-8F92-651706C2FFC9}"/>
                    </a:ext>
                  </a:extLst>
                </p:cNvPr>
                <p:cNvSpPr>
                  <a:spLocks noEditPoints="1"/>
                </p:cNvSpPr>
                <p:nvPr/>
              </p:nvSpPr>
              <p:spPr bwMode="auto">
                <a:xfrm>
                  <a:off x="-763022" y="-97829"/>
                  <a:ext cx="243772" cy="249728"/>
                </a:xfrm>
                <a:custGeom>
                  <a:avLst/>
                  <a:gdLst>
                    <a:gd name="T0" fmla="*/ 0 w 224"/>
                    <a:gd name="T1" fmla="*/ 218 h 230"/>
                    <a:gd name="T2" fmla="*/ 0 w 224"/>
                    <a:gd name="T3" fmla="*/ 218 h 230"/>
                    <a:gd name="T4" fmla="*/ 0 w 224"/>
                    <a:gd name="T5" fmla="*/ 218 h 230"/>
                    <a:gd name="T6" fmla="*/ 1 w 224"/>
                    <a:gd name="T7" fmla="*/ 219 h 230"/>
                    <a:gd name="T8" fmla="*/ 20 w 224"/>
                    <a:gd name="T9" fmla="*/ 230 h 230"/>
                    <a:gd name="T10" fmla="*/ 1 w 224"/>
                    <a:gd name="T11" fmla="*/ 219 h 230"/>
                    <a:gd name="T12" fmla="*/ 0 w 224"/>
                    <a:gd name="T13" fmla="*/ 218 h 230"/>
                    <a:gd name="T14" fmla="*/ 176 w 224"/>
                    <a:gd name="T15" fmla="*/ 0 h 230"/>
                    <a:gd name="T16" fmla="*/ 146 w 224"/>
                    <a:gd name="T17" fmla="*/ 13 h 230"/>
                    <a:gd name="T18" fmla="*/ 146 w 224"/>
                    <a:gd name="T19" fmla="*/ 13 h 230"/>
                    <a:gd name="T20" fmla="*/ 75 w 224"/>
                    <a:gd name="T21" fmla="*/ 84 h 230"/>
                    <a:gd name="T22" fmla="*/ 75 w 224"/>
                    <a:gd name="T23" fmla="*/ 188 h 230"/>
                    <a:gd name="T24" fmla="*/ 73 w 224"/>
                    <a:gd name="T25" fmla="*/ 202 h 230"/>
                    <a:gd name="T26" fmla="*/ 63 w 224"/>
                    <a:gd name="T27" fmla="*/ 218 h 230"/>
                    <a:gd name="T28" fmla="*/ 99 w 224"/>
                    <a:gd name="T29" fmla="*/ 182 h 230"/>
                    <a:gd name="T30" fmla="*/ 207 w 224"/>
                    <a:gd name="T31" fmla="*/ 74 h 230"/>
                    <a:gd name="T32" fmla="*/ 207 w 224"/>
                    <a:gd name="T33" fmla="*/ 13 h 230"/>
                    <a:gd name="T34" fmla="*/ 203 w 224"/>
                    <a:gd name="T35" fmla="*/ 9 h 230"/>
                    <a:gd name="T36" fmla="*/ 176 w 224"/>
                    <a:gd name="T37"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4" h="230">
                      <a:moveTo>
                        <a:pt x="0" y="218"/>
                      </a:moveTo>
                      <a:cubicBezTo>
                        <a:pt x="0" y="218"/>
                        <a:pt x="0" y="218"/>
                        <a:pt x="0" y="218"/>
                      </a:cubicBezTo>
                      <a:cubicBezTo>
                        <a:pt x="0" y="218"/>
                        <a:pt x="0" y="218"/>
                        <a:pt x="0" y="218"/>
                      </a:cubicBezTo>
                      <a:cubicBezTo>
                        <a:pt x="1" y="219"/>
                        <a:pt x="1" y="219"/>
                        <a:pt x="1" y="219"/>
                      </a:cubicBezTo>
                      <a:cubicBezTo>
                        <a:pt x="6" y="224"/>
                        <a:pt x="13" y="228"/>
                        <a:pt x="20" y="230"/>
                      </a:cubicBezTo>
                      <a:cubicBezTo>
                        <a:pt x="13" y="228"/>
                        <a:pt x="6" y="224"/>
                        <a:pt x="1" y="219"/>
                      </a:cubicBezTo>
                      <a:cubicBezTo>
                        <a:pt x="0" y="218"/>
                        <a:pt x="0" y="218"/>
                        <a:pt x="0" y="218"/>
                      </a:cubicBezTo>
                      <a:moveTo>
                        <a:pt x="176" y="0"/>
                      </a:moveTo>
                      <a:cubicBezTo>
                        <a:pt x="165" y="0"/>
                        <a:pt x="154" y="4"/>
                        <a:pt x="146" y="13"/>
                      </a:cubicBezTo>
                      <a:cubicBezTo>
                        <a:pt x="146" y="13"/>
                        <a:pt x="146" y="13"/>
                        <a:pt x="146" y="13"/>
                      </a:cubicBezTo>
                      <a:cubicBezTo>
                        <a:pt x="75" y="84"/>
                        <a:pt x="75" y="84"/>
                        <a:pt x="75" y="84"/>
                      </a:cubicBezTo>
                      <a:cubicBezTo>
                        <a:pt x="75" y="188"/>
                        <a:pt x="75" y="188"/>
                        <a:pt x="75" y="188"/>
                      </a:cubicBezTo>
                      <a:cubicBezTo>
                        <a:pt x="75" y="193"/>
                        <a:pt x="74" y="198"/>
                        <a:pt x="73" y="202"/>
                      </a:cubicBezTo>
                      <a:cubicBezTo>
                        <a:pt x="71" y="208"/>
                        <a:pt x="68" y="213"/>
                        <a:pt x="63" y="218"/>
                      </a:cubicBezTo>
                      <a:cubicBezTo>
                        <a:pt x="99" y="182"/>
                        <a:pt x="99" y="182"/>
                        <a:pt x="99" y="182"/>
                      </a:cubicBezTo>
                      <a:cubicBezTo>
                        <a:pt x="207" y="74"/>
                        <a:pt x="207" y="74"/>
                        <a:pt x="207" y="74"/>
                      </a:cubicBezTo>
                      <a:cubicBezTo>
                        <a:pt x="224" y="57"/>
                        <a:pt x="224" y="30"/>
                        <a:pt x="207" y="13"/>
                      </a:cubicBezTo>
                      <a:cubicBezTo>
                        <a:pt x="206" y="12"/>
                        <a:pt x="204" y="10"/>
                        <a:pt x="203" y="9"/>
                      </a:cubicBezTo>
                      <a:cubicBezTo>
                        <a:pt x="195" y="3"/>
                        <a:pt x="186" y="0"/>
                        <a:pt x="176" y="0"/>
                      </a:cubicBezTo>
                    </a:path>
                  </a:pathLst>
                </a:custGeom>
                <a:grp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29" name="Freeform 85">
                  <a:extLst>
                    <a:ext uri="{FF2B5EF4-FFF2-40B4-BE49-F238E27FC236}">
                      <a16:creationId xmlns:a16="http://schemas.microsoft.com/office/drawing/2014/main" id="{8B94F443-6F01-4560-97DB-8F16D842F5C7}"/>
                    </a:ext>
                  </a:extLst>
                </p:cNvPr>
                <p:cNvSpPr>
                  <a:spLocks/>
                </p:cNvSpPr>
                <p:nvPr/>
              </p:nvSpPr>
              <p:spPr bwMode="auto">
                <a:xfrm>
                  <a:off x="-729113" y="-6644"/>
                  <a:ext cx="49946" cy="128301"/>
                </a:xfrm>
                <a:custGeom>
                  <a:avLst/>
                  <a:gdLst>
                    <a:gd name="T0" fmla="*/ 44 w 46"/>
                    <a:gd name="T1" fmla="*/ 0 h 118"/>
                    <a:gd name="T2" fmla="*/ 0 w 46"/>
                    <a:gd name="T3" fmla="*/ 43 h 118"/>
                    <a:gd name="T4" fmla="*/ 31 w 46"/>
                    <a:gd name="T5" fmla="*/ 74 h 118"/>
                    <a:gd name="T6" fmla="*/ 42 w 46"/>
                    <a:gd name="T7" fmla="*/ 118 h 118"/>
                    <a:gd name="T8" fmla="*/ 44 w 46"/>
                    <a:gd name="T9" fmla="*/ 104 h 118"/>
                    <a:gd name="T10" fmla="*/ 44 w 46"/>
                    <a:gd name="T11" fmla="*/ 0 h 118"/>
                  </a:gdLst>
                  <a:ahLst/>
                  <a:cxnLst>
                    <a:cxn ang="0">
                      <a:pos x="T0" y="T1"/>
                    </a:cxn>
                    <a:cxn ang="0">
                      <a:pos x="T2" y="T3"/>
                    </a:cxn>
                    <a:cxn ang="0">
                      <a:pos x="T4" y="T5"/>
                    </a:cxn>
                    <a:cxn ang="0">
                      <a:pos x="T6" y="T7"/>
                    </a:cxn>
                    <a:cxn ang="0">
                      <a:pos x="T8" y="T9"/>
                    </a:cxn>
                    <a:cxn ang="0">
                      <a:pos x="T10" y="T11"/>
                    </a:cxn>
                  </a:cxnLst>
                  <a:rect l="0" t="0" r="r" b="b"/>
                  <a:pathLst>
                    <a:path w="46" h="118">
                      <a:moveTo>
                        <a:pt x="44" y="0"/>
                      </a:moveTo>
                      <a:cubicBezTo>
                        <a:pt x="0" y="43"/>
                        <a:pt x="0" y="43"/>
                        <a:pt x="0" y="43"/>
                      </a:cubicBezTo>
                      <a:cubicBezTo>
                        <a:pt x="31" y="74"/>
                        <a:pt x="31" y="74"/>
                        <a:pt x="31" y="74"/>
                      </a:cubicBezTo>
                      <a:cubicBezTo>
                        <a:pt x="43" y="86"/>
                        <a:pt x="46" y="103"/>
                        <a:pt x="42" y="118"/>
                      </a:cubicBezTo>
                      <a:cubicBezTo>
                        <a:pt x="43" y="114"/>
                        <a:pt x="44" y="109"/>
                        <a:pt x="44" y="104"/>
                      </a:cubicBezTo>
                      <a:cubicBezTo>
                        <a:pt x="44" y="0"/>
                        <a:pt x="44" y="0"/>
                        <a:pt x="44" y="0"/>
                      </a:cubicBezTo>
                    </a:path>
                  </a:pathLst>
                </a:custGeom>
                <a:grp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130" name="Freeform 86">
                  <a:extLst>
                    <a:ext uri="{FF2B5EF4-FFF2-40B4-BE49-F238E27FC236}">
                      <a16:creationId xmlns:a16="http://schemas.microsoft.com/office/drawing/2014/main" id="{1E31B738-B86F-41A9-9E50-F15B88E5339E}"/>
                    </a:ext>
                  </a:extLst>
                </p:cNvPr>
                <p:cNvSpPr>
                  <a:spLocks noEditPoints="1"/>
                </p:cNvSpPr>
                <p:nvPr/>
              </p:nvSpPr>
              <p:spPr bwMode="auto">
                <a:xfrm>
                  <a:off x="-741485" y="150066"/>
                  <a:ext cx="31617" cy="4124"/>
                </a:xfrm>
                <a:custGeom>
                  <a:avLst/>
                  <a:gdLst>
                    <a:gd name="T0" fmla="*/ 0 w 29"/>
                    <a:gd name="T1" fmla="*/ 2 h 4"/>
                    <a:gd name="T2" fmla="*/ 11 w 29"/>
                    <a:gd name="T3" fmla="*/ 4 h 4"/>
                    <a:gd name="T4" fmla="*/ 12 w 29"/>
                    <a:gd name="T5" fmla="*/ 4 h 4"/>
                    <a:gd name="T6" fmla="*/ 12 w 29"/>
                    <a:gd name="T7" fmla="*/ 4 h 4"/>
                    <a:gd name="T8" fmla="*/ 4 w 29"/>
                    <a:gd name="T9" fmla="*/ 3 h 4"/>
                    <a:gd name="T10" fmla="*/ 0 w 29"/>
                    <a:gd name="T11" fmla="*/ 2 h 4"/>
                    <a:gd name="T12" fmla="*/ 29 w 29"/>
                    <a:gd name="T13" fmla="*/ 0 h 4"/>
                    <a:gd name="T14" fmla="*/ 25 w 29"/>
                    <a:gd name="T15" fmla="*/ 2 h 4"/>
                    <a:gd name="T16" fmla="*/ 19 w 29"/>
                    <a:gd name="T17" fmla="*/ 3 h 4"/>
                    <a:gd name="T18" fmla="*/ 29 w 29"/>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4">
                      <a:moveTo>
                        <a:pt x="0" y="2"/>
                      </a:moveTo>
                      <a:cubicBezTo>
                        <a:pt x="4" y="3"/>
                        <a:pt x="8" y="4"/>
                        <a:pt x="11" y="4"/>
                      </a:cubicBezTo>
                      <a:cubicBezTo>
                        <a:pt x="12" y="4"/>
                        <a:pt x="12" y="4"/>
                        <a:pt x="12" y="4"/>
                      </a:cubicBezTo>
                      <a:cubicBezTo>
                        <a:pt x="12" y="4"/>
                        <a:pt x="12" y="4"/>
                        <a:pt x="12" y="4"/>
                      </a:cubicBezTo>
                      <a:cubicBezTo>
                        <a:pt x="9" y="4"/>
                        <a:pt x="7" y="3"/>
                        <a:pt x="4" y="3"/>
                      </a:cubicBezTo>
                      <a:cubicBezTo>
                        <a:pt x="3" y="3"/>
                        <a:pt x="2" y="2"/>
                        <a:pt x="0" y="2"/>
                      </a:cubicBezTo>
                      <a:moveTo>
                        <a:pt x="29" y="0"/>
                      </a:moveTo>
                      <a:cubicBezTo>
                        <a:pt x="28" y="0"/>
                        <a:pt x="26" y="1"/>
                        <a:pt x="25" y="2"/>
                      </a:cubicBezTo>
                      <a:cubicBezTo>
                        <a:pt x="23" y="2"/>
                        <a:pt x="21" y="2"/>
                        <a:pt x="19" y="3"/>
                      </a:cubicBezTo>
                      <a:cubicBezTo>
                        <a:pt x="23" y="2"/>
                        <a:pt x="26" y="1"/>
                        <a:pt x="29"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31" name="Freeform 87">
                  <a:extLst>
                    <a:ext uri="{FF2B5EF4-FFF2-40B4-BE49-F238E27FC236}">
                      <a16:creationId xmlns:a16="http://schemas.microsoft.com/office/drawing/2014/main" id="{16EE7A3A-82D9-46FE-BDE5-9EDBBE198E1C}"/>
                    </a:ext>
                  </a:extLst>
                </p:cNvPr>
                <p:cNvSpPr>
                  <a:spLocks noEditPoints="1"/>
                </p:cNvSpPr>
                <p:nvPr/>
              </p:nvSpPr>
              <p:spPr bwMode="auto">
                <a:xfrm>
                  <a:off x="-776310" y="106536"/>
                  <a:ext cx="92560" cy="46738"/>
                </a:xfrm>
                <a:custGeom>
                  <a:avLst/>
                  <a:gdLst>
                    <a:gd name="T0" fmla="*/ 85 w 85"/>
                    <a:gd name="T1" fmla="*/ 14 h 43"/>
                    <a:gd name="T2" fmla="*/ 57 w 85"/>
                    <a:gd name="T3" fmla="*/ 42 h 43"/>
                    <a:gd name="T4" fmla="*/ 61 w 85"/>
                    <a:gd name="T5" fmla="*/ 40 h 43"/>
                    <a:gd name="T6" fmla="*/ 74 w 85"/>
                    <a:gd name="T7" fmla="*/ 31 h 43"/>
                    <a:gd name="T8" fmla="*/ 75 w 85"/>
                    <a:gd name="T9" fmla="*/ 30 h 43"/>
                    <a:gd name="T10" fmla="*/ 85 w 85"/>
                    <a:gd name="T11" fmla="*/ 14 h 43"/>
                    <a:gd name="T12" fmla="*/ 0 w 85"/>
                    <a:gd name="T13" fmla="*/ 0 h 43"/>
                    <a:gd name="T14" fmla="*/ 12 w 85"/>
                    <a:gd name="T15" fmla="*/ 30 h 43"/>
                    <a:gd name="T16" fmla="*/ 13 w 85"/>
                    <a:gd name="T17" fmla="*/ 31 h 43"/>
                    <a:gd name="T18" fmla="*/ 32 w 85"/>
                    <a:gd name="T19" fmla="*/ 42 h 43"/>
                    <a:gd name="T20" fmla="*/ 36 w 85"/>
                    <a:gd name="T21" fmla="*/ 43 h 43"/>
                    <a:gd name="T22" fmla="*/ 0 w 85"/>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43">
                      <a:moveTo>
                        <a:pt x="85" y="14"/>
                      </a:moveTo>
                      <a:cubicBezTo>
                        <a:pt x="80" y="27"/>
                        <a:pt x="70" y="37"/>
                        <a:pt x="57" y="42"/>
                      </a:cubicBezTo>
                      <a:cubicBezTo>
                        <a:pt x="58" y="41"/>
                        <a:pt x="60" y="40"/>
                        <a:pt x="61" y="40"/>
                      </a:cubicBezTo>
                      <a:cubicBezTo>
                        <a:pt x="66" y="38"/>
                        <a:pt x="70" y="35"/>
                        <a:pt x="74" y="31"/>
                      </a:cubicBezTo>
                      <a:cubicBezTo>
                        <a:pt x="75" y="30"/>
                        <a:pt x="75" y="30"/>
                        <a:pt x="75" y="30"/>
                      </a:cubicBezTo>
                      <a:cubicBezTo>
                        <a:pt x="80" y="25"/>
                        <a:pt x="83" y="20"/>
                        <a:pt x="85" y="14"/>
                      </a:cubicBezTo>
                      <a:moveTo>
                        <a:pt x="0" y="0"/>
                      </a:moveTo>
                      <a:cubicBezTo>
                        <a:pt x="0" y="11"/>
                        <a:pt x="4" y="21"/>
                        <a:pt x="12" y="30"/>
                      </a:cubicBezTo>
                      <a:cubicBezTo>
                        <a:pt x="13" y="31"/>
                        <a:pt x="13" y="31"/>
                        <a:pt x="13" y="31"/>
                      </a:cubicBezTo>
                      <a:cubicBezTo>
                        <a:pt x="18" y="36"/>
                        <a:pt x="25" y="40"/>
                        <a:pt x="32" y="42"/>
                      </a:cubicBezTo>
                      <a:cubicBezTo>
                        <a:pt x="34" y="42"/>
                        <a:pt x="35" y="43"/>
                        <a:pt x="36" y="43"/>
                      </a:cubicBezTo>
                      <a:cubicBezTo>
                        <a:pt x="16" y="40"/>
                        <a:pt x="0" y="22"/>
                        <a:pt x="0"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32" name="Freeform 88">
                  <a:extLst>
                    <a:ext uri="{FF2B5EF4-FFF2-40B4-BE49-F238E27FC236}">
                      <a16:creationId xmlns:a16="http://schemas.microsoft.com/office/drawing/2014/main" id="{44DDE099-C49D-485A-B030-56D5572CAAB5}"/>
                    </a:ext>
                  </a:extLst>
                </p:cNvPr>
                <p:cNvSpPr>
                  <a:spLocks/>
                </p:cNvSpPr>
                <p:nvPr/>
              </p:nvSpPr>
              <p:spPr bwMode="auto">
                <a:xfrm>
                  <a:off x="-736903" y="151899"/>
                  <a:ext cx="22911" cy="2291"/>
                </a:xfrm>
                <a:custGeom>
                  <a:avLst/>
                  <a:gdLst>
                    <a:gd name="T0" fmla="*/ 21 w 21"/>
                    <a:gd name="T1" fmla="*/ 0 h 2"/>
                    <a:gd name="T2" fmla="*/ 17 w 21"/>
                    <a:gd name="T3" fmla="*/ 1 h 2"/>
                    <a:gd name="T4" fmla="*/ 16 w 21"/>
                    <a:gd name="T5" fmla="*/ 1 h 2"/>
                    <a:gd name="T6" fmla="*/ 13 w 21"/>
                    <a:gd name="T7" fmla="*/ 1 h 2"/>
                    <a:gd name="T8" fmla="*/ 12 w 21"/>
                    <a:gd name="T9" fmla="*/ 1 h 2"/>
                    <a:gd name="T10" fmla="*/ 7 w 21"/>
                    <a:gd name="T11" fmla="*/ 2 h 2"/>
                    <a:gd name="T12" fmla="*/ 3 w 21"/>
                    <a:gd name="T13" fmla="*/ 1 h 2"/>
                    <a:gd name="T14" fmla="*/ 3 w 21"/>
                    <a:gd name="T15" fmla="*/ 1 h 2"/>
                    <a:gd name="T16" fmla="*/ 0 w 21"/>
                    <a:gd name="T17" fmla="*/ 1 h 2"/>
                    <a:gd name="T18" fmla="*/ 8 w 21"/>
                    <a:gd name="T19" fmla="*/ 2 h 2"/>
                    <a:gd name="T20" fmla="*/ 8 w 21"/>
                    <a:gd name="T21" fmla="*/ 2 h 2"/>
                    <a:gd name="T22" fmla="*/ 15 w 21"/>
                    <a:gd name="T23" fmla="*/ 1 h 2"/>
                    <a:gd name="T24" fmla="*/ 21 w 21"/>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
                      <a:moveTo>
                        <a:pt x="21" y="0"/>
                      </a:moveTo>
                      <a:cubicBezTo>
                        <a:pt x="19" y="0"/>
                        <a:pt x="18" y="0"/>
                        <a:pt x="17" y="1"/>
                      </a:cubicBezTo>
                      <a:cubicBezTo>
                        <a:pt x="16" y="1"/>
                        <a:pt x="16" y="1"/>
                        <a:pt x="16" y="1"/>
                      </a:cubicBezTo>
                      <a:cubicBezTo>
                        <a:pt x="15" y="1"/>
                        <a:pt x="14" y="1"/>
                        <a:pt x="13" y="1"/>
                      </a:cubicBezTo>
                      <a:cubicBezTo>
                        <a:pt x="12" y="1"/>
                        <a:pt x="12" y="1"/>
                        <a:pt x="12" y="1"/>
                      </a:cubicBezTo>
                      <a:cubicBezTo>
                        <a:pt x="10" y="1"/>
                        <a:pt x="9" y="2"/>
                        <a:pt x="7" y="2"/>
                      </a:cubicBezTo>
                      <a:cubicBezTo>
                        <a:pt x="6" y="2"/>
                        <a:pt x="5" y="1"/>
                        <a:pt x="3" y="1"/>
                      </a:cubicBezTo>
                      <a:cubicBezTo>
                        <a:pt x="3" y="1"/>
                        <a:pt x="3" y="1"/>
                        <a:pt x="3" y="1"/>
                      </a:cubicBezTo>
                      <a:cubicBezTo>
                        <a:pt x="2" y="1"/>
                        <a:pt x="1" y="1"/>
                        <a:pt x="0" y="1"/>
                      </a:cubicBezTo>
                      <a:cubicBezTo>
                        <a:pt x="3" y="1"/>
                        <a:pt x="5" y="2"/>
                        <a:pt x="8" y="2"/>
                      </a:cubicBezTo>
                      <a:cubicBezTo>
                        <a:pt x="8" y="2"/>
                        <a:pt x="8" y="2"/>
                        <a:pt x="8" y="2"/>
                      </a:cubicBezTo>
                      <a:cubicBezTo>
                        <a:pt x="10" y="2"/>
                        <a:pt x="13" y="1"/>
                        <a:pt x="15" y="1"/>
                      </a:cubicBezTo>
                      <a:cubicBezTo>
                        <a:pt x="17" y="0"/>
                        <a:pt x="19" y="0"/>
                        <a:pt x="21" y="0"/>
                      </a:cubicBezTo>
                    </a:path>
                  </a:pathLst>
                </a:custGeom>
                <a:grpFill/>
                <a:ln>
                  <a:solidFill>
                    <a:schemeClr val="accent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133" name="Freeform 89">
                  <a:extLst>
                    <a:ext uri="{FF2B5EF4-FFF2-40B4-BE49-F238E27FC236}">
                      <a16:creationId xmlns:a16="http://schemas.microsoft.com/office/drawing/2014/main" id="{712B3BCB-ACF1-451F-9E9F-3D417967EA8E}"/>
                    </a:ext>
                  </a:extLst>
                </p:cNvPr>
                <p:cNvSpPr>
                  <a:spLocks/>
                </p:cNvSpPr>
                <p:nvPr/>
              </p:nvSpPr>
              <p:spPr bwMode="auto">
                <a:xfrm>
                  <a:off x="-776310" y="40094"/>
                  <a:ext cx="97142" cy="114096"/>
                </a:xfrm>
                <a:custGeom>
                  <a:avLst/>
                  <a:gdLst>
                    <a:gd name="T0" fmla="*/ 43 w 89"/>
                    <a:gd name="T1" fmla="*/ 0 h 105"/>
                    <a:gd name="T2" fmla="*/ 13 w 89"/>
                    <a:gd name="T3" fmla="*/ 31 h 105"/>
                    <a:gd name="T4" fmla="*/ 0 w 89"/>
                    <a:gd name="T5" fmla="*/ 61 h 105"/>
                    <a:gd name="T6" fmla="*/ 36 w 89"/>
                    <a:gd name="T7" fmla="*/ 104 h 105"/>
                    <a:gd name="T8" fmla="*/ 39 w 89"/>
                    <a:gd name="T9" fmla="*/ 104 h 105"/>
                    <a:gd name="T10" fmla="*/ 39 w 89"/>
                    <a:gd name="T11" fmla="*/ 104 h 105"/>
                    <a:gd name="T12" fmla="*/ 43 w 89"/>
                    <a:gd name="T13" fmla="*/ 105 h 105"/>
                    <a:gd name="T14" fmla="*/ 48 w 89"/>
                    <a:gd name="T15" fmla="*/ 104 h 105"/>
                    <a:gd name="T16" fmla="*/ 49 w 89"/>
                    <a:gd name="T17" fmla="*/ 104 h 105"/>
                    <a:gd name="T18" fmla="*/ 52 w 89"/>
                    <a:gd name="T19" fmla="*/ 104 h 105"/>
                    <a:gd name="T20" fmla="*/ 53 w 89"/>
                    <a:gd name="T21" fmla="*/ 104 h 105"/>
                    <a:gd name="T22" fmla="*/ 57 w 89"/>
                    <a:gd name="T23" fmla="*/ 103 h 105"/>
                    <a:gd name="T24" fmla="*/ 85 w 89"/>
                    <a:gd name="T25" fmla="*/ 75 h 105"/>
                    <a:gd name="T26" fmla="*/ 74 w 89"/>
                    <a:gd name="T27" fmla="*/ 31 h 105"/>
                    <a:gd name="T28" fmla="*/ 43 w 89"/>
                    <a:gd name="T2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105">
                      <a:moveTo>
                        <a:pt x="43" y="0"/>
                      </a:moveTo>
                      <a:cubicBezTo>
                        <a:pt x="13" y="31"/>
                        <a:pt x="13" y="31"/>
                        <a:pt x="13" y="31"/>
                      </a:cubicBezTo>
                      <a:cubicBezTo>
                        <a:pt x="4" y="39"/>
                        <a:pt x="0" y="50"/>
                        <a:pt x="0" y="61"/>
                      </a:cubicBezTo>
                      <a:cubicBezTo>
                        <a:pt x="0" y="83"/>
                        <a:pt x="16" y="101"/>
                        <a:pt x="36" y="104"/>
                      </a:cubicBezTo>
                      <a:cubicBezTo>
                        <a:pt x="37" y="104"/>
                        <a:pt x="38" y="104"/>
                        <a:pt x="39" y="104"/>
                      </a:cubicBezTo>
                      <a:cubicBezTo>
                        <a:pt x="39" y="104"/>
                        <a:pt x="39" y="104"/>
                        <a:pt x="39" y="104"/>
                      </a:cubicBezTo>
                      <a:cubicBezTo>
                        <a:pt x="41" y="104"/>
                        <a:pt x="42" y="105"/>
                        <a:pt x="43" y="105"/>
                      </a:cubicBezTo>
                      <a:cubicBezTo>
                        <a:pt x="45" y="105"/>
                        <a:pt x="46" y="104"/>
                        <a:pt x="48" y="104"/>
                      </a:cubicBezTo>
                      <a:cubicBezTo>
                        <a:pt x="49" y="104"/>
                        <a:pt x="49" y="104"/>
                        <a:pt x="49" y="104"/>
                      </a:cubicBezTo>
                      <a:cubicBezTo>
                        <a:pt x="50" y="104"/>
                        <a:pt x="51" y="104"/>
                        <a:pt x="52" y="104"/>
                      </a:cubicBezTo>
                      <a:cubicBezTo>
                        <a:pt x="53" y="104"/>
                        <a:pt x="53" y="104"/>
                        <a:pt x="53" y="104"/>
                      </a:cubicBezTo>
                      <a:cubicBezTo>
                        <a:pt x="54" y="103"/>
                        <a:pt x="55" y="103"/>
                        <a:pt x="57" y="103"/>
                      </a:cubicBezTo>
                      <a:cubicBezTo>
                        <a:pt x="70" y="98"/>
                        <a:pt x="80" y="88"/>
                        <a:pt x="85" y="75"/>
                      </a:cubicBezTo>
                      <a:cubicBezTo>
                        <a:pt x="89" y="60"/>
                        <a:pt x="86" y="43"/>
                        <a:pt x="74" y="31"/>
                      </a:cubicBezTo>
                      <a:cubicBezTo>
                        <a:pt x="43" y="0"/>
                        <a:pt x="43" y="0"/>
                        <a:pt x="43" y="0"/>
                      </a:cubicBezTo>
                    </a:path>
                  </a:pathLst>
                </a:custGeom>
                <a:grp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grpSp>
        </p:grpSp>
      </p:grpSp>
      <p:pic>
        <p:nvPicPr>
          <p:cNvPr id="176" name="Picture 175">
            <a:extLst>
              <a:ext uri="{FF2B5EF4-FFF2-40B4-BE49-F238E27FC236}">
                <a16:creationId xmlns:a16="http://schemas.microsoft.com/office/drawing/2014/main" id="{245FF522-DF90-458A-8FB6-6D85EB5237BE}"/>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6572176" y="5710987"/>
            <a:ext cx="584136" cy="584136"/>
          </a:xfrm>
          <a:prstGeom prst="rect">
            <a:avLst/>
          </a:prstGeom>
        </p:spPr>
      </p:pic>
      <p:cxnSp>
        <p:nvCxnSpPr>
          <p:cNvPr id="11" name="Straight Connector 10">
            <a:extLst>
              <a:ext uri="{FF2B5EF4-FFF2-40B4-BE49-F238E27FC236}">
                <a16:creationId xmlns:a16="http://schemas.microsoft.com/office/drawing/2014/main" id="{7121A7D3-036D-458A-AEE8-227A19DC7BE8}"/>
              </a:ext>
            </a:extLst>
          </p:cNvPr>
          <p:cNvCxnSpPr/>
          <p:nvPr/>
        </p:nvCxnSpPr>
        <p:spPr>
          <a:xfrm>
            <a:off x="219942" y="3290208"/>
            <a:ext cx="11694673" cy="0"/>
          </a:xfrm>
          <a:prstGeom prst="line">
            <a:avLst/>
          </a:prstGeom>
          <a:ln w="76200" cmpd="dbl">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05728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 name="Freeform: Shape 337">
            <a:extLst>
              <a:ext uri="{FF2B5EF4-FFF2-40B4-BE49-F238E27FC236}">
                <a16:creationId xmlns:a16="http://schemas.microsoft.com/office/drawing/2014/main" id="{4C5D086B-6BF9-40D1-8FAE-C584D2F7A3C1}"/>
              </a:ext>
            </a:extLst>
          </p:cNvPr>
          <p:cNvSpPr/>
          <p:nvPr/>
        </p:nvSpPr>
        <p:spPr>
          <a:xfrm>
            <a:off x="167454" y="1316408"/>
            <a:ext cx="11825121" cy="1864979"/>
          </a:xfrm>
          <a:custGeom>
            <a:avLst/>
            <a:gdLst>
              <a:gd name="connsiteX0" fmla="*/ 297123 w 355679"/>
              <a:gd name="connsiteY0" fmla="*/ 74259 h 179359"/>
              <a:gd name="connsiteX1" fmla="*/ 297123 w 355679"/>
              <a:gd name="connsiteY1" fmla="*/ 74259 h 179359"/>
              <a:gd name="connsiteX2" fmla="*/ 356098 w 355679"/>
              <a:gd name="connsiteY2" fmla="*/ 133235 h 179359"/>
              <a:gd name="connsiteX3" fmla="*/ 297123 w 355679"/>
              <a:gd name="connsiteY3" fmla="*/ 177464 h 179359"/>
              <a:gd name="connsiteX4" fmla="*/ 61246 w 355679"/>
              <a:gd name="connsiteY4" fmla="*/ 177464 h 179359"/>
              <a:gd name="connsiteX5" fmla="*/ 2280 w 355679"/>
              <a:gd name="connsiteY5" fmla="*/ 118479 h 179359"/>
              <a:gd name="connsiteX6" fmla="*/ 61265 w 355679"/>
              <a:gd name="connsiteY6" fmla="*/ 59512 h 179359"/>
              <a:gd name="connsiteX7" fmla="*/ 77325 w 355679"/>
              <a:gd name="connsiteY7" fmla="*/ 61744 h 179359"/>
              <a:gd name="connsiteX8" fmla="*/ 297123 w 355679"/>
              <a:gd name="connsiteY8" fmla="*/ 74259 h 179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679" h="179359">
                <a:moveTo>
                  <a:pt x="297123" y="74259"/>
                </a:moveTo>
                <a:lnTo>
                  <a:pt x="297123" y="74259"/>
                </a:lnTo>
                <a:cubicBezTo>
                  <a:pt x="329694" y="74259"/>
                  <a:pt x="356098" y="100664"/>
                  <a:pt x="356098" y="133235"/>
                </a:cubicBezTo>
                <a:cubicBezTo>
                  <a:pt x="356098" y="165806"/>
                  <a:pt x="329696" y="177464"/>
                  <a:pt x="297123" y="177464"/>
                </a:cubicBezTo>
                <a:lnTo>
                  <a:pt x="61246" y="177464"/>
                </a:lnTo>
                <a:cubicBezTo>
                  <a:pt x="28675" y="177459"/>
                  <a:pt x="2275" y="151050"/>
                  <a:pt x="2280" y="118479"/>
                </a:cubicBezTo>
                <a:cubicBezTo>
                  <a:pt x="2285" y="85907"/>
                  <a:pt x="28694" y="59507"/>
                  <a:pt x="61265" y="59512"/>
                </a:cubicBezTo>
                <a:cubicBezTo>
                  <a:pt x="66696" y="59513"/>
                  <a:pt x="72100" y="60264"/>
                  <a:pt x="77325" y="61744"/>
                </a:cubicBezTo>
                <a:cubicBezTo>
                  <a:pt x="82903" y="-14001"/>
                  <a:pt x="290501" y="-25252"/>
                  <a:pt x="297123" y="74259"/>
                </a:cubicBezTo>
                <a:close/>
              </a:path>
            </a:pathLst>
          </a:custGeom>
          <a:solidFill>
            <a:schemeClr val="bg2">
              <a:lumMod val="95000"/>
            </a:schemeClr>
          </a:solidFill>
          <a:ln w="9525" cap="flat">
            <a:solidFill>
              <a:schemeClr val="bg2">
                <a:lumMod val="85000"/>
              </a:schemeClr>
            </a:solidFill>
            <a:prstDash val="solid"/>
            <a:miter/>
          </a:ln>
        </p:spPr>
        <p:txBody>
          <a:bodyPr rtlCol="0" anchor="ct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330" name="Arc 128">
            <a:extLst>
              <a:ext uri="{FF2B5EF4-FFF2-40B4-BE49-F238E27FC236}">
                <a16:creationId xmlns:a16="http://schemas.microsoft.com/office/drawing/2014/main" id="{EA3299E9-BD82-C64D-A1E4-E0F98C115A6B}"/>
              </a:ext>
            </a:extLst>
          </p:cNvPr>
          <p:cNvSpPr/>
          <p:nvPr/>
        </p:nvSpPr>
        <p:spPr>
          <a:xfrm rot="8070529">
            <a:off x="1787543" y="1670312"/>
            <a:ext cx="5451709" cy="4108875"/>
          </a:xfrm>
          <a:custGeom>
            <a:avLst/>
            <a:gdLst>
              <a:gd name="connsiteX0" fmla="*/ 379259 w 758519"/>
              <a:gd name="connsiteY0" fmla="*/ 0 h 758519"/>
              <a:gd name="connsiteX1" fmla="*/ 758519 w 758519"/>
              <a:gd name="connsiteY1" fmla="*/ 379260 h 758519"/>
              <a:gd name="connsiteX2" fmla="*/ 379260 w 758519"/>
              <a:gd name="connsiteY2" fmla="*/ 379260 h 758519"/>
              <a:gd name="connsiteX3" fmla="*/ 379259 w 758519"/>
              <a:gd name="connsiteY3" fmla="*/ 0 h 758519"/>
              <a:gd name="connsiteX0" fmla="*/ 379259 w 758519"/>
              <a:gd name="connsiteY0" fmla="*/ 0 h 758519"/>
              <a:gd name="connsiteX1" fmla="*/ 758519 w 758519"/>
              <a:gd name="connsiteY1" fmla="*/ 379260 h 758519"/>
              <a:gd name="connsiteX0" fmla="*/ 0 w 414781"/>
              <a:gd name="connsiteY0" fmla="*/ 0 h 379260"/>
              <a:gd name="connsiteX1" fmla="*/ 379260 w 414781"/>
              <a:gd name="connsiteY1" fmla="*/ 379260 h 379260"/>
              <a:gd name="connsiteX2" fmla="*/ 1 w 414781"/>
              <a:gd name="connsiteY2" fmla="*/ 379260 h 379260"/>
              <a:gd name="connsiteX3" fmla="*/ 0 w 414781"/>
              <a:gd name="connsiteY3" fmla="*/ 0 h 379260"/>
              <a:gd name="connsiteX0" fmla="*/ 0 w 414781"/>
              <a:gd name="connsiteY0" fmla="*/ 0 h 379260"/>
              <a:gd name="connsiteX1" fmla="*/ 414781 w 414781"/>
              <a:gd name="connsiteY1" fmla="*/ 322746 h 379260"/>
              <a:gd name="connsiteX0" fmla="*/ 0 w 414781"/>
              <a:gd name="connsiteY0" fmla="*/ 0 h 379260"/>
              <a:gd name="connsiteX1" fmla="*/ 379260 w 414781"/>
              <a:gd name="connsiteY1" fmla="*/ 379260 h 379260"/>
              <a:gd name="connsiteX2" fmla="*/ 1 w 414781"/>
              <a:gd name="connsiteY2" fmla="*/ 379260 h 379260"/>
              <a:gd name="connsiteX3" fmla="*/ 0 w 414781"/>
              <a:gd name="connsiteY3" fmla="*/ 0 h 379260"/>
              <a:gd name="connsiteX0" fmla="*/ 0 w 414781"/>
              <a:gd name="connsiteY0" fmla="*/ 0 h 379260"/>
              <a:gd name="connsiteX1" fmla="*/ 414781 w 414781"/>
              <a:gd name="connsiteY1" fmla="*/ 322746 h 379260"/>
              <a:gd name="connsiteX0" fmla="*/ 12472 w 427253"/>
              <a:gd name="connsiteY0" fmla="*/ 0 h 379260"/>
              <a:gd name="connsiteX1" fmla="*/ 391732 w 427253"/>
              <a:gd name="connsiteY1" fmla="*/ 379260 h 379260"/>
              <a:gd name="connsiteX2" fmla="*/ 12473 w 427253"/>
              <a:gd name="connsiteY2" fmla="*/ 379260 h 379260"/>
              <a:gd name="connsiteX3" fmla="*/ 12472 w 427253"/>
              <a:gd name="connsiteY3" fmla="*/ 0 h 379260"/>
              <a:gd name="connsiteX0" fmla="*/ 0 w 427253"/>
              <a:gd name="connsiteY0" fmla="*/ 6788 h 379260"/>
              <a:gd name="connsiteX1" fmla="*/ 427253 w 427253"/>
              <a:gd name="connsiteY1" fmla="*/ 322746 h 379260"/>
              <a:gd name="connsiteX0" fmla="*/ 12472 w 427253"/>
              <a:gd name="connsiteY0" fmla="*/ 0 h 379260"/>
              <a:gd name="connsiteX1" fmla="*/ 391732 w 427253"/>
              <a:gd name="connsiteY1" fmla="*/ 379260 h 379260"/>
              <a:gd name="connsiteX2" fmla="*/ 12473 w 427253"/>
              <a:gd name="connsiteY2" fmla="*/ 379260 h 379260"/>
              <a:gd name="connsiteX3" fmla="*/ 12472 w 427253"/>
              <a:gd name="connsiteY3" fmla="*/ 0 h 379260"/>
              <a:gd name="connsiteX0" fmla="*/ 0 w 427253"/>
              <a:gd name="connsiteY0" fmla="*/ 6788 h 379260"/>
              <a:gd name="connsiteX1" fmla="*/ 427253 w 427253"/>
              <a:gd name="connsiteY1" fmla="*/ 322746 h 379260"/>
            </a:gdLst>
            <a:ahLst/>
            <a:cxnLst>
              <a:cxn ang="0">
                <a:pos x="connsiteX0" y="connsiteY0"/>
              </a:cxn>
              <a:cxn ang="0">
                <a:pos x="connsiteX1" y="connsiteY1"/>
              </a:cxn>
            </a:cxnLst>
            <a:rect l="l" t="t" r="r" b="b"/>
            <a:pathLst>
              <a:path w="427253" h="379260" stroke="0" extrusionOk="0">
                <a:moveTo>
                  <a:pt x="12472" y="0"/>
                </a:moveTo>
                <a:cubicBezTo>
                  <a:pt x="221932" y="0"/>
                  <a:pt x="391732" y="169800"/>
                  <a:pt x="391732" y="379260"/>
                </a:cubicBezTo>
                <a:lnTo>
                  <a:pt x="12473" y="379260"/>
                </a:lnTo>
                <a:cubicBezTo>
                  <a:pt x="12473" y="252840"/>
                  <a:pt x="12472" y="126420"/>
                  <a:pt x="12472" y="0"/>
                </a:cubicBezTo>
                <a:close/>
              </a:path>
              <a:path w="427253" h="379260" fill="none">
                <a:moveTo>
                  <a:pt x="0" y="6788"/>
                </a:moveTo>
                <a:cubicBezTo>
                  <a:pt x="129896" y="20995"/>
                  <a:pt x="358662" y="150620"/>
                  <a:pt x="427253" y="322746"/>
                </a:cubicBezTo>
              </a:path>
            </a:pathLst>
          </a:custGeom>
          <a:ln w="15875">
            <a:solidFill>
              <a:schemeClr val="accent6">
                <a:alpha val="45000"/>
              </a:schemeClr>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609570" fontAlgn="base">
              <a:spcBef>
                <a:spcPct val="0"/>
              </a:spcBef>
              <a:spcAft>
                <a:spcPct val="0"/>
              </a:spcAft>
              <a:defRPr/>
            </a:pPr>
            <a:endParaRPr lang="en-US" sz="2400">
              <a:solidFill>
                <a:srgbClr val="282828"/>
              </a:solidFill>
              <a:latin typeface="CiscoSansTT ExtraLight"/>
              <a:sym typeface="Arial"/>
            </a:endParaRPr>
          </a:p>
        </p:txBody>
      </p:sp>
      <p:sp>
        <p:nvSpPr>
          <p:cNvPr id="4" name="Freeform 5">
            <a:extLst>
              <a:ext uri="{FF2B5EF4-FFF2-40B4-BE49-F238E27FC236}">
                <a16:creationId xmlns:a16="http://schemas.microsoft.com/office/drawing/2014/main" id="{A19C801C-AAD1-4721-A903-ACB2A63E452F}"/>
              </a:ext>
            </a:extLst>
          </p:cNvPr>
          <p:cNvSpPr>
            <a:spLocks noEditPoints="1"/>
          </p:cNvSpPr>
          <p:nvPr/>
        </p:nvSpPr>
        <p:spPr bwMode="auto">
          <a:xfrm flipH="1">
            <a:off x="3864" y="4877694"/>
            <a:ext cx="12184273" cy="1579601"/>
          </a:xfrm>
          <a:custGeom>
            <a:avLst/>
            <a:gdLst>
              <a:gd name="T0" fmla="*/ 2768 w 2986"/>
              <a:gd name="T1" fmla="*/ 303 h 386"/>
              <a:gd name="T2" fmla="*/ 2566 w 2986"/>
              <a:gd name="T3" fmla="*/ 131 h 386"/>
              <a:gd name="T4" fmla="*/ 2255 w 2986"/>
              <a:gd name="T5" fmla="*/ 142 h 386"/>
              <a:gd name="T6" fmla="*/ 2048 w 2986"/>
              <a:gd name="T7" fmla="*/ 36 h 386"/>
              <a:gd name="T8" fmla="*/ 1881 w 2986"/>
              <a:gd name="T9" fmla="*/ 131 h 386"/>
              <a:gd name="T10" fmla="*/ 1660 w 2986"/>
              <a:gd name="T11" fmla="*/ 82 h 386"/>
              <a:gd name="T12" fmla="*/ 1458 w 2986"/>
              <a:gd name="T13" fmla="*/ 303 h 386"/>
              <a:gd name="T14" fmla="*/ 1239 w 2986"/>
              <a:gd name="T15" fmla="*/ 283 h 386"/>
              <a:gd name="T16" fmla="*/ 1016 w 2986"/>
              <a:gd name="T17" fmla="*/ 167 h 386"/>
              <a:gd name="T18" fmla="*/ 804 w 2986"/>
              <a:gd name="T19" fmla="*/ 150 h 386"/>
              <a:gd name="T20" fmla="*/ 542 w 2986"/>
              <a:gd name="T21" fmla="*/ 47 h 386"/>
              <a:gd name="T22" fmla="*/ 308 w 2986"/>
              <a:gd name="T23" fmla="*/ 162 h 386"/>
              <a:gd name="T24" fmla="*/ 110 w 2986"/>
              <a:gd name="T25" fmla="*/ 193 h 386"/>
              <a:gd name="T26" fmla="*/ 0 w 2986"/>
              <a:gd name="T27" fmla="*/ 315 h 386"/>
              <a:gd name="T28" fmla="*/ 2932 w 2986"/>
              <a:gd name="T29" fmla="*/ 248 h 386"/>
              <a:gd name="T30" fmla="*/ 2872 w 2986"/>
              <a:gd name="T31" fmla="*/ 117 h 386"/>
              <a:gd name="T32" fmla="*/ 2743 w 2986"/>
              <a:gd name="T33" fmla="*/ 159 h 386"/>
              <a:gd name="T34" fmla="*/ 2597 w 2986"/>
              <a:gd name="T35" fmla="*/ 231 h 386"/>
              <a:gd name="T36" fmla="*/ 2516 w 2986"/>
              <a:gd name="T37" fmla="*/ 234 h 386"/>
              <a:gd name="T38" fmla="*/ 2492 w 2986"/>
              <a:gd name="T39" fmla="*/ 208 h 386"/>
              <a:gd name="T40" fmla="*/ 2461 w 2986"/>
              <a:gd name="T41" fmla="*/ 170 h 386"/>
              <a:gd name="T42" fmla="*/ 27 w 2986"/>
              <a:gd name="T43" fmla="*/ 300 h 386"/>
              <a:gd name="T44" fmla="*/ 81 w 2986"/>
              <a:gd name="T45" fmla="*/ 263 h 386"/>
              <a:gd name="T46" fmla="*/ 104 w 2986"/>
              <a:gd name="T47" fmla="*/ 281 h 386"/>
              <a:gd name="T48" fmla="*/ 118 w 2986"/>
              <a:gd name="T49" fmla="*/ 261 h 386"/>
              <a:gd name="T50" fmla="*/ 137 w 2986"/>
              <a:gd name="T51" fmla="*/ 212 h 386"/>
              <a:gd name="T52" fmla="*/ 149 w 2986"/>
              <a:gd name="T53" fmla="*/ 185 h 386"/>
              <a:gd name="T54" fmla="*/ 186 w 2986"/>
              <a:gd name="T55" fmla="*/ 271 h 386"/>
              <a:gd name="T56" fmla="*/ 204 w 2986"/>
              <a:gd name="T57" fmla="*/ 217 h 386"/>
              <a:gd name="T58" fmla="*/ 389 w 2986"/>
              <a:gd name="T59" fmla="*/ 117 h 386"/>
              <a:gd name="T60" fmla="*/ 441 w 2986"/>
              <a:gd name="T61" fmla="*/ 40 h 386"/>
              <a:gd name="T62" fmla="*/ 507 w 2986"/>
              <a:gd name="T63" fmla="*/ 111 h 386"/>
              <a:gd name="T64" fmla="*/ 492 w 2986"/>
              <a:gd name="T65" fmla="*/ 205 h 386"/>
              <a:gd name="T66" fmla="*/ 457 w 2986"/>
              <a:gd name="T67" fmla="*/ 194 h 386"/>
              <a:gd name="T68" fmla="*/ 517 w 2986"/>
              <a:gd name="T69" fmla="*/ 47 h 386"/>
              <a:gd name="T70" fmla="*/ 602 w 2986"/>
              <a:gd name="T71" fmla="*/ 263 h 386"/>
              <a:gd name="T72" fmla="*/ 699 w 2986"/>
              <a:gd name="T73" fmla="*/ 107 h 386"/>
              <a:gd name="T74" fmla="*/ 831 w 2986"/>
              <a:gd name="T75" fmla="*/ 146 h 386"/>
              <a:gd name="T76" fmla="*/ 956 w 2986"/>
              <a:gd name="T77" fmla="*/ 99 h 386"/>
              <a:gd name="T78" fmla="*/ 1068 w 2986"/>
              <a:gd name="T79" fmla="*/ 198 h 386"/>
              <a:gd name="T80" fmla="*/ 1215 w 2986"/>
              <a:gd name="T81" fmla="*/ 75 h 386"/>
              <a:gd name="T82" fmla="*/ 1215 w 2986"/>
              <a:gd name="T83" fmla="*/ 154 h 386"/>
              <a:gd name="T84" fmla="*/ 1144 w 2986"/>
              <a:gd name="T85" fmla="*/ 230 h 386"/>
              <a:gd name="T86" fmla="*/ 1181 w 2986"/>
              <a:gd name="T87" fmla="*/ 247 h 386"/>
              <a:gd name="T88" fmla="*/ 1262 w 2986"/>
              <a:gd name="T89" fmla="*/ 251 h 386"/>
              <a:gd name="T90" fmla="*/ 1303 w 2986"/>
              <a:gd name="T91" fmla="*/ 216 h 386"/>
              <a:gd name="T92" fmla="*/ 1326 w 2986"/>
              <a:gd name="T93" fmla="*/ 226 h 386"/>
              <a:gd name="T94" fmla="*/ 1346 w 2986"/>
              <a:gd name="T95" fmla="*/ 190 h 386"/>
              <a:gd name="T96" fmla="*/ 1365 w 2986"/>
              <a:gd name="T97" fmla="*/ 299 h 386"/>
              <a:gd name="T98" fmla="*/ 1384 w 2986"/>
              <a:gd name="T99" fmla="*/ 243 h 386"/>
              <a:gd name="T100" fmla="*/ 1408 w 2986"/>
              <a:gd name="T101" fmla="*/ 244 h 386"/>
              <a:gd name="T102" fmla="*/ 1489 w 2986"/>
              <a:gd name="T103" fmla="*/ 242 h 386"/>
              <a:gd name="T104" fmla="*/ 1615 w 2986"/>
              <a:gd name="T105" fmla="*/ 263 h 386"/>
              <a:gd name="T106" fmla="*/ 1781 w 2986"/>
              <a:gd name="T107" fmla="*/ 290 h 386"/>
              <a:gd name="T108" fmla="*/ 1836 w 2986"/>
              <a:gd name="T109" fmla="*/ 263 h 386"/>
              <a:gd name="T110" fmla="*/ 1929 w 2986"/>
              <a:gd name="T111" fmla="*/ 176 h 386"/>
              <a:gd name="T112" fmla="*/ 2065 w 2986"/>
              <a:gd name="T113" fmla="*/ 52 h 386"/>
              <a:gd name="T114" fmla="*/ 2160 w 2986"/>
              <a:gd name="T115" fmla="*/ 99 h 386"/>
              <a:gd name="T116" fmla="*/ 2304 w 2986"/>
              <a:gd name="T117" fmla="*/ 167 h 386"/>
              <a:gd name="T118" fmla="*/ 2364 w 2986"/>
              <a:gd name="T119" fmla="*/ 32 h 386"/>
              <a:gd name="T120" fmla="*/ 2437 w 2986"/>
              <a:gd name="T121" fmla="*/ 125 h 386"/>
              <a:gd name="T122" fmla="*/ 2345 w 2986"/>
              <a:gd name="T123" fmla="*/ 252 h 386"/>
              <a:gd name="T124" fmla="*/ 2391 w 2986"/>
              <a:gd name="T125" fmla="*/ 295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86" h="386">
                <a:moveTo>
                  <a:pt x="2986" y="386"/>
                </a:moveTo>
                <a:cubicBezTo>
                  <a:pt x="2986" y="10"/>
                  <a:pt x="2986" y="10"/>
                  <a:pt x="2986" y="10"/>
                </a:cubicBezTo>
                <a:cubicBezTo>
                  <a:pt x="2971" y="10"/>
                  <a:pt x="2971" y="10"/>
                  <a:pt x="2971" y="10"/>
                </a:cubicBezTo>
                <a:cubicBezTo>
                  <a:pt x="2971" y="236"/>
                  <a:pt x="2971" y="236"/>
                  <a:pt x="2971" y="236"/>
                </a:cubicBezTo>
                <a:cubicBezTo>
                  <a:pt x="2957" y="236"/>
                  <a:pt x="2957" y="236"/>
                  <a:pt x="2957" y="236"/>
                </a:cubicBezTo>
                <a:cubicBezTo>
                  <a:pt x="2957" y="44"/>
                  <a:pt x="2957" y="44"/>
                  <a:pt x="2957" y="44"/>
                </a:cubicBezTo>
                <a:cubicBezTo>
                  <a:pt x="2917" y="44"/>
                  <a:pt x="2917" y="44"/>
                  <a:pt x="2917" y="44"/>
                </a:cubicBezTo>
                <a:cubicBezTo>
                  <a:pt x="2917" y="105"/>
                  <a:pt x="2917" y="105"/>
                  <a:pt x="2917" y="105"/>
                </a:cubicBezTo>
                <a:cubicBezTo>
                  <a:pt x="2872" y="105"/>
                  <a:pt x="2872" y="105"/>
                  <a:pt x="2872" y="105"/>
                </a:cubicBezTo>
                <a:cubicBezTo>
                  <a:pt x="2872" y="47"/>
                  <a:pt x="2872" y="47"/>
                  <a:pt x="2872" y="47"/>
                </a:cubicBezTo>
                <a:cubicBezTo>
                  <a:pt x="2876" y="47"/>
                  <a:pt x="2876" y="47"/>
                  <a:pt x="2876" y="47"/>
                </a:cubicBezTo>
                <a:cubicBezTo>
                  <a:pt x="2879" y="47"/>
                  <a:pt x="2882" y="44"/>
                  <a:pt x="2882" y="39"/>
                </a:cubicBezTo>
                <a:cubicBezTo>
                  <a:pt x="2882" y="34"/>
                  <a:pt x="2882" y="34"/>
                  <a:pt x="2882" y="34"/>
                </a:cubicBezTo>
                <a:cubicBezTo>
                  <a:pt x="2882" y="29"/>
                  <a:pt x="2879" y="26"/>
                  <a:pt x="2876" y="26"/>
                </a:cubicBezTo>
                <a:cubicBezTo>
                  <a:pt x="2871" y="26"/>
                  <a:pt x="2871" y="26"/>
                  <a:pt x="2871" y="26"/>
                </a:cubicBezTo>
                <a:cubicBezTo>
                  <a:pt x="2871" y="17"/>
                  <a:pt x="2866" y="10"/>
                  <a:pt x="2859" y="10"/>
                </a:cubicBezTo>
                <a:cubicBezTo>
                  <a:pt x="2852" y="10"/>
                  <a:pt x="2847" y="17"/>
                  <a:pt x="2847" y="26"/>
                </a:cubicBezTo>
                <a:cubicBezTo>
                  <a:pt x="2843" y="26"/>
                  <a:pt x="2843" y="26"/>
                  <a:pt x="2843" y="26"/>
                </a:cubicBezTo>
                <a:cubicBezTo>
                  <a:pt x="2839" y="26"/>
                  <a:pt x="2836" y="29"/>
                  <a:pt x="2836" y="34"/>
                </a:cubicBezTo>
                <a:cubicBezTo>
                  <a:pt x="2836" y="39"/>
                  <a:pt x="2836" y="39"/>
                  <a:pt x="2836" y="39"/>
                </a:cubicBezTo>
                <a:cubicBezTo>
                  <a:pt x="2836" y="44"/>
                  <a:pt x="2839" y="47"/>
                  <a:pt x="2843" y="47"/>
                </a:cubicBezTo>
                <a:cubicBezTo>
                  <a:pt x="2847" y="47"/>
                  <a:pt x="2847" y="47"/>
                  <a:pt x="2847" y="47"/>
                </a:cubicBezTo>
                <a:cubicBezTo>
                  <a:pt x="2847" y="236"/>
                  <a:pt x="2847" y="236"/>
                  <a:pt x="2847" y="236"/>
                </a:cubicBezTo>
                <a:cubicBezTo>
                  <a:pt x="2810" y="236"/>
                  <a:pt x="2810" y="236"/>
                  <a:pt x="2810" y="236"/>
                </a:cubicBezTo>
                <a:cubicBezTo>
                  <a:pt x="2810" y="166"/>
                  <a:pt x="2810" y="166"/>
                  <a:pt x="2810" y="166"/>
                </a:cubicBezTo>
                <a:cubicBezTo>
                  <a:pt x="2787" y="166"/>
                  <a:pt x="2787" y="166"/>
                  <a:pt x="2787" y="166"/>
                </a:cubicBezTo>
                <a:cubicBezTo>
                  <a:pt x="2787" y="303"/>
                  <a:pt x="2787" y="303"/>
                  <a:pt x="2787" y="303"/>
                </a:cubicBezTo>
                <a:cubicBezTo>
                  <a:pt x="2768" y="303"/>
                  <a:pt x="2768" y="303"/>
                  <a:pt x="2768" y="303"/>
                </a:cubicBezTo>
                <a:cubicBezTo>
                  <a:pt x="2768" y="82"/>
                  <a:pt x="2768" y="82"/>
                  <a:pt x="2768" y="82"/>
                </a:cubicBezTo>
                <a:cubicBezTo>
                  <a:pt x="2701" y="82"/>
                  <a:pt x="2701" y="82"/>
                  <a:pt x="2701" y="82"/>
                </a:cubicBezTo>
                <a:cubicBezTo>
                  <a:pt x="2701" y="254"/>
                  <a:pt x="2701" y="254"/>
                  <a:pt x="2701" y="254"/>
                </a:cubicBezTo>
                <a:cubicBezTo>
                  <a:pt x="2690" y="254"/>
                  <a:pt x="2690" y="254"/>
                  <a:pt x="2690" y="254"/>
                </a:cubicBezTo>
                <a:cubicBezTo>
                  <a:pt x="2690" y="303"/>
                  <a:pt x="2690" y="303"/>
                  <a:pt x="2690" y="303"/>
                </a:cubicBezTo>
                <a:cubicBezTo>
                  <a:pt x="2675" y="303"/>
                  <a:pt x="2675" y="303"/>
                  <a:pt x="2675" y="303"/>
                </a:cubicBezTo>
                <a:cubicBezTo>
                  <a:pt x="2675" y="176"/>
                  <a:pt x="2675" y="176"/>
                  <a:pt x="2675" y="176"/>
                </a:cubicBezTo>
                <a:cubicBezTo>
                  <a:pt x="2683" y="176"/>
                  <a:pt x="2683" y="176"/>
                  <a:pt x="2683" y="176"/>
                </a:cubicBezTo>
                <a:cubicBezTo>
                  <a:pt x="2683" y="162"/>
                  <a:pt x="2683" y="162"/>
                  <a:pt x="2683" y="162"/>
                </a:cubicBezTo>
                <a:cubicBezTo>
                  <a:pt x="2675" y="162"/>
                  <a:pt x="2675" y="162"/>
                  <a:pt x="2675" y="162"/>
                </a:cubicBezTo>
                <a:cubicBezTo>
                  <a:pt x="2675" y="151"/>
                  <a:pt x="2675" y="151"/>
                  <a:pt x="2675" y="151"/>
                </a:cubicBezTo>
                <a:cubicBezTo>
                  <a:pt x="2668" y="151"/>
                  <a:pt x="2668" y="151"/>
                  <a:pt x="2668" y="151"/>
                </a:cubicBezTo>
                <a:cubicBezTo>
                  <a:pt x="2668" y="131"/>
                  <a:pt x="2668" y="131"/>
                  <a:pt x="2668" y="131"/>
                </a:cubicBezTo>
                <a:cubicBezTo>
                  <a:pt x="2645" y="131"/>
                  <a:pt x="2645" y="131"/>
                  <a:pt x="2645" y="131"/>
                </a:cubicBezTo>
                <a:cubicBezTo>
                  <a:pt x="2645" y="151"/>
                  <a:pt x="2645" y="151"/>
                  <a:pt x="2645" y="151"/>
                </a:cubicBezTo>
                <a:cubicBezTo>
                  <a:pt x="2638" y="151"/>
                  <a:pt x="2638" y="151"/>
                  <a:pt x="2638" y="151"/>
                </a:cubicBezTo>
                <a:cubicBezTo>
                  <a:pt x="2638" y="162"/>
                  <a:pt x="2638" y="162"/>
                  <a:pt x="2638" y="162"/>
                </a:cubicBezTo>
                <a:cubicBezTo>
                  <a:pt x="2630" y="162"/>
                  <a:pt x="2630" y="162"/>
                  <a:pt x="2630" y="162"/>
                </a:cubicBezTo>
                <a:cubicBezTo>
                  <a:pt x="2630" y="176"/>
                  <a:pt x="2630" y="176"/>
                  <a:pt x="2630" y="176"/>
                </a:cubicBezTo>
                <a:cubicBezTo>
                  <a:pt x="2638" y="176"/>
                  <a:pt x="2638" y="176"/>
                  <a:pt x="2638" y="176"/>
                </a:cubicBezTo>
                <a:cubicBezTo>
                  <a:pt x="2638" y="303"/>
                  <a:pt x="2638" y="303"/>
                  <a:pt x="2638" y="303"/>
                </a:cubicBezTo>
                <a:cubicBezTo>
                  <a:pt x="2617" y="303"/>
                  <a:pt x="2617" y="303"/>
                  <a:pt x="2617" y="303"/>
                </a:cubicBezTo>
                <a:cubicBezTo>
                  <a:pt x="2617" y="131"/>
                  <a:pt x="2617" y="131"/>
                  <a:pt x="2617" y="131"/>
                </a:cubicBezTo>
                <a:cubicBezTo>
                  <a:pt x="2608" y="131"/>
                  <a:pt x="2608" y="131"/>
                  <a:pt x="2608" y="131"/>
                </a:cubicBezTo>
                <a:cubicBezTo>
                  <a:pt x="2611" y="117"/>
                  <a:pt x="2611" y="117"/>
                  <a:pt x="2611" y="117"/>
                </a:cubicBezTo>
                <a:cubicBezTo>
                  <a:pt x="2572" y="117"/>
                  <a:pt x="2572" y="117"/>
                  <a:pt x="2572" y="117"/>
                </a:cubicBezTo>
                <a:cubicBezTo>
                  <a:pt x="2572" y="131"/>
                  <a:pt x="2572" y="131"/>
                  <a:pt x="2572" y="131"/>
                </a:cubicBezTo>
                <a:cubicBezTo>
                  <a:pt x="2566" y="131"/>
                  <a:pt x="2566" y="131"/>
                  <a:pt x="2566" y="131"/>
                </a:cubicBezTo>
                <a:cubicBezTo>
                  <a:pt x="2566" y="303"/>
                  <a:pt x="2566" y="303"/>
                  <a:pt x="2566" y="303"/>
                </a:cubicBezTo>
                <a:cubicBezTo>
                  <a:pt x="2562" y="303"/>
                  <a:pt x="2562" y="303"/>
                  <a:pt x="2562" y="303"/>
                </a:cubicBezTo>
                <a:cubicBezTo>
                  <a:pt x="2562" y="160"/>
                  <a:pt x="2562" y="160"/>
                  <a:pt x="2562" y="160"/>
                </a:cubicBezTo>
                <a:cubicBezTo>
                  <a:pt x="2549" y="160"/>
                  <a:pt x="2549" y="160"/>
                  <a:pt x="2549" y="160"/>
                </a:cubicBezTo>
                <a:cubicBezTo>
                  <a:pt x="2549" y="303"/>
                  <a:pt x="2549" y="303"/>
                  <a:pt x="2549" y="303"/>
                </a:cubicBezTo>
                <a:cubicBezTo>
                  <a:pt x="2538" y="303"/>
                  <a:pt x="2538" y="303"/>
                  <a:pt x="2538" y="303"/>
                </a:cubicBezTo>
                <a:cubicBezTo>
                  <a:pt x="2538" y="200"/>
                  <a:pt x="2538" y="200"/>
                  <a:pt x="2538" y="200"/>
                </a:cubicBezTo>
                <a:cubicBezTo>
                  <a:pt x="2513" y="200"/>
                  <a:pt x="2513" y="200"/>
                  <a:pt x="2513" y="200"/>
                </a:cubicBezTo>
                <a:cubicBezTo>
                  <a:pt x="2513" y="303"/>
                  <a:pt x="2513" y="303"/>
                  <a:pt x="2513" y="303"/>
                </a:cubicBezTo>
                <a:cubicBezTo>
                  <a:pt x="2503" y="303"/>
                  <a:pt x="2503" y="303"/>
                  <a:pt x="2503" y="303"/>
                </a:cubicBezTo>
                <a:cubicBezTo>
                  <a:pt x="2503" y="178"/>
                  <a:pt x="2503" y="178"/>
                  <a:pt x="2503" y="178"/>
                </a:cubicBezTo>
                <a:cubicBezTo>
                  <a:pt x="2486" y="178"/>
                  <a:pt x="2486" y="178"/>
                  <a:pt x="2486" y="178"/>
                </a:cubicBezTo>
                <a:cubicBezTo>
                  <a:pt x="2486" y="145"/>
                  <a:pt x="2486" y="145"/>
                  <a:pt x="2486" y="145"/>
                </a:cubicBezTo>
                <a:cubicBezTo>
                  <a:pt x="2444" y="145"/>
                  <a:pt x="2444" y="145"/>
                  <a:pt x="2444" y="145"/>
                </a:cubicBezTo>
                <a:cubicBezTo>
                  <a:pt x="2444" y="0"/>
                  <a:pt x="2444" y="0"/>
                  <a:pt x="2444" y="0"/>
                </a:cubicBezTo>
                <a:cubicBezTo>
                  <a:pt x="2358" y="13"/>
                  <a:pt x="2358" y="13"/>
                  <a:pt x="2358" y="13"/>
                </a:cubicBezTo>
                <a:cubicBezTo>
                  <a:pt x="2358" y="211"/>
                  <a:pt x="2358" y="211"/>
                  <a:pt x="2358" y="211"/>
                </a:cubicBezTo>
                <a:cubicBezTo>
                  <a:pt x="2356" y="211"/>
                  <a:pt x="2356" y="211"/>
                  <a:pt x="2356" y="211"/>
                </a:cubicBezTo>
                <a:cubicBezTo>
                  <a:pt x="2356" y="84"/>
                  <a:pt x="2356" y="84"/>
                  <a:pt x="2356" y="84"/>
                </a:cubicBezTo>
                <a:cubicBezTo>
                  <a:pt x="2333" y="84"/>
                  <a:pt x="2333" y="84"/>
                  <a:pt x="2333" y="84"/>
                </a:cubicBezTo>
                <a:cubicBezTo>
                  <a:pt x="2333" y="134"/>
                  <a:pt x="2333" y="134"/>
                  <a:pt x="2333" y="134"/>
                </a:cubicBezTo>
                <a:cubicBezTo>
                  <a:pt x="2293" y="134"/>
                  <a:pt x="2293" y="134"/>
                  <a:pt x="2293" y="134"/>
                </a:cubicBezTo>
                <a:cubicBezTo>
                  <a:pt x="2293" y="168"/>
                  <a:pt x="2293" y="168"/>
                  <a:pt x="2293" y="168"/>
                </a:cubicBezTo>
                <a:cubicBezTo>
                  <a:pt x="2279" y="168"/>
                  <a:pt x="2279" y="168"/>
                  <a:pt x="2279" y="168"/>
                </a:cubicBezTo>
                <a:cubicBezTo>
                  <a:pt x="2279" y="85"/>
                  <a:pt x="2279" y="85"/>
                  <a:pt x="2279" y="85"/>
                </a:cubicBezTo>
                <a:cubicBezTo>
                  <a:pt x="2266" y="85"/>
                  <a:pt x="2266" y="85"/>
                  <a:pt x="2266" y="85"/>
                </a:cubicBezTo>
                <a:cubicBezTo>
                  <a:pt x="2266" y="142"/>
                  <a:pt x="2266" y="142"/>
                  <a:pt x="2266" y="142"/>
                </a:cubicBezTo>
                <a:cubicBezTo>
                  <a:pt x="2255" y="142"/>
                  <a:pt x="2255" y="142"/>
                  <a:pt x="2255" y="142"/>
                </a:cubicBezTo>
                <a:cubicBezTo>
                  <a:pt x="2255" y="111"/>
                  <a:pt x="2255" y="111"/>
                  <a:pt x="2255" y="111"/>
                </a:cubicBezTo>
                <a:cubicBezTo>
                  <a:pt x="2236" y="111"/>
                  <a:pt x="2236" y="111"/>
                  <a:pt x="2236" y="111"/>
                </a:cubicBezTo>
                <a:cubicBezTo>
                  <a:pt x="2236" y="123"/>
                  <a:pt x="2236" y="123"/>
                  <a:pt x="2236" y="123"/>
                </a:cubicBezTo>
                <a:cubicBezTo>
                  <a:pt x="2238" y="123"/>
                  <a:pt x="2238" y="123"/>
                  <a:pt x="2238" y="123"/>
                </a:cubicBezTo>
                <a:cubicBezTo>
                  <a:pt x="2238" y="131"/>
                  <a:pt x="2238" y="131"/>
                  <a:pt x="2238" y="131"/>
                </a:cubicBezTo>
                <a:cubicBezTo>
                  <a:pt x="2236" y="131"/>
                  <a:pt x="2236" y="131"/>
                  <a:pt x="2236" y="131"/>
                </a:cubicBezTo>
                <a:cubicBezTo>
                  <a:pt x="2236" y="159"/>
                  <a:pt x="2236" y="159"/>
                  <a:pt x="2236" y="159"/>
                </a:cubicBezTo>
                <a:cubicBezTo>
                  <a:pt x="2238" y="159"/>
                  <a:pt x="2238" y="159"/>
                  <a:pt x="2238" y="159"/>
                </a:cubicBezTo>
                <a:cubicBezTo>
                  <a:pt x="2238" y="167"/>
                  <a:pt x="2238" y="167"/>
                  <a:pt x="2238" y="167"/>
                </a:cubicBezTo>
                <a:cubicBezTo>
                  <a:pt x="2236" y="167"/>
                  <a:pt x="2236" y="167"/>
                  <a:pt x="2236" y="167"/>
                </a:cubicBezTo>
                <a:cubicBezTo>
                  <a:pt x="2236" y="168"/>
                  <a:pt x="2236" y="168"/>
                  <a:pt x="2236" y="168"/>
                </a:cubicBezTo>
                <a:cubicBezTo>
                  <a:pt x="2221" y="168"/>
                  <a:pt x="2221" y="168"/>
                  <a:pt x="2221" y="168"/>
                </a:cubicBezTo>
                <a:cubicBezTo>
                  <a:pt x="2221" y="228"/>
                  <a:pt x="2221" y="228"/>
                  <a:pt x="2221" y="228"/>
                </a:cubicBezTo>
                <a:cubicBezTo>
                  <a:pt x="2214" y="228"/>
                  <a:pt x="2214" y="228"/>
                  <a:pt x="2214" y="228"/>
                </a:cubicBezTo>
                <a:cubicBezTo>
                  <a:pt x="2214" y="155"/>
                  <a:pt x="2214" y="155"/>
                  <a:pt x="2214" y="155"/>
                </a:cubicBezTo>
                <a:cubicBezTo>
                  <a:pt x="2200" y="155"/>
                  <a:pt x="2200" y="155"/>
                  <a:pt x="2200" y="155"/>
                </a:cubicBezTo>
                <a:cubicBezTo>
                  <a:pt x="2200" y="67"/>
                  <a:pt x="2200" y="67"/>
                  <a:pt x="2200" y="67"/>
                </a:cubicBezTo>
                <a:cubicBezTo>
                  <a:pt x="2139" y="67"/>
                  <a:pt x="2139" y="67"/>
                  <a:pt x="2139" y="67"/>
                </a:cubicBezTo>
                <a:cubicBezTo>
                  <a:pt x="2139" y="123"/>
                  <a:pt x="2139" y="123"/>
                  <a:pt x="2139" y="123"/>
                </a:cubicBezTo>
                <a:cubicBezTo>
                  <a:pt x="2121" y="123"/>
                  <a:pt x="2121" y="123"/>
                  <a:pt x="2121" y="123"/>
                </a:cubicBezTo>
                <a:cubicBezTo>
                  <a:pt x="2121" y="3"/>
                  <a:pt x="2121" y="3"/>
                  <a:pt x="2121" y="3"/>
                </a:cubicBezTo>
                <a:cubicBezTo>
                  <a:pt x="2103" y="3"/>
                  <a:pt x="2103" y="3"/>
                  <a:pt x="2103" y="3"/>
                </a:cubicBezTo>
                <a:cubicBezTo>
                  <a:pt x="2103" y="92"/>
                  <a:pt x="2103" y="92"/>
                  <a:pt x="2103" y="92"/>
                </a:cubicBezTo>
                <a:cubicBezTo>
                  <a:pt x="2093" y="92"/>
                  <a:pt x="2093" y="92"/>
                  <a:pt x="2093" y="92"/>
                </a:cubicBezTo>
                <a:cubicBezTo>
                  <a:pt x="2093" y="142"/>
                  <a:pt x="2093" y="142"/>
                  <a:pt x="2093" y="142"/>
                </a:cubicBezTo>
                <a:cubicBezTo>
                  <a:pt x="2088" y="142"/>
                  <a:pt x="2088" y="142"/>
                  <a:pt x="2088" y="142"/>
                </a:cubicBezTo>
                <a:cubicBezTo>
                  <a:pt x="2088" y="36"/>
                  <a:pt x="2088" y="36"/>
                  <a:pt x="2088" y="36"/>
                </a:cubicBezTo>
                <a:cubicBezTo>
                  <a:pt x="2048" y="36"/>
                  <a:pt x="2048" y="36"/>
                  <a:pt x="2048" y="36"/>
                </a:cubicBezTo>
                <a:cubicBezTo>
                  <a:pt x="2048" y="98"/>
                  <a:pt x="2048" y="98"/>
                  <a:pt x="2048" y="98"/>
                </a:cubicBezTo>
                <a:cubicBezTo>
                  <a:pt x="2045" y="98"/>
                  <a:pt x="2045" y="98"/>
                  <a:pt x="2045" y="98"/>
                </a:cubicBezTo>
                <a:cubicBezTo>
                  <a:pt x="2045" y="110"/>
                  <a:pt x="2045" y="110"/>
                  <a:pt x="2045" y="110"/>
                </a:cubicBezTo>
                <a:cubicBezTo>
                  <a:pt x="2048" y="110"/>
                  <a:pt x="2048" y="110"/>
                  <a:pt x="2048" y="110"/>
                </a:cubicBezTo>
                <a:cubicBezTo>
                  <a:pt x="2048" y="176"/>
                  <a:pt x="2048" y="176"/>
                  <a:pt x="2048" y="176"/>
                </a:cubicBezTo>
                <a:cubicBezTo>
                  <a:pt x="2039" y="176"/>
                  <a:pt x="2039" y="176"/>
                  <a:pt x="2039" y="176"/>
                </a:cubicBezTo>
                <a:cubicBezTo>
                  <a:pt x="2039" y="93"/>
                  <a:pt x="2039" y="93"/>
                  <a:pt x="2039" y="93"/>
                </a:cubicBezTo>
                <a:cubicBezTo>
                  <a:pt x="2026" y="93"/>
                  <a:pt x="2026" y="93"/>
                  <a:pt x="2026" y="93"/>
                </a:cubicBezTo>
                <a:cubicBezTo>
                  <a:pt x="2026" y="150"/>
                  <a:pt x="2026" y="150"/>
                  <a:pt x="2026" y="150"/>
                </a:cubicBezTo>
                <a:cubicBezTo>
                  <a:pt x="2015" y="150"/>
                  <a:pt x="2015" y="150"/>
                  <a:pt x="2015" y="150"/>
                </a:cubicBezTo>
                <a:cubicBezTo>
                  <a:pt x="2015" y="118"/>
                  <a:pt x="2015" y="118"/>
                  <a:pt x="2015" y="118"/>
                </a:cubicBezTo>
                <a:cubicBezTo>
                  <a:pt x="1996" y="118"/>
                  <a:pt x="1996" y="118"/>
                  <a:pt x="1996" y="118"/>
                </a:cubicBezTo>
                <a:cubicBezTo>
                  <a:pt x="1996" y="131"/>
                  <a:pt x="1996" y="131"/>
                  <a:pt x="1996" y="131"/>
                </a:cubicBezTo>
                <a:cubicBezTo>
                  <a:pt x="1998" y="131"/>
                  <a:pt x="1998" y="131"/>
                  <a:pt x="1998" y="131"/>
                </a:cubicBezTo>
                <a:cubicBezTo>
                  <a:pt x="1998" y="139"/>
                  <a:pt x="1998" y="139"/>
                  <a:pt x="1998" y="139"/>
                </a:cubicBezTo>
                <a:cubicBezTo>
                  <a:pt x="1996" y="139"/>
                  <a:pt x="1996" y="139"/>
                  <a:pt x="1996" y="139"/>
                </a:cubicBezTo>
                <a:cubicBezTo>
                  <a:pt x="1996" y="166"/>
                  <a:pt x="1996" y="166"/>
                  <a:pt x="1996" y="166"/>
                </a:cubicBezTo>
                <a:cubicBezTo>
                  <a:pt x="1998" y="166"/>
                  <a:pt x="1998" y="166"/>
                  <a:pt x="1998" y="166"/>
                </a:cubicBezTo>
                <a:cubicBezTo>
                  <a:pt x="1998" y="175"/>
                  <a:pt x="1998" y="175"/>
                  <a:pt x="1998" y="175"/>
                </a:cubicBezTo>
                <a:cubicBezTo>
                  <a:pt x="1996" y="175"/>
                  <a:pt x="1996" y="175"/>
                  <a:pt x="1996" y="175"/>
                </a:cubicBezTo>
                <a:cubicBezTo>
                  <a:pt x="1996" y="176"/>
                  <a:pt x="1996" y="176"/>
                  <a:pt x="1996" y="176"/>
                </a:cubicBezTo>
                <a:cubicBezTo>
                  <a:pt x="1981" y="176"/>
                  <a:pt x="1981" y="176"/>
                  <a:pt x="1981" y="176"/>
                </a:cubicBezTo>
                <a:cubicBezTo>
                  <a:pt x="1981" y="236"/>
                  <a:pt x="1981" y="236"/>
                  <a:pt x="1981" y="236"/>
                </a:cubicBezTo>
                <a:cubicBezTo>
                  <a:pt x="1961" y="236"/>
                  <a:pt x="1961" y="236"/>
                  <a:pt x="1961" y="236"/>
                </a:cubicBezTo>
                <a:cubicBezTo>
                  <a:pt x="1961" y="75"/>
                  <a:pt x="1961" y="75"/>
                  <a:pt x="1961" y="75"/>
                </a:cubicBezTo>
                <a:cubicBezTo>
                  <a:pt x="1900" y="75"/>
                  <a:pt x="1900" y="75"/>
                  <a:pt x="1900" y="75"/>
                </a:cubicBezTo>
                <a:cubicBezTo>
                  <a:pt x="1900" y="131"/>
                  <a:pt x="1900" y="131"/>
                  <a:pt x="1900" y="131"/>
                </a:cubicBezTo>
                <a:cubicBezTo>
                  <a:pt x="1881" y="131"/>
                  <a:pt x="1881" y="131"/>
                  <a:pt x="1881" y="131"/>
                </a:cubicBezTo>
                <a:cubicBezTo>
                  <a:pt x="1881" y="10"/>
                  <a:pt x="1881" y="10"/>
                  <a:pt x="1881" y="10"/>
                </a:cubicBezTo>
                <a:cubicBezTo>
                  <a:pt x="1863" y="10"/>
                  <a:pt x="1863" y="10"/>
                  <a:pt x="1863" y="10"/>
                </a:cubicBezTo>
                <a:cubicBezTo>
                  <a:pt x="1863" y="236"/>
                  <a:pt x="1863" y="236"/>
                  <a:pt x="1863" y="236"/>
                </a:cubicBezTo>
                <a:cubicBezTo>
                  <a:pt x="1849" y="236"/>
                  <a:pt x="1849" y="236"/>
                  <a:pt x="1849" y="236"/>
                </a:cubicBezTo>
                <a:cubicBezTo>
                  <a:pt x="1849" y="44"/>
                  <a:pt x="1849" y="44"/>
                  <a:pt x="1849" y="44"/>
                </a:cubicBezTo>
                <a:cubicBezTo>
                  <a:pt x="1809" y="44"/>
                  <a:pt x="1809" y="44"/>
                  <a:pt x="1809" y="44"/>
                </a:cubicBezTo>
                <a:cubicBezTo>
                  <a:pt x="1809" y="105"/>
                  <a:pt x="1809" y="105"/>
                  <a:pt x="1809" y="105"/>
                </a:cubicBezTo>
                <a:cubicBezTo>
                  <a:pt x="1764" y="105"/>
                  <a:pt x="1764" y="105"/>
                  <a:pt x="1764" y="105"/>
                </a:cubicBezTo>
                <a:cubicBezTo>
                  <a:pt x="1764" y="47"/>
                  <a:pt x="1764" y="47"/>
                  <a:pt x="1764" y="47"/>
                </a:cubicBezTo>
                <a:cubicBezTo>
                  <a:pt x="1767" y="47"/>
                  <a:pt x="1767" y="47"/>
                  <a:pt x="1767" y="47"/>
                </a:cubicBezTo>
                <a:cubicBezTo>
                  <a:pt x="1771" y="47"/>
                  <a:pt x="1774" y="44"/>
                  <a:pt x="1774" y="39"/>
                </a:cubicBezTo>
                <a:cubicBezTo>
                  <a:pt x="1774" y="34"/>
                  <a:pt x="1774" y="34"/>
                  <a:pt x="1774" y="34"/>
                </a:cubicBezTo>
                <a:cubicBezTo>
                  <a:pt x="1774" y="29"/>
                  <a:pt x="1771" y="26"/>
                  <a:pt x="1767" y="26"/>
                </a:cubicBezTo>
                <a:cubicBezTo>
                  <a:pt x="1763" y="26"/>
                  <a:pt x="1763" y="26"/>
                  <a:pt x="1763" y="26"/>
                </a:cubicBezTo>
                <a:cubicBezTo>
                  <a:pt x="1763" y="17"/>
                  <a:pt x="1758" y="10"/>
                  <a:pt x="1751" y="10"/>
                </a:cubicBezTo>
                <a:cubicBezTo>
                  <a:pt x="1744" y="10"/>
                  <a:pt x="1739" y="17"/>
                  <a:pt x="1739" y="26"/>
                </a:cubicBezTo>
                <a:cubicBezTo>
                  <a:pt x="1735" y="26"/>
                  <a:pt x="1735" y="26"/>
                  <a:pt x="1735" y="26"/>
                </a:cubicBezTo>
                <a:cubicBezTo>
                  <a:pt x="1731" y="26"/>
                  <a:pt x="1728" y="29"/>
                  <a:pt x="1728" y="34"/>
                </a:cubicBezTo>
                <a:cubicBezTo>
                  <a:pt x="1728" y="39"/>
                  <a:pt x="1728" y="39"/>
                  <a:pt x="1728" y="39"/>
                </a:cubicBezTo>
                <a:cubicBezTo>
                  <a:pt x="1728" y="44"/>
                  <a:pt x="1731" y="47"/>
                  <a:pt x="1735" y="47"/>
                </a:cubicBezTo>
                <a:cubicBezTo>
                  <a:pt x="1739" y="47"/>
                  <a:pt x="1739" y="47"/>
                  <a:pt x="1739" y="47"/>
                </a:cubicBezTo>
                <a:cubicBezTo>
                  <a:pt x="1739" y="236"/>
                  <a:pt x="1739" y="236"/>
                  <a:pt x="1739" y="236"/>
                </a:cubicBezTo>
                <a:cubicBezTo>
                  <a:pt x="1702" y="236"/>
                  <a:pt x="1702" y="236"/>
                  <a:pt x="1702" y="236"/>
                </a:cubicBezTo>
                <a:cubicBezTo>
                  <a:pt x="1702" y="166"/>
                  <a:pt x="1702" y="166"/>
                  <a:pt x="1702" y="166"/>
                </a:cubicBezTo>
                <a:cubicBezTo>
                  <a:pt x="1679" y="166"/>
                  <a:pt x="1679" y="166"/>
                  <a:pt x="1679" y="166"/>
                </a:cubicBezTo>
                <a:cubicBezTo>
                  <a:pt x="1679" y="303"/>
                  <a:pt x="1679" y="303"/>
                  <a:pt x="1679" y="303"/>
                </a:cubicBezTo>
                <a:cubicBezTo>
                  <a:pt x="1660" y="303"/>
                  <a:pt x="1660" y="303"/>
                  <a:pt x="1660" y="303"/>
                </a:cubicBezTo>
                <a:cubicBezTo>
                  <a:pt x="1660" y="82"/>
                  <a:pt x="1660" y="82"/>
                  <a:pt x="1660" y="82"/>
                </a:cubicBezTo>
                <a:cubicBezTo>
                  <a:pt x="1593" y="82"/>
                  <a:pt x="1593" y="82"/>
                  <a:pt x="1593" y="82"/>
                </a:cubicBezTo>
                <a:cubicBezTo>
                  <a:pt x="1593" y="254"/>
                  <a:pt x="1593" y="254"/>
                  <a:pt x="1593" y="254"/>
                </a:cubicBezTo>
                <a:cubicBezTo>
                  <a:pt x="1582" y="254"/>
                  <a:pt x="1582" y="254"/>
                  <a:pt x="1582" y="254"/>
                </a:cubicBezTo>
                <a:cubicBezTo>
                  <a:pt x="1582" y="303"/>
                  <a:pt x="1582" y="303"/>
                  <a:pt x="1582" y="303"/>
                </a:cubicBezTo>
                <a:cubicBezTo>
                  <a:pt x="1567" y="303"/>
                  <a:pt x="1567" y="303"/>
                  <a:pt x="1567" y="303"/>
                </a:cubicBezTo>
                <a:cubicBezTo>
                  <a:pt x="1567" y="176"/>
                  <a:pt x="1567" y="176"/>
                  <a:pt x="1567" y="176"/>
                </a:cubicBezTo>
                <a:cubicBezTo>
                  <a:pt x="1575" y="176"/>
                  <a:pt x="1575" y="176"/>
                  <a:pt x="1575" y="176"/>
                </a:cubicBezTo>
                <a:cubicBezTo>
                  <a:pt x="1575" y="162"/>
                  <a:pt x="1575" y="162"/>
                  <a:pt x="1575" y="162"/>
                </a:cubicBezTo>
                <a:cubicBezTo>
                  <a:pt x="1567" y="162"/>
                  <a:pt x="1567" y="162"/>
                  <a:pt x="1567" y="162"/>
                </a:cubicBezTo>
                <a:cubicBezTo>
                  <a:pt x="1567" y="151"/>
                  <a:pt x="1567" y="151"/>
                  <a:pt x="1567" y="151"/>
                </a:cubicBezTo>
                <a:cubicBezTo>
                  <a:pt x="1560" y="151"/>
                  <a:pt x="1560" y="151"/>
                  <a:pt x="1560" y="151"/>
                </a:cubicBezTo>
                <a:cubicBezTo>
                  <a:pt x="1560" y="131"/>
                  <a:pt x="1560" y="131"/>
                  <a:pt x="1560" y="131"/>
                </a:cubicBezTo>
                <a:cubicBezTo>
                  <a:pt x="1537" y="131"/>
                  <a:pt x="1537" y="131"/>
                  <a:pt x="1537" y="131"/>
                </a:cubicBezTo>
                <a:cubicBezTo>
                  <a:pt x="1537" y="151"/>
                  <a:pt x="1537" y="151"/>
                  <a:pt x="1537" y="151"/>
                </a:cubicBezTo>
                <a:cubicBezTo>
                  <a:pt x="1530" y="151"/>
                  <a:pt x="1530" y="151"/>
                  <a:pt x="1530" y="151"/>
                </a:cubicBezTo>
                <a:cubicBezTo>
                  <a:pt x="1530" y="162"/>
                  <a:pt x="1530" y="162"/>
                  <a:pt x="1530" y="162"/>
                </a:cubicBezTo>
                <a:cubicBezTo>
                  <a:pt x="1522" y="162"/>
                  <a:pt x="1522" y="162"/>
                  <a:pt x="1522" y="162"/>
                </a:cubicBezTo>
                <a:cubicBezTo>
                  <a:pt x="1522" y="176"/>
                  <a:pt x="1522" y="176"/>
                  <a:pt x="1522" y="176"/>
                </a:cubicBezTo>
                <a:cubicBezTo>
                  <a:pt x="1530" y="176"/>
                  <a:pt x="1530" y="176"/>
                  <a:pt x="1530" y="176"/>
                </a:cubicBezTo>
                <a:cubicBezTo>
                  <a:pt x="1530" y="303"/>
                  <a:pt x="1530" y="303"/>
                  <a:pt x="1530" y="303"/>
                </a:cubicBezTo>
                <a:cubicBezTo>
                  <a:pt x="1509" y="303"/>
                  <a:pt x="1509" y="303"/>
                  <a:pt x="1509" y="303"/>
                </a:cubicBezTo>
                <a:cubicBezTo>
                  <a:pt x="1509" y="131"/>
                  <a:pt x="1509" y="131"/>
                  <a:pt x="1509" y="131"/>
                </a:cubicBezTo>
                <a:cubicBezTo>
                  <a:pt x="1500" y="131"/>
                  <a:pt x="1500" y="131"/>
                  <a:pt x="1500" y="131"/>
                </a:cubicBezTo>
                <a:cubicBezTo>
                  <a:pt x="1503" y="117"/>
                  <a:pt x="1503" y="117"/>
                  <a:pt x="1503" y="117"/>
                </a:cubicBezTo>
                <a:cubicBezTo>
                  <a:pt x="1464" y="117"/>
                  <a:pt x="1464" y="117"/>
                  <a:pt x="1464" y="117"/>
                </a:cubicBezTo>
                <a:cubicBezTo>
                  <a:pt x="1464" y="131"/>
                  <a:pt x="1464" y="131"/>
                  <a:pt x="1464" y="131"/>
                </a:cubicBezTo>
                <a:cubicBezTo>
                  <a:pt x="1458" y="131"/>
                  <a:pt x="1458" y="131"/>
                  <a:pt x="1458" y="131"/>
                </a:cubicBezTo>
                <a:cubicBezTo>
                  <a:pt x="1458" y="303"/>
                  <a:pt x="1458" y="303"/>
                  <a:pt x="1458" y="303"/>
                </a:cubicBezTo>
                <a:cubicBezTo>
                  <a:pt x="1454" y="303"/>
                  <a:pt x="1454" y="303"/>
                  <a:pt x="1454" y="303"/>
                </a:cubicBezTo>
                <a:cubicBezTo>
                  <a:pt x="1454" y="160"/>
                  <a:pt x="1454" y="160"/>
                  <a:pt x="1454" y="160"/>
                </a:cubicBezTo>
                <a:cubicBezTo>
                  <a:pt x="1441" y="160"/>
                  <a:pt x="1441" y="160"/>
                  <a:pt x="1441" y="160"/>
                </a:cubicBezTo>
                <a:cubicBezTo>
                  <a:pt x="1441" y="303"/>
                  <a:pt x="1441" y="303"/>
                  <a:pt x="1441" y="303"/>
                </a:cubicBezTo>
                <a:cubicBezTo>
                  <a:pt x="1430" y="303"/>
                  <a:pt x="1430" y="303"/>
                  <a:pt x="1430" y="303"/>
                </a:cubicBezTo>
                <a:cubicBezTo>
                  <a:pt x="1430" y="200"/>
                  <a:pt x="1430" y="200"/>
                  <a:pt x="1430" y="200"/>
                </a:cubicBezTo>
                <a:cubicBezTo>
                  <a:pt x="1405" y="200"/>
                  <a:pt x="1405" y="200"/>
                  <a:pt x="1405" y="200"/>
                </a:cubicBezTo>
                <a:cubicBezTo>
                  <a:pt x="1405" y="303"/>
                  <a:pt x="1405" y="303"/>
                  <a:pt x="1405" y="303"/>
                </a:cubicBezTo>
                <a:cubicBezTo>
                  <a:pt x="1394" y="303"/>
                  <a:pt x="1394" y="303"/>
                  <a:pt x="1394" y="303"/>
                </a:cubicBezTo>
                <a:cubicBezTo>
                  <a:pt x="1394" y="178"/>
                  <a:pt x="1394" y="178"/>
                  <a:pt x="1394" y="178"/>
                </a:cubicBezTo>
                <a:cubicBezTo>
                  <a:pt x="1378" y="178"/>
                  <a:pt x="1378" y="178"/>
                  <a:pt x="1378" y="178"/>
                </a:cubicBezTo>
                <a:cubicBezTo>
                  <a:pt x="1378" y="145"/>
                  <a:pt x="1378" y="145"/>
                  <a:pt x="1378" y="145"/>
                </a:cubicBezTo>
                <a:cubicBezTo>
                  <a:pt x="1335" y="145"/>
                  <a:pt x="1335" y="145"/>
                  <a:pt x="1335" y="145"/>
                </a:cubicBezTo>
                <a:cubicBezTo>
                  <a:pt x="1335" y="282"/>
                  <a:pt x="1335" y="282"/>
                  <a:pt x="1335" y="282"/>
                </a:cubicBezTo>
                <a:cubicBezTo>
                  <a:pt x="1332" y="282"/>
                  <a:pt x="1332" y="282"/>
                  <a:pt x="1332" y="282"/>
                </a:cubicBezTo>
                <a:cubicBezTo>
                  <a:pt x="1332" y="193"/>
                  <a:pt x="1332" y="193"/>
                  <a:pt x="1332" y="193"/>
                </a:cubicBezTo>
                <a:cubicBezTo>
                  <a:pt x="1299" y="193"/>
                  <a:pt x="1299" y="193"/>
                  <a:pt x="1299" y="193"/>
                </a:cubicBezTo>
                <a:cubicBezTo>
                  <a:pt x="1299" y="282"/>
                  <a:pt x="1299" y="282"/>
                  <a:pt x="1299" y="282"/>
                </a:cubicBezTo>
                <a:cubicBezTo>
                  <a:pt x="1292" y="282"/>
                  <a:pt x="1292" y="282"/>
                  <a:pt x="1292" y="282"/>
                </a:cubicBezTo>
                <a:cubicBezTo>
                  <a:pt x="1292" y="309"/>
                  <a:pt x="1292" y="309"/>
                  <a:pt x="1292" y="309"/>
                </a:cubicBezTo>
                <a:cubicBezTo>
                  <a:pt x="1282" y="309"/>
                  <a:pt x="1282" y="309"/>
                  <a:pt x="1282" y="309"/>
                </a:cubicBezTo>
                <a:cubicBezTo>
                  <a:pt x="1282" y="236"/>
                  <a:pt x="1282" y="236"/>
                  <a:pt x="1282" y="236"/>
                </a:cubicBezTo>
                <a:cubicBezTo>
                  <a:pt x="1256" y="236"/>
                  <a:pt x="1256" y="236"/>
                  <a:pt x="1256" y="236"/>
                </a:cubicBezTo>
                <a:cubicBezTo>
                  <a:pt x="1256" y="262"/>
                  <a:pt x="1256" y="262"/>
                  <a:pt x="1256" y="262"/>
                </a:cubicBezTo>
                <a:cubicBezTo>
                  <a:pt x="1247" y="262"/>
                  <a:pt x="1247" y="262"/>
                  <a:pt x="1247" y="262"/>
                </a:cubicBezTo>
                <a:cubicBezTo>
                  <a:pt x="1247" y="207"/>
                  <a:pt x="1247" y="207"/>
                  <a:pt x="1247" y="207"/>
                </a:cubicBezTo>
                <a:cubicBezTo>
                  <a:pt x="1239" y="207"/>
                  <a:pt x="1239" y="207"/>
                  <a:pt x="1239" y="207"/>
                </a:cubicBezTo>
                <a:cubicBezTo>
                  <a:pt x="1239" y="283"/>
                  <a:pt x="1239" y="283"/>
                  <a:pt x="1239" y="283"/>
                </a:cubicBezTo>
                <a:cubicBezTo>
                  <a:pt x="1233" y="283"/>
                  <a:pt x="1233" y="283"/>
                  <a:pt x="1233" y="283"/>
                </a:cubicBezTo>
                <a:cubicBezTo>
                  <a:pt x="1233" y="222"/>
                  <a:pt x="1233" y="222"/>
                  <a:pt x="1233" y="222"/>
                </a:cubicBezTo>
                <a:cubicBezTo>
                  <a:pt x="1232" y="222"/>
                  <a:pt x="1232" y="222"/>
                  <a:pt x="1232" y="222"/>
                </a:cubicBezTo>
                <a:cubicBezTo>
                  <a:pt x="1232" y="148"/>
                  <a:pt x="1232" y="148"/>
                  <a:pt x="1232" y="148"/>
                </a:cubicBezTo>
                <a:cubicBezTo>
                  <a:pt x="1222" y="148"/>
                  <a:pt x="1222" y="148"/>
                  <a:pt x="1222" y="148"/>
                </a:cubicBezTo>
                <a:cubicBezTo>
                  <a:pt x="1222" y="0"/>
                  <a:pt x="1222" y="0"/>
                  <a:pt x="1222" y="0"/>
                </a:cubicBezTo>
                <a:cubicBezTo>
                  <a:pt x="1136" y="13"/>
                  <a:pt x="1136" y="13"/>
                  <a:pt x="1136" y="13"/>
                </a:cubicBezTo>
                <a:cubicBezTo>
                  <a:pt x="1136" y="211"/>
                  <a:pt x="1136" y="211"/>
                  <a:pt x="1136" y="211"/>
                </a:cubicBezTo>
                <a:cubicBezTo>
                  <a:pt x="1134" y="211"/>
                  <a:pt x="1134" y="211"/>
                  <a:pt x="1134" y="211"/>
                </a:cubicBezTo>
                <a:cubicBezTo>
                  <a:pt x="1134" y="84"/>
                  <a:pt x="1134" y="84"/>
                  <a:pt x="1134" y="84"/>
                </a:cubicBezTo>
                <a:cubicBezTo>
                  <a:pt x="1111" y="84"/>
                  <a:pt x="1111" y="84"/>
                  <a:pt x="1111" y="84"/>
                </a:cubicBezTo>
                <a:cubicBezTo>
                  <a:pt x="1111" y="134"/>
                  <a:pt x="1111" y="134"/>
                  <a:pt x="1111" y="134"/>
                </a:cubicBezTo>
                <a:cubicBezTo>
                  <a:pt x="1071" y="134"/>
                  <a:pt x="1071" y="134"/>
                  <a:pt x="1071" y="134"/>
                </a:cubicBezTo>
                <a:cubicBezTo>
                  <a:pt x="1071" y="168"/>
                  <a:pt x="1071" y="168"/>
                  <a:pt x="1071" y="168"/>
                </a:cubicBezTo>
                <a:cubicBezTo>
                  <a:pt x="1057" y="168"/>
                  <a:pt x="1057" y="168"/>
                  <a:pt x="1057" y="168"/>
                </a:cubicBezTo>
                <a:cubicBezTo>
                  <a:pt x="1057" y="85"/>
                  <a:pt x="1057" y="85"/>
                  <a:pt x="1057" y="85"/>
                </a:cubicBezTo>
                <a:cubicBezTo>
                  <a:pt x="1044" y="85"/>
                  <a:pt x="1044" y="85"/>
                  <a:pt x="1044" y="85"/>
                </a:cubicBezTo>
                <a:cubicBezTo>
                  <a:pt x="1044" y="142"/>
                  <a:pt x="1044" y="142"/>
                  <a:pt x="1044" y="142"/>
                </a:cubicBezTo>
                <a:cubicBezTo>
                  <a:pt x="1033" y="142"/>
                  <a:pt x="1033" y="142"/>
                  <a:pt x="1033" y="142"/>
                </a:cubicBezTo>
                <a:cubicBezTo>
                  <a:pt x="1033" y="111"/>
                  <a:pt x="1033" y="111"/>
                  <a:pt x="1033" y="111"/>
                </a:cubicBezTo>
                <a:cubicBezTo>
                  <a:pt x="1014" y="111"/>
                  <a:pt x="1014" y="111"/>
                  <a:pt x="1014" y="111"/>
                </a:cubicBezTo>
                <a:cubicBezTo>
                  <a:pt x="1014" y="123"/>
                  <a:pt x="1014" y="123"/>
                  <a:pt x="1014" y="123"/>
                </a:cubicBezTo>
                <a:cubicBezTo>
                  <a:pt x="1016" y="123"/>
                  <a:pt x="1016" y="123"/>
                  <a:pt x="1016" y="123"/>
                </a:cubicBezTo>
                <a:cubicBezTo>
                  <a:pt x="1016" y="131"/>
                  <a:pt x="1016" y="131"/>
                  <a:pt x="1016" y="131"/>
                </a:cubicBezTo>
                <a:cubicBezTo>
                  <a:pt x="1014" y="131"/>
                  <a:pt x="1014" y="131"/>
                  <a:pt x="1014" y="131"/>
                </a:cubicBezTo>
                <a:cubicBezTo>
                  <a:pt x="1014" y="159"/>
                  <a:pt x="1014" y="159"/>
                  <a:pt x="1014" y="159"/>
                </a:cubicBezTo>
                <a:cubicBezTo>
                  <a:pt x="1016" y="159"/>
                  <a:pt x="1016" y="159"/>
                  <a:pt x="1016" y="159"/>
                </a:cubicBezTo>
                <a:cubicBezTo>
                  <a:pt x="1016" y="167"/>
                  <a:pt x="1016" y="167"/>
                  <a:pt x="1016" y="167"/>
                </a:cubicBezTo>
                <a:cubicBezTo>
                  <a:pt x="1014" y="167"/>
                  <a:pt x="1014" y="167"/>
                  <a:pt x="1014" y="167"/>
                </a:cubicBezTo>
                <a:cubicBezTo>
                  <a:pt x="1014" y="168"/>
                  <a:pt x="1014" y="168"/>
                  <a:pt x="1014" y="168"/>
                </a:cubicBezTo>
                <a:cubicBezTo>
                  <a:pt x="999" y="168"/>
                  <a:pt x="999" y="168"/>
                  <a:pt x="999" y="168"/>
                </a:cubicBezTo>
                <a:cubicBezTo>
                  <a:pt x="999" y="228"/>
                  <a:pt x="999" y="228"/>
                  <a:pt x="999" y="228"/>
                </a:cubicBezTo>
                <a:cubicBezTo>
                  <a:pt x="992" y="228"/>
                  <a:pt x="992" y="228"/>
                  <a:pt x="992" y="228"/>
                </a:cubicBezTo>
                <a:cubicBezTo>
                  <a:pt x="992" y="155"/>
                  <a:pt x="992" y="155"/>
                  <a:pt x="992" y="155"/>
                </a:cubicBezTo>
                <a:cubicBezTo>
                  <a:pt x="978" y="155"/>
                  <a:pt x="978" y="155"/>
                  <a:pt x="978" y="155"/>
                </a:cubicBezTo>
                <a:cubicBezTo>
                  <a:pt x="978" y="67"/>
                  <a:pt x="978" y="67"/>
                  <a:pt x="978" y="67"/>
                </a:cubicBezTo>
                <a:cubicBezTo>
                  <a:pt x="918" y="67"/>
                  <a:pt x="918" y="67"/>
                  <a:pt x="918" y="67"/>
                </a:cubicBezTo>
                <a:cubicBezTo>
                  <a:pt x="918" y="123"/>
                  <a:pt x="918" y="123"/>
                  <a:pt x="918" y="123"/>
                </a:cubicBezTo>
                <a:cubicBezTo>
                  <a:pt x="899" y="123"/>
                  <a:pt x="899" y="123"/>
                  <a:pt x="899" y="123"/>
                </a:cubicBezTo>
                <a:cubicBezTo>
                  <a:pt x="899" y="3"/>
                  <a:pt x="899" y="3"/>
                  <a:pt x="899" y="3"/>
                </a:cubicBezTo>
                <a:cubicBezTo>
                  <a:pt x="881" y="3"/>
                  <a:pt x="881" y="3"/>
                  <a:pt x="881" y="3"/>
                </a:cubicBezTo>
                <a:cubicBezTo>
                  <a:pt x="881" y="92"/>
                  <a:pt x="881" y="92"/>
                  <a:pt x="881" y="92"/>
                </a:cubicBezTo>
                <a:cubicBezTo>
                  <a:pt x="871" y="92"/>
                  <a:pt x="871" y="92"/>
                  <a:pt x="871" y="92"/>
                </a:cubicBezTo>
                <a:cubicBezTo>
                  <a:pt x="871" y="142"/>
                  <a:pt x="871" y="142"/>
                  <a:pt x="871" y="142"/>
                </a:cubicBezTo>
                <a:cubicBezTo>
                  <a:pt x="866" y="142"/>
                  <a:pt x="866" y="142"/>
                  <a:pt x="866" y="142"/>
                </a:cubicBezTo>
                <a:cubicBezTo>
                  <a:pt x="866" y="36"/>
                  <a:pt x="866" y="36"/>
                  <a:pt x="866" y="36"/>
                </a:cubicBezTo>
                <a:cubicBezTo>
                  <a:pt x="826" y="36"/>
                  <a:pt x="826" y="36"/>
                  <a:pt x="826" y="36"/>
                </a:cubicBezTo>
                <a:cubicBezTo>
                  <a:pt x="826" y="98"/>
                  <a:pt x="826" y="98"/>
                  <a:pt x="826" y="98"/>
                </a:cubicBezTo>
                <a:cubicBezTo>
                  <a:pt x="823" y="98"/>
                  <a:pt x="823" y="98"/>
                  <a:pt x="823" y="98"/>
                </a:cubicBezTo>
                <a:cubicBezTo>
                  <a:pt x="823" y="110"/>
                  <a:pt x="823" y="110"/>
                  <a:pt x="823" y="110"/>
                </a:cubicBezTo>
                <a:cubicBezTo>
                  <a:pt x="826" y="110"/>
                  <a:pt x="826" y="110"/>
                  <a:pt x="826" y="110"/>
                </a:cubicBezTo>
                <a:cubicBezTo>
                  <a:pt x="826" y="176"/>
                  <a:pt x="826" y="176"/>
                  <a:pt x="826" y="176"/>
                </a:cubicBezTo>
                <a:cubicBezTo>
                  <a:pt x="818" y="176"/>
                  <a:pt x="818" y="176"/>
                  <a:pt x="818" y="176"/>
                </a:cubicBezTo>
                <a:cubicBezTo>
                  <a:pt x="818" y="93"/>
                  <a:pt x="818" y="93"/>
                  <a:pt x="818" y="93"/>
                </a:cubicBezTo>
                <a:cubicBezTo>
                  <a:pt x="804" y="93"/>
                  <a:pt x="804" y="93"/>
                  <a:pt x="804" y="93"/>
                </a:cubicBezTo>
                <a:cubicBezTo>
                  <a:pt x="804" y="150"/>
                  <a:pt x="804" y="150"/>
                  <a:pt x="804" y="150"/>
                </a:cubicBezTo>
                <a:cubicBezTo>
                  <a:pt x="793" y="150"/>
                  <a:pt x="793" y="150"/>
                  <a:pt x="793" y="150"/>
                </a:cubicBezTo>
                <a:cubicBezTo>
                  <a:pt x="793" y="118"/>
                  <a:pt x="793" y="118"/>
                  <a:pt x="793" y="118"/>
                </a:cubicBezTo>
                <a:cubicBezTo>
                  <a:pt x="774" y="118"/>
                  <a:pt x="774" y="118"/>
                  <a:pt x="774" y="118"/>
                </a:cubicBezTo>
                <a:cubicBezTo>
                  <a:pt x="774" y="131"/>
                  <a:pt x="774" y="131"/>
                  <a:pt x="774" y="131"/>
                </a:cubicBezTo>
                <a:cubicBezTo>
                  <a:pt x="776" y="131"/>
                  <a:pt x="776" y="131"/>
                  <a:pt x="776" y="131"/>
                </a:cubicBezTo>
                <a:cubicBezTo>
                  <a:pt x="776" y="139"/>
                  <a:pt x="776" y="139"/>
                  <a:pt x="776" y="139"/>
                </a:cubicBezTo>
                <a:cubicBezTo>
                  <a:pt x="774" y="139"/>
                  <a:pt x="774" y="139"/>
                  <a:pt x="774" y="139"/>
                </a:cubicBezTo>
                <a:cubicBezTo>
                  <a:pt x="774" y="166"/>
                  <a:pt x="774" y="166"/>
                  <a:pt x="774" y="166"/>
                </a:cubicBezTo>
                <a:cubicBezTo>
                  <a:pt x="776" y="166"/>
                  <a:pt x="776" y="166"/>
                  <a:pt x="776" y="166"/>
                </a:cubicBezTo>
                <a:cubicBezTo>
                  <a:pt x="776" y="175"/>
                  <a:pt x="776" y="175"/>
                  <a:pt x="776" y="175"/>
                </a:cubicBezTo>
                <a:cubicBezTo>
                  <a:pt x="774" y="175"/>
                  <a:pt x="774" y="175"/>
                  <a:pt x="774" y="175"/>
                </a:cubicBezTo>
                <a:cubicBezTo>
                  <a:pt x="774" y="176"/>
                  <a:pt x="774" y="176"/>
                  <a:pt x="774" y="176"/>
                </a:cubicBezTo>
                <a:cubicBezTo>
                  <a:pt x="759" y="176"/>
                  <a:pt x="759" y="176"/>
                  <a:pt x="759" y="176"/>
                </a:cubicBezTo>
                <a:cubicBezTo>
                  <a:pt x="759" y="236"/>
                  <a:pt x="759" y="236"/>
                  <a:pt x="759" y="236"/>
                </a:cubicBezTo>
                <a:cubicBezTo>
                  <a:pt x="739" y="236"/>
                  <a:pt x="739" y="236"/>
                  <a:pt x="739" y="236"/>
                </a:cubicBezTo>
                <a:cubicBezTo>
                  <a:pt x="739" y="75"/>
                  <a:pt x="739" y="75"/>
                  <a:pt x="739" y="75"/>
                </a:cubicBezTo>
                <a:cubicBezTo>
                  <a:pt x="678" y="75"/>
                  <a:pt x="678" y="75"/>
                  <a:pt x="678" y="75"/>
                </a:cubicBezTo>
                <a:cubicBezTo>
                  <a:pt x="678" y="131"/>
                  <a:pt x="678" y="131"/>
                  <a:pt x="678" y="131"/>
                </a:cubicBezTo>
                <a:cubicBezTo>
                  <a:pt x="659" y="131"/>
                  <a:pt x="659" y="131"/>
                  <a:pt x="659" y="131"/>
                </a:cubicBezTo>
                <a:cubicBezTo>
                  <a:pt x="659" y="10"/>
                  <a:pt x="659" y="10"/>
                  <a:pt x="659" y="10"/>
                </a:cubicBezTo>
                <a:cubicBezTo>
                  <a:pt x="641" y="10"/>
                  <a:pt x="641" y="10"/>
                  <a:pt x="641" y="10"/>
                </a:cubicBezTo>
                <a:cubicBezTo>
                  <a:pt x="641" y="236"/>
                  <a:pt x="641" y="236"/>
                  <a:pt x="641" y="236"/>
                </a:cubicBezTo>
                <a:cubicBezTo>
                  <a:pt x="627" y="236"/>
                  <a:pt x="627" y="236"/>
                  <a:pt x="627" y="236"/>
                </a:cubicBezTo>
                <a:cubicBezTo>
                  <a:pt x="627" y="44"/>
                  <a:pt x="627" y="44"/>
                  <a:pt x="627" y="44"/>
                </a:cubicBezTo>
                <a:cubicBezTo>
                  <a:pt x="587" y="44"/>
                  <a:pt x="587" y="44"/>
                  <a:pt x="587" y="44"/>
                </a:cubicBezTo>
                <a:cubicBezTo>
                  <a:pt x="587" y="105"/>
                  <a:pt x="587" y="105"/>
                  <a:pt x="587" y="105"/>
                </a:cubicBezTo>
                <a:cubicBezTo>
                  <a:pt x="542" y="105"/>
                  <a:pt x="542" y="105"/>
                  <a:pt x="542" y="105"/>
                </a:cubicBezTo>
                <a:cubicBezTo>
                  <a:pt x="542" y="47"/>
                  <a:pt x="542" y="47"/>
                  <a:pt x="542" y="47"/>
                </a:cubicBezTo>
                <a:cubicBezTo>
                  <a:pt x="546" y="47"/>
                  <a:pt x="546" y="47"/>
                  <a:pt x="546" y="47"/>
                </a:cubicBezTo>
                <a:cubicBezTo>
                  <a:pt x="549" y="47"/>
                  <a:pt x="552" y="44"/>
                  <a:pt x="552" y="39"/>
                </a:cubicBezTo>
                <a:cubicBezTo>
                  <a:pt x="552" y="34"/>
                  <a:pt x="552" y="34"/>
                  <a:pt x="552" y="34"/>
                </a:cubicBezTo>
                <a:cubicBezTo>
                  <a:pt x="552" y="29"/>
                  <a:pt x="549" y="26"/>
                  <a:pt x="546" y="26"/>
                </a:cubicBezTo>
                <a:cubicBezTo>
                  <a:pt x="541" y="26"/>
                  <a:pt x="541" y="26"/>
                  <a:pt x="541" y="26"/>
                </a:cubicBezTo>
                <a:cubicBezTo>
                  <a:pt x="541" y="17"/>
                  <a:pt x="536" y="10"/>
                  <a:pt x="529" y="10"/>
                </a:cubicBezTo>
                <a:cubicBezTo>
                  <a:pt x="522" y="10"/>
                  <a:pt x="517" y="17"/>
                  <a:pt x="517" y="26"/>
                </a:cubicBezTo>
                <a:cubicBezTo>
                  <a:pt x="513" y="26"/>
                  <a:pt x="513" y="26"/>
                  <a:pt x="513" y="26"/>
                </a:cubicBezTo>
                <a:cubicBezTo>
                  <a:pt x="512" y="26"/>
                  <a:pt x="512" y="26"/>
                  <a:pt x="512" y="26"/>
                </a:cubicBezTo>
                <a:cubicBezTo>
                  <a:pt x="512" y="24"/>
                  <a:pt x="512" y="24"/>
                  <a:pt x="512" y="24"/>
                </a:cubicBezTo>
                <a:cubicBezTo>
                  <a:pt x="435" y="35"/>
                  <a:pt x="435" y="35"/>
                  <a:pt x="435" y="35"/>
                </a:cubicBezTo>
                <a:cubicBezTo>
                  <a:pt x="435" y="82"/>
                  <a:pt x="435" y="82"/>
                  <a:pt x="435" y="82"/>
                </a:cubicBezTo>
                <a:cubicBezTo>
                  <a:pt x="371" y="82"/>
                  <a:pt x="371" y="82"/>
                  <a:pt x="371" y="82"/>
                </a:cubicBezTo>
                <a:cubicBezTo>
                  <a:pt x="371" y="254"/>
                  <a:pt x="371" y="254"/>
                  <a:pt x="371" y="254"/>
                </a:cubicBezTo>
                <a:cubicBezTo>
                  <a:pt x="360" y="254"/>
                  <a:pt x="360" y="254"/>
                  <a:pt x="360" y="254"/>
                </a:cubicBezTo>
                <a:cubicBezTo>
                  <a:pt x="360" y="303"/>
                  <a:pt x="360" y="303"/>
                  <a:pt x="360" y="303"/>
                </a:cubicBezTo>
                <a:cubicBezTo>
                  <a:pt x="345" y="303"/>
                  <a:pt x="345" y="303"/>
                  <a:pt x="345" y="303"/>
                </a:cubicBezTo>
                <a:cubicBezTo>
                  <a:pt x="345" y="176"/>
                  <a:pt x="345" y="176"/>
                  <a:pt x="345" y="176"/>
                </a:cubicBezTo>
                <a:cubicBezTo>
                  <a:pt x="353" y="176"/>
                  <a:pt x="353" y="176"/>
                  <a:pt x="353" y="176"/>
                </a:cubicBezTo>
                <a:cubicBezTo>
                  <a:pt x="353" y="162"/>
                  <a:pt x="353" y="162"/>
                  <a:pt x="353" y="162"/>
                </a:cubicBezTo>
                <a:cubicBezTo>
                  <a:pt x="345" y="162"/>
                  <a:pt x="345" y="162"/>
                  <a:pt x="345" y="162"/>
                </a:cubicBezTo>
                <a:cubicBezTo>
                  <a:pt x="345" y="151"/>
                  <a:pt x="345" y="151"/>
                  <a:pt x="345" y="151"/>
                </a:cubicBezTo>
                <a:cubicBezTo>
                  <a:pt x="338" y="151"/>
                  <a:pt x="338" y="151"/>
                  <a:pt x="338" y="151"/>
                </a:cubicBezTo>
                <a:cubicBezTo>
                  <a:pt x="338" y="131"/>
                  <a:pt x="338" y="131"/>
                  <a:pt x="338" y="131"/>
                </a:cubicBezTo>
                <a:cubicBezTo>
                  <a:pt x="315" y="131"/>
                  <a:pt x="315" y="131"/>
                  <a:pt x="315" y="131"/>
                </a:cubicBezTo>
                <a:cubicBezTo>
                  <a:pt x="315" y="151"/>
                  <a:pt x="315" y="151"/>
                  <a:pt x="315" y="151"/>
                </a:cubicBezTo>
                <a:cubicBezTo>
                  <a:pt x="308" y="151"/>
                  <a:pt x="308" y="151"/>
                  <a:pt x="308" y="151"/>
                </a:cubicBezTo>
                <a:cubicBezTo>
                  <a:pt x="308" y="162"/>
                  <a:pt x="308" y="162"/>
                  <a:pt x="308" y="162"/>
                </a:cubicBezTo>
                <a:cubicBezTo>
                  <a:pt x="300" y="162"/>
                  <a:pt x="300" y="162"/>
                  <a:pt x="300" y="162"/>
                </a:cubicBezTo>
                <a:cubicBezTo>
                  <a:pt x="300" y="176"/>
                  <a:pt x="300" y="176"/>
                  <a:pt x="300" y="176"/>
                </a:cubicBezTo>
                <a:cubicBezTo>
                  <a:pt x="308" y="176"/>
                  <a:pt x="308" y="176"/>
                  <a:pt x="308" y="176"/>
                </a:cubicBezTo>
                <a:cubicBezTo>
                  <a:pt x="308" y="303"/>
                  <a:pt x="308" y="303"/>
                  <a:pt x="308" y="303"/>
                </a:cubicBezTo>
                <a:cubicBezTo>
                  <a:pt x="287" y="303"/>
                  <a:pt x="287" y="303"/>
                  <a:pt x="287" y="303"/>
                </a:cubicBezTo>
                <a:cubicBezTo>
                  <a:pt x="287" y="131"/>
                  <a:pt x="287" y="131"/>
                  <a:pt x="287" y="131"/>
                </a:cubicBezTo>
                <a:cubicBezTo>
                  <a:pt x="278" y="131"/>
                  <a:pt x="278" y="131"/>
                  <a:pt x="278" y="131"/>
                </a:cubicBezTo>
                <a:cubicBezTo>
                  <a:pt x="281" y="117"/>
                  <a:pt x="281" y="117"/>
                  <a:pt x="281" y="117"/>
                </a:cubicBezTo>
                <a:cubicBezTo>
                  <a:pt x="242" y="117"/>
                  <a:pt x="242" y="117"/>
                  <a:pt x="242" y="117"/>
                </a:cubicBezTo>
                <a:cubicBezTo>
                  <a:pt x="242" y="131"/>
                  <a:pt x="242" y="131"/>
                  <a:pt x="242" y="131"/>
                </a:cubicBezTo>
                <a:cubicBezTo>
                  <a:pt x="236" y="131"/>
                  <a:pt x="236" y="131"/>
                  <a:pt x="236" y="131"/>
                </a:cubicBezTo>
                <a:cubicBezTo>
                  <a:pt x="236" y="303"/>
                  <a:pt x="236" y="303"/>
                  <a:pt x="236" y="303"/>
                </a:cubicBezTo>
                <a:cubicBezTo>
                  <a:pt x="232" y="303"/>
                  <a:pt x="232" y="303"/>
                  <a:pt x="232" y="303"/>
                </a:cubicBezTo>
                <a:cubicBezTo>
                  <a:pt x="232" y="160"/>
                  <a:pt x="232" y="160"/>
                  <a:pt x="232" y="160"/>
                </a:cubicBezTo>
                <a:cubicBezTo>
                  <a:pt x="219" y="160"/>
                  <a:pt x="219" y="160"/>
                  <a:pt x="219" y="160"/>
                </a:cubicBezTo>
                <a:cubicBezTo>
                  <a:pt x="219" y="303"/>
                  <a:pt x="219" y="303"/>
                  <a:pt x="219" y="303"/>
                </a:cubicBezTo>
                <a:cubicBezTo>
                  <a:pt x="208" y="303"/>
                  <a:pt x="208" y="303"/>
                  <a:pt x="208" y="303"/>
                </a:cubicBezTo>
                <a:cubicBezTo>
                  <a:pt x="208" y="200"/>
                  <a:pt x="208" y="200"/>
                  <a:pt x="208" y="200"/>
                </a:cubicBezTo>
                <a:cubicBezTo>
                  <a:pt x="183" y="200"/>
                  <a:pt x="183" y="200"/>
                  <a:pt x="183" y="200"/>
                </a:cubicBezTo>
                <a:cubicBezTo>
                  <a:pt x="183" y="303"/>
                  <a:pt x="183" y="303"/>
                  <a:pt x="183" y="303"/>
                </a:cubicBezTo>
                <a:cubicBezTo>
                  <a:pt x="173" y="303"/>
                  <a:pt x="173" y="303"/>
                  <a:pt x="173" y="303"/>
                </a:cubicBezTo>
                <a:cubicBezTo>
                  <a:pt x="173" y="178"/>
                  <a:pt x="173" y="178"/>
                  <a:pt x="173" y="178"/>
                </a:cubicBezTo>
                <a:cubicBezTo>
                  <a:pt x="156" y="178"/>
                  <a:pt x="156" y="178"/>
                  <a:pt x="156" y="178"/>
                </a:cubicBezTo>
                <a:cubicBezTo>
                  <a:pt x="156" y="145"/>
                  <a:pt x="156" y="145"/>
                  <a:pt x="156" y="145"/>
                </a:cubicBezTo>
                <a:cubicBezTo>
                  <a:pt x="114" y="145"/>
                  <a:pt x="114" y="145"/>
                  <a:pt x="114" y="145"/>
                </a:cubicBezTo>
                <a:cubicBezTo>
                  <a:pt x="114" y="282"/>
                  <a:pt x="114" y="282"/>
                  <a:pt x="114" y="282"/>
                </a:cubicBezTo>
                <a:cubicBezTo>
                  <a:pt x="110" y="282"/>
                  <a:pt x="110" y="282"/>
                  <a:pt x="110" y="282"/>
                </a:cubicBezTo>
                <a:cubicBezTo>
                  <a:pt x="110" y="193"/>
                  <a:pt x="110" y="193"/>
                  <a:pt x="110" y="193"/>
                </a:cubicBezTo>
                <a:cubicBezTo>
                  <a:pt x="77" y="193"/>
                  <a:pt x="77" y="193"/>
                  <a:pt x="77" y="193"/>
                </a:cubicBezTo>
                <a:cubicBezTo>
                  <a:pt x="77" y="282"/>
                  <a:pt x="77" y="282"/>
                  <a:pt x="77" y="282"/>
                </a:cubicBezTo>
                <a:cubicBezTo>
                  <a:pt x="70" y="282"/>
                  <a:pt x="70" y="282"/>
                  <a:pt x="70" y="282"/>
                </a:cubicBezTo>
                <a:cubicBezTo>
                  <a:pt x="70" y="309"/>
                  <a:pt x="70" y="309"/>
                  <a:pt x="70" y="309"/>
                </a:cubicBezTo>
                <a:cubicBezTo>
                  <a:pt x="61" y="309"/>
                  <a:pt x="61" y="309"/>
                  <a:pt x="61" y="309"/>
                </a:cubicBezTo>
                <a:cubicBezTo>
                  <a:pt x="61" y="236"/>
                  <a:pt x="61" y="236"/>
                  <a:pt x="61" y="236"/>
                </a:cubicBezTo>
                <a:cubicBezTo>
                  <a:pt x="34" y="236"/>
                  <a:pt x="34" y="236"/>
                  <a:pt x="34" y="236"/>
                </a:cubicBezTo>
                <a:cubicBezTo>
                  <a:pt x="34" y="262"/>
                  <a:pt x="34" y="262"/>
                  <a:pt x="34" y="262"/>
                </a:cubicBezTo>
                <a:cubicBezTo>
                  <a:pt x="25" y="262"/>
                  <a:pt x="25" y="262"/>
                  <a:pt x="25" y="262"/>
                </a:cubicBezTo>
                <a:cubicBezTo>
                  <a:pt x="25" y="207"/>
                  <a:pt x="25" y="207"/>
                  <a:pt x="25" y="207"/>
                </a:cubicBezTo>
                <a:cubicBezTo>
                  <a:pt x="17" y="207"/>
                  <a:pt x="17" y="207"/>
                  <a:pt x="17" y="207"/>
                </a:cubicBezTo>
                <a:cubicBezTo>
                  <a:pt x="17" y="309"/>
                  <a:pt x="17" y="309"/>
                  <a:pt x="17" y="309"/>
                </a:cubicBezTo>
                <a:cubicBezTo>
                  <a:pt x="11" y="309"/>
                  <a:pt x="11" y="309"/>
                  <a:pt x="11" y="309"/>
                </a:cubicBezTo>
                <a:cubicBezTo>
                  <a:pt x="11" y="222"/>
                  <a:pt x="11" y="222"/>
                  <a:pt x="11" y="222"/>
                </a:cubicBezTo>
                <a:cubicBezTo>
                  <a:pt x="0" y="222"/>
                  <a:pt x="0" y="222"/>
                  <a:pt x="0" y="222"/>
                </a:cubicBezTo>
                <a:cubicBezTo>
                  <a:pt x="0" y="229"/>
                  <a:pt x="0" y="229"/>
                  <a:pt x="0" y="229"/>
                </a:cubicBezTo>
                <a:cubicBezTo>
                  <a:pt x="1" y="229"/>
                  <a:pt x="1" y="229"/>
                  <a:pt x="1" y="229"/>
                </a:cubicBezTo>
                <a:cubicBezTo>
                  <a:pt x="1" y="234"/>
                  <a:pt x="1" y="234"/>
                  <a:pt x="1" y="234"/>
                </a:cubicBezTo>
                <a:cubicBezTo>
                  <a:pt x="0" y="234"/>
                  <a:pt x="0" y="234"/>
                  <a:pt x="0" y="234"/>
                </a:cubicBezTo>
                <a:cubicBezTo>
                  <a:pt x="0" y="251"/>
                  <a:pt x="0" y="251"/>
                  <a:pt x="0" y="251"/>
                </a:cubicBezTo>
                <a:cubicBezTo>
                  <a:pt x="3" y="251"/>
                  <a:pt x="3" y="251"/>
                  <a:pt x="3" y="251"/>
                </a:cubicBezTo>
                <a:cubicBezTo>
                  <a:pt x="3" y="256"/>
                  <a:pt x="3" y="256"/>
                  <a:pt x="3" y="256"/>
                </a:cubicBezTo>
                <a:cubicBezTo>
                  <a:pt x="0" y="256"/>
                  <a:pt x="0" y="256"/>
                  <a:pt x="0" y="256"/>
                </a:cubicBezTo>
                <a:cubicBezTo>
                  <a:pt x="0" y="284"/>
                  <a:pt x="0" y="284"/>
                  <a:pt x="0" y="284"/>
                </a:cubicBezTo>
                <a:cubicBezTo>
                  <a:pt x="3" y="284"/>
                  <a:pt x="3" y="284"/>
                  <a:pt x="3" y="284"/>
                </a:cubicBezTo>
                <a:cubicBezTo>
                  <a:pt x="3" y="287"/>
                  <a:pt x="3" y="287"/>
                  <a:pt x="3" y="287"/>
                </a:cubicBezTo>
                <a:cubicBezTo>
                  <a:pt x="0" y="287"/>
                  <a:pt x="0" y="287"/>
                  <a:pt x="0" y="287"/>
                </a:cubicBezTo>
                <a:cubicBezTo>
                  <a:pt x="0" y="315"/>
                  <a:pt x="0" y="315"/>
                  <a:pt x="0" y="315"/>
                </a:cubicBezTo>
                <a:cubicBezTo>
                  <a:pt x="2" y="315"/>
                  <a:pt x="2" y="315"/>
                  <a:pt x="2" y="315"/>
                </a:cubicBezTo>
                <a:cubicBezTo>
                  <a:pt x="2" y="322"/>
                  <a:pt x="2" y="322"/>
                  <a:pt x="2" y="322"/>
                </a:cubicBezTo>
                <a:cubicBezTo>
                  <a:pt x="0" y="322"/>
                  <a:pt x="0" y="322"/>
                  <a:pt x="0" y="322"/>
                </a:cubicBezTo>
                <a:cubicBezTo>
                  <a:pt x="0" y="378"/>
                  <a:pt x="0" y="378"/>
                  <a:pt x="0" y="378"/>
                </a:cubicBezTo>
                <a:cubicBezTo>
                  <a:pt x="73" y="378"/>
                  <a:pt x="73" y="378"/>
                  <a:pt x="73" y="378"/>
                </a:cubicBezTo>
                <a:cubicBezTo>
                  <a:pt x="73" y="386"/>
                  <a:pt x="73" y="386"/>
                  <a:pt x="73" y="386"/>
                </a:cubicBezTo>
                <a:cubicBezTo>
                  <a:pt x="936" y="386"/>
                  <a:pt x="936" y="386"/>
                  <a:pt x="936" y="386"/>
                </a:cubicBezTo>
                <a:cubicBezTo>
                  <a:pt x="936" y="379"/>
                  <a:pt x="936" y="379"/>
                  <a:pt x="936" y="379"/>
                </a:cubicBezTo>
                <a:cubicBezTo>
                  <a:pt x="1023" y="379"/>
                  <a:pt x="1023" y="379"/>
                  <a:pt x="1023" y="379"/>
                </a:cubicBezTo>
                <a:cubicBezTo>
                  <a:pt x="1023" y="378"/>
                  <a:pt x="1023" y="378"/>
                  <a:pt x="1023" y="378"/>
                </a:cubicBezTo>
                <a:cubicBezTo>
                  <a:pt x="1176" y="378"/>
                  <a:pt x="1176" y="378"/>
                  <a:pt x="1176" y="378"/>
                </a:cubicBezTo>
                <a:cubicBezTo>
                  <a:pt x="1176" y="371"/>
                  <a:pt x="1176" y="371"/>
                  <a:pt x="1176" y="371"/>
                </a:cubicBezTo>
                <a:cubicBezTo>
                  <a:pt x="1222" y="371"/>
                  <a:pt x="1222" y="371"/>
                  <a:pt x="1222" y="371"/>
                </a:cubicBezTo>
                <a:cubicBezTo>
                  <a:pt x="1222" y="378"/>
                  <a:pt x="1222" y="378"/>
                  <a:pt x="1222" y="378"/>
                </a:cubicBezTo>
                <a:cubicBezTo>
                  <a:pt x="1295" y="378"/>
                  <a:pt x="1295" y="378"/>
                  <a:pt x="1295" y="378"/>
                </a:cubicBezTo>
                <a:cubicBezTo>
                  <a:pt x="1295" y="386"/>
                  <a:pt x="1295" y="386"/>
                  <a:pt x="1295" y="386"/>
                </a:cubicBezTo>
                <a:cubicBezTo>
                  <a:pt x="2158" y="386"/>
                  <a:pt x="2158" y="386"/>
                  <a:pt x="2158" y="386"/>
                </a:cubicBezTo>
                <a:cubicBezTo>
                  <a:pt x="2158" y="379"/>
                  <a:pt x="2158" y="379"/>
                  <a:pt x="2158" y="379"/>
                </a:cubicBezTo>
                <a:cubicBezTo>
                  <a:pt x="2245" y="379"/>
                  <a:pt x="2245" y="379"/>
                  <a:pt x="2245" y="379"/>
                </a:cubicBezTo>
                <a:cubicBezTo>
                  <a:pt x="2245" y="378"/>
                  <a:pt x="2245" y="378"/>
                  <a:pt x="2245" y="378"/>
                </a:cubicBezTo>
                <a:cubicBezTo>
                  <a:pt x="2398" y="378"/>
                  <a:pt x="2398" y="378"/>
                  <a:pt x="2398" y="378"/>
                </a:cubicBezTo>
                <a:cubicBezTo>
                  <a:pt x="2398" y="378"/>
                  <a:pt x="2398" y="378"/>
                  <a:pt x="2398" y="378"/>
                </a:cubicBezTo>
                <a:cubicBezTo>
                  <a:pt x="2403" y="378"/>
                  <a:pt x="2403" y="378"/>
                  <a:pt x="2403" y="378"/>
                </a:cubicBezTo>
                <a:cubicBezTo>
                  <a:pt x="2403" y="386"/>
                  <a:pt x="2403" y="386"/>
                  <a:pt x="2403" y="386"/>
                </a:cubicBezTo>
                <a:cubicBezTo>
                  <a:pt x="2986" y="386"/>
                  <a:pt x="2986" y="386"/>
                  <a:pt x="2986" y="386"/>
                </a:cubicBezTo>
                <a:moveTo>
                  <a:pt x="2944" y="263"/>
                </a:moveTo>
                <a:cubicBezTo>
                  <a:pt x="2932" y="263"/>
                  <a:pt x="2932" y="263"/>
                  <a:pt x="2932" y="263"/>
                </a:cubicBezTo>
                <a:cubicBezTo>
                  <a:pt x="2932" y="248"/>
                  <a:pt x="2932" y="248"/>
                  <a:pt x="2932" y="248"/>
                </a:cubicBezTo>
                <a:cubicBezTo>
                  <a:pt x="2944" y="248"/>
                  <a:pt x="2944" y="248"/>
                  <a:pt x="2944" y="248"/>
                </a:cubicBezTo>
                <a:cubicBezTo>
                  <a:pt x="2944" y="263"/>
                  <a:pt x="2944" y="263"/>
                  <a:pt x="2944" y="263"/>
                </a:cubicBezTo>
                <a:moveTo>
                  <a:pt x="2939" y="181"/>
                </a:moveTo>
                <a:cubicBezTo>
                  <a:pt x="2948" y="181"/>
                  <a:pt x="2948" y="181"/>
                  <a:pt x="2948" y="181"/>
                </a:cubicBezTo>
                <a:cubicBezTo>
                  <a:pt x="2948" y="186"/>
                  <a:pt x="2948" y="186"/>
                  <a:pt x="2948" y="186"/>
                </a:cubicBezTo>
                <a:cubicBezTo>
                  <a:pt x="2939" y="186"/>
                  <a:pt x="2939" y="186"/>
                  <a:pt x="2939" y="186"/>
                </a:cubicBezTo>
                <a:cubicBezTo>
                  <a:pt x="2939" y="181"/>
                  <a:pt x="2939" y="181"/>
                  <a:pt x="2939" y="181"/>
                </a:cubicBezTo>
                <a:moveTo>
                  <a:pt x="2938" y="117"/>
                </a:moveTo>
                <a:cubicBezTo>
                  <a:pt x="2929" y="117"/>
                  <a:pt x="2929" y="117"/>
                  <a:pt x="2929" y="117"/>
                </a:cubicBezTo>
                <a:cubicBezTo>
                  <a:pt x="2929" y="107"/>
                  <a:pt x="2929" y="107"/>
                  <a:pt x="2929" y="107"/>
                </a:cubicBezTo>
                <a:cubicBezTo>
                  <a:pt x="2938" y="107"/>
                  <a:pt x="2938" y="107"/>
                  <a:pt x="2938" y="107"/>
                </a:cubicBezTo>
                <a:cubicBezTo>
                  <a:pt x="2938" y="117"/>
                  <a:pt x="2938" y="117"/>
                  <a:pt x="2938" y="117"/>
                </a:cubicBezTo>
                <a:moveTo>
                  <a:pt x="2925" y="60"/>
                </a:moveTo>
                <a:cubicBezTo>
                  <a:pt x="2934" y="60"/>
                  <a:pt x="2934" y="60"/>
                  <a:pt x="2934" y="60"/>
                </a:cubicBezTo>
                <a:cubicBezTo>
                  <a:pt x="2934" y="70"/>
                  <a:pt x="2934" y="70"/>
                  <a:pt x="2934" y="70"/>
                </a:cubicBezTo>
                <a:cubicBezTo>
                  <a:pt x="2925" y="70"/>
                  <a:pt x="2925" y="70"/>
                  <a:pt x="2925" y="70"/>
                </a:cubicBezTo>
                <a:cubicBezTo>
                  <a:pt x="2925" y="60"/>
                  <a:pt x="2925" y="60"/>
                  <a:pt x="2925" y="60"/>
                </a:cubicBezTo>
                <a:moveTo>
                  <a:pt x="2921" y="154"/>
                </a:moveTo>
                <a:cubicBezTo>
                  <a:pt x="2929" y="154"/>
                  <a:pt x="2929" y="154"/>
                  <a:pt x="2929" y="154"/>
                </a:cubicBezTo>
                <a:cubicBezTo>
                  <a:pt x="2929" y="165"/>
                  <a:pt x="2929" y="165"/>
                  <a:pt x="2929" y="165"/>
                </a:cubicBezTo>
                <a:cubicBezTo>
                  <a:pt x="2921" y="165"/>
                  <a:pt x="2921" y="165"/>
                  <a:pt x="2921" y="165"/>
                </a:cubicBezTo>
                <a:cubicBezTo>
                  <a:pt x="2921" y="154"/>
                  <a:pt x="2921" y="154"/>
                  <a:pt x="2921" y="154"/>
                </a:cubicBezTo>
                <a:moveTo>
                  <a:pt x="2902" y="290"/>
                </a:moveTo>
                <a:cubicBezTo>
                  <a:pt x="2889" y="290"/>
                  <a:pt x="2889" y="290"/>
                  <a:pt x="2889" y="290"/>
                </a:cubicBezTo>
                <a:cubicBezTo>
                  <a:pt x="2889" y="275"/>
                  <a:pt x="2889" y="275"/>
                  <a:pt x="2889" y="275"/>
                </a:cubicBezTo>
                <a:cubicBezTo>
                  <a:pt x="2902" y="275"/>
                  <a:pt x="2902" y="275"/>
                  <a:pt x="2902" y="275"/>
                </a:cubicBezTo>
                <a:cubicBezTo>
                  <a:pt x="2902" y="290"/>
                  <a:pt x="2902" y="290"/>
                  <a:pt x="2902" y="290"/>
                </a:cubicBezTo>
                <a:moveTo>
                  <a:pt x="2872" y="117"/>
                </a:moveTo>
                <a:cubicBezTo>
                  <a:pt x="2917" y="117"/>
                  <a:pt x="2917" y="117"/>
                  <a:pt x="2917" y="117"/>
                </a:cubicBezTo>
                <a:cubicBezTo>
                  <a:pt x="2917" y="236"/>
                  <a:pt x="2917" y="236"/>
                  <a:pt x="2917" y="236"/>
                </a:cubicBezTo>
                <a:cubicBezTo>
                  <a:pt x="2872" y="236"/>
                  <a:pt x="2872" y="236"/>
                  <a:pt x="2872" y="236"/>
                </a:cubicBezTo>
                <a:cubicBezTo>
                  <a:pt x="2872" y="117"/>
                  <a:pt x="2872" y="117"/>
                  <a:pt x="2872" y="117"/>
                </a:cubicBezTo>
                <a:moveTo>
                  <a:pt x="2835" y="268"/>
                </a:moveTo>
                <a:cubicBezTo>
                  <a:pt x="2847" y="268"/>
                  <a:pt x="2847" y="268"/>
                  <a:pt x="2847" y="268"/>
                </a:cubicBezTo>
                <a:cubicBezTo>
                  <a:pt x="2847" y="283"/>
                  <a:pt x="2847" y="283"/>
                  <a:pt x="2847" y="283"/>
                </a:cubicBezTo>
                <a:cubicBezTo>
                  <a:pt x="2835" y="283"/>
                  <a:pt x="2835" y="283"/>
                  <a:pt x="2835" y="283"/>
                </a:cubicBezTo>
                <a:cubicBezTo>
                  <a:pt x="2835" y="268"/>
                  <a:pt x="2835" y="268"/>
                  <a:pt x="2835" y="268"/>
                </a:cubicBezTo>
                <a:moveTo>
                  <a:pt x="2799" y="288"/>
                </a:moveTo>
                <a:cubicBezTo>
                  <a:pt x="2811" y="288"/>
                  <a:pt x="2811" y="288"/>
                  <a:pt x="2811" y="288"/>
                </a:cubicBezTo>
                <a:cubicBezTo>
                  <a:pt x="2811" y="303"/>
                  <a:pt x="2811" y="303"/>
                  <a:pt x="2811" y="303"/>
                </a:cubicBezTo>
                <a:cubicBezTo>
                  <a:pt x="2799" y="303"/>
                  <a:pt x="2799" y="303"/>
                  <a:pt x="2799" y="303"/>
                </a:cubicBezTo>
                <a:cubicBezTo>
                  <a:pt x="2799" y="288"/>
                  <a:pt x="2799" y="288"/>
                  <a:pt x="2799" y="288"/>
                </a:cubicBezTo>
                <a:moveTo>
                  <a:pt x="2723" y="274"/>
                </a:moveTo>
                <a:cubicBezTo>
                  <a:pt x="2715" y="274"/>
                  <a:pt x="2715" y="274"/>
                  <a:pt x="2715" y="274"/>
                </a:cubicBezTo>
                <a:cubicBezTo>
                  <a:pt x="2715" y="263"/>
                  <a:pt x="2715" y="263"/>
                  <a:pt x="2715" y="263"/>
                </a:cubicBezTo>
                <a:cubicBezTo>
                  <a:pt x="2723" y="263"/>
                  <a:pt x="2723" y="263"/>
                  <a:pt x="2723" y="263"/>
                </a:cubicBezTo>
                <a:cubicBezTo>
                  <a:pt x="2723" y="274"/>
                  <a:pt x="2723" y="274"/>
                  <a:pt x="2723" y="274"/>
                </a:cubicBezTo>
                <a:moveTo>
                  <a:pt x="2743" y="112"/>
                </a:moveTo>
                <a:cubicBezTo>
                  <a:pt x="2752" y="112"/>
                  <a:pt x="2752" y="112"/>
                  <a:pt x="2752" y="112"/>
                </a:cubicBezTo>
                <a:cubicBezTo>
                  <a:pt x="2752" y="123"/>
                  <a:pt x="2752" y="123"/>
                  <a:pt x="2752" y="123"/>
                </a:cubicBezTo>
                <a:cubicBezTo>
                  <a:pt x="2743" y="123"/>
                  <a:pt x="2743" y="123"/>
                  <a:pt x="2743" y="123"/>
                </a:cubicBezTo>
                <a:cubicBezTo>
                  <a:pt x="2743" y="112"/>
                  <a:pt x="2743" y="112"/>
                  <a:pt x="2743" y="112"/>
                </a:cubicBezTo>
                <a:moveTo>
                  <a:pt x="2743" y="149"/>
                </a:moveTo>
                <a:cubicBezTo>
                  <a:pt x="2752" y="149"/>
                  <a:pt x="2752" y="149"/>
                  <a:pt x="2752" y="149"/>
                </a:cubicBezTo>
                <a:cubicBezTo>
                  <a:pt x="2752" y="159"/>
                  <a:pt x="2752" y="159"/>
                  <a:pt x="2752" y="159"/>
                </a:cubicBezTo>
                <a:cubicBezTo>
                  <a:pt x="2743" y="159"/>
                  <a:pt x="2743" y="159"/>
                  <a:pt x="2743" y="159"/>
                </a:cubicBezTo>
                <a:cubicBezTo>
                  <a:pt x="2743" y="149"/>
                  <a:pt x="2743" y="149"/>
                  <a:pt x="2743" y="149"/>
                </a:cubicBezTo>
                <a:moveTo>
                  <a:pt x="2723" y="203"/>
                </a:moveTo>
                <a:cubicBezTo>
                  <a:pt x="2732" y="203"/>
                  <a:pt x="2732" y="203"/>
                  <a:pt x="2732" y="203"/>
                </a:cubicBezTo>
                <a:cubicBezTo>
                  <a:pt x="2732" y="214"/>
                  <a:pt x="2732" y="214"/>
                  <a:pt x="2732" y="214"/>
                </a:cubicBezTo>
                <a:cubicBezTo>
                  <a:pt x="2723" y="214"/>
                  <a:pt x="2723" y="214"/>
                  <a:pt x="2723" y="214"/>
                </a:cubicBezTo>
                <a:cubicBezTo>
                  <a:pt x="2723" y="203"/>
                  <a:pt x="2723" y="203"/>
                  <a:pt x="2723" y="203"/>
                </a:cubicBezTo>
                <a:moveTo>
                  <a:pt x="2710" y="107"/>
                </a:moveTo>
                <a:cubicBezTo>
                  <a:pt x="2719" y="107"/>
                  <a:pt x="2719" y="107"/>
                  <a:pt x="2719" y="107"/>
                </a:cubicBezTo>
                <a:cubicBezTo>
                  <a:pt x="2719" y="117"/>
                  <a:pt x="2719" y="117"/>
                  <a:pt x="2719" y="117"/>
                </a:cubicBezTo>
                <a:cubicBezTo>
                  <a:pt x="2710" y="117"/>
                  <a:pt x="2710" y="117"/>
                  <a:pt x="2710" y="117"/>
                </a:cubicBezTo>
                <a:cubicBezTo>
                  <a:pt x="2710" y="107"/>
                  <a:pt x="2710" y="107"/>
                  <a:pt x="2710" y="107"/>
                </a:cubicBezTo>
                <a:moveTo>
                  <a:pt x="2710" y="173"/>
                </a:moveTo>
                <a:cubicBezTo>
                  <a:pt x="2719" y="173"/>
                  <a:pt x="2719" y="173"/>
                  <a:pt x="2719" y="173"/>
                </a:cubicBezTo>
                <a:cubicBezTo>
                  <a:pt x="2719" y="183"/>
                  <a:pt x="2719" y="183"/>
                  <a:pt x="2719" y="183"/>
                </a:cubicBezTo>
                <a:cubicBezTo>
                  <a:pt x="2710" y="183"/>
                  <a:pt x="2710" y="183"/>
                  <a:pt x="2710" y="183"/>
                </a:cubicBezTo>
                <a:cubicBezTo>
                  <a:pt x="2710" y="173"/>
                  <a:pt x="2710" y="173"/>
                  <a:pt x="2710" y="173"/>
                </a:cubicBezTo>
                <a:moveTo>
                  <a:pt x="2601" y="143"/>
                </a:moveTo>
                <a:cubicBezTo>
                  <a:pt x="2610" y="143"/>
                  <a:pt x="2610" y="143"/>
                  <a:pt x="2610" y="143"/>
                </a:cubicBezTo>
                <a:cubicBezTo>
                  <a:pt x="2610" y="154"/>
                  <a:pt x="2610" y="154"/>
                  <a:pt x="2610" y="154"/>
                </a:cubicBezTo>
                <a:cubicBezTo>
                  <a:pt x="2601" y="154"/>
                  <a:pt x="2601" y="154"/>
                  <a:pt x="2601" y="154"/>
                </a:cubicBezTo>
                <a:cubicBezTo>
                  <a:pt x="2601" y="143"/>
                  <a:pt x="2601" y="143"/>
                  <a:pt x="2601" y="143"/>
                </a:cubicBezTo>
                <a:moveTo>
                  <a:pt x="2593" y="167"/>
                </a:moveTo>
                <a:cubicBezTo>
                  <a:pt x="2601" y="167"/>
                  <a:pt x="2601" y="167"/>
                  <a:pt x="2601" y="167"/>
                </a:cubicBezTo>
                <a:cubicBezTo>
                  <a:pt x="2601" y="178"/>
                  <a:pt x="2601" y="178"/>
                  <a:pt x="2601" y="178"/>
                </a:cubicBezTo>
                <a:cubicBezTo>
                  <a:pt x="2593" y="178"/>
                  <a:pt x="2593" y="178"/>
                  <a:pt x="2593" y="178"/>
                </a:cubicBezTo>
                <a:cubicBezTo>
                  <a:pt x="2593" y="167"/>
                  <a:pt x="2593" y="167"/>
                  <a:pt x="2593" y="167"/>
                </a:cubicBezTo>
                <a:moveTo>
                  <a:pt x="2588" y="231"/>
                </a:moveTo>
                <a:cubicBezTo>
                  <a:pt x="2597" y="231"/>
                  <a:pt x="2597" y="231"/>
                  <a:pt x="2597" y="231"/>
                </a:cubicBezTo>
                <a:cubicBezTo>
                  <a:pt x="2597" y="242"/>
                  <a:pt x="2597" y="242"/>
                  <a:pt x="2597" y="242"/>
                </a:cubicBezTo>
                <a:cubicBezTo>
                  <a:pt x="2588" y="242"/>
                  <a:pt x="2588" y="242"/>
                  <a:pt x="2588" y="242"/>
                </a:cubicBezTo>
                <a:cubicBezTo>
                  <a:pt x="2588" y="231"/>
                  <a:pt x="2588" y="231"/>
                  <a:pt x="2588" y="231"/>
                </a:cubicBezTo>
                <a:moveTo>
                  <a:pt x="2573" y="143"/>
                </a:moveTo>
                <a:cubicBezTo>
                  <a:pt x="2582" y="143"/>
                  <a:pt x="2582" y="143"/>
                  <a:pt x="2582" y="143"/>
                </a:cubicBezTo>
                <a:cubicBezTo>
                  <a:pt x="2582" y="154"/>
                  <a:pt x="2582" y="154"/>
                  <a:pt x="2582" y="154"/>
                </a:cubicBezTo>
                <a:cubicBezTo>
                  <a:pt x="2573" y="154"/>
                  <a:pt x="2573" y="154"/>
                  <a:pt x="2573" y="154"/>
                </a:cubicBezTo>
                <a:cubicBezTo>
                  <a:pt x="2573" y="143"/>
                  <a:pt x="2573" y="143"/>
                  <a:pt x="2573" y="143"/>
                </a:cubicBezTo>
                <a:moveTo>
                  <a:pt x="2573" y="203"/>
                </a:moveTo>
                <a:cubicBezTo>
                  <a:pt x="2582" y="203"/>
                  <a:pt x="2582" y="203"/>
                  <a:pt x="2582" y="203"/>
                </a:cubicBezTo>
                <a:cubicBezTo>
                  <a:pt x="2582" y="214"/>
                  <a:pt x="2582" y="214"/>
                  <a:pt x="2582" y="214"/>
                </a:cubicBezTo>
                <a:cubicBezTo>
                  <a:pt x="2573" y="214"/>
                  <a:pt x="2573" y="214"/>
                  <a:pt x="2573" y="214"/>
                </a:cubicBezTo>
                <a:cubicBezTo>
                  <a:pt x="2573" y="203"/>
                  <a:pt x="2573" y="203"/>
                  <a:pt x="2573" y="203"/>
                </a:cubicBezTo>
                <a:moveTo>
                  <a:pt x="2516" y="212"/>
                </a:moveTo>
                <a:cubicBezTo>
                  <a:pt x="2534" y="212"/>
                  <a:pt x="2534" y="212"/>
                  <a:pt x="2534" y="212"/>
                </a:cubicBezTo>
                <a:cubicBezTo>
                  <a:pt x="2534" y="217"/>
                  <a:pt x="2534" y="217"/>
                  <a:pt x="2534" y="217"/>
                </a:cubicBezTo>
                <a:cubicBezTo>
                  <a:pt x="2516" y="217"/>
                  <a:pt x="2516" y="217"/>
                  <a:pt x="2516" y="217"/>
                </a:cubicBezTo>
                <a:cubicBezTo>
                  <a:pt x="2516" y="212"/>
                  <a:pt x="2516" y="212"/>
                  <a:pt x="2516" y="212"/>
                </a:cubicBezTo>
                <a:moveTo>
                  <a:pt x="2516" y="223"/>
                </a:moveTo>
                <a:cubicBezTo>
                  <a:pt x="2534" y="223"/>
                  <a:pt x="2534" y="223"/>
                  <a:pt x="2534" y="223"/>
                </a:cubicBezTo>
                <a:cubicBezTo>
                  <a:pt x="2534" y="228"/>
                  <a:pt x="2534" y="228"/>
                  <a:pt x="2534" y="228"/>
                </a:cubicBezTo>
                <a:cubicBezTo>
                  <a:pt x="2516" y="228"/>
                  <a:pt x="2516" y="228"/>
                  <a:pt x="2516" y="228"/>
                </a:cubicBezTo>
                <a:cubicBezTo>
                  <a:pt x="2516" y="223"/>
                  <a:pt x="2516" y="223"/>
                  <a:pt x="2516" y="223"/>
                </a:cubicBezTo>
                <a:moveTo>
                  <a:pt x="2516" y="234"/>
                </a:moveTo>
                <a:cubicBezTo>
                  <a:pt x="2534" y="234"/>
                  <a:pt x="2534" y="234"/>
                  <a:pt x="2534" y="234"/>
                </a:cubicBezTo>
                <a:cubicBezTo>
                  <a:pt x="2534" y="238"/>
                  <a:pt x="2534" y="238"/>
                  <a:pt x="2534" y="238"/>
                </a:cubicBezTo>
                <a:cubicBezTo>
                  <a:pt x="2516" y="238"/>
                  <a:pt x="2516" y="238"/>
                  <a:pt x="2516" y="238"/>
                </a:cubicBezTo>
                <a:cubicBezTo>
                  <a:pt x="2516" y="234"/>
                  <a:pt x="2516" y="234"/>
                  <a:pt x="2516" y="234"/>
                </a:cubicBezTo>
                <a:moveTo>
                  <a:pt x="2516" y="244"/>
                </a:moveTo>
                <a:cubicBezTo>
                  <a:pt x="2534" y="244"/>
                  <a:pt x="2534" y="244"/>
                  <a:pt x="2534" y="244"/>
                </a:cubicBezTo>
                <a:cubicBezTo>
                  <a:pt x="2534" y="249"/>
                  <a:pt x="2534" y="249"/>
                  <a:pt x="2534" y="249"/>
                </a:cubicBezTo>
                <a:cubicBezTo>
                  <a:pt x="2516" y="249"/>
                  <a:pt x="2516" y="249"/>
                  <a:pt x="2516" y="249"/>
                </a:cubicBezTo>
                <a:cubicBezTo>
                  <a:pt x="2516" y="244"/>
                  <a:pt x="2516" y="244"/>
                  <a:pt x="2516" y="244"/>
                </a:cubicBezTo>
                <a:moveTo>
                  <a:pt x="2516" y="255"/>
                </a:moveTo>
                <a:cubicBezTo>
                  <a:pt x="2534" y="255"/>
                  <a:pt x="2534" y="255"/>
                  <a:pt x="2534" y="255"/>
                </a:cubicBezTo>
                <a:cubicBezTo>
                  <a:pt x="2534" y="260"/>
                  <a:pt x="2534" y="260"/>
                  <a:pt x="2534" y="260"/>
                </a:cubicBezTo>
                <a:cubicBezTo>
                  <a:pt x="2516" y="260"/>
                  <a:pt x="2516" y="260"/>
                  <a:pt x="2516" y="260"/>
                </a:cubicBezTo>
                <a:cubicBezTo>
                  <a:pt x="2516" y="255"/>
                  <a:pt x="2516" y="255"/>
                  <a:pt x="2516" y="255"/>
                </a:cubicBezTo>
                <a:moveTo>
                  <a:pt x="2516" y="266"/>
                </a:moveTo>
                <a:cubicBezTo>
                  <a:pt x="2534" y="266"/>
                  <a:pt x="2534" y="266"/>
                  <a:pt x="2534" y="266"/>
                </a:cubicBezTo>
                <a:cubicBezTo>
                  <a:pt x="2534" y="271"/>
                  <a:pt x="2534" y="271"/>
                  <a:pt x="2534" y="271"/>
                </a:cubicBezTo>
                <a:cubicBezTo>
                  <a:pt x="2516" y="271"/>
                  <a:pt x="2516" y="271"/>
                  <a:pt x="2516" y="271"/>
                </a:cubicBezTo>
                <a:cubicBezTo>
                  <a:pt x="2516" y="266"/>
                  <a:pt x="2516" y="266"/>
                  <a:pt x="2516" y="266"/>
                </a:cubicBezTo>
                <a:moveTo>
                  <a:pt x="2516" y="277"/>
                </a:moveTo>
                <a:cubicBezTo>
                  <a:pt x="2534" y="277"/>
                  <a:pt x="2534" y="277"/>
                  <a:pt x="2534" y="277"/>
                </a:cubicBezTo>
                <a:cubicBezTo>
                  <a:pt x="2534" y="282"/>
                  <a:pt x="2534" y="282"/>
                  <a:pt x="2534" y="282"/>
                </a:cubicBezTo>
                <a:cubicBezTo>
                  <a:pt x="2516" y="282"/>
                  <a:pt x="2516" y="282"/>
                  <a:pt x="2516" y="282"/>
                </a:cubicBezTo>
                <a:cubicBezTo>
                  <a:pt x="2516" y="277"/>
                  <a:pt x="2516" y="277"/>
                  <a:pt x="2516" y="277"/>
                </a:cubicBezTo>
                <a:moveTo>
                  <a:pt x="2516" y="288"/>
                </a:moveTo>
                <a:cubicBezTo>
                  <a:pt x="2534" y="288"/>
                  <a:pt x="2534" y="288"/>
                  <a:pt x="2534" y="288"/>
                </a:cubicBezTo>
                <a:cubicBezTo>
                  <a:pt x="2534" y="293"/>
                  <a:pt x="2534" y="293"/>
                  <a:pt x="2534" y="293"/>
                </a:cubicBezTo>
                <a:cubicBezTo>
                  <a:pt x="2516" y="293"/>
                  <a:pt x="2516" y="293"/>
                  <a:pt x="2516" y="293"/>
                </a:cubicBezTo>
                <a:cubicBezTo>
                  <a:pt x="2516" y="288"/>
                  <a:pt x="2516" y="288"/>
                  <a:pt x="2516" y="288"/>
                </a:cubicBezTo>
                <a:moveTo>
                  <a:pt x="2486" y="201"/>
                </a:moveTo>
                <a:cubicBezTo>
                  <a:pt x="2492" y="201"/>
                  <a:pt x="2492" y="201"/>
                  <a:pt x="2492" y="201"/>
                </a:cubicBezTo>
                <a:cubicBezTo>
                  <a:pt x="2492" y="208"/>
                  <a:pt x="2492" y="208"/>
                  <a:pt x="2492" y="208"/>
                </a:cubicBezTo>
                <a:cubicBezTo>
                  <a:pt x="2486" y="208"/>
                  <a:pt x="2486" y="208"/>
                  <a:pt x="2486" y="208"/>
                </a:cubicBezTo>
                <a:cubicBezTo>
                  <a:pt x="2486" y="201"/>
                  <a:pt x="2486" y="201"/>
                  <a:pt x="2486" y="201"/>
                </a:cubicBezTo>
                <a:moveTo>
                  <a:pt x="2486" y="236"/>
                </a:moveTo>
                <a:cubicBezTo>
                  <a:pt x="2492" y="236"/>
                  <a:pt x="2492" y="236"/>
                  <a:pt x="2492" y="236"/>
                </a:cubicBezTo>
                <a:cubicBezTo>
                  <a:pt x="2492" y="243"/>
                  <a:pt x="2492" y="243"/>
                  <a:pt x="2492" y="243"/>
                </a:cubicBezTo>
                <a:cubicBezTo>
                  <a:pt x="2486" y="243"/>
                  <a:pt x="2486" y="243"/>
                  <a:pt x="2486" y="243"/>
                </a:cubicBezTo>
                <a:cubicBezTo>
                  <a:pt x="2486" y="236"/>
                  <a:pt x="2486" y="236"/>
                  <a:pt x="2486" y="236"/>
                </a:cubicBezTo>
                <a:moveTo>
                  <a:pt x="2486" y="272"/>
                </a:moveTo>
                <a:cubicBezTo>
                  <a:pt x="2492" y="272"/>
                  <a:pt x="2492" y="272"/>
                  <a:pt x="2492" y="272"/>
                </a:cubicBezTo>
                <a:cubicBezTo>
                  <a:pt x="2492" y="279"/>
                  <a:pt x="2492" y="279"/>
                  <a:pt x="2492" y="279"/>
                </a:cubicBezTo>
                <a:cubicBezTo>
                  <a:pt x="2486" y="279"/>
                  <a:pt x="2486" y="279"/>
                  <a:pt x="2486" y="279"/>
                </a:cubicBezTo>
                <a:cubicBezTo>
                  <a:pt x="2486" y="272"/>
                  <a:pt x="2486" y="272"/>
                  <a:pt x="2486" y="272"/>
                </a:cubicBezTo>
                <a:moveTo>
                  <a:pt x="2473" y="185"/>
                </a:moveTo>
                <a:cubicBezTo>
                  <a:pt x="2479" y="185"/>
                  <a:pt x="2479" y="185"/>
                  <a:pt x="2479" y="185"/>
                </a:cubicBezTo>
                <a:cubicBezTo>
                  <a:pt x="2479" y="192"/>
                  <a:pt x="2479" y="192"/>
                  <a:pt x="2479" y="192"/>
                </a:cubicBezTo>
                <a:cubicBezTo>
                  <a:pt x="2473" y="192"/>
                  <a:pt x="2473" y="192"/>
                  <a:pt x="2473" y="192"/>
                </a:cubicBezTo>
                <a:cubicBezTo>
                  <a:pt x="2473" y="185"/>
                  <a:pt x="2473" y="185"/>
                  <a:pt x="2473" y="185"/>
                </a:cubicBezTo>
                <a:moveTo>
                  <a:pt x="2473" y="221"/>
                </a:moveTo>
                <a:cubicBezTo>
                  <a:pt x="2479" y="221"/>
                  <a:pt x="2479" y="221"/>
                  <a:pt x="2479" y="221"/>
                </a:cubicBezTo>
                <a:cubicBezTo>
                  <a:pt x="2479" y="228"/>
                  <a:pt x="2479" y="228"/>
                  <a:pt x="2479" y="228"/>
                </a:cubicBezTo>
                <a:cubicBezTo>
                  <a:pt x="2473" y="228"/>
                  <a:pt x="2473" y="228"/>
                  <a:pt x="2473" y="228"/>
                </a:cubicBezTo>
                <a:cubicBezTo>
                  <a:pt x="2473" y="221"/>
                  <a:pt x="2473" y="221"/>
                  <a:pt x="2473" y="221"/>
                </a:cubicBezTo>
                <a:moveTo>
                  <a:pt x="2473" y="256"/>
                </a:moveTo>
                <a:cubicBezTo>
                  <a:pt x="2479" y="256"/>
                  <a:pt x="2479" y="256"/>
                  <a:pt x="2479" y="256"/>
                </a:cubicBezTo>
                <a:cubicBezTo>
                  <a:pt x="2479" y="263"/>
                  <a:pt x="2479" y="263"/>
                  <a:pt x="2479" y="263"/>
                </a:cubicBezTo>
                <a:cubicBezTo>
                  <a:pt x="2473" y="263"/>
                  <a:pt x="2473" y="263"/>
                  <a:pt x="2473" y="263"/>
                </a:cubicBezTo>
                <a:cubicBezTo>
                  <a:pt x="2473" y="256"/>
                  <a:pt x="2473" y="256"/>
                  <a:pt x="2473" y="256"/>
                </a:cubicBezTo>
                <a:moveTo>
                  <a:pt x="2461" y="170"/>
                </a:moveTo>
                <a:cubicBezTo>
                  <a:pt x="2467" y="170"/>
                  <a:pt x="2467" y="170"/>
                  <a:pt x="2467" y="170"/>
                </a:cubicBezTo>
                <a:cubicBezTo>
                  <a:pt x="2467" y="177"/>
                  <a:pt x="2467" y="177"/>
                  <a:pt x="2467" y="177"/>
                </a:cubicBezTo>
                <a:cubicBezTo>
                  <a:pt x="2461" y="177"/>
                  <a:pt x="2461" y="177"/>
                  <a:pt x="2461" y="177"/>
                </a:cubicBezTo>
                <a:cubicBezTo>
                  <a:pt x="2461" y="170"/>
                  <a:pt x="2461" y="170"/>
                  <a:pt x="2461" y="170"/>
                </a:cubicBezTo>
                <a:moveTo>
                  <a:pt x="2461" y="205"/>
                </a:moveTo>
                <a:cubicBezTo>
                  <a:pt x="2467" y="205"/>
                  <a:pt x="2467" y="205"/>
                  <a:pt x="2467" y="205"/>
                </a:cubicBezTo>
                <a:cubicBezTo>
                  <a:pt x="2467" y="212"/>
                  <a:pt x="2467" y="212"/>
                  <a:pt x="2467" y="212"/>
                </a:cubicBezTo>
                <a:cubicBezTo>
                  <a:pt x="2461" y="212"/>
                  <a:pt x="2461" y="212"/>
                  <a:pt x="2461" y="212"/>
                </a:cubicBezTo>
                <a:cubicBezTo>
                  <a:pt x="2461" y="205"/>
                  <a:pt x="2461" y="205"/>
                  <a:pt x="2461" y="205"/>
                </a:cubicBezTo>
                <a:moveTo>
                  <a:pt x="2461" y="241"/>
                </a:moveTo>
                <a:cubicBezTo>
                  <a:pt x="2467" y="241"/>
                  <a:pt x="2467" y="241"/>
                  <a:pt x="2467" y="241"/>
                </a:cubicBezTo>
                <a:cubicBezTo>
                  <a:pt x="2467" y="248"/>
                  <a:pt x="2467" y="248"/>
                  <a:pt x="2467" y="248"/>
                </a:cubicBezTo>
                <a:cubicBezTo>
                  <a:pt x="2461" y="248"/>
                  <a:pt x="2461" y="248"/>
                  <a:pt x="2461" y="248"/>
                </a:cubicBezTo>
                <a:cubicBezTo>
                  <a:pt x="2461" y="241"/>
                  <a:pt x="2461" y="241"/>
                  <a:pt x="2461" y="241"/>
                </a:cubicBezTo>
                <a:moveTo>
                  <a:pt x="2461" y="276"/>
                </a:moveTo>
                <a:cubicBezTo>
                  <a:pt x="2467" y="276"/>
                  <a:pt x="2467" y="276"/>
                  <a:pt x="2467" y="276"/>
                </a:cubicBezTo>
                <a:cubicBezTo>
                  <a:pt x="2467" y="283"/>
                  <a:pt x="2467" y="283"/>
                  <a:pt x="2467" y="283"/>
                </a:cubicBezTo>
                <a:cubicBezTo>
                  <a:pt x="2461" y="283"/>
                  <a:pt x="2461" y="283"/>
                  <a:pt x="2461" y="283"/>
                </a:cubicBezTo>
                <a:cubicBezTo>
                  <a:pt x="2461" y="276"/>
                  <a:pt x="2461" y="276"/>
                  <a:pt x="2461" y="276"/>
                </a:cubicBezTo>
                <a:moveTo>
                  <a:pt x="27" y="272"/>
                </a:moveTo>
                <a:cubicBezTo>
                  <a:pt x="35" y="272"/>
                  <a:pt x="35" y="272"/>
                  <a:pt x="35" y="272"/>
                </a:cubicBezTo>
                <a:cubicBezTo>
                  <a:pt x="35" y="277"/>
                  <a:pt x="35" y="277"/>
                  <a:pt x="35" y="277"/>
                </a:cubicBezTo>
                <a:cubicBezTo>
                  <a:pt x="27" y="277"/>
                  <a:pt x="27" y="277"/>
                  <a:pt x="27" y="277"/>
                </a:cubicBezTo>
                <a:cubicBezTo>
                  <a:pt x="27" y="272"/>
                  <a:pt x="27" y="272"/>
                  <a:pt x="27" y="272"/>
                </a:cubicBezTo>
                <a:moveTo>
                  <a:pt x="27" y="295"/>
                </a:moveTo>
                <a:cubicBezTo>
                  <a:pt x="35" y="295"/>
                  <a:pt x="35" y="295"/>
                  <a:pt x="35" y="295"/>
                </a:cubicBezTo>
                <a:cubicBezTo>
                  <a:pt x="35" y="300"/>
                  <a:pt x="35" y="300"/>
                  <a:pt x="35" y="300"/>
                </a:cubicBezTo>
                <a:cubicBezTo>
                  <a:pt x="27" y="300"/>
                  <a:pt x="27" y="300"/>
                  <a:pt x="27" y="300"/>
                </a:cubicBezTo>
                <a:cubicBezTo>
                  <a:pt x="27" y="295"/>
                  <a:pt x="27" y="295"/>
                  <a:pt x="27" y="295"/>
                </a:cubicBezTo>
                <a:moveTo>
                  <a:pt x="38" y="340"/>
                </a:moveTo>
                <a:cubicBezTo>
                  <a:pt x="33" y="340"/>
                  <a:pt x="33" y="340"/>
                  <a:pt x="33" y="340"/>
                </a:cubicBezTo>
                <a:cubicBezTo>
                  <a:pt x="33" y="333"/>
                  <a:pt x="33" y="333"/>
                  <a:pt x="33" y="333"/>
                </a:cubicBezTo>
                <a:cubicBezTo>
                  <a:pt x="38" y="333"/>
                  <a:pt x="38" y="333"/>
                  <a:pt x="38" y="333"/>
                </a:cubicBezTo>
                <a:cubicBezTo>
                  <a:pt x="38" y="340"/>
                  <a:pt x="38" y="340"/>
                  <a:pt x="38" y="340"/>
                </a:cubicBezTo>
                <a:moveTo>
                  <a:pt x="40" y="251"/>
                </a:moveTo>
                <a:cubicBezTo>
                  <a:pt x="48" y="251"/>
                  <a:pt x="48" y="251"/>
                  <a:pt x="48" y="251"/>
                </a:cubicBezTo>
                <a:cubicBezTo>
                  <a:pt x="48" y="256"/>
                  <a:pt x="48" y="256"/>
                  <a:pt x="48" y="256"/>
                </a:cubicBezTo>
                <a:cubicBezTo>
                  <a:pt x="40" y="256"/>
                  <a:pt x="40" y="256"/>
                  <a:pt x="40" y="256"/>
                </a:cubicBezTo>
                <a:cubicBezTo>
                  <a:pt x="40" y="251"/>
                  <a:pt x="40" y="251"/>
                  <a:pt x="40" y="251"/>
                </a:cubicBezTo>
                <a:moveTo>
                  <a:pt x="52" y="287"/>
                </a:moveTo>
                <a:cubicBezTo>
                  <a:pt x="44" y="287"/>
                  <a:pt x="44" y="287"/>
                  <a:pt x="44" y="287"/>
                </a:cubicBezTo>
                <a:cubicBezTo>
                  <a:pt x="44" y="282"/>
                  <a:pt x="44" y="282"/>
                  <a:pt x="44" y="282"/>
                </a:cubicBezTo>
                <a:cubicBezTo>
                  <a:pt x="52" y="282"/>
                  <a:pt x="52" y="282"/>
                  <a:pt x="52" y="282"/>
                </a:cubicBezTo>
                <a:cubicBezTo>
                  <a:pt x="52" y="287"/>
                  <a:pt x="52" y="287"/>
                  <a:pt x="52" y="287"/>
                </a:cubicBezTo>
                <a:moveTo>
                  <a:pt x="73" y="337"/>
                </a:moveTo>
                <a:cubicBezTo>
                  <a:pt x="71" y="337"/>
                  <a:pt x="71" y="337"/>
                  <a:pt x="71" y="337"/>
                </a:cubicBezTo>
                <a:cubicBezTo>
                  <a:pt x="71" y="312"/>
                  <a:pt x="71" y="312"/>
                  <a:pt x="71" y="312"/>
                </a:cubicBezTo>
                <a:cubicBezTo>
                  <a:pt x="73" y="312"/>
                  <a:pt x="73" y="312"/>
                  <a:pt x="73" y="312"/>
                </a:cubicBezTo>
                <a:cubicBezTo>
                  <a:pt x="73" y="337"/>
                  <a:pt x="73" y="337"/>
                  <a:pt x="73" y="337"/>
                </a:cubicBezTo>
                <a:moveTo>
                  <a:pt x="77" y="295"/>
                </a:moveTo>
                <a:cubicBezTo>
                  <a:pt x="71" y="295"/>
                  <a:pt x="71" y="295"/>
                  <a:pt x="71" y="295"/>
                </a:cubicBezTo>
                <a:cubicBezTo>
                  <a:pt x="71" y="287"/>
                  <a:pt x="71" y="287"/>
                  <a:pt x="71" y="287"/>
                </a:cubicBezTo>
                <a:cubicBezTo>
                  <a:pt x="77" y="287"/>
                  <a:pt x="77" y="287"/>
                  <a:pt x="77" y="287"/>
                </a:cubicBezTo>
                <a:cubicBezTo>
                  <a:pt x="77" y="295"/>
                  <a:pt x="77" y="295"/>
                  <a:pt x="77" y="295"/>
                </a:cubicBezTo>
                <a:moveTo>
                  <a:pt x="89" y="263"/>
                </a:moveTo>
                <a:cubicBezTo>
                  <a:pt x="81" y="263"/>
                  <a:pt x="81" y="263"/>
                  <a:pt x="81" y="263"/>
                </a:cubicBezTo>
                <a:cubicBezTo>
                  <a:pt x="81" y="253"/>
                  <a:pt x="81" y="253"/>
                  <a:pt x="81" y="253"/>
                </a:cubicBezTo>
                <a:cubicBezTo>
                  <a:pt x="89" y="253"/>
                  <a:pt x="89" y="253"/>
                  <a:pt x="89" y="253"/>
                </a:cubicBezTo>
                <a:cubicBezTo>
                  <a:pt x="89" y="263"/>
                  <a:pt x="89" y="263"/>
                  <a:pt x="89" y="263"/>
                </a:cubicBezTo>
                <a:moveTo>
                  <a:pt x="89" y="245"/>
                </a:moveTo>
                <a:cubicBezTo>
                  <a:pt x="81" y="245"/>
                  <a:pt x="81" y="245"/>
                  <a:pt x="81" y="245"/>
                </a:cubicBezTo>
                <a:cubicBezTo>
                  <a:pt x="81" y="235"/>
                  <a:pt x="81" y="235"/>
                  <a:pt x="81" y="235"/>
                </a:cubicBezTo>
                <a:cubicBezTo>
                  <a:pt x="89" y="235"/>
                  <a:pt x="89" y="235"/>
                  <a:pt x="89" y="235"/>
                </a:cubicBezTo>
                <a:cubicBezTo>
                  <a:pt x="89" y="245"/>
                  <a:pt x="89" y="245"/>
                  <a:pt x="89" y="245"/>
                </a:cubicBezTo>
                <a:moveTo>
                  <a:pt x="89" y="226"/>
                </a:moveTo>
                <a:cubicBezTo>
                  <a:pt x="81" y="226"/>
                  <a:pt x="81" y="226"/>
                  <a:pt x="81" y="226"/>
                </a:cubicBezTo>
                <a:cubicBezTo>
                  <a:pt x="81" y="216"/>
                  <a:pt x="81" y="216"/>
                  <a:pt x="81" y="216"/>
                </a:cubicBezTo>
                <a:cubicBezTo>
                  <a:pt x="89" y="216"/>
                  <a:pt x="89" y="216"/>
                  <a:pt x="89" y="216"/>
                </a:cubicBezTo>
                <a:cubicBezTo>
                  <a:pt x="89" y="226"/>
                  <a:pt x="89" y="226"/>
                  <a:pt x="89" y="226"/>
                </a:cubicBezTo>
                <a:moveTo>
                  <a:pt x="89" y="208"/>
                </a:moveTo>
                <a:cubicBezTo>
                  <a:pt x="81" y="208"/>
                  <a:pt x="81" y="208"/>
                  <a:pt x="81" y="208"/>
                </a:cubicBezTo>
                <a:cubicBezTo>
                  <a:pt x="81" y="198"/>
                  <a:pt x="81" y="198"/>
                  <a:pt x="81" y="198"/>
                </a:cubicBezTo>
                <a:cubicBezTo>
                  <a:pt x="89" y="198"/>
                  <a:pt x="89" y="198"/>
                  <a:pt x="89" y="198"/>
                </a:cubicBezTo>
                <a:cubicBezTo>
                  <a:pt x="89" y="208"/>
                  <a:pt x="89" y="208"/>
                  <a:pt x="89" y="208"/>
                </a:cubicBezTo>
                <a:moveTo>
                  <a:pt x="99" y="300"/>
                </a:moveTo>
                <a:cubicBezTo>
                  <a:pt x="96" y="300"/>
                  <a:pt x="96" y="300"/>
                  <a:pt x="96" y="300"/>
                </a:cubicBezTo>
                <a:cubicBezTo>
                  <a:pt x="96" y="296"/>
                  <a:pt x="96" y="296"/>
                  <a:pt x="96" y="296"/>
                </a:cubicBezTo>
                <a:cubicBezTo>
                  <a:pt x="99" y="296"/>
                  <a:pt x="99" y="296"/>
                  <a:pt x="99" y="296"/>
                </a:cubicBezTo>
                <a:cubicBezTo>
                  <a:pt x="99" y="300"/>
                  <a:pt x="99" y="300"/>
                  <a:pt x="99" y="300"/>
                </a:cubicBezTo>
                <a:moveTo>
                  <a:pt x="104" y="281"/>
                </a:moveTo>
                <a:cubicBezTo>
                  <a:pt x="96" y="281"/>
                  <a:pt x="96" y="281"/>
                  <a:pt x="96" y="281"/>
                </a:cubicBezTo>
                <a:cubicBezTo>
                  <a:pt x="96" y="272"/>
                  <a:pt x="96" y="272"/>
                  <a:pt x="96" y="272"/>
                </a:cubicBezTo>
                <a:cubicBezTo>
                  <a:pt x="104" y="272"/>
                  <a:pt x="104" y="272"/>
                  <a:pt x="104" y="272"/>
                </a:cubicBezTo>
                <a:cubicBezTo>
                  <a:pt x="104" y="281"/>
                  <a:pt x="104" y="281"/>
                  <a:pt x="104" y="281"/>
                </a:cubicBezTo>
                <a:moveTo>
                  <a:pt x="104" y="263"/>
                </a:moveTo>
                <a:cubicBezTo>
                  <a:pt x="96" y="263"/>
                  <a:pt x="96" y="263"/>
                  <a:pt x="96" y="263"/>
                </a:cubicBezTo>
                <a:cubicBezTo>
                  <a:pt x="96" y="253"/>
                  <a:pt x="96" y="253"/>
                  <a:pt x="96" y="253"/>
                </a:cubicBezTo>
                <a:cubicBezTo>
                  <a:pt x="104" y="253"/>
                  <a:pt x="104" y="253"/>
                  <a:pt x="104" y="253"/>
                </a:cubicBezTo>
                <a:cubicBezTo>
                  <a:pt x="104" y="263"/>
                  <a:pt x="104" y="263"/>
                  <a:pt x="104" y="263"/>
                </a:cubicBezTo>
                <a:moveTo>
                  <a:pt x="104" y="245"/>
                </a:moveTo>
                <a:cubicBezTo>
                  <a:pt x="96" y="245"/>
                  <a:pt x="96" y="245"/>
                  <a:pt x="96" y="245"/>
                </a:cubicBezTo>
                <a:cubicBezTo>
                  <a:pt x="96" y="235"/>
                  <a:pt x="96" y="235"/>
                  <a:pt x="96" y="235"/>
                </a:cubicBezTo>
                <a:cubicBezTo>
                  <a:pt x="104" y="235"/>
                  <a:pt x="104" y="235"/>
                  <a:pt x="104" y="235"/>
                </a:cubicBezTo>
                <a:cubicBezTo>
                  <a:pt x="104" y="245"/>
                  <a:pt x="104" y="245"/>
                  <a:pt x="104" y="245"/>
                </a:cubicBezTo>
                <a:moveTo>
                  <a:pt x="104" y="226"/>
                </a:moveTo>
                <a:cubicBezTo>
                  <a:pt x="96" y="226"/>
                  <a:pt x="96" y="226"/>
                  <a:pt x="96" y="226"/>
                </a:cubicBezTo>
                <a:cubicBezTo>
                  <a:pt x="96" y="216"/>
                  <a:pt x="96" y="216"/>
                  <a:pt x="96" y="216"/>
                </a:cubicBezTo>
                <a:cubicBezTo>
                  <a:pt x="104" y="216"/>
                  <a:pt x="104" y="216"/>
                  <a:pt x="104" y="216"/>
                </a:cubicBezTo>
                <a:cubicBezTo>
                  <a:pt x="104" y="226"/>
                  <a:pt x="104" y="226"/>
                  <a:pt x="104" y="226"/>
                </a:cubicBezTo>
                <a:moveTo>
                  <a:pt x="104" y="208"/>
                </a:moveTo>
                <a:cubicBezTo>
                  <a:pt x="96" y="208"/>
                  <a:pt x="96" y="208"/>
                  <a:pt x="96" y="208"/>
                </a:cubicBezTo>
                <a:cubicBezTo>
                  <a:pt x="96" y="198"/>
                  <a:pt x="96" y="198"/>
                  <a:pt x="96" y="198"/>
                </a:cubicBezTo>
                <a:cubicBezTo>
                  <a:pt x="104" y="198"/>
                  <a:pt x="104" y="198"/>
                  <a:pt x="104" y="198"/>
                </a:cubicBezTo>
                <a:cubicBezTo>
                  <a:pt x="104" y="208"/>
                  <a:pt x="104" y="208"/>
                  <a:pt x="104" y="208"/>
                </a:cubicBezTo>
                <a:moveTo>
                  <a:pt x="114" y="295"/>
                </a:moveTo>
                <a:cubicBezTo>
                  <a:pt x="110" y="295"/>
                  <a:pt x="110" y="295"/>
                  <a:pt x="110" y="295"/>
                </a:cubicBezTo>
                <a:cubicBezTo>
                  <a:pt x="110" y="287"/>
                  <a:pt x="110" y="287"/>
                  <a:pt x="110" y="287"/>
                </a:cubicBezTo>
                <a:cubicBezTo>
                  <a:pt x="114" y="287"/>
                  <a:pt x="114" y="287"/>
                  <a:pt x="114" y="287"/>
                </a:cubicBezTo>
                <a:cubicBezTo>
                  <a:pt x="114" y="295"/>
                  <a:pt x="114" y="295"/>
                  <a:pt x="114" y="295"/>
                </a:cubicBezTo>
                <a:moveTo>
                  <a:pt x="119" y="268"/>
                </a:moveTo>
                <a:cubicBezTo>
                  <a:pt x="118" y="268"/>
                  <a:pt x="118" y="268"/>
                  <a:pt x="118" y="268"/>
                </a:cubicBezTo>
                <a:cubicBezTo>
                  <a:pt x="118" y="261"/>
                  <a:pt x="118" y="261"/>
                  <a:pt x="118" y="261"/>
                </a:cubicBezTo>
                <a:cubicBezTo>
                  <a:pt x="119" y="261"/>
                  <a:pt x="119" y="261"/>
                  <a:pt x="119" y="261"/>
                </a:cubicBezTo>
                <a:cubicBezTo>
                  <a:pt x="119" y="268"/>
                  <a:pt x="119" y="268"/>
                  <a:pt x="119" y="268"/>
                </a:cubicBezTo>
                <a:moveTo>
                  <a:pt x="124" y="232"/>
                </a:moveTo>
                <a:cubicBezTo>
                  <a:pt x="118" y="232"/>
                  <a:pt x="118" y="232"/>
                  <a:pt x="118" y="232"/>
                </a:cubicBezTo>
                <a:cubicBezTo>
                  <a:pt x="118" y="225"/>
                  <a:pt x="118" y="225"/>
                  <a:pt x="118" y="225"/>
                </a:cubicBezTo>
                <a:cubicBezTo>
                  <a:pt x="124" y="225"/>
                  <a:pt x="124" y="225"/>
                  <a:pt x="124" y="225"/>
                </a:cubicBezTo>
                <a:cubicBezTo>
                  <a:pt x="124" y="232"/>
                  <a:pt x="124" y="232"/>
                  <a:pt x="124" y="232"/>
                </a:cubicBezTo>
                <a:moveTo>
                  <a:pt x="124" y="197"/>
                </a:moveTo>
                <a:cubicBezTo>
                  <a:pt x="118" y="197"/>
                  <a:pt x="118" y="197"/>
                  <a:pt x="118" y="197"/>
                </a:cubicBezTo>
                <a:cubicBezTo>
                  <a:pt x="118" y="190"/>
                  <a:pt x="118" y="190"/>
                  <a:pt x="118" y="190"/>
                </a:cubicBezTo>
                <a:cubicBezTo>
                  <a:pt x="124" y="190"/>
                  <a:pt x="124" y="190"/>
                  <a:pt x="124" y="190"/>
                </a:cubicBezTo>
                <a:cubicBezTo>
                  <a:pt x="124" y="197"/>
                  <a:pt x="124" y="197"/>
                  <a:pt x="124" y="197"/>
                </a:cubicBezTo>
                <a:moveTo>
                  <a:pt x="124" y="161"/>
                </a:moveTo>
                <a:cubicBezTo>
                  <a:pt x="118" y="161"/>
                  <a:pt x="118" y="161"/>
                  <a:pt x="118" y="161"/>
                </a:cubicBezTo>
                <a:cubicBezTo>
                  <a:pt x="118" y="154"/>
                  <a:pt x="118" y="154"/>
                  <a:pt x="118" y="154"/>
                </a:cubicBezTo>
                <a:cubicBezTo>
                  <a:pt x="124" y="154"/>
                  <a:pt x="124" y="154"/>
                  <a:pt x="124" y="154"/>
                </a:cubicBezTo>
                <a:cubicBezTo>
                  <a:pt x="124" y="161"/>
                  <a:pt x="124" y="161"/>
                  <a:pt x="124" y="161"/>
                </a:cubicBezTo>
                <a:moveTo>
                  <a:pt x="137" y="283"/>
                </a:moveTo>
                <a:cubicBezTo>
                  <a:pt x="131" y="283"/>
                  <a:pt x="131" y="283"/>
                  <a:pt x="131" y="283"/>
                </a:cubicBezTo>
                <a:cubicBezTo>
                  <a:pt x="131" y="276"/>
                  <a:pt x="131" y="276"/>
                  <a:pt x="131" y="276"/>
                </a:cubicBezTo>
                <a:cubicBezTo>
                  <a:pt x="137" y="276"/>
                  <a:pt x="137" y="276"/>
                  <a:pt x="137" y="276"/>
                </a:cubicBezTo>
                <a:cubicBezTo>
                  <a:pt x="137" y="283"/>
                  <a:pt x="137" y="283"/>
                  <a:pt x="137" y="283"/>
                </a:cubicBezTo>
                <a:moveTo>
                  <a:pt x="137" y="248"/>
                </a:moveTo>
                <a:cubicBezTo>
                  <a:pt x="131" y="248"/>
                  <a:pt x="131" y="248"/>
                  <a:pt x="131" y="248"/>
                </a:cubicBezTo>
                <a:cubicBezTo>
                  <a:pt x="131" y="241"/>
                  <a:pt x="131" y="241"/>
                  <a:pt x="131" y="241"/>
                </a:cubicBezTo>
                <a:cubicBezTo>
                  <a:pt x="137" y="241"/>
                  <a:pt x="137" y="241"/>
                  <a:pt x="137" y="241"/>
                </a:cubicBezTo>
                <a:cubicBezTo>
                  <a:pt x="137" y="248"/>
                  <a:pt x="137" y="248"/>
                  <a:pt x="137" y="248"/>
                </a:cubicBezTo>
                <a:moveTo>
                  <a:pt x="137" y="212"/>
                </a:moveTo>
                <a:cubicBezTo>
                  <a:pt x="131" y="212"/>
                  <a:pt x="131" y="212"/>
                  <a:pt x="131" y="212"/>
                </a:cubicBezTo>
                <a:cubicBezTo>
                  <a:pt x="131" y="205"/>
                  <a:pt x="131" y="205"/>
                  <a:pt x="131" y="205"/>
                </a:cubicBezTo>
                <a:cubicBezTo>
                  <a:pt x="137" y="205"/>
                  <a:pt x="137" y="205"/>
                  <a:pt x="137" y="205"/>
                </a:cubicBezTo>
                <a:cubicBezTo>
                  <a:pt x="137" y="212"/>
                  <a:pt x="137" y="212"/>
                  <a:pt x="137" y="212"/>
                </a:cubicBezTo>
                <a:moveTo>
                  <a:pt x="137" y="177"/>
                </a:moveTo>
                <a:cubicBezTo>
                  <a:pt x="131" y="177"/>
                  <a:pt x="131" y="177"/>
                  <a:pt x="131" y="177"/>
                </a:cubicBezTo>
                <a:cubicBezTo>
                  <a:pt x="131" y="170"/>
                  <a:pt x="131" y="170"/>
                  <a:pt x="131" y="170"/>
                </a:cubicBezTo>
                <a:cubicBezTo>
                  <a:pt x="137" y="170"/>
                  <a:pt x="137" y="170"/>
                  <a:pt x="137" y="170"/>
                </a:cubicBezTo>
                <a:cubicBezTo>
                  <a:pt x="137" y="177"/>
                  <a:pt x="137" y="177"/>
                  <a:pt x="137" y="177"/>
                </a:cubicBezTo>
                <a:moveTo>
                  <a:pt x="149" y="299"/>
                </a:moveTo>
                <a:cubicBezTo>
                  <a:pt x="143" y="299"/>
                  <a:pt x="143" y="299"/>
                  <a:pt x="143" y="299"/>
                </a:cubicBezTo>
                <a:cubicBezTo>
                  <a:pt x="143" y="292"/>
                  <a:pt x="143" y="292"/>
                  <a:pt x="143" y="292"/>
                </a:cubicBezTo>
                <a:cubicBezTo>
                  <a:pt x="149" y="292"/>
                  <a:pt x="149" y="292"/>
                  <a:pt x="149" y="292"/>
                </a:cubicBezTo>
                <a:cubicBezTo>
                  <a:pt x="149" y="299"/>
                  <a:pt x="149" y="299"/>
                  <a:pt x="149" y="299"/>
                </a:cubicBezTo>
                <a:moveTo>
                  <a:pt x="149" y="263"/>
                </a:moveTo>
                <a:cubicBezTo>
                  <a:pt x="143" y="263"/>
                  <a:pt x="143" y="263"/>
                  <a:pt x="143" y="263"/>
                </a:cubicBezTo>
                <a:cubicBezTo>
                  <a:pt x="143" y="256"/>
                  <a:pt x="143" y="256"/>
                  <a:pt x="143" y="256"/>
                </a:cubicBezTo>
                <a:cubicBezTo>
                  <a:pt x="149" y="256"/>
                  <a:pt x="149" y="256"/>
                  <a:pt x="149" y="256"/>
                </a:cubicBezTo>
                <a:cubicBezTo>
                  <a:pt x="149" y="263"/>
                  <a:pt x="149" y="263"/>
                  <a:pt x="149" y="263"/>
                </a:cubicBezTo>
                <a:moveTo>
                  <a:pt x="149" y="228"/>
                </a:moveTo>
                <a:cubicBezTo>
                  <a:pt x="143" y="228"/>
                  <a:pt x="143" y="228"/>
                  <a:pt x="143" y="228"/>
                </a:cubicBezTo>
                <a:cubicBezTo>
                  <a:pt x="143" y="221"/>
                  <a:pt x="143" y="221"/>
                  <a:pt x="143" y="221"/>
                </a:cubicBezTo>
                <a:cubicBezTo>
                  <a:pt x="149" y="221"/>
                  <a:pt x="149" y="221"/>
                  <a:pt x="149" y="221"/>
                </a:cubicBezTo>
                <a:cubicBezTo>
                  <a:pt x="149" y="228"/>
                  <a:pt x="149" y="228"/>
                  <a:pt x="149" y="228"/>
                </a:cubicBezTo>
                <a:moveTo>
                  <a:pt x="149" y="192"/>
                </a:moveTo>
                <a:cubicBezTo>
                  <a:pt x="143" y="192"/>
                  <a:pt x="143" y="192"/>
                  <a:pt x="143" y="192"/>
                </a:cubicBezTo>
                <a:cubicBezTo>
                  <a:pt x="143" y="185"/>
                  <a:pt x="143" y="185"/>
                  <a:pt x="143" y="185"/>
                </a:cubicBezTo>
                <a:cubicBezTo>
                  <a:pt x="149" y="185"/>
                  <a:pt x="149" y="185"/>
                  <a:pt x="149" y="185"/>
                </a:cubicBezTo>
                <a:cubicBezTo>
                  <a:pt x="149" y="192"/>
                  <a:pt x="149" y="192"/>
                  <a:pt x="149" y="192"/>
                </a:cubicBezTo>
                <a:moveTo>
                  <a:pt x="162" y="279"/>
                </a:moveTo>
                <a:cubicBezTo>
                  <a:pt x="156" y="279"/>
                  <a:pt x="156" y="279"/>
                  <a:pt x="156" y="279"/>
                </a:cubicBezTo>
                <a:cubicBezTo>
                  <a:pt x="156" y="272"/>
                  <a:pt x="156" y="272"/>
                  <a:pt x="156" y="272"/>
                </a:cubicBezTo>
                <a:cubicBezTo>
                  <a:pt x="162" y="272"/>
                  <a:pt x="162" y="272"/>
                  <a:pt x="162" y="272"/>
                </a:cubicBezTo>
                <a:cubicBezTo>
                  <a:pt x="162" y="279"/>
                  <a:pt x="162" y="279"/>
                  <a:pt x="162" y="279"/>
                </a:cubicBezTo>
                <a:moveTo>
                  <a:pt x="162" y="243"/>
                </a:moveTo>
                <a:cubicBezTo>
                  <a:pt x="156" y="243"/>
                  <a:pt x="156" y="243"/>
                  <a:pt x="156" y="243"/>
                </a:cubicBezTo>
                <a:cubicBezTo>
                  <a:pt x="156" y="236"/>
                  <a:pt x="156" y="236"/>
                  <a:pt x="156" y="236"/>
                </a:cubicBezTo>
                <a:cubicBezTo>
                  <a:pt x="162" y="236"/>
                  <a:pt x="162" y="236"/>
                  <a:pt x="162" y="236"/>
                </a:cubicBezTo>
                <a:cubicBezTo>
                  <a:pt x="162" y="243"/>
                  <a:pt x="162" y="243"/>
                  <a:pt x="162" y="243"/>
                </a:cubicBezTo>
                <a:moveTo>
                  <a:pt x="162" y="208"/>
                </a:moveTo>
                <a:cubicBezTo>
                  <a:pt x="156" y="208"/>
                  <a:pt x="156" y="208"/>
                  <a:pt x="156" y="208"/>
                </a:cubicBezTo>
                <a:cubicBezTo>
                  <a:pt x="156" y="201"/>
                  <a:pt x="156" y="201"/>
                  <a:pt x="156" y="201"/>
                </a:cubicBezTo>
                <a:cubicBezTo>
                  <a:pt x="162" y="201"/>
                  <a:pt x="162" y="201"/>
                  <a:pt x="162" y="201"/>
                </a:cubicBezTo>
                <a:cubicBezTo>
                  <a:pt x="162" y="208"/>
                  <a:pt x="162" y="208"/>
                  <a:pt x="162" y="208"/>
                </a:cubicBezTo>
                <a:moveTo>
                  <a:pt x="204" y="293"/>
                </a:moveTo>
                <a:cubicBezTo>
                  <a:pt x="186" y="293"/>
                  <a:pt x="186" y="293"/>
                  <a:pt x="186" y="293"/>
                </a:cubicBezTo>
                <a:cubicBezTo>
                  <a:pt x="186" y="288"/>
                  <a:pt x="186" y="288"/>
                  <a:pt x="186" y="288"/>
                </a:cubicBezTo>
                <a:cubicBezTo>
                  <a:pt x="204" y="288"/>
                  <a:pt x="204" y="288"/>
                  <a:pt x="204" y="288"/>
                </a:cubicBezTo>
                <a:cubicBezTo>
                  <a:pt x="204" y="293"/>
                  <a:pt x="204" y="293"/>
                  <a:pt x="204" y="293"/>
                </a:cubicBezTo>
                <a:moveTo>
                  <a:pt x="204" y="282"/>
                </a:moveTo>
                <a:cubicBezTo>
                  <a:pt x="186" y="282"/>
                  <a:pt x="186" y="282"/>
                  <a:pt x="186" y="282"/>
                </a:cubicBezTo>
                <a:cubicBezTo>
                  <a:pt x="186" y="277"/>
                  <a:pt x="186" y="277"/>
                  <a:pt x="186" y="277"/>
                </a:cubicBezTo>
                <a:cubicBezTo>
                  <a:pt x="204" y="277"/>
                  <a:pt x="204" y="277"/>
                  <a:pt x="204" y="277"/>
                </a:cubicBezTo>
                <a:cubicBezTo>
                  <a:pt x="204" y="282"/>
                  <a:pt x="204" y="282"/>
                  <a:pt x="204" y="282"/>
                </a:cubicBezTo>
                <a:moveTo>
                  <a:pt x="204" y="271"/>
                </a:moveTo>
                <a:cubicBezTo>
                  <a:pt x="186" y="271"/>
                  <a:pt x="186" y="271"/>
                  <a:pt x="186" y="271"/>
                </a:cubicBezTo>
                <a:cubicBezTo>
                  <a:pt x="186" y="266"/>
                  <a:pt x="186" y="266"/>
                  <a:pt x="186" y="266"/>
                </a:cubicBezTo>
                <a:cubicBezTo>
                  <a:pt x="204" y="266"/>
                  <a:pt x="204" y="266"/>
                  <a:pt x="204" y="266"/>
                </a:cubicBezTo>
                <a:cubicBezTo>
                  <a:pt x="204" y="271"/>
                  <a:pt x="204" y="271"/>
                  <a:pt x="204" y="271"/>
                </a:cubicBezTo>
                <a:moveTo>
                  <a:pt x="204" y="260"/>
                </a:moveTo>
                <a:cubicBezTo>
                  <a:pt x="186" y="260"/>
                  <a:pt x="186" y="260"/>
                  <a:pt x="186" y="260"/>
                </a:cubicBezTo>
                <a:cubicBezTo>
                  <a:pt x="186" y="255"/>
                  <a:pt x="186" y="255"/>
                  <a:pt x="186" y="255"/>
                </a:cubicBezTo>
                <a:cubicBezTo>
                  <a:pt x="204" y="255"/>
                  <a:pt x="204" y="255"/>
                  <a:pt x="204" y="255"/>
                </a:cubicBezTo>
                <a:cubicBezTo>
                  <a:pt x="204" y="260"/>
                  <a:pt x="204" y="260"/>
                  <a:pt x="204" y="260"/>
                </a:cubicBezTo>
                <a:moveTo>
                  <a:pt x="204" y="249"/>
                </a:moveTo>
                <a:cubicBezTo>
                  <a:pt x="186" y="249"/>
                  <a:pt x="186" y="249"/>
                  <a:pt x="186" y="249"/>
                </a:cubicBezTo>
                <a:cubicBezTo>
                  <a:pt x="186" y="244"/>
                  <a:pt x="186" y="244"/>
                  <a:pt x="186" y="244"/>
                </a:cubicBezTo>
                <a:cubicBezTo>
                  <a:pt x="204" y="244"/>
                  <a:pt x="204" y="244"/>
                  <a:pt x="204" y="244"/>
                </a:cubicBezTo>
                <a:cubicBezTo>
                  <a:pt x="204" y="249"/>
                  <a:pt x="204" y="249"/>
                  <a:pt x="204" y="249"/>
                </a:cubicBezTo>
                <a:moveTo>
                  <a:pt x="204" y="238"/>
                </a:moveTo>
                <a:cubicBezTo>
                  <a:pt x="186" y="238"/>
                  <a:pt x="186" y="238"/>
                  <a:pt x="186" y="238"/>
                </a:cubicBezTo>
                <a:cubicBezTo>
                  <a:pt x="186" y="234"/>
                  <a:pt x="186" y="234"/>
                  <a:pt x="186" y="234"/>
                </a:cubicBezTo>
                <a:cubicBezTo>
                  <a:pt x="204" y="234"/>
                  <a:pt x="204" y="234"/>
                  <a:pt x="204" y="234"/>
                </a:cubicBezTo>
                <a:cubicBezTo>
                  <a:pt x="204" y="238"/>
                  <a:pt x="204" y="238"/>
                  <a:pt x="204" y="238"/>
                </a:cubicBezTo>
                <a:moveTo>
                  <a:pt x="204" y="228"/>
                </a:moveTo>
                <a:cubicBezTo>
                  <a:pt x="186" y="228"/>
                  <a:pt x="186" y="228"/>
                  <a:pt x="186" y="228"/>
                </a:cubicBezTo>
                <a:cubicBezTo>
                  <a:pt x="186" y="223"/>
                  <a:pt x="186" y="223"/>
                  <a:pt x="186" y="223"/>
                </a:cubicBezTo>
                <a:cubicBezTo>
                  <a:pt x="204" y="223"/>
                  <a:pt x="204" y="223"/>
                  <a:pt x="204" y="223"/>
                </a:cubicBezTo>
                <a:cubicBezTo>
                  <a:pt x="204" y="228"/>
                  <a:pt x="204" y="228"/>
                  <a:pt x="204" y="228"/>
                </a:cubicBezTo>
                <a:moveTo>
                  <a:pt x="204" y="217"/>
                </a:moveTo>
                <a:cubicBezTo>
                  <a:pt x="186" y="217"/>
                  <a:pt x="186" y="217"/>
                  <a:pt x="186" y="217"/>
                </a:cubicBezTo>
                <a:cubicBezTo>
                  <a:pt x="186" y="212"/>
                  <a:pt x="186" y="212"/>
                  <a:pt x="186" y="212"/>
                </a:cubicBezTo>
                <a:cubicBezTo>
                  <a:pt x="204" y="212"/>
                  <a:pt x="204" y="212"/>
                  <a:pt x="204" y="212"/>
                </a:cubicBezTo>
                <a:cubicBezTo>
                  <a:pt x="204" y="217"/>
                  <a:pt x="204" y="217"/>
                  <a:pt x="204" y="217"/>
                </a:cubicBezTo>
                <a:moveTo>
                  <a:pt x="252" y="214"/>
                </a:moveTo>
                <a:cubicBezTo>
                  <a:pt x="243" y="214"/>
                  <a:pt x="243" y="214"/>
                  <a:pt x="243" y="214"/>
                </a:cubicBezTo>
                <a:cubicBezTo>
                  <a:pt x="243" y="203"/>
                  <a:pt x="243" y="203"/>
                  <a:pt x="243" y="203"/>
                </a:cubicBezTo>
                <a:cubicBezTo>
                  <a:pt x="252" y="203"/>
                  <a:pt x="252" y="203"/>
                  <a:pt x="252" y="203"/>
                </a:cubicBezTo>
                <a:cubicBezTo>
                  <a:pt x="252" y="214"/>
                  <a:pt x="252" y="214"/>
                  <a:pt x="252" y="214"/>
                </a:cubicBezTo>
                <a:moveTo>
                  <a:pt x="252" y="154"/>
                </a:moveTo>
                <a:cubicBezTo>
                  <a:pt x="243" y="154"/>
                  <a:pt x="243" y="154"/>
                  <a:pt x="243" y="154"/>
                </a:cubicBezTo>
                <a:cubicBezTo>
                  <a:pt x="243" y="143"/>
                  <a:pt x="243" y="143"/>
                  <a:pt x="243" y="143"/>
                </a:cubicBezTo>
                <a:cubicBezTo>
                  <a:pt x="252" y="143"/>
                  <a:pt x="252" y="143"/>
                  <a:pt x="252" y="143"/>
                </a:cubicBezTo>
                <a:cubicBezTo>
                  <a:pt x="252" y="154"/>
                  <a:pt x="252" y="154"/>
                  <a:pt x="252" y="154"/>
                </a:cubicBezTo>
                <a:moveTo>
                  <a:pt x="267" y="242"/>
                </a:moveTo>
                <a:cubicBezTo>
                  <a:pt x="258" y="242"/>
                  <a:pt x="258" y="242"/>
                  <a:pt x="258" y="242"/>
                </a:cubicBezTo>
                <a:cubicBezTo>
                  <a:pt x="258" y="231"/>
                  <a:pt x="258" y="231"/>
                  <a:pt x="258" y="231"/>
                </a:cubicBezTo>
                <a:cubicBezTo>
                  <a:pt x="267" y="231"/>
                  <a:pt x="267" y="231"/>
                  <a:pt x="267" y="231"/>
                </a:cubicBezTo>
                <a:cubicBezTo>
                  <a:pt x="267" y="242"/>
                  <a:pt x="267" y="242"/>
                  <a:pt x="267" y="242"/>
                </a:cubicBezTo>
                <a:moveTo>
                  <a:pt x="271" y="178"/>
                </a:moveTo>
                <a:cubicBezTo>
                  <a:pt x="263" y="178"/>
                  <a:pt x="263" y="178"/>
                  <a:pt x="263" y="178"/>
                </a:cubicBezTo>
                <a:cubicBezTo>
                  <a:pt x="263" y="167"/>
                  <a:pt x="263" y="167"/>
                  <a:pt x="263" y="167"/>
                </a:cubicBezTo>
                <a:cubicBezTo>
                  <a:pt x="271" y="167"/>
                  <a:pt x="271" y="167"/>
                  <a:pt x="271" y="167"/>
                </a:cubicBezTo>
                <a:cubicBezTo>
                  <a:pt x="271" y="178"/>
                  <a:pt x="271" y="178"/>
                  <a:pt x="271" y="178"/>
                </a:cubicBezTo>
                <a:moveTo>
                  <a:pt x="280" y="154"/>
                </a:moveTo>
                <a:cubicBezTo>
                  <a:pt x="271" y="154"/>
                  <a:pt x="271" y="154"/>
                  <a:pt x="271" y="154"/>
                </a:cubicBezTo>
                <a:cubicBezTo>
                  <a:pt x="271" y="143"/>
                  <a:pt x="271" y="143"/>
                  <a:pt x="271" y="143"/>
                </a:cubicBezTo>
                <a:cubicBezTo>
                  <a:pt x="280" y="143"/>
                  <a:pt x="280" y="143"/>
                  <a:pt x="280" y="143"/>
                </a:cubicBezTo>
                <a:cubicBezTo>
                  <a:pt x="280" y="154"/>
                  <a:pt x="280" y="154"/>
                  <a:pt x="280" y="154"/>
                </a:cubicBezTo>
                <a:moveTo>
                  <a:pt x="380" y="107"/>
                </a:moveTo>
                <a:cubicBezTo>
                  <a:pt x="389" y="107"/>
                  <a:pt x="389" y="107"/>
                  <a:pt x="389" y="107"/>
                </a:cubicBezTo>
                <a:cubicBezTo>
                  <a:pt x="389" y="117"/>
                  <a:pt x="389" y="117"/>
                  <a:pt x="389" y="117"/>
                </a:cubicBezTo>
                <a:cubicBezTo>
                  <a:pt x="380" y="117"/>
                  <a:pt x="380" y="117"/>
                  <a:pt x="380" y="117"/>
                </a:cubicBezTo>
                <a:cubicBezTo>
                  <a:pt x="380" y="107"/>
                  <a:pt x="380" y="107"/>
                  <a:pt x="380" y="107"/>
                </a:cubicBezTo>
                <a:moveTo>
                  <a:pt x="380" y="173"/>
                </a:moveTo>
                <a:cubicBezTo>
                  <a:pt x="389" y="173"/>
                  <a:pt x="389" y="173"/>
                  <a:pt x="389" y="173"/>
                </a:cubicBezTo>
                <a:cubicBezTo>
                  <a:pt x="389" y="183"/>
                  <a:pt x="389" y="183"/>
                  <a:pt x="389" y="183"/>
                </a:cubicBezTo>
                <a:cubicBezTo>
                  <a:pt x="380" y="183"/>
                  <a:pt x="380" y="183"/>
                  <a:pt x="380" y="183"/>
                </a:cubicBezTo>
                <a:cubicBezTo>
                  <a:pt x="380" y="173"/>
                  <a:pt x="380" y="173"/>
                  <a:pt x="380" y="173"/>
                </a:cubicBezTo>
                <a:moveTo>
                  <a:pt x="393" y="274"/>
                </a:moveTo>
                <a:cubicBezTo>
                  <a:pt x="385" y="274"/>
                  <a:pt x="385" y="274"/>
                  <a:pt x="385" y="274"/>
                </a:cubicBezTo>
                <a:cubicBezTo>
                  <a:pt x="385" y="263"/>
                  <a:pt x="385" y="263"/>
                  <a:pt x="385" y="263"/>
                </a:cubicBezTo>
                <a:cubicBezTo>
                  <a:pt x="393" y="263"/>
                  <a:pt x="393" y="263"/>
                  <a:pt x="393" y="263"/>
                </a:cubicBezTo>
                <a:cubicBezTo>
                  <a:pt x="393" y="274"/>
                  <a:pt x="393" y="274"/>
                  <a:pt x="393" y="274"/>
                </a:cubicBezTo>
                <a:moveTo>
                  <a:pt x="402" y="214"/>
                </a:moveTo>
                <a:cubicBezTo>
                  <a:pt x="393" y="214"/>
                  <a:pt x="393" y="214"/>
                  <a:pt x="393" y="214"/>
                </a:cubicBezTo>
                <a:cubicBezTo>
                  <a:pt x="393" y="203"/>
                  <a:pt x="393" y="203"/>
                  <a:pt x="393" y="203"/>
                </a:cubicBezTo>
                <a:cubicBezTo>
                  <a:pt x="402" y="203"/>
                  <a:pt x="402" y="203"/>
                  <a:pt x="402" y="203"/>
                </a:cubicBezTo>
                <a:cubicBezTo>
                  <a:pt x="402" y="214"/>
                  <a:pt x="402" y="214"/>
                  <a:pt x="402" y="214"/>
                </a:cubicBezTo>
                <a:moveTo>
                  <a:pt x="422" y="159"/>
                </a:moveTo>
                <a:cubicBezTo>
                  <a:pt x="413" y="159"/>
                  <a:pt x="413" y="159"/>
                  <a:pt x="413" y="159"/>
                </a:cubicBezTo>
                <a:cubicBezTo>
                  <a:pt x="413" y="149"/>
                  <a:pt x="413" y="149"/>
                  <a:pt x="413" y="149"/>
                </a:cubicBezTo>
                <a:cubicBezTo>
                  <a:pt x="422" y="149"/>
                  <a:pt x="422" y="149"/>
                  <a:pt x="422" y="149"/>
                </a:cubicBezTo>
                <a:cubicBezTo>
                  <a:pt x="422" y="159"/>
                  <a:pt x="422" y="159"/>
                  <a:pt x="422" y="159"/>
                </a:cubicBezTo>
                <a:moveTo>
                  <a:pt x="422" y="123"/>
                </a:moveTo>
                <a:cubicBezTo>
                  <a:pt x="413" y="123"/>
                  <a:pt x="413" y="123"/>
                  <a:pt x="413" y="123"/>
                </a:cubicBezTo>
                <a:cubicBezTo>
                  <a:pt x="413" y="112"/>
                  <a:pt x="413" y="112"/>
                  <a:pt x="413" y="112"/>
                </a:cubicBezTo>
                <a:cubicBezTo>
                  <a:pt x="422" y="112"/>
                  <a:pt x="422" y="112"/>
                  <a:pt x="422" y="112"/>
                </a:cubicBezTo>
                <a:cubicBezTo>
                  <a:pt x="422" y="123"/>
                  <a:pt x="422" y="123"/>
                  <a:pt x="422" y="123"/>
                </a:cubicBezTo>
                <a:moveTo>
                  <a:pt x="441" y="40"/>
                </a:moveTo>
                <a:cubicBezTo>
                  <a:pt x="506" y="40"/>
                  <a:pt x="506" y="40"/>
                  <a:pt x="506" y="40"/>
                </a:cubicBezTo>
                <a:cubicBezTo>
                  <a:pt x="506" y="41"/>
                  <a:pt x="506" y="41"/>
                  <a:pt x="507" y="42"/>
                </a:cubicBezTo>
                <a:cubicBezTo>
                  <a:pt x="507" y="47"/>
                  <a:pt x="507" y="47"/>
                  <a:pt x="507" y="47"/>
                </a:cubicBezTo>
                <a:cubicBezTo>
                  <a:pt x="441" y="47"/>
                  <a:pt x="441" y="47"/>
                  <a:pt x="441" y="47"/>
                </a:cubicBezTo>
                <a:cubicBezTo>
                  <a:pt x="441" y="40"/>
                  <a:pt x="441" y="40"/>
                  <a:pt x="441" y="40"/>
                </a:cubicBezTo>
                <a:moveTo>
                  <a:pt x="441" y="53"/>
                </a:moveTo>
                <a:cubicBezTo>
                  <a:pt x="507" y="53"/>
                  <a:pt x="507" y="53"/>
                  <a:pt x="507" y="53"/>
                </a:cubicBezTo>
                <a:cubicBezTo>
                  <a:pt x="507" y="60"/>
                  <a:pt x="507" y="60"/>
                  <a:pt x="507" y="60"/>
                </a:cubicBezTo>
                <a:cubicBezTo>
                  <a:pt x="441" y="60"/>
                  <a:pt x="441" y="60"/>
                  <a:pt x="441" y="60"/>
                </a:cubicBezTo>
                <a:cubicBezTo>
                  <a:pt x="441" y="53"/>
                  <a:pt x="441" y="53"/>
                  <a:pt x="441" y="53"/>
                </a:cubicBezTo>
                <a:moveTo>
                  <a:pt x="441" y="66"/>
                </a:moveTo>
                <a:cubicBezTo>
                  <a:pt x="507" y="66"/>
                  <a:pt x="507" y="66"/>
                  <a:pt x="507" y="66"/>
                </a:cubicBezTo>
                <a:cubicBezTo>
                  <a:pt x="507" y="73"/>
                  <a:pt x="507" y="73"/>
                  <a:pt x="507" y="73"/>
                </a:cubicBezTo>
                <a:cubicBezTo>
                  <a:pt x="441" y="73"/>
                  <a:pt x="441" y="73"/>
                  <a:pt x="441" y="73"/>
                </a:cubicBezTo>
                <a:cubicBezTo>
                  <a:pt x="441" y="66"/>
                  <a:pt x="441" y="66"/>
                  <a:pt x="441" y="66"/>
                </a:cubicBezTo>
                <a:moveTo>
                  <a:pt x="441" y="79"/>
                </a:moveTo>
                <a:cubicBezTo>
                  <a:pt x="507" y="79"/>
                  <a:pt x="507" y="79"/>
                  <a:pt x="507" y="79"/>
                </a:cubicBezTo>
                <a:cubicBezTo>
                  <a:pt x="507" y="86"/>
                  <a:pt x="507" y="86"/>
                  <a:pt x="507" y="86"/>
                </a:cubicBezTo>
                <a:cubicBezTo>
                  <a:pt x="441" y="86"/>
                  <a:pt x="441" y="86"/>
                  <a:pt x="441" y="86"/>
                </a:cubicBezTo>
                <a:cubicBezTo>
                  <a:pt x="441" y="79"/>
                  <a:pt x="441" y="79"/>
                  <a:pt x="441" y="79"/>
                </a:cubicBezTo>
                <a:moveTo>
                  <a:pt x="441" y="91"/>
                </a:moveTo>
                <a:cubicBezTo>
                  <a:pt x="507" y="91"/>
                  <a:pt x="507" y="91"/>
                  <a:pt x="507" y="91"/>
                </a:cubicBezTo>
                <a:cubicBezTo>
                  <a:pt x="507" y="98"/>
                  <a:pt x="507" y="98"/>
                  <a:pt x="507" y="98"/>
                </a:cubicBezTo>
                <a:cubicBezTo>
                  <a:pt x="441" y="98"/>
                  <a:pt x="441" y="98"/>
                  <a:pt x="441" y="98"/>
                </a:cubicBezTo>
                <a:cubicBezTo>
                  <a:pt x="441" y="91"/>
                  <a:pt x="441" y="91"/>
                  <a:pt x="441" y="91"/>
                </a:cubicBezTo>
                <a:moveTo>
                  <a:pt x="441" y="104"/>
                </a:moveTo>
                <a:cubicBezTo>
                  <a:pt x="507" y="104"/>
                  <a:pt x="507" y="104"/>
                  <a:pt x="507" y="104"/>
                </a:cubicBezTo>
                <a:cubicBezTo>
                  <a:pt x="507" y="111"/>
                  <a:pt x="507" y="111"/>
                  <a:pt x="507" y="111"/>
                </a:cubicBezTo>
                <a:cubicBezTo>
                  <a:pt x="441" y="111"/>
                  <a:pt x="441" y="111"/>
                  <a:pt x="441" y="111"/>
                </a:cubicBezTo>
                <a:cubicBezTo>
                  <a:pt x="441" y="104"/>
                  <a:pt x="441" y="104"/>
                  <a:pt x="441" y="104"/>
                </a:cubicBezTo>
                <a:moveTo>
                  <a:pt x="441" y="117"/>
                </a:moveTo>
                <a:cubicBezTo>
                  <a:pt x="507" y="117"/>
                  <a:pt x="507" y="117"/>
                  <a:pt x="507" y="117"/>
                </a:cubicBezTo>
                <a:cubicBezTo>
                  <a:pt x="507" y="124"/>
                  <a:pt x="507" y="124"/>
                  <a:pt x="507" y="124"/>
                </a:cubicBezTo>
                <a:cubicBezTo>
                  <a:pt x="441" y="124"/>
                  <a:pt x="441" y="124"/>
                  <a:pt x="441" y="124"/>
                </a:cubicBezTo>
                <a:cubicBezTo>
                  <a:pt x="441" y="117"/>
                  <a:pt x="441" y="117"/>
                  <a:pt x="441" y="117"/>
                </a:cubicBezTo>
                <a:moveTo>
                  <a:pt x="441" y="130"/>
                </a:moveTo>
                <a:cubicBezTo>
                  <a:pt x="507" y="130"/>
                  <a:pt x="507" y="130"/>
                  <a:pt x="507" y="130"/>
                </a:cubicBezTo>
                <a:cubicBezTo>
                  <a:pt x="507" y="137"/>
                  <a:pt x="507" y="137"/>
                  <a:pt x="507" y="137"/>
                </a:cubicBezTo>
                <a:cubicBezTo>
                  <a:pt x="441" y="137"/>
                  <a:pt x="441" y="137"/>
                  <a:pt x="441" y="137"/>
                </a:cubicBezTo>
                <a:cubicBezTo>
                  <a:pt x="441" y="130"/>
                  <a:pt x="441" y="130"/>
                  <a:pt x="441" y="130"/>
                </a:cubicBezTo>
                <a:moveTo>
                  <a:pt x="441" y="142"/>
                </a:moveTo>
                <a:cubicBezTo>
                  <a:pt x="507" y="142"/>
                  <a:pt x="507" y="142"/>
                  <a:pt x="507" y="142"/>
                </a:cubicBezTo>
                <a:cubicBezTo>
                  <a:pt x="507" y="150"/>
                  <a:pt x="507" y="150"/>
                  <a:pt x="507" y="150"/>
                </a:cubicBezTo>
                <a:cubicBezTo>
                  <a:pt x="441" y="150"/>
                  <a:pt x="441" y="150"/>
                  <a:pt x="441" y="150"/>
                </a:cubicBezTo>
                <a:cubicBezTo>
                  <a:pt x="441" y="142"/>
                  <a:pt x="441" y="142"/>
                  <a:pt x="441" y="142"/>
                </a:cubicBezTo>
                <a:moveTo>
                  <a:pt x="441" y="155"/>
                </a:moveTo>
                <a:cubicBezTo>
                  <a:pt x="507" y="155"/>
                  <a:pt x="507" y="155"/>
                  <a:pt x="507" y="155"/>
                </a:cubicBezTo>
                <a:cubicBezTo>
                  <a:pt x="507" y="162"/>
                  <a:pt x="507" y="162"/>
                  <a:pt x="507" y="162"/>
                </a:cubicBezTo>
                <a:cubicBezTo>
                  <a:pt x="441" y="162"/>
                  <a:pt x="441" y="162"/>
                  <a:pt x="441" y="162"/>
                </a:cubicBezTo>
                <a:cubicBezTo>
                  <a:pt x="441" y="155"/>
                  <a:pt x="441" y="155"/>
                  <a:pt x="441" y="155"/>
                </a:cubicBezTo>
                <a:moveTo>
                  <a:pt x="480" y="201"/>
                </a:moveTo>
                <a:cubicBezTo>
                  <a:pt x="480" y="194"/>
                  <a:pt x="480" y="194"/>
                  <a:pt x="480" y="194"/>
                </a:cubicBezTo>
                <a:cubicBezTo>
                  <a:pt x="507" y="194"/>
                  <a:pt x="507" y="194"/>
                  <a:pt x="507" y="194"/>
                </a:cubicBezTo>
                <a:cubicBezTo>
                  <a:pt x="507" y="201"/>
                  <a:pt x="507" y="201"/>
                  <a:pt x="507" y="201"/>
                </a:cubicBezTo>
                <a:cubicBezTo>
                  <a:pt x="480" y="201"/>
                  <a:pt x="480" y="201"/>
                  <a:pt x="480" y="201"/>
                </a:cubicBezTo>
                <a:moveTo>
                  <a:pt x="492" y="205"/>
                </a:moveTo>
                <a:cubicBezTo>
                  <a:pt x="492" y="231"/>
                  <a:pt x="492" y="231"/>
                  <a:pt x="492" y="231"/>
                </a:cubicBezTo>
                <a:cubicBezTo>
                  <a:pt x="480" y="231"/>
                  <a:pt x="480" y="231"/>
                  <a:pt x="480" y="231"/>
                </a:cubicBezTo>
                <a:cubicBezTo>
                  <a:pt x="480" y="205"/>
                  <a:pt x="480" y="205"/>
                  <a:pt x="480" y="205"/>
                </a:cubicBezTo>
                <a:cubicBezTo>
                  <a:pt x="492" y="205"/>
                  <a:pt x="492" y="205"/>
                  <a:pt x="492" y="205"/>
                </a:cubicBezTo>
                <a:moveTo>
                  <a:pt x="480" y="188"/>
                </a:moveTo>
                <a:cubicBezTo>
                  <a:pt x="480" y="181"/>
                  <a:pt x="480" y="181"/>
                  <a:pt x="480" y="181"/>
                </a:cubicBezTo>
                <a:cubicBezTo>
                  <a:pt x="507" y="181"/>
                  <a:pt x="507" y="181"/>
                  <a:pt x="507" y="181"/>
                </a:cubicBezTo>
                <a:cubicBezTo>
                  <a:pt x="507" y="188"/>
                  <a:pt x="507" y="188"/>
                  <a:pt x="507" y="188"/>
                </a:cubicBezTo>
                <a:cubicBezTo>
                  <a:pt x="480" y="188"/>
                  <a:pt x="480" y="188"/>
                  <a:pt x="480" y="188"/>
                </a:cubicBezTo>
                <a:moveTo>
                  <a:pt x="480" y="175"/>
                </a:moveTo>
                <a:cubicBezTo>
                  <a:pt x="480" y="168"/>
                  <a:pt x="480" y="168"/>
                  <a:pt x="480" y="168"/>
                </a:cubicBezTo>
                <a:cubicBezTo>
                  <a:pt x="507" y="168"/>
                  <a:pt x="507" y="168"/>
                  <a:pt x="507" y="168"/>
                </a:cubicBezTo>
                <a:cubicBezTo>
                  <a:pt x="507" y="175"/>
                  <a:pt x="507" y="175"/>
                  <a:pt x="507" y="175"/>
                </a:cubicBezTo>
                <a:cubicBezTo>
                  <a:pt x="480" y="175"/>
                  <a:pt x="480" y="175"/>
                  <a:pt x="480" y="175"/>
                </a:cubicBezTo>
                <a:moveTo>
                  <a:pt x="457" y="303"/>
                </a:moveTo>
                <a:cubicBezTo>
                  <a:pt x="438" y="303"/>
                  <a:pt x="438" y="303"/>
                  <a:pt x="438" y="303"/>
                </a:cubicBezTo>
                <a:cubicBezTo>
                  <a:pt x="438" y="231"/>
                  <a:pt x="438" y="231"/>
                  <a:pt x="438" y="231"/>
                </a:cubicBezTo>
                <a:cubicBezTo>
                  <a:pt x="457" y="231"/>
                  <a:pt x="457" y="231"/>
                  <a:pt x="457" y="231"/>
                </a:cubicBezTo>
                <a:cubicBezTo>
                  <a:pt x="457" y="303"/>
                  <a:pt x="457" y="303"/>
                  <a:pt x="457" y="303"/>
                </a:cubicBezTo>
                <a:moveTo>
                  <a:pt x="457" y="231"/>
                </a:moveTo>
                <a:cubicBezTo>
                  <a:pt x="455" y="231"/>
                  <a:pt x="455" y="231"/>
                  <a:pt x="455" y="231"/>
                </a:cubicBezTo>
                <a:cubicBezTo>
                  <a:pt x="455" y="205"/>
                  <a:pt x="455" y="205"/>
                  <a:pt x="455" y="205"/>
                </a:cubicBezTo>
                <a:cubicBezTo>
                  <a:pt x="457" y="205"/>
                  <a:pt x="457" y="205"/>
                  <a:pt x="457" y="205"/>
                </a:cubicBezTo>
                <a:cubicBezTo>
                  <a:pt x="457" y="231"/>
                  <a:pt x="457" y="231"/>
                  <a:pt x="457" y="231"/>
                </a:cubicBezTo>
                <a:moveTo>
                  <a:pt x="457" y="201"/>
                </a:moveTo>
                <a:cubicBezTo>
                  <a:pt x="441" y="201"/>
                  <a:pt x="441" y="201"/>
                  <a:pt x="441" y="201"/>
                </a:cubicBezTo>
                <a:cubicBezTo>
                  <a:pt x="441" y="194"/>
                  <a:pt x="441" y="194"/>
                  <a:pt x="441" y="194"/>
                </a:cubicBezTo>
                <a:cubicBezTo>
                  <a:pt x="457" y="194"/>
                  <a:pt x="457" y="194"/>
                  <a:pt x="457" y="194"/>
                </a:cubicBezTo>
                <a:cubicBezTo>
                  <a:pt x="457" y="201"/>
                  <a:pt x="457" y="201"/>
                  <a:pt x="457" y="201"/>
                </a:cubicBezTo>
                <a:moveTo>
                  <a:pt x="457" y="188"/>
                </a:moveTo>
                <a:cubicBezTo>
                  <a:pt x="441" y="188"/>
                  <a:pt x="441" y="188"/>
                  <a:pt x="441" y="188"/>
                </a:cubicBezTo>
                <a:cubicBezTo>
                  <a:pt x="441" y="181"/>
                  <a:pt x="441" y="181"/>
                  <a:pt x="441" y="181"/>
                </a:cubicBezTo>
                <a:cubicBezTo>
                  <a:pt x="457" y="181"/>
                  <a:pt x="457" y="181"/>
                  <a:pt x="457" y="181"/>
                </a:cubicBezTo>
                <a:cubicBezTo>
                  <a:pt x="457" y="188"/>
                  <a:pt x="457" y="188"/>
                  <a:pt x="457" y="188"/>
                </a:cubicBezTo>
                <a:moveTo>
                  <a:pt x="457" y="175"/>
                </a:moveTo>
                <a:cubicBezTo>
                  <a:pt x="441" y="175"/>
                  <a:pt x="441" y="175"/>
                  <a:pt x="441" y="175"/>
                </a:cubicBezTo>
                <a:cubicBezTo>
                  <a:pt x="441" y="168"/>
                  <a:pt x="441" y="168"/>
                  <a:pt x="441" y="168"/>
                </a:cubicBezTo>
                <a:cubicBezTo>
                  <a:pt x="457" y="168"/>
                  <a:pt x="457" y="168"/>
                  <a:pt x="457" y="168"/>
                </a:cubicBezTo>
                <a:cubicBezTo>
                  <a:pt x="457" y="175"/>
                  <a:pt x="457" y="175"/>
                  <a:pt x="457" y="175"/>
                </a:cubicBezTo>
                <a:moveTo>
                  <a:pt x="481" y="303"/>
                </a:moveTo>
                <a:cubicBezTo>
                  <a:pt x="469" y="303"/>
                  <a:pt x="469" y="303"/>
                  <a:pt x="469" y="303"/>
                </a:cubicBezTo>
                <a:cubicBezTo>
                  <a:pt x="469" y="288"/>
                  <a:pt x="469" y="288"/>
                  <a:pt x="469" y="288"/>
                </a:cubicBezTo>
                <a:cubicBezTo>
                  <a:pt x="481" y="288"/>
                  <a:pt x="481" y="288"/>
                  <a:pt x="481" y="288"/>
                </a:cubicBezTo>
                <a:cubicBezTo>
                  <a:pt x="481" y="303"/>
                  <a:pt x="481" y="303"/>
                  <a:pt x="481" y="303"/>
                </a:cubicBezTo>
                <a:moveTo>
                  <a:pt x="517" y="283"/>
                </a:moveTo>
                <a:cubicBezTo>
                  <a:pt x="505" y="283"/>
                  <a:pt x="505" y="283"/>
                  <a:pt x="505" y="283"/>
                </a:cubicBezTo>
                <a:cubicBezTo>
                  <a:pt x="505" y="268"/>
                  <a:pt x="505" y="268"/>
                  <a:pt x="505" y="268"/>
                </a:cubicBezTo>
                <a:cubicBezTo>
                  <a:pt x="517" y="268"/>
                  <a:pt x="517" y="268"/>
                  <a:pt x="517" y="268"/>
                </a:cubicBezTo>
                <a:cubicBezTo>
                  <a:pt x="517" y="283"/>
                  <a:pt x="517" y="283"/>
                  <a:pt x="517" y="283"/>
                </a:cubicBezTo>
                <a:moveTo>
                  <a:pt x="517" y="236"/>
                </a:moveTo>
                <a:cubicBezTo>
                  <a:pt x="480" y="236"/>
                  <a:pt x="480" y="236"/>
                  <a:pt x="480" y="236"/>
                </a:cubicBezTo>
                <a:cubicBezTo>
                  <a:pt x="480" y="231"/>
                  <a:pt x="480" y="231"/>
                  <a:pt x="480" y="231"/>
                </a:cubicBezTo>
                <a:cubicBezTo>
                  <a:pt x="512" y="231"/>
                  <a:pt x="512" y="231"/>
                  <a:pt x="512" y="231"/>
                </a:cubicBezTo>
                <a:cubicBezTo>
                  <a:pt x="512" y="47"/>
                  <a:pt x="512" y="47"/>
                  <a:pt x="512" y="47"/>
                </a:cubicBezTo>
                <a:cubicBezTo>
                  <a:pt x="513" y="47"/>
                  <a:pt x="513" y="47"/>
                  <a:pt x="513" y="47"/>
                </a:cubicBezTo>
                <a:cubicBezTo>
                  <a:pt x="517" y="47"/>
                  <a:pt x="517" y="47"/>
                  <a:pt x="517" y="47"/>
                </a:cubicBezTo>
                <a:cubicBezTo>
                  <a:pt x="517" y="236"/>
                  <a:pt x="517" y="236"/>
                  <a:pt x="517" y="236"/>
                </a:cubicBezTo>
                <a:moveTo>
                  <a:pt x="572" y="290"/>
                </a:moveTo>
                <a:cubicBezTo>
                  <a:pt x="559" y="290"/>
                  <a:pt x="559" y="290"/>
                  <a:pt x="559" y="290"/>
                </a:cubicBezTo>
                <a:cubicBezTo>
                  <a:pt x="559" y="275"/>
                  <a:pt x="559" y="275"/>
                  <a:pt x="559" y="275"/>
                </a:cubicBezTo>
                <a:cubicBezTo>
                  <a:pt x="572" y="275"/>
                  <a:pt x="572" y="275"/>
                  <a:pt x="572" y="275"/>
                </a:cubicBezTo>
                <a:cubicBezTo>
                  <a:pt x="572" y="290"/>
                  <a:pt x="572" y="290"/>
                  <a:pt x="572" y="290"/>
                </a:cubicBezTo>
                <a:moveTo>
                  <a:pt x="587" y="236"/>
                </a:moveTo>
                <a:cubicBezTo>
                  <a:pt x="542" y="236"/>
                  <a:pt x="542" y="236"/>
                  <a:pt x="542" y="236"/>
                </a:cubicBezTo>
                <a:cubicBezTo>
                  <a:pt x="542" y="117"/>
                  <a:pt x="542" y="117"/>
                  <a:pt x="542" y="117"/>
                </a:cubicBezTo>
                <a:cubicBezTo>
                  <a:pt x="587" y="117"/>
                  <a:pt x="587" y="117"/>
                  <a:pt x="587" y="117"/>
                </a:cubicBezTo>
                <a:cubicBezTo>
                  <a:pt x="587" y="236"/>
                  <a:pt x="587" y="236"/>
                  <a:pt x="587" y="236"/>
                </a:cubicBezTo>
                <a:moveTo>
                  <a:pt x="595" y="60"/>
                </a:moveTo>
                <a:cubicBezTo>
                  <a:pt x="604" y="60"/>
                  <a:pt x="604" y="60"/>
                  <a:pt x="604" y="60"/>
                </a:cubicBezTo>
                <a:cubicBezTo>
                  <a:pt x="604" y="70"/>
                  <a:pt x="604" y="70"/>
                  <a:pt x="604" y="70"/>
                </a:cubicBezTo>
                <a:cubicBezTo>
                  <a:pt x="595" y="70"/>
                  <a:pt x="595" y="70"/>
                  <a:pt x="595" y="70"/>
                </a:cubicBezTo>
                <a:cubicBezTo>
                  <a:pt x="595" y="60"/>
                  <a:pt x="595" y="60"/>
                  <a:pt x="595" y="60"/>
                </a:cubicBezTo>
                <a:moveTo>
                  <a:pt x="599" y="165"/>
                </a:moveTo>
                <a:cubicBezTo>
                  <a:pt x="591" y="165"/>
                  <a:pt x="591" y="165"/>
                  <a:pt x="591" y="165"/>
                </a:cubicBezTo>
                <a:cubicBezTo>
                  <a:pt x="591" y="154"/>
                  <a:pt x="591" y="154"/>
                  <a:pt x="591" y="154"/>
                </a:cubicBezTo>
                <a:cubicBezTo>
                  <a:pt x="599" y="154"/>
                  <a:pt x="599" y="154"/>
                  <a:pt x="599" y="154"/>
                </a:cubicBezTo>
                <a:cubicBezTo>
                  <a:pt x="599" y="165"/>
                  <a:pt x="599" y="165"/>
                  <a:pt x="599" y="165"/>
                </a:cubicBezTo>
                <a:moveTo>
                  <a:pt x="599" y="107"/>
                </a:moveTo>
                <a:cubicBezTo>
                  <a:pt x="608" y="107"/>
                  <a:pt x="608" y="107"/>
                  <a:pt x="608" y="107"/>
                </a:cubicBezTo>
                <a:cubicBezTo>
                  <a:pt x="608" y="117"/>
                  <a:pt x="608" y="117"/>
                  <a:pt x="608" y="117"/>
                </a:cubicBezTo>
                <a:cubicBezTo>
                  <a:pt x="599" y="117"/>
                  <a:pt x="599" y="117"/>
                  <a:pt x="599" y="117"/>
                </a:cubicBezTo>
                <a:cubicBezTo>
                  <a:pt x="599" y="107"/>
                  <a:pt x="599" y="107"/>
                  <a:pt x="599" y="107"/>
                </a:cubicBezTo>
                <a:moveTo>
                  <a:pt x="614" y="263"/>
                </a:moveTo>
                <a:cubicBezTo>
                  <a:pt x="602" y="263"/>
                  <a:pt x="602" y="263"/>
                  <a:pt x="602" y="263"/>
                </a:cubicBezTo>
                <a:cubicBezTo>
                  <a:pt x="602" y="248"/>
                  <a:pt x="602" y="248"/>
                  <a:pt x="602" y="248"/>
                </a:cubicBezTo>
                <a:cubicBezTo>
                  <a:pt x="614" y="248"/>
                  <a:pt x="614" y="248"/>
                  <a:pt x="614" y="248"/>
                </a:cubicBezTo>
                <a:cubicBezTo>
                  <a:pt x="614" y="263"/>
                  <a:pt x="614" y="263"/>
                  <a:pt x="614" y="263"/>
                </a:cubicBezTo>
                <a:moveTo>
                  <a:pt x="618" y="186"/>
                </a:moveTo>
                <a:cubicBezTo>
                  <a:pt x="609" y="186"/>
                  <a:pt x="609" y="186"/>
                  <a:pt x="609" y="186"/>
                </a:cubicBezTo>
                <a:cubicBezTo>
                  <a:pt x="609" y="181"/>
                  <a:pt x="609" y="181"/>
                  <a:pt x="609" y="181"/>
                </a:cubicBezTo>
                <a:cubicBezTo>
                  <a:pt x="618" y="181"/>
                  <a:pt x="618" y="181"/>
                  <a:pt x="618" y="181"/>
                </a:cubicBezTo>
                <a:cubicBezTo>
                  <a:pt x="618" y="186"/>
                  <a:pt x="618" y="186"/>
                  <a:pt x="618" y="186"/>
                </a:cubicBezTo>
                <a:moveTo>
                  <a:pt x="669" y="154"/>
                </a:moveTo>
                <a:cubicBezTo>
                  <a:pt x="687" y="154"/>
                  <a:pt x="687" y="154"/>
                  <a:pt x="687" y="154"/>
                </a:cubicBezTo>
                <a:cubicBezTo>
                  <a:pt x="687" y="165"/>
                  <a:pt x="687" y="165"/>
                  <a:pt x="687" y="165"/>
                </a:cubicBezTo>
                <a:cubicBezTo>
                  <a:pt x="669" y="165"/>
                  <a:pt x="669" y="165"/>
                  <a:pt x="669" y="165"/>
                </a:cubicBezTo>
                <a:cubicBezTo>
                  <a:pt x="669" y="154"/>
                  <a:pt x="669" y="154"/>
                  <a:pt x="669" y="154"/>
                </a:cubicBezTo>
                <a:moveTo>
                  <a:pt x="669" y="203"/>
                </a:moveTo>
                <a:cubicBezTo>
                  <a:pt x="687" y="203"/>
                  <a:pt x="687" y="203"/>
                  <a:pt x="687" y="203"/>
                </a:cubicBezTo>
                <a:cubicBezTo>
                  <a:pt x="687" y="214"/>
                  <a:pt x="687" y="214"/>
                  <a:pt x="687" y="214"/>
                </a:cubicBezTo>
                <a:cubicBezTo>
                  <a:pt x="669" y="214"/>
                  <a:pt x="669" y="214"/>
                  <a:pt x="669" y="214"/>
                </a:cubicBezTo>
                <a:cubicBezTo>
                  <a:pt x="669" y="203"/>
                  <a:pt x="669" y="203"/>
                  <a:pt x="669" y="203"/>
                </a:cubicBezTo>
                <a:moveTo>
                  <a:pt x="695" y="303"/>
                </a:moveTo>
                <a:cubicBezTo>
                  <a:pt x="683" y="303"/>
                  <a:pt x="683" y="303"/>
                  <a:pt x="683" y="303"/>
                </a:cubicBezTo>
                <a:cubicBezTo>
                  <a:pt x="683" y="288"/>
                  <a:pt x="683" y="288"/>
                  <a:pt x="683" y="288"/>
                </a:cubicBezTo>
                <a:cubicBezTo>
                  <a:pt x="695" y="288"/>
                  <a:pt x="695" y="288"/>
                  <a:pt x="695" y="288"/>
                </a:cubicBezTo>
                <a:cubicBezTo>
                  <a:pt x="695" y="303"/>
                  <a:pt x="695" y="303"/>
                  <a:pt x="695" y="303"/>
                </a:cubicBezTo>
                <a:moveTo>
                  <a:pt x="699" y="107"/>
                </a:moveTo>
                <a:cubicBezTo>
                  <a:pt x="716" y="107"/>
                  <a:pt x="716" y="107"/>
                  <a:pt x="716" y="107"/>
                </a:cubicBezTo>
                <a:cubicBezTo>
                  <a:pt x="716" y="117"/>
                  <a:pt x="716" y="117"/>
                  <a:pt x="716" y="117"/>
                </a:cubicBezTo>
                <a:cubicBezTo>
                  <a:pt x="699" y="117"/>
                  <a:pt x="699" y="117"/>
                  <a:pt x="699" y="117"/>
                </a:cubicBezTo>
                <a:cubicBezTo>
                  <a:pt x="699" y="107"/>
                  <a:pt x="699" y="107"/>
                  <a:pt x="699" y="107"/>
                </a:cubicBezTo>
                <a:moveTo>
                  <a:pt x="725" y="186"/>
                </a:moveTo>
                <a:cubicBezTo>
                  <a:pt x="708" y="186"/>
                  <a:pt x="708" y="186"/>
                  <a:pt x="708" y="186"/>
                </a:cubicBezTo>
                <a:cubicBezTo>
                  <a:pt x="708" y="176"/>
                  <a:pt x="708" y="176"/>
                  <a:pt x="708" y="176"/>
                </a:cubicBezTo>
                <a:cubicBezTo>
                  <a:pt x="725" y="176"/>
                  <a:pt x="725" y="176"/>
                  <a:pt x="725" y="176"/>
                </a:cubicBezTo>
                <a:cubicBezTo>
                  <a:pt x="725" y="186"/>
                  <a:pt x="725" y="186"/>
                  <a:pt x="725" y="186"/>
                </a:cubicBezTo>
                <a:moveTo>
                  <a:pt x="767" y="186"/>
                </a:moveTo>
                <a:cubicBezTo>
                  <a:pt x="774" y="186"/>
                  <a:pt x="774" y="186"/>
                  <a:pt x="774" y="186"/>
                </a:cubicBezTo>
                <a:cubicBezTo>
                  <a:pt x="774" y="203"/>
                  <a:pt x="774" y="203"/>
                  <a:pt x="774" y="203"/>
                </a:cubicBezTo>
                <a:cubicBezTo>
                  <a:pt x="767" y="203"/>
                  <a:pt x="767" y="203"/>
                  <a:pt x="767" y="203"/>
                </a:cubicBezTo>
                <a:cubicBezTo>
                  <a:pt x="767" y="186"/>
                  <a:pt x="767" y="186"/>
                  <a:pt x="767" y="186"/>
                </a:cubicBezTo>
                <a:moveTo>
                  <a:pt x="778" y="286"/>
                </a:moveTo>
                <a:cubicBezTo>
                  <a:pt x="774" y="286"/>
                  <a:pt x="774" y="286"/>
                  <a:pt x="774" y="286"/>
                </a:cubicBezTo>
                <a:cubicBezTo>
                  <a:pt x="774" y="295"/>
                  <a:pt x="774" y="295"/>
                  <a:pt x="774" y="295"/>
                </a:cubicBezTo>
                <a:cubicBezTo>
                  <a:pt x="767" y="295"/>
                  <a:pt x="767" y="295"/>
                  <a:pt x="767" y="295"/>
                </a:cubicBezTo>
                <a:cubicBezTo>
                  <a:pt x="767" y="242"/>
                  <a:pt x="767" y="242"/>
                  <a:pt x="767" y="242"/>
                </a:cubicBezTo>
                <a:cubicBezTo>
                  <a:pt x="774" y="242"/>
                  <a:pt x="774" y="242"/>
                  <a:pt x="774" y="242"/>
                </a:cubicBezTo>
                <a:cubicBezTo>
                  <a:pt x="774" y="274"/>
                  <a:pt x="774" y="274"/>
                  <a:pt x="774" y="274"/>
                </a:cubicBezTo>
                <a:cubicBezTo>
                  <a:pt x="778" y="274"/>
                  <a:pt x="778" y="274"/>
                  <a:pt x="778" y="274"/>
                </a:cubicBezTo>
                <a:cubicBezTo>
                  <a:pt x="778" y="286"/>
                  <a:pt x="778" y="286"/>
                  <a:pt x="778" y="286"/>
                </a:cubicBezTo>
                <a:moveTo>
                  <a:pt x="826" y="211"/>
                </a:moveTo>
                <a:cubicBezTo>
                  <a:pt x="820" y="211"/>
                  <a:pt x="820" y="211"/>
                  <a:pt x="820" y="211"/>
                </a:cubicBezTo>
                <a:cubicBezTo>
                  <a:pt x="820" y="206"/>
                  <a:pt x="820" y="206"/>
                  <a:pt x="820" y="206"/>
                </a:cubicBezTo>
                <a:cubicBezTo>
                  <a:pt x="826" y="206"/>
                  <a:pt x="826" y="206"/>
                  <a:pt x="826" y="206"/>
                </a:cubicBezTo>
                <a:cubicBezTo>
                  <a:pt x="826" y="211"/>
                  <a:pt x="826" y="211"/>
                  <a:pt x="826" y="211"/>
                </a:cubicBezTo>
                <a:moveTo>
                  <a:pt x="831" y="157"/>
                </a:moveTo>
                <a:cubicBezTo>
                  <a:pt x="830" y="157"/>
                  <a:pt x="830" y="157"/>
                  <a:pt x="830" y="157"/>
                </a:cubicBezTo>
                <a:cubicBezTo>
                  <a:pt x="830" y="146"/>
                  <a:pt x="830" y="146"/>
                  <a:pt x="830" y="146"/>
                </a:cubicBezTo>
                <a:cubicBezTo>
                  <a:pt x="831" y="146"/>
                  <a:pt x="831" y="146"/>
                  <a:pt x="831" y="146"/>
                </a:cubicBezTo>
                <a:cubicBezTo>
                  <a:pt x="831" y="157"/>
                  <a:pt x="831" y="157"/>
                  <a:pt x="831" y="157"/>
                </a:cubicBezTo>
                <a:moveTo>
                  <a:pt x="835" y="52"/>
                </a:moveTo>
                <a:cubicBezTo>
                  <a:pt x="843" y="52"/>
                  <a:pt x="843" y="52"/>
                  <a:pt x="843" y="52"/>
                </a:cubicBezTo>
                <a:cubicBezTo>
                  <a:pt x="843" y="63"/>
                  <a:pt x="843" y="63"/>
                  <a:pt x="843" y="63"/>
                </a:cubicBezTo>
                <a:cubicBezTo>
                  <a:pt x="835" y="63"/>
                  <a:pt x="835" y="63"/>
                  <a:pt x="835" y="63"/>
                </a:cubicBezTo>
                <a:cubicBezTo>
                  <a:pt x="835" y="52"/>
                  <a:pt x="835" y="52"/>
                  <a:pt x="835" y="52"/>
                </a:cubicBezTo>
                <a:moveTo>
                  <a:pt x="848" y="109"/>
                </a:moveTo>
                <a:cubicBezTo>
                  <a:pt x="839" y="109"/>
                  <a:pt x="839" y="109"/>
                  <a:pt x="839" y="109"/>
                </a:cubicBezTo>
                <a:cubicBezTo>
                  <a:pt x="839" y="99"/>
                  <a:pt x="839" y="99"/>
                  <a:pt x="839" y="99"/>
                </a:cubicBezTo>
                <a:cubicBezTo>
                  <a:pt x="848" y="99"/>
                  <a:pt x="848" y="99"/>
                  <a:pt x="848" y="99"/>
                </a:cubicBezTo>
                <a:cubicBezTo>
                  <a:pt x="848" y="109"/>
                  <a:pt x="848" y="109"/>
                  <a:pt x="848" y="109"/>
                </a:cubicBezTo>
                <a:moveTo>
                  <a:pt x="856" y="175"/>
                </a:moveTo>
                <a:cubicBezTo>
                  <a:pt x="849" y="175"/>
                  <a:pt x="849" y="175"/>
                  <a:pt x="849" y="175"/>
                </a:cubicBezTo>
                <a:cubicBezTo>
                  <a:pt x="849" y="173"/>
                  <a:pt x="849" y="173"/>
                  <a:pt x="849" y="173"/>
                </a:cubicBezTo>
                <a:cubicBezTo>
                  <a:pt x="856" y="173"/>
                  <a:pt x="856" y="173"/>
                  <a:pt x="856" y="173"/>
                </a:cubicBezTo>
                <a:cubicBezTo>
                  <a:pt x="856" y="175"/>
                  <a:pt x="856" y="175"/>
                  <a:pt x="856" y="175"/>
                </a:cubicBezTo>
                <a:moveTo>
                  <a:pt x="926" y="200"/>
                </a:moveTo>
                <a:cubicBezTo>
                  <a:pt x="909" y="200"/>
                  <a:pt x="909" y="200"/>
                  <a:pt x="909" y="200"/>
                </a:cubicBezTo>
                <a:cubicBezTo>
                  <a:pt x="909" y="195"/>
                  <a:pt x="909" y="195"/>
                  <a:pt x="909" y="195"/>
                </a:cubicBezTo>
                <a:cubicBezTo>
                  <a:pt x="926" y="195"/>
                  <a:pt x="926" y="195"/>
                  <a:pt x="926" y="195"/>
                </a:cubicBezTo>
                <a:cubicBezTo>
                  <a:pt x="926" y="200"/>
                  <a:pt x="926" y="200"/>
                  <a:pt x="926" y="200"/>
                </a:cubicBezTo>
                <a:moveTo>
                  <a:pt x="927" y="157"/>
                </a:moveTo>
                <a:cubicBezTo>
                  <a:pt x="909" y="157"/>
                  <a:pt x="909" y="157"/>
                  <a:pt x="909" y="157"/>
                </a:cubicBezTo>
                <a:cubicBezTo>
                  <a:pt x="909" y="146"/>
                  <a:pt x="909" y="146"/>
                  <a:pt x="909" y="146"/>
                </a:cubicBezTo>
                <a:cubicBezTo>
                  <a:pt x="927" y="146"/>
                  <a:pt x="927" y="146"/>
                  <a:pt x="927" y="146"/>
                </a:cubicBezTo>
                <a:cubicBezTo>
                  <a:pt x="927" y="157"/>
                  <a:pt x="927" y="157"/>
                  <a:pt x="927" y="157"/>
                </a:cubicBezTo>
                <a:moveTo>
                  <a:pt x="938" y="99"/>
                </a:moveTo>
                <a:cubicBezTo>
                  <a:pt x="956" y="99"/>
                  <a:pt x="956" y="99"/>
                  <a:pt x="956" y="99"/>
                </a:cubicBezTo>
                <a:cubicBezTo>
                  <a:pt x="956" y="109"/>
                  <a:pt x="956" y="109"/>
                  <a:pt x="956" y="109"/>
                </a:cubicBezTo>
                <a:cubicBezTo>
                  <a:pt x="938" y="109"/>
                  <a:pt x="938" y="109"/>
                  <a:pt x="938" y="109"/>
                </a:cubicBezTo>
                <a:cubicBezTo>
                  <a:pt x="938" y="99"/>
                  <a:pt x="938" y="99"/>
                  <a:pt x="938" y="99"/>
                </a:cubicBezTo>
                <a:moveTo>
                  <a:pt x="965" y="178"/>
                </a:moveTo>
                <a:cubicBezTo>
                  <a:pt x="947" y="178"/>
                  <a:pt x="947" y="178"/>
                  <a:pt x="947" y="178"/>
                </a:cubicBezTo>
                <a:cubicBezTo>
                  <a:pt x="947" y="168"/>
                  <a:pt x="947" y="168"/>
                  <a:pt x="947" y="168"/>
                </a:cubicBezTo>
                <a:cubicBezTo>
                  <a:pt x="965" y="168"/>
                  <a:pt x="965" y="168"/>
                  <a:pt x="965" y="168"/>
                </a:cubicBezTo>
                <a:cubicBezTo>
                  <a:pt x="965" y="178"/>
                  <a:pt x="965" y="178"/>
                  <a:pt x="965" y="178"/>
                </a:cubicBezTo>
                <a:moveTo>
                  <a:pt x="1006" y="178"/>
                </a:moveTo>
                <a:cubicBezTo>
                  <a:pt x="1014" y="178"/>
                  <a:pt x="1014" y="178"/>
                  <a:pt x="1014" y="178"/>
                </a:cubicBezTo>
                <a:cubicBezTo>
                  <a:pt x="1014" y="195"/>
                  <a:pt x="1014" y="195"/>
                  <a:pt x="1014" y="195"/>
                </a:cubicBezTo>
                <a:cubicBezTo>
                  <a:pt x="1006" y="195"/>
                  <a:pt x="1006" y="195"/>
                  <a:pt x="1006" y="195"/>
                </a:cubicBezTo>
                <a:cubicBezTo>
                  <a:pt x="1006" y="178"/>
                  <a:pt x="1006" y="178"/>
                  <a:pt x="1006" y="178"/>
                </a:cubicBezTo>
                <a:moveTo>
                  <a:pt x="1017" y="278"/>
                </a:moveTo>
                <a:cubicBezTo>
                  <a:pt x="1014" y="278"/>
                  <a:pt x="1014" y="278"/>
                  <a:pt x="1014" y="278"/>
                </a:cubicBezTo>
                <a:cubicBezTo>
                  <a:pt x="1014" y="288"/>
                  <a:pt x="1014" y="288"/>
                  <a:pt x="1014" y="288"/>
                </a:cubicBezTo>
                <a:cubicBezTo>
                  <a:pt x="1007" y="288"/>
                  <a:pt x="1007" y="288"/>
                  <a:pt x="1007" y="288"/>
                </a:cubicBezTo>
                <a:cubicBezTo>
                  <a:pt x="1007" y="234"/>
                  <a:pt x="1007" y="234"/>
                  <a:pt x="1007" y="234"/>
                </a:cubicBezTo>
                <a:cubicBezTo>
                  <a:pt x="1014" y="234"/>
                  <a:pt x="1014" y="234"/>
                  <a:pt x="1014" y="234"/>
                </a:cubicBezTo>
                <a:cubicBezTo>
                  <a:pt x="1014" y="261"/>
                  <a:pt x="1014" y="261"/>
                  <a:pt x="1014" y="261"/>
                </a:cubicBezTo>
                <a:cubicBezTo>
                  <a:pt x="1012" y="261"/>
                  <a:pt x="1012" y="261"/>
                  <a:pt x="1012" y="261"/>
                </a:cubicBezTo>
                <a:cubicBezTo>
                  <a:pt x="1012" y="272"/>
                  <a:pt x="1012" y="272"/>
                  <a:pt x="1012" y="272"/>
                </a:cubicBezTo>
                <a:cubicBezTo>
                  <a:pt x="1017" y="272"/>
                  <a:pt x="1017" y="272"/>
                  <a:pt x="1017" y="272"/>
                </a:cubicBezTo>
                <a:cubicBezTo>
                  <a:pt x="1017" y="278"/>
                  <a:pt x="1017" y="278"/>
                  <a:pt x="1017" y="278"/>
                </a:cubicBezTo>
                <a:moveTo>
                  <a:pt x="1068" y="203"/>
                </a:moveTo>
                <a:cubicBezTo>
                  <a:pt x="1060" y="203"/>
                  <a:pt x="1060" y="203"/>
                  <a:pt x="1060" y="203"/>
                </a:cubicBezTo>
                <a:cubicBezTo>
                  <a:pt x="1060" y="198"/>
                  <a:pt x="1060" y="198"/>
                  <a:pt x="1060" y="198"/>
                </a:cubicBezTo>
                <a:cubicBezTo>
                  <a:pt x="1068" y="198"/>
                  <a:pt x="1068" y="198"/>
                  <a:pt x="1068" y="198"/>
                </a:cubicBezTo>
                <a:cubicBezTo>
                  <a:pt x="1068" y="203"/>
                  <a:pt x="1068" y="203"/>
                  <a:pt x="1068" y="203"/>
                </a:cubicBezTo>
                <a:moveTo>
                  <a:pt x="1095" y="167"/>
                </a:moveTo>
                <a:cubicBezTo>
                  <a:pt x="1082" y="167"/>
                  <a:pt x="1082" y="167"/>
                  <a:pt x="1082" y="167"/>
                </a:cubicBezTo>
                <a:cubicBezTo>
                  <a:pt x="1082" y="159"/>
                  <a:pt x="1082" y="159"/>
                  <a:pt x="1082" y="159"/>
                </a:cubicBezTo>
                <a:cubicBezTo>
                  <a:pt x="1095" y="159"/>
                  <a:pt x="1095" y="159"/>
                  <a:pt x="1095" y="159"/>
                </a:cubicBezTo>
                <a:cubicBezTo>
                  <a:pt x="1095" y="167"/>
                  <a:pt x="1095" y="167"/>
                  <a:pt x="1095" y="167"/>
                </a:cubicBezTo>
                <a:moveTo>
                  <a:pt x="1143" y="18"/>
                </a:moveTo>
                <a:cubicBezTo>
                  <a:pt x="1215" y="18"/>
                  <a:pt x="1215" y="18"/>
                  <a:pt x="1215" y="18"/>
                </a:cubicBezTo>
                <a:cubicBezTo>
                  <a:pt x="1215" y="26"/>
                  <a:pt x="1215" y="26"/>
                  <a:pt x="1215" y="26"/>
                </a:cubicBezTo>
                <a:cubicBezTo>
                  <a:pt x="1143" y="26"/>
                  <a:pt x="1143" y="26"/>
                  <a:pt x="1143" y="26"/>
                </a:cubicBezTo>
                <a:cubicBezTo>
                  <a:pt x="1143" y="18"/>
                  <a:pt x="1143" y="18"/>
                  <a:pt x="1143" y="18"/>
                </a:cubicBezTo>
                <a:moveTo>
                  <a:pt x="1143" y="32"/>
                </a:moveTo>
                <a:cubicBezTo>
                  <a:pt x="1215" y="32"/>
                  <a:pt x="1215" y="32"/>
                  <a:pt x="1215" y="32"/>
                </a:cubicBezTo>
                <a:cubicBezTo>
                  <a:pt x="1215" y="40"/>
                  <a:pt x="1215" y="40"/>
                  <a:pt x="1215" y="40"/>
                </a:cubicBezTo>
                <a:cubicBezTo>
                  <a:pt x="1143" y="40"/>
                  <a:pt x="1143" y="40"/>
                  <a:pt x="1143" y="40"/>
                </a:cubicBezTo>
                <a:cubicBezTo>
                  <a:pt x="1143" y="32"/>
                  <a:pt x="1143" y="32"/>
                  <a:pt x="1143" y="32"/>
                </a:cubicBezTo>
                <a:moveTo>
                  <a:pt x="1143" y="47"/>
                </a:moveTo>
                <a:cubicBezTo>
                  <a:pt x="1215" y="47"/>
                  <a:pt x="1215" y="47"/>
                  <a:pt x="1215" y="47"/>
                </a:cubicBezTo>
                <a:cubicBezTo>
                  <a:pt x="1215" y="55"/>
                  <a:pt x="1215" y="55"/>
                  <a:pt x="1215" y="55"/>
                </a:cubicBezTo>
                <a:cubicBezTo>
                  <a:pt x="1143" y="55"/>
                  <a:pt x="1143" y="55"/>
                  <a:pt x="1143" y="55"/>
                </a:cubicBezTo>
                <a:cubicBezTo>
                  <a:pt x="1143" y="47"/>
                  <a:pt x="1143" y="47"/>
                  <a:pt x="1143" y="47"/>
                </a:cubicBezTo>
                <a:moveTo>
                  <a:pt x="1143" y="61"/>
                </a:moveTo>
                <a:cubicBezTo>
                  <a:pt x="1215" y="61"/>
                  <a:pt x="1215" y="61"/>
                  <a:pt x="1215" y="61"/>
                </a:cubicBezTo>
                <a:cubicBezTo>
                  <a:pt x="1215" y="69"/>
                  <a:pt x="1215" y="69"/>
                  <a:pt x="1215" y="69"/>
                </a:cubicBezTo>
                <a:cubicBezTo>
                  <a:pt x="1143" y="69"/>
                  <a:pt x="1143" y="69"/>
                  <a:pt x="1143" y="69"/>
                </a:cubicBezTo>
                <a:cubicBezTo>
                  <a:pt x="1143" y="61"/>
                  <a:pt x="1143" y="61"/>
                  <a:pt x="1143" y="61"/>
                </a:cubicBezTo>
                <a:moveTo>
                  <a:pt x="1143" y="75"/>
                </a:moveTo>
                <a:cubicBezTo>
                  <a:pt x="1215" y="75"/>
                  <a:pt x="1215" y="75"/>
                  <a:pt x="1215" y="75"/>
                </a:cubicBezTo>
                <a:cubicBezTo>
                  <a:pt x="1215" y="83"/>
                  <a:pt x="1215" y="83"/>
                  <a:pt x="1215" y="83"/>
                </a:cubicBezTo>
                <a:cubicBezTo>
                  <a:pt x="1143" y="83"/>
                  <a:pt x="1143" y="83"/>
                  <a:pt x="1143" y="83"/>
                </a:cubicBezTo>
                <a:cubicBezTo>
                  <a:pt x="1143" y="75"/>
                  <a:pt x="1143" y="75"/>
                  <a:pt x="1143" y="75"/>
                </a:cubicBezTo>
                <a:moveTo>
                  <a:pt x="1143" y="89"/>
                </a:moveTo>
                <a:cubicBezTo>
                  <a:pt x="1215" y="89"/>
                  <a:pt x="1215" y="89"/>
                  <a:pt x="1215" y="89"/>
                </a:cubicBezTo>
                <a:cubicBezTo>
                  <a:pt x="1215" y="97"/>
                  <a:pt x="1215" y="97"/>
                  <a:pt x="1215" y="97"/>
                </a:cubicBezTo>
                <a:cubicBezTo>
                  <a:pt x="1143" y="97"/>
                  <a:pt x="1143" y="97"/>
                  <a:pt x="1143" y="97"/>
                </a:cubicBezTo>
                <a:cubicBezTo>
                  <a:pt x="1143" y="89"/>
                  <a:pt x="1143" y="89"/>
                  <a:pt x="1143" y="89"/>
                </a:cubicBezTo>
                <a:moveTo>
                  <a:pt x="1143" y="103"/>
                </a:moveTo>
                <a:cubicBezTo>
                  <a:pt x="1215" y="103"/>
                  <a:pt x="1215" y="103"/>
                  <a:pt x="1215" y="103"/>
                </a:cubicBezTo>
                <a:cubicBezTo>
                  <a:pt x="1215" y="111"/>
                  <a:pt x="1215" y="111"/>
                  <a:pt x="1215" y="111"/>
                </a:cubicBezTo>
                <a:cubicBezTo>
                  <a:pt x="1143" y="111"/>
                  <a:pt x="1143" y="111"/>
                  <a:pt x="1143" y="111"/>
                </a:cubicBezTo>
                <a:cubicBezTo>
                  <a:pt x="1143" y="103"/>
                  <a:pt x="1143" y="103"/>
                  <a:pt x="1143" y="103"/>
                </a:cubicBezTo>
                <a:moveTo>
                  <a:pt x="1143" y="117"/>
                </a:moveTo>
                <a:cubicBezTo>
                  <a:pt x="1215" y="117"/>
                  <a:pt x="1215" y="117"/>
                  <a:pt x="1215" y="117"/>
                </a:cubicBezTo>
                <a:cubicBezTo>
                  <a:pt x="1215" y="125"/>
                  <a:pt x="1215" y="125"/>
                  <a:pt x="1215" y="125"/>
                </a:cubicBezTo>
                <a:cubicBezTo>
                  <a:pt x="1143" y="125"/>
                  <a:pt x="1143" y="125"/>
                  <a:pt x="1143" y="125"/>
                </a:cubicBezTo>
                <a:cubicBezTo>
                  <a:pt x="1143" y="117"/>
                  <a:pt x="1143" y="117"/>
                  <a:pt x="1143" y="117"/>
                </a:cubicBezTo>
                <a:moveTo>
                  <a:pt x="1143" y="132"/>
                </a:moveTo>
                <a:cubicBezTo>
                  <a:pt x="1215" y="132"/>
                  <a:pt x="1215" y="132"/>
                  <a:pt x="1215" y="132"/>
                </a:cubicBezTo>
                <a:cubicBezTo>
                  <a:pt x="1215" y="139"/>
                  <a:pt x="1215" y="139"/>
                  <a:pt x="1215" y="139"/>
                </a:cubicBezTo>
                <a:cubicBezTo>
                  <a:pt x="1143" y="139"/>
                  <a:pt x="1143" y="139"/>
                  <a:pt x="1143" y="139"/>
                </a:cubicBezTo>
                <a:cubicBezTo>
                  <a:pt x="1143" y="132"/>
                  <a:pt x="1143" y="132"/>
                  <a:pt x="1143" y="132"/>
                </a:cubicBezTo>
                <a:moveTo>
                  <a:pt x="1143" y="146"/>
                </a:moveTo>
                <a:cubicBezTo>
                  <a:pt x="1215" y="146"/>
                  <a:pt x="1215" y="146"/>
                  <a:pt x="1215" y="146"/>
                </a:cubicBezTo>
                <a:cubicBezTo>
                  <a:pt x="1215" y="148"/>
                  <a:pt x="1215" y="148"/>
                  <a:pt x="1215" y="148"/>
                </a:cubicBezTo>
                <a:cubicBezTo>
                  <a:pt x="1215" y="148"/>
                  <a:pt x="1215" y="148"/>
                  <a:pt x="1215" y="148"/>
                </a:cubicBezTo>
                <a:cubicBezTo>
                  <a:pt x="1215" y="154"/>
                  <a:pt x="1215" y="154"/>
                  <a:pt x="1215" y="154"/>
                </a:cubicBezTo>
                <a:cubicBezTo>
                  <a:pt x="1143" y="154"/>
                  <a:pt x="1143" y="154"/>
                  <a:pt x="1143" y="154"/>
                </a:cubicBezTo>
                <a:cubicBezTo>
                  <a:pt x="1143" y="146"/>
                  <a:pt x="1143" y="146"/>
                  <a:pt x="1143" y="146"/>
                </a:cubicBezTo>
                <a:moveTo>
                  <a:pt x="1143" y="160"/>
                </a:moveTo>
                <a:cubicBezTo>
                  <a:pt x="1215" y="160"/>
                  <a:pt x="1215" y="160"/>
                  <a:pt x="1215" y="160"/>
                </a:cubicBezTo>
                <a:cubicBezTo>
                  <a:pt x="1215" y="168"/>
                  <a:pt x="1215" y="168"/>
                  <a:pt x="1215" y="168"/>
                </a:cubicBezTo>
                <a:cubicBezTo>
                  <a:pt x="1143" y="168"/>
                  <a:pt x="1143" y="168"/>
                  <a:pt x="1143" y="168"/>
                </a:cubicBezTo>
                <a:cubicBezTo>
                  <a:pt x="1143" y="160"/>
                  <a:pt x="1143" y="160"/>
                  <a:pt x="1143" y="160"/>
                </a:cubicBezTo>
                <a:moveTo>
                  <a:pt x="1143" y="174"/>
                </a:moveTo>
                <a:cubicBezTo>
                  <a:pt x="1215" y="174"/>
                  <a:pt x="1215" y="174"/>
                  <a:pt x="1215" y="174"/>
                </a:cubicBezTo>
                <a:cubicBezTo>
                  <a:pt x="1215" y="182"/>
                  <a:pt x="1215" y="182"/>
                  <a:pt x="1215" y="182"/>
                </a:cubicBezTo>
                <a:cubicBezTo>
                  <a:pt x="1143" y="182"/>
                  <a:pt x="1143" y="182"/>
                  <a:pt x="1143" y="182"/>
                </a:cubicBezTo>
                <a:cubicBezTo>
                  <a:pt x="1143" y="174"/>
                  <a:pt x="1143" y="174"/>
                  <a:pt x="1143" y="174"/>
                </a:cubicBezTo>
                <a:moveTo>
                  <a:pt x="1123" y="257"/>
                </a:moveTo>
                <a:cubicBezTo>
                  <a:pt x="1116" y="257"/>
                  <a:pt x="1116" y="257"/>
                  <a:pt x="1116" y="257"/>
                </a:cubicBezTo>
                <a:cubicBezTo>
                  <a:pt x="1116" y="252"/>
                  <a:pt x="1116" y="252"/>
                  <a:pt x="1116" y="252"/>
                </a:cubicBezTo>
                <a:cubicBezTo>
                  <a:pt x="1123" y="252"/>
                  <a:pt x="1123" y="252"/>
                  <a:pt x="1123" y="252"/>
                </a:cubicBezTo>
                <a:cubicBezTo>
                  <a:pt x="1123" y="257"/>
                  <a:pt x="1123" y="257"/>
                  <a:pt x="1123" y="257"/>
                </a:cubicBezTo>
                <a:moveTo>
                  <a:pt x="1144" y="262"/>
                </a:moveTo>
                <a:cubicBezTo>
                  <a:pt x="1134" y="262"/>
                  <a:pt x="1134" y="262"/>
                  <a:pt x="1134" y="262"/>
                </a:cubicBezTo>
                <a:cubicBezTo>
                  <a:pt x="1134" y="262"/>
                  <a:pt x="1134" y="262"/>
                  <a:pt x="1134" y="262"/>
                </a:cubicBezTo>
                <a:cubicBezTo>
                  <a:pt x="1144" y="262"/>
                  <a:pt x="1144" y="262"/>
                  <a:pt x="1144" y="262"/>
                </a:cubicBezTo>
                <a:cubicBezTo>
                  <a:pt x="1144" y="262"/>
                  <a:pt x="1144" y="262"/>
                  <a:pt x="1144" y="262"/>
                </a:cubicBezTo>
                <a:moveTo>
                  <a:pt x="1144" y="232"/>
                </a:moveTo>
                <a:cubicBezTo>
                  <a:pt x="1134" y="232"/>
                  <a:pt x="1134" y="232"/>
                  <a:pt x="1134" y="232"/>
                </a:cubicBezTo>
                <a:cubicBezTo>
                  <a:pt x="1134" y="219"/>
                  <a:pt x="1134" y="219"/>
                  <a:pt x="1134" y="219"/>
                </a:cubicBezTo>
                <a:cubicBezTo>
                  <a:pt x="1136" y="219"/>
                  <a:pt x="1136" y="219"/>
                  <a:pt x="1136" y="219"/>
                </a:cubicBezTo>
                <a:cubicBezTo>
                  <a:pt x="1136" y="230"/>
                  <a:pt x="1136" y="230"/>
                  <a:pt x="1136" y="230"/>
                </a:cubicBezTo>
                <a:cubicBezTo>
                  <a:pt x="1144" y="230"/>
                  <a:pt x="1144" y="230"/>
                  <a:pt x="1144" y="230"/>
                </a:cubicBezTo>
                <a:cubicBezTo>
                  <a:pt x="1144" y="232"/>
                  <a:pt x="1144" y="232"/>
                  <a:pt x="1144" y="232"/>
                </a:cubicBezTo>
                <a:moveTo>
                  <a:pt x="1144" y="196"/>
                </a:moveTo>
                <a:cubicBezTo>
                  <a:pt x="1143" y="196"/>
                  <a:pt x="1143" y="196"/>
                  <a:pt x="1143" y="196"/>
                </a:cubicBezTo>
                <a:cubicBezTo>
                  <a:pt x="1143" y="188"/>
                  <a:pt x="1143" y="188"/>
                  <a:pt x="1143" y="188"/>
                </a:cubicBezTo>
                <a:cubicBezTo>
                  <a:pt x="1215" y="188"/>
                  <a:pt x="1215" y="188"/>
                  <a:pt x="1215" y="188"/>
                </a:cubicBezTo>
                <a:cubicBezTo>
                  <a:pt x="1215" y="196"/>
                  <a:pt x="1215" y="196"/>
                  <a:pt x="1215" y="196"/>
                </a:cubicBezTo>
                <a:cubicBezTo>
                  <a:pt x="1170" y="196"/>
                  <a:pt x="1170" y="196"/>
                  <a:pt x="1170" y="196"/>
                </a:cubicBezTo>
                <a:cubicBezTo>
                  <a:pt x="1170" y="192"/>
                  <a:pt x="1170" y="192"/>
                  <a:pt x="1170" y="192"/>
                </a:cubicBezTo>
                <a:cubicBezTo>
                  <a:pt x="1144" y="192"/>
                  <a:pt x="1144" y="192"/>
                  <a:pt x="1144" y="192"/>
                </a:cubicBezTo>
                <a:cubicBezTo>
                  <a:pt x="1144" y="196"/>
                  <a:pt x="1144" y="196"/>
                  <a:pt x="1144" y="196"/>
                </a:cubicBezTo>
                <a:moveTo>
                  <a:pt x="1170" y="211"/>
                </a:moveTo>
                <a:cubicBezTo>
                  <a:pt x="1170" y="201"/>
                  <a:pt x="1170" y="201"/>
                  <a:pt x="1170" y="201"/>
                </a:cubicBezTo>
                <a:cubicBezTo>
                  <a:pt x="1200" y="201"/>
                  <a:pt x="1200" y="201"/>
                  <a:pt x="1200" y="201"/>
                </a:cubicBezTo>
                <a:cubicBezTo>
                  <a:pt x="1200" y="211"/>
                  <a:pt x="1200" y="211"/>
                  <a:pt x="1200" y="211"/>
                </a:cubicBezTo>
                <a:cubicBezTo>
                  <a:pt x="1170" y="211"/>
                  <a:pt x="1170" y="211"/>
                  <a:pt x="1170" y="211"/>
                </a:cubicBezTo>
                <a:moveTo>
                  <a:pt x="1200" y="219"/>
                </a:moveTo>
                <a:cubicBezTo>
                  <a:pt x="1200" y="229"/>
                  <a:pt x="1200" y="229"/>
                  <a:pt x="1200" y="229"/>
                </a:cubicBezTo>
                <a:cubicBezTo>
                  <a:pt x="1198" y="229"/>
                  <a:pt x="1198" y="229"/>
                  <a:pt x="1198" y="229"/>
                </a:cubicBezTo>
                <a:cubicBezTo>
                  <a:pt x="1198" y="219"/>
                  <a:pt x="1198" y="219"/>
                  <a:pt x="1198" y="219"/>
                </a:cubicBezTo>
                <a:cubicBezTo>
                  <a:pt x="1200" y="219"/>
                  <a:pt x="1200" y="219"/>
                  <a:pt x="1200" y="219"/>
                </a:cubicBezTo>
                <a:moveTo>
                  <a:pt x="1176" y="300"/>
                </a:moveTo>
                <a:cubicBezTo>
                  <a:pt x="1176" y="300"/>
                  <a:pt x="1176" y="300"/>
                  <a:pt x="1176" y="300"/>
                </a:cubicBezTo>
                <a:cubicBezTo>
                  <a:pt x="1176" y="295"/>
                  <a:pt x="1176" y="295"/>
                  <a:pt x="1176" y="295"/>
                </a:cubicBezTo>
                <a:cubicBezTo>
                  <a:pt x="1169" y="295"/>
                  <a:pt x="1169" y="295"/>
                  <a:pt x="1169" y="295"/>
                </a:cubicBezTo>
                <a:cubicBezTo>
                  <a:pt x="1169" y="287"/>
                  <a:pt x="1169" y="287"/>
                  <a:pt x="1169" y="287"/>
                </a:cubicBezTo>
                <a:cubicBezTo>
                  <a:pt x="1176" y="287"/>
                  <a:pt x="1176" y="287"/>
                  <a:pt x="1176" y="287"/>
                </a:cubicBezTo>
                <a:cubicBezTo>
                  <a:pt x="1176" y="300"/>
                  <a:pt x="1176" y="300"/>
                  <a:pt x="1176" y="300"/>
                </a:cubicBezTo>
                <a:moveTo>
                  <a:pt x="1181" y="247"/>
                </a:moveTo>
                <a:cubicBezTo>
                  <a:pt x="1171" y="247"/>
                  <a:pt x="1171" y="247"/>
                  <a:pt x="1171" y="247"/>
                </a:cubicBezTo>
                <a:cubicBezTo>
                  <a:pt x="1171" y="234"/>
                  <a:pt x="1171" y="234"/>
                  <a:pt x="1171" y="234"/>
                </a:cubicBezTo>
                <a:cubicBezTo>
                  <a:pt x="1181" y="234"/>
                  <a:pt x="1181" y="234"/>
                  <a:pt x="1181" y="234"/>
                </a:cubicBezTo>
                <a:cubicBezTo>
                  <a:pt x="1181" y="247"/>
                  <a:pt x="1181" y="247"/>
                  <a:pt x="1181" y="247"/>
                </a:cubicBezTo>
                <a:moveTo>
                  <a:pt x="1209" y="232"/>
                </a:moveTo>
                <a:cubicBezTo>
                  <a:pt x="1198" y="232"/>
                  <a:pt x="1198" y="232"/>
                  <a:pt x="1198" y="232"/>
                </a:cubicBezTo>
                <a:cubicBezTo>
                  <a:pt x="1198" y="230"/>
                  <a:pt x="1198" y="230"/>
                  <a:pt x="1198" y="230"/>
                </a:cubicBezTo>
                <a:cubicBezTo>
                  <a:pt x="1209" y="230"/>
                  <a:pt x="1209" y="230"/>
                  <a:pt x="1209" y="230"/>
                </a:cubicBezTo>
                <a:cubicBezTo>
                  <a:pt x="1209" y="232"/>
                  <a:pt x="1209" y="232"/>
                  <a:pt x="1209" y="232"/>
                </a:cubicBezTo>
                <a:moveTo>
                  <a:pt x="1222" y="287"/>
                </a:moveTo>
                <a:cubicBezTo>
                  <a:pt x="1222" y="287"/>
                  <a:pt x="1222" y="287"/>
                  <a:pt x="1222" y="287"/>
                </a:cubicBezTo>
                <a:cubicBezTo>
                  <a:pt x="1222" y="289"/>
                  <a:pt x="1222" y="289"/>
                  <a:pt x="1222" y="289"/>
                </a:cubicBezTo>
                <a:cubicBezTo>
                  <a:pt x="1212" y="289"/>
                  <a:pt x="1212" y="289"/>
                  <a:pt x="1212" y="289"/>
                </a:cubicBezTo>
                <a:cubicBezTo>
                  <a:pt x="1212" y="276"/>
                  <a:pt x="1212" y="276"/>
                  <a:pt x="1212" y="276"/>
                </a:cubicBezTo>
                <a:cubicBezTo>
                  <a:pt x="1222" y="276"/>
                  <a:pt x="1222" y="276"/>
                  <a:pt x="1222" y="276"/>
                </a:cubicBezTo>
                <a:cubicBezTo>
                  <a:pt x="1222" y="284"/>
                  <a:pt x="1222" y="284"/>
                  <a:pt x="1222" y="284"/>
                </a:cubicBezTo>
                <a:cubicBezTo>
                  <a:pt x="1222" y="284"/>
                  <a:pt x="1222" y="284"/>
                  <a:pt x="1222" y="284"/>
                </a:cubicBezTo>
                <a:cubicBezTo>
                  <a:pt x="1222" y="287"/>
                  <a:pt x="1222" y="287"/>
                  <a:pt x="1222" y="287"/>
                </a:cubicBezTo>
                <a:moveTo>
                  <a:pt x="1257" y="277"/>
                </a:moveTo>
                <a:cubicBezTo>
                  <a:pt x="1249" y="277"/>
                  <a:pt x="1249" y="277"/>
                  <a:pt x="1249" y="277"/>
                </a:cubicBezTo>
                <a:cubicBezTo>
                  <a:pt x="1249" y="272"/>
                  <a:pt x="1249" y="272"/>
                  <a:pt x="1249" y="272"/>
                </a:cubicBezTo>
                <a:cubicBezTo>
                  <a:pt x="1257" y="272"/>
                  <a:pt x="1257" y="272"/>
                  <a:pt x="1257" y="272"/>
                </a:cubicBezTo>
                <a:cubicBezTo>
                  <a:pt x="1257" y="277"/>
                  <a:pt x="1257" y="277"/>
                  <a:pt x="1257" y="277"/>
                </a:cubicBezTo>
                <a:moveTo>
                  <a:pt x="1262" y="251"/>
                </a:moveTo>
                <a:cubicBezTo>
                  <a:pt x="1270" y="251"/>
                  <a:pt x="1270" y="251"/>
                  <a:pt x="1270" y="251"/>
                </a:cubicBezTo>
                <a:cubicBezTo>
                  <a:pt x="1270" y="256"/>
                  <a:pt x="1270" y="256"/>
                  <a:pt x="1270" y="256"/>
                </a:cubicBezTo>
                <a:cubicBezTo>
                  <a:pt x="1262" y="256"/>
                  <a:pt x="1262" y="256"/>
                  <a:pt x="1262" y="256"/>
                </a:cubicBezTo>
                <a:cubicBezTo>
                  <a:pt x="1262" y="251"/>
                  <a:pt x="1262" y="251"/>
                  <a:pt x="1262" y="251"/>
                </a:cubicBezTo>
                <a:moveTo>
                  <a:pt x="1274" y="287"/>
                </a:moveTo>
                <a:cubicBezTo>
                  <a:pt x="1266" y="287"/>
                  <a:pt x="1266" y="287"/>
                  <a:pt x="1266" y="287"/>
                </a:cubicBezTo>
                <a:cubicBezTo>
                  <a:pt x="1266" y="282"/>
                  <a:pt x="1266" y="282"/>
                  <a:pt x="1266" y="282"/>
                </a:cubicBezTo>
                <a:cubicBezTo>
                  <a:pt x="1274" y="282"/>
                  <a:pt x="1274" y="282"/>
                  <a:pt x="1274" y="282"/>
                </a:cubicBezTo>
                <a:cubicBezTo>
                  <a:pt x="1274" y="287"/>
                  <a:pt x="1274" y="287"/>
                  <a:pt x="1274" y="287"/>
                </a:cubicBezTo>
                <a:moveTo>
                  <a:pt x="1295" y="337"/>
                </a:moveTo>
                <a:cubicBezTo>
                  <a:pt x="1293" y="337"/>
                  <a:pt x="1293" y="337"/>
                  <a:pt x="1293" y="337"/>
                </a:cubicBezTo>
                <a:cubicBezTo>
                  <a:pt x="1293" y="312"/>
                  <a:pt x="1293" y="312"/>
                  <a:pt x="1293" y="312"/>
                </a:cubicBezTo>
                <a:cubicBezTo>
                  <a:pt x="1295" y="312"/>
                  <a:pt x="1295" y="312"/>
                  <a:pt x="1295" y="312"/>
                </a:cubicBezTo>
                <a:cubicBezTo>
                  <a:pt x="1295" y="337"/>
                  <a:pt x="1295" y="337"/>
                  <a:pt x="1295" y="337"/>
                </a:cubicBezTo>
                <a:moveTo>
                  <a:pt x="1299" y="295"/>
                </a:moveTo>
                <a:cubicBezTo>
                  <a:pt x="1293" y="295"/>
                  <a:pt x="1293" y="295"/>
                  <a:pt x="1293" y="295"/>
                </a:cubicBezTo>
                <a:cubicBezTo>
                  <a:pt x="1293" y="287"/>
                  <a:pt x="1293" y="287"/>
                  <a:pt x="1293" y="287"/>
                </a:cubicBezTo>
                <a:cubicBezTo>
                  <a:pt x="1299" y="287"/>
                  <a:pt x="1299" y="287"/>
                  <a:pt x="1299" y="287"/>
                </a:cubicBezTo>
                <a:cubicBezTo>
                  <a:pt x="1299" y="295"/>
                  <a:pt x="1299" y="295"/>
                  <a:pt x="1299" y="295"/>
                </a:cubicBezTo>
                <a:moveTo>
                  <a:pt x="1311" y="263"/>
                </a:moveTo>
                <a:cubicBezTo>
                  <a:pt x="1303" y="263"/>
                  <a:pt x="1303" y="263"/>
                  <a:pt x="1303" y="263"/>
                </a:cubicBezTo>
                <a:cubicBezTo>
                  <a:pt x="1303" y="253"/>
                  <a:pt x="1303" y="253"/>
                  <a:pt x="1303" y="253"/>
                </a:cubicBezTo>
                <a:cubicBezTo>
                  <a:pt x="1311" y="253"/>
                  <a:pt x="1311" y="253"/>
                  <a:pt x="1311" y="253"/>
                </a:cubicBezTo>
                <a:cubicBezTo>
                  <a:pt x="1311" y="263"/>
                  <a:pt x="1311" y="263"/>
                  <a:pt x="1311" y="263"/>
                </a:cubicBezTo>
                <a:moveTo>
                  <a:pt x="1311" y="245"/>
                </a:moveTo>
                <a:cubicBezTo>
                  <a:pt x="1303" y="245"/>
                  <a:pt x="1303" y="245"/>
                  <a:pt x="1303" y="245"/>
                </a:cubicBezTo>
                <a:cubicBezTo>
                  <a:pt x="1303" y="235"/>
                  <a:pt x="1303" y="235"/>
                  <a:pt x="1303" y="235"/>
                </a:cubicBezTo>
                <a:cubicBezTo>
                  <a:pt x="1311" y="235"/>
                  <a:pt x="1311" y="235"/>
                  <a:pt x="1311" y="235"/>
                </a:cubicBezTo>
                <a:cubicBezTo>
                  <a:pt x="1311" y="245"/>
                  <a:pt x="1311" y="245"/>
                  <a:pt x="1311" y="245"/>
                </a:cubicBezTo>
                <a:moveTo>
                  <a:pt x="1311" y="226"/>
                </a:moveTo>
                <a:cubicBezTo>
                  <a:pt x="1303" y="226"/>
                  <a:pt x="1303" y="226"/>
                  <a:pt x="1303" y="226"/>
                </a:cubicBezTo>
                <a:cubicBezTo>
                  <a:pt x="1303" y="216"/>
                  <a:pt x="1303" y="216"/>
                  <a:pt x="1303" y="216"/>
                </a:cubicBezTo>
                <a:cubicBezTo>
                  <a:pt x="1311" y="216"/>
                  <a:pt x="1311" y="216"/>
                  <a:pt x="1311" y="216"/>
                </a:cubicBezTo>
                <a:cubicBezTo>
                  <a:pt x="1311" y="226"/>
                  <a:pt x="1311" y="226"/>
                  <a:pt x="1311" y="226"/>
                </a:cubicBezTo>
                <a:moveTo>
                  <a:pt x="1311" y="208"/>
                </a:moveTo>
                <a:cubicBezTo>
                  <a:pt x="1303" y="208"/>
                  <a:pt x="1303" y="208"/>
                  <a:pt x="1303" y="208"/>
                </a:cubicBezTo>
                <a:cubicBezTo>
                  <a:pt x="1303" y="198"/>
                  <a:pt x="1303" y="198"/>
                  <a:pt x="1303" y="198"/>
                </a:cubicBezTo>
                <a:cubicBezTo>
                  <a:pt x="1311" y="198"/>
                  <a:pt x="1311" y="198"/>
                  <a:pt x="1311" y="198"/>
                </a:cubicBezTo>
                <a:cubicBezTo>
                  <a:pt x="1311" y="208"/>
                  <a:pt x="1311" y="208"/>
                  <a:pt x="1311" y="208"/>
                </a:cubicBezTo>
                <a:moveTo>
                  <a:pt x="1321" y="300"/>
                </a:moveTo>
                <a:cubicBezTo>
                  <a:pt x="1318" y="300"/>
                  <a:pt x="1318" y="300"/>
                  <a:pt x="1318" y="300"/>
                </a:cubicBezTo>
                <a:cubicBezTo>
                  <a:pt x="1318" y="296"/>
                  <a:pt x="1318" y="296"/>
                  <a:pt x="1318" y="296"/>
                </a:cubicBezTo>
                <a:cubicBezTo>
                  <a:pt x="1321" y="296"/>
                  <a:pt x="1321" y="296"/>
                  <a:pt x="1321" y="296"/>
                </a:cubicBezTo>
                <a:cubicBezTo>
                  <a:pt x="1321" y="300"/>
                  <a:pt x="1321" y="300"/>
                  <a:pt x="1321" y="300"/>
                </a:cubicBezTo>
                <a:moveTo>
                  <a:pt x="1326" y="281"/>
                </a:moveTo>
                <a:cubicBezTo>
                  <a:pt x="1318" y="281"/>
                  <a:pt x="1318" y="281"/>
                  <a:pt x="1318" y="281"/>
                </a:cubicBezTo>
                <a:cubicBezTo>
                  <a:pt x="1318" y="272"/>
                  <a:pt x="1318" y="272"/>
                  <a:pt x="1318" y="272"/>
                </a:cubicBezTo>
                <a:cubicBezTo>
                  <a:pt x="1326" y="272"/>
                  <a:pt x="1326" y="272"/>
                  <a:pt x="1326" y="272"/>
                </a:cubicBezTo>
                <a:cubicBezTo>
                  <a:pt x="1326" y="281"/>
                  <a:pt x="1326" y="281"/>
                  <a:pt x="1326" y="281"/>
                </a:cubicBezTo>
                <a:moveTo>
                  <a:pt x="1326" y="263"/>
                </a:moveTo>
                <a:cubicBezTo>
                  <a:pt x="1318" y="263"/>
                  <a:pt x="1318" y="263"/>
                  <a:pt x="1318" y="263"/>
                </a:cubicBezTo>
                <a:cubicBezTo>
                  <a:pt x="1318" y="253"/>
                  <a:pt x="1318" y="253"/>
                  <a:pt x="1318" y="253"/>
                </a:cubicBezTo>
                <a:cubicBezTo>
                  <a:pt x="1326" y="253"/>
                  <a:pt x="1326" y="253"/>
                  <a:pt x="1326" y="253"/>
                </a:cubicBezTo>
                <a:cubicBezTo>
                  <a:pt x="1326" y="263"/>
                  <a:pt x="1326" y="263"/>
                  <a:pt x="1326" y="263"/>
                </a:cubicBezTo>
                <a:moveTo>
                  <a:pt x="1326" y="245"/>
                </a:moveTo>
                <a:cubicBezTo>
                  <a:pt x="1318" y="245"/>
                  <a:pt x="1318" y="245"/>
                  <a:pt x="1318" y="245"/>
                </a:cubicBezTo>
                <a:cubicBezTo>
                  <a:pt x="1318" y="235"/>
                  <a:pt x="1318" y="235"/>
                  <a:pt x="1318" y="235"/>
                </a:cubicBezTo>
                <a:cubicBezTo>
                  <a:pt x="1326" y="235"/>
                  <a:pt x="1326" y="235"/>
                  <a:pt x="1326" y="235"/>
                </a:cubicBezTo>
                <a:cubicBezTo>
                  <a:pt x="1326" y="245"/>
                  <a:pt x="1326" y="245"/>
                  <a:pt x="1326" y="245"/>
                </a:cubicBezTo>
                <a:moveTo>
                  <a:pt x="1326" y="226"/>
                </a:moveTo>
                <a:cubicBezTo>
                  <a:pt x="1318" y="226"/>
                  <a:pt x="1318" y="226"/>
                  <a:pt x="1318" y="226"/>
                </a:cubicBezTo>
                <a:cubicBezTo>
                  <a:pt x="1318" y="216"/>
                  <a:pt x="1318" y="216"/>
                  <a:pt x="1318" y="216"/>
                </a:cubicBezTo>
                <a:cubicBezTo>
                  <a:pt x="1326" y="216"/>
                  <a:pt x="1326" y="216"/>
                  <a:pt x="1326" y="216"/>
                </a:cubicBezTo>
                <a:cubicBezTo>
                  <a:pt x="1326" y="226"/>
                  <a:pt x="1326" y="226"/>
                  <a:pt x="1326" y="226"/>
                </a:cubicBezTo>
                <a:moveTo>
                  <a:pt x="1326" y="208"/>
                </a:moveTo>
                <a:cubicBezTo>
                  <a:pt x="1318" y="208"/>
                  <a:pt x="1318" y="208"/>
                  <a:pt x="1318" y="208"/>
                </a:cubicBezTo>
                <a:cubicBezTo>
                  <a:pt x="1318" y="198"/>
                  <a:pt x="1318" y="198"/>
                  <a:pt x="1318" y="198"/>
                </a:cubicBezTo>
                <a:cubicBezTo>
                  <a:pt x="1326" y="198"/>
                  <a:pt x="1326" y="198"/>
                  <a:pt x="1326" y="198"/>
                </a:cubicBezTo>
                <a:cubicBezTo>
                  <a:pt x="1326" y="208"/>
                  <a:pt x="1326" y="208"/>
                  <a:pt x="1326" y="208"/>
                </a:cubicBezTo>
                <a:moveTo>
                  <a:pt x="1335" y="295"/>
                </a:moveTo>
                <a:cubicBezTo>
                  <a:pt x="1332" y="295"/>
                  <a:pt x="1332" y="295"/>
                  <a:pt x="1332" y="295"/>
                </a:cubicBezTo>
                <a:cubicBezTo>
                  <a:pt x="1332" y="287"/>
                  <a:pt x="1332" y="287"/>
                  <a:pt x="1332" y="287"/>
                </a:cubicBezTo>
                <a:cubicBezTo>
                  <a:pt x="1335" y="287"/>
                  <a:pt x="1335" y="287"/>
                  <a:pt x="1335" y="287"/>
                </a:cubicBezTo>
                <a:cubicBezTo>
                  <a:pt x="1335" y="295"/>
                  <a:pt x="1335" y="295"/>
                  <a:pt x="1335" y="295"/>
                </a:cubicBezTo>
                <a:moveTo>
                  <a:pt x="1341" y="268"/>
                </a:moveTo>
                <a:cubicBezTo>
                  <a:pt x="1340" y="268"/>
                  <a:pt x="1340" y="268"/>
                  <a:pt x="1340" y="268"/>
                </a:cubicBezTo>
                <a:cubicBezTo>
                  <a:pt x="1340" y="261"/>
                  <a:pt x="1340" y="261"/>
                  <a:pt x="1340" y="261"/>
                </a:cubicBezTo>
                <a:cubicBezTo>
                  <a:pt x="1341" y="261"/>
                  <a:pt x="1341" y="261"/>
                  <a:pt x="1341" y="261"/>
                </a:cubicBezTo>
                <a:cubicBezTo>
                  <a:pt x="1341" y="268"/>
                  <a:pt x="1341" y="268"/>
                  <a:pt x="1341" y="268"/>
                </a:cubicBezTo>
                <a:moveTo>
                  <a:pt x="1346" y="232"/>
                </a:moveTo>
                <a:cubicBezTo>
                  <a:pt x="1340" y="232"/>
                  <a:pt x="1340" y="232"/>
                  <a:pt x="1340" y="232"/>
                </a:cubicBezTo>
                <a:cubicBezTo>
                  <a:pt x="1340" y="225"/>
                  <a:pt x="1340" y="225"/>
                  <a:pt x="1340" y="225"/>
                </a:cubicBezTo>
                <a:cubicBezTo>
                  <a:pt x="1346" y="225"/>
                  <a:pt x="1346" y="225"/>
                  <a:pt x="1346" y="225"/>
                </a:cubicBezTo>
                <a:cubicBezTo>
                  <a:pt x="1346" y="232"/>
                  <a:pt x="1346" y="232"/>
                  <a:pt x="1346" y="232"/>
                </a:cubicBezTo>
                <a:moveTo>
                  <a:pt x="1346" y="197"/>
                </a:moveTo>
                <a:cubicBezTo>
                  <a:pt x="1340" y="197"/>
                  <a:pt x="1340" y="197"/>
                  <a:pt x="1340" y="197"/>
                </a:cubicBezTo>
                <a:cubicBezTo>
                  <a:pt x="1340" y="190"/>
                  <a:pt x="1340" y="190"/>
                  <a:pt x="1340" y="190"/>
                </a:cubicBezTo>
                <a:cubicBezTo>
                  <a:pt x="1346" y="190"/>
                  <a:pt x="1346" y="190"/>
                  <a:pt x="1346" y="190"/>
                </a:cubicBezTo>
                <a:cubicBezTo>
                  <a:pt x="1346" y="197"/>
                  <a:pt x="1346" y="197"/>
                  <a:pt x="1346" y="197"/>
                </a:cubicBezTo>
                <a:moveTo>
                  <a:pt x="1346" y="161"/>
                </a:moveTo>
                <a:cubicBezTo>
                  <a:pt x="1340" y="161"/>
                  <a:pt x="1340" y="161"/>
                  <a:pt x="1340" y="161"/>
                </a:cubicBezTo>
                <a:cubicBezTo>
                  <a:pt x="1340" y="154"/>
                  <a:pt x="1340" y="154"/>
                  <a:pt x="1340" y="154"/>
                </a:cubicBezTo>
                <a:cubicBezTo>
                  <a:pt x="1346" y="154"/>
                  <a:pt x="1346" y="154"/>
                  <a:pt x="1346" y="154"/>
                </a:cubicBezTo>
                <a:cubicBezTo>
                  <a:pt x="1346" y="161"/>
                  <a:pt x="1346" y="161"/>
                  <a:pt x="1346" y="161"/>
                </a:cubicBezTo>
                <a:moveTo>
                  <a:pt x="1358" y="283"/>
                </a:moveTo>
                <a:cubicBezTo>
                  <a:pt x="1353" y="283"/>
                  <a:pt x="1353" y="283"/>
                  <a:pt x="1353" y="283"/>
                </a:cubicBezTo>
                <a:cubicBezTo>
                  <a:pt x="1353" y="276"/>
                  <a:pt x="1353" y="276"/>
                  <a:pt x="1353" y="276"/>
                </a:cubicBezTo>
                <a:cubicBezTo>
                  <a:pt x="1358" y="276"/>
                  <a:pt x="1358" y="276"/>
                  <a:pt x="1358" y="276"/>
                </a:cubicBezTo>
                <a:cubicBezTo>
                  <a:pt x="1358" y="283"/>
                  <a:pt x="1358" y="283"/>
                  <a:pt x="1358" y="283"/>
                </a:cubicBezTo>
                <a:moveTo>
                  <a:pt x="1358" y="248"/>
                </a:moveTo>
                <a:cubicBezTo>
                  <a:pt x="1353" y="248"/>
                  <a:pt x="1353" y="248"/>
                  <a:pt x="1353" y="248"/>
                </a:cubicBezTo>
                <a:cubicBezTo>
                  <a:pt x="1353" y="241"/>
                  <a:pt x="1353" y="241"/>
                  <a:pt x="1353" y="241"/>
                </a:cubicBezTo>
                <a:cubicBezTo>
                  <a:pt x="1358" y="241"/>
                  <a:pt x="1358" y="241"/>
                  <a:pt x="1358" y="241"/>
                </a:cubicBezTo>
                <a:cubicBezTo>
                  <a:pt x="1358" y="248"/>
                  <a:pt x="1358" y="248"/>
                  <a:pt x="1358" y="248"/>
                </a:cubicBezTo>
                <a:moveTo>
                  <a:pt x="1358" y="212"/>
                </a:moveTo>
                <a:cubicBezTo>
                  <a:pt x="1353" y="212"/>
                  <a:pt x="1353" y="212"/>
                  <a:pt x="1353" y="212"/>
                </a:cubicBezTo>
                <a:cubicBezTo>
                  <a:pt x="1353" y="205"/>
                  <a:pt x="1353" y="205"/>
                  <a:pt x="1353" y="205"/>
                </a:cubicBezTo>
                <a:cubicBezTo>
                  <a:pt x="1358" y="205"/>
                  <a:pt x="1358" y="205"/>
                  <a:pt x="1358" y="205"/>
                </a:cubicBezTo>
                <a:cubicBezTo>
                  <a:pt x="1358" y="212"/>
                  <a:pt x="1358" y="212"/>
                  <a:pt x="1358" y="212"/>
                </a:cubicBezTo>
                <a:moveTo>
                  <a:pt x="1358" y="177"/>
                </a:moveTo>
                <a:cubicBezTo>
                  <a:pt x="1353" y="177"/>
                  <a:pt x="1353" y="177"/>
                  <a:pt x="1353" y="177"/>
                </a:cubicBezTo>
                <a:cubicBezTo>
                  <a:pt x="1353" y="170"/>
                  <a:pt x="1353" y="170"/>
                  <a:pt x="1353" y="170"/>
                </a:cubicBezTo>
                <a:cubicBezTo>
                  <a:pt x="1358" y="170"/>
                  <a:pt x="1358" y="170"/>
                  <a:pt x="1358" y="170"/>
                </a:cubicBezTo>
                <a:cubicBezTo>
                  <a:pt x="1358" y="177"/>
                  <a:pt x="1358" y="177"/>
                  <a:pt x="1358" y="177"/>
                </a:cubicBezTo>
                <a:moveTo>
                  <a:pt x="1371" y="299"/>
                </a:moveTo>
                <a:cubicBezTo>
                  <a:pt x="1365" y="299"/>
                  <a:pt x="1365" y="299"/>
                  <a:pt x="1365" y="299"/>
                </a:cubicBezTo>
                <a:cubicBezTo>
                  <a:pt x="1365" y="292"/>
                  <a:pt x="1365" y="292"/>
                  <a:pt x="1365" y="292"/>
                </a:cubicBezTo>
                <a:cubicBezTo>
                  <a:pt x="1371" y="292"/>
                  <a:pt x="1371" y="292"/>
                  <a:pt x="1371" y="292"/>
                </a:cubicBezTo>
                <a:cubicBezTo>
                  <a:pt x="1371" y="299"/>
                  <a:pt x="1371" y="299"/>
                  <a:pt x="1371" y="299"/>
                </a:cubicBezTo>
                <a:moveTo>
                  <a:pt x="1371" y="263"/>
                </a:moveTo>
                <a:cubicBezTo>
                  <a:pt x="1365" y="263"/>
                  <a:pt x="1365" y="263"/>
                  <a:pt x="1365" y="263"/>
                </a:cubicBezTo>
                <a:cubicBezTo>
                  <a:pt x="1365" y="256"/>
                  <a:pt x="1365" y="256"/>
                  <a:pt x="1365" y="256"/>
                </a:cubicBezTo>
                <a:cubicBezTo>
                  <a:pt x="1371" y="256"/>
                  <a:pt x="1371" y="256"/>
                  <a:pt x="1371" y="256"/>
                </a:cubicBezTo>
                <a:cubicBezTo>
                  <a:pt x="1371" y="263"/>
                  <a:pt x="1371" y="263"/>
                  <a:pt x="1371" y="263"/>
                </a:cubicBezTo>
                <a:moveTo>
                  <a:pt x="1371" y="228"/>
                </a:moveTo>
                <a:cubicBezTo>
                  <a:pt x="1365" y="228"/>
                  <a:pt x="1365" y="228"/>
                  <a:pt x="1365" y="228"/>
                </a:cubicBezTo>
                <a:cubicBezTo>
                  <a:pt x="1365" y="221"/>
                  <a:pt x="1365" y="221"/>
                  <a:pt x="1365" y="221"/>
                </a:cubicBezTo>
                <a:cubicBezTo>
                  <a:pt x="1371" y="221"/>
                  <a:pt x="1371" y="221"/>
                  <a:pt x="1371" y="221"/>
                </a:cubicBezTo>
                <a:cubicBezTo>
                  <a:pt x="1371" y="228"/>
                  <a:pt x="1371" y="228"/>
                  <a:pt x="1371" y="228"/>
                </a:cubicBezTo>
                <a:moveTo>
                  <a:pt x="1371" y="192"/>
                </a:moveTo>
                <a:cubicBezTo>
                  <a:pt x="1365" y="192"/>
                  <a:pt x="1365" y="192"/>
                  <a:pt x="1365" y="192"/>
                </a:cubicBezTo>
                <a:cubicBezTo>
                  <a:pt x="1365" y="185"/>
                  <a:pt x="1365" y="185"/>
                  <a:pt x="1365" y="185"/>
                </a:cubicBezTo>
                <a:cubicBezTo>
                  <a:pt x="1371" y="185"/>
                  <a:pt x="1371" y="185"/>
                  <a:pt x="1371" y="185"/>
                </a:cubicBezTo>
                <a:cubicBezTo>
                  <a:pt x="1371" y="192"/>
                  <a:pt x="1371" y="192"/>
                  <a:pt x="1371" y="192"/>
                </a:cubicBezTo>
                <a:moveTo>
                  <a:pt x="1384" y="279"/>
                </a:moveTo>
                <a:cubicBezTo>
                  <a:pt x="1378" y="279"/>
                  <a:pt x="1378" y="279"/>
                  <a:pt x="1378" y="279"/>
                </a:cubicBezTo>
                <a:cubicBezTo>
                  <a:pt x="1378" y="272"/>
                  <a:pt x="1378" y="272"/>
                  <a:pt x="1378" y="272"/>
                </a:cubicBezTo>
                <a:cubicBezTo>
                  <a:pt x="1384" y="272"/>
                  <a:pt x="1384" y="272"/>
                  <a:pt x="1384" y="272"/>
                </a:cubicBezTo>
                <a:cubicBezTo>
                  <a:pt x="1384" y="279"/>
                  <a:pt x="1384" y="279"/>
                  <a:pt x="1384" y="279"/>
                </a:cubicBezTo>
                <a:moveTo>
                  <a:pt x="1384" y="243"/>
                </a:moveTo>
                <a:cubicBezTo>
                  <a:pt x="1378" y="243"/>
                  <a:pt x="1378" y="243"/>
                  <a:pt x="1378" y="243"/>
                </a:cubicBezTo>
                <a:cubicBezTo>
                  <a:pt x="1378" y="236"/>
                  <a:pt x="1378" y="236"/>
                  <a:pt x="1378" y="236"/>
                </a:cubicBezTo>
                <a:cubicBezTo>
                  <a:pt x="1384" y="236"/>
                  <a:pt x="1384" y="236"/>
                  <a:pt x="1384" y="236"/>
                </a:cubicBezTo>
                <a:cubicBezTo>
                  <a:pt x="1384" y="243"/>
                  <a:pt x="1384" y="243"/>
                  <a:pt x="1384" y="243"/>
                </a:cubicBezTo>
                <a:moveTo>
                  <a:pt x="1384" y="208"/>
                </a:moveTo>
                <a:cubicBezTo>
                  <a:pt x="1378" y="208"/>
                  <a:pt x="1378" y="208"/>
                  <a:pt x="1378" y="208"/>
                </a:cubicBezTo>
                <a:cubicBezTo>
                  <a:pt x="1378" y="201"/>
                  <a:pt x="1378" y="201"/>
                  <a:pt x="1378" y="201"/>
                </a:cubicBezTo>
                <a:cubicBezTo>
                  <a:pt x="1384" y="201"/>
                  <a:pt x="1384" y="201"/>
                  <a:pt x="1384" y="201"/>
                </a:cubicBezTo>
                <a:cubicBezTo>
                  <a:pt x="1384" y="208"/>
                  <a:pt x="1384" y="208"/>
                  <a:pt x="1384" y="208"/>
                </a:cubicBezTo>
                <a:moveTo>
                  <a:pt x="1426" y="293"/>
                </a:moveTo>
                <a:cubicBezTo>
                  <a:pt x="1408" y="293"/>
                  <a:pt x="1408" y="293"/>
                  <a:pt x="1408" y="293"/>
                </a:cubicBezTo>
                <a:cubicBezTo>
                  <a:pt x="1408" y="288"/>
                  <a:pt x="1408" y="288"/>
                  <a:pt x="1408" y="288"/>
                </a:cubicBezTo>
                <a:cubicBezTo>
                  <a:pt x="1426" y="288"/>
                  <a:pt x="1426" y="288"/>
                  <a:pt x="1426" y="288"/>
                </a:cubicBezTo>
                <a:cubicBezTo>
                  <a:pt x="1426" y="293"/>
                  <a:pt x="1426" y="293"/>
                  <a:pt x="1426" y="293"/>
                </a:cubicBezTo>
                <a:moveTo>
                  <a:pt x="1426" y="282"/>
                </a:moveTo>
                <a:cubicBezTo>
                  <a:pt x="1408" y="282"/>
                  <a:pt x="1408" y="282"/>
                  <a:pt x="1408" y="282"/>
                </a:cubicBezTo>
                <a:cubicBezTo>
                  <a:pt x="1408" y="277"/>
                  <a:pt x="1408" y="277"/>
                  <a:pt x="1408" y="277"/>
                </a:cubicBezTo>
                <a:cubicBezTo>
                  <a:pt x="1426" y="277"/>
                  <a:pt x="1426" y="277"/>
                  <a:pt x="1426" y="277"/>
                </a:cubicBezTo>
                <a:cubicBezTo>
                  <a:pt x="1426" y="282"/>
                  <a:pt x="1426" y="282"/>
                  <a:pt x="1426" y="282"/>
                </a:cubicBezTo>
                <a:moveTo>
                  <a:pt x="1426" y="271"/>
                </a:moveTo>
                <a:cubicBezTo>
                  <a:pt x="1408" y="271"/>
                  <a:pt x="1408" y="271"/>
                  <a:pt x="1408" y="271"/>
                </a:cubicBezTo>
                <a:cubicBezTo>
                  <a:pt x="1408" y="266"/>
                  <a:pt x="1408" y="266"/>
                  <a:pt x="1408" y="266"/>
                </a:cubicBezTo>
                <a:cubicBezTo>
                  <a:pt x="1426" y="266"/>
                  <a:pt x="1426" y="266"/>
                  <a:pt x="1426" y="266"/>
                </a:cubicBezTo>
                <a:cubicBezTo>
                  <a:pt x="1426" y="271"/>
                  <a:pt x="1426" y="271"/>
                  <a:pt x="1426" y="271"/>
                </a:cubicBezTo>
                <a:moveTo>
                  <a:pt x="1426" y="260"/>
                </a:moveTo>
                <a:cubicBezTo>
                  <a:pt x="1408" y="260"/>
                  <a:pt x="1408" y="260"/>
                  <a:pt x="1408" y="260"/>
                </a:cubicBezTo>
                <a:cubicBezTo>
                  <a:pt x="1408" y="255"/>
                  <a:pt x="1408" y="255"/>
                  <a:pt x="1408" y="255"/>
                </a:cubicBezTo>
                <a:cubicBezTo>
                  <a:pt x="1426" y="255"/>
                  <a:pt x="1426" y="255"/>
                  <a:pt x="1426" y="255"/>
                </a:cubicBezTo>
                <a:cubicBezTo>
                  <a:pt x="1426" y="260"/>
                  <a:pt x="1426" y="260"/>
                  <a:pt x="1426" y="260"/>
                </a:cubicBezTo>
                <a:moveTo>
                  <a:pt x="1426" y="249"/>
                </a:moveTo>
                <a:cubicBezTo>
                  <a:pt x="1408" y="249"/>
                  <a:pt x="1408" y="249"/>
                  <a:pt x="1408" y="249"/>
                </a:cubicBezTo>
                <a:cubicBezTo>
                  <a:pt x="1408" y="244"/>
                  <a:pt x="1408" y="244"/>
                  <a:pt x="1408" y="244"/>
                </a:cubicBezTo>
                <a:cubicBezTo>
                  <a:pt x="1426" y="244"/>
                  <a:pt x="1426" y="244"/>
                  <a:pt x="1426" y="244"/>
                </a:cubicBezTo>
                <a:cubicBezTo>
                  <a:pt x="1426" y="249"/>
                  <a:pt x="1426" y="249"/>
                  <a:pt x="1426" y="249"/>
                </a:cubicBezTo>
                <a:moveTo>
                  <a:pt x="1426" y="238"/>
                </a:moveTo>
                <a:cubicBezTo>
                  <a:pt x="1408" y="238"/>
                  <a:pt x="1408" y="238"/>
                  <a:pt x="1408" y="238"/>
                </a:cubicBezTo>
                <a:cubicBezTo>
                  <a:pt x="1408" y="234"/>
                  <a:pt x="1408" y="234"/>
                  <a:pt x="1408" y="234"/>
                </a:cubicBezTo>
                <a:cubicBezTo>
                  <a:pt x="1426" y="234"/>
                  <a:pt x="1426" y="234"/>
                  <a:pt x="1426" y="234"/>
                </a:cubicBezTo>
                <a:cubicBezTo>
                  <a:pt x="1426" y="238"/>
                  <a:pt x="1426" y="238"/>
                  <a:pt x="1426" y="238"/>
                </a:cubicBezTo>
                <a:moveTo>
                  <a:pt x="1426" y="228"/>
                </a:moveTo>
                <a:cubicBezTo>
                  <a:pt x="1408" y="228"/>
                  <a:pt x="1408" y="228"/>
                  <a:pt x="1408" y="228"/>
                </a:cubicBezTo>
                <a:cubicBezTo>
                  <a:pt x="1408" y="223"/>
                  <a:pt x="1408" y="223"/>
                  <a:pt x="1408" y="223"/>
                </a:cubicBezTo>
                <a:cubicBezTo>
                  <a:pt x="1426" y="223"/>
                  <a:pt x="1426" y="223"/>
                  <a:pt x="1426" y="223"/>
                </a:cubicBezTo>
                <a:cubicBezTo>
                  <a:pt x="1426" y="228"/>
                  <a:pt x="1426" y="228"/>
                  <a:pt x="1426" y="228"/>
                </a:cubicBezTo>
                <a:moveTo>
                  <a:pt x="1426" y="217"/>
                </a:moveTo>
                <a:cubicBezTo>
                  <a:pt x="1408" y="217"/>
                  <a:pt x="1408" y="217"/>
                  <a:pt x="1408" y="217"/>
                </a:cubicBezTo>
                <a:cubicBezTo>
                  <a:pt x="1408" y="212"/>
                  <a:pt x="1408" y="212"/>
                  <a:pt x="1408" y="212"/>
                </a:cubicBezTo>
                <a:cubicBezTo>
                  <a:pt x="1426" y="212"/>
                  <a:pt x="1426" y="212"/>
                  <a:pt x="1426" y="212"/>
                </a:cubicBezTo>
                <a:cubicBezTo>
                  <a:pt x="1426" y="217"/>
                  <a:pt x="1426" y="217"/>
                  <a:pt x="1426" y="217"/>
                </a:cubicBezTo>
                <a:moveTo>
                  <a:pt x="1474" y="214"/>
                </a:moveTo>
                <a:cubicBezTo>
                  <a:pt x="1465" y="214"/>
                  <a:pt x="1465" y="214"/>
                  <a:pt x="1465" y="214"/>
                </a:cubicBezTo>
                <a:cubicBezTo>
                  <a:pt x="1465" y="203"/>
                  <a:pt x="1465" y="203"/>
                  <a:pt x="1465" y="203"/>
                </a:cubicBezTo>
                <a:cubicBezTo>
                  <a:pt x="1474" y="203"/>
                  <a:pt x="1474" y="203"/>
                  <a:pt x="1474" y="203"/>
                </a:cubicBezTo>
                <a:cubicBezTo>
                  <a:pt x="1474" y="214"/>
                  <a:pt x="1474" y="214"/>
                  <a:pt x="1474" y="214"/>
                </a:cubicBezTo>
                <a:moveTo>
                  <a:pt x="1474" y="154"/>
                </a:moveTo>
                <a:cubicBezTo>
                  <a:pt x="1465" y="154"/>
                  <a:pt x="1465" y="154"/>
                  <a:pt x="1465" y="154"/>
                </a:cubicBezTo>
                <a:cubicBezTo>
                  <a:pt x="1465" y="143"/>
                  <a:pt x="1465" y="143"/>
                  <a:pt x="1465" y="143"/>
                </a:cubicBezTo>
                <a:cubicBezTo>
                  <a:pt x="1474" y="143"/>
                  <a:pt x="1474" y="143"/>
                  <a:pt x="1474" y="143"/>
                </a:cubicBezTo>
                <a:cubicBezTo>
                  <a:pt x="1474" y="154"/>
                  <a:pt x="1474" y="154"/>
                  <a:pt x="1474" y="154"/>
                </a:cubicBezTo>
                <a:moveTo>
                  <a:pt x="1489" y="242"/>
                </a:moveTo>
                <a:cubicBezTo>
                  <a:pt x="1480" y="242"/>
                  <a:pt x="1480" y="242"/>
                  <a:pt x="1480" y="242"/>
                </a:cubicBezTo>
                <a:cubicBezTo>
                  <a:pt x="1480" y="231"/>
                  <a:pt x="1480" y="231"/>
                  <a:pt x="1480" y="231"/>
                </a:cubicBezTo>
                <a:cubicBezTo>
                  <a:pt x="1489" y="231"/>
                  <a:pt x="1489" y="231"/>
                  <a:pt x="1489" y="231"/>
                </a:cubicBezTo>
                <a:cubicBezTo>
                  <a:pt x="1489" y="242"/>
                  <a:pt x="1489" y="242"/>
                  <a:pt x="1489" y="242"/>
                </a:cubicBezTo>
                <a:moveTo>
                  <a:pt x="1493" y="178"/>
                </a:moveTo>
                <a:cubicBezTo>
                  <a:pt x="1485" y="178"/>
                  <a:pt x="1485" y="178"/>
                  <a:pt x="1485" y="178"/>
                </a:cubicBezTo>
                <a:cubicBezTo>
                  <a:pt x="1485" y="167"/>
                  <a:pt x="1485" y="167"/>
                  <a:pt x="1485" y="167"/>
                </a:cubicBezTo>
                <a:cubicBezTo>
                  <a:pt x="1493" y="167"/>
                  <a:pt x="1493" y="167"/>
                  <a:pt x="1493" y="167"/>
                </a:cubicBezTo>
                <a:cubicBezTo>
                  <a:pt x="1493" y="178"/>
                  <a:pt x="1493" y="178"/>
                  <a:pt x="1493" y="178"/>
                </a:cubicBezTo>
                <a:moveTo>
                  <a:pt x="1502" y="154"/>
                </a:moveTo>
                <a:cubicBezTo>
                  <a:pt x="1493" y="154"/>
                  <a:pt x="1493" y="154"/>
                  <a:pt x="1493" y="154"/>
                </a:cubicBezTo>
                <a:cubicBezTo>
                  <a:pt x="1493" y="143"/>
                  <a:pt x="1493" y="143"/>
                  <a:pt x="1493" y="143"/>
                </a:cubicBezTo>
                <a:cubicBezTo>
                  <a:pt x="1502" y="143"/>
                  <a:pt x="1502" y="143"/>
                  <a:pt x="1502" y="143"/>
                </a:cubicBezTo>
                <a:cubicBezTo>
                  <a:pt x="1502" y="154"/>
                  <a:pt x="1502" y="154"/>
                  <a:pt x="1502" y="154"/>
                </a:cubicBezTo>
                <a:moveTo>
                  <a:pt x="1602" y="107"/>
                </a:moveTo>
                <a:cubicBezTo>
                  <a:pt x="1611" y="107"/>
                  <a:pt x="1611" y="107"/>
                  <a:pt x="1611" y="107"/>
                </a:cubicBezTo>
                <a:cubicBezTo>
                  <a:pt x="1611" y="117"/>
                  <a:pt x="1611" y="117"/>
                  <a:pt x="1611" y="117"/>
                </a:cubicBezTo>
                <a:cubicBezTo>
                  <a:pt x="1602" y="117"/>
                  <a:pt x="1602" y="117"/>
                  <a:pt x="1602" y="117"/>
                </a:cubicBezTo>
                <a:cubicBezTo>
                  <a:pt x="1602" y="107"/>
                  <a:pt x="1602" y="107"/>
                  <a:pt x="1602" y="107"/>
                </a:cubicBezTo>
                <a:moveTo>
                  <a:pt x="1602" y="173"/>
                </a:moveTo>
                <a:cubicBezTo>
                  <a:pt x="1611" y="173"/>
                  <a:pt x="1611" y="173"/>
                  <a:pt x="1611" y="173"/>
                </a:cubicBezTo>
                <a:cubicBezTo>
                  <a:pt x="1611" y="183"/>
                  <a:pt x="1611" y="183"/>
                  <a:pt x="1611" y="183"/>
                </a:cubicBezTo>
                <a:cubicBezTo>
                  <a:pt x="1602" y="183"/>
                  <a:pt x="1602" y="183"/>
                  <a:pt x="1602" y="183"/>
                </a:cubicBezTo>
                <a:cubicBezTo>
                  <a:pt x="1602" y="173"/>
                  <a:pt x="1602" y="173"/>
                  <a:pt x="1602" y="173"/>
                </a:cubicBezTo>
                <a:moveTo>
                  <a:pt x="1615" y="274"/>
                </a:moveTo>
                <a:cubicBezTo>
                  <a:pt x="1606" y="274"/>
                  <a:pt x="1606" y="274"/>
                  <a:pt x="1606" y="274"/>
                </a:cubicBezTo>
                <a:cubicBezTo>
                  <a:pt x="1606" y="263"/>
                  <a:pt x="1606" y="263"/>
                  <a:pt x="1606" y="263"/>
                </a:cubicBezTo>
                <a:cubicBezTo>
                  <a:pt x="1615" y="263"/>
                  <a:pt x="1615" y="263"/>
                  <a:pt x="1615" y="263"/>
                </a:cubicBezTo>
                <a:cubicBezTo>
                  <a:pt x="1615" y="274"/>
                  <a:pt x="1615" y="274"/>
                  <a:pt x="1615" y="274"/>
                </a:cubicBezTo>
                <a:moveTo>
                  <a:pt x="1623" y="214"/>
                </a:moveTo>
                <a:cubicBezTo>
                  <a:pt x="1615" y="214"/>
                  <a:pt x="1615" y="214"/>
                  <a:pt x="1615" y="214"/>
                </a:cubicBezTo>
                <a:cubicBezTo>
                  <a:pt x="1615" y="203"/>
                  <a:pt x="1615" y="203"/>
                  <a:pt x="1615" y="203"/>
                </a:cubicBezTo>
                <a:cubicBezTo>
                  <a:pt x="1623" y="203"/>
                  <a:pt x="1623" y="203"/>
                  <a:pt x="1623" y="203"/>
                </a:cubicBezTo>
                <a:cubicBezTo>
                  <a:pt x="1623" y="214"/>
                  <a:pt x="1623" y="214"/>
                  <a:pt x="1623" y="214"/>
                </a:cubicBezTo>
                <a:moveTo>
                  <a:pt x="1644" y="159"/>
                </a:moveTo>
                <a:cubicBezTo>
                  <a:pt x="1635" y="159"/>
                  <a:pt x="1635" y="159"/>
                  <a:pt x="1635" y="159"/>
                </a:cubicBezTo>
                <a:cubicBezTo>
                  <a:pt x="1635" y="149"/>
                  <a:pt x="1635" y="149"/>
                  <a:pt x="1635" y="149"/>
                </a:cubicBezTo>
                <a:cubicBezTo>
                  <a:pt x="1644" y="149"/>
                  <a:pt x="1644" y="149"/>
                  <a:pt x="1644" y="149"/>
                </a:cubicBezTo>
                <a:cubicBezTo>
                  <a:pt x="1644" y="159"/>
                  <a:pt x="1644" y="159"/>
                  <a:pt x="1644" y="159"/>
                </a:cubicBezTo>
                <a:moveTo>
                  <a:pt x="1644" y="123"/>
                </a:moveTo>
                <a:cubicBezTo>
                  <a:pt x="1635" y="123"/>
                  <a:pt x="1635" y="123"/>
                  <a:pt x="1635" y="123"/>
                </a:cubicBezTo>
                <a:cubicBezTo>
                  <a:pt x="1635" y="112"/>
                  <a:pt x="1635" y="112"/>
                  <a:pt x="1635" y="112"/>
                </a:cubicBezTo>
                <a:cubicBezTo>
                  <a:pt x="1644" y="112"/>
                  <a:pt x="1644" y="112"/>
                  <a:pt x="1644" y="112"/>
                </a:cubicBezTo>
                <a:cubicBezTo>
                  <a:pt x="1644" y="123"/>
                  <a:pt x="1644" y="123"/>
                  <a:pt x="1644" y="123"/>
                </a:cubicBezTo>
                <a:moveTo>
                  <a:pt x="1703" y="303"/>
                </a:moveTo>
                <a:cubicBezTo>
                  <a:pt x="1691" y="303"/>
                  <a:pt x="1691" y="303"/>
                  <a:pt x="1691" y="303"/>
                </a:cubicBezTo>
                <a:cubicBezTo>
                  <a:pt x="1691" y="288"/>
                  <a:pt x="1691" y="288"/>
                  <a:pt x="1691" y="288"/>
                </a:cubicBezTo>
                <a:cubicBezTo>
                  <a:pt x="1703" y="288"/>
                  <a:pt x="1703" y="288"/>
                  <a:pt x="1703" y="288"/>
                </a:cubicBezTo>
                <a:cubicBezTo>
                  <a:pt x="1703" y="303"/>
                  <a:pt x="1703" y="303"/>
                  <a:pt x="1703" y="303"/>
                </a:cubicBezTo>
                <a:moveTo>
                  <a:pt x="1739" y="283"/>
                </a:moveTo>
                <a:cubicBezTo>
                  <a:pt x="1727" y="283"/>
                  <a:pt x="1727" y="283"/>
                  <a:pt x="1727" y="283"/>
                </a:cubicBezTo>
                <a:cubicBezTo>
                  <a:pt x="1727" y="268"/>
                  <a:pt x="1727" y="268"/>
                  <a:pt x="1727" y="268"/>
                </a:cubicBezTo>
                <a:cubicBezTo>
                  <a:pt x="1739" y="268"/>
                  <a:pt x="1739" y="268"/>
                  <a:pt x="1739" y="268"/>
                </a:cubicBezTo>
                <a:cubicBezTo>
                  <a:pt x="1739" y="283"/>
                  <a:pt x="1739" y="283"/>
                  <a:pt x="1739" y="283"/>
                </a:cubicBezTo>
                <a:moveTo>
                  <a:pt x="1793" y="290"/>
                </a:moveTo>
                <a:cubicBezTo>
                  <a:pt x="1781" y="290"/>
                  <a:pt x="1781" y="290"/>
                  <a:pt x="1781" y="290"/>
                </a:cubicBezTo>
                <a:cubicBezTo>
                  <a:pt x="1781" y="275"/>
                  <a:pt x="1781" y="275"/>
                  <a:pt x="1781" y="275"/>
                </a:cubicBezTo>
                <a:cubicBezTo>
                  <a:pt x="1793" y="275"/>
                  <a:pt x="1793" y="275"/>
                  <a:pt x="1793" y="275"/>
                </a:cubicBezTo>
                <a:cubicBezTo>
                  <a:pt x="1793" y="290"/>
                  <a:pt x="1793" y="290"/>
                  <a:pt x="1793" y="290"/>
                </a:cubicBezTo>
                <a:moveTo>
                  <a:pt x="1809" y="236"/>
                </a:moveTo>
                <a:cubicBezTo>
                  <a:pt x="1764" y="236"/>
                  <a:pt x="1764" y="236"/>
                  <a:pt x="1764" y="236"/>
                </a:cubicBezTo>
                <a:cubicBezTo>
                  <a:pt x="1764" y="117"/>
                  <a:pt x="1764" y="117"/>
                  <a:pt x="1764" y="117"/>
                </a:cubicBezTo>
                <a:cubicBezTo>
                  <a:pt x="1809" y="117"/>
                  <a:pt x="1809" y="117"/>
                  <a:pt x="1809" y="117"/>
                </a:cubicBezTo>
                <a:cubicBezTo>
                  <a:pt x="1809" y="236"/>
                  <a:pt x="1809" y="236"/>
                  <a:pt x="1809" y="236"/>
                </a:cubicBezTo>
                <a:moveTo>
                  <a:pt x="1817" y="60"/>
                </a:moveTo>
                <a:cubicBezTo>
                  <a:pt x="1826" y="60"/>
                  <a:pt x="1826" y="60"/>
                  <a:pt x="1826" y="60"/>
                </a:cubicBezTo>
                <a:cubicBezTo>
                  <a:pt x="1826" y="70"/>
                  <a:pt x="1826" y="70"/>
                  <a:pt x="1826" y="70"/>
                </a:cubicBezTo>
                <a:cubicBezTo>
                  <a:pt x="1817" y="70"/>
                  <a:pt x="1817" y="70"/>
                  <a:pt x="1817" y="70"/>
                </a:cubicBezTo>
                <a:cubicBezTo>
                  <a:pt x="1817" y="60"/>
                  <a:pt x="1817" y="60"/>
                  <a:pt x="1817" y="60"/>
                </a:cubicBezTo>
                <a:moveTo>
                  <a:pt x="1821" y="165"/>
                </a:moveTo>
                <a:cubicBezTo>
                  <a:pt x="1812" y="165"/>
                  <a:pt x="1812" y="165"/>
                  <a:pt x="1812" y="165"/>
                </a:cubicBezTo>
                <a:cubicBezTo>
                  <a:pt x="1812" y="154"/>
                  <a:pt x="1812" y="154"/>
                  <a:pt x="1812" y="154"/>
                </a:cubicBezTo>
                <a:cubicBezTo>
                  <a:pt x="1821" y="154"/>
                  <a:pt x="1821" y="154"/>
                  <a:pt x="1821" y="154"/>
                </a:cubicBezTo>
                <a:cubicBezTo>
                  <a:pt x="1821" y="165"/>
                  <a:pt x="1821" y="165"/>
                  <a:pt x="1821" y="165"/>
                </a:cubicBezTo>
                <a:moveTo>
                  <a:pt x="1821" y="107"/>
                </a:moveTo>
                <a:cubicBezTo>
                  <a:pt x="1830" y="107"/>
                  <a:pt x="1830" y="107"/>
                  <a:pt x="1830" y="107"/>
                </a:cubicBezTo>
                <a:cubicBezTo>
                  <a:pt x="1830" y="117"/>
                  <a:pt x="1830" y="117"/>
                  <a:pt x="1830" y="117"/>
                </a:cubicBezTo>
                <a:cubicBezTo>
                  <a:pt x="1821" y="117"/>
                  <a:pt x="1821" y="117"/>
                  <a:pt x="1821" y="117"/>
                </a:cubicBezTo>
                <a:cubicBezTo>
                  <a:pt x="1821" y="107"/>
                  <a:pt x="1821" y="107"/>
                  <a:pt x="1821" y="107"/>
                </a:cubicBezTo>
                <a:moveTo>
                  <a:pt x="1836" y="263"/>
                </a:moveTo>
                <a:cubicBezTo>
                  <a:pt x="1824" y="263"/>
                  <a:pt x="1824" y="263"/>
                  <a:pt x="1824" y="263"/>
                </a:cubicBezTo>
                <a:cubicBezTo>
                  <a:pt x="1824" y="248"/>
                  <a:pt x="1824" y="248"/>
                  <a:pt x="1824" y="248"/>
                </a:cubicBezTo>
                <a:cubicBezTo>
                  <a:pt x="1836" y="248"/>
                  <a:pt x="1836" y="248"/>
                  <a:pt x="1836" y="248"/>
                </a:cubicBezTo>
                <a:cubicBezTo>
                  <a:pt x="1836" y="263"/>
                  <a:pt x="1836" y="263"/>
                  <a:pt x="1836" y="263"/>
                </a:cubicBezTo>
                <a:moveTo>
                  <a:pt x="1840" y="186"/>
                </a:moveTo>
                <a:cubicBezTo>
                  <a:pt x="1831" y="186"/>
                  <a:pt x="1831" y="186"/>
                  <a:pt x="1831" y="186"/>
                </a:cubicBezTo>
                <a:cubicBezTo>
                  <a:pt x="1831" y="181"/>
                  <a:pt x="1831" y="181"/>
                  <a:pt x="1831" y="181"/>
                </a:cubicBezTo>
                <a:cubicBezTo>
                  <a:pt x="1840" y="181"/>
                  <a:pt x="1840" y="181"/>
                  <a:pt x="1840" y="181"/>
                </a:cubicBezTo>
                <a:cubicBezTo>
                  <a:pt x="1840" y="186"/>
                  <a:pt x="1840" y="186"/>
                  <a:pt x="1840" y="186"/>
                </a:cubicBezTo>
                <a:moveTo>
                  <a:pt x="1891" y="154"/>
                </a:moveTo>
                <a:cubicBezTo>
                  <a:pt x="1909" y="154"/>
                  <a:pt x="1909" y="154"/>
                  <a:pt x="1909" y="154"/>
                </a:cubicBezTo>
                <a:cubicBezTo>
                  <a:pt x="1909" y="165"/>
                  <a:pt x="1909" y="165"/>
                  <a:pt x="1909" y="165"/>
                </a:cubicBezTo>
                <a:cubicBezTo>
                  <a:pt x="1891" y="165"/>
                  <a:pt x="1891" y="165"/>
                  <a:pt x="1891" y="165"/>
                </a:cubicBezTo>
                <a:cubicBezTo>
                  <a:pt x="1891" y="154"/>
                  <a:pt x="1891" y="154"/>
                  <a:pt x="1891" y="154"/>
                </a:cubicBezTo>
                <a:moveTo>
                  <a:pt x="1891" y="203"/>
                </a:moveTo>
                <a:cubicBezTo>
                  <a:pt x="1909" y="203"/>
                  <a:pt x="1909" y="203"/>
                  <a:pt x="1909" y="203"/>
                </a:cubicBezTo>
                <a:cubicBezTo>
                  <a:pt x="1909" y="214"/>
                  <a:pt x="1909" y="214"/>
                  <a:pt x="1909" y="214"/>
                </a:cubicBezTo>
                <a:cubicBezTo>
                  <a:pt x="1891" y="214"/>
                  <a:pt x="1891" y="214"/>
                  <a:pt x="1891" y="214"/>
                </a:cubicBezTo>
                <a:cubicBezTo>
                  <a:pt x="1891" y="203"/>
                  <a:pt x="1891" y="203"/>
                  <a:pt x="1891" y="203"/>
                </a:cubicBezTo>
                <a:moveTo>
                  <a:pt x="1917" y="303"/>
                </a:moveTo>
                <a:cubicBezTo>
                  <a:pt x="1904" y="303"/>
                  <a:pt x="1904" y="303"/>
                  <a:pt x="1904" y="303"/>
                </a:cubicBezTo>
                <a:cubicBezTo>
                  <a:pt x="1904" y="288"/>
                  <a:pt x="1904" y="288"/>
                  <a:pt x="1904" y="288"/>
                </a:cubicBezTo>
                <a:cubicBezTo>
                  <a:pt x="1917" y="288"/>
                  <a:pt x="1917" y="288"/>
                  <a:pt x="1917" y="288"/>
                </a:cubicBezTo>
                <a:cubicBezTo>
                  <a:pt x="1917" y="303"/>
                  <a:pt x="1917" y="303"/>
                  <a:pt x="1917" y="303"/>
                </a:cubicBezTo>
                <a:moveTo>
                  <a:pt x="1921" y="107"/>
                </a:moveTo>
                <a:cubicBezTo>
                  <a:pt x="1938" y="107"/>
                  <a:pt x="1938" y="107"/>
                  <a:pt x="1938" y="107"/>
                </a:cubicBezTo>
                <a:cubicBezTo>
                  <a:pt x="1938" y="117"/>
                  <a:pt x="1938" y="117"/>
                  <a:pt x="1938" y="117"/>
                </a:cubicBezTo>
                <a:cubicBezTo>
                  <a:pt x="1921" y="117"/>
                  <a:pt x="1921" y="117"/>
                  <a:pt x="1921" y="117"/>
                </a:cubicBezTo>
                <a:cubicBezTo>
                  <a:pt x="1921" y="107"/>
                  <a:pt x="1921" y="107"/>
                  <a:pt x="1921" y="107"/>
                </a:cubicBezTo>
                <a:moveTo>
                  <a:pt x="1947" y="186"/>
                </a:moveTo>
                <a:cubicBezTo>
                  <a:pt x="1929" y="186"/>
                  <a:pt x="1929" y="186"/>
                  <a:pt x="1929" y="186"/>
                </a:cubicBezTo>
                <a:cubicBezTo>
                  <a:pt x="1929" y="176"/>
                  <a:pt x="1929" y="176"/>
                  <a:pt x="1929" y="176"/>
                </a:cubicBezTo>
                <a:cubicBezTo>
                  <a:pt x="1947" y="176"/>
                  <a:pt x="1947" y="176"/>
                  <a:pt x="1947" y="176"/>
                </a:cubicBezTo>
                <a:cubicBezTo>
                  <a:pt x="1947" y="186"/>
                  <a:pt x="1947" y="186"/>
                  <a:pt x="1947" y="186"/>
                </a:cubicBezTo>
                <a:moveTo>
                  <a:pt x="1989" y="186"/>
                </a:moveTo>
                <a:cubicBezTo>
                  <a:pt x="1996" y="186"/>
                  <a:pt x="1996" y="186"/>
                  <a:pt x="1996" y="186"/>
                </a:cubicBezTo>
                <a:cubicBezTo>
                  <a:pt x="1996" y="203"/>
                  <a:pt x="1996" y="203"/>
                  <a:pt x="1996" y="203"/>
                </a:cubicBezTo>
                <a:cubicBezTo>
                  <a:pt x="1989" y="203"/>
                  <a:pt x="1989" y="203"/>
                  <a:pt x="1989" y="203"/>
                </a:cubicBezTo>
                <a:cubicBezTo>
                  <a:pt x="1989" y="186"/>
                  <a:pt x="1989" y="186"/>
                  <a:pt x="1989" y="186"/>
                </a:cubicBezTo>
                <a:moveTo>
                  <a:pt x="2000" y="286"/>
                </a:moveTo>
                <a:cubicBezTo>
                  <a:pt x="1996" y="286"/>
                  <a:pt x="1996" y="286"/>
                  <a:pt x="1996" y="286"/>
                </a:cubicBezTo>
                <a:cubicBezTo>
                  <a:pt x="1996" y="295"/>
                  <a:pt x="1996" y="295"/>
                  <a:pt x="1996" y="295"/>
                </a:cubicBezTo>
                <a:cubicBezTo>
                  <a:pt x="1989" y="295"/>
                  <a:pt x="1989" y="295"/>
                  <a:pt x="1989" y="295"/>
                </a:cubicBezTo>
                <a:cubicBezTo>
                  <a:pt x="1989" y="242"/>
                  <a:pt x="1989" y="242"/>
                  <a:pt x="1989" y="242"/>
                </a:cubicBezTo>
                <a:cubicBezTo>
                  <a:pt x="1996" y="242"/>
                  <a:pt x="1996" y="242"/>
                  <a:pt x="1996" y="242"/>
                </a:cubicBezTo>
                <a:cubicBezTo>
                  <a:pt x="1996" y="274"/>
                  <a:pt x="1996" y="274"/>
                  <a:pt x="1996" y="274"/>
                </a:cubicBezTo>
                <a:cubicBezTo>
                  <a:pt x="2000" y="274"/>
                  <a:pt x="2000" y="274"/>
                  <a:pt x="2000" y="274"/>
                </a:cubicBezTo>
                <a:cubicBezTo>
                  <a:pt x="2000" y="286"/>
                  <a:pt x="2000" y="286"/>
                  <a:pt x="2000" y="286"/>
                </a:cubicBezTo>
                <a:moveTo>
                  <a:pt x="2048" y="211"/>
                </a:moveTo>
                <a:cubicBezTo>
                  <a:pt x="2042" y="211"/>
                  <a:pt x="2042" y="211"/>
                  <a:pt x="2042" y="211"/>
                </a:cubicBezTo>
                <a:cubicBezTo>
                  <a:pt x="2042" y="206"/>
                  <a:pt x="2042" y="206"/>
                  <a:pt x="2042" y="206"/>
                </a:cubicBezTo>
                <a:cubicBezTo>
                  <a:pt x="2048" y="206"/>
                  <a:pt x="2048" y="206"/>
                  <a:pt x="2048" y="206"/>
                </a:cubicBezTo>
                <a:cubicBezTo>
                  <a:pt x="2048" y="211"/>
                  <a:pt x="2048" y="211"/>
                  <a:pt x="2048" y="211"/>
                </a:cubicBezTo>
                <a:moveTo>
                  <a:pt x="2053" y="157"/>
                </a:moveTo>
                <a:cubicBezTo>
                  <a:pt x="2052" y="157"/>
                  <a:pt x="2052" y="157"/>
                  <a:pt x="2052" y="157"/>
                </a:cubicBezTo>
                <a:cubicBezTo>
                  <a:pt x="2052" y="146"/>
                  <a:pt x="2052" y="146"/>
                  <a:pt x="2052" y="146"/>
                </a:cubicBezTo>
                <a:cubicBezTo>
                  <a:pt x="2053" y="146"/>
                  <a:pt x="2053" y="146"/>
                  <a:pt x="2053" y="146"/>
                </a:cubicBezTo>
                <a:cubicBezTo>
                  <a:pt x="2053" y="157"/>
                  <a:pt x="2053" y="157"/>
                  <a:pt x="2053" y="157"/>
                </a:cubicBezTo>
                <a:moveTo>
                  <a:pt x="2056" y="52"/>
                </a:moveTo>
                <a:cubicBezTo>
                  <a:pt x="2065" y="52"/>
                  <a:pt x="2065" y="52"/>
                  <a:pt x="2065" y="52"/>
                </a:cubicBezTo>
                <a:cubicBezTo>
                  <a:pt x="2065" y="63"/>
                  <a:pt x="2065" y="63"/>
                  <a:pt x="2065" y="63"/>
                </a:cubicBezTo>
                <a:cubicBezTo>
                  <a:pt x="2056" y="63"/>
                  <a:pt x="2056" y="63"/>
                  <a:pt x="2056" y="63"/>
                </a:cubicBezTo>
                <a:cubicBezTo>
                  <a:pt x="2056" y="52"/>
                  <a:pt x="2056" y="52"/>
                  <a:pt x="2056" y="52"/>
                </a:cubicBezTo>
                <a:moveTo>
                  <a:pt x="2069" y="109"/>
                </a:moveTo>
                <a:cubicBezTo>
                  <a:pt x="2061" y="109"/>
                  <a:pt x="2061" y="109"/>
                  <a:pt x="2061" y="109"/>
                </a:cubicBezTo>
                <a:cubicBezTo>
                  <a:pt x="2061" y="99"/>
                  <a:pt x="2061" y="99"/>
                  <a:pt x="2061" y="99"/>
                </a:cubicBezTo>
                <a:cubicBezTo>
                  <a:pt x="2069" y="99"/>
                  <a:pt x="2069" y="99"/>
                  <a:pt x="2069" y="99"/>
                </a:cubicBezTo>
                <a:cubicBezTo>
                  <a:pt x="2069" y="109"/>
                  <a:pt x="2069" y="109"/>
                  <a:pt x="2069" y="109"/>
                </a:cubicBezTo>
                <a:moveTo>
                  <a:pt x="2078" y="175"/>
                </a:moveTo>
                <a:cubicBezTo>
                  <a:pt x="2071" y="175"/>
                  <a:pt x="2071" y="175"/>
                  <a:pt x="2071" y="175"/>
                </a:cubicBezTo>
                <a:cubicBezTo>
                  <a:pt x="2071" y="173"/>
                  <a:pt x="2071" y="173"/>
                  <a:pt x="2071" y="173"/>
                </a:cubicBezTo>
                <a:cubicBezTo>
                  <a:pt x="2078" y="173"/>
                  <a:pt x="2078" y="173"/>
                  <a:pt x="2078" y="173"/>
                </a:cubicBezTo>
                <a:cubicBezTo>
                  <a:pt x="2078" y="175"/>
                  <a:pt x="2078" y="175"/>
                  <a:pt x="2078" y="175"/>
                </a:cubicBezTo>
                <a:moveTo>
                  <a:pt x="2148" y="200"/>
                </a:moveTo>
                <a:cubicBezTo>
                  <a:pt x="2131" y="200"/>
                  <a:pt x="2131" y="200"/>
                  <a:pt x="2131" y="200"/>
                </a:cubicBezTo>
                <a:cubicBezTo>
                  <a:pt x="2131" y="195"/>
                  <a:pt x="2131" y="195"/>
                  <a:pt x="2131" y="195"/>
                </a:cubicBezTo>
                <a:cubicBezTo>
                  <a:pt x="2148" y="195"/>
                  <a:pt x="2148" y="195"/>
                  <a:pt x="2148" y="195"/>
                </a:cubicBezTo>
                <a:cubicBezTo>
                  <a:pt x="2148" y="200"/>
                  <a:pt x="2148" y="200"/>
                  <a:pt x="2148" y="200"/>
                </a:cubicBezTo>
                <a:moveTo>
                  <a:pt x="2149" y="157"/>
                </a:moveTo>
                <a:cubicBezTo>
                  <a:pt x="2131" y="157"/>
                  <a:pt x="2131" y="157"/>
                  <a:pt x="2131" y="157"/>
                </a:cubicBezTo>
                <a:cubicBezTo>
                  <a:pt x="2131" y="146"/>
                  <a:pt x="2131" y="146"/>
                  <a:pt x="2131" y="146"/>
                </a:cubicBezTo>
                <a:cubicBezTo>
                  <a:pt x="2149" y="146"/>
                  <a:pt x="2149" y="146"/>
                  <a:pt x="2149" y="146"/>
                </a:cubicBezTo>
                <a:cubicBezTo>
                  <a:pt x="2149" y="157"/>
                  <a:pt x="2149" y="157"/>
                  <a:pt x="2149" y="157"/>
                </a:cubicBezTo>
                <a:moveTo>
                  <a:pt x="2160" y="99"/>
                </a:moveTo>
                <a:cubicBezTo>
                  <a:pt x="2178" y="99"/>
                  <a:pt x="2178" y="99"/>
                  <a:pt x="2178" y="99"/>
                </a:cubicBezTo>
                <a:cubicBezTo>
                  <a:pt x="2178" y="109"/>
                  <a:pt x="2178" y="109"/>
                  <a:pt x="2178" y="109"/>
                </a:cubicBezTo>
                <a:cubicBezTo>
                  <a:pt x="2160" y="109"/>
                  <a:pt x="2160" y="109"/>
                  <a:pt x="2160" y="109"/>
                </a:cubicBezTo>
                <a:cubicBezTo>
                  <a:pt x="2160" y="99"/>
                  <a:pt x="2160" y="99"/>
                  <a:pt x="2160" y="99"/>
                </a:cubicBezTo>
                <a:moveTo>
                  <a:pt x="2187" y="178"/>
                </a:moveTo>
                <a:cubicBezTo>
                  <a:pt x="2169" y="178"/>
                  <a:pt x="2169" y="178"/>
                  <a:pt x="2169" y="178"/>
                </a:cubicBezTo>
                <a:cubicBezTo>
                  <a:pt x="2169" y="168"/>
                  <a:pt x="2169" y="168"/>
                  <a:pt x="2169" y="168"/>
                </a:cubicBezTo>
                <a:cubicBezTo>
                  <a:pt x="2187" y="168"/>
                  <a:pt x="2187" y="168"/>
                  <a:pt x="2187" y="168"/>
                </a:cubicBezTo>
                <a:cubicBezTo>
                  <a:pt x="2187" y="178"/>
                  <a:pt x="2187" y="178"/>
                  <a:pt x="2187" y="178"/>
                </a:cubicBezTo>
                <a:moveTo>
                  <a:pt x="2228" y="178"/>
                </a:moveTo>
                <a:cubicBezTo>
                  <a:pt x="2236" y="178"/>
                  <a:pt x="2236" y="178"/>
                  <a:pt x="2236" y="178"/>
                </a:cubicBezTo>
                <a:cubicBezTo>
                  <a:pt x="2236" y="195"/>
                  <a:pt x="2236" y="195"/>
                  <a:pt x="2236" y="195"/>
                </a:cubicBezTo>
                <a:cubicBezTo>
                  <a:pt x="2228" y="195"/>
                  <a:pt x="2228" y="195"/>
                  <a:pt x="2228" y="195"/>
                </a:cubicBezTo>
                <a:cubicBezTo>
                  <a:pt x="2228" y="178"/>
                  <a:pt x="2228" y="178"/>
                  <a:pt x="2228" y="178"/>
                </a:cubicBezTo>
                <a:moveTo>
                  <a:pt x="2239" y="278"/>
                </a:moveTo>
                <a:cubicBezTo>
                  <a:pt x="2236" y="278"/>
                  <a:pt x="2236" y="278"/>
                  <a:pt x="2236" y="278"/>
                </a:cubicBezTo>
                <a:cubicBezTo>
                  <a:pt x="2236" y="288"/>
                  <a:pt x="2236" y="288"/>
                  <a:pt x="2236" y="288"/>
                </a:cubicBezTo>
                <a:cubicBezTo>
                  <a:pt x="2229" y="288"/>
                  <a:pt x="2229" y="288"/>
                  <a:pt x="2229" y="288"/>
                </a:cubicBezTo>
                <a:cubicBezTo>
                  <a:pt x="2229" y="234"/>
                  <a:pt x="2229" y="234"/>
                  <a:pt x="2229" y="234"/>
                </a:cubicBezTo>
                <a:cubicBezTo>
                  <a:pt x="2236" y="234"/>
                  <a:pt x="2236" y="234"/>
                  <a:pt x="2236" y="234"/>
                </a:cubicBezTo>
                <a:cubicBezTo>
                  <a:pt x="2236" y="261"/>
                  <a:pt x="2236" y="261"/>
                  <a:pt x="2236" y="261"/>
                </a:cubicBezTo>
                <a:cubicBezTo>
                  <a:pt x="2234" y="261"/>
                  <a:pt x="2234" y="261"/>
                  <a:pt x="2234" y="261"/>
                </a:cubicBezTo>
                <a:cubicBezTo>
                  <a:pt x="2234" y="272"/>
                  <a:pt x="2234" y="272"/>
                  <a:pt x="2234" y="272"/>
                </a:cubicBezTo>
                <a:cubicBezTo>
                  <a:pt x="2239" y="272"/>
                  <a:pt x="2239" y="272"/>
                  <a:pt x="2239" y="272"/>
                </a:cubicBezTo>
                <a:cubicBezTo>
                  <a:pt x="2239" y="278"/>
                  <a:pt x="2239" y="278"/>
                  <a:pt x="2239" y="278"/>
                </a:cubicBezTo>
                <a:moveTo>
                  <a:pt x="2290" y="203"/>
                </a:moveTo>
                <a:cubicBezTo>
                  <a:pt x="2282" y="203"/>
                  <a:pt x="2282" y="203"/>
                  <a:pt x="2282" y="203"/>
                </a:cubicBezTo>
                <a:cubicBezTo>
                  <a:pt x="2282" y="198"/>
                  <a:pt x="2282" y="198"/>
                  <a:pt x="2282" y="198"/>
                </a:cubicBezTo>
                <a:cubicBezTo>
                  <a:pt x="2290" y="198"/>
                  <a:pt x="2290" y="198"/>
                  <a:pt x="2290" y="198"/>
                </a:cubicBezTo>
                <a:cubicBezTo>
                  <a:pt x="2290" y="203"/>
                  <a:pt x="2290" y="203"/>
                  <a:pt x="2290" y="203"/>
                </a:cubicBezTo>
                <a:moveTo>
                  <a:pt x="2317" y="167"/>
                </a:moveTo>
                <a:cubicBezTo>
                  <a:pt x="2304" y="167"/>
                  <a:pt x="2304" y="167"/>
                  <a:pt x="2304" y="167"/>
                </a:cubicBezTo>
                <a:cubicBezTo>
                  <a:pt x="2304" y="159"/>
                  <a:pt x="2304" y="159"/>
                  <a:pt x="2304" y="159"/>
                </a:cubicBezTo>
                <a:cubicBezTo>
                  <a:pt x="2317" y="159"/>
                  <a:pt x="2317" y="159"/>
                  <a:pt x="2317" y="159"/>
                </a:cubicBezTo>
                <a:cubicBezTo>
                  <a:pt x="2317" y="167"/>
                  <a:pt x="2317" y="167"/>
                  <a:pt x="2317" y="167"/>
                </a:cubicBezTo>
                <a:moveTo>
                  <a:pt x="2419" y="208"/>
                </a:moveTo>
                <a:cubicBezTo>
                  <a:pt x="2411" y="208"/>
                  <a:pt x="2411" y="208"/>
                  <a:pt x="2411" y="208"/>
                </a:cubicBezTo>
                <a:cubicBezTo>
                  <a:pt x="2411" y="201"/>
                  <a:pt x="2411" y="201"/>
                  <a:pt x="2411" y="201"/>
                </a:cubicBezTo>
                <a:cubicBezTo>
                  <a:pt x="2419" y="201"/>
                  <a:pt x="2419" y="201"/>
                  <a:pt x="2419" y="201"/>
                </a:cubicBezTo>
                <a:cubicBezTo>
                  <a:pt x="2419" y="208"/>
                  <a:pt x="2419" y="208"/>
                  <a:pt x="2419" y="208"/>
                </a:cubicBezTo>
                <a:moveTo>
                  <a:pt x="2440" y="276"/>
                </a:moveTo>
                <a:cubicBezTo>
                  <a:pt x="2444" y="276"/>
                  <a:pt x="2444" y="276"/>
                  <a:pt x="2444" y="276"/>
                </a:cubicBezTo>
                <a:cubicBezTo>
                  <a:pt x="2444" y="282"/>
                  <a:pt x="2444" y="282"/>
                  <a:pt x="2444" y="282"/>
                </a:cubicBezTo>
                <a:cubicBezTo>
                  <a:pt x="2440" y="282"/>
                  <a:pt x="2440" y="282"/>
                  <a:pt x="2440" y="282"/>
                </a:cubicBezTo>
                <a:cubicBezTo>
                  <a:pt x="2440" y="276"/>
                  <a:pt x="2440" y="276"/>
                  <a:pt x="2440" y="276"/>
                </a:cubicBezTo>
                <a:moveTo>
                  <a:pt x="2440" y="287"/>
                </a:moveTo>
                <a:cubicBezTo>
                  <a:pt x="2444" y="287"/>
                  <a:pt x="2444" y="287"/>
                  <a:pt x="2444" y="287"/>
                </a:cubicBezTo>
                <a:cubicBezTo>
                  <a:pt x="2444" y="289"/>
                  <a:pt x="2444" y="289"/>
                  <a:pt x="2444" y="289"/>
                </a:cubicBezTo>
                <a:cubicBezTo>
                  <a:pt x="2440" y="289"/>
                  <a:pt x="2440" y="289"/>
                  <a:pt x="2440" y="289"/>
                </a:cubicBezTo>
                <a:cubicBezTo>
                  <a:pt x="2440" y="287"/>
                  <a:pt x="2440" y="287"/>
                  <a:pt x="2440" y="287"/>
                </a:cubicBezTo>
                <a:moveTo>
                  <a:pt x="2364" y="18"/>
                </a:moveTo>
                <a:cubicBezTo>
                  <a:pt x="2437" y="18"/>
                  <a:pt x="2437" y="18"/>
                  <a:pt x="2437" y="18"/>
                </a:cubicBezTo>
                <a:cubicBezTo>
                  <a:pt x="2437" y="26"/>
                  <a:pt x="2437" y="26"/>
                  <a:pt x="2437" y="26"/>
                </a:cubicBezTo>
                <a:cubicBezTo>
                  <a:pt x="2364" y="26"/>
                  <a:pt x="2364" y="26"/>
                  <a:pt x="2364" y="26"/>
                </a:cubicBezTo>
                <a:cubicBezTo>
                  <a:pt x="2364" y="18"/>
                  <a:pt x="2364" y="18"/>
                  <a:pt x="2364" y="18"/>
                </a:cubicBezTo>
                <a:moveTo>
                  <a:pt x="2364" y="32"/>
                </a:moveTo>
                <a:cubicBezTo>
                  <a:pt x="2437" y="32"/>
                  <a:pt x="2437" y="32"/>
                  <a:pt x="2437" y="32"/>
                </a:cubicBezTo>
                <a:cubicBezTo>
                  <a:pt x="2437" y="40"/>
                  <a:pt x="2437" y="40"/>
                  <a:pt x="2437" y="40"/>
                </a:cubicBezTo>
                <a:cubicBezTo>
                  <a:pt x="2364" y="40"/>
                  <a:pt x="2364" y="40"/>
                  <a:pt x="2364" y="40"/>
                </a:cubicBezTo>
                <a:cubicBezTo>
                  <a:pt x="2364" y="32"/>
                  <a:pt x="2364" y="32"/>
                  <a:pt x="2364" y="32"/>
                </a:cubicBezTo>
                <a:moveTo>
                  <a:pt x="2364" y="47"/>
                </a:moveTo>
                <a:cubicBezTo>
                  <a:pt x="2437" y="47"/>
                  <a:pt x="2437" y="47"/>
                  <a:pt x="2437" y="47"/>
                </a:cubicBezTo>
                <a:cubicBezTo>
                  <a:pt x="2437" y="55"/>
                  <a:pt x="2437" y="55"/>
                  <a:pt x="2437" y="55"/>
                </a:cubicBezTo>
                <a:cubicBezTo>
                  <a:pt x="2364" y="55"/>
                  <a:pt x="2364" y="55"/>
                  <a:pt x="2364" y="55"/>
                </a:cubicBezTo>
                <a:cubicBezTo>
                  <a:pt x="2364" y="47"/>
                  <a:pt x="2364" y="47"/>
                  <a:pt x="2364" y="47"/>
                </a:cubicBezTo>
                <a:moveTo>
                  <a:pt x="2364" y="61"/>
                </a:moveTo>
                <a:cubicBezTo>
                  <a:pt x="2437" y="61"/>
                  <a:pt x="2437" y="61"/>
                  <a:pt x="2437" y="61"/>
                </a:cubicBezTo>
                <a:cubicBezTo>
                  <a:pt x="2437" y="69"/>
                  <a:pt x="2437" y="69"/>
                  <a:pt x="2437" y="69"/>
                </a:cubicBezTo>
                <a:cubicBezTo>
                  <a:pt x="2364" y="69"/>
                  <a:pt x="2364" y="69"/>
                  <a:pt x="2364" y="69"/>
                </a:cubicBezTo>
                <a:cubicBezTo>
                  <a:pt x="2364" y="61"/>
                  <a:pt x="2364" y="61"/>
                  <a:pt x="2364" y="61"/>
                </a:cubicBezTo>
                <a:moveTo>
                  <a:pt x="2364" y="75"/>
                </a:moveTo>
                <a:cubicBezTo>
                  <a:pt x="2437" y="75"/>
                  <a:pt x="2437" y="75"/>
                  <a:pt x="2437" y="75"/>
                </a:cubicBezTo>
                <a:cubicBezTo>
                  <a:pt x="2437" y="83"/>
                  <a:pt x="2437" y="83"/>
                  <a:pt x="2437" y="83"/>
                </a:cubicBezTo>
                <a:cubicBezTo>
                  <a:pt x="2364" y="83"/>
                  <a:pt x="2364" y="83"/>
                  <a:pt x="2364" y="83"/>
                </a:cubicBezTo>
                <a:cubicBezTo>
                  <a:pt x="2364" y="75"/>
                  <a:pt x="2364" y="75"/>
                  <a:pt x="2364" y="75"/>
                </a:cubicBezTo>
                <a:moveTo>
                  <a:pt x="2364" y="89"/>
                </a:moveTo>
                <a:cubicBezTo>
                  <a:pt x="2437" y="89"/>
                  <a:pt x="2437" y="89"/>
                  <a:pt x="2437" y="89"/>
                </a:cubicBezTo>
                <a:cubicBezTo>
                  <a:pt x="2437" y="97"/>
                  <a:pt x="2437" y="97"/>
                  <a:pt x="2437" y="97"/>
                </a:cubicBezTo>
                <a:cubicBezTo>
                  <a:pt x="2364" y="97"/>
                  <a:pt x="2364" y="97"/>
                  <a:pt x="2364" y="97"/>
                </a:cubicBezTo>
                <a:cubicBezTo>
                  <a:pt x="2364" y="89"/>
                  <a:pt x="2364" y="89"/>
                  <a:pt x="2364" y="89"/>
                </a:cubicBezTo>
                <a:moveTo>
                  <a:pt x="2364" y="103"/>
                </a:moveTo>
                <a:cubicBezTo>
                  <a:pt x="2437" y="103"/>
                  <a:pt x="2437" y="103"/>
                  <a:pt x="2437" y="103"/>
                </a:cubicBezTo>
                <a:cubicBezTo>
                  <a:pt x="2437" y="111"/>
                  <a:pt x="2437" y="111"/>
                  <a:pt x="2437" y="111"/>
                </a:cubicBezTo>
                <a:cubicBezTo>
                  <a:pt x="2364" y="111"/>
                  <a:pt x="2364" y="111"/>
                  <a:pt x="2364" y="111"/>
                </a:cubicBezTo>
                <a:cubicBezTo>
                  <a:pt x="2364" y="103"/>
                  <a:pt x="2364" y="103"/>
                  <a:pt x="2364" y="103"/>
                </a:cubicBezTo>
                <a:moveTo>
                  <a:pt x="2364" y="117"/>
                </a:moveTo>
                <a:cubicBezTo>
                  <a:pt x="2437" y="117"/>
                  <a:pt x="2437" y="117"/>
                  <a:pt x="2437" y="117"/>
                </a:cubicBezTo>
                <a:cubicBezTo>
                  <a:pt x="2437" y="125"/>
                  <a:pt x="2437" y="125"/>
                  <a:pt x="2437" y="125"/>
                </a:cubicBezTo>
                <a:cubicBezTo>
                  <a:pt x="2364" y="125"/>
                  <a:pt x="2364" y="125"/>
                  <a:pt x="2364" y="125"/>
                </a:cubicBezTo>
                <a:cubicBezTo>
                  <a:pt x="2364" y="117"/>
                  <a:pt x="2364" y="117"/>
                  <a:pt x="2364" y="117"/>
                </a:cubicBezTo>
                <a:moveTo>
                  <a:pt x="2364" y="132"/>
                </a:moveTo>
                <a:cubicBezTo>
                  <a:pt x="2437" y="132"/>
                  <a:pt x="2437" y="132"/>
                  <a:pt x="2437" y="132"/>
                </a:cubicBezTo>
                <a:cubicBezTo>
                  <a:pt x="2437" y="139"/>
                  <a:pt x="2437" y="139"/>
                  <a:pt x="2437" y="139"/>
                </a:cubicBezTo>
                <a:cubicBezTo>
                  <a:pt x="2364" y="139"/>
                  <a:pt x="2364" y="139"/>
                  <a:pt x="2364" y="139"/>
                </a:cubicBezTo>
                <a:cubicBezTo>
                  <a:pt x="2364" y="132"/>
                  <a:pt x="2364" y="132"/>
                  <a:pt x="2364" y="132"/>
                </a:cubicBezTo>
                <a:moveTo>
                  <a:pt x="2364" y="146"/>
                </a:moveTo>
                <a:cubicBezTo>
                  <a:pt x="2437" y="146"/>
                  <a:pt x="2437" y="146"/>
                  <a:pt x="2437" y="146"/>
                </a:cubicBezTo>
                <a:cubicBezTo>
                  <a:pt x="2437" y="148"/>
                  <a:pt x="2437" y="148"/>
                  <a:pt x="2437" y="148"/>
                </a:cubicBezTo>
                <a:cubicBezTo>
                  <a:pt x="2437" y="148"/>
                  <a:pt x="2437" y="148"/>
                  <a:pt x="2437" y="148"/>
                </a:cubicBezTo>
                <a:cubicBezTo>
                  <a:pt x="2437" y="154"/>
                  <a:pt x="2437" y="154"/>
                  <a:pt x="2437" y="154"/>
                </a:cubicBezTo>
                <a:cubicBezTo>
                  <a:pt x="2364" y="154"/>
                  <a:pt x="2364" y="154"/>
                  <a:pt x="2364" y="154"/>
                </a:cubicBezTo>
                <a:cubicBezTo>
                  <a:pt x="2364" y="146"/>
                  <a:pt x="2364" y="146"/>
                  <a:pt x="2364" y="146"/>
                </a:cubicBezTo>
                <a:moveTo>
                  <a:pt x="2364" y="160"/>
                </a:moveTo>
                <a:cubicBezTo>
                  <a:pt x="2437" y="160"/>
                  <a:pt x="2437" y="160"/>
                  <a:pt x="2437" y="160"/>
                </a:cubicBezTo>
                <a:cubicBezTo>
                  <a:pt x="2437" y="168"/>
                  <a:pt x="2437" y="168"/>
                  <a:pt x="2437" y="168"/>
                </a:cubicBezTo>
                <a:cubicBezTo>
                  <a:pt x="2364" y="168"/>
                  <a:pt x="2364" y="168"/>
                  <a:pt x="2364" y="168"/>
                </a:cubicBezTo>
                <a:cubicBezTo>
                  <a:pt x="2364" y="160"/>
                  <a:pt x="2364" y="160"/>
                  <a:pt x="2364" y="160"/>
                </a:cubicBezTo>
                <a:moveTo>
                  <a:pt x="2364" y="174"/>
                </a:moveTo>
                <a:cubicBezTo>
                  <a:pt x="2437" y="174"/>
                  <a:pt x="2437" y="174"/>
                  <a:pt x="2437" y="174"/>
                </a:cubicBezTo>
                <a:cubicBezTo>
                  <a:pt x="2437" y="182"/>
                  <a:pt x="2437" y="182"/>
                  <a:pt x="2437" y="182"/>
                </a:cubicBezTo>
                <a:cubicBezTo>
                  <a:pt x="2364" y="182"/>
                  <a:pt x="2364" y="182"/>
                  <a:pt x="2364" y="182"/>
                </a:cubicBezTo>
                <a:cubicBezTo>
                  <a:pt x="2364" y="174"/>
                  <a:pt x="2364" y="174"/>
                  <a:pt x="2364" y="174"/>
                </a:cubicBezTo>
                <a:moveTo>
                  <a:pt x="2345" y="257"/>
                </a:moveTo>
                <a:cubicBezTo>
                  <a:pt x="2341" y="257"/>
                  <a:pt x="2341" y="257"/>
                  <a:pt x="2341" y="257"/>
                </a:cubicBezTo>
                <a:cubicBezTo>
                  <a:pt x="2341" y="252"/>
                  <a:pt x="2341" y="252"/>
                  <a:pt x="2341" y="252"/>
                </a:cubicBezTo>
                <a:cubicBezTo>
                  <a:pt x="2345" y="252"/>
                  <a:pt x="2345" y="252"/>
                  <a:pt x="2345" y="252"/>
                </a:cubicBezTo>
                <a:cubicBezTo>
                  <a:pt x="2345" y="257"/>
                  <a:pt x="2345" y="257"/>
                  <a:pt x="2345" y="257"/>
                </a:cubicBezTo>
                <a:moveTo>
                  <a:pt x="2364" y="262"/>
                </a:moveTo>
                <a:cubicBezTo>
                  <a:pt x="2356" y="262"/>
                  <a:pt x="2356" y="262"/>
                  <a:pt x="2356" y="262"/>
                </a:cubicBezTo>
                <a:cubicBezTo>
                  <a:pt x="2356" y="262"/>
                  <a:pt x="2356" y="262"/>
                  <a:pt x="2356" y="262"/>
                </a:cubicBezTo>
                <a:cubicBezTo>
                  <a:pt x="2364" y="262"/>
                  <a:pt x="2364" y="262"/>
                  <a:pt x="2364" y="262"/>
                </a:cubicBezTo>
                <a:cubicBezTo>
                  <a:pt x="2364" y="262"/>
                  <a:pt x="2364" y="262"/>
                  <a:pt x="2364" y="262"/>
                </a:cubicBezTo>
                <a:moveTo>
                  <a:pt x="2366" y="232"/>
                </a:moveTo>
                <a:cubicBezTo>
                  <a:pt x="2356" y="232"/>
                  <a:pt x="2356" y="232"/>
                  <a:pt x="2356" y="232"/>
                </a:cubicBezTo>
                <a:cubicBezTo>
                  <a:pt x="2356" y="219"/>
                  <a:pt x="2356" y="219"/>
                  <a:pt x="2356" y="219"/>
                </a:cubicBezTo>
                <a:cubicBezTo>
                  <a:pt x="2358" y="219"/>
                  <a:pt x="2358" y="219"/>
                  <a:pt x="2358" y="219"/>
                </a:cubicBezTo>
                <a:cubicBezTo>
                  <a:pt x="2358" y="230"/>
                  <a:pt x="2358" y="230"/>
                  <a:pt x="2358" y="230"/>
                </a:cubicBezTo>
                <a:cubicBezTo>
                  <a:pt x="2366" y="230"/>
                  <a:pt x="2366" y="230"/>
                  <a:pt x="2366" y="230"/>
                </a:cubicBezTo>
                <a:cubicBezTo>
                  <a:pt x="2366" y="232"/>
                  <a:pt x="2366" y="232"/>
                  <a:pt x="2366" y="232"/>
                </a:cubicBezTo>
                <a:moveTo>
                  <a:pt x="2366" y="196"/>
                </a:moveTo>
                <a:cubicBezTo>
                  <a:pt x="2364" y="196"/>
                  <a:pt x="2364" y="196"/>
                  <a:pt x="2364" y="196"/>
                </a:cubicBezTo>
                <a:cubicBezTo>
                  <a:pt x="2364" y="188"/>
                  <a:pt x="2364" y="188"/>
                  <a:pt x="2364" y="188"/>
                </a:cubicBezTo>
                <a:cubicBezTo>
                  <a:pt x="2437" y="188"/>
                  <a:pt x="2437" y="188"/>
                  <a:pt x="2437" y="188"/>
                </a:cubicBezTo>
                <a:cubicBezTo>
                  <a:pt x="2437" y="193"/>
                  <a:pt x="2437" y="193"/>
                  <a:pt x="2437" y="193"/>
                </a:cubicBezTo>
                <a:cubicBezTo>
                  <a:pt x="2407" y="193"/>
                  <a:pt x="2407" y="193"/>
                  <a:pt x="2407" y="193"/>
                </a:cubicBezTo>
                <a:cubicBezTo>
                  <a:pt x="2407" y="196"/>
                  <a:pt x="2407" y="196"/>
                  <a:pt x="2407" y="196"/>
                </a:cubicBezTo>
                <a:cubicBezTo>
                  <a:pt x="2392" y="196"/>
                  <a:pt x="2392" y="196"/>
                  <a:pt x="2392" y="196"/>
                </a:cubicBezTo>
                <a:cubicBezTo>
                  <a:pt x="2392" y="192"/>
                  <a:pt x="2392" y="192"/>
                  <a:pt x="2392" y="192"/>
                </a:cubicBezTo>
                <a:cubicBezTo>
                  <a:pt x="2366" y="192"/>
                  <a:pt x="2366" y="192"/>
                  <a:pt x="2366" y="192"/>
                </a:cubicBezTo>
                <a:cubicBezTo>
                  <a:pt x="2366" y="196"/>
                  <a:pt x="2366" y="196"/>
                  <a:pt x="2366" y="196"/>
                </a:cubicBezTo>
                <a:moveTo>
                  <a:pt x="2398" y="300"/>
                </a:moveTo>
                <a:cubicBezTo>
                  <a:pt x="2398" y="300"/>
                  <a:pt x="2398" y="300"/>
                  <a:pt x="2398" y="300"/>
                </a:cubicBezTo>
                <a:cubicBezTo>
                  <a:pt x="2398" y="295"/>
                  <a:pt x="2398" y="295"/>
                  <a:pt x="2398" y="295"/>
                </a:cubicBezTo>
                <a:cubicBezTo>
                  <a:pt x="2391" y="295"/>
                  <a:pt x="2391" y="295"/>
                  <a:pt x="2391" y="295"/>
                </a:cubicBezTo>
                <a:cubicBezTo>
                  <a:pt x="2391" y="287"/>
                  <a:pt x="2391" y="287"/>
                  <a:pt x="2391" y="287"/>
                </a:cubicBezTo>
                <a:cubicBezTo>
                  <a:pt x="2398" y="287"/>
                  <a:pt x="2398" y="287"/>
                  <a:pt x="2398" y="287"/>
                </a:cubicBezTo>
                <a:cubicBezTo>
                  <a:pt x="2398" y="300"/>
                  <a:pt x="2398" y="300"/>
                  <a:pt x="2398" y="300"/>
                </a:cubicBezTo>
                <a:moveTo>
                  <a:pt x="2403" y="247"/>
                </a:moveTo>
                <a:cubicBezTo>
                  <a:pt x="2393" y="247"/>
                  <a:pt x="2393" y="247"/>
                  <a:pt x="2393" y="247"/>
                </a:cubicBezTo>
                <a:cubicBezTo>
                  <a:pt x="2393" y="234"/>
                  <a:pt x="2393" y="234"/>
                  <a:pt x="2393" y="234"/>
                </a:cubicBezTo>
                <a:cubicBezTo>
                  <a:pt x="2403" y="234"/>
                  <a:pt x="2403" y="234"/>
                  <a:pt x="2403" y="234"/>
                </a:cubicBezTo>
                <a:cubicBezTo>
                  <a:pt x="2403" y="247"/>
                  <a:pt x="2403" y="247"/>
                  <a:pt x="2403" y="247"/>
                </a:cubicBezTo>
                <a:moveTo>
                  <a:pt x="2392" y="211"/>
                </a:moveTo>
                <a:cubicBezTo>
                  <a:pt x="2392" y="201"/>
                  <a:pt x="2392" y="201"/>
                  <a:pt x="2392" y="201"/>
                </a:cubicBezTo>
                <a:cubicBezTo>
                  <a:pt x="2407" y="201"/>
                  <a:pt x="2407" y="201"/>
                  <a:pt x="2407" y="201"/>
                </a:cubicBezTo>
                <a:cubicBezTo>
                  <a:pt x="2407" y="211"/>
                  <a:pt x="2407" y="211"/>
                  <a:pt x="2407" y="211"/>
                </a:cubicBezTo>
                <a:cubicBezTo>
                  <a:pt x="2392" y="211"/>
                  <a:pt x="2392" y="211"/>
                  <a:pt x="2392" y="211"/>
                </a:cubicBezTo>
              </a:path>
            </a:pathLst>
          </a:custGeom>
          <a:solidFill>
            <a:schemeClr val="bg2">
              <a:lumMod val="95000"/>
            </a:schemeClr>
          </a:solidFill>
          <a:ln>
            <a:noFill/>
          </a:ln>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nvGrpSpPr>
          <p:cNvPr id="22" name="Group 21">
            <a:extLst>
              <a:ext uri="{FF2B5EF4-FFF2-40B4-BE49-F238E27FC236}">
                <a16:creationId xmlns:a16="http://schemas.microsoft.com/office/drawing/2014/main" id="{567D258F-2B2B-4046-AFE0-1CE25A1F6806}"/>
              </a:ext>
            </a:extLst>
          </p:cNvPr>
          <p:cNvGrpSpPr/>
          <p:nvPr/>
        </p:nvGrpSpPr>
        <p:grpSpPr>
          <a:xfrm>
            <a:off x="-1" y="6350899"/>
            <a:ext cx="12192001" cy="452684"/>
            <a:chOff x="-166777" y="4363785"/>
            <a:chExt cx="9479884" cy="339513"/>
          </a:xfrm>
        </p:grpSpPr>
        <p:sp>
          <p:nvSpPr>
            <p:cNvPr id="23" name="Freeform 316">
              <a:extLst>
                <a:ext uri="{FF2B5EF4-FFF2-40B4-BE49-F238E27FC236}">
                  <a16:creationId xmlns:a16="http://schemas.microsoft.com/office/drawing/2014/main" id="{F75F395C-9297-4867-AF0C-003409B487AC}"/>
                </a:ext>
              </a:extLst>
            </p:cNvPr>
            <p:cNvSpPr>
              <a:spLocks/>
            </p:cNvSpPr>
            <p:nvPr/>
          </p:nvSpPr>
          <p:spPr bwMode="auto">
            <a:xfrm>
              <a:off x="-166777" y="4491263"/>
              <a:ext cx="9479884" cy="212035"/>
            </a:xfrm>
            <a:custGeom>
              <a:avLst/>
              <a:gdLst>
                <a:gd name="T0" fmla="*/ 2968 w 2987"/>
                <a:gd name="T1" fmla="*/ 38 h 38"/>
                <a:gd name="T2" fmla="*/ 19 w 2987"/>
                <a:gd name="T3" fmla="*/ 38 h 38"/>
                <a:gd name="T4" fmla="*/ 0 w 2987"/>
                <a:gd name="T5" fmla="*/ 19 h 38"/>
                <a:gd name="T6" fmla="*/ 19 w 2987"/>
                <a:gd name="T7" fmla="*/ 0 h 38"/>
                <a:gd name="T8" fmla="*/ 2968 w 2987"/>
                <a:gd name="T9" fmla="*/ 0 h 38"/>
                <a:gd name="T10" fmla="*/ 2987 w 2987"/>
                <a:gd name="T11" fmla="*/ 19 h 38"/>
                <a:gd name="T12" fmla="*/ 2968 w 2987"/>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2987" h="38">
                  <a:moveTo>
                    <a:pt x="2968" y="38"/>
                  </a:moveTo>
                  <a:cubicBezTo>
                    <a:pt x="19" y="38"/>
                    <a:pt x="19" y="38"/>
                    <a:pt x="19" y="38"/>
                  </a:cubicBezTo>
                  <a:cubicBezTo>
                    <a:pt x="8" y="38"/>
                    <a:pt x="0" y="30"/>
                    <a:pt x="0" y="19"/>
                  </a:cubicBezTo>
                  <a:cubicBezTo>
                    <a:pt x="0" y="8"/>
                    <a:pt x="8" y="0"/>
                    <a:pt x="19" y="0"/>
                  </a:cubicBezTo>
                  <a:cubicBezTo>
                    <a:pt x="2968" y="0"/>
                    <a:pt x="2968" y="0"/>
                    <a:pt x="2968" y="0"/>
                  </a:cubicBezTo>
                  <a:cubicBezTo>
                    <a:pt x="2979" y="0"/>
                    <a:pt x="2987" y="8"/>
                    <a:pt x="2987" y="19"/>
                  </a:cubicBezTo>
                  <a:cubicBezTo>
                    <a:pt x="2987" y="30"/>
                    <a:pt x="2979" y="38"/>
                    <a:pt x="2968" y="38"/>
                  </a:cubicBezTo>
                  <a:close/>
                </a:path>
              </a:pathLst>
            </a:custGeom>
            <a:solidFill>
              <a:schemeClr val="bg2">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4" name="Rectangle 148">
              <a:extLst>
                <a:ext uri="{FF2B5EF4-FFF2-40B4-BE49-F238E27FC236}">
                  <a16:creationId xmlns:a16="http://schemas.microsoft.com/office/drawing/2014/main" id="{C68A9EFC-DB56-4E0B-AB92-E6D0826F5C91}"/>
                </a:ext>
              </a:extLst>
            </p:cNvPr>
            <p:cNvSpPr>
              <a:spLocks noChangeArrowheads="1"/>
            </p:cNvSpPr>
            <p:nvPr/>
          </p:nvSpPr>
          <p:spPr bwMode="auto">
            <a:xfrm>
              <a:off x="736355" y="4363785"/>
              <a:ext cx="4571" cy="61711"/>
            </a:xfrm>
            <a:prstGeom prst="rect">
              <a:avLst/>
            </a:prstGeom>
            <a:solidFill>
              <a:srgbClr val="8D63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5" name="Rectangle 149">
              <a:extLst>
                <a:ext uri="{FF2B5EF4-FFF2-40B4-BE49-F238E27FC236}">
                  <a16:creationId xmlns:a16="http://schemas.microsoft.com/office/drawing/2014/main" id="{B5304521-5C57-4479-A368-1748F23EB45B}"/>
                </a:ext>
              </a:extLst>
            </p:cNvPr>
            <p:cNvSpPr>
              <a:spLocks noChangeArrowheads="1"/>
            </p:cNvSpPr>
            <p:nvPr/>
          </p:nvSpPr>
          <p:spPr bwMode="auto">
            <a:xfrm>
              <a:off x="736355" y="4363785"/>
              <a:ext cx="4571" cy="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6" name="Freeform 316">
              <a:extLst>
                <a:ext uri="{FF2B5EF4-FFF2-40B4-BE49-F238E27FC236}">
                  <a16:creationId xmlns:a16="http://schemas.microsoft.com/office/drawing/2014/main" id="{098CC4FD-E3C7-4AE3-9560-DA7717947BF5}"/>
                </a:ext>
              </a:extLst>
            </p:cNvPr>
            <p:cNvSpPr>
              <a:spLocks/>
            </p:cNvSpPr>
            <p:nvPr/>
          </p:nvSpPr>
          <p:spPr bwMode="auto">
            <a:xfrm>
              <a:off x="-166777" y="4420925"/>
              <a:ext cx="9479884" cy="212035"/>
            </a:xfrm>
            <a:custGeom>
              <a:avLst/>
              <a:gdLst>
                <a:gd name="T0" fmla="*/ 2968 w 2987"/>
                <a:gd name="T1" fmla="*/ 38 h 38"/>
                <a:gd name="T2" fmla="*/ 19 w 2987"/>
                <a:gd name="T3" fmla="*/ 38 h 38"/>
                <a:gd name="T4" fmla="*/ 0 w 2987"/>
                <a:gd name="T5" fmla="*/ 19 h 38"/>
                <a:gd name="T6" fmla="*/ 19 w 2987"/>
                <a:gd name="T7" fmla="*/ 0 h 38"/>
                <a:gd name="T8" fmla="*/ 2968 w 2987"/>
                <a:gd name="T9" fmla="*/ 0 h 38"/>
                <a:gd name="T10" fmla="*/ 2987 w 2987"/>
                <a:gd name="T11" fmla="*/ 19 h 38"/>
                <a:gd name="T12" fmla="*/ 2968 w 2987"/>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2987" h="38">
                  <a:moveTo>
                    <a:pt x="2968" y="38"/>
                  </a:moveTo>
                  <a:cubicBezTo>
                    <a:pt x="19" y="38"/>
                    <a:pt x="19" y="38"/>
                    <a:pt x="19" y="38"/>
                  </a:cubicBezTo>
                  <a:cubicBezTo>
                    <a:pt x="8" y="38"/>
                    <a:pt x="0" y="30"/>
                    <a:pt x="0" y="19"/>
                  </a:cubicBezTo>
                  <a:cubicBezTo>
                    <a:pt x="0" y="8"/>
                    <a:pt x="8" y="0"/>
                    <a:pt x="19" y="0"/>
                  </a:cubicBezTo>
                  <a:cubicBezTo>
                    <a:pt x="2968" y="0"/>
                    <a:pt x="2968" y="0"/>
                    <a:pt x="2968" y="0"/>
                  </a:cubicBezTo>
                  <a:cubicBezTo>
                    <a:pt x="2979" y="0"/>
                    <a:pt x="2987" y="8"/>
                    <a:pt x="2987" y="19"/>
                  </a:cubicBezTo>
                  <a:cubicBezTo>
                    <a:pt x="2987" y="30"/>
                    <a:pt x="2979" y="38"/>
                    <a:pt x="2968" y="38"/>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7" name="Freeform 318">
              <a:extLst>
                <a:ext uri="{FF2B5EF4-FFF2-40B4-BE49-F238E27FC236}">
                  <a16:creationId xmlns:a16="http://schemas.microsoft.com/office/drawing/2014/main" id="{3CE4E1D3-A353-4B0F-8394-CAB2811FAF71}"/>
                </a:ext>
              </a:extLst>
            </p:cNvPr>
            <p:cNvSpPr>
              <a:spLocks noEditPoints="1"/>
            </p:cNvSpPr>
            <p:nvPr/>
          </p:nvSpPr>
          <p:spPr bwMode="auto">
            <a:xfrm>
              <a:off x="649503" y="4496350"/>
              <a:ext cx="2054751" cy="18285"/>
            </a:xfrm>
            <a:custGeom>
              <a:avLst/>
              <a:gdLst>
                <a:gd name="T0" fmla="*/ 449 w 466"/>
                <a:gd name="T1" fmla="*/ 4 h 4"/>
                <a:gd name="T2" fmla="*/ 449 w 466"/>
                <a:gd name="T3" fmla="*/ 0 h 4"/>
                <a:gd name="T4" fmla="*/ 466 w 466"/>
                <a:gd name="T5" fmla="*/ 2 h 4"/>
                <a:gd name="T6" fmla="*/ 433 w 466"/>
                <a:gd name="T7" fmla="*/ 4 h 4"/>
                <a:gd name="T8" fmla="*/ 416 w 466"/>
                <a:gd name="T9" fmla="*/ 2 h 4"/>
                <a:gd name="T10" fmla="*/ 433 w 466"/>
                <a:gd name="T11" fmla="*/ 0 h 4"/>
                <a:gd name="T12" fmla="*/ 433 w 466"/>
                <a:gd name="T13" fmla="*/ 4 h 4"/>
                <a:gd name="T14" fmla="*/ 385 w 466"/>
                <a:gd name="T15" fmla="*/ 4 h 4"/>
                <a:gd name="T16" fmla="*/ 385 w 466"/>
                <a:gd name="T17" fmla="*/ 0 h 4"/>
                <a:gd name="T18" fmla="*/ 402 w 466"/>
                <a:gd name="T19" fmla="*/ 2 h 4"/>
                <a:gd name="T20" fmla="*/ 369 w 466"/>
                <a:gd name="T21" fmla="*/ 4 h 4"/>
                <a:gd name="T22" fmla="*/ 352 w 466"/>
                <a:gd name="T23" fmla="*/ 2 h 4"/>
                <a:gd name="T24" fmla="*/ 369 w 466"/>
                <a:gd name="T25" fmla="*/ 0 h 4"/>
                <a:gd name="T26" fmla="*/ 369 w 466"/>
                <a:gd name="T27" fmla="*/ 4 h 4"/>
                <a:gd name="T28" fmla="*/ 321 w 466"/>
                <a:gd name="T29" fmla="*/ 4 h 4"/>
                <a:gd name="T30" fmla="*/ 321 w 466"/>
                <a:gd name="T31" fmla="*/ 0 h 4"/>
                <a:gd name="T32" fmla="*/ 338 w 466"/>
                <a:gd name="T33" fmla="*/ 2 h 4"/>
                <a:gd name="T34" fmla="*/ 305 w 466"/>
                <a:gd name="T35" fmla="*/ 4 h 4"/>
                <a:gd name="T36" fmla="*/ 288 w 466"/>
                <a:gd name="T37" fmla="*/ 2 h 4"/>
                <a:gd name="T38" fmla="*/ 305 w 466"/>
                <a:gd name="T39" fmla="*/ 0 h 4"/>
                <a:gd name="T40" fmla="*/ 305 w 466"/>
                <a:gd name="T41" fmla="*/ 4 h 4"/>
                <a:gd name="T42" fmla="*/ 257 w 466"/>
                <a:gd name="T43" fmla="*/ 4 h 4"/>
                <a:gd name="T44" fmla="*/ 257 w 466"/>
                <a:gd name="T45" fmla="*/ 0 h 4"/>
                <a:gd name="T46" fmla="*/ 275 w 466"/>
                <a:gd name="T47" fmla="*/ 2 h 4"/>
                <a:gd name="T48" fmla="*/ 241 w 466"/>
                <a:gd name="T49" fmla="*/ 4 h 4"/>
                <a:gd name="T50" fmla="*/ 224 w 466"/>
                <a:gd name="T51" fmla="*/ 2 h 4"/>
                <a:gd name="T52" fmla="*/ 241 w 466"/>
                <a:gd name="T53" fmla="*/ 0 h 4"/>
                <a:gd name="T54" fmla="*/ 241 w 466"/>
                <a:gd name="T55" fmla="*/ 4 h 4"/>
                <a:gd name="T56" fmla="*/ 193 w 466"/>
                <a:gd name="T57" fmla="*/ 4 h 4"/>
                <a:gd name="T58" fmla="*/ 193 w 466"/>
                <a:gd name="T59" fmla="*/ 0 h 4"/>
                <a:gd name="T60" fmla="*/ 211 w 466"/>
                <a:gd name="T61" fmla="*/ 2 h 4"/>
                <a:gd name="T62" fmla="*/ 177 w 466"/>
                <a:gd name="T63" fmla="*/ 4 h 4"/>
                <a:gd name="T64" fmla="*/ 160 w 466"/>
                <a:gd name="T65" fmla="*/ 2 h 4"/>
                <a:gd name="T66" fmla="*/ 177 w 466"/>
                <a:gd name="T67" fmla="*/ 0 h 4"/>
                <a:gd name="T68" fmla="*/ 177 w 466"/>
                <a:gd name="T69" fmla="*/ 4 h 4"/>
                <a:gd name="T70" fmla="*/ 129 w 466"/>
                <a:gd name="T71" fmla="*/ 4 h 4"/>
                <a:gd name="T72" fmla="*/ 129 w 466"/>
                <a:gd name="T73" fmla="*/ 0 h 4"/>
                <a:gd name="T74" fmla="*/ 147 w 466"/>
                <a:gd name="T75" fmla="*/ 2 h 4"/>
                <a:gd name="T76" fmla="*/ 113 w 466"/>
                <a:gd name="T77" fmla="*/ 4 h 4"/>
                <a:gd name="T78" fmla="*/ 96 w 466"/>
                <a:gd name="T79" fmla="*/ 2 h 4"/>
                <a:gd name="T80" fmla="*/ 113 w 466"/>
                <a:gd name="T81" fmla="*/ 0 h 4"/>
                <a:gd name="T82" fmla="*/ 113 w 466"/>
                <a:gd name="T83" fmla="*/ 4 h 4"/>
                <a:gd name="T84" fmla="*/ 65 w 466"/>
                <a:gd name="T85" fmla="*/ 4 h 4"/>
                <a:gd name="T86" fmla="*/ 65 w 466"/>
                <a:gd name="T87" fmla="*/ 0 h 4"/>
                <a:gd name="T88" fmla="*/ 83 w 466"/>
                <a:gd name="T89" fmla="*/ 2 h 4"/>
                <a:gd name="T90" fmla="*/ 49 w 466"/>
                <a:gd name="T91" fmla="*/ 4 h 4"/>
                <a:gd name="T92" fmla="*/ 32 w 466"/>
                <a:gd name="T93" fmla="*/ 2 h 4"/>
                <a:gd name="T94" fmla="*/ 49 w 466"/>
                <a:gd name="T95" fmla="*/ 0 h 4"/>
                <a:gd name="T96" fmla="*/ 49 w 466"/>
                <a:gd name="T97" fmla="*/ 4 h 4"/>
                <a:gd name="T98" fmla="*/ 2 w 466"/>
                <a:gd name="T99" fmla="*/ 4 h 4"/>
                <a:gd name="T100" fmla="*/ 2 w 466"/>
                <a:gd name="T101" fmla="*/ 0 h 4"/>
                <a:gd name="T102" fmla="*/ 19 w 466"/>
                <a:gd name="T10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6" h="4">
                  <a:moveTo>
                    <a:pt x="465" y="4"/>
                  </a:moveTo>
                  <a:cubicBezTo>
                    <a:pt x="449" y="4"/>
                    <a:pt x="449" y="4"/>
                    <a:pt x="449" y="4"/>
                  </a:cubicBezTo>
                  <a:cubicBezTo>
                    <a:pt x="448" y="4"/>
                    <a:pt x="448" y="3"/>
                    <a:pt x="448" y="2"/>
                  </a:cubicBezTo>
                  <a:cubicBezTo>
                    <a:pt x="448" y="1"/>
                    <a:pt x="448" y="0"/>
                    <a:pt x="449" y="0"/>
                  </a:cubicBezTo>
                  <a:cubicBezTo>
                    <a:pt x="465" y="0"/>
                    <a:pt x="465" y="0"/>
                    <a:pt x="465" y="0"/>
                  </a:cubicBezTo>
                  <a:cubicBezTo>
                    <a:pt x="466" y="0"/>
                    <a:pt x="466" y="1"/>
                    <a:pt x="466" y="2"/>
                  </a:cubicBezTo>
                  <a:cubicBezTo>
                    <a:pt x="466" y="3"/>
                    <a:pt x="466" y="4"/>
                    <a:pt x="465" y="4"/>
                  </a:cubicBezTo>
                  <a:close/>
                  <a:moveTo>
                    <a:pt x="433" y="4"/>
                  </a:moveTo>
                  <a:cubicBezTo>
                    <a:pt x="417" y="4"/>
                    <a:pt x="417" y="4"/>
                    <a:pt x="417" y="4"/>
                  </a:cubicBezTo>
                  <a:cubicBezTo>
                    <a:pt x="416" y="4"/>
                    <a:pt x="416" y="3"/>
                    <a:pt x="416" y="2"/>
                  </a:cubicBezTo>
                  <a:cubicBezTo>
                    <a:pt x="416" y="1"/>
                    <a:pt x="416" y="0"/>
                    <a:pt x="417" y="0"/>
                  </a:cubicBezTo>
                  <a:cubicBezTo>
                    <a:pt x="433" y="0"/>
                    <a:pt x="433" y="0"/>
                    <a:pt x="433" y="0"/>
                  </a:cubicBezTo>
                  <a:cubicBezTo>
                    <a:pt x="434" y="0"/>
                    <a:pt x="434" y="1"/>
                    <a:pt x="434" y="2"/>
                  </a:cubicBezTo>
                  <a:cubicBezTo>
                    <a:pt x="434" y="3"/>
                    <a:pt x="434" y="4"/>
                    <a:pt x="433" y="4"/>
                  </a:cubicBezTo>
                  <a:close/>
                  <a:moveTo>
                    <a:pt x="401" y="4"/>
                  </a:moveTo>
                  <a:cubicBezTo>
                    <a:pt x="385" y="4"/>
                    <a:pt x="385" y="4"/>
                    <a:pt x="385" y="4"/>
                  </a:cubicBezTo>
                  <a:cubicBezTo>
                    <a:pt x="384" y="4"/>
                    <a:pt x="384" y="3"/>
                    <a:pt x="384" y="2"/>
                  </a:cubicBezTo>
                  <a:cubicBezTo>
                    <a:pt x="384" y="1"/>
                    <a:pt x="384" y="0"/>
                    <a:pt x="385" y="0"/>
                  </a:cubicBezTo>
                  <a:cubicBezTo>
                    <a:pt x="401" y="0"/>
                    <a:pt x="401" y="0"/>
                    <a:pt x="401" y="0"/>
                  </a:cubicBezTo>
                  <a:cubicBezTo>
                    <a:pt x="402" y="0"/>
                    <a:pt x="402" y="1"/>
                    <a:pt x="402" y="2"/>
                  </a:cubicBezTo>
                  <a:cubicBezTo>
                    <a:pt x="402" y="3"/>
                    <a:pt x="402" y="4"/>
                    <a:pt x="401" y="4"/>
                  </a:cubicBezTo>
                  <a:close/>
                  <a:moveTo>
                    <a:pt x="369" y="4"/>
                  </a:moveTo>
                  <a:cubicBezTo>
                    <a:pt x="353" y="4"/>
                    <a:pt x="353" y="4"/>
                    <a:pt x="353" y="4"/>
                  </a:cubicBezTo>
                  <a:cubicBezTo>
                    <a:pt x="352" y="4"/>
                    <a:pt x="352" y="3"/>
                    <a:pt x="352" y="2"/>
                  </a:cubicBezTo>
                  <a:cubicBezTo>
                    <a:pt x="352" y="1"/>
                    <a:pt x="352" y="0"/>
                    <a:pt x="353" y="0"/>
                  </a:cubicBezTo>
                  <a:cubicBezTo>
                    <a:pt x="369" y="0"/>
                    <a:pt x="369" y="0"/>
                    <a:pt x="369" y="0"/>
                  </a:cubicBezTo>
                  <a:cubicBezTo>
                    <a:pt x="370" y="0"/>
                    <a:pt x="370" y="1"/>
                    <a:pt x="370" y="2"/>
                  </a:cubicBezTo>
                  <a:cubicBezTo>
                    <a:pt x="370" y="3"/>
                    <a:pt x="370" y="4"/>
                    <a:pt x="369" y="4"/>
                  </a:cubicBezTo>
                  <a:close/>
                  <a:moveTo>
                    <a:pt x="337" y="4"/>
                  </a:moveTo>
                  <a:cubicBezTo>
                    <a:pt x="321" y="4"/>
                    <a:pt x="321" y="4"/>
                    <a:pt x="321" y="4"/>
                  </a:cubicBezTo>
                  <a:cubicBezTo>
                    <a:pt x="321" y="4"/>
                    <a:pt x="320" y="3"/>
                    <a:pt x="320" y="2"/>
                  </a:cubicBezTo>
                  <a:cubicBezTo>
                    <a:pt x="320" y="1"/>
                    <a:pt x="321" y="0"/>
                    <a:pt x="321" y="0"/>
                  </a:cubicBezTo>
                  <a:cubicBezTo>
                    <a:pt x="337" y="0"/>
                    <a:pt x="337" y="0"/>
                    <a:pt x="337" y="0"/>
                  </a:cubicBezTo>
                  <a:cubicBezTo>
                    <a:pt x="338" y="0"/>
                    <a:pt x="338" y="1"/>
                    <a:pt x="338" y="2"/>
                  </a:cubicBezTo>
                  <a:cubicBezTo>
                    <a:pt x="338" y="3"/>
                    <a:pt x="338" y="4"/>
                    <a:pt x="337" y="4"/>
                  </a:cubicBezTo>
                  <a:close/>
                  <a:moveTo>
                    <a:pt x="305" y="4"/>
                  </a:moveTo>
                  <a:cubicBezTo>
                    <a:pt x="289" y="4"/>
                    <a:pt x="289" y="4"/>
                    <a:pt x="289" y="4"/>
                  </a:cubicBezTo>
                  <a:cubicBezTo>
                    <a:pt x="289" y="4"/>
                    <a:pt x="288" y="3"/>
                    <a:pt x="288" y="2"/>
                  </a:cubicBezTo>
                  <a:cubicBezTo>
                    <a:pt x="288" y="1"/>
                    <a:pt x="289" y="0"/>
                    <a:pt x="289" y="0"/>
                  </a:cubicBezTo>
                  <a:cubicBezTo>
                    <a:pt x="305" y="0"/>
                    <a:pt x="305" y="0"/>
                    <a:pt x="305" y="0"/>
                  </a:cubicBezTo>
                  <a:cubicBezTo>
                    <a:pt x="306" y="0"/>
                    <a:pt x="306" y="1"/>
                    <a:pt x="306" y="2"/>
                  </a:cubicBezTo>
                  <a:cubicBezTo>
                    <a:pt x="306" y="3"/>
                    <a:pt x="306" y="4"/>
                    <a:pt x="305" y="4"/>
                  </a:cubicBezTo>
                  <a:close/>
                  <a:moveTo>
                    <a:pt x="273" y="4"/>
                  </a:moveTo>
                  <a:cubicBezTo>
                    <a:pt x="257" y="4"/>
                    <a:pt x="257" y="4"/>
                    <a:pt x="257" y="4"/>
                  </a:cubicBezTo>
                  <a:cubicBezTo>
                    <a:pt x="257" y="4"/>
                    <a:pt x="256" y="3"/>
                    <a:pt x="256" y="2"/>
                  </a:cubicBezTo>
                  <a:cubicBezTo>
                    <a:pt x="256" y="1"/>
                    <a:pt x="257" y="0"/>
                    <a:pt x="257" y="0"/>
                  </a:cubicBezTo>
                  <a:cubicBezTo>
                    <a:pt x="273" y="0"/>
                    <a:pt x="273" y="0"/>
                    <a:pt x="273" y="0"/>
                  </a:cubicBezTo>
                  <a:cubicBezTo>
                    <a:pt x="274" y="0"/>
                    <a:pt x="275" y="1"/>
                    <a:pt x="275" y="2"/>
                  </a:cubicBezTo>
                  <a:cubicBezTo>
                    <a:pt x="275" y="3"/>
                    <a:pt x="274" y="4"/>
                    <a:pt x="273" y="4"/>
                  </a:cubicBezTo>
                  <a:close/>
                  <a:moveTo>
                    <a:pt x="241" y="4"/>
                  </a:moveTo>
                  <a:cubicBezTo>
                    <a:pt x="225" y="4"/>
                    <a:pt x="225" y="4"/>
                    <a:pt x="225" y="4"/>
                  </a:cubicBezTo>
                  <a:cubicBezTo>
                    <a:pt x="225" y="4"/>
                    <a:pt x="224" y="3"/>
                    <a:pt x="224" y="2"/>
                  </a:cubicBezTo>
                  <a:cubicBezTo>
                    <a:pt x="224" y="1"/>
                    <a:pt x="225" y="0"/>
                    <a:pt x="225" y="0"/>
                  </a:cubicBezTo>
                  <a:cubicBezTo>
                    <a:pt x="241" y="0"/>
                    <a:pt x="241" y="0"/>
                    <a:pt x="241" y="0"/>
                  </a:cubicBezTo>
                  <a:cubicBezTo>
                    <a:pt x="242" y="0"/>
                    <a:pt x="243" y="1"/>
                    <a:pt x="243" y="2"/>
                  </a:cubicBezTo>
                  <a:cubicBezTo>
                    <a:pt x="243" y="3"/>
                    <a:pt x="242" y="4"/>
                    <a:pt x="241" y="4"/>
                  </a:cubicBezTo>
                  <a:close/>
                  <a:moveTo>
                    <a:pt x="209" y="4"/>
                  </a:moveTo>
                  <a:cubicBezTo>
                    <a:pt x="193" y="4"/>
                    <a:pt x="193" y="4"/>
                    <a:pt x="193" y="4"/>
                  </a:cubicBezTo>
                  <a:cubicBezTo>
                    <a:pt x="193" y="4"/>
                    <a:pt x="192" y="3"/>
                    <a:pt x="192" y="2"/>
                  </a:cubicBezTo>
                  <a:cubicBezTo>
                    <a:pt x="192" y="1"/>
                    <a:pt x="193" y="0"/>
                    <a:pt x="193" y="0"/>
                  </a:cubicBezTo>
                  <a:cubicBezTo>
                    <a:pt x="209" y="0"/>
                    <a:pt x="209" y="0"/>
                    <a:pt x="209" y="0"/>
                  </a:cubicBezTo>
                  <a:cubicBezTo>
                    <a:pt x="210" y="0"/>
                    <a:pt x="211" y="1"/>
                    <a:pt x="211" y="2"/>
                  </a:cubicBezTo>
                  <a:cubicBezTo>
                    <a:pt x="211" y="3"/>
                    <a:pt x="210" y="4"/>
                    <a:pt x="209" y="4"/>
                  </a:cubicBezTo>
                  <a:close/>
                  <a:moveTo>
                    <a:pt x="177" y="4"/>
                  </a:moveTo>
                  <a:cubicBezTo>
                    <a:pt x="161" y="4"/>
                    <a:pt x="161" y="4"/>
                    <a:pt x="161" y="4"/>
                  </a:cubicBezTo>
                  <a:cubicBezTo>
                    <a:pt x="161" y="4"/>
                    <a:pt x="160" y="3"/>
                    <a:pt x="160" y="2"/>
                  </a:cubicBezTo>
                  <a:cubicBezTo>
                    <a:pt x="160" y="1"/>
                    <a:pt x="161" y="0"/>
                    <a:pt x="161" y="0"/>
                  </a:cubicBezTo>
                  <a:cubicBezTo>
                    <a:pt x="177" y="0"/>
                    <a:pt x="177" y="0"/>
                    <a:pt x="177" y="0"/>
                  </a:cubicBezTo>
                  <a:cubicBezTo>
                    <a:pt x="178" y="0"/>
                    <a:pt x="179" y="1"/>
                    <a:pt x="179" y="2"/>
                  </a:cubicBezTo>
                  <a:cubicBezTo>
                    <a:pt x="179" y="3"/>
                    <a:pt x="178" y="4"/>
                    <a:pt x="177" y="4"/>
                  </a:cubicBezTo>
                  <a:close/>
                  <a:moveTo>
                    <a:pt x="145" y="4"/>
                  </a:moveTo>
                  <a:cubicBezTo>
                    <a:pt x="129" y="4"/>
                    <a:pt x="129" y="4"/>
                    <a:pt x="129" y="4"/>
                  </a:cubicBezTo>
                  <a:cubicBezTo>
                    <a:pt x="129" y="4"/>
                    <a:pt x="128" y="3"/>
                    <a:pt x="128" y="2"/>
                  </a:cubicBezTo>
                  <a:cubicBezTo>
                    <a:pt x="128" y="1"/>
                    <a:pt x="129" y="0"/>
                    <a:pt x="129" y="0"/>
                  </a:cubicBezTo>
                  <a:cubicBezTo>
                    <a:pt x="145" y="0"/>
                    <a:pt x="145" y="0"/>
                    <a:pt x="145" y="0"/>
                  </a:cubicBezTo>
                  <a:cubicBezTo>
                    <a:pt x="146" y="0"/>
                    <a:pt x="147" y="1"/>
                    <a:pt x="147" y="2"/>
                  </a:cubicBezTo>
                  <a:cubicBezTo>
                    <a:pt x="147" y="3"/>
                    <a:pt x="146" y="4"/>
                    <a:pt x="145" y="4"/>
                  </a:cubicBezTo>
                  <a:close/>
                  <a:moveTo>
                    <a:pt x="113" y="4"/>
                  </a:moveTo>
                  <a:cubicBezTo>
                    <a:pt x="97" y="4"/>
                    <a:pt x="97" y="4"/>
                    <a:pt x="97" y="4"/>
                  </a:cubicBezTo>
                  <a:cubicBezTo>
                    <a:pt x="97" y="4"/>
                    <a:pt x="96" y="3"/>
                    <a:pt x="96" y="2"/>
                  </a:cubicBezTo>
                  <a:cubicBezTo>
                    <a:pt x="96" y="1"/>
                    <a:pt x="97" y="0"/>
                    <a:pt x="97" y="0"/>
                  </a:cubicBezTo>
                  <a:cubicBezTo>
                    <a:pt x="113" y="0"/>
                    <a:pt x="113" y="0"/>
                    <a:pt x="113" y="0"/>
                  </a:cubicBezTo>
                  <a:cubicBezTo>
                    <a:pt x="114" y="0"/>
                    <a:pt x="115" y="1"/>
                    <a:pt x="115" y="2"/>
                  </a:cubicBezTo>
                  <a:cubicBezTo>
                    <a:pt x="115" y="3"/>
                    <a:pt x="114" y="4"/>
                    <a:pt x="113" y="4"/>
                  </a:cubicBezTo>
                  <a:close/>
                  <a:moveTo>
                    <a:pt x="81" y="4"/>
                  </a:moveTo>
                  <a:cubicBezTo>
                    <a:pt x="65" y="4"/>
                    <a:pt x="65" y="4"/>
                    <a:pt x="65" y="4"/>
                  </a:cubicBezTo>
                  <a:cubicBezTo>
                    <a:pt x="65" y="4"/>
                    <a:pt x="64" y="3"/>
                    <a:pt x="64" y="2"/>
                  </a:cubicBezTo>
                  <a:cubicBezTo>
                    <a:pt x="64" y="1"/>
                    <a:pt x="65" y="0"/>
                    <a:pt x="65" y="0"/>
                  </a:cubicBezTo>
                  <a:cubicBezTo>
                    <a:pt x="81" y="0"/>
                    <a:pt x="81" y="0"/>
                    <a:pt x="81" y="0"/>
                  </a:cubicBezTo>
                  <a:cubicBezTo>
                    <a:pt x="82" y="0"/>
                    <a:pt x="83" y="1"/>
                    <a:pt x="83" y="2"/>
                  </a:cubicBezTo>
                  <a:cubicBezTo>
                    <a:pt x="83" y="3"/>
                    <a:pt x="82" y="4"/>
                    <a:pt x="81" y="4"/>
                  </a:cubicBezTo>
                  <a:close/>
                  <a:moveTo>
                    <a:pt x="49" y="4"/>
                  </a:moveTo>
                  <a:cubicBezTo>
                    <a:pt x="34" y="4"/>
                    <a:pt x="34" y="4"/>
                    <a:pt x="34" y="4"/>
                  </a:cubicBezTo>
                  <a:cubicBezTo>
                    <a:pt x="33" y="4"/>
                    <a:pt x="32" y="3"/>
                    <a:pt x="32" y="2"/>
                  </a:cubicBezTo>
                  <a:cubicBezTo>
                    <a:pt x="32" y="1"/>
                    <a:pt x="33" y="0"/>
                    <a:pt x="34" y="0"/>
                  </a:cubicBezTo>
                  <a:cubicBezTo>
                    <a:pt x="49" y="0"/>
                    <a:pt x="49" y="0"/>
                    <a:pt x="49" y="0"/>
                  </a:cubicBezTo>
                  <a:cubicBezTo>
                    <a:pt x="50" y="0"/>
                    <a:pt x="51" y="1"/>
                    <a:pt x="51" y="2"/>
                  </a:cubicBezTo>
                  <a:cubicBezTo>
                    <a:pt x="51" y="3"/>
                    <a:pt x="50" y="4"/>
                    <a:pt x="49" y="4"/>
                  </a:cubicBezTo>
                  <a:close/>
                  <a:moveTo>
                    <a:pt x="18" y="4"/>
                  </a:moveTo>
                  <a:cubicBezTo>
                    <a:pt x="2" y="4"/>
                    <a:pt x="2" y="4"/>
                    <a:pt x="2" y="4"/>
                  </a:cubicBezTo>
                  <a:cubicBezTo>
                    <a:pt x="1" y="4"/>
                    <a:pt x="0" y="3"/>
                    <a:pt x="0" y="2"/>
                  </a:cubicBezTo>
                  <a:cubicBezTo>
                    <a:pt x="0" y="1"/>
                    <a:pt x="1" y="0"/>
                    <a:pt x="2" y="0"/>
                  </a:cubicBezTo>
                  <a:cubicBezTo>
                    <a:pt x="18" y="0"/>
                    <a:pt x="18" y="0"/>
                    <a:pt x="18" y="0"/>
                  </a:cubicBezTo>
                  <a:cubicBezTo>
                    <a:pt x="18" y="0"/>
                    <a:pt x="19" y="1"/>
                    <a:pt x="19" y="2"/>
                  </a:cubicBezTo>
                  <a:cubicBezTo>
                    <a:pt x="19" y="3"/>
                    <a:pt x="18" y="4"/>
                    <a:pt x="18"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8" name="Freeform 319">
              <a:extLst>
                <a:ext uri="{FF2B5EF4-FFF2-40B4-BE49-F238E27FC236}">
                  <a16:creationId xmlns:a16="http://schemas.microsoft.com/office/drawing/2014/main" id="{54785226-D558-42CE-86DF-54F018152944}"/>
                </a:ext>
              </a:extLst>
            </p:cNvPr>
            <p:cNvSpPr>
              <a:spLocks/>
            </p:cNvSpPr>
            <p:nvPr/>
          </p:nvSpPr>
          <p:spPr bwMode="auto">
            <a:xfrm>
              <a:off x="2752251" y="4496350"/>
              <a:ext cx="47998" cy="18285"/>
            </a:xfrm>
            <a:custGeom>
              <a:avLst/>
              <a:gdLst>
                <a:gd name="T0" fmla="*/ 9 w 11"/>
                <a:gd name="T1" fmla="*/ 4 h 4"/>
                <a:gd name="T2" fmla="*/ 1 w 11"/>
                <a:gd name="T3" fmla="*/ 4 h 4"/>
                <a:gd name="T4" fmla="*/ 0 w 11"/>
                <a:gd name="T5" fmla="*/ 2 h 4"/>
                <a:gd name="T6" fmla="*/ 1 w 11"/>
                <a:gd name="T7" fmla="*/ 0 h 4"/>
                <a:gd name="T8" fmla="*/ 9 w 11"/>
                <a:gd name="T9" fmla="*/ 0 h 4"/>
                <a:gd name="T10" fmla="*/ 11 w 11"/>
                <a:gd name="T11" fmla="*/ 2 h 4"/>
                <a:gd name="T12" fmla="*/ 9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9" y="4"/>
                  </a:moveTo>
                  <a:cubicBezTo>
                    <a:pt x="1" y="4"/>
                    <a:pt x="1" y="4"/>
                    <a:pt x="1" y="4"/>
                  </a:cubicBezTo>
                  <a:cubicBezTo>
                    <a:pt x="1" y="4"/>
                    <a:pt x="0" y="3"/>
                    <a:pt x="0" y="2"/>
                  </a:cubicBezTo>
                  <a:cubicBezTo>
                    <a:pt x="0" y="1"/>
                    <a:pt x="1" y="0"/>
                    <a:pt x="1" y="0"/>
                  </a:cubicBezTo>
                  <a:cubicBezTo>
                    <a:pt x="9" y="0"/>
                    <a:pt x="9" y="0"/>
                    <a:pt x="9" y="0"/>
                  </a:cubicBezTo>
                  <a:cubicBezTo>
                    <a:pt x="10" y="0"/>
                    <a:pt x="11" y="1"/>
                    <a:pt x="11" y="2"/>
                  </a:cubicBezTo>
                  <a:cubicBezTo>
                    <a:pt x="11" y="3"/>
                    <a:pt x="10"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9" name="Freeform 320">
              <a:extLst>
                <a:ext uri="{FF2B5EF4-FFF2-40B4-BE49-F238E27FC236}">
                  <a16:creationId xmlns:a16="http://schemas.microsoft.com/office/drawing/2014/main" id="{E1BABFE0-370E-48FC-AE73-244907548FA2}"/>
                </a:ext>
              </a:extLst>
            </p:cNvPr>
            <p:cNvSpPr>
              <a:spLocks/>
            </p:cNvSpPr>
            <p:nvPr/>
          </p:nvSpPr>
          <p:spPr bwMode="auto">
            <a:xfrm>
              <a:off x="2800248" y="4496350"/>
              <a:ext cx="45712"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10" y="0"/>
                    <a:pt x="10" y="1"/>
                    <a:pt x="10" y="2"/>
                  </a:cubicBezTo>
                  <a:cubicBezTo>
                    <a:pt x="10" y="3"/>
                    <a:pt x="10"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30" name="Freeform 321">
              <a:extLst>
                <a:ext uri="{FF2B5EF4-FFF2-40B4-BE49-F238E27FC236}">
                  <a16:creationId xmlns:a16="http://schemas.microsoft.com/office/drawing/2014/main" id="{B4390824-18B4-4B1E-A158-BFC0701913CD}"/>
                </a:ext>
              </a:extLst>
            </p:cNvPr>
            <p:cNvSpPr>
              <a:spLocks noEditPoints="1"/>
            </p:cNvSpPr>
            <p:nvPr/>
          </p:nvSpPr>
          <p:spPr bwMode="auto">
            <a:xfrm>
              <a:off x="2907671" y="4496350"/>
              <a:ext cx="2054751" cy="18285"/>
            </a:xfrm>
            <a:custGeom>
              <a:avLst/>
              <a:gdLst>
                <a:gd name="T0" fmla="*/ 449 w 466"/>
                <a:gd name="T1" fmla="*/ 4 h 4"/>
                <a:gd name="T2" fmla="*/ 449 w 466"/>
                <a:gd name="T3" fmla="*/ 0 h 4"/>
                <a:gd name="T4" fmla="*/ 466 w 466"/>
                <a:gd name="T5" fmla="*/ 2 h 4"/>
                <a:gd name="T6" fmla="*/ 433 w 466"/>
                <a:gd name="T7" fmla="*/ 4 h 4"/>
                <a:gd name="T8" fmla="*/ 416 w 466"/>
                <a:gd name="T9" fmla="*/ 2 h 4"/>
                <a:gd name="T10" fmla="*/ 433 w 466"/>
                <a:gd name="T11" fmla="*/ 0 h 4"/>
                <a:gd name="T12" fmla="*/ 433 w 466"/>
                <a:gd name="T13" fmla="*/ 4 h 4"/>
                <a:gd name="T14" fmla="*/ 385 w 466"/>
                <a:gd name="T15" fmla="*/ 4 h 4"/>
                <a:gd name="T16" fmla="*/ 385 w 466"/>
                <a:gd name="T17" fmla="*/ 0 h 4"/>
                <a:gd name="T18" fmla="*/ 403 w 466"/>
                <a:gd name="T19" fmla="*/ 2 h 4"/>
                <a:gd name="T20" fmla="*/ 369 w 466"/>
                <a:gd name="T21" fmla="*/ 4 h 4"/>
                <a:gd name="T22" fmla="*/ 352 w 466"/>
                <a:gd name="T23" fmla="*/ 2 h 4"/>
                <a:gd name="T24" fmla="*/ 369 w 466"/>
                <a:gd name="T25" fmla="*/ 0 h 4"/>
                <a:gd name="T26" fmla="*/ 369 w 466"/>
                <a:gd name="T27" fmla="*/ 4 h 4"/>
                <a:gd name="T28" fmla="*/ 321 w 466"/>
                <a:gd name="T29" fmla="*/ 4 h 4"/>
                <a:gd name="T30" fmla="*/ 321 w 466"/>
                <a:gd name="T31" fmla="*/ 0 h 4"/>
                <a:gd name="T32" fmla="*/ 339 w 466"/>
                <a:gd name="T33" fmla="*/ 2 h 4"/>
                <a:gd name="T34" fmla="*/ 305 w 466"/>
                <a:gd name="T35" fmla="*/ 4 h 4"/>
                <a:gd name="T36" fmla="*/ 288 w 466"/>
                <a:gd name="T37" fmla="*/ 2 h 4"/>
                <a:gd name="T38" fmla="*/ 305 w 466"/>
                <a:gd name="T39" fmla="*/ 0 h 4"/>
                <a:gd name="T40" fmla="*/ 305 w 466"/>
                <a:gd name="T41" fmla="*/ 4 h 4"/>
                <a:gd name="T42" fmla="*/ 257 w 466"/>
                <a:gd name="T43" fmla="*/ 4 h 4"/>
                <a:gd name="T44" fmla="*/ 257 w 466"/>
                <a:gd name="T45" fmla="*/ 0 h 4"/>
                <a:gd name="T46" fmla="*/ 275 w 466"/>
                <a:gd name="T47" fmla="*/ 2 h 4"/>
                <a:gd name="T48" fmla="*/ 241 w 466"/>
                <a:gd name="T49" fmla="*/ 4 h 4"/>
                <a:gd name="T50" fmla="*/ 224 w 466"/>
                <a:gd name="T51" fmla="*/ 2 h 4"/>
                <a:gd name="T52" fmla="*/ 241 w 466"/>
                <a:gd name="T53" fmla="*/ 0 h 4"/>
                <a:gd name="T54" fmla="*/ 241 w 466"/>
                <a:gd name="T55" fmla="*/ 4 h 4"/>
                <a:gd name="T56" fmla="*/ 193 w 466"/>
                <a:gd name="T57" fmla="*/ 4 h 4"/>
                <a:gd name="T58" fmla="*/ 193 w 466"/>
                <a:gd name="T59" fmla="*/ 0 h 4"/>
                <a:gd name="T60" fmla="*/ 211 w 466"/>
                <a:gd name="T61" fmla="*/ 2 h 4"/>
                <a:gd name="T62" fmla="*/ 177 w 466"/>
                <a:gd name="T63" fmla="*/ 4 h 4"/>
                <a:gd name="T64" fmla="*/ 160 w 466"/>
                <a:gd name="T65" fmla="*/ 2 h 4"/>
                <a:gd name="T66" fmla="*/ 177 w 466"/>
                <a:gd name="T67" fmla="*/ 0 h 4"/>
                <a:gd name="T68" fmla="*/ 177 w 466"/>
                <a:gd name="T69" fmla="*/ 4 h 4"/>
                <a:gd name="T70" fmla="*/ 130 w 466"/>
                <a:gd name="T71" fmla="*/ 4 h 4"/>
                <a:gd name="T72" fmla="*/ 130 w 466"/>
                <a:gd name="T73" fmla="*/ 0 h 4"/>
                <a:gd name="T74" fmla="*/ 147 w 466"/>
                <a:gd name="T75" fmla="*/ 2 h 4"/>
                <a:gd name="T76" fmla="*/ 114 w 466"/>
                <a:gd name="T77" fmla="*/ 4 h 4"/>
                <a:gd name="T78" fmla="*/ 96 w 466"/>
                <a:gd name="T79" fmla="*/ 2 h 4"/>
                <a:gd name="T80" fmla="*/ 114 w 466"/>
                <a:gd name="T81" fmla="*/ 0 h 4"/>
                <a:gd name="T82" fmla="*/ 114 w 466"/>
                <a:gd name="T83" fmla="*/ 4 h 4"/>
                <a:gd name="T84" fmla="*/ 66 w 466"/>
                <a:gd name="T85" fmla="*/ 4 h 4"/>
                <a:gd name="T86" fmla="*/ 66 w 466"/>
                <a:gd name="T87" fmla="*/ 0 h 4"/>
                <a:gd name="T88" fmla="*/ 83 w 466"/>
                <a:gd name="T89" fmla="*/ 2 h 4"/>
                <a:gd name="T90" fmla="*/ 50 w 466"/>
                <a:gd name="T91" fmla="*/ 4 h 4"/>
                <a:gd name="T92" fmla="*/ 32 w 466"/>
                <a:gd name="T93" fmla="*/ 2 h 4"/>
                <a:gd name="T94" fmla="*/ 50 w 466"/>
                <a:gd name="T95" fmla="*/ 0 h 4"/>
                <a:gd name="T96" fmla="*/ 50 w 466"/>
                <a:gd name="T97" fmla="*/ 4 h 4"/>
                <a:gd name="T98" fmla="*/ 2 w 466"/>
                <a:gd name="T99" fmla="*/ 4 h 4"/>
                <a:gd name="T100" fmla="*/ 2 w 466"/>
                <a:gd name="T101" fmla="*/ 0 h 4"/>
                <a:gd name="T102" fmla="*/ 19 w 466"/>
                <a:gd name="T10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6" h="4">
                  <a:moveTo>
                    <a:pt x="465" y="4"/>
                  </a:moveTo>
                  <a:cubicBezTo>
                    <a:pt x="449" y="4"/>
                    <a:pt x="449" y="4"/>
                    <a:pt x="449" y="4"/>
                  </a:cubicBezTo>
                  <a:cubicBezTo>
                    <a:pt x="448" y="4"/>
                    <a:pt x="448" y="3"/>
                    <a:pt x="448" y="2"/>
                  </a:cubicBezTo>
                  <a:cubicBezTo>
                    <a:pt x="448" y="1"/>
                    <a:pt x="448" y="0"/>
                    <a:pt x="449" y="0"/>
                  </a:cubicBezTo>
                  <a:cubicBezTo>
                    <a:pt x="465" y="0"/>
                    <a:pt x="465" y="0"/>
                    <a:pt x="465" y="0"/>
                  </a:cubicBezTo>
                  <a:cubicBezTo>
                    <a:pt x="466" y="0"/>
                    <a:pt x="466" y="1"/>
                    <a:pt x="466" y="2"/>
                  </a:cubicBezTo>
                  <a:cubicBezTo>
                    <a:pt x="466" y="3"/>
                    <a:pt x="466" y="4"/>
                    <a:pt x="465" y="4"/>
                  </a:cubicBezTo>
                  <a:close/>
                  <a:moveTo>
                    <a:pt x="433" y="4"/>
                  </a:moveTo>
                  <a:cubicBezTo>
                    <a:pt x="417" y="4"/>
                    <a:pt x="417" y="4"/>
                    <a:pt x="417" y="4"/>
                  </a:cubicBezTo>
                  <a:cubicBezTo>
                    <a:pt x="416" y="4"/>
                    <a:pt x="416" y="3"/>
                    <a:pt x="416" y="2"/>
                  </a:cubicBezTo>
                  <a:cubicBezTo>
                    <a:pt x="416" y="1"/>
                    <a:pt x="416" y="0"/>
                    <a:pt x="417" y="0"/>
                  </a:cubicBezTo>
                  <a:cubicBezTo>
                    <a:pt x="433" y="0"/>
                    <a:pt x="433" y="0"/>
                    <a:pt x="433" y="0"/>
                  </a:cubicBezTo>
                  <a:cubicBezTo>
                    <a:pt x="434" y="0"/>
                    <a:pt x="435" y="1"/>
                    <a:pt x="435" y="2"/>
                  </a:cubicBezTo>
                  <a:cubicBezTo>
                    <a:pt x="435" y="3"/>
                    <a:pt x="434" y="4"/>
                    <a:pt x="433" y="4"/>
                  </a:cubicBezTo>
                  <a:close/>
                  <a:moveTo>
                    <a:pt x="401" y="4"/>
                  </a:moveTo>
                  <a:cubicBezTo>
                    <a:pt x="385" y="4"/>
                    <a:pt x="385" y="4"/>
                    <a:pt x="385" y="4"/>
                  </a:cubicBezTo>
                  <a:cubicBezTo>
                    <a:pt x="384" y="4"/>
                    <a:pt x="384" y="3"/>
                    <a:pt x="384" y="2"/>
                  </a:cubicBezTo>
                  <a:cubicBezTo>
                    <a:pt x="384" y="1"/>
                    <a:pt x="384" y="0"/>
                    <a:pt x="385" y="0"/>
                  </a:cubicBezTo>
                  <a:cubicBezTo>
                    <a:pt x="401" y="0"/>
                    <a:pt x="401" y="0"/>
                    <a:pt x="401" y="0"/>
                  </a:cubicBezTo>
                  <a:cubicBezTo>
                    <a:pt x="402" y="0"/>
                    <a:pt x="403" y="1"/>
                    <a:pt x="403" y="2"/>
                  </a:cubicBezTo>
                  <a:cubicBezTo>
                    <a:pt x="403" y="3"/>
                    <a:pt x="402" y="4"/>
                    <a:pt x="401" y="4"/>
                  </a:cubicBezTo>
                  <a:close/>
                  <a:moveTo>
                    <a:pt x="369" y="4"/>
                  </a:moveTo>
                  <a:cubicBezTo>
                    <a:pt x="353" y="4"/>
                    <a:pt x="353" y="4"/>
                    <a:pt x="353" y="4"/>
                  </a:cubicBezTo>
                  <a:cubicBezTo>
                    <a:pt x="352" y="4"/>
                    <a:pt x="352" y="3"/>
                    <a:pt x="352" y="2"/>
                  </a:cubicBezTo>
                  <a:cubicBezTo>
                    <a:pt x="352" y="1"/>
                    <a:pt x="352" y="0"/>
                    <a:pt x="353" y="0"/>
                  </a:cubicBezTo>
                  <a:cubicBezTo>
                    <a:pt x="369" y="0"/>
                    <a:pt x="369" y="0"/>
                    <a:pt x="369" y="0"/>
                  </a:cubicBezTo>
                  <a:cubicBezTo>
                    <a:pt x="370" y="0"/>
                    <a:pt x="371" y="1"/>
                    <a:pt x="371" y="2"/>
                  </a:cubicBezTo>
                  <a:cubicBezTo>
                    <a:pt x="371" y="3"/>
                    <a:pt x="370" y="4"/>
                    <a:pt x="369" y="4"/>
                  </a:cubicBezTo>
                  <a:close/>
                  <a:moveTo>
                    <a:pt x="337" y="4"/>
                  </a:moveTo>
                  <a:cubicBezTo>
                    <a:pt x="321" y="4"/>
                    <a:pt x="321" y="4"/>
                    <a:pt x="321" y="4"/>
                  </a:cubicBezTo>
                  <a:cubicBezTo>
                    <a:pt x="321" y="4"/>
                    <a:pt x="320" y="3"/>
                    <a:pt x="320" y="2"/>
                  </a:cubicBezTo>
                  <a:cubicBezTo>
                    <a:pt x="320" y="1"/>
                    <a:pt x="321" y="0"/>
                    <a:pt x="321" y="0"/>
                  </a:cubicBezTo>
                  <a:cubicBezTo>
                    <a:pt x="337" y="0"/>
                    <a:pt x="337" y="0"/>
                    <a:pt x="337" y="0"/>
                  </a:cubicBezTo>
                  <a:cubicBezTo>
                    <a:pt x="338" y="0"/>
                    <a:pt x="339" y="1"/>
                    <a:pt x="339" y="2"/>
                  </a:cubicBezTo>
                  <a:cubicBezTo>
                    <a:pt x="339" y="3"/>
                    <a:pt x="338" y="4"/>
                    <a:pt x="337" y="4"/>
                  </a:cubicBezTo>
                  <a:close/>
                  <a:moveTo>
                    <a:pt x="305" y="4"/>
                  </a:moveTo>
                  <a:cubicBezTo>
                    <a:pt x="289" y="4"/>
                    <a:pt x="289" y="4"/>
                    <a:pt x="289" y="4"/>
                  </a:cubicBezTo>
                  <a:cubicBezTo>
                    <a:pt x="289" y="4"/>
                    <a:pt x="288" y="3"/>
                    <a:pt x="288" y="2"/>
                  </a:cubicBezTo>
                  <a:cubicBezTo>
                    <a:pt x="288" y="1"/>
                    <a:pt x="289" y="0"/>
                    <a:pt x="289" y="0"/>
                  </a:cubicBezTo>
                  <a:cubicBezTo>
                    <a:pt x="305" y="0"/>
                    <a:pt x="305" y="0"/>
                    <a:pt x="305" y="0"/>
                  </a:cubicBezTo>
                  <a:cubicBezTo>
                    <a:pt x="306" y="0"/>
                    <a:pt x="307" y="1"/>
                    <a:pt x="307" y="2"/>
                  </a:cubicBezTo>
                  <a:cubicBezTo>
                    <a:pt x="307" y="3"/>
                    <a:pt x="306" y="4"/>
                    <a:pt x="305" y="4"/>
                  </a:cubicBezTo>
                  <a:close/>
                  <a:moveTo>
                    <a:pt x="273" y="4"/>
                  </a:moveTo>
                  <a:cubicBezTo>
                    <a:pt x="257" y="4"/>
                    <a:pt x="257" y="4"/>
                    <a:pt x="257" y="4"/>
                  </a:cubicBezTo>
                  <a:cubicBezTo>
                    <a:pt x="257" y="4"/>
                    <a:pt x="256" y="3"/>
                    <a:pt x="256" y="2"/>
                  </a:cubicBezTo>
                  <a:cubicBezTo>
                    <a:pt x="256" y="1"/>
                    <a:pt x="257" y="0"/>
                    <a:pt x="257" y="0"/>
                  </a:cubicBezTo>
                  <a:cubicBezTo>
                    <a:pt x="273" y="0"/>
                    <a:pt x="273" y="0"/>
                    <a:pt x="273" y="0"/>
                  </a:cubicBezTo>
                  <a:cubicBezTo>
                    <a:pt x="274" y="0"/>
                    <a:pt x="275" y="1"/>
                    <a:pt x="275" y="2"/>
                  </a:cubicBezTo>
                  <a:cubicBezTo>
                    <a:pt x="275" y="3"/>
                    <a:pt x="274" y="4"/>
                    <a:pt x="273" y="4"/>
                  </a:cubicBezTo>
                  <a:close/>
                  <a:moveTo>
                    <a:pt x="241" y="4"/>
                  </a:moveTo>
                  <a:cubicBezTo>
                    <a:pt x="225" y="4"/>
                    <a:pt x="225" y="4"/>
                    <a:pt x="225" y="4"/>
                  </a:cubicBezTo>
                  <a:cubicBezTo>
                    <a:pt x="225" y="4"/>
                    <a:pt x="224" y="3"/>
                    <a:pt x="224" y="2"/>
                  </a:cubicBezTo>
                  <a:cubicBezTo>
                    <a:pt x="224" y="1"/>
                    <a:pt x="225" y="0"/>
                    <a:pt x="225" y="0"/>
                  </a:cubicBezTo>
                  <a:cubicBezTo>
                    <a:pt x="241" y="0"/>
                    <a:pt x="241" y="0"/>
                    <a:pt x="241" y="0"/>
                  </a:cubicBezTo>
                  <a:cubicBezTo>
                    <a:pt x="242" y="0"/>
                    <a:pt x="243" y="1"/>
                    <a:pt x="243" y="2"/>
                  </a:cubicBezTo>
                  <a:cubicBezTo>
                    <a:pt x="243" y="3"/>
                    <a:pt x="242" y="4"/>
                    <a:pt x="241" y="4"/>
                  </a:cubicBezTo>
                  <a:close/>
                  <a:moveTo>
                    <a:pt x="209" y="4"/>
                  </a:moveTo>
                  <a:cubicBezTo>
                    <a:pt x="193" y="4"/>
                    <a:pt x="193" y="4"/>
                    <a:pt x="193" y="4"/>
                  </a:cubicBezTo>
                  <a:cubicBezTo>
                    <a:pt x="193" y="4"/>
                    <a:pt x="192" y="3"/>
                    <a:pt x="192" y="2"/>
                  </a:cubicBezTo>
                  <a:cubicBezTo>
                    <a:pt x="192" y="1"/>
                    <a:pt x="193" y="0"/>
                    <a:pt x="193" y="0"/>
                  </a:cubicBezTo>
                  <a:cubicBezTo>
                    <a:pt x="209" y="0"/>
                    <a:pt x="209" y="0"/>
                    <a:pt x="209" y="0"/>
                  </a:cubicBezTo>
                  <a:cubicBezTo>
                    <a:pt x="210" y="0"/>
                    <a:pt x="211" y="1"/>
                    <a:pt x="211" y="2"/>
                  </a:cubicBezTo>
                  <a:cubicBezTo>
                    <a:pt x="211" y="3"/>
                    <a:pt x="210" y="4"/>
                    <a:pt x="209" y="4"/>
                  </a:cubicBezTo>
                  <a:close/>
                  <a:moveTo>
                    <a:pt x="177" y="4"/>
                  </a:moveTo>
                  <a:cubicBezTo>
                    <a:pt x="161" y="4"/>
                    <a:pt x="161" y="4"/>
                    <a:pt x="161" y="4"/>
                  </a:cubicBezTo>
                  <a:cubicBezTo>
                    <a:pt x="161" y="4"/>
                    <a:pt x="160" y="3"/>
                    <a:pt x="160" y="2"/>
                  </a:cubicBezTo>
                  <a:cubicBezTo>
                    <a:pt x="160" y="1"/>
                    <a:pt x="161" y="0"/>
                    <a:pt x="161" y="0"/>
                  </a:cubicBezTo>
                  <a:cubicBezTo>
                    <a:pt x="177" y="0"/>
                    <a:pt x="177" y="0"/>
                    <a:pt x="177" y="0"/>
                  </a:cubicBezTo>
                  <a:cubicBezTo>
                    <a:pt x="178" y="0"/>
                    <a:pt x="179" y="1"/>
                    <a:pt x="179" y="2"/>
                  </a:cubicBezTo>
                  <a:cubicBezTo>
                    <a:pt x="179" y="3"/>
                    <a:pt x="178" y="4"/>
                    <a:pt x="177" y="4"/>
                  </a:cubicBezTo>
                  <a:close/>
                  <a:moveTo>
                    <a:pt x="146" y="4"/>
                  </a:moveTo>
                  <a:cubicBezTo>
                    <a:pt x="130" y="4"/>
                    <a:pt x="130" y="4"/>
                    <a:pt x="130" y="4"/>
                  </a:cubicBezTo>
                  <a:cubicBezTo>
                    <a:pt x="129" y="4"/>
                    <a:pt x="128" y="3"/>
                    <a:pt x="128" y="2"/>
                  </a:cubicBezTo>
                  <a:cubicBezTo>
                    <a:pt x="128" y="1"/>
                    <a:pt x="129" y="0"/>
                    <a:pt x="130" y="0"/>
                  </a:cubicBezTo>
                  <a:cubicBezTo>
                    <a:pt x="146" y="0"/>
                    <a:pt x="146" y="0"/>
                    <a:pt x="146" y="0"/>
                  </a:cubicBezTo>
                  <a:cubicBezTo>
                    <a:pt x="146" y="0"/>
                    <a:pt x="147" y="1"/>
                    <a:pt x="147" y="2"/>
                  </a:cubicBezTo>
                  <a:cubicBezTo>
                    <a:pt x="147" y="3"/>
                    <a:pt x="146" y="4"/>
                    <a:pt x="146" y="4"/>
                  </a:cubicBezTo>
                  <a:close/>
                  <a:moveTo>
                    <a:pt x="114" y="4"/>
                  </a:moveTo>
                  <a:cubicBezTo>
                    <a:pt x="98" y="4"/>
                    <a:pt x="98" y="4"/>
                    <a:pt x="98" y="4"/>
                  </a:cubicBezTo>
                  <a:cubicBezTo>
                    <a:pt x="97" y="4"/>
                    <a:pt x="96" y="3"/>
                    <a:pt x="96" y="2"/>
                  </a:cubicBezTo>
                  <a:cubicBezTo>
                    <a:pt x="96" y="1"/>
                    <a:pt x="97" y="0"/>
                    <a:pt x="98" y="0"/>
                  </a:cubicBezTo>
                  <a:cubicBezTo>
                    <a:pt x="114" y="0"/>
                    <a:pt x="114" y="0"/>
                    <a:pt x="114" y="0"/>
                  </a:cubicBezTo>
                  <a:cubicBezTo>
                    <a:pt x="114" y="0"/>
                    <a:pt x="115" y="1"/>
                    <a:pt x="115" y="2"/>
                  </a:cubicBezTo>
                  <a:cubicBezTo>
                    <a:pt x="115" y="3"/>
                    <a:pt x="114" y="4"/>
                    <a:pt x="114" y="4"/>
                  </a:cubicBezTo>
                  <a:close/>
                  <a:moveTo>
                    <a:pt x="82" y="4"/>
                  </a:moveTo>
                  <a:cubicBezTo>
                    <a:pt x="66" y="4"/>
                    <a:pt x="66" y="4"/>
                    <a:pt x="66" y="4"/>
                  </a:cubicBezTo>
                  <a:cubicBezTo>
                    <a:pt x="65" y="4"/>
                    <a:pt x="64" y="3"/>
                    <a:pt x="64" y="2"/>
                  </a:cubicBezTo>
                  <a:cubicBezTo>
                    <a:pt x="64" y="1"/>
                    <a:pt x="65" y="0"/>
                    <a:pt x="66" y="0"/>
                  </a:cubicBezTo>
                  <a:cubicBezTo>
                    <a:pt x="82" y="0"/>
                    <a:pt x="82" y="0"/>
                    <a:pt x="82" y="0"/>
                  </a:cubicBezTo>
                  <a:cubicBezTo>
                    <a:pt x="82" y="0"/>
                    <a:pt x="83" y="1"/>
                    <a:pt x="83" y="2"/>
                  </a:cubicBezTo>
                  <a:cubicBezTo>
                    <a:pt x="83" y="3"/>
                    <a:pt x="82" y="4"/>
                    <a:pt x="82" y="4"/>
                  </a:cubicBezTo>
                  <a:close/>
                  <a:moveTo>
                    <a:pt x="50" y="4"/>
                  </a:moveTo>
                  <a:cubicBezTo>
                    <a:pt x="34" y="4"/>
                    <a:pt x="34" y="4"/>
                    <a:pt x="34" y="4"/>
                  </a:cubicBezTo>
                  <a:cubicBezTo>
                    <a:pt x="33" y="4"/>
                    <a:pt x="32" y="3"/>
                    <a:pt x="32" y="2"/>
                  </a:cubicBezTo>
                  <a:cubicBezTo>
                    <a:pt x="32" y="1"/>
                    <a:pt x="33" y="0"/>
                    <a:pt x="34" y="0"/>
                  </a:cubicBezTo>
                  <a:cubicBezTo>
                    <a:pt x="50" y="0"/>
                    <a:pt x="50" y="0"/>
                    <a:pt x="50" y="0"/>
                  </a:cubicBezTo>
                  <a:cubicBezTo>
                    <a:pt x="50" y="0"/>
                    <a:pt x="51" y="1"/>
                    <a:pt x="51" y="2"/>
                  </a:cubicBezTo>
                  <a:cubicBezTo>
                    <a:pt x="51" y="3"/>
                    <a:pt x="50" y="4"/>
                    <a:pt x="50" y="4"/>
                  </a:cubicBezTo>
                  <a:close/>
                  <a:moveTo>
                    <a:pt x="18" y="4"/>
                  </a:moveTo>
                  <a:cubicBezTo>
                    <a:pt x="2" y="4"/>
                    <a:pt x="2" y="4"/>
                    <a:pt x="2" y="4"/>
                  </a:cubicBezTo>
                  <a:cubicBezTo>
                    <a:pt x="1" y="4"/>
                    <a:pt x="0" y="3"/>
                    <a:pt x="0" y="2"/>
                  </a:cubicBezTo>
                  <a:cubicBezTo>
                    <a:pt x="0" y="1"/>
                    <a:pt x="1" y="0"/>
                    <a:pt x="2" y="0"/>
                  </a:cubicBezTo>
                  <a:cubicBezTo>
                    <a:pt x="18" y="0"/>
                    <a:pt x="18" y="0"/>
                    <a:pt x="18" y="0"/>
                  </a:cubicBezTo>
                  <a:cubicBezTo>
                    <a:pt x="18" y="0"/>
                    <a:pt x="19" y="1"/>
                    <a:pt x="19" y="2"/>
                  </a:cubicBezTo>
                  <a:cubicBezTo>
                    <a:pt x="19" y="3"/>
                    <a:pt x="18" y="4"/>
                    <a:pt x="18"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31" name="Freeform 322">
              <a:extLst>
                <a:ext uri="{FF2B5EF4-FFF2-40B4-BE49-F238E27FC236}">
                  <a16:creationId xmlns:a16="http://schemas.microsoft.com/office/drawing/2014/main" id="{CF881ABC-A2D1-427C-A462-DFB649920B9D}"/>
                </a:ext>
              </a:extLst>
            </p:cNvPr>
            <p:cNvSpPr>
              <a:spLocks/>
            </p:cNvSpPr>
            <p:nvPr/>
          </p:nvSpPr>
          <p:spPr bwMode="auto">
            <a:xfrm>
              <a:off x="5010419" y="4496350"/>
              <a:ext cx="47998" cy="18285"/>
            </a:xfrm>
            <a:custGeom>
              <a:avLst/>
              <a:gdLst>
                <a:gd name="T0" fmla="*/ 9 w 11"/>
                <a:gd name="T1" fmla="*/ 4 h 4"/>
                <a:gd name="T2" fmla="*/ 1 w 11"/>
                <a:gd name="T3" fmla="*/ 4 h 4"/>
                <a:gd name="T4" fmla="*/ 0 w 11"/>
                <a:gd name="T5" fmla="*/ 2 h 4"/>
                <a:gd name="T6" fmla="*/ 1 w 11"/>
                <a:gd name="T7" fmla="*/ 0 h 4"/>
                <a:gd name="T8" fmla="*/ 9 w 11"/>
                <a:gd name="T9" fmla="*/ 0 h 4"/>
                <a:gd name="T10" fmla="*/ 11 w 11"/>
                <a:gd name="T11" fmla="*/ 2 h 4"/>
                <a:gd name="T12" fmla="*/ 9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9" y="4"/>
                  </a:moveTo>
                  <a:cubicBezTo>
                    <a:pt x="1" y="4"/>
                    <a:pt x="1" y="4"/>
                    <a:pt x="1" y="4"/>
                  </a:cubicBezTo>
                  <a:cubicBezTo>
                    <a:pt x="1" y="4"/>
                    <a:pt x="0" y="3"/>
                    <a:pt x="0" y="2"/>
                  </a:cubicBezTo>
                  <a:cubicBezTo>
                    <a:pt x="0" y="1"/>
                    <a:pt x="1" y="0"/>
                    <a:pt x="1" y="0"/>
                  </a:cubicBezTo>
                  <a:cubicBezTo>
                    <a:pt x="9" y="0"/>
                    <a:pt x="9" y="0"/>
                    <a:pt x="9" y="0"/>
                  </a:cubicBezTo>
                  <a:cubicBezTo>
                    <a:pt x="10" y="0"/>
                    <a:pt x="11" y="1"/>
                    <a:pt x="11" y="2"/>
                  </a:cubicBezTo>
                  <a:cubicBezTo>
                    <a:pt x="11" y="3"/>
                    <a:pt x="10"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32" name="Freeform 323">
              <a:extLst>
                <a:ext uri="{FF2B5EF4-FFF2-40B4-BE49-F238E27FC236}">
                  <a16:creationId xmlns:a16="http://schemas.microsoft.com/office/drawing/2014/main" id="{F5A760C4-383F-4FF5-867F-FEBC7ECD99E3}"/>
                </a:ext>
              </a:extLst>
            </p:cNvPr>
            <p:cNvSpPr>
              <a:spLocks/>
            </p:cNvSpPr>
            <p:nvPr/>
          </p:nvSpPr>
          <p:spPr bwMode="auto">
            <a:xfrm>
              <a:off x="5042418" y="4496350"/>
              <a:ext cx="47998" cy="18285"/>
            </a:xfrm>
            <a:custGeom>
              <a:avLst/>
              <a:gdLst>
                <a:gd name="T0" fmla="*/ 10 w 11"/>
                <a:gd name="T1" fmla="*/ 4 h 4"/>
                <a:gd name="T2" fmla="*/ 2 w 11"/>
                <a:gd name="T3" fmla="*/ 4 h 4"/>
                <a:gd name="T4" fmla="*/ 0 w 11"/>
                <a:gd name="T5" fmla="*/ 2 h 4"/>
                <a:gd name="T6" fmla="*/ 2 w 11"/>
                <a:gd name="T7" fmla="*/ 0 h 4"/>
                <a:gd name="T8" fmla="*/ 10 w 11"/>
                <a:gd name="T9" fmla="*/ 0 h 4"/>
                <a:gd name="T10" fmla="*/ 11 w 11"/>
                <a:gd name="T11" fmla="*/ 2 h 4"/>
                <a:gd name="T12" fmla="*/ 10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0" y="4"/>
                  </a:moveTo>
                  <a:cubicBezTo>
                    <a:pt x="2" y="4"/>
                    <a:pt x="2" y="4"/>
                    <a:pt x="2" y="4"/>
                  </a:cubicBezTo>
                  <a:cubicBezTo>
                    <a:pt x="1" y="4"/>
                    <a:pt x="0" y="3"/>
                    <a:pt x="0" y="2"/>
                  </a:cubicBezTo>
                  <a:cubicBezTo>
                    <a:pt x="0" y="1"/>
                    <a:pt x="1" y="0"/>
                    <a:pt x="2" y="0"/>
                  </a:cubicBezTo>
                  <a:cubicBezTo>
                    <a:pt x="10" y="0"/>
                    <a:pt x="10" y="0"/>
                    <a:pt x="10" y="0"/>
                  </a:cubicBezTo>
                  <a:cubicBezTo>
                    <a:pt x="10" y="0"/>
                    <a:pt x="11" y="1"/>
                    <a:pt x="11" y="2"/>
                  </a:cubicBezTo>
                  <a:cubicBezTo>
                    <a:pt x="11" y="3"/>
                    <a:pt x="10" y="4"/>
                    <a:pt x="1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33" name="Freeform 324">
              <a:extLst>
                <a:ext uri="{FF2B5EF4-FFF2-40B4-BE49-F238E27FC236}">
                  <a16:creationId xmlns:a16="http://schemas.microsoft.com/office/drawing/2014/main" id="{C381E94F-9E64-4D99-9446-D2CFF2AB47A0}"/>
                </a:ext>
              </a:extLst>
            </p:cNvPr>
            <p:cNvSpPr>
              <a:spLocks noEditPoints="1"/>
            </p:cNvSpPr>
            <p:nvPr/>
          </p:nvSpPr>
          <p:spPr bwMode="auto">
            <a:xfrm>
              <a:off x="5152126" y="4496350"/>
              <a:ext cx="2054751" cy="18285"/>
            </a:xfrm>
            <a:custGeom>
              <a:avLst/>
              <a:gdLst>
                <a:gd name="T0" fmla="*/ 449 w 466"/>
                <a:gd name="T1" fmla="*/ 4 h 4"/>
                <a:gd name="T2" fmla="*/ 449 w 466"/>
                <a:gd name="T3" fmla="*/ 0 h 4"/>
                <a:gd name="T4" fmla="*/ 466 w 466"/>
                <a:gd name="T5" fmla="*/ 2 h 4"/>
                <a:gd name="T6" fmla="*/ 433 w 466"/>
                <a:gd name="T7" fmla="*/ 4 h 4"/>
                <a:gd name="T8" fmla="*/ 416 w 466"/>
                <a:gd name="T9" fmla="*/ 2 h 4"/>
                <a:gd name="T10" fmla="*/ 433 w 466"/>
                <a:gd name="T11" fmla="*/ 0 h 4"/>
                <a:gd name="T12" fmla="*/ 433 w 466"/>
                <a:gd name="T13" fmla="*/ 4 h 4"/>
                <a:gd name="T14" fmla="*/ 385 w 466"/>
                <a:gd name="T15" fmla="*/ 4 h 4"/>
                <a:gd name="T16" fmla="*/ 385 w 466"/>
                <a:gd name="T17" fmla="*/ 0 h 4"/>
                <a:gd name="T18" fmla="*/ 402 w 466"/>
                <a:gd name="T19" fmla="*/ 2 h 4"/>
                <a:gd name="T20" fmla="*/ 369 w 466"/>
                <a:gd name="T21" fmla="*/ 4 h 4"/>
                <a:gd name="T22" fmla="*/ 352 w 466"/>
                <a:gd name="T23" fmla="*/ 2 h 4"/>
                <a:gd name="T24" fmla="*/ 369 w 466"/>
                <a:gd name="T25" fmla="*/ 0 h 4"/>
                <a:gd name="T26" fmla="*/ 369 w 466"/>
                <a:gd name="T27" fmla="*/ 4 h 4"/>
                <a:gd name="T28" fmla="*/ 321 w 466"/>
                <a:gd name="T29" fmla="*/ 4 h 4"/>
                <a:gd name="T30" fmla="*/ 321 w 466"/>
                <a:gd name="T31" fmla="*/ 0 h 4"/>
                <a:gd name="T32" fmla="*/ 338 w 466"/>
                <a:gd name="T33" fmla="*/ 2 h 4"/>
                <a:gd name="T34" fmla="*/ 305 w 466"/>
                <a:gd name="T35" fmla="*/ 4 h 4"/>
                <a:gd name="T36" fmla="*/ 288 w 466"/>
                <a:gd name="T37" fmla="*/ 2 h 4"/>
                <a:gd name="T38" fmla="*/ 305 w 466"/>
                <a:gd name="T39" fmla="*/ 0 h 4"/>
                <a:gd name="T40" fmla="*/ 305 w 466"/>
                <a:gd name="T41" fmla="*/ 4 h 4"/>
                <a:gd name="T42" fmla="*/ 257 w 466"/>
                <a:gd name="T43" fmla="*/ 4 h 4"/>
                <a:gd name="T44" fmla="*/ 257 w 466"/>
                <a:gd name="T45" fmla="*/ 0 h 4"/>
                <a:gd name="T46" fmla="*/ 274 w 466"/>
                <a:gd name="T47" fmla="*/ 2 h 4"/>
                <a:gd name="T48" fmla="*/ 241 w 466"/>
                <a:gd name="T49" fmla="*/ 4 h 4"/>
                <a:gd name="T50" fmla="*/ 224 w 466"/>
                <a:gd name="T51" fmla="*/ 2 h 4"/>
                <a:gd name="T52" fmla="*/ 241 w 466"/>
                <a:gd name="T53" fmla="*/ 0 h 4"/>
                <a:gd name="T54" fmla="*/ 241 w 466"/>
                <a:gd name="T55" fmla="*/ 4 h 4"/>
                <a:gd name="T56" fmla="*/ 193 w 466"/>
                <a:gd name="T57" fmla="*/ 4 h 4"/>
                <a:gd name="T58" fmla="*/ 193 w 466"/>
                <a:gd name="T59" fmla="*/ 0 h 4"/>
                <a:gd name="T60" fmla="*/ 210 w 466"/>
                <a:gd name="T61" fmla="*/ 2 h 4"/>
                <a:gd name="T62" fmla="*/ 177 w 466"/>
                <a:gd name="T63" fmla="*/ 4 h 4"/>
                <a:gd name="T64" fmla="*/ 160 w 466"/>
                <a:gd name="T65" fmla="*/ 2 h 4"/>
                <a:gd name="T66" fmla="*/ 177 w 466"/>
                <a:gd name="T67" fmla="*/ 0 h 4"/>
                <a:gd name="T68" fmla="*/ 177 w 466"/>
                <a:gd name="T69" fmla="*/ 4 h 4"/>
                <a:gd name="T70" fmla="*/ 129 w 466"/>
                <a:gd name="T71" fmla="*/ 4 h 4"/>
                <a:gd name="T72" fmla="*/ 129 w 466"/>
                <a:gd name="T73" fmla="*/ 0 h 4"/>
                <a:gd name="T74" fmla="*/ 146 w 466"/>
                <a:gd name="T75" fmla="*/ 2 h 4"/>
                <a:gd name="T76" fmla="*/ 113 w 466"/>
                <a:gd name="T77" fmla="*/ 4 h 4"/>
                <a:gd name="T78" fmla="*/ 96 w 466"/>
                <a:gd name="T79" fmla="*/ 2 h 4"/>
                <a:gd name="T80" fmla="*/ 113 w 466"/>
                <a:gd name="T81" fmla="*/ 0 h 4"/>
                <a:gd name="T82" fmla="*/ 113 w 466"/>
                <a:gd name="T83" fmla="*/ 4 h 4"/>
                <a:gd name="T84" fmla="*/ 65 w 466"/>
                <a:gd name="T85" fmla="*/ 4 h 4"/>
                <a:gd name="T86" fmla="*/ 65 w 466"/>
                <a:gd name="T87" fmla="*/ 0 h 4"/>
                <a:gd name="T88" fmla="*/ 83 w 466"/>
                <a:gd name="T89" fmla="*/ 2 h 4"/>
                <a:gd name="T90" fmla="*/ 49 w 466"/>
                <a:gd name="T91" fmla="*/ 4 h 4"/>
                <a:gd name="T92" fmla="*/ 32 w 466"/>
                <a:gd name="T93" fmla="*/ 2 h 4"/>
                <a:gd name="T94" fmla="*/ 49 w 466"/>
                <a:gd name="T95" fmla="*/ 0 h 4"/>
                <a:gd name="T96" fmla="*/ 49 w 466"/>
                <a:gd name="T97" fmla="*/ 4 h 4"/>
                <a:gd name="T98" fmla="*/ 1 w 466"/>
                <a:gd name="T99" fmla="*/ 4 h 4"/>
                <a:gd name="T100" fmla="*/ 1 w 466"/>
                <a:gd name="T101" fmla="*/ 0 h 4"/>
                <a:gd name="T102" fmla="*/ 19 w 466"/>
                <a:gd name="T10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6" h="4">
                  <a:moveTo>
                    <a:pt x="465" y="4"/>
                  </a:moveTo>
                  <a:cubicBezTo>
                    <a:pt x="449" y="4"/>
                    <a:pt x="449" y="4"/>
                    <a:pt x="449" y="4"/>
                  </a:cubicBezTo>
                  <a:cubicBezTo>
                    <a:pt x="448" y="4"/>
                    <a:pt x="448" y="3"/>
                    <a:pt x="448" y="2"/>
                  </a:cubicBezTo>
                  <a:cubicBezTo>
                    <a:pt x="448" y="1"/>
                    <a:pt x="448" y="0"/>
                    <a:pt x="449" y="0"/>
                  </a:cubicBezTo>
                  <a:cubicBezTo>
                    <a:pt x="465" y="0"/>
                    <a:pt x="465" y="0"/>
                    <a:pt x="465" y="0"/>
                  </a:cubicBezTo>
                  <a:cubicBezTo>
                    <a:pt x="466" y="0"/>
                    <a:pt x="466" y="1"/>
                    <a:pt x="466" y="2"/>
                  </a:cubicBezTo>
                  <a:cubicBezTo>
                    <a:pt x="466" y="3"/>
                    <a:pt x="466" y="4"/>
                    <a:pt x="465" y="4"/>
                  </a:cubicBezTo>
                  <a:close/>
                  <a:moveTo>
                    <a:pt x="433" y="4"/>
                  </a:moveTo>
                  <a:cubicBezTo>
                    <a:pt x="417" y="4"/>
                    <a:pt x="417" y="4"/>
                    <a:pt x="417" y="4"/>
                  </a:cubicBezTo>
                  <a:cubicBezTo>
                    <a:pt x="416" y="4"/>
                    <a:pt x="416" y="3"/>
                    <a:pt x="416" y="2"/>
                  </a:cubicBezTo>
                  <a:cubicBezTo>
                    <a:pt x="416" y="1"/>
                    <a:pt x="416" y="0"/>
                    <a:pt x="417" y="0"/>
                  </a:cubicBezTo>
                  <a:cubicBezTo>
                    <a:pt x="433" y="0"/>
                    <a:pt x="433" y="0"/>
                    <a:pt x="433" y="0"/>
                  </a:cubicBezTo>
                  <a:cubicBezTo>
                    <a:pt x="434" y="0"/>
                    <a:pt x="434" y="1"/>
                    <a:pt x="434" y="2"/>
                  </a:cubicBezTo>
                  <a:cubicBezTo>
                    <a:pt x="434" y="3"/>
                    <a:pt x="434" y="4"/>
                    <a:pt x="433" y="4"/>
                  </a:cubicBezTo>
                  <a:close/>
                  <a:moveTo>
                    <a:pt x="401" y="4"/>
                  </a:moveTo>
                  <a:cubicBezTo>
                    <a:pt x="385" y="4"/>
                    <a:pt x="385" y="4"/>
                    <a:pt x="385" y="4"/>
                  </a:cubicBezTo>
                  <a:cubicBezTo>
                    <a:pt x="384" y="4"/>
                    <a:pt x="384" y="3"/>
                    <a:pt x="384" y="2"/>
                  </a:cubicBezTo>
                  <a:cubicBezTo>
                    <a:pt x="384" y="1"/>
                    <a:pt x="384" y="0"/>
                    <a:pt x="385" y="0"/>
                  </a:cubicBezTo>
                  <a:cubicBezTo>
                    <a:pt x="401" y="0"/>
                    <a:pt x="401" y="0"/>
                    <a:pt x="401" y="0"/>
                  </a:cubicBezTo>
                  <a:cubicBezTo>
                    <a:pt x="402" y="0"/>
                    <a:pt x="402" y="1"/>
                    <a:pt x="402" y="2"/>
                  </a:cubicBezTo>
                  <a:cubicBezTo>
                    <a:pt x="402" y="3"/>
                    <a:pt x="402" y="4"/>
                    <a:pt x="401" y="4"/>
                  </a:cubicBezTo>
                  <a:close/>
                  <a:moveTo>
                    <a:pt x="369" y="4"/>
                  </a:moveTo>
                  <a:cubicBezTo>
                    <a:pt x="353" y="4"/>
                    <a:pt x="353" y="4"/>
                    <a:pt x="353" y="4"/>
                  </a:cubicBezTo>
                  <a:cubicBezTo>
                    <a:pt x="352" y="4"/>
                    <a:pt x="352" y="3"/>
                    <a:pt x="352" y="2"/>
                  </a:cubicBezTo>
                  <a:cubicBezTo>
                    <a:pt x="352" y="1"/>
                    <a:pt x="352" y="0"/>
                    <a:pt x="353" y="0"/>
                  </a:cubicBezTo>
                  <a:cubicBezTo>
                    <a:pt x="369" y="0"/>
                    <a:pt x="369" y="0"/>
                    <a:pt x="369" y="0"/>
                  </a:cubicBezTo>
                  <a:cubicBezTo>
                    <a:pt x="370" y="0"/>
                    <a:pt x="370" y="1"/>
                    <a:pt x="370" y="2"/>
                  </a:cubicBezTo>
                  <a:cubicBezTo>
                    <a:pt x="370" y="3"/>
                    <a:pt x="370" y="4"/>
                    <a:pt x="369" y="4"/>
                  </a:cubicBezTo>
                  <a:close/>
                  <a:moveTo>
                    <a:pt x="337" y="4"/>
                  </a:moveTo>
                  <a:cubicBezTo>
                    <a:pt x="321" y="4"/>
                    <a:pt x="321" y="4"/>
                    <a:pt x="321" y="4"/>
                  </a:cubicBezTo>
                  <a:cubicBezTo>
                    <a:pt x="320" y="4"/>
                    <a:pt x="320" y="3"/>
                    <a:pt x="320" y="2"/>
                  </a:cubicBezTo>
                  <a:cubicBezTo>
                    <a:pt x="320" y="1"/>
                    <a:pt x="320" y="0"/>
                    <a:pt x="321" y="0"/>
                  </a:cubicBezTo>
                  <a:cubicBezTo>
                    <a:pt x="337" y="0"/>
                    <a:pt x="337" y="0"/>
                    <a:pt x="337" y="0"/>
                  </a:cubicBezTo>
                  <a:cubicBezTo>
                    <a:pt x="338" y="0"/>
                    <a:pt x="338" y="1"/>
                    <a:pt x="338" y="2"/>
                  </a:cubicBezTo>
                  <a:cubicBezTo>
                    <a:pt x="338" y="3"/>
                    <a:pt x="338" y="4"/>
                    <a:pt x="337" y="4"/>
                  </a:cubicBezTo>
                  <a:close/>
                  <a:moveTo>
                    <a:pt x="305" y="4"/>
                  </a:moveTo>
                  <a:cubicBezTo>
                    <a:pt x="289" y="4"/>
                    <a:pt x="289" y="4"/>
                    <a:pt x="289" y="4"/>
                  </a:cubicBezTo>
                  <a:cubicBezTo>
                    <a:pt x="288" y="4"/>
                    <a:pt x="288" y="3"/>
                    <a:pt x="288" y="2"/>
                  </a:cubicBezTo>
                  <a:cubicBezTo>
                    <a:pt x="288" y="1"/>
                    <a:pt x="288" y="0"/>
                    <a:pt x="289" y="0"/>
                  </a:cubicBezTo>
                  <a:cubicBezTo>
                    <a:pt x="305" y="0"/>
                    <a:pt x="305" y="0"/>
                    <a:pt x="305" y="0"/>
                  </a:cubicBezTo>
                  <a:cubicBezTo>
                    <a:pt x="306" y="0"/>
                    <a:pt x="306" y="1"/>
                    <a:pt x="306" y="2"/>
                  </a:cubicBezTo>
                  <a:cubicBezTo>
                    <a:pt x="306" y="3"/>
                    <a:pt x="306" y="4"/>
                    <a:pt x="305" y="4"/>
                  </a:cubicBezTo>
                  <a:close/>
                  <a:moveTo>
                    <a:pt x="273" y="4"/>
                  </a:moveTo>
                  <a:cubicBezTo>
                    <a:pt x="257" y="4"/>
                    <a:pt x="257" y="4"/>
                    <a:pt x="257" y="4"/>
                  </a:cubicBezTo>
                  <a:cubicBezTo>
                    <a:pt x="256" y="4"/>
                    <a:pt x="256" y="3"/>
                    <a:pt x="256" y="2"/>
                  </a:cubicBezTo>
                  <a:cubicBezTo>
                    <a:pt x="256" y="1"/>
                    <a:pt x="256" y="0"/>
                    <a:pt x="257" y="0"/>
                  </a:cubicBezTo>
                  <a:cubicBezTo>
                    <a:pt x="273" y="0"/>
                    <a:pt x="273" y="0"/>
                    <a:pt x="273" y="0"/>
                  </a:cubicBezTo>
                  <a:cubicBezTo>
                    <a:pt x="274" y="0"/>
                    <a:pt x="274" y="1"/>
                    <a:pt x="274" y="2"/>
                  </a:cubicBezTo>
                  <a:cubicBezTo>
                    <a:pt x="274" y="3"/>
                    <a:pt x="274" y="4"/>
                    <a:pt x="273" y="4"/>
                  </a:cubicBezTo>
                  <a:close/>
                  <a:moveTo>
                    <a:pt x="241" y="4"/>
                  </a:moveTo>
                  <a:cubicBezTo>
                    <a:pt x="225" y="4"/>
                    <a:pt x="225" y="4"/>
                    <a:pt x="225" y="4"/>
                  </a:cubicBezTo>
                  <a:cubicBezTo>
                    <a:pt x="224" y="4"/>
                    <a:pt x="224" y="3"/>
                    <a:pt x="224" y="2"/>
                  </a:cubicBezTo>
                  <a:cubicBezTo>
                    <a:pt x="224" y="1"/>
                    <a:pt x="224" y="0"/>
                    <a:pt x="225" y="0"/>
                  </a:cubicBezTo>
                  <a:cubicBezTo>
                    <a:pt x="241" y="0"/>
                    <a:pt x="241" y="0"/>
                    <a:pt x="241" y="0"/>
                  </a:cubicBezTo>
                  <a:cubicBezTo>
                    <a:pt x="242" y="0"/>
                    <a:pt x="242" y="1"/>
                    <a:pt x="242" y="2"/>
                  </a:cubicBezTo>
                  <a:cubicBezTo>
                    <a:pt x="242" y="3"/>
                    <a:pt x="242" y="4"/>
                    <a:pt x="241" y="4"/>
                  </a:cubicBezTo>
                  <a:close/>
                  <a:moveTo>
                    <a:pt x="209" y="4"/>
                  </a:moveTo>
                  <a:cubicBezTo>
                    <a:pt x="193" y="4"/>
                    <a:pt x="193" y="4"/>
                    <a:pt x="193" y="4"/>
                  </a:cubicBezTo>
                  <a:cubicBezTo>
                    <a:pt x="192" y="4"/>
                    <a:pt x="192" y="3"/>
                    <a:pt x="192" y="2"/>
                  </a:cubicBezTo>
                  <a:cubicBezTo>
                    <a:pt x="192" y="1"/>
                    <a:pt x="192" y="0"/>
                    <a:pt x="193" y="0"/>
                  </a:cubicBezTo>
                  <a:cubicBezTo>
                    <a:pt x="209" y="0"/>
                    <a:pt x="209" y="0"/>
                    <a:pt x="209" y="0"/>
                  </a:cubicBezTo>
                  <a:cubicBezTo>
                    <a:pt x="210" y="0"/>
                    <a:pt x="210" y="1"/>
                    <a:pt x="210" y="2"/>
                  </a:cubicBezTo>
                  <a:cubicBezTo>
                    <a:pt x="210" y="3"/>
                    <a:pt x="210" y="4"/>
                    <a:pt x="209" y="4"/>
                  </a:cubicBezTo>
                  <a:close/>
                  <a:moveTo>
                    <a:pt x="177" y="4"/>
                  </a:moveTo>
                  <a:cubicBezTo>
                    <a:pt x="161" y="4"/>
                    <a:pt x="161" y="4"/>
                    <a:pt x="161" y="4"/>
                  </a:cubicBezTo>
                  <a:cubicBezTo>
                    <a:pt x="160" y="4"/>
                    <a:pt x="160" y="3"/>
                    <a:pt x="160" y="2"/>
                  </a:cubicBezTo>
                  <a:cubicBezTo>
                    <a:pt x="160" y="1"/>
                    <a:pt x="160" y="0"/>
                    <a:pt x="161" y="0"/>
                  </a:cubicBezTo>
                  <a:cubicBezTo>
                    <a:pt x="177" y="0"/>
                    <a:pt x="177" y="0"/>
                    <a:pt x="177" y="0"/>
                  </a:cubicBezTo>
                  <a:cubicBezTo>
                    <a:pt x="178" y="0"/>
                    <a:pt x="178" y="1"/>
                    <a:pt x="178" y="2"/>
                  </a:cubicBezTo>
                  <a:cubicBezTo>
                    <a:pt x="178" y="3"/>
                    <a:pt x="178" y="4"/>
                    <a:pt x="177" y="4"/>
                  </a:cubicBezTo>
                  <a:close/>
                  <a:moveTo>
                    <a:pt x="145" y="4"/>
                  </a:moveTo>
                  <a:cubicBezTo>
                    <a:pt x="129" y="4"/>
                    <a:pt x="129" y="4"/>
                    <a:pt x="129" y="4"/>
                  </a:cubicBezTo>
                  <a:cubicBezTo>
                    <a:pt x="128" y="4"/>
                    <a:pt x="128" y="3"/>
                    <a:pt x="128" y="2"/>
                  </a:cubicBezTo>
                  <a:cubicBezTo>
                    <a:pt x="128" y="1"/>
                    <a:pt x="128" y="0"/>
                    <a:pt x="129" y="0"/>
                  </a:cubicBezTo>
                  <a:cubicBezTo>
                    <a:pt x="145" y="0"/>
                    <a:pt x="145" y="0"/>
                    <a:pt x="145" y="0"/>
                  </a:cubicBezTo>
                  <a:cubicBezTo>
                    <a:pt x="146" y="0"/>
                    <a:pt x="146" y="1"/>
                    <a:pt x="146" y="2"/>
                  </a:cubicBezTo>
                  <a:cubicBezTo>
                    <a:pt x="146" y="3"/>
                    <a:pt x="146" y="4"/>
                    <a:pt x="145" y="4"/>
                  </a:cubicBezTo>
                  <a:close/>
                  <a:moveTo>
                    <a:pt x="113" y="4"/>
                  </a:moveTo>
                  <a:cubicBezTo>
                    <a:pt x="97" y="4"/>
                    <a:pt x="97" y="4"/>
                    <a:pt x="97" y="4"/>
                  </a:cubicBezTo>
                  <a:cubicBezTo>
                    <a:pt x="96" y="4"/>
                    <a:pt x="96" y="3"/>
                    <a:pt x="96" y="2"/>
                  </a:cubicBezTo>
                  <a:cubicBezTo>
                    <a:pt x="96" y="1"/>
                    <a:pt x="96" y="0"/>
                    <a:pt x="97" y="0"/>
                  </a:cubicBezTo>
                  <a:cubicBezTo>
                    <a:pt x="113" y="0"/>
                    <a:pt x="113" y="0"/>
                    <a:pt x="113" y="0"/>
                  </a:cubicBezTo>
                  <a:cubicBezTo>
                    <a:pt x="114" y="0"/>
                    <a:pt x="115" y="1"/>
                    <a:pt x="115" y="2"/>
                  </a:cubicBezTo>
                  <a:cubicBezTo>
                    <a:pt x="115" y="3"/>
                    <a:pt x="114" y="4"/>
                    <a:pt x="113" y="4"/>
                  </a:cubicBezTo>
                  <a:close/>
                  <a:moveTo>
                    <a:pt x="81" y="4"/>
                  </a:moveTo>
                  <a:cubicBezTo>
                    <a:pt x="65" y="4"/>
                    <a:pt x="65" y="4"/>
                    <a:pt x="65" y="4"/>
                  </a:cubicBezTo>
                  <a:cubicBezTo>
                    <a:pt x="65" y="4"/>
                    <a:pt x="64" y="3"/>
                    <a:pt x="64" y="2"/>
                  </a:cubicBezTo>
                  <a:cubicBezTo>
                    <a:pt x="64" y="1"/>
                    <a:pt x="65" y="0"/>
                    <a:pt x="65" y="0"/>
                  </a:cubicBezTo>
                  <a:cubicBezTo>
                    <a:pt x="81" y="0"/>
                    <a:pt x="81" y="0"/>
                    <a:pt x="81" y="0"/>
                  </a:cubicBezTo>
                  <a:cubicBezTo>
                    <a:pt x="82" y="0"/>
                    <a:pt x="83" y="1"/>
                    <a:pt x="83" y="2"/>
                  </a:cubicBezTo>
                  <a:cubicBezTo>
                    <a:pt x="83" y="3"/>
                    <a:pt x="82" y="4"/>
                    <a:pt x="81" y="4"/>
                  </a:cubicBezTo>
                  <a:close/>
                  <a:moveTo>
                    <a:pt x="49" y="4"/>
                  </a:moveTo>
                  <a:cubicBezTo>
                    <a:pt x="33" y="4"/>
                    <a:pt x="33" y="4"/>
                    <a:pt x="33" y="4"/>
                  </a:cubicBezTo>
                  <a:cubicBezTo>
                    <a:pt x="33" y="4"/>
                    <a:pt x="32" y="3"/>
                    <a:pt x="32" y="2"/>
                  </a:cubicBezTo>
                  <a:cubicBezTo>
                    <a:pt x="32" y="1"/>
                    <a:pt x="33" y="0"/>
                    <a:pt x="33" y="0"/>
                  </a:cubicBezTo>
                  <a:cubicBezTo>
                    <a:pt x="49" y="0"/>
                    <a:pt x="49" y="0"/>
                    <a:pt x="49" y="0"/>
                  </a:cubicBezTo>
                  <a:cubicBezTo>
                    <a:pt x="50" y="0"/>
                    <a:pt x="51" y="1"/>
                    <a:pt x="51" y="2"/>
                  </a:cubicBezTo>
                  <a:cubicBezTo>
                    <a:pt x="51" y="3"/>
                    <a:pt x="50" y="4"/>
                    <a:pt x="49" y="4"/>
                  </a:cubicBezTo>
                  <a:close/>
                  <a:moveTo>
                    <a:pt x="17" y="4"/>
                  </a:moveTo>
                  <a:cubicBezTo>
                    <a:pt x="1" y="4"/>
                    <a:pt x="1" y="4"/>
                    <a:pt x="1" y="4"/>
                  </a:cubicBezTo>
                  <a:cubicBezTo>
                    <a:pt x="1" y="4"/>
                    <a:pt x="0" y="3"/>
                    <a:pt x="0" y="2"/>
                  </a:cubicBezTo>
                  <a:cubicBezTo>
                    <a:pt x="0" y="1"/>
                    <a:pt x="1" y="0"/>
                    <a:pt x="1" y="0"/>
                  </a:cubicBezTo>
                  <a:cubicBezTo>
                    <a:pt x="17" y="0"/>
                    <a:pt x="17" y="0"/>
                    <a:pt x="17" y="0"/>
                  </a:cubicBezTo>
                  <a:cubicBezTo>
                    <a:pt x="18" y="0"/>
                    <a:pt x="19" y="1"/>
                    <a:pt x="19" y="2"/>
                  </a:cubicBezTo>
                  <a:cubicBezTo>
                    <a:pt x="19" y="3"/>
                    <a:pt x="18" y="4"/>
                    <a:pt x="17"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34" name="Freeform 325">
              <a:extLst>
                <a:ext uri="{FF2B5EF4-FFF2-40B4-BE49-F238E27FC236}">
                  <a16:creationId xmlns:a16="http://schemas.microsoft.com/office/drawing/2014/main" id="{1D550A32-4092-45A2-B5A3-963BA8ECA4C8}"/>
                </a:ext>
              </a:extLst>
            </p:cNvPr>
            <p:cNvSpPr>
              <a:spLocks/>
            </p:cNvSpPr>
            <p:nvPr/>
          </p:nvSpPr>
          <p:spPr bwMode="auto">
            <a:xfrm>
              <a:off x="7254874" y="4496350"/>
              <a:ext cx="45712"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10" y="0"/>
                    <a:pt x="10" y="1"/>
                    <a:pt x="10" y="2"/>
                  </a:cubicBezTo>
                  <a:cubicBezTo>
                    <a:pt x="10" y="3"/>
                    <a:pt x="10"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35" name="Freeform 326">
              <a:extLst>
                <a:ext uri="{FF2B5EF4-FFF2-40B4-BE49-F238E27FC236}">
                  <a16:creationId xmlns:a16="http://schemas.microsoft.com/office/drawing/2014/main" id="{E880937A-C3F3-43CE-8147-AB3F7A35FBF6}"/>
                </a:ext>
              </a:extLst>
            </p:cNvPr>
            <p:cNvSpPr>
              <a:spLocks/>
            </p:cNvSpPr>
            <p:nvPr/>
          </p:nvSpPr>
          <p:spPr bwMode="auto">
            <a:xfrm>
              <a:off x="7300586" y="4496350"/>
              <a:ext cx="47998" cy="18285"/>
            </a:xfrm>
            <a:custGeom>
              <a:avLst/>
              <a:gdLst>
                <a:gd name="T0" fmla="*/ 10 w 11"/>
                <a:gd name="T1" fmla="*/ 4 h 4"/>
                <a:gd name="T2" fmla="*/ 2 w 11"/>
                <a:gd name="T3" fmla="*/ 4 h 4"/>
                <a:gd name="T4" fmla="*/ 0 w 11"/>
                <a:gd name="T5" fmla="*/ 2 h 4"/>
                <a:gd name="T6" fmla="*/ 2 w 11"/>
                <a:gd name="T7" fmla="*/ 0 h 4"/>
                <a:gd name="T8" fmla="*/ 10 w 11"/>
                <a:gd name="T9" fmla="*/ 0 h 4"/>
                <a:gd name="T10" fmla="*/ 11 w 11"/>
                <a:gd name="T11" fmla="*/ 2 h 4"/>
                <a:gd name="T12" fmla="*/ 10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0" y="4"/>
                  </a:moveTo>
                  <a:cubicBezTo>
                    <a:pt x="2" y="4"/>
                    <a:pt x="2" y="4"/>
                    <a:pt x="2" y="4"/>
                  </a:cubicBezTo>
                  <a:cubicBezTo>
                    <a:pt x="1" y="4"/>
                    <a:pt x="0" y="3"/>
                    <a:pt x="0" y="2"/>
                  </a:cubicBezTo>
                  <a:cubicBezTo>
                    <a:pt x="0" y="1"/>
                    <a:pt x="1" y="0"/>
                    <a:pt x="2" y="0"/>
                  </a:cubicBezTo>
                  <a:cubicBezTo>
                    <a:pt x="10" y="0"/>
                    <a:pt x="10" y="0"/>
                    <a:pt x="10" y="0"/>
                  </a:cubicBezTo>
                  <a:cubicBezTo>
                    <a:pt x="10" y="0"/>
                    <a:pt x="11" y="1"/>
                    <a:pt x="11" y="2"/>
                  </a:cubicBezTo>
                  <a:cubicBezTo>
                    <a:pt x="11" y="3"/>
                    <a:pt x="10" y="4"/>
                    <a:pt x="1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36" name="Freeform 327">
              <a:extLst>
                <a:ext uri="{FF2B5EF4-FFF2-40B4-BE49-F238E27FC236}">
                  <a16:creationId xmlns:a16="http://schemas.microsoft.com/office/drawing/2014/main" id="{0D447066-AAF1-4E76-8B6B-35FC2B7B9CAA}"/>
                </a:ext>
              </a:extLst>
            </p:cNvPr>
            <p:cNvSpPr>
              <a:spLocks noEditPoints="1"/>
            </p:cNvSpPr>
            <p:nvPr/>
          </p:nvSpPr>
          <p:spPr bwMode="auto">
            <a:xfrm>
              <a:off x="7410295" y="4496350"/>
              <a:ext cx="1631915" cy="18285"/>
            </a:xfrm>
            <a:custGeom>
              <a:avLst/>
              <a:gdLst>
                <a:gd name="T0" fmla="*/ 353 w 370"/>
                <a:gd name="T1" fmla="*/ 4 h 4"/>
                <a:gd name="T2" fmla="*/ 353 w 370"/>
                <a:gd name="T3" fmla="*/ 0 h 4"/>
                <a:gd name="T4" fmla="*/ 370 w 370"/>
                <a:gd name="T5" fmla="*/ 2 h 4"/>
                <a:gd name="T6" fmla="*/ 337 w 370"/>
                <a:gd name="T7" fmla="*/ 4 h 4"/>
                <a:gd name="T8" fmla="*/ 320 w 370"/>
                <a:gd name="T9" fmla="*/ 2 h 4"/>
                <a:gd name="T10" fmla="*/ 337 w 370"/>
                <a:gd name="T11" fmla="*/ 0 h 4"/>
                <a:gd name="T12" fmla="*/ 337 w 370"/>
                <a:gd name="T13" fmla="*/ 4 h 4"/>
                <a:gd name="T14" fmla="*/ 289 w 370"/>
                <a:gd name="T15" fmla="*/ 4 h 4"/>
                <a:gd name="T16" fmla="*/ 289 w 370"/>
                <a:gd name="T17" fmla="*/ 0 h 4"/>
                <a:gd name="T18" fmla="*/ 306 w 370"/>
                <a:gd name="T19" fmla="*/ 2 h 4"/>
                <a:gd name="T20" fmla="*/ 273 w 370"/>
                <a:gd name="T21" fmla="*/ 4 h 4"/>
                <a:gd name="T22" fmla="*/ 256 w 370"/>
                <a:gd name="T23" fmla="*/ 2 h 4"/>
                <a:gd name="T24" fmla="*/ 273 w 370"/>
                <a:gd name="T25" fmla="*/ 0 h 4"/>
                <a:gd name="T26" fmla="*/ 273 w 370"/>
                <a:gd name="T27" fmla="*/ 4 h 4"/>
                <a:gd name="T28" fmla="*/ 225 w 370"/>
                <a:gd name="T29" fmla="*/ 4 h 4"/>
                <a:gd name="T30" fmla="*/ 225 w 370"/>
                <a:gd name="T31" fmla="*/ 0 h 4"/>
                <a:gd name="T32" fmla="*/ 243 w 370"/>
                <a:gd name="T33" fmla="*/ 2 h 4"/>
                <a:gd name="T34" fmla="*/ 209 w 370"/>
                <a:gd name="T35" fmla="*/ 4 h 4"/>
                <a:gd name="T36" fmla="*/ 192 w 370"/>
                <a:gd name="T37" fmla="*/ 2 h 4"/>
                <a:gd name="T38" fmla="*/ 209 w 370"/>
                <a:gd name="T39" fmla="*/ 0 h 4"/>
                <a:gd name="T40" fmla="*/ 209 w 370"/>
                <a:gd name="T41" fmla="*/ 4 h 4"/>
                <a:gd name="T42" fmla="*/ 161 w 370"/>
                <a:gd name="T43" fmla="*/ 4 h 4"/>
                <a:gd name="T44" fmla="*/ 161 w 370"/>
                <a:gd name="T45" fmla="*/ 0 h 4"/>
                <a:gd name="T46" fmla="*/ 179 w 370"/>
                <a:gd name="T47" fmla="*/ 2 h 4"/>
                <a:gd name="T48" fmla="*/ 145 w 370"/>
                <a:gd name="T49" fmla="*/ 4 h 4"/>
                <a:gd name="T50" fmla="*/ 128 w 370"/>
                <a:gd name="T51" fmla="*/ 2 h 4"/>
                <a:gd name="T52" fmla="*/ 145 w 370"/>
                <a:gd name="T53" fmla="*/ 0 h 4"/>
                <a:gd name="T54" fmla="*/ 145 w 370"/>
                <a:gd name="T55" fmla="*/ 4 h 4"/>
                <a:gd name="T56" fmla="*/ 97 w 370"/>
                <a:gd name="T57" fmla="*/ 4 h 4"/>
                <a:gd name="T58" fmla="*/ 97 w 370"/>
                <a:gd name="T59" fmla="*/ 0 h 4"/>
                <a:gd name="T60" fmla="*/ 115 w 370"/>
                <a:gd name="T61" fmla="*/ 2 h 4"/>
                <a:gd name="T62" fmla="*/ 81 w 370"/>
                <a:gd name="T63" fmla="*/ 4 h 4"/>
                <a:gd name="T64" fmla="*/ 64 w 370"/>
                <a:gd name="T65" fmla="*/ 2 h 4"/>
                <a:gd name="T66" fmla="*/ 81 w 370"/>
                <a:gd name="T67" fmla="*/ 0 h 4"/>
                <a:gd name="T68" fmla="*/ 81 w 370"/>
                <a:gd name="T69" fmla="*/ 4 h 4"/>
                <a:gd name="T70" fmla="*/ 33 w 370"/>
                <a:gd name="T71" fmla="*/ 4 h 4"/>
                <a:gd name="T72" fmla="*/ 33 w 370"/>
                <a:gd name="T73" fmla="*/ 0 h 4"/>
                <a:gd name="T74" fmla="*/ 51 w 370"/>
                <a:gd name="T75" fmla="*/ 2 h 4"/>
                <a:gd name="T76" fmla="*/ 17 w 370"/>
                <a:gd name="T77" fmla="*/ 4 h 4"/>
                <a:gd name="T78" fmla="*/ 0 w 370"/>
                <a:gd name="T79" fmla="*/ 2 h 4"/>
                <a:gd name="T80" fmla="*/ 17 w 370"/>
                <a:gd name="T81" fmla="*/ 0 h 4"/>
                <a:gd name="T82" fmla="*/ 17 w 370"/>
                <a:gd name="T8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0" h="4">
                  <a:moveTo>
                    <a:pt x="369" y="4"/>
                  </a:moveTo>
                  <a:cubicBezTo>
                    <a:pt x="353" y="4"/>
                    <a:pt x="353" y="4"/>
                    <a:pt x="353" y="4"/>
                  </a:cubicBezTo>
                  <a:cubicBezTo>
                    <a:pt x="352" y="4"/>
                    <a:pt x="352" y="3"/>
                    <a:pt x="352" y="2"/>
                  </a:cubicBezTo>
                  <a:cubicBezTo>
                    <a:pt x="352" y="1"/>
                    <a:pt x="352" y="0"/>
                    <a:pt x="353" y="0"/>
                  </a:cubicBezTo>
                  <a:cubicBezTo>
                    <a:pt x="369" y="0"/>
                    <a:pt x="369" y="0"/>
                    <a:pt x="369" y="0"/>
                  </a:cubicBezTo>
                  <a:cubicBezTo>
                    <a:pt x="370" y="0"/>
                    <a:pt x="370" y="1"/>
                    <a:pt x="370" y="2"/>
                  </a:cubicBezTo>
                  <a:cubicBezTo>
                    <a:pt x="370" y="3"/>
                    <a:pt x="370" y="4"/>
                    <a:pt x="369" y="4"/>
                  </a:cubicBezTo>
                  <a:close/>
                  <a:moveTo>
                    <a:pt x="337" y="4"/>
                  </a:moveTo>
                  <a:cubicBezTo>
                    <a:pt x="321" y="4"/>
                    <a:pt x="321" y="4"/>
                    <a:pt x="321" y="4"/>
                  </a:cubicBezTo>
                  <a:cubicBezTo>
                    <a:pt x="320" y="4"/>
                    <a:pt x="320" y="3"/>
                    <a:pt x="320" y="2"/>
                  </a:cubicBezTo>
                  <a:cubicBezTo>
                    <a:pt x="320" y="1"/>
                    <a:pt x="320" y="0"/>
                    <a:pt x="321" y="0"/>
                  </a:cubicBezTo>
                  <a:cubicBezTo>
                    <a:pt x="337" y="0"/>
                    <a:pt x="337" y="0"/>
                    <a:pt x="337" y="0"/>
                  </a:cubicBezTo>
                  <a:cubicBezTo>
                    <a:pt x="338" y="0"/>
                    <a:pt x="338" y="1"/>
                    <a:pt x="338" y="2"/>
                  </a:cubicBezTo>
                  <a:cubicBezTo>
                    <a:pt x="338" y="3"/>
                    <a:pt x="338" y="4"/>
                    <a:pt x="337" y="4"/>
                  </a:cubicBezTo>
                  <a:close/>
                  <a:moveTo>
                    <a:pt x="305" y="4"/>
                  </a:moveTo>
                  <a:cubicBezTo>
                    <a:pt x="289" y="4"/>
                    <a:pt x="289" y="4"/>
                    <a:pt x="289" y="4"/>
                  </a:cubicBezTo>
                  <a:cubicBezTo>
                    <a:pt x="288" y="4"/>
                    <a:pt x="288" y="3"/>
                    <a:pt x="288" y="2"/>
                  </a:cubicBezTo>
                  <a:cubicBezTo>
                    <a:pt x="288" y="1"/>
                    <a:pt x="288" y="0"/>
                    <a:pt x="289" y="0"/>
                  </a:cubicBezTo>
                  <a:cubicBezTo>
                    <a:pt x="305" y="0"/>
                    <a:pt x="305" y="0"/>
                    <a:pt x="305" y="0"/>
                  </a:cubicBezTo>
                  <a:cubicBezTo>
                    <a:pt x="306" y="0"/>
                    <a:pt x="306" y="1"/>
                    <a:pt x="306" y="2"/>
                  </a:cubicBezTo>
                  <a:cubicBezTo>
                    <a:pt x="306" y="3"/>
                    <a:pt x="306" y="4"/>
                    <a:pt x="305" y="4"/>
                  </a:cubicBezTo>
                  <a:close/>
                  <a:moveTo>
                    <a:pt x="273" y="4"/>
                  </a:moveTo>
                  <a:cubicBezTo>
                    <a:pt x="257" y="4"/>
                    <a:pt x="257" y="4"/>
                    <a:pt x="257" y="4"/>
                  </a:cubicBezTo>
                  <a:cubicBezTo>
                    <a:pt x="256" y="4"/>
                    <a:pt x="256" y="3"/>
                    <a:pt x="256" y="2"/>
                  </a:cubicBezTo>
                  <a:cubicBezTo>
                    <a:pt x="256" y="1"/>
                    <a:pt x="256" y="0"/>
                    <a:pt x="257" y="0"/>
                  </a:cubicBezTo>
                  <a:cubicBezTo>
                    <a:pt x="273" y="0"/>
                    <a:pt x="273" y="0"/>
                    <a:pt x="273" y="0"/>
                  </a:cubicBezTo>
                  <a:cubicBezTo>
                    <a:pt x="274" y="0"/>
                    <a:pt x="275" y="1"/>
                    <a:pt x="275" y="2"/>
                  </a:cubicBezTo>
                  <a:cubicBezTo>
                    <a:pt x="275" y="3"/>
                    <a:pt x="274" y="4"/>
                    <a:pt x="273" y="4"/>
                  </a:cubicBezTo>
                  <a:close/>
                  <a:moveTo>
                    <a:pt x="241" y="4"/>
                  </a:moveTo>
                  <a:cubicBezTo>
                    <a:pt x="225" y="4"/>
                    <a:pt x="225" y="4"/>
                    <a:pt x="225" y="4"/>
                  </a:cubicBezTo>
                  <a:cubicBezTo>
                    <a:pt x="224" y="4"/>
                    <a:pt x="224" y="3"/>
                    <a:pt x="224" y="2"/>
                  </a:cubicBezTo>
                  <a:cubicBezTo>
                    <a:pt x="224" y="1"/>
                    <a:pt x="224" y="0"/>
                    <a:pt x="225" y="0"/>
                  </a:cubicBezTo>
                  <a:cubicBezTo>
                    <a:pt x="241" y="0"/>
                    <a:pt x="241" y="0"/>
                    <a:pt x="241" y="0"/>
                  </a:cubicBezTo>
                  <a:cubicBezTo>
                    <a:pt x="242" y="0"/>
                    <a:pt x="243" y="1"/>
                    <a:pt x="243" y="2"/>
                  </a:cubicBezTo>
                  <a:cubicBezTo>
                    <a:pt x="243" y="3"/>
                    <a:pt x="242" y="4"/>
                    <a:pt x="241" y="4"/>
                  </a:cubicBezTo>
                  <a:close/>
                  <a:moveTo>
                    <a:pt x="209" y="4"/>
                  </a:moveTo>
                  <a:cubicBezTo>
                    <a:pt x="193" y="4"/>
                    <a:pt x="193" y="4"/>
                    <a:pt x="193" y="4"/>
                  </a:cubicBezTo>
                  <a:cubicBezTo>
                    <a:pt x="192" y="4"/>
                    <a:pt x="192" y="3"/>
                    <a:pt x="192" y="2"/>
                  </a:cubicBezTo>
                  <a:cubicBezTo>
                    <a:pt x="192" y="1"/>
                    <a:pt x="192" y="0"/>
                    <a:pt x="193" y="0"/>
                  </a:cubicBezTo>
                  <a:cubicBezTo>
                    <a:pt x="209" y="0"/>
                    <a:pt x="209" y="0"/>
                    <a:pt x="209" y="0"/>
                  </a:cubicBezTo>
                  <a:cubicBezTo>
                    <a:pt x="210" y="0"/>
                    <a:pt x="211" y="1"/>
                    <a:pt x="211" y="2"/>
                  </a:cubicBezTo>
                  <a:cubicBezTo>
                    <a:pt x="211" y="3"/>
                    <a:pt x="210" y="4"/>
                    <a:pt x="209" y="4"/>
                  </a:cubicBezTo>
                  <a:close/>
                  <a:moveTo>
                    <a:pt x="177" y="4"/>
                  </a:moveTo>
                  <a:cubicBezTo>
                    <a:pt x="161" y="4"/>
                    <a:pt x="161" y="4"/>
                    <a:pt x="161" y="4"/>
                  </a:cubicBezTo>
                  <a:cubicBezTo>
                    <a:pt x="160" y="4"/>
                    <a:pt x="160" y="3"/>
                    <a:pt x="160" y="2"/>
                  </a:cubicBezTo>
                  <a:cubicBezTo>
                    <a:pt x="160" y="1"/>
                    <a:pt x="160" y="0"/>
                    <a:pt x="161" y="0"/>
                  </a:cubicBezTo>
                  <a:cubicBezTo>
                    <a:pt x="177" y="0"/>
                    <a:pt x="177" y="0"/>
                    <a:pt x="177" y="0"/>
                  </a:cubicBezTo>
                  <a:cubicBezTo>
                    <a:pt x="178" y="0"/>
                    <a:pt x="179" y="1"/>
                    <a:pt x="179" y="2"/>
                  </a:cubicBezTo>
                  <a:cubicBezTo>
                    <a:pt x="179" y="3"/>
                    <a:pt x="178" y="4"/>
                    <a:pt x="177" y="4"/>
                  </a:cubicBezTo>
                  <a:close/>
                  <a:moveTo>
                    <a:pt x="145" y="4"/>
                  </a:moveTo>
                  <a:cubicBezTo>
                    <a:pt x="129" y="4"/>
                    <a:pt x="129" y="4"/>
                    <a:pt x="129" y="4"/>
                  </a:cubicBezTo>
                  <a:cubicBezTo>
                    <a:pt x="128" y="4"/>
                    <a:pt x="128" y="3"/>
                    <a:pt x="128" y="2"/>
                  </a:cubicBezTo>
                  <a:cubicBezTo>
                    <a:pt x="128" y="1"/>
                    <a:pt x="128" y="0"/>
                    <a:pt x="129" y="0"/>
                  </a:cubicBezTo>
                  <a:cubicBezTo>
                    <a:pt x="145" y="0"/>
                    <a:pt x="145" y="0"/>
                    <a:pt x="145" y="0"/>
                  </a:cubicBezTo>
                  <a:cubicBezTo>
                    <a:pt x="146" y="0"/>
                    <a:pt x="147" y="1"/>
                    <a:pt x="147" y="2"/>
                  </a:cubicBezTo>
                  <a:cubicBezTo>
                    <a:pt x="147" y="3"/>
                    <a:pt x="146" y="4"/>
                    <a:pt x="145" y="4"/>
                  </a:cubicBezTo>
                  <a:close/>
                  <a:moveTo>
                    <a:pt x="113" y="4"/>
                  </a:moveTo>
                  <a:cubicBezTo>
                    <a:pt x="97" y="4"/>
                    <a:pt x="97" y="4"/>
                    <a:pt x="97" y="4"/>
                  </a:cubicBezTo>
                  <a:cubicBezTo>
                    <a:pt x="96" y="4"/>
                    <a:pt x="96" y="3"/>
                    <a:pt x="96" y="2"/>
                  </a:cubicBezTo>
                  <a:cubicBezTo>
                    <a:pt x="96" y="1"/>
                    <a:pt x="96" y="0"/>
                    <a:pt x="97" y="0"/>
                  </a:cubicBezTo>
                  <a:cubicBezTo>
                    <a:pt x="113" y="0"/>
                    <a:pt x="113" y="0"/>
                    <a:pt x="113" y="0"/>
                  </a:cubicBezTo>
                  <a:cubicBezTo>
                    <a:pt x="114" y="0"/>
                    <a:pt x="115" y="1"/>
                    <a:pt x="115" y="2"/>
                  </a:cubicBezTo>
                  <a:cubicBezTo>
                    <a:pt x="115" y="3"/>
                    <a:pt x="114" y="4"/>
                    <a:pt x="113" y="4"/>
                  </a:cubicBezTo>
                  <a:close/>
                  <a:moveTo>
                    <a:pt x="81" y="4"/>
                  </a:moveTo>
                  <a:cubicBezTo>
                    <a:pt x="65" y="4"/>
                    <a:pt x="65" y="4"/>
                    <a:pt x="65" y="4"/>
                  </a:cubicBezTo>
                  <a:cubicBezTo>
                    <a:pt x="65" y="4"/>
                    <a:pt x="64" y="3"/>
                    <a:pt x="64" y="2"/>
                  </a:cubicBezTo>
                  <a:cubicBezTo>
                    <a:pt x="64" y="1"/>
                    <a:pt x="65" y="0"/>
                    <a:pt x="65" y="0"/>
                  </a:cubicBezTo>
                  <a:cubicBezTo>
                    <a:pt x="81" y="0"/>
                    <a:pt x="81" y="0"/>
                    <a:pt x="81" y="0"/>
                  </a:cubicBezTo>
                  <a:cubicBezTo>
                    <a:pt x="82" y="0"/>
                    <a:pt x="83" y="1"/>
                    <a:pt x="83" y="2"/>
                  </a:cubicBezTo>
                  <a:cubicBezTo>
                    <a:pt x="83" y="3"/>
                    <a:pt x="82" y="4"/>
                    <a:pt x="81" y="4"/>
                  </a:cubicBezTo>
                  <a:close/>
                  <a:moveTo>
                    <a:pt x="49" y="4"/>
                  </a:moveTo>
                  <a:cubicBezTo>
                    <a:pt x="33" y="4"/>
                    <a:pt x="33" y="4"/>
                    <a:pt x="33" y="4"/>
                  </a:cubicBezTo>
                  <a:cubicBezTo>
                    <a:pt x="33" y="4"/>
                    <a:pt x="32" y="3"/>
                    <a:pt x="32" y="2"/>
                  </a:cubicBezTo>
                  <a:cubicBezTo>
                    <a:pt x="32" y="1"/>
                    <a:pt x="33" y="0"/>
                    <a:pt x="33" y="0"/>
                  </a:cubicBezTo>
                  <a:cubicBezTo>
                    <a:pt x="49" y="0"/>
                    <a:pt x="49" y="0"/>
                    <a:pt x="49" y="0"/>
                  </a:cubicBezTo>
                  <a:cubicBezTo>
                    <a:pt x="50" y="0"/>
                    <a:pt x="51" y="1"/>
                    <a:pt x="51" y="2"/>
                  </a:cubicBezTo>
                  <a:cubicBezTo>
                    <a:pt x="51" y="3"/>
                    <a:pt x="50" y="4"/>
                    <a:pt x="49" y="4"/>
                  </a:cubicBezTo>
                  <a:close/>
                  <a:moveTo>
                    <a:pt x="17" y="4"/>
                  </a:moveTo>
                  <a:cubicBezTo>
                    <a:pt x="1" y="4"/>
                    <a:pt x="1" y="4"/>
                    <a:pt x="1" y="4"/>
                  </a:cubicBezTo>
                  <a:cubicBezTo>
                    <a:pt x="1" y="4"/>
                    <a:pt x="0" y="3"/>
                    <a:pt x="0" y="2"/>
                  </a:cubicBezTo>
                  <a:cubicBezTo>
                    <a:pt x="0" y="1"/>
                    <a:pt x="1" y="0"/>
                    <a:pt x="1" y="0"/>
                  </a:cubicBezTo>
                  <a:cubicBezTo>
                    <a:pt x="17" y="0"/>
                    <a:pt x="17" y="0"/>
                    <a:pt x="17" y="0"/>
                  </a:cubicBezTo>
                  <a:cubicBezTo>
                    <a:pt x="18" y="0"/>
                    <a:pt x="19" y="1"/>
                    <a:pt x="19" y="2"/>
                  </a:cubicBezTo>
                  <a:cubicBezTo>
                    <a:pt x="19" y="3"/>
                    <a:pt x="18" y="4"/>
                    <a:pt x="17"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37" name="Freeform 328">
              <a:extLst>
                <a:ext uri="{FF2B5EF4-FFF2-40B4-BE49-F238E27FC236}">
                  <a16:creationId xmlns:a16="http://schemas.microsoft.com/office/drawing/2014/main" id="{AFE41805-DFC4-4B7D-88C2-36BED23C751B}"/>
                </a:ext>
              </a:extLst>
            </p:cNvPr>
            <p:cNvSpPr>
              <a:spLocks/>
            </p:cNvSpPr>
            <p:nvPr/>
          </p:nvSpPr>
          <p:spPr bwMode="auto">
            <a:xfrm>
              <a:off x="9094779" y="4496350"/>
              <a:ext cx="43426"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nvGrpSpPr>
            <p:cNvPr id="38" name="Group 37">
              <a:extLst>
                <a:ext uri="{FF2B5EF4-FFF2-40B4-BE49-F238E27FC236}">
                  <a16:creationId xmlns:a16="http://schemas.microsoft.com/office/drawing/2014/main" id="{225454E2-B592-4EB6-A2CA-F6C458BA5E7E}"/>
                </a:ext>
              </a:extLst>
            </p:cNvPr>
            <p:cNvGrpSpPr/>
            <p:nvPr/>
          </p:nvGrpSpPr>
          <p:grpSpPr>
            <a:xfrm>
              <a:off x="507796" y="4496350"/>
              <a:ext cx="79996" cy="18285"/>
              <a:chOff x="507796" y="4496350"/>
              <a:chExt cx="79996" cy="18285"/>
            </a:xfrm>
          </p:grpSpPr>
          <p:sp>
            <p:nvSpPr>
              <p:cNvPr id="48" name="Freeform 317">
                <a:extLst>
                  <a:ext uri="{FF2B5EF4-FFF2-40B4-BE49-F238E27FC236}">
                    <a16:creationId xmlns:a16="http://schemas.microsoft.com/office/drawing/2014/main" id="{CD17AB95-A6AD-47F6-A688-8228E8DC53D6}"/>
                  </a:ext>
                </a:extLst>
              </p:cNvPr>
              <p:cNvSpPr>
                <a:spLocks/>
              </p:cNvSpPr>
              <p:nvPr/>
            </p:nvSpPr>
            <p:spPr bwMode="auto">
              <a:xfrm>
                <a:off x="542080" y="4496350"/>
                <a:ext cx="45712"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49" name="Freeform 334">
                <a:extLst>
                  <a:ext uri="{FF2B5EF4-FFF2-40B4-BE49-F238E27FC236}">
                    <a16:creationId xmlns:a16="http://schemas.microsoft.com/office/drawing/2014/main" id="{F93165A3-26F3-4015-8477-5082E8DF2E87}"/>
                  </a:ext>
                </a:extLst>
              </p:cNvPr>
              <p:cNvSpPr>
                <a:spLocks/>
              </p:cNvSpPr>
              <p:nvPr/>
            </p:nvSpPr>
            <p:spPr bwMode="auto">
              <a:xfrm>
                <a:off x="507796" y="4496350"/>
                <a:ext cx="43426"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nvGrpSpPr>
            <p:cNvPr id="39" name="Group 38">
              <a:extLst>
                <a:ext uri="{FF2B5EF4-FFF2-40B4-BE49-F238E27FC236}">
                  <a16:creationId xmlns:a16="http://schemas.microsoft.com/office/drawing/2014/main" id="{3F18E6C2-A4A3-44ED-95F1-6AB141F37907}"/>
                </a:ext>
              </a:extLst>
            </p:cNvPr>
            <p:cNvGrpSpPr/>
            <p:nvPr/>
          </p:nvGrpSpPr>
          <p:grpSpPr>
            <a:xfrm>
              <a:off x="355396" y="4496350"/>
              <a:ext cx="79996" cy="18285"/>
              <a:chOff x="507796" y="4496350"/>
              <a:chExt cx="79996" cy="18285"/>
            </a:xfrm>
          </p:grpSpPr>
          <p:sp>
            <p:nvSpPr>
              <p:cNvPr id="46" name="Freeform 317">
                <a:extLst>
                  <a:ext uri="{FF2B5EF4-FFF2-40B4-BE49-F238E27FC236}">
                    <a16:creationId xmlns:a16="http://schemas.microsoft.com/office/drawing/2014/main" id="{2B67FDB7-0A88-4C25-A7A7-3BDDD93F0D2A}"/>
                  </a:ext>
                </a:extLst>
              </p:cNvPr>
              <p:cNvSpPr>
                <a:spLocks/>
              </p:cNvSpPr>
              <p:nvPr/>
            </p:nvSpPr>
            <p:spPr bwMode="auto">
              <a:xfrm>
                <a:off x="542080" y="4496350"/>
                <a:ext cx="45712"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47" name="Freeform 334">
                <a:extLst>
                  <a:ext uri="{FF2B5EF4-FFF2-40B4-BE49-F238E27FC236}">
                    <a16:creationId xmlns:a16="http://schemas.microsoft.com/office/drawing/2014/main" id="{A9AAC4CA-7266-4416-8DDD-636B6BF0FDE6}"/>
                  </a:ext>
                </a:extLst>
              </p:cNvPr>
              <p:cNvSpPr>
                <a:spLocks/>
              </p:cNvSpPr>
              <p:nvPr/>
            </p:nvSpPr>
            <p:spPr bwMode="auto">
              <a:xfrm>
                <a:off x="507796" y="4496350"/>
                <a:ext cx="43426"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nvGrpSpPr>
            <p:cNvPr id="40" name="Group 39">
              <a:extLst>
                <a:ext uri="{FF2B5EF4-FFF2-40B4-BE49-F238E27FC236}">
                  <a16:creationId xmlns:a16="http://schemas.microsoft.com/office/drawing/2014/main" id="{A337AC1F-7B80-4903-87EA-5803EDF980FA}"/>
                </a:ext>
              </a:extLst>
            </p:cNvPr>
            <p:cNvGrpSpPr/>
            <p:nvPr/>
          </p:nvGrpSpPr>
          <p:grpSpPr>
            <a:xfrm>
              <a:off x="202996" y="4496350"/>
              <a:ext cx="79996" cy="18285"/>
              <a:chOff x="507796" y="4496350"/>
              <a:chExt cx="79996" cy="18285"/>
            </a:xfrm>
          </p:grpSpPr>
          <p:sp>
            <p:nvSpPr>
              <p:cNvPr id="44" name="Freeform 317">
                <a:extLst>
                  <a:ext uri="{FF2B5EF4-FFF2-40B4-BE49-F238E27FC236}">
                    <a16:creationId xmlns:a16="http://schemas.microsoft.com/office/drawing/2014/main" id="{181C9F68-B8D1-4FCF-A8BA-D1A8B2D4BE4E}"/>
                  </a:ext>
                </a:extLst>
              </p:cNvPr>
              <p:cNvSpPr>
                <a:spLocks/>
              </p:cNvSpPr>
              <p:nvPr/>
            </p:nvSpPr>
            <p:spPr bwMode="auto">
              <a:xfrm>
                <a:off x="542080" y="4496350"/>
                <a:ext cx="45712"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45" name="Freeform 334">
                <a:extLst>
                  <a:ext uri="{FF2B5EF4-FFF2-40B4-BE49-F238E27FC236}">
                    <a16:creationId xmlns:a16="http://schemas.microsoft.com/office/drawing/2014/main" id="{4BE787F1-FD89-4F9A-9152-24ACBDE5ED71}"/>
                  </a:ext>
                </a:extLst>
              </p:cNvPr>
              <p:cNvSpPr>
                <a:spLocks/>
              </p:cNvSpPr>
              <p:nvPr/>
            </p:nvSpPr>
            <p:spPr bwMode="auto">
              <a:xfrm>
                <a:off x="507796" y="4496350"/>
                <a:ext cx="43426"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nvGrpSpPr>
            <p:cNvPr id="41" name="Group 40">
              <a:extLst>
                <a:ext uri="{FF2B5EF4-FFF2-40B4-BE49-F238E27FC236}">
                  <a16:creationId xmlns:a16="http://schemas.microsoft.com/office/drawing/2014/main" id="{B386974C-869A-4236-AF9A-2EA5489253BF}"/>
                </a:ext>
              </a:extLst>
            </p:cNvPr>
            <p:cNvGrpSpPr/>
            <p:nvPr/>
          </p:nvGrpSpPr>
          <p:grpSpPr>
            <a:xfrm>
              <a:off x="50596" y="4496350"/>
              <a:ext cx="79996" cy="18285"/>
              <a:chOff x="507796" y="4496350"/>
              <a:chExt cx="79996" cy="18285"/>
            </a:xfrm>
          </p:grpSpPr>
          <p:sp>
            <p:nvSpPr>
              <p:cNvPr id="42" name="Freeform 317">
                <a:extLst>
                  <a:ext uri="{FF2B5EF4-FFF2-40B4-BE49-F238E27FC236}">
                    <a16:creationId xmlns:a16="http://schemas.microsoft.com/office/drawing/2014/main" id="{CC8F9284-DC2D-4414-8A54-593A373165E2}"/>
                  </a:ext>
                </a:extLst>
              </p:cNvPr>
              <p:cNvSpPr>
                <a:spLocks/>
              </p:cNvSpPr>
              <p:nvPr/>
            </p:nvSpPr>
            <p:spPr bwMode="auto">
              <a:xfrm>
                <a:off x="542080" y="4496350"/>
                <a:ext cx="45712"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43" name="Freeform 334">
                <a:extLst>
                  <a:ext uri="{FF2B5EF4-FFF2-40B4-BE49-F238E27FC236}">
                    <a16:creationId xmlns:a16="http://schemas.microsoft.com/office/drawing/2014/main" id="{2FE34924-84FA-4444-B8AC-FAC93A5B8F0B}"/>
                  </a:ext>
                </a:extLst>
              </p:cNvPr>
              <p:cNvSpPr>
                <a:spLocks/>
              </p:cNvSpPr>
              <p:nvPr/>
            </p:nvSpPr>
            <p:spPr bwMode="auto">
              <a:xfrm>
                <a:off x="507796" y="4496350"/>
                <a:ext cx="43426"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grpSp>
        <p:nvGrpSpPr>
          <p:cNvPr id="50" name="Group 49">
            <a:extLst>
              <a:ext uri="{FF2B5EF4-FFF2-40B4-BE49-F238E27FC236}">
                <a16:creationId xmlns:a16="http://schemas.microsoft.com/office/drawing/2014/main" id="{19FDBAE6-0FF8-44DF-8031-815293205FA6}"/>
              </a:ext>
            </a:extLst>
          </p:cNvPr>
          <p:cNvGrpSpPr/>
          <p:nvPr/>
        </p:nvGrpSpPr>
        <p:grpSpPr>
          <a:xfrm>
            <a:off x="6893211" y="3479325"/>
            <a:ext cx="5086875" cy="2952303"/>
            <a:chOff x="5383267" y="2210104"/>
            <a:chExt cx="3815157" cy="2214226"/>
          </a:xfrm>
        </p:grpSpPr>
        <p:sp>
          <p:nvSpPr>
            <p:cNvPr id="52" name="Rectangle 51">
              <a:extLst>
                <a:ext uri="{FF2B5EF4-FFF2-40B4-BE49-F238E27FC236}">
                  <a16:creationId xmlns:a16="http://schemas.microsoft.com/office/drawing/2014/main" id="{3E3C08AF-307C-4E59-A1EF-51C97BFA6E2C}"/>
                </a:ext>
              </a:extLst>
            </p:cNvPr>
            <p:cNvSpPr/>
            <p:nvPr/>
          </p:nvSpPr>
          <p:spPr>
            <a:xfrm>
              <a:off x="5448376" y="2403250"/>
              <a:ext cx="229278" cy="1991473"/>
            </a:xfrm>
            <a:prstGeom prst="rect">
              <a:avLst/>
            </a:pr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53" name="Rectangle 355">
              <a:extLst>
                <a:ext uri="{FF2B5EF4-FFF2-40B4-BE49-F238E27FC236}">
                  <a16:creationId xmlns:a16="http://schemas.microsoft.com/office/drawing/2014/main" id="{FB6A6113-9918-4B6E-B268-34F96F279898}"/>
                </a:ext>
              </a:extLst>
            </p:cNvPr>
            <p:cNvSpPr/>
            <p:nvPr/>
          </p:nvSpPr>
          <p:spPr>
            <a:xfrm flipH="1">
              <a:off x="8914722" y="2402882"/>
              <a:ext cx="229278" cy="1987962"/>
            </a:xfrm>
            <a:prstGeom prst="rect">
              <a:avLst/>
            </a:pr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nvGrpSpPr>
            <p:cNvPr id="54" name="Group 53">
              <a:extLst>
                <a:ext uri="{FF2B5EF4-FFF2-40B4-BE49-F238E27FC236}">
                  <a16:creationId xmlns:a16="http://schemas.microsoft.com/office/drawing/2014/main" id="{9BA20E54-9181-47FF-B989-8FC33AF6F1DD}"/>
                </a:ext>
              </a:extLst>
            </p:cNvPr>
            <p:cNvGrpSpPr/>
            <p:nvPr/>
          </p:nvGrpSpPr>
          <p:grpSpPr>
            <a:xfrm>
              <a:off x="5383267" y="2228760"/>
              <a:ext cx="373054" cy="373054"/>
              <a:chOff x="3479653" y="2604986"/>
              <a:chExt cx="254801" cy="254801"/>
            </a:xfrm>
          </p:grpSpPr>
          <p:sp>
            <p:nvSpPr>
              <p:cNvPr id="234" name="Oval 263">
                <a:extLst>
                  <a:ext uri="{FF2B5EF4-FFF2-40B4-BE49-F238E27FC236}">
                    <a16:creationId xmlns:a16="http://schemas.microsoft.com/office/drawing/2014/main" id="{955F550C-9CC0-4AA9-8F73-2617AC4DFE26}"/>
                  </a:ext>
                </a:extLst>
              </p:cNvPr>
              <p:cNvSpPr>
                <a:spLocks/>
              </p:cNvSpPr>
              <p:nvPr/>
            </p:nvSpPr>
            <p:spPr bwMode="auto">
              <a:xfrm>
                <a:off x="3479653" y="2604986"/>
                <a:ext cx="254801" cy="254801"/>
              </a:xfrm>
              <a:prstGeom prst="ellipse">
                <a:avLst/>
              </a:prstGeom>
              <a:solidFill>
                <a:schemeClr val="accent1"/>
              </a:solidFill>
              <a:ln w="25400" cap="flat">
                <a:noFill/>
                <a:round/>
                <a:headEnd type="none" w="med" len="med"/>
                <a:tailEnd type="none" w="med" len="med"/>
              </a:ln>
              <a:effectLst/>
            </p:spPr>
            <p:txBody>
              <a:bodyPr lIns="0" tIns="0" rIns="0" bIns="0"/>
              <a:lstStyle/>
              <a:p>
                <a:pPr defTabSz="914354" eaLnBrk="0" fontAlgn="base" hangingPunct="0">
                  <a:lnSpc>
                    <a:spcPct val="90000"/>
                  </a:lnSpc>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grpSp>
            <p:nvGrpSpPr>
              <p:cNvPr id="235" name="Group 234">
                <a:extLst>
                  <a:ext uri="{FF2B5EF4-FFF2-40B4-BE49-F238E27FC236}">
                    <a16:creationId xmlns:a16="http://schemas.microsoft.com/office/drawing/2014/main" id="{F8D50C56-5A4C-4280-A2F2-1710AF6DCE6E}"/>
                  </a:ext>
                </a:extLst>
              </p:cNvPr>
              <p:cNvGrpSpPr/>
              <p:nvPr/>
            </p:nvGrpSpPr>
            <p:grpSpPr>
              <a:xfrm>
                <a:off x="3529139" y="2680631"/>
                <a:ext cx="148805" cy="109517"/>
                <a:chOff x="5184662" y="2694894"/>
                <a:chExt cx="164415" cy="121006"/>
              </a:xfrm>
            </p:grpSpPr>
            <p:sp>
              <p:nvSpPr>
                <p:cNvPr id="236" name="Rectangle 49">
                  <a:extLst>
                    <a:ext uri="{FF2B5EF4-FFF2-40B4-BE49-F238E27FC236}">
                      <a16:creationId xmlns:a16="http://schemas.microsoft.com/office/drawing/2014/main" id="{FA3B141F-D09A-4763-83A0-10B48D643D99}"/>
                    </a:ext>
                  </a:extLst>
                </p:cNvPr>
                <p:cNvSpPr>
                  <a:spLocks noChangeArrowheads="1"/>
                </p:cNvSpPr>
                <p:nvPr/>
              </p:nvSpPr>
              <p:spPr bwMode="auto">
                <a:xfrm>
                  <a:off x="5184662" y="2777916"/>
                  <a:ext cx="109610" cy="37984"/>
                </a:xfrm>
                <a:prstGeom prst="rect">
                  <a:avLst/>
                </a:prstGeom>
                <a:noFill/>
                <a:ln w="12700">
                  <a:solidFill>
                    <a:srgbClr val="FFFFFF"/>
                  </a:solidFill>
                </a:ln>
              </p:spPr>
              <p:txBody>
                <a:bodyPr vert="horz" wrap="square" lIns="121888" tIns="60944" rIns="121888" bIns="60944" numCol="1" anchor="t" anchorCtr="0" compatLnSpc="1">
                  <a:prstTxWarp prst="textNoShape">
                    <a:avLst/>
                  </a:prstTxWarp>
                </a:bodyPr>
                <a:lstStyle/>
                <a:p>
                  <a:pPr defTabSz="1218824" fontAlgn="base">
                    <a:spcBef>
                      <a:spcPct val="0"/>
                    </a:spcBef>
                    <a:spcAft>
                      <a:spcPct val="0"/>
                    </a:spcAft>
                    <a:defRPr/>
                  </a:pPr>
                  <a:endParaRPr lang="en-US" sz="2399" kern="0">
                    <a:solidFill>
                      <a:srgbClr val="FFFFFF"/>
                    </a:solidFill>
                    <a:latin typeface="CiscoSansTT ExtraLight"/>
                    <a:ea typeface="ＭＳ Ｐゴシック" charset="0"/>
                    <a:cs typeface="Arial"/>
                    <a:sym typeface="Arial"/>
                  </a:endParaRPr>
                </a:p>
              </p:txBody>
            </p:sp>
            <p:sp>
              <p:nvSpPr>
                <p:cNvPr id="237" name="Rectangle 50">
                  <a:extLst>
                    <a:ext uri="{FF2B5EF4-FFF2-40B4-BE49-F238E27FC236}">
                      <a16:creationId xmlns:a16="http://schemas.microsoft.com/office/drawing/2014/main" id="{86212D13-1F93-419F-A5D7-A0D7D1919170}"/>
                    </a:ext>
                  </a:extLst>
                </p:cNvPr>
                <p:cNvSpPr>
                  <a:spLocks noChangeArrowheads="1"/>
                </p:cNvSpPr>
                <p:nvPr/>
              </p:nvSpPr>
              <p:spPr bwMode="auto">
                <a:xfrm>
                  <a:off x="5239467" y="2736133"/>
                  <a:ext cx="109610" cy="37984"/>
                </a:xfrm>
                <a:prstGeom prst="rect">
                  <a:avLst/>
                </a:prstGeom>
                <a:noFill/>
                <a:ln w="12700">
                  <a:solidFill>
                    <a:srgbClr val="FFFFFF"/>
                  </a:solidFill>
                </a:ln>
              </p:spPr>
              <p:txBody>
                <a:bodyPr vert="horz" wrap="square" lIns="121888" tIns="60944" rIns="121888" bIns="60944" numCol="1" anchor="t" anchorCtr="0" compatLnSpc="1">
                  <a:prstTxWarp prst="textNoShape">
                    <a:avLst/>
                  </a:prstTxWarp>
                </a:bodyPr>
                <a:lstStyle/>
                <a:p>
                  <a:pPr defTabSz="1218824" fontAlgn="base">
                    <a:spcBef>
                      <a:spcPct val="0"/>
                    </a:spcBef>
                    <a:spcAft>
                      <a:spcPct val="0"/>
                    </a:spcAft>
                    <a:defRPr/>
                  </a:pPr>
                  <a:endParaRPr lang="en-US" sz="2399" kern="0">
                    <a:solidFill>
                      <a:srgbClr val="FFFFFF"/>
                    </a:solidFill>
                    <a:latin typeface="CiscoSansTT ExtraLight"/>
                    <a:ea typeface="ＭＳ Ｐゴシック" charset="0"/>
                    <a:cs typeface="Arial"/>
                    <a:sym typeface="Arial"/>
                  </a:endParaRPr>
                </a:p>
              </p:txBody>
            </p:sp>
            <p:sp>
              <p:nvSpPr>
                <p:cNvPr id="238" name="Rectangle 51">
                  <a:extLst>
                    <a:ext uri="{FF2B5EF4-FFF2-40B4-BE49-F238E27FC236}">
                      <a16:creationId xmlns:a16="http://schemas.microsoft.com/office/drawing/2014/main" id="{9FC1DEF5-8393-41B8-80F5-717320D7FF62}"/>
                    </a:ext>
                  </a:extLst>
                </p:cNvPr>
                <p:cNvSpPr>
                  <a:spLocks noChangeArrowheads="1"/>
                </p:cNvSpPr>
                <p:nvPr/>
              </p:nvSpPr>
              <p:spPr bwMode="auto">
                <a:xfrm>
                  <a:off x="5299156" y="2777916"/>
                  <a:ext cx="49921" cy="37984"/>
                </a:xfrm>
                <a:prstGeom prst="rect">
                  <a:avLst/>
                </a:prstGeom>
                <a:noFill/>
                <a:ln w="12700">
                  <a:solidFill>
                    <a:srgbClr val="FFFFFF"/>
                  </a:solidFill>
                </a:ln>
              </p:spPr>
              <p:txBody>
                <a:bodyPr vert="horz" wrap="square" lIns="121888" tIns="60944" rIns="121888" bIns="60944" numCol="1" anchor="t" anchorCtr="0" compatLnSpc="1">
                  <a:prstTxWarp prst="textNoShape">
                    <a:avLst/>
                  </a:prstTxWarp>
                </a:bodyPr>
                <a:lstStyle/>
                <a:p>
                  <a:pPr defTabSz="1218824" fontAlgn="base">
                    <a:spcBef>
                      <a:spcPct val="0"/>
                    </a:spcBef>
                    <a:spcAft>
                      <a:spcPct val="0"/>
                    </a:spcAft>
                    <a:defRPr/>
                  </a:pPr>
                  <a:endParaRPr lang="en-US" sz="2399" kern="0">
                    <a:solidFill>
                      <a:srgbClr val="FFFFFF"/>
                    </a:solidFill>
                    <a:latin typeface="CiscoSansTT ExtraLight"/>
                    <a:ea typeface="ＭＳ Ｐゴシック" charset="0"/>
                    <a:cs typeface="Arial"/>
                    <a:sym typeface="Arial"/>
                  </a:endParaRPr>
                </a:p>
              </p:txBody>
            </p:sp>
            <p:sp>
              <p:nvSpPr>
                <p:cNvPr id="239" name="Rectangle 52">
                  <a:extLst>
                    <a:ext uri="{FF2B5EF4-FFF2-40B4-BE49-F238E27FC236}">
                      <a16:creationId xmlns:a16="http://schemas.microsoft.com/office/drawing/2014/main" id="{0CED5103-FE86-4E05-9633-C3F9D81C8B67}"/>
                    </a:ext>
                  </a:extLst>
                </p:cNvPr>
                <p:cNvSpPr>
                  <a:spLocks noChangeArrowheads="1"/>
                </p:cNvSpPr>
                <p:nvPr/>
              </p:nvSpPr>
              <p:spPr bwMode="auto">
                <a:xfrm>
                  <a:off x="5299156" y="2694894"/>
                  <a:ext cx="49921" cy="37441"/>
                </a:xfrm>
                <a:prstGeom prst="rect">
                  <a:avLst/>
                </a:prstGeom>
                <a:noFill/>
                <a:ln w="12700">
                  <a:solidFill>
                    <a:srgbClr val="FFFFFF"/>
                  </a:solidFill>
                </a:ln>
              </p:spPr>
              <p:txBody>
                <a:bodyPr vert="horz" wrap="square" lIns="121888" tIns="60944" rIns="121888" bIns="60944" numCol="1" anchor="t" anchorCtr="0" compatLnSpc="1">
                  <a:prstTxWarp prst="textNoShape">
                    <a:avLst/>
                  </a:prstTxWarp>
                </a:bodyPr>
                <a:lstStyle/>
                <a:p>
                  <a:pPr defTabSz="1218824" fontAlgn="base">
                    <a:spcBef>
                      <a:spcPct val="0"/>
                    </a:spcBef>
                    <a:spcAft>
                      <a:spcPct val="0"/>
                    </a:spcAft>
                    <a:defRPr/>
                  </a:pPr>
                  <a:endParaRPr lang="en-US" sz="2399" kern="0">
                    <a:solidFill>
                      <a:srgbClr val="FFFFFF"/>
                    </a:solidFill>
                    <a:latin typeface="CiscoSansTT ExtraLight"/>
                    <a:ea typeface="ＭＳ Ｐゴシック" charset="0"/>
                    <a:cs typeface="Arial"/>
                    <a:sym typeface="Arial"/>
                  </a:endParaRPr>
                </a:p>
              </p:txBody>
            </p:sp>
            <p:sp>
              <p:nvSpPr>
                <p:cNvPr id="240" name="Rectangle 53">
                  <a:extLst>
                    <a:ext uri="{FF2B5EF4-FFF2-40B4-BE49-F238E27FC236}">
                      <a16:creationId xmlns:a16="http://schemas.microsoft.com/office/drawing/2014/main" id="{D2C44E5A-3383-4D02-BF8F-FE8E07F3EFC1}"/>
                    </a:ext>
                  </a:extLst>
                </p:cNvPr>
                <p:cNvSpPr>
                  <a:spLocks noChangeArrowheads="1"/>
                </p:cNvSpPr>
                <p:nvPr/>
              </p:nvSpPr>
              <p:spPr bwMode="auto">
                <a:xfrm>
                  <a:off x="5184662" y="2736133"/>
                  <a:ext cx="49379" cy="37984"/>
                </a:xfrm>
                <a:prstGeom prst="rect">
                  <a:avLst/>
                </a:prstGeom>
                <a:noFill/>
                <a:ln w="12700">
                  <a:solidFill>
                    <a:srgbClr val="FFFFFF"/>
                  </a:solidFill>
                </a:ln>
              </p:spPr>
              <p:txBody>
                <a:bodyPr vert="horz" wrap="square" lIns="121888" tIns="60944" rIns="121888" bIns="60944" numCol="1" anchor="t" anchorCtr="0" compatLnSpc="1">
                  <a:prstTxWarp prst="textNoShape">
                    <a:avLst/>
                  </a:prstTxWarp>
                </a:bodyPr>
                <a:lstStyle/>
                <a:p>
                  <a:pPr defTabSz="1218824" fontAlgn="base">
                    <a:spcBef>
                      <a:spcPct val="0"/>
                    </a:spcBef>
                    <a:spcAft>
                      <a:spcPct val="0"/>
                    </a:spcAft>
                    <a:defRPr/>
                  </a:pPr>
                  <a:endParaRPr lang="en-US" sz="2399" kern="0">
                    <a:solidFill>
                      <a:srgbClr val="FFFFFF"/>
                    </a:solidFill>
                    <a:latin typeface="CiscoSansTT ExtraLight"/>
                    <a:ea typeface="ＭＳ Ｐゴシック" charset="0"/>
                    <a:cs typeface="Arial"/>
                    <a:sym typeface="Arial"/>
                  </a:endParaRPr>
                </a:p>
              </p:txBody>
            </p:sp>
            <p:sp>
              <p:nvSpPr>
                <p:cNvPr id="241" name="Rectangle 54">
                  <a:extLst>
                    <a:ext uri="{FF2B5EF4-FFF2-40B4-BE49-F238E27FC236}">
                      <a16:creationId xmlns:a16="http://schemas.microsoft.com/office/drawing/2014/main" id="{9B50B36B-5083-432A-92F1-0F4C3A9BED64}"/>
                    </a:ext>
                  </a:extLst>
                </p:cNvPr>
                <p:cNvSpPr>
                  <a:spLocks noChangeArrowheads="1"/>
                </p:cNvSpPr>
                <p:nvPr/>
              </p:nvSpPr>
              <p:spPr bwMode="auto">
                <a:xfrm>
                  <a:off x="5184662" y="2694894"/>
                  <a:ext cx="109610" cy="37441"/>
                </a:xfrm>
                <a:prstGeom prst="rect">
                  <a:avLst/>
                </a:prstGeom>
                <a:noFill/>
                <a:ln w="12700">
                  <a:solidFill>
                    <a:srgbClr val="FFFFFF"/>
                  </a:solidFill>
                </a:ln>
              </p:spPr>
              <p:txBody>
                <a:bodyPr vert="horz" wrap="square" lIns="121888" tIns="60944" rIns="121888" bIns="60944" numCol="1" anchor="t" anchorCtr="0" compatLnSpc="1">
                  <a:prstTxWarp prst="textNoShape">
                    <a:avLst/>
                  </a:prstTxWarp>
                </a:bodyPr>
                <a:lstStyle/>
                <a:p>
                  <a:pPr defTabSz="1218824" fontAlgn="base">
                    <a:spcBef>
                      <a:spcPct val="0"/>
                    </a:spcBef>
                    <a:spcAft>
                      <a:spcPct val="0"/>
                    </a:spcAft>
                    <a:defRPr/>
                  </a:pPr>
                  <a:endParaRPr lang="en-US" sz="2399" kern="0">
                    <a:solidFill>
                      <a:srgbClr val="FFFFFF"/>
                    </a:solidFill>
                    <a:latin typeface="CiscoSansTT ExtraLight"/>
                    <a:ea typeface="ＭＳ Ｐゴシック" charset="0"/>
                    <a:cs typeface="Arial"/>
                    <a:sym typeface="Arial"/>
                  </a:endParaRPr>
                </a:p>
              </p:txBody>
            </p:sp>
          </p:grpSp>
        </p:grpSp>
        <p:sp>
          <p:nvSpPr>
            <p:cNvPr id="55" name="Rectangle 54">
              <a:extLst>
                <a:ext uri="{FF2B5EF4-FFF2-40B4-BE49-F238E27FC236}">
                  <a16:creationId xmlns:a16="http://schemas.microsoft.com/office/drawing/2014/main" id="{F7380B16-7B51-4E15-B46F-C5DDA5A42B9C}"/>
                </a:ext>
              </a:extLst>
            </p:cNvPr>
            <p:cNvSpPr/>
            <p:nvPr/>
          </p:nvSpPr>
          <p:spPr>
            <a:xfrm>
              <a:off x="5769609" y="2241314"/>
              <a:ext cx="636322" cy="193465"/>
            </a:xfrm>
            <a:prstGeom prst="rect">
              <a:avLst/>
            </a:prstGeom>
          </p:spPr>
          <p:txBody>
            <a:bodyPr wrap="none" lIns="0" tIns="0" rIns="0" bIns="0" anchor="ctr">
              <a:noAutofit/>
            </a:bodyPr>
            <a:lstStyle/>
            <a:p>
              <a:pPr defTabSz="914354" fontAlgn="base">
                <a:spcBef>
                  <a:spcPct val="0"/>
                </a:spcBef>
                <a:spcAft>
                  <a:spcPct val="0"/>
                </a:spcAft>
                <a:defRPr/>
              </a:pPr>
              <a:r>
                <a:rPr lang="en-US" sz="1333" b="1">
                  <a:solidFill>
                    <a:srgbClr val="282828"/>
                  </a:solidFill>
                  <a:latin typeface="CiscoSansTT ExtraLight"/>
                  <a:ea typeface="ＭＳ Ｐゴシック" charset="0"/>
                  <a:cs typeface="Arial"/>
                  <a:sym typeface="Arial"/>
                </a:rPr>
                <a:t>Network</a:t>
              </a:r>
            </a:p>
          </p:txBody>
        </p:sp>
        <p:grpSp>
          <p:nvGrpSpPr>
            <p:cNvPr id="56" name="Group 55">
              <a:extLst>
                <a:ext uri="{FF2B5EF4-FFF2-40B4-BE49-F238E27FC236}">
                  <a16:creationId xmlns:a16="http://schemas.microsoft.com/office/drawing/2014/main" id="{B96ABE85-28F6-4A59-AA5C-A6BFC48E760B}"/>
                </a:ext>
              </a:extLst>
            </p:cNvPr>
            <p:cNvGrpSpPr/>
            <p:nvPr/>
          </p:nvGrpSpPr>
          <p:grpSpPr>
            <a:xfrm>
              <a:off x="8071131" y="2272317"/>
              <a:ext cx="260102" cy="260102"/>
              <a:chOff x="8356445" y="5636340"/>
              <a:chExt cx="501017" cy="501017"/>
            </a:xfrm>
          </p:grpSpPr>
          <p:sp>
            <p:nvSpPr>
              <p:cNvPr id="226" name="Oval 263">
                <a:extLst>
                  <a:ext uri="{FF2B5EF4-FFF2-40B4-BE49-F238E27FC236}">
                    <a16:creationId xmlns:a16="http://schemas.microsoft.com/office/drawing/2014/main" id="{3C34ED8C-3C33-4F93-9D05-8AEDF8AD2300}"/>
                  </a:ext>
                </a:extLst>
              </p:cNvPr>
              <p:cNvSpPr>
                <a:spLocks/>
              </p:cNvSpPr>
              <p:nvPr/>
            </p:nvSpPr>
            <p:spPr bwMode="auto">
              <a:xfrm>
                <a:off x="8356445" y="5636340"/>
                <a:ext cx="501017" cy="501017"/>
              </a:xfrm>
              <a:prstGeom prst="ellipse">
                <a:avLst/>
              </a:prstGeom>
              <a:solidFill>
                <a:schemeClr val="accent1"/>
              </a:solidFill>
              <a:ln w="25400" cap="flat">
                <a:noFill/>
                <a:round/>
                <a:headEnd type="none" w="med" len="med"/>
                <a:tailEnd type="none" w="med" len="med"/>
              </a:ln>
              <a:effectLst/>
            </p:spPr>
            <p:txBody>
              <a:bodyPr lIns="0" tIns="0" rIns="0" bIns="0"/>
              <a:lstStyle/>
              <a:p>
                <a:pPr defTabSz="914354" eaLnBrk="0" fontAlgn="base" hangingPunct="0">
                  <a:lnSpc>
                    <a:spcPct val="90000"/>
                  </a:lnSpc>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grpSp>
            <p:nvGrpSpPr>
              <p:cNvPr id="227" name="Group 226">
                <a:extLst>
                  <a:ext uri="{FF2B5EF4-FFF2-40B4-BE49-F238E27FC236}">
                    <a16:creationId xmlns:a16="http://schemas.microsoft.com/office/drawing/2014/main" id="{DC21423F-9FB6-4B5B-A7E6-8E5A2D0BFD37}"/>
                  </a:ext>
                </a:extLst>
              </p:cNvPr>
              <p:cNvGrpSpPr/>
              <p:nvPr/>
            </p:nvGrpSpPr>
            <p:grpSpPr>
              <a:xfrm>
                <a:off x="8476658" y="5742273"/>
                <a:ext cx="275074" cy="327262"/>
                <a:chOff x="4741424" y="2624722"/>
                <a:chExt cx="283385" cy="337149"/>
              </a:xfrm>
            </p:grpSpPr>
            <p:grpSp>
              <p:nvGrpSpPr>
                <p:cNvPr id="228" name="Group 227">
                  <a:extLst>
                    <a:ext uri="{FF2B5EF4-FFF2-40B4-BE49-F238E27FC236}">
                      <a16:creationId xmlns:a16="http://schemas.microsoft.com/office/drawing/2014/main" id="{47C6DA82-2D82-4CBF-880B-FAA9876313F5}"/>
                    </a:ext>
                  </a:extLst>
                </p:cNvPr>
                <p:cNvGrpSpPr/>
                <p:nvPr/>
              </p:nvGrpSpPr>
              <p:grpSpPr>
                <a:xfrm>
                  <a:off x="4741424" y="2624722"/>
                  <a:ext cx="159560" cy="276824"/>
                  <a:chOff x="4741424" y="2624722"/>
                  <a:chExt cx="159560" cy="276824"/>
                </a:xfrm>
              </p:grpSpPr>
              <p:sp>
                <p:nvSpPr>
                  <p:cNvPr id="232" name="Freeform 5">
                    <a:extLst>
                      <a:ext uri="{FF2B5EF4-FFF2-40B4-BE49-F238E27FC236}">
                        <a16:creationId xmlns:a16="http://schemas.microsoft.com/office/drawing/2014/main" id="{B0FE6349-86D0-4D32-8A6C-5744255AC928}"/>
                      </a:ext>
                    </a:extLst>
                  </p:cNvPr>
                  <p:cNvSpPr>
                    <a:spLocks/>
                  </p:cNvSpPr>
                  <p:nvPr/>
                </p:nvSpPr>
                <p:spPr bwMode="auto">
                  <a:xfrm flipH="1">
                    <a:off x="4741424" y="2767597"/>
                    <a:ext cx="159560" cy="133949"/>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40" fontAlgn="base">
                      <a:spcBef>
                        <a:spcPct val="0"/>
                      </a:spcBef>
                      <a:spcAft>
                        <a:spcPct val="0"/>
                      </a:spcAft>
                      <a:defRPr/>
                    </a:pPr>
                    <a:endParaRPr lang="en-US" sz="2400">
                      <a:solidFill>
                        <a:srgbClr val="39393B"/>
                      </a:solidFill>
                      <a:latin typeface="CiscoSansTT ExtraLight"/>
                      <a:sym typeface="Arial"/>
                    </a:endParaRPr>
                  </a:p>
                </p:txBody>
              </p:sp>
              <p:sp>
                <p:nvSpPr>
                  <p:cNvPr id="233" name="Freeform 5">
                    <a:extLst>
                      <a:ext uri="{FF2B5EF4-FFF2-40B4-BE49-F238E27FC236}">
                        <a16:creationId xmlns:a16="http://schemas.microsoft.com/office/drawing/2014/main" id="{84290E78-4C5B-4B56-A95F-2E957AAB922C}"/>
                      </a:ext>
                    </a:extLst>
                  </p:cNvPr>
                  <p:cNvSpPr>
                    <a:spLocks/>
                  </p:cNvSpPr>
                  <p:nvPr/>
                </p:nvSpPr>
                <p:spPr bwMode="auto">
                  <a:xfrm flipH="1">
                    <a:off x="4741424" y="2624722"/>
                    <a:ext cx="159560" cy="133949"/>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40" fontAlgn="base">
                      <a:spcBef>
                        <a:spcPct val="0"/>
                      </a:spcBef>
                      <a:spcAft>
                        <a:spcPct val="0"/>
                      </a:spcAft>
                      <a:defRPr/>
                    </a:pPr>
                    <a:endParaRPr lang="en-US" sz="2400">
                      <a:solidFill>
                        <a:srgbClr val="39393B"/>
                      </a:solidFill>
                      <a:latin typeface="CiscoSansTT ExtraLight"/>
                      <a:sym typeface="Arial"/>
                    </a:endParaRPr>
                  </a:p>
                </p:txBody>
              </p:sp>
            </p:grpSp>
            <p:grpSp>
              <p:nvGrpSpPr>
                <p:cNvPr id="229" name="Group 228">
                  <a:extLst>
                    <a:ext uri="{FF2B5EF4-FFF2-40B4-BE49-F238E27FC236}">
                      <a16:creationId xmlns:a16="http://schemas.microsoft.com/office/drawing/2014/main" id="{579B96D6-7045-4170-8ADC-EC0C1CDA1FEF}"/>
                    </a:ext>
                  </a:extLst>
                </p:cNvPr>
                <p:cNvGrpSpPr/>
                <p:nvPr/>
              </p:nvGrpSpPr>
              <p:grpSpPr>
                <a:xfrm rot="10800000">
                  <a:off x="4865249" y="2685047"/>
                  <a:ext cx="159560" cy="276824"/>
                  <a:chOff x="4741424" y="2624722"/>
                  <a:chExt cx="159560" cy="276824"/>
                </a:xfrm>
              </p:grpSpPr>
              <p:sp>
                <p:nvSpPr>
                  <p:cNvPr id="230" name="Freeform 5">
                    <a:extLst>
                      <a:ext uri="{FF2B5EF4-FFF2-40B4-BE49-F238E27FC236}">
                        <a16:creationId xmlns:a16="http://schemas.microsoft.com/office/drawing/2014/main" id="{E07E4405-59F8-48A2-8C5B-C19749DC60BC}"/>
                      </a:ext>
                    </a:extLst>
                  </p:cNvPr>
                  <p:cNvSpPr>
                    <a:spLocks/>
                  </p:cNvSpPr>
                  <p:nvPr/>
                </p:nvSpPr>
                <p:spPr bwMode="auto">
                  <a:xfrm flipH="1">
                    <a:off x="4741424" y="2767597"/>
                    <a:ext cx="159560" cy="133949"/>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40" fontAlgn="base">
                      <a:spcBef>
                        <a:spcPct val="0"/>
                      </a:spcBef>
                      <a:spcAft>
                        <a:spcPct val="0"/>
                      </a:spcAft>
                      <a:defRPr/>
                    </a:pPr>
                    <a:endParaRPr lang="en-US" sz="2400">
                      <a:solidFill>
                        <a:srgbClr val="39393B"/>
                      </a:solidFill>
                      <a:latin typeface="CiscoSansTT ExtraLight"/>
                      <a:sym typeface="Arial"/>
                    </a:endParaRPr>
                  </a:p>
                </p:txBody>
              </p:sp>
              <p:sp>
                <p:nvSpPr>
                  <p:cNvPr id="231" name="Freeform 5">
                    <a:extLst>
                      <a:ext uri="{FF2B5EF4-FFF2-40B4-BE49-F238E27FC236}">
                        <a16:creationId xmlns:a16="http://schemas.microsoft.com/office/drawing/2014/main" id="{D7900098-B4C9-4786-9B6A-DAD33616C601}"/>
                      </a:ext>
                    </a:extLst>
                  </p:cNvPr>
                  <p:cNvSpPr>
                    <a:spLocks/>
                  </p:cNvSpPr>
                  <p:nvPr/>
                </p:nvSpPr>
                <p:spPr bwMode="auto">
                  <a:xfrm flipH="1">
                    <a:off x="4741424" y="2624722"/>
                    <a:ext cx="159560" cy="133949"/>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40" fontAlgn="base">
                      <a:spcBef>
                        <a:spcPct val="0"/>
                      </a:spcBef>
                      <a:spcAft>
                        <a:spcPct val="0"/>
                      </a:spcAft>
                      <a:defRPr/>
                    </a:pPr>
                    <a:endParaRPr lang="en-US" sz="2400">
                      <a:solidFill>
                        <a:srgbClr val="39393B"/>
                      </a:solidFill>
                      <a:latin typeface="CiscoSansTT ExtraLight"/>
                      <a:sym typeface="Arial"/>
                    </a:endParaRPr>
                  </a:p>
                </p:txBody>
              </p:sp>
            </p:grpSp>
          </p:grpSp>
        </p:grpSp>
        <p:grpSp>
          <p:nvGrpSpPr>
            <p:cNvPr id="57" name="Group 56">
              <a:extLst>
                <a:ext uri="{FF2B5EF4-FFF2-40B4-BE49-F238E27FC236}">
                  <a16:creationId xmlns:a16="http://schemas.microsoft.com/office/drawing/2014/main" id="{9B6410AA-CCB8-4B2C-BA78-4709BADF1ACB}"/>
                </a:ext>
              </a:extLst>
            </p:cNvPr>
            <p:cNvGrpSpPr/>
            <p:nvPr/>
          </p:nvGrpSpPr>
          <p:grpSpPr>
            <a:xfrm>
              <a:off x="5448376" y="4214064"/>
              <a:ext cx="3695624" cy="210266"/>
              <a:chOff x="4550043" y="4450284"/>
              <a:chExt cx="4593957" cy="210266"/>
            </a:xfrm>
          </p:grpSpPr>
          <p:sp>
            <p:nvSpPr>
              <p:cNvPr id="224" name="Trapezoid 223">
                <a:extLst>
                  <a:ext uri="{FF2B5EF4-FFF2-40B4-BE49-F238E27FC236}">
                    <a16:creationId xmlns:a16="http://schemas.microsoft.com/office/drawing/2014/main" id="{F90C082A-BB26-408E-8D9C-E5ED0389D817}"/>
                  </a:ext>
                </a:extLst>
              </p:cNvPr>
              <p:cNvSpPr/>
              <p:nvPr/>
            </p:nvSpPr>
            <p:spPr>
              <a:xfrm>
                <a:off x="4550043" y="4450284"/>
                <a:ext cx="4593957" cy="171340"/>
              </a:xfrm>
              <a:prstGeom prst="trapezoid">
                <a:avLst>
                  <a:gd name="adj" fmla="val 132966"/>
                </a:avLst>
              </a:prstGeom>
              <a:solidFill>
                <a:schemeClr val="bg2"/>
              </a:solidFill>
              <a:ln w="25400" cap="flat" cmpd="sng" algn="ctr">
                <a:noFill/>
                <a:prstDash val="solid"/>
              </a:ln>
              <a:effectLst/>
            </p:spPr>
            <p:txBody>
              <a:bodyPr rtlCol="0" anchor="ctr"/>
              <a:lstStyle/>
              <a:p>
                <a:pPr algn="ctr" defTabSz="914354" fontAlgn="base">
                  <a:spcBef>
                    <a:spcPct val="0"/>
                  </a:spcBef>
                  <a:spcAft>
                    <a:spcPct val="0"/>
                  </a:spcAft>
                  <a:defRPr/>
                </a:pPr>
                <a:endParaRPr lang="en-US" sz="2400" kern="0">
                  <a:solidFill>
                    <a:srgbClr val="FFFFFF"/>
                  </a:solidFill>
                  <a:latin typeface="CiscoSansTT ExtraLight"/>
                  <a:ea typeface="ＭＳ Ｐゴシック" charset="0"/>
                  <a:cs typeface="Arial"/>
                  <a:sym typeface="Arial"/>
                </a:endParaRPr>
              </a:p>
            </p:txBody>
          </p:sp>
          <p:sp>
            <p:nvSpPr>
              <p:cNvPr id="225" name="Rectangle 224">
                <a:extLst>
                  <a:ext uri="{FF2B5EF4-FFF2-40B4-BE49-F238E27FC236}">
                    <a16:creationId xmlns:a16="http://schemas.microsoft.com/office/drawing/2014/main" id="{1995D166-BF36-4180-B3C1-3CE89C6D147A}"/>
                  </a:ext>
                </a:extLst>
              </p:cNvPr>
              <p:cNvSpPr/>
              <p:nvPr/>
            </p:nvSpPr>
            <p:spPr>
              <a:xfrm>
                <a:off x="4550043" y="4621140"/>
                <a:ext cx="4593957" cy="39410"/>
              </a:xfrm>
              <a:prstGeom prst="rect">
                <a:avLst/>
              </a:prstGeom>
              <a:solidFill>
                <a:schemeClr val="accent1"/>
              </a:solidFill>
              <a:ln w="25400" cap="flat" cmpd="sng" algn="ctr">
                <a:noFill/>
                <a:prstDash val="solid"/>
              </a:ln>
              <a:effectLst/>
            </p:spPr>
            <p:txBody>
              <a:bodyPr rtlCol="0" anchor="ctr"/>
              <a:lstStyle/>
              <a:p>
                <a:pPr algn="ctr" defTabSz="914354" fontAlgn="base">
                  <a:spcBef>
                    <a:spcPct val="0"/>
                  </a:spcBef>
                  <a:spcAft>
                    <a:spcPct val="0"/>
                  </a:spcAft>
                  <a:defRPr/>
                </a:pPr>
                <a:endParaRPr lang="en-US" sz="2400" kern="0">
                  <a:solidFill>
                    <a:srgbClr val="FFFFFF"/>
                  </a:solidFill>
                  <a:latin typeface="CiscoSansTT ExtraLight"/>
                  <a:ea typeface="ＭＳ Ｐゴシック" charset="0"/>
                  <a:cs typeface="Arial"/>
                  <a:sym typeface="Arial"/>
                </a:endParaRPr>
              </a:p>
            </p:txBody>
          </p:sp>
        </p:grpSp>
        <p:grpSp>
          <p:nvGrpSpPr>
            <p:cNvPr id="58" name="Group 57">
              <a:extLst>
                <a:ext uri="{FF2B5EF4-FFF2-40B4-BE49-F238E27FC236}">
                  <a16:creationId xmlns:a16="http://schemas.microsoft.com/office/drawing/2014/main" id="{EDD3F635-28B4-4574-8ADA-231B8689B0BD}"/>
                </a:ext>
              </a:extLst>
            </p:cNvPr>
            <p:cNvGrpSpPr/>
            <p:nvPr/>
          </p:nvGrpSpPr>
          <p:grpSpPr>
            <a:xfrm>
              <a:off x="5448376" y="3101263"/>
              <a:ext cx="3695623" cy="210266"/>
              <a:chOff x="4550043" y="4450284"/>
              <a:chExt cx="4593957" cy="210266"/>
            </a:xfrm>
          </p:grpSpPr>
          <p:sp>
            <p:nvSpPr>
              <p:cNvPr id="222" name="Trapezoid 221">
                <a:extLst>
                  <a:ext uri="{FF2B5EF4-FFF2-40B4-BE49-F238E27FC236}">
                    <a16:creationId xmlns:a16="http://schemas.microsoft.com/office/drawing/2014/main" id="{525225AE-763B-42AB-AF0E-E72675D96CB3}"/>
                  </a:ext>
                </a:extLst>
              </p:cNvPr>
              <p:cNvSpPr/>
              <p:nvPr/>
            </p:nvSpPr>
            <p:spPr>
              <a:xfrm>
                <a:off x="4550043" y="4450284"/>
                <a:ext cx="4593957" cy="171340"/>
              </a:xfrm>
              <a:prstGeom prst="trapezoid">
                <a:avLst>
                  <a:gd name="adj" fmla="val 134356"/>
                </a:avLst>
              </a:prstGeom>
              <a:solidFill>
                <a:schemeClr val="bg2"/>
              </a:solidFill>
              <a:ln w="25400" cap="flat" cmpd="sng" algn="ctr">
                <a:noFill/>
                <a:prstDash val="solid"/>
              </a:ln>
              <a:effectLst/>
            </p:spPr>
            <p:txBody>
              <a:bodyPr rtlCol="0" anchor="ctr"/>
              <a:lstStyle/>
              <a:p>
                <a:pPr algn="ctr" defTabSz="914354" fontAlgn="base">
                  <a:spcBef>
                    <a:spcPct val="0"/>
                  </a:spcBef>
                  <a:spcAft>
                    <a:spcPct val="0"/>
                  </a:spcAft>
                  <a:defRPr/>
                </a:pPr>
                <a:endParaRPr lang="en-US" sz="2400" kern="0">
                  <a:solidFill>
                    <a:srgbClr val="FFFFFF"/>
                  </a:solidFill>
                  <a:latin typeface="CiscoSansTT ExtraLight"/>
                  <a:ea typeface="ＭＳ Ｐゴシック" charset="0"/>
                  <a:cs typeface="Arial"/>
                  <a:sym typeface="Arial"/>
                </a:endParaRPr>
              </a:p>
            </p:txBody>
          </p:sp>
          <p:sp>
            <p:nvSpPr>
              <p:cNvPr id="223" name="Rectangle 222">
                <a:extLst>
                  <a:ext uri="{FF2B5EF4-FFF2-40B4-BE49-F238E27FC236}">
                    <a16:creationId xmlns:a16="http://schemas.microsoft.com/office/drawing/2014/main" id="{0E0D2BCF-D4F9-4669-9804-87C3F4262214}"/>
                  </a:ext>
                </a:extLst>
              </p:cNvPr>
              <p:cNvSpPr/>
              <p:nvPr/>
            </p:nvSpPr>
            <p:spPr>
              <a:xfrm>
                <a:off x="4550043" y="4621140"/>
                <a:ext cx="4593957" cy="39410"/>
              </a:xfrm>
              <a:prstGeom prst="rect">
                <a:avLst/>
              </a:prstGeom>
              <a:solidFill>
                <a:schemeClr val="accent1"/>
              </a:solidFill>
              <a:ln w="25400" cap="flat" cmpd="sng" algn="ctr">
                <a:noFill/>
                <a:prstDash val="solid"/>
              </a:ln>
              <a:effectLst/>
            </p:spPr>
            <p:txBody>
              <a:bodyPr rtlCol="0" anchor="ctr"/>
              <a:lstStyle/>
              <a:p>
                <a:pPr algn="ctr" defTabSz="914354" fontAlgn="base">
                  <a:spcBef>
                    <a:spcPct val="0"/>
                  </a:spcBef>
                  <a:spcAft>
                    <a:spcPct val="0"/>
                  </a:spcAft>
                  <a:defRPr/>
                </a:pPr>
                <a:endParaRPr lang="en-US" sz="2400" kern="0">
                  <a:solidFill>
                    <a:srgbClr val="FFFFFF"/>
                  </a:solidFill>
                  <a:latin typeface="CiscoSansTT ExtraLight"/>
                  <a:ea typeface="ＭＳ Ｐゴシック" charset="0"/>
                  <a:cs typeface="Arial"/>
                  <a:sym typeface="Arial"/>
                </a:endParaRPr>
              </a:p>
            </p:txBody>
          </p:sp>
        </p:grpSp>
        <p:grpSp>
          <p:nvGrpSpPr>
            <p:cNvPr id="59" name="Group 58">
              <a:extLst>
                <a:ext uri="{FF2B5EF4-FFF2-40B4-BE49-F238E27FC236}">
                  <a16:creationId xmlns:a16="http://schemas.microsoft.com/office/drawing/2014/main" id="{D964F38D-8447-430C-BE10-C8E988B7A828}"/>
                </a:ext>
              </a:extLst>
            </p:cNvPr>
            <p:cNvGrpSpPr/>
            <p:nvPr/>
          </p:nvGrpSpPr>
          <p:grpSpPr>
            <a:xfrm>
              <a:off x="7732330" y="2631414"/>
              <a:ext cx="944396" cy="591488"/>
              <a:chOff x="7732330" y="2867634"/>
              <a:chExt cx="944396" cy="591488"/>
            </a:xfrm>
          </p:grpSpPr>
          <p:sp>
            <p:nvSpPr>
              <p:cNvPr id="219" name="Freeform 56">
                <a:extLst>
                  <a:ext uri="{FF2B5EF4-FFF2-40B4-BE49-F238E27FC236}">
                    <a16:creationId xmlns:a16="http://schemas.microsoft.com/office/drawing/2014/main" id="{E1FF64E7-7F7D-4957-BF4A-2617D388ACCA}"/>
                  </a:ext>
                </a:extLst>
              </p:cNvPr>
              <p:cNvSpPr>
                <a:spLocks noEditPoints="1"/>
              </p:cNvSpPr>
              <p:nvPr/>
            </p:nvSpPr>
            <p:spPr bwMode="auto">
              <a:xfrm>
                <a:off x="7732330" y="2956047"/>
                <a:ext cx="452689" cy="503075"/>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rgbClr val="39393B"/>
              </a:solidFill>
              <a:ln w="9525">
                <a:noFill/>
                <a:round/>
                <a:headEnd/>
                <a:tailEnd/>
              </a:ln>
            </p:spPr>
            <p:txBody>
              <a:bodyPr vert="horz" wrap="square" lIns="121920" tIns="60960" rIns="121920" bIns="60960" numCol="1" anchor="t" anchorCtr="0" compatLnSpc="1">
                <a:prstTxWarp prst="textNoShape">
                  <a:avLst/>
                </a:prstTxWarp>
              </a:bodyPr>
              <a:lstStyle/>
              <a:p>
                <a:pPr defTabSz="1218824" fontAlgn="base">
                  <a:spcBef>
                    <a:spcPct val="0"/>
                  </a:spcBef>
                  <a:spcAft>
                    <a:spcPct val="0"/>
                  </a:spcAft>
                  <a:defRPr/>
                </a:pPr>
                <a:endParaRPr lang="en-US" sz="2133" kern="0" dirty="0">
                  <a:solidFill>
                    <a:srgbClr val="FFFFFF"/>
                  </a:solidFill>
                  <a:latin typeface="CiscoSansTT ExtraLight"/>
                  <a:ea typeface="ＭＳ Ｐゴシック" charset="0"/>
                  <a:cs typeface="Arial"/>
                  <a:sym typeface="Arial"/>
                </a:endParaRPr>
              </a:p>
            </p:txBody>
          </p:sp>
          <p:sp>
            <p:nvSpPr>
              <p:cNvPr id="220" name="Freeform 57">
                <a:extLst>
                  <a:ext uri="{FF2B5EF4-FFF2-40B4-BE49-F238E27FC236}">
                    <a16:creationId xmlns:a16="http://schemas.microsoft.com/office/drawing/2014/main" id="{5725D236-79B7-4CDB-9EF8-798A15E1E53D}"/>
                  </a:ext>
                </a:extLst>
              </p:cNvPr>
              <p:cNvSpPr>
                <a:spLocks noEditPoints="1"/>
              </p:cNvSpPr>
              <p:nvPr/>
            </p:nvSpPr>
            <p:spPr bwMode="auto">
              <a:xfrm flipH="1">
                <a:off x="8224037" y="2956047"/>
                <a:ext cx="452689" cy="503075"/>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rgbClr val="39393B"/>
              </a:solidFill>
              <a:ln w="9525">
                <a:noFill/>
                <a:round/>
                <a:headEnd/>
                <a:tailEnd/>
              </a:ln>
            </p:spPr>
            <p:txBody>
              <a:bodyPr vert="horz" wrap="square" lIns="121920" tIns="60960" rIns="121920" bIns="60960" numCol="1" anchor="t" anchorCtr="0" compatLnSpc="1">
                <a:prstTxWarp prst="textNoShape">
                  <a:avLst/>
                </a:prstTxWarp>
              </a:bodyPr>
              <a:lstStyle/>
              <a:p>
                <a:pPr defTabSz="1218824" fontAlgn="base">
                  <a:spcBef>
                    <a:spcPct val="0"/>
                  </a:spcBef>
                  <a:spcAft>
                    <a:spcPct val="0"/>
                  </a:spcAft>
                  <a:defRPr/>
                </a:pPr>
                <a:endParaRPr lang="en-US" sz="2133" kern="0">
                  <a:solidFill>
                    <a:srgbClr val="FFFFFF"/>
                  </a:solidFill>
                  <a:latin typeface="CiscoSansTT ExtraLight"/>
                  <a:ea typeface="ＭＳ Ｐゴシック" charset="0"/>
                  <a:cs typeface="Arial"/>
                  <a:sym typeface="Arial"/>
                </a:endParaRPr>
              </a:p>
            </p:txBody>
          </p:sp>
          <p:sp>
            <p:nvSpPr>
              <p:cNvPr id="221" name="Rectangle 220">
                <a:extLst>
                  <a:ext uri="{FF2B5EF4-FFF2-40B4-BE49-F238E27FC236}">
                    <a16:creationId xmlns:a16="http://schemas.microsoft.com/office/drawing/2014/main" id="{2EC9F009-D7BC-4BF5-AB6D-82EEBA3ED24E}"/>
                  </a:ext>
                </a:extLst>
              </p:cNvPr>
              <p:cNvSpPr/>
              <p:nvPr/>
            </p:nvSpPr>
            <p:spPr>
              <a:xfrm>
                <a:off x="8026982" y="2867634"/>
                <a:ext cx="447390" cy="193465"/>
              </a:xfrm>
              <a:prstGeom prst="rect">
                <a:avLst/>
              </a:prstGeom>
              <a:noFill/>
            </p:spPr>
            <p:txBody>
              <a:bodyPr wrap="none" lIns="0" tIns="0" rIns="0" bIns="0" anchor="ctr">
                <a:noAutofit/>
              </a:bodyPr>
              <a:lstStyle/>
              <a:p>
                <a:pPr defTabSz="914354" fontAlgn="base">
                  <a:spcBef>
                    <a:spcPct val="0"/>
                  </a:spcBef>
                  <a:spcAft>
                    <a:spcPct val="0"/>
                  </a:spcAft>
                  <a:defRPr/>
                </a:pPr>
                <a:r>
                  <a:rPr lang="en-US" sz="1333" b="1" kern="0">
                    <a:solidFill>
                      <a:srgbClr val="282828"/>
                    </a:solidFill>
                    <a:latin typeface="CiscoSansTT ExtraLight"/>
                    <a:ea typeface="ＭＳ Ｐゴシック" charset="0"/>
                    <a:cs typeface="Arial"/>
                    <a:sym typeface="Arial"/>
                  </a:rPr>
                  <a:t>Users</a:t>
                </a:r>
              </a:p>
            </p:txBody>
          </p:sp>
        </p:grpSp>
        <p:sp>
          <p:nvSpPr>
            <p:cNvPr id="60" name="Rectangle 59">
              <a:extLst>
                <a:ext uri="{FF2B5EF4-FFF2-40B4-BE49-F238E27FC236}">
                  <a16:creationId xmlns:a16="http://schemas.microsoft.com/office/drawing/2014/main" id="{2EC81D7A-8BC7-46BE-8F9E-8364C8B5006F}"/>
                </a:ext>
              </a:extLst>
            </p:cNvPr>
            <p:cNvSpPr/>
            <p:nvPr/>
          </p:nvSpPr>
          <p:spPr>
            <a:xfrm>
              <a:off x="8385659" y="2210104"/>
              <a:ext cx="812765" cy="183460"/>
            </a:xfrm>
            <a:prstGeom prst="rect">
              <a:avLst/>
            </a:prstGeom>
          </p:spPr>
          <p:txBody>
            <a:bodyPr wrap="none" lIns="0" tIns="0" rIns="0" bIns="0" anchor="ctr">
              <a:noAutofit/>
            </a:bodyPr>
            <a:lstStyle/>
            <a:p>
              <a:pPr defTabSz="914354" fontAlgn="base">
                <a:spcBef>
                  <a:spcPct val="0"/>
                </a:spcBef>
                <a:spcAft>
                  <a:spcPct val="0"/>
                </a:spcAft>
                <a:defRPr/>
              </a:pPr>
              <a:r>
                <a:rPr lang="en-US" sz="1333" b="1">
                  <a:solidFill>
                    <a:srgbClr val="282828"/>
                  </a:solidFill>
                  <a:latin typeface="CiscoSansTT ExtraLight"/>
                  <a:ea typeface="ＭＳ Ｐゴシック" charset="0"/>
                  <a:cs typeface="Arial"/>
                  <a:sym typeface="Arial"/>
                </a:rPr>
                <a:t>Headquarters</a:t>
              </a:r>
            </a:p>
          </p:txBody>
        </p:sp>
        <p:grpSp>
          <p:nvGrpSpPr>
            <p:cNvPr id="61" name="Group 60">
              <a:extLst>
                <a:ext uri="{FF2B5EF4-FFF2-40B4-BE49-F238E27FC236}">
                  <a16:creationId xmlns:a16="http://schemas.microsoft.com/office/drawing/2014/main" id="{DE20200E-0588-4911-9FB4-F28A08615D01}"/>
                </a:ext>
              </a:extLst>
            </p:cNvPr>
            <p:cNvGrpSpPr/>
            <p:nvPr/>
          </p:nvGrpSpPr>
          <p:grpSpPr>
            <a:xfrm>
              <a:off x="6275746" y="2294472"/>
              <a:ext cx="256032" cy="256032"/>
              <a:chOff x="5638829" y="2574999"/>
              <a:chExt cx="293235" cy="294128"/>
            </a:xfrm>
          </p:grpSpPr>
          <p:sp>
            <p:nvSpPr>
              <p:cNvPr id="212" name="Oval 211">
                <a:extLst>
                  <a:ext uri="{FF2B5EF4-FFF2-40B4-BE49-F238E27FC236}">
                    <a16:creationId xmlns:a16="http://schemas.microsoft.com/office/drawing/2014/main" id="{1CF2DF58-0869-43C7-B9AB-8622BC5C7684}"/>
                  </a:ext>
                </a:extLst>
              </p:cNvPr>
              <p:cNvSpPr/>
              <p:nvPr/>
            </p:nvSpPr>
            <p:spPr>
              <a:xfrm>
                <a:off x="5638829" y="2574999"/>
                <a:ext cx="293235" cy="294128"/>
              </a:xfrm>
              <a:prstGeom prst="ellipse">
                <a:avLst/>
              </a:prstGeom>
              <a:solidFill>
                <a:schemeClr val="accent1"/>
              </a:solidFill>
              <a:ln w="25400" cap="flat">
                <a:noFill/>
                <a:round/>
                <a:headEnd type="none" w="med" len="med"/>
                <a:tailEnd type="none" w="med" len="med"/>
              </a:ln>
              <a:effectLst/>
            </p:spPr>
            <p:txBody>
              <a:bodyPr lIns="0" tIns="0" rIns="0" bIns="0"/>
              <a:lstStyle/>
              <a:p>
                <a:pPr defTabSz="914354" eaLnBrk="0" fontAlgn="base" hangingPunct="0">
                  <a:lnSpc>
                    <a:spcPct val="90000"/>
                  </a:lnSpc>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grpSp>
            <p:nvGrpSpPr>
              <p:cNvPr id="213" name="Group 212">
                <a:extLst>
                  <a:ext uri="{FF2B5EF4-FFF2-40B4-BE49-F238E27FC236}">
                    <a16:creationId xmlns:a16="http://schemas.microsoft.com/office/drawing/2014/main" id="{73B47FDD-6D50-428F-872E-8D8C39F2A1D6}"/>
                  </a:ext>
                </a:extLst>
              </p:cNvPr>
              <p:cNvGrpSpPr/>
              <p:nvPr/>
            </p:nvGrpSpPr>
            <p:grpSpPr>
              <a:xfrm>
                <a:off x="5749077" y="2606625"/>
                <a:ext cx="72738" cy="230877"/>
                <a:chOff x="4707334" y="2441614"/>
                <a:chExt cx="106495" cy="338027"/>
              </a:xfrm>
            </p:grpSpPr>
            <p:sp>
              <p:nvSpPr>
                <p:cNvPr id="217" name="Freeform 5">
                  <a:extLst>
                    <a:ext uri="{FF2B5EF4-FFF2-40B4-BE49-F238E27FC236}">
                      <a16:creationId xmlns:a16="http://schemas.microsoft.com/office/drawing/2014/main" id="{567EEBCE-F4ED-460F-A971-2C4E123D572A}"/>
                    </a:ext>
                  </a:extLst>
                </p:cNvPr>
                <p:cNvSpPr>
                  <a:spLocks/>
                </p:cNvSpPr>
                <p:nvPr/>
              </p:nvSpPr>
              <p:spPr bwMode="auto">
                <a:xfrm rot="16200000" flipH="1">
                  <a:off x="4697152" y="2451796"/>
                  <a:ext cx="126855" cy="106491"/>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40" fontAlgn="base">
                    <a:spcBef>
                      <a:spcPct val="0"/>
                    </a:spcBef>
                    <a:spcAft>
                      <a:spcPct val="0"/>
                    </a:spcAft>
                    <a:defRPr/>
                  </a:pPr>
                  <a:endParaRPr lang="en-US" sz="2400">
                    <a:solidFill>
                      <a:srgbClr val="39393B"/>
                    </a:solidFill>
                    <a:latin typeface="CiscoSansTT ExtraLight"/>
                    <a:sym typeface="Arial"/>
                  </a:endParaRPr>
                </a:p>
              </p:txBody>
            </p:sp>
            <p:sp>
              <p:nvSpPr>
                <p:cNvPr id="218" name="Freeform 5">
                  <a:extLst>
                    <a:ext uri="{FF2B5EF4-FFF2-40B4-BE49-F238E27FC236}">
                      <a16:creationId xmlns:a16="http://schemas.microsoft.com/office/drawing/2014/main" id="{ED5F3B92-5AFA-4991-8569-6085322C29D0}"/>
                    </a:ext>
                  </a:extLst>
                </p:cNvPr>
                <p:cNvSpPr>
                  <a:spLocks/>
                </p:cNvSpPr>
                <p:nvPr/>
              </p:nvSpPr>
              <p:spPr bwMode="auto">
                <a:xfrm rot="5400000" flipH="1">
                  <a:off x="4697154" y="2662967"/>
                  <a:ext cx="126855" cy="106494"/>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40" fontAlgn="base">
                    <a:spcBef>
                      <a:spcPct val="0"/>
                    </a:spcBef>
                    <a:spcAft>
                      <a:spcPct val="0"/>
                    </a:spcAft>
                    <a:defRPr/>
                  </a:pPr>
                  <a:endParaRPr lang="en-US" sz="2400">
                    <a:solidFill>
                      <a:srgbClr val="39393B"/>
                    </a:solidFill>
                    <a:latin typeface="CiscoSansTT ExtraLight"/>
                    <a:sym typeface="Arial"/>
                  </a:endParaRPr>
                </a:p>
              </p:txBody>
            </p:sp>
          </p:grpSp>
          <p:grpSp>
            <p:nvGrpSpPr>
              <p:cNvPr id="214" name="Group 213">
                <a:extLst>
                  <a:ext uri="{FF2B5EF4-FFF2-40B4-BE49-F238E27FC236}">
                    <a16:creationId xmlns:a16="http://schemas.microsoft.com/office/drawing/2014/main" id="{1C92AD29-0064-4BEC-B495-CA69692164C5}"/>
                  </a:ext>
                </a:extLst>
              </p:cNvPr>
              <p:cNvGrpSpPr/>
              <p:nvPr/>
            </p:nvGrpSpPr>
            <p:grpSpPr>
              <a:xfrm rot="5400000">
                <a:off x="5749078" y="2606626"/>
                <a:ext cx="72737" cy="230874"/>
                <a:chOff x="4801866" y="2441614"/>
                <a:chExt cx="106494" cy="338023"/>
              </a:xfrm>
            </p:grpSpPr>
            <p:sp>
              <p:nvSpPr>
                <p:cNvPr id="215" name="Freeform 5">
                  <a:extLst>
                    <a:ext uri="{FF2B5EF4-FFF2-40B4-BE49-F238E27FC236}">
                      <a16:creationId xmlns:a16="http://schemas.microsoft.com/office/drawing/2014/main" id="{221A66BC-D519-4585-825D-34A8E843BD72}"/>
                    </a:ext>
                  </a:extLst>
                </p:cNvPr>
                <p:cNvSpPr>
                  <a:spLocks/>
                </p:cNvSpPr>
                <p:nvPr/>
              </p:nvSpPr>
              <p:spPr bwMode="auto">
                <a:xfrm rot="16200000" flipH="1">
                  <a:off x="4791685" y="2451795"/>
                  <a:ext cx="126855" cy="106494"/>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40" fontAlgn="base">
                    <a:spcBef>
                      <a:spcPct val="0"/>
                    </a:spcBef>
                    <a:spcAft>
                      <a:spcPct val="0"/>
                    </a:spcAft>
                    <a:defRPr/>
                  </a:pPr>
                  <a:endParaRPr lang="en-US" sz="2400">
                    <a:solidFill>
                      <a:srgbClr val="39393B"/>
                    </a:solidFill>
                    <a:latin typeface="CiscoSansTT ExtraLight"/>
                    <a:sym typeface="Arial"/>
                  </a:endParaRPr>
                </a:p>
              </p:txBody>
            </p:sp>
            <p:sp>
              <p:nvSpPr>
                <p:cNvPr id="216" name="Freeform 5">
                  <a:extLst>
                    <a:ext uri="{FF2B5EF4-FFF2-40B4-BE49-F238E27FC236}">
                      <a16:creationId xmlns:a16="http://schemas.microsoft.com/office/drawing/2014/main" id="{9DE728D8-9234-4B42-8D28-177C4553CF86}"/>
                    </a:ext>
                  </a:extLst>
                </p:cNvPr>
                <p:cNvSpPr>
                  <a:spLocks/>
                </p:cNvSpPr>
                <p:nvPr/>
              </p:nvSpPr>
              <p:spPr bwMode="auto">
                <a:xfrm rot="5400000" flipH="1">
                  <a:off x="4791684" y="2662964"/>
                  <a:ext cx="126855" cy="106491"/>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40" fontAlgn="base">
                    <a:spcBef>
                      <a:spcPct val="0"/>
                    </a:spcBef>
                    <a:spcAft>
                      <a:spcPct val="0"/>
                    </a:spcAft>
                    <a:defRPr/>
                  </a:pPr>
                  <a:endParaRPr lang="en-US" sz="2400">
                    <a:solidFill>
                      <a:srgbClr val="39393B"/>
                    </a:solidFill>
                    <a:latin typeface="CiscoSansTT ExtraLight"/>
                    <a:sym typeface="Arial"/>
                  </a:endParaRPr>
                </a:p>
              </p:txBody>
            </p:sp>
          </p:grpSp>
        </p:grpSp>
        <p:grpSp>
          <p:nvGrpSpPr>
            <p:cNvPr id="62" name="Group 61">
              <a:extLst>
                <a:ext uri="{FF2B5EF4-FFF2-40B4-BE49-F238E27FC236}">
                  <a16:creationId xmlns:a16="http://schemas.microsoft.com/office/drawing/2014/main" id="{26EDE49A-1E5A-49F9-97C8-9B29548C599F}"/>
                </a:ext>
              </a:extLst>
            </p:cNvPr>
            <p:cNvGrpSpPr/>
            <p:nvPr/>
          </p:nvGrpSpPr>
          <p:grpSpPr>
            <a:xfrm>
              <a:off x="6751479" y="2606199"/>
              <a:ext cx="293688" cy="611188"/>
              <a:chOff x="6540500" y="2863850"/>
              <a:chExt cx="293688" cy="611188"/>
            </a:xfrm>
          </p:grpSpPr>
          <p:grpSp>
            <p:nvGrpSpPr>
              <p:cNvPr id="202" name="Group 201">
                <a:extLst>
                  <a:ext uri="{FF2B5EF4-FFF2-40B4-BE49-F238E27FC236}">
                    <a16:creationId xmlns:a16="http://schemas.microsoft.com/office/drawing/2014/main" id="{EB80062A-1D28-468D-AE92-D2E3A7173DBF}"/>
                  </a:ext>
                </a:extLst>
              </p:cNvPr>
              <p:cNvGrpSpPr/>
              <p:nvPr/>
            </p:nvGrpSpPr>
            <p:grpSpPr>
              <a:xfrm>
                <a:off x="6540500" y="2863850"/>
                <a:ext cx="268288" cy="611188"/>
                <a:chOff x="6540500" y="2863850"/>
                <a:chExt cx="268288" cy="611188"/>
              </a:xfrm>
            </p:grpSpPr>
            <p:sp>
              <p:nvSpPr>
                <p:cNvPr id="207" name="Oval 53">
                  <a:extLst>
                    <a:ext uri="{FF2B5EF4-FFF2-40B4-BE49-F238E27FC236}">
                      <a16:creationId xmlns:a16="http://schemas.microsoft.com/office/drawing/2014/main" id="{8D30B545-C8D8-4C3F-A240-6B787F9FDB87}"/>
                    </a:ext>
                  </a:extLst>
                </p:cNvPr>
                <p:cNvSpPr>
                  <a:spLocks noChangeArrowheads="1"/>
                </p:cNvSpPr>
                <p:nvPr/>
              </p:nvSpPr>
              <p:spPr bwMode="auto">
                <a:xfrm>
                  <a:off x="6615113" y="2863850"/>
                  <a:ext cx="114300" cy="114300"/>
                </a:xfrm>
                <a:prstGeom prst="ellipse">
                  <a:avLst/>
                </a:prstGeom>
                <a:solidFill>
                  <a:srgbClr val="39393B"/>
                </a:solidFill>
                <a:ln>
                  <a:noFill/>
                </a:ln>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208" name="Freeform 54">
                  <a:extLst>
                    <a:ext uri="{FF2B5EF4-FFF2-40B4-BE49-F238E27FC236}">
                      <a16:creationId xmlns:a16="http://schemas.microsoft.com/office/drawing/2014/main" id="{6948B961-40D5-4C2A-8E76-C9B71EDE2803}"/>
                    </a:ext>
                  </a:extLst>
                </p:cNvPr>
                <p:cNvSpPr>
                  <a:spLocks/>
                </p:cNvSpPr>
                <p:nvPr/>
              </p:nvSpPr>
              <p:spPr bwMode="auto">
                <a:xfrm>
                  <a:off x="6543675" y="2979738"/>
                  <a:ext cx="261938" cy="217488"/>
                </a:xfrm>
                <a:custGeom>
                  <a:avLst/>
                  <a:gdLst>
                    <a:gd name="T0" fmla="*/ 121 w 501"/>
                    <a:gd name="T1" fmla="*/ 165 h 416"/>
                    <a:gd name="T2" fmla="*/ 121 w 501"/>
                    <a:gd name="T3" fmla="*/ 358 h 416"/>
                    <a:gd name="T4" fmla="*/ 378 w 501"/>
                    <a:gd name="T5" fmla="*/ 358 h 416"/>
                    <a:gd name="T6" fmla="*/ 378 w 501"/>
                    <a:gd name="T7" fmla="*/ 159 h 416"/>
                    <a:gd name="T8" fmla="*/ 425 w 501"/>
                    <a:gd name="T9" fmla="*/ 413 h 416"/>
                    <a:gd name="T10" fmla="*/ 494 w 501"/>
                    <a:gd name="T11" fmla="*/ 400 h 416"/>
                    <a:gd name="T12" fmla="*/ 432 w 501"/>
                    <a:gd name="T13" fmla="*/ 87 h 416"/>
                    <a:gd name="T14" fmla="*/ 309 w 501"/>
                    <a:gd name="T15" fmla="*/ 23 h 416"/>
                    <a:gd name="T16" fmla="*/ 237 w 501"/>
                    <a:gd name="T17" fmla="*/ 74 h 416"/>
                    <a:gd name="T18" fmla="*/ 186 w 501"/>
                    <a:gd name="T19" fmla="*/ 25 h 416"/>
                    <a:gd name="T20" fmla="*/ 56 w 501"/>
                    <a:gd name="T21" fmla="*/ 107 h 416"/>
                    <a:gd name="T22" fmla="*/ 0 w 501"/>
                    <a:gd name="T23" fmla="*/ 407 h 416"/>
                    <a:gd name="T24" fmla="*/ 80 w 501"/>
                    <a:gd name="T25" fmla="*/ 416 h 416"/>
                    <a:gd name="T26" fmla="*/ 121 w 501"/>
                    <a:gd name="T27" fmla="*/ 165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1" h="416">
                      <a:moveTo>
                        <a:pt x="121" y="165"/>
                      </a:moveTo>
                      <a:cubicBezTo>
                        <a:pt x="121" y="358"/>
                        <a:pt x="121" y="358"/>
                        <a:pt x="121" y="358"/>
                      </a:cubicBezTo>
                      <a:cubicBezTo>
                        <a:pt x="233" y="384"/>
                        <a:pt x="378" y="358"/>
                        <a:pt x="378" y="358"/>
                      </a:cubicBezTo>
                      <a:cubicBezTo>
                        <a:pt x="378" y="159"/>
                        <a:pt x="378" y="159"/>
                        <a:pt x="378" y="159"/>
                      </a:cubicBezTo>
                      <a:cubicBezTo>
                        <a:pt x="411" y="208"/>
                        <a:pt x="425" y="413"/>
                        <a:pt x="425" y="413"/>
                      </a:cubicBezTo>
                      <a:cubicBezTo>
                        <a:pt x="443" y="396"/>
                        <a:pt x="494" y="400"/>
                        <a:pt x="494" y="400"/>
                      </a:cubicBezTo>
                      <a:cubicBezTo>
                        <a:pt x="501" y="367"/>
                        <a:pt x="479" y="174"/>
                        <a:pt x="432" y="87"/>
                      </a:cubicBezTo>
                      <a:cubicBezTo>
                        <a:pt x="385" y="0"/>
                        <a:pt x="309" y="23"/>
                        <a:pt x="309" y="23"/>
                      </a:cubicBezTo>
                      <a:cubicBezTo>
                        <a:pt x="299" y="76"/>
                        <a:pt x="237" y="74"/>
                        <a:pt x="237" y="74"/>
                      </a:cubicBezTo>
                      <a:cubicBezTo>
                        <a:pt x="197" y="75"/>
                        <a:pt x="186" y="25"/>
                        <a:pt x="186" y="25"/>
                      </a:cubicBezTo>
                      <a:cubicBezTo>
                        <a:pt x="186" y="25"/>
                        <a:pt x="109" y="9"/>
                        <a:pt x="56" y="107"/>
                      </a:cubicBezTo>
                      <a:cubicBezTo>
                        <a:pt x="7" y="197"/>
                        <a:pt x="0" y="407"/>
                        <a:pt x="0" y="407"/>
                      </a:cubicBezTo>
                      <a:cubicBezTo>
                        <a:pt x="18" y="402"/>
                        <a:pt x="80" y="416"/>
                        <a:pt x="80" y="416"/>
                      </a:cubicBezTo>
                      <a:cubicBezTo>
                        <a:pt x="74" y="203"/>
                        <a:pt x="121" y="165"/>
                        <a:pt x="121" y="165"/>
                      </a:cubicBezTo>
                      <a:close/>
                    </a:path>
                  </a:pathLst>
                </a:custGeom>
                <a:solidFill>
                  <a:srgbClr val="39393B"/>
                </a:solidFill>
                <a:ln>
                  <a:noFill/>
                </a:ln>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209" name="Freeform 55">
                  <a:extLst>
                    <a:ext uri="{FF2B5EF4-FFF2-40B4-BE49-F238E27FC236}">
                      <a16:creationId xmlns:a16="http://schemas.microsoft.com/office/drawing/2014/main" id="{4CA7A781-09D3-4747-95B9-1D412508F5E8}"/>
                    </a:ext>
                  </a:extLst>
                </p:cNvPr>
                <p:cNvSpPr>
                  <a:spLocks/>
                </p:cNvSpPr>
                <p:nvPr/>
              </p:nvSpPr>
              <p:spPr bwMode="auto">
                <a:xfrm>
                  <a:off x="6591300" y="3179763"/>
                  <a:ext cx="165100" cy="295275"/>
                </a:xfrm>
                <a:custGeom>
                  <a:avLst/>
                  <a:gdLst>
                    <a:gd name="T0" fmla="*/ 284 w 315"/>
                    <a:gd name="T1" fmla="*/ 0 h 564"/>
                    <a:gd name="T2" fmla="*/ 29 w 315"/>
                    <a:gd name="T3" fmla="*/ 0 h 564"/>
                    <a:gd name="T4" fmla="*/ 6 w 315"/>
                    <a:gd name="T5" fmla="*/ 494 h 564"/>
                    <a:gd name="T6" fmla="*/ 114 w 315"/>
                    <a:gd name="T7" fmla="*/ 494 h 564"/>
                    <a:gd name="T8" fmla="*/ 138 w 315"/>
                    <a:gd name="T9" fmla="*/ 99 h 564"/>
                    <a:gd name="T10" fmla="*/ 172 w 315"/>
                    <a:gd name="T11" fmla="*/ 99 h 564"/>
                    <a:gd name="T12" fmla="*/ 197 w 315"/>
                    <a:gd name="T13" fmla="*/ 492 h 564"/>
                    <a:gd name="T14" fmla="*/ 311 w 315"/>
                    <a:gd name="T15" fmla="*/ 485 h 564"/>
                    <a:gd name="T16" fmla="*/ 284 w 315"/>
                    <a:gd name="T17" fmla="*/ 0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5" h="564">
                      <a:moveTo>
                        <a:pt x="284" y="0"/>
                      </a:moveTo>
                      <a:cubicBezTo>
                        <a:pt x="131" y="34"/>
                        <a:pt x="29" y="0"/>
                        <a:pt x="29" y="0"/>
                      </a:cubicBezTo>
                      <a:cubicBezTo>
                        <a:pt x="29" y="0"/>
                        <a:pt x="10" y="450"/>
                        <a:pt x="6" y="494"/>
                      </a:cubicBezTo>
                      <a:cubicBezTo>
                        <a:pt x="0" y="552"/>
                        <a:pt x="109" y="564"/>
                        <a:pt x="114" y="494"/>
                      </a:cubicBezTo>
                      <a:cubicBezTo>
                        <a:pt x="120" y="423"/>
                        <a:pt x="138" y="99"/>
                        <a:pt x="138" y="99"/>
                      </a:cubicBezTo>
                      <a:cubicBezTo>
                        <a:pt x="172" y="99"/>
                        <a:pt x="172" y="99"/>
                        <a:pt x="172" y="99"/>
                      </a:cubicBezTo>
                      <a:cubicBezTo>
                        <a:pt x="172" y="99"/>
                        <a:pt x="187" y="429"/>
                        <a:pt x="197" y="492"/>
                      </a:cubicBezTo>
                      <a:cubicBezTo>
                        <a:pt x="208" y="555"/>
                        <a:pt x="315" y="554"/>
                        <a:pt x="311" y="485"/>
                      </a:cubicBezTo>
                      <a:cubicBezTo>
                        <a:pt x="308" y="416"/>
                        <a:pt x="284" y="0"/>
                        <a:pt x="284" y="0"/>
                      </a:cubicBezTo>
                      <a:close/>
                    </a:path>
                  </a:pathLst>
                </a:custGeom>
                <a:solidFill>
                  <a:srgbClr val="39393B"/>
                </a:solidFill>
                <a:ln>
                  <a:noFill/>
                </a:ln>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210" name="Freeform 56">
                  <a:extLst>
                    <a:ext uri="{FF2B5EF4-FFF2-40B4-BE49-F238E27FC236}">
                      <a16:creationId xmlns:a16="http://schemas.microsoft.com/office/drawing/2014/main" id="{A3848040-60F4-4037-9F8F-E992D8C60B94}"/>
                    </a:ext>
                  </a:extLst>
                </p:cNvPr>
                <p:cNvSpPr>
                  <a:spLocks/>
                </p:cNvSpPr>
                <p:nvPr/>
              </p:nvSpPr>
              <p:spPr bwMode="auto">
                <a:xfrm>
                  <a:off x="6765925" y="3182938"/>
                  <a:ext cx="42863" cy="46038"/>
                </a:xfrm>
                <a:custGeom>
                  <a:avLst/>
                  <a:gdLst>
                    <a:gd name="T0" fmla="*/ 0 w 81"/>
                    <a:gd name="T1" fmla="*/ 22 h 87"/>
                    <a:gd name="T2" fmla="*/ 45 w 81"/>
                    <a:gd name="T3" fmla="*/ 71 h 87"/>
                    <a:gd name="T4" fmla="*/ 72 w 81"/>
                    <a:gd name="T5" fmla="*/ 7 h 87"/>
                    <a:gd name="T6" fmla="*/ 0 w 81"/>
                    <a:gd name="T7" fmla="*/ 22 h 87"/>
                  </a:gdLst>
                  <a:ahLst/>
                  <a:cxnLst>
                    <a:cxn ang="0">
                      <a:pos x="T0" y="T1"/>
                    </a:cxn>
                    <a:cxn ang="0">
                      <a:pos x="T2" y="T3"/>
                    </a:cxn>
                    <a:cxn ang="0">
                      <a:pos x="T4" y="T5"/>
                    </a:cxn>
                    <a:cxn ang="0">
                      <a:pos x="T6" y="T7"/>
                    </a:cxn>
                  </a:cxnLst>
                  <a:rect l="0" t="0" r="r" b="b"/>
                  <a:pathLst>
                    <a:path w="81" h="87">
                      <a:moveTo>
                        <a:pt x="0" y="22"/>
                      </a:moveTo>
                      <a:cubicBezTo>
                        <a:pt x="0" y="22"/>
                        <a:pt x="9" y="87"/>
                        <a:pt x="45" y="71"/>
                      </a:cubicBezTo>
                      <a:cubicBezTo>
                        <a:pt x="81" y="55"/>
                        <a:pt x="72" y="7"/>
                        <a:pt x="72" y="7"/>
                      </a:cubicBezTo>
                      <a:cubicBezTo>
                        <a:pt x="42" y="0"/>
                        <a:pt x="0" y="22"/>
                        <a:pt x="0" y="22"/>
                      </a:cubicBezTo>
                      <a:close/>
                    </a:path>
                  </a:pathLst>
                </a:custGeom>
                <a:solidFill>
                  <a:srgbClr val="39393B"/>
                </a:solidFill>
                <a:ln>
                  <a:noFill/>
                </a:ln>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211" name="Freeform 57">
                  <a:extLst>
                    <a:ext uri="{FF2B5EF4-FFF2-40B4-BE49-F238E27FC236}">
                      <a16:creationId xmlns:a16="http://schemas.microsoft.com/office/drawing/2014/main" id="{429EF81A-241E-4F5E-927B-EDCBE07D0B3E}"/>
                    </a:ext>
                  </a:extLst>
                </p:cNvPr>
                <p:cNvSpPr>
                  <a:spLocks/>
                </p:cNvSpPr>
                <p:nvPr/>
              </p:nvSpPr>
              <p:spPr bwMode="auto">
                <a:xfrm>
                  <a:off x="6540500" y="3182938"/>
                  <a:ext cx="42863" cy="46038"/>
                </a:xfrm>
                <a:custGeom>
                  <a:avLst/>
                  <a:gdLst>
                    <a:gd name="T0" fmla="*/ 9 w 81"/>
                    <a:gd name="T1" fmla="*/ 7 h 87"/>
                    <a:gd name="T2" fmla="*/ 36 w 81"/>
                    <a:gd name="T3" fmla="*/ 71 h 87"/>
                    <a:gd name="T4" fmla="*/ 81 w 81"/>
                    <a:gd name="T5" fmla="*/ 22 h 87"/>
                    <a:gd name="T6" fmla="*/ 9 w 81"/>
                    <a:gd name="T7" fmla="*/ 7 h 87"/>
                  </a:gdLst>
                  <a:ahLst/>
                  <a:cxnLst>
                    <a:cxn ang="0">
                      <a:pos x="T0" y="T1"/>
                    </a:cxn>
                    <a:cxn ang="0">
                      <a:pos x="T2" y="T3"/>
                    </a:cxn>
                    <a:cxn ang="0">
                      <a:pos x="T4" y="T5"/>
                    </a:cxn>
                    <a:cxn ang="0">
                      <a:pos x="T6" y="T7"/>
                    </a:cxn>
                  </a:cxnLst>
                  <a:rect l="0" t="0" r="r" b="b"/>
                  <a:pathLst>
                    <a:path w="81" h="87">
                      <a:moveTo>
                        <a:pt x="9" y="7"/>
                      </a:moveTo>
                      <a:cubicBezTo>
                        <a:pt x="9" y="7"/>
                        <a:pt x="0" y="55"/>
                        <a:pt x="36" y="71"/>
                      </a:cubicBezTo>
                      <a:cubicBezTo>
                        <a:pt x="72" y="87"/>
                        <a:pt x="81" y="22"/>
                        <a:pt x="81" y="22"/>
                      </a:cubicBezTo>
                      <a:cubicBezTo>
                        <a:pt x="81" y="22"/>
                        <a:pt x="40" y="0"/>
                        <a:pt x="9" y="7"/>
                      </a:cubicBezTo>
                      <a:close/>
                    </a:path>
                  </a:pathLst>
                </a:custGeom>
                <a:solidFill>
                  <a:srgbClr val="39393B"/>
                </a:solidFill>
                <a:ln>
                  <a:noFill/>
                </a:ln>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grpSp>
          <p:grpSp>
            <p:nvGrpSpPr>
              <p:cNvPr id="203" name="Group 202">
                <a:extLst>
                  <a:ext uri="{FF2B5EF4-FFF2-40B4-BE49-F238E27FC236}">
                    <a16:creationId xmlns:a16="http://schemas.microsoft.com/office/drawing/2014/main" id="{D2EDA30E-B2A4-4FA2-A27B-A19F83024B8C}"/>
                  </a:ext>
                </a:extLst>
              </p:cNvPr>
              <p:cNvGrpSpPr/>
              <p:nvPr/>
            </p:nvGrpSpPr>
            <p:grpSpPr>
              <a:xfrm>
                <a:off x="6760804" y="3133725"/>
                <a:ext cx="73384" cy="101135"/>
                <a:chOff x="6398854" y="3130841"/>
                <a:chExt cx="50409" cy="65919"/>
              </a:xfrm>
            </p:grpSpPr>
            <p:sp>
              <p:nvSpPr>
                <p:cNvPr id="204" name="Freeform 18">
                  <a:extLst>
                    <a:ext uri="{FF2B5EF4-FFF2-40B4-BE49-F238E27FC236}">
                      <a16:creationId xmlns:a16="http://schemas.microsoft.com/office/drawing/2014/main" id="{E161C261-5E1F-4DA6-99CA-1DEA63B53057}"/>
                    </a:ext>
                  </a:extLst>
                </p:cNvPr>
                <p:cNvSpPr>
                  <a:spLocks/>
                </p:cNvSpPr>
                <p:nvPr/>
              </p:nvSpPr>
              <p:spPr bwMode="auto">
                <a:xfrm>
                  <a:off x="6404670" y="3165740"/>
                  <a:ext cx="26589" cy="18280"/>
                </a:xfrm>
                <a:custGeom>
                  <a:avLst/>
                  <a:gdLst>
                    <a:gd name="T0" fmla="*/ 0 w 50"/>
                    <a:gd name="T1" fmla="*/ 0 h 34"/>
                    <a:gd name="T2" fmla="*/ 25 w 50"/>
                    <a:gd name="T3" fmla="*/ 31 h 34"/>
                    <a:gd name="T4" fmla="*/ 47 w 50"/>
                    <a:gd name="T5" fmla="*/ 0 h 34"/>
                    <a:gd name="T6" fmla="*/ 0 w 50"/>
                    <a:gd name="T7" fmla="*/ 0 h 34"/>
                  </a:gdLst>
                  <a:ahLst/>
                  <a:cxnLst>
                    <a:cxn ang="0">
                      <a:pos x="T0" y="T1"/>
                    </a:cxn>
                    <a:cxn ang="0">
                      <a:pos x="T2" y="T3"/>
                    </a:cxn>
                    <a:cxn ang="0">
                      <a:pos x="T4" y="T5"/>
                    </a:cxn>
                    <a:cxn ang="0">
                      <a:pos x="T6" y="T7"/>
                    </a:cxn>
                  </a:cxnLst>
                  <a:rect l="0" t="0" r="r" b="b"/>
                  <a:pathLst>
                    <a:path w="50" h="34">
                      <a:moveTo>
                        <a:pt x="0" y="0"/>
                      </a:moveTo>
                      <a:cubicBezTo>
                        <a:pt x="0" y="0"/>
                        <a:pt x="0" y="34"/>
                        <a:pt x="25" y="31"/>
                      </a:cubicBezTo>
                      <a:cubicBezTo>
                        <a:pt x="50" y="27"/>
                        <a:pt x="47" y="0"/>
                        <a:pt x="47" y="0"/>
                      </a:cubicBezTo>
                      <a:lnTo>
                        <a:pt x="0" y="0"/>
                      </a:lnTo>
                      <a:close/>
                    </a:path>
                  </a:pathLst>
                </a:custGeom>
                <a:solidFill>
                  <a:srgbClr val="3939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205" name="Freeform 21">
                  <a:extLst>
                    <a:ext uri="{FF2B5EF4-FFF2-40B4-BE49-F238E27FC236}">
                      <a16:creationId xmlns:a16="http://schemas.microsoft.com/office/drawing/2014/main" id="{40D623FD-CBFE-4748-91D4-8713719DE306}"/>
                    </a:ext>
                  </a:extLst>
                </p:cNvPr>
                <p:cNvSpPr>
                  <a:spLocks/>
                </p:cNvSpPr>
                <p:nvPr/>
              </p:nvSpPr>
              <p:spPr bwMode="auto">
                <a:xfrm>
                  <a:off x="6398854" y="3130841"/>
                  <a:ext cx="50409" cy="65919"/>
                </a:xfrm>
                <a:custGeom>
                  <a:avLst/>
                  <a:gdLst>
                    <a:gd name="T0" fmla="*/ 51 w 95"/>
                    <a:gd name="T1" fmla="*/ 121 h 124"/>
                    <a:gd name="T2" fmla="*/ 11 w 95"/>
                    <a:gd name="T3" fmla="*/ 109 h 124"/>
                    <a:gd name="T4" fmla="*/ 2 w 95"/>
                    <a:gd name="T5" fmla="*/ 93 h 124"/>
                    <a:gd name="T6" fmla="*/ 28 w 95"/>
                    <a:gd name="T7" fmla="*/ 11 h 124"/>
                    <a:gd name="T8" fmla="*/ 44 w 95"/>
                    <a:gd name="T9" fmla="*/ 3 h 124"/>
                    <a:gd name="T10" fmla="*/ 85 w 95"/>
                    <a:gd name="T11" fmla="*/ 15 h 124"/>
                    <a:gd name="T12" fmla="*/ 93 w 95"/>
                    <a:gd name="T13" fmla="*/ 31 h 124"/>
                    <a:gd name="T14" fmla="*/ 67 w 95"/>
                    <a:gd name="T15" fmla="*/ 113 h 124"/>
                    <a:gd name="T16" fmla="*/ 51 w 95"/>
                    <a:gd name="T17" fmla="*/ 12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124">
                      <a:moveTo>
                        <a:pt x="51" y="121"/>
                      </a:moveTo>
                      <a:cubicBezTo>
                        <a:pt x="11" y="109"/>
                        <a:pt x="11" y="109"/>
                        <a:pt x="11" y="109"/>
                      </a:cubicBezTo>
                      <a:cubicBezTo>
                        <a:pt x="4" y="107"/>
                        <a:pt x="0" y="99"/>
                        <a:pt x="2" y="93"/>
                      </a:cubicBezTo>
                      <a:cubicBezTo>
                        <a:pt x="28" y="11"/>
                        <a:pt x="28" y="11"/>
                        <a:pt x="28" y="11"/>
                      </a:cubicBezTo>
                      <a:cubicBezTo>
                        <a:pt x="30" y="4"/>
                        <a:pt x="37" y="0"/>
                        <a:pt x="44" y="3"/>
                      </a:cubicBezTo>
                      <a:cubicBezTo>
                        <a:pt x="85" y="15"/>
                        <a:pt x="85" y="15"/>
                        <a:pt x="85" y="15"/>
                      </a:cubicBezTo>
                      <a:cubicBezTo>
                        <a:pt x="91" y="17"/>
                        <a:pt x="95" y="25"/>
                        <a:pt x="93" y="31"/>
                      </a:cubicBezTo>
                      <a:cubicBezTo>
                        <a:pt x="67" y="113"/>
                        <a:pt x="67" y="113"/>
                        <a:pt x="67" y="113"/>
                      </a:cubicBezTo>
                      <a:cubicBezTo>
                        <a:pt x="65" y="120"/>
                        <a:pt x="58" y="124"/>
                        <a:pt x="51" y="121"/>
                      </a:cubicBezTo>
                      <a:close/>
                    </a:path>
                  </a:pathLst>
                </a:custGeom>
                <a:solidFill>
                  <a:srgbClr val="0498D1">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206" name="Freeform 22">
                  <a:extLst>
                    <a:ext uri="{FF2B5EF4-FFF2-40B4-BE49-F238E27FC236}">
                      <a16:creationId xmlns:a16="http://schemas.microsoft.com/office/drawing/2014/main" id="{B3CCC866-2B33-4464-A632-8782DA6A8EA2}"/>
                    </a:ext>
                  </a:extLst>
                </p:cNvPr>
                <p:cNvSpPr>
                  <a:spLocks/>
                </p:cNvSpPr>
                <p:nvPr/>
              </p:nvSpPr>
              <p:spPr bwMode="auto">
                <a:xfrm>
                  <a:off x="6405778" y="3137766"/>
                  <a:ext cx="37114" cy="52071"/>
                </a:xfrm>
                <a:custGeom>
                  <a:avLst/>
                  <a:gdLst>
                    <a:gd name="T0" fmla="*/ 28 w 70"/>
                    <a:gd name="T1" fmla="*/ 0 h 98"/>
                    <a:gd name="T2" fmla="*/ 26 w 70"/>
                    <a:gd name="T3" fmla="*/ 1 h 98"/>
                    <a:gd name="T4" fmla="*/ 0 w 70"/>
                    <a:gd name="T5" fmla="*/ 83 h 98"/>
                    <a:gd name="T6" fmla="*/ 1 w 70"/>
                    <a:gd name="T7" fmla="*/ 85 h 98"/>
                    <a:gd name="T8" fmla="*/ 41 w 70"/>
                    <a:gd name="T9" fmla="*/ 98 h 98"/>
                    <a:gd name="T10" fmla="*/ 44 w 70"/>
                    <a:gd name="T11" fmla="*/ 97 h 98"/>
                    <a:gd name="T12" fmla="*/ 69 w 70"/>
                    <a:gd name="T13" fmla="*/ 15 h 98"/>
                    <a:gd name="T14" fmla="*/ 68 w 70"/>
                    <a:gd name="T15" fmla="*/ 13 h 98"/>
                    <a:gd name="T16" fmla="*/ 28 w 70"/>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98">
                      <a:moveTo>
                        <a:pt x="28" y="0"/>
                      </a:moveTo>
                      <a:cubicBezTo>
                        <a:pt x="27" y="0"/>
                        <a:pt x="26" y="0"/>
                        <a:pt x="26" y="1"/>
                      </a:cubicBezTo>
                      <a:cubicBezTo>
                        <a:pt x="0" y="83"/>
                        <a:pt x="0" y="83"/>
                        <a:pt x="0" y="83"/>
                      </a:cubicBezTo>
                      <a:cubicBezTo>
                        <a:pt x="0" y="84"/>
                        <a:pt x="0" y="85"/>
                        <a:pt x="1" y="85"/>
                      </a:cubicBezTo>
                      <a:cubicBezTo>
                        <a:pt x="41" y="98"/>
                        <a:pt x="41" y="98"/>
                        <a:pt x="41" y="98"/>
                      </a:cubicBezTo>
                      <a:cubicBezTo>
                        <a:pt x="42" y="98"/>
                        <a:pt x="43" y="98"/>
                        <a:pt x="44" y="97"/>
                      </a:cubicBezTo>
                      <a:cubicBezTo>
                        <a:pt x="69" y="15"/>
                        <a:pt x="69" y="15"/>
                        <a:pt x="69" y="15"/>
                      </a:cubicBezTo>
                      <a:cubicBezTo>
                        <a:pt x="70" y="14"/>
                        <a:pt x="69" y="13"/>
                        <a:pt x="68" y="13"/>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grpSp>
        </p:grpSp>
        <p:grpSp>
          <p:nvGrpSpPr>
            <p:cNvPr id="63" name="Group 62">
              <a:extLst>
                <a:ext uri="{FF2B5EF4-FFF2-40B4-BE49-F238E27FC236}">
                  <a16:creationId xmlns:a16="http://schemas.microsoft.com/office/drawing/2014/main" id="{94AB6FB4-77FC-41E4-808A-6F8700251319}"/>
                </a:ext>
              </a:extLst>
            </p:cNvPr>
            <p:cNvGrpSpPr/>
            <p:nvPr/>
          </p:nvGrpSpPr>
          <p:grpSpPr>
            <a:xfrm>
              <a:off x="7417912" y="3348938"/>
              <a:ext cx="1527126" cy="967469"/>
              <a:chOff x="7228936" y="3348938"/>
              <a:chExt cx="1527126" cy="967469"/>
            </a:xfrm>
          </p:grpSpPr>
          <p:sp>
            <p:nvSpPr>
              <p:cNvPr id="159" name="Rounded Rectangle 49">
                <a:extLst>
                  <a:ext uri="{FF2B5EF4-FFF2-40B4-BE49-F238E27FC236}">
                    <a16:creationId xmlns:a16="http://schemas.microsoft.com/office/drawing/2014/main" id="{9D152E2C-8005-4E45-A945-4CCE10D36D92}"/>
                  </a:ext>
                </a:extLst>
              </p:cNvPr>
              <p:cNvSpPr/>
              <p:nvPr/>
            </p:nvSpPr>
            <p:spPr>
              <a:xfrm>
                <a:off x="7228936" y="3461099"/>
                <a:ext cx="1461941" cy="855308"/>
              </a:xfrm>
              <a:prstGeom prst="roundRect">
                <a:avLst>
                  <a:gd name="adj" fmla="val 2225"/>
                </a:avLst>
              </a:prstGeom>
              <a:noFill/>
              <a:ln w="25400" cap="flat" cmpd="sng" algn="ctr">
                <a:solidFill>
                  <a:srgbClr val="FFFFFF">
                    <a:lumMod val="50000"/>
                  </a:srgbClr>
                </a:solidFill>
                <a:prstDash val="sysDash"/>
              </a:ln>
              <a:effectLst/>
            </p:spPr>
            <p:txBody>
              <a:bodyPr lIns="97536" tIns="48768" rIns="97536" bIns="48768" rtlCol="0" anchor="t">
                <a:noAutofit/>
              </a:bodyPr>
              <a:lstStyle/>
              <a:p>
                <a:pPr defTabSz="914354" fontAlgn="base">
                  <a:spcBef>
                    <a:spcPct val="0"/>
                  </a:spcBef>
                  <a:spcAft>
                    <a:spcPct val="0"/>
                  </a:spcAft>
                  <a:defRPr/>
                </a:pPr>
                <a:r>
                  <a:rPr lang="en-US" sz="1333" b="1" kern="0">
                    <a:solidFill>
                      <a:srgbClr val="282828"/>
                    </a:solidFill>
                    <a:latin typeface="CiscoSansTT ExtraLight"/>
                    <a:ea typeface="ＭＳ Ｐゴシック" charset="0"/>
                    <a:cs typeface="Arial"/>
                    <a:sym typeface="Arial"/>
                  </a:rPr>
                  <a:t>Data Center</a:t>
                </a:r>
              </a:p>
            </p:txBody>
          </p:sp>
          <p:grpSp>
            <p:nvGrpSpPr>
              <p:cNvPr id="160" name="Group 159">
                <a:extLst>
                  <a:ext uri="{FF2B5EF4-FFF2-40B4-BE49-F238E27FC236}">
                    <a16:creationId xmlns:a16="http://schemas.microsoft.com/office/drawing/2014/main" id="{8E1E9CD3-A0CE-498D-841D-BD72480B2259}"/>
                  </a:ext>
                </a:extLst>
              </p:cNvPr>
              <p:cNvGrpSpPr/>
              <p:nvPr/>
            </p:nvGrpSpPr>
            <p:grpSpPr>
              <a:xfrm>
                <a:off x="8481742" y="3349488"/>
                <a:ext cx="274320" cy="274320"/>
                <a:chOff x="5638829" y="2574999"/>
                <a:chExt cx="293235" cy="294128"/>
              </a:xfrm>
            </p:grpSpPr>
            <p:sp>
              <p:nvSpPr>
                <p:cNvPr id="195" name="Oval 194">
                  <a:extLst>
                    <a:ext uri="{FF2B5EF4-FFF2-40B4-BE49-F238E27FC236}">
                      <a16:creationId xmlns:a16="http://schemas.microsoft.com/office/drawing/2014/main" id="{D0DF4133-EB78-4DC3-B44A-8F7612E8D9FD}"/>
                    </a:ext>
                  </a:extLst>
                </p:cNvPr>
                <p:cNvSpPr/>
                <p:nvPr/>
              </p:nvSpPr>
              <p:spPr>
                <a:xfrm>
                  <a:off x="5638829" y="2574999"/>
                  <a:ext cx="293235" cy="294128"/>
                </a:xfrm>
                <a:prstGeom prst="ellipse">
                  <a:avLst/>
                </a:prstGeom>
                <a:solidFill>
                  <a:srgbClr val="FFFFFF">
                    <a:lumMod val="50000"/>
                  </a:srgbClr>
                </a:solidFill>
                <a:ln w="25400" cap="flat">
                  <a:solidFill>
                    <a:srgbClr val="FFFFFF">
                      <a:lumMod val="65000"/>
                    </a:srgbClr>
                  </a:solidFill>
                  <a:round/>
                  <a:headEnd type="none" w="med" len="med"/>
                  <a:tailEnd type="none" w="med" len="med"/>
                </a:ln>
                <a:effectLst/>
              </p:spPr>
              <p:txBody>
                <a:bodyPr lIns="0" tIns="0" rIns="0" bIns="0"/>
                <a:lstStyle/>
                <a:p>
                  <a:pPr defTabSz="914354" eaLnBrk="0" fontAlgn="base" hangingPunct="0">
                    <a:lnSpc>
                      <a:spcPct val="90000"/>
                    </a:lnSpc>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grpSp>
              <p:nvGrpSpPr>
                <p:cNvPr id="196" name="Group 195">
                  <a:extLst>
                    <a:ext uri="{FF2B5EF4-FFF2-40B4-BE49-F238E27FC236}">
                      <a16:creationId xmlns:a16="http://schemas.microsoft.com/office/drawing/2014/main" id="{1DAA46C8-C338-49FF-9863-03CD750747F5}"/>
                    </a:ext>
                  </a:extLst>
                </p:cNvPr>
                <p:cNvGrpSpPr/>
                <p:nvPr/>
              </p:nvGrpSpPr>
              <p:grpSpPr>
                <a:xfrm>
                  <a:off x="5749077" y="2606625"/>
                  <a:ext cx="72738" cy="230877"/>
                  <a:chOff x="4707334" y="2441614"/>
                  <a:chExt cx="106495" cy="338027"/>
                </a:xfrm>
              </p:grpSpPr>
              <p:sp>
                <p:nvSpPr>
                  <p:cNvPr id="200" name="Freeform 5">
                    <a:extLst>
                      <a:ext uri="{FF2B5EF4-FFF2-40B4-BE49-F238E27FC236}">
                        <a16:creationId xmlns:a16="http://schemas.microsoft.com/office/drawing/2014/main" id="{EB5678A8-5F86-42F6-BE32-CF99DFF8A22C}"/>
                      </a:ext>
                    </a:extLst>
                  </p:cNvPr>
                  <p:cNvSpPr>
                    <a:spLocks/>
                  </p:cNvSpPr>
                  <p:nvPr/>
                </p:nvSpPr>
                <p:spPr bwMode="auto">
                  <a:xfrm rot="16200000" flipH="1">
                    <a:off x="4697152" y="2451796"/>
                    <a:ext cx="126855" cy="106491"/>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40" fontAlgn="base">
                      <a:spcBef>
                        <a:spcPct val="0"/>
                      </a:spcBef>
                      <a:spcAft>
                        <a:spcPct val="0"/>
                      </a:spcAft>
                      <a:defRPr/>
                    </a:pPr>
                    <a:endParaRPr lang="en-US" sz="2400">
                      <a:solidFill>
                        <a:srgbClr val="39393B"/>
                      </a:solidFill>
                      <a:latin typeface="CiscoSansTT ExtraLight"/>
                      <a:sym typeface="Arial"/>
                    </a:endParaRPr>
                  </a:p>
                </p:txBody>
              </p:sp>
              <p:sp>
                <p:nvSpPr>
                  <p:cNvPr id="201" name="Freeform 5">
                    <a:extLst>
                      <a:ext uri="{FF2B5EF4-FFF2-40B4-BE49-F238E27FC236}">
                        <a16:creationId xmlns:a16="http://schemas.microsoft.com/office/drawing/2014/main" id="{B2850CF8-B04D-474E-9B0B-7F072F32094E}"/>
                      </a:ext>
                    </a:extLst>
                  </p:cNvPr>
                  <p:cNvSpPr>
                    <a:spLocks/>
                  </p:cNvSpPr>
                  <p:nvPr/>
                </p:nvSpPr>
                <p:spPr bwMode="auto">
                  <a:xfrm rot="5400000" flipH="1">
                    <a:off x="4697154" y="2662967"/>
                    <a:ext cx="126855" cy="106494"/>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40" fontAlgn="base">
                      <a:spcBef>
                        <a:spcPct val="0"/>
                      </a:spcBef>
                      <a:spcAft>
                        <a:spcPct val="0"/>
                      </a:spcAft>
                      <a:defRPr/>
                    </a:pPr>
                    <a:endParaRPr lang="en-US" sz="2400">
                      <a:solidFill>
                        <a:srgbClr val="39393B"/>
                      </a:solidFill>
                      <a:latin typeface="CiscoSansTT ExtraLight"/>
                      <a:sym typeface="Arial"/>
                    </a:endParaRPr>
                  </a:p>
                </p:txBody>
              </p:sp>
            </p:grpSp>
            <p:grpSp>
              <p:nvGrpSpPr>
                <p:cNvPr id="197" name="Group 196">
                  <a:extLst>
                    <a:ext uri="{FF2B5EF4-FFF2-40B4-BE49-F238E27FC236}">
                      <a16:creationId xmlns:a16="http://schemas.microsoft.com/office/drawing/2014/main" id="{4D42E2E9-FAE8-44A0-A7BF-28F528125511}"/>
                    </a:ext>
                  </a:extLst>
                </p:cNvPr>
                <p:cNvGrpSpPr/>
                <p:nvPr/>
              </p:nvGrpSpPr>
              <p:grpSpPr>
                <a:xfrm rot="5400000">
                  <a:off x="5749078" y="2606626"/>
                  <a:ext cx="72737" cy="230874"/>
                  <a:chOff x="4801866" y="2441614"/>
                  <a:chExt cx="106494" cy="338023"/>
                </a:xfrm>
              </p:grpSpPr>
              <p:sp>
                <p:nvSpPr>
                  <p:cNvPr id="198" name="Freeform 5">
                    <a:extLst>
                      <a:ext uri="{FF2B5EF4-FFF2-40B4-BE49-F238E27FC236}">
                        <a16:creationId xmlns:a16="http://schemas.microsoft.com/office/drawing/2014/main" id="{27EBE2F8-FB17-44E2-9FC0-B6A1A5AC11AC}"/>
                      </a:ext>
                    </a:extLst>
                  </p:cNvPr>
                  <p:cNvSpPr>
                    <a:spLocks/>
                  </p:cNvSpPr>
                  <p:nvPr/>
                </p:nvSpPr>
                <p:spPr bwMode="auto">
                  <a:xfrm rot="16200000" flipH="1">
                    <a:off x="4791685" y="2451795"/>
                    <a:ext cx="126855" cy="106494"/>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40" fontAlgn="base">
                      <a:spcBef>
                        <a:spcPct val="0"/>
                      </a:spcBef>
                      <a:spcAft>
                        <a:spcPct val="0"/>
                      </a:spcAft>
                      <a:defRPr/>
                    </a:pPr>
                    <a:endParaRPr lang="en-US" sz="2400">
                      <a:solidFill>
                        <a:srgbClr val="39393B"/>
                      </a:solidFill>
                      <a:latin typeface="CiscoSansTT ExtraLight"/>
                      <a:sym typeface="Arial"/>
                    </a:endParaRPr>
                  </a:p>
                </p:txBody>
              </p:sp>
              <p:sp>
                <p:nvSpPr>
                  <p:cNvPr id="199" name="Freeform 5">
                    <a:extLst>
                      <a:ext uri="{FF2B5EF4-FFF2-40B4-BE49-F238E27FC236}">
                        <a16:creationId xmlns:a16="http://schemas.microsoft.com/office/drawing/2014/main" id="{3A5063DF-DC36-4323-975A-093FC4B4455E}"/>
                      </a:ext>
                    </a:extLst>
                  </p:cNvPr>
                  <p:cNvSpPr>
                    <a:spLocks/>
                  </p:cNvSpPr>
                  <p:nvPr/>
                </p:nvSpPr>
                <p:spPr bwMode="auto">
                  <a:xfrm rot="5400000" flipH="1">
                    <a:off x="4791684" y="2662964"/>
                    <a:ext cx="126855" cy="106491"/>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40" fontAlgn="base">
                      <a:spcBef>
                        <a:spcPct val="0"/>
                      </a:spcBef>
                      <a:spcAft>
                        <a:spcPct val="0"/>
                      </a:spcAft>
                      <a:defRPr/>
                    </a:pPr>
                    <a:endParaRPr lang="en-US" sz="2400">
                      <a:solidFill>
                        <a:srgbClr val="39393B"/>
                      </a:solidFill>
                      <a:latin typeface="CiscoSansTT ExtraLight"/>
                      <a:sym typeface="Arial"/>
                    </a:endParaRPr>
                  </a:p>
                </p:txBody>
              </p:sp>
            </p:grpSp>
          </p:grpSp>
          <p:grpSp>
            <p:nvGrpSpPr>
              <p:cNvPr id="161" name="Group 160">
                <a:extLst>
                  <a:ext uri="{FF2B5EF4-FFF2-40B4-BE49-F238E27FC236}">
                    <a16:creationId xmlns:a16="http://schemas.microsoft.com/office/drawing/2014/main" id="{BDDC582C-E096-42A8-9283-1F59A7B6891F}"/>
                  </a:ext>
                </a:extLst>
              </p:cNvPr>
              <p:cNvGrpSpPr/>
              <p:nvPr/>
            </p:nvGrpSpPr>
            <p:grpSpPr>
              <a:xfrm>
                <a:off x="8118924" y="3348938"/>
                <a:ext cx="274870" cy="274870"/>
                <a:chOff x="8050590" y="3539438"/>
                <a:chExt cx="274870" cy="274870"/>
              </a:xfrm>
            </p:grpSpPr>
            <p:sp>
              <p:nvSpPr>
                <p:cNvPr id="187" name="Oval 263">
                  <a:extLst>
                    <a:ext uri="{FF2B5EF4-FFF2-40B4-BE49-F238E27FC236}">
                      <a16:creationId xmlns:a16="http://schemas.microsoft.com/office/drawing/2014/main" id="{50C49165-FFAB-464C-9640-D03B0E667C90}"/>
                    </a:ext>
                  </a:extLst>
                </p:cNvPr>
                <p:cNvSpPr>
                  <a:spLocks/>
                </p:cNvSpPr>
                <p:nvPr/>
              </p:nvSpPr>
              <p:spPr bwMode="auto">
                <a:xfrm>
                  <a:off x="8050590" y="3539438"/>
                  <a:ext cx="274870" cy="274870"/>
                </a:xfrm>
                <a:prstGeom prst="ellipse">
                  <a:avLst/>
                </a:prstGeom>
                <a:solidFill>
                  <a:srgbClr val="FFFFFF">
                    <a:lumMod val="50000"/>
                  </a:srgbClr>
                </a:solidFill>
                <a:ln w="25400" cap="flat">
                  <a:solidFill>
                    <a:srgbClr val="FFFFFF">
                      <a:lumMod val="65000"/>
                    </a:srgbClr>
                  </a:solidFill>
                  <a:round/>
                  <a:headEnd type="none" w="med" len="med"/>
                  <a:tailEnd type="none" w="med" len="med"/>
                </a:ln>
                <a:effectLst/>
              </p:spPr>
              <p:txBody>
                <a:bodyPr lIns="0" tIns="0" rIns="0" bIns="0"/>
                <a:lstStyle/>
                <a:p>
                  <a:pPr defTabSz="914354" eaLnBrk="0" fontAlgn="base" hangingPunct="0">
                    <a:lnSpc>
                      <a:spcPct val="90000"/>
                    </a:lnSpc>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grpSp>
              <p:nvGrpSpPr>
                <p:cNvPr id="188" name="Group 187">
                  <a:extLst>
                    <a:ext uri="{FF2B5EF4-FFF2-40B4-BE49-F238E27FC236}">
                      <a16:creationId xmlns:a16="http://schemas.microsoft.com/office/drawing/2014/main" id="{4E79D943-0F15-4516-882C-B2811E73E776}"/>
                    </a:ext>
                  </a:extLst>
                </p:cNvPr>
                <p:cNvGrpSpPr/>
                <p:nvPr/>
              </p:nvGrpSpPr>
              <p:grpSpPr>
                <a:xfrm>
                  <a:off x="8105408" y="3619812"/>
                  <a:ext cx="160527" cy="118145"/>
                  <a:chOff x="5184662" y="2694894"/>
                  <a:chExt cx="164415" cy="121006"/>
                </a:xfrm>
              </p:grpSpPr>
              <p:sp>
                <p:nvSpPr>
                  <p:cNvPr id="189" name="Rectangle 49">
                    <a:extLst>
                      <a:ext uri="{FF2B5EF4-FFF2-40B4-BE49-F238E27FC236}">
                        <a16:creationId xmlns:a16="http://schemas.microsoft.com/office/drawing/2014/main" id="{D97BC3BE-80F0-4EDE-BD5F-6DC4A1EA50AF}"/>
                      </a:ext>
                    </a:extLst>
                  </p:cNvPr>
                  <p:cNvSpPr>
                    <a:spLocks noChangeArrowheads="1"/>
                  </p:cNvSpPr>
                  <p:nvPr/>
                </p:nvSpPr>
                <p:spPr bwMode="auto">
                  <a:xfrm>
                    <a:off x="5184662" y="2777916"/>
                    <a:ext cx="109610" cy="37984"/>
                  </a:xfrm>
                  <a:prstGeom prst="rect">
                    <a:avLst/>
                  </a:prstGeom>
                  <a:noFill/>
                  <a:ln w="12700">
                    <a:solidFill>
                      <a:srgbClr val="FFFFFF"/>
                    </a:solidFill>
                  </a:ln>
                </p:spPr>
                <p:txBody>
                  <a:bodyPr vert="horz" wrap="square" lIns="121888" tIns="60944" rIns="121888" bIns="60944" numCol="1" anchor="t" anchorCtr="0" compatLnSpc="1">
                    <a:prstTxWarp prst="textNoShape">
                      <a:avLst/>
                    </a:prstTxWarp>
                  </a:bodyPr>
                  <a:lstStyle/>
                  <a:p>
                    <a:pPr defTabSz="1218824" fontAlgn="base">
                      <a:spcBef>
                        <a:spcPct val="0"/>
                      </a:spcBef>
                      <a:spcAft>
                        <a:spcPct val="0"/>
                      </a:spcAft>
                      <a:defRPr/>
                    </a:pPr>
                    <a:endParaRPr lang="en-US" sz="2399" kern="0">
                      <a:solidFill>
                        <a:srgbClr val="FFFFFF"/>
                      </a:solidFill>
                      <a:latin typeface="CiscoSansTT ExtraLight"/>
                      <a:ea typeface="ＭＳ Ｐゴシック" charset="0"/>
                      <a:cs typeface="Arial"/>
                      <a:sym typeface="Arial"/>
                    </a:endParaRPr>
                  </a:p>
                </p:txBody>
              </p:sp>
              <p:sp>
                <p:nvSpPr>
                  <p:cNvPr id="190" name="Rectangle 50">
                    <a:extLst>
                      <a:ext uri="{FF2B5EF4-FFF2-40B4-BE49-F238E27FC236}">
                        <a16:creationId xmlns:a16="http://schemas.microsoft.com/office/drawing/2014/main" id="{AEB19A22-B277-4A39-9360-4E2437A75661}"/>
                      </a:ext>
                    </a:extLst>
                  </p:cNvPr>
                  <p:cNvSpPr>
                    <a:spLocks noChangeArrowheads="1"/>
                  </p:cNvSpPr>
                  <p:nvPr/>
                </p:nvSpPr>
                <p:spPr bwMode="auto">
                  <a:xfrm>
                    <a:off x="5239467" y="2736133"/>
                    <a:ext cx="109610" cy="37984"/>
                  </a:xfrm>
                  <a:prstGeom prst="rect">
                    <a:avLst/>
                  </a:prstGeom>
                  <a:noFill/>
                  <a:ln w="12700">
                    <a:solidFill>
                      <a:srgbClr val="FFFFFF"/>
                    </a:solidFill>
                  </a:ln>
                </p:spPr>
                <p:txBody>
                  <a:bodyPr vert="horz" wrap="square" lIns="121888" tIns="60944" rIns="121888" bIns="60944" numCol="1" anchor="t" anchorCtr="0" compatLnSpc="1">
                    <a:prstTxWarp prst="textNoShape">
                      <a:avLst/>
                    </a:prstTxWarp>
                  </a:bodyPr>
                  <a:lstStyle/>
                  <a:p>
                    <a:pPr defTabSz="1218824" fontAlgn="base">
                      <a:spcBef>
                        <a:spcPct val="0"/>
                      </a:spcBef>
                      <a:spcAft>
                        <a:spcPct val="0"/>
                      </a:spcAft>
                      <a:defRPr/>
                    </a:pPr>
                    <a:endParaRPr lang="en-US" sz="2399" kern="0">
                      <a:solidFill>
                        <a:srgbClr val="FFFFFF"/>
                      </a:solidFill>
                      <a:latin typeface="CiscoSansTT ExtraLight"/>
                      <a:ea typeface="ＭＳ Ｐゴシック" charset="0"/>
                      <a:cs typeface="Arial"/>
                      <a:sym typeface="Arial"/>
                    </a:endParaRPr>
                  </a:p>
                </p:txBody>
              </p:sp>
              <p:sp>
                <p:nvSpPr>
                  <p:cNvPr id="191" name="Rectangle 51">
                    <a:extLst>
                      <a:ext uri="{FF2B5EF4-FFF2-40B4-BE49-F238E27FC236}">
                        <a16:creationId xmlns:a16="http://schemas.microsoft.com/office/drawing/2014/main" id="{A4DEA4C5-C12E-4474-BA54-3843B2F97C51}"/>
                      </a:ext>
                    </a:extLst>
                  </p:cNvPr>
                  <p:cNvSpPr>
                    <a:spLocks noChangeArrowheads="1"/>
                  </p:cNvSpPr>
                  <p:nvPr/>
                </p:nvSpPr>
                <p:spPr bwMode="auto">
                  <a:xfrm>
                    <a:off x="5299156" y="2777916"/>
                    <a:ext cx="49921" cy="37984"/>
                  </a:xfrm>
                  <a:prstGeom prst="rect">
                    <a:avLst/>
                  </a:prstGeom>
                  <a:noFill/>
                  <a:ln w="12700">
                    <a:solidFill>
                      <a:srgbClr val="FFFFFF"/>
                    </a:solidFill>
                  </a:ln>
                </p:spPr>
                <p:txBody>
                  <a:bodyPr vert="horz" wrap="square" lIns="121888" tIns="60944" rIns="121888" bIns="60944" numCol="1" anchor="t" anchorCtr="0" compatLnSpc="1">
                    <a:prstTxWarp prst="textNoShape">
                      <a:avLst/>
                    </a:prstTxWarp>
                  </a:bodyPr>
                  <a:lstStyle/>
                  <a:p>
                    <a:pPr defTabSz="1218824" fontAlgn="base">
                      <a:spcBef>
                        <a:spcPct val="0"/>
                      </a:spcBef>
                      <a:spcAft>
                        <a:spcPct val="0"/>
                      </a:spcAft>
                      <a:defRPr/>
                    </a:pPr>
                    <a:endParaRPr lang="en-US" sz="2399" kern="0">
                      <a:solidFill>
                        <a:srgbClr val="FFFFFF"/>
                      </a:solidFill>
                      <a:latin typeface="CiscoSansTT ExtraLight"/>
                      <a:ea typeface="ＭＳ Ｐゴシック" charset="0"/>
                      <a:cs typeface="Arial"/>
                      <a:sym typeface="Arial"/>
                    </a:endParaRPr>
                  </a:p>
                </p:txBody>
              </p:sp>
              <p:sp>
                <p:nvSpPr>
                  <p:cNvPr id="192" name="Rectangle 52">
                    <a:extLst>
                      <a:ext uri="{FF2B5EF4-FFF2-40B4-BE49-F238E27FC236}">
                        <a16:creationId xmlns:a16="http://schemas.microsoft.com/office/drawing/2014/main" id="{702E612E-8570-4768-9F63-2F15CFE88026}"/>
                      </a:ext>
                    </a:extLst>
                  </p:cNvPr>
                  <p:cNvSpPr>
                    <a:spLocks noChangeArrowheads="1"/>
                  </p:cNvSpPr>
                  <p:nvPr/>
                </p:nvSpPr>
                <p:spPr bwMode="auto">
                  <a:xfrm>
                    <a:off x="5299156" y="2694894"/>
                    <a:ext cx="49921" cy="37441"/>
                  </a:xfrm>
                  <a:prstGeom prst="rect">
                    <a:avLst/>
                  </a:prstGeom>
                  <a:noFill/>
                  <a:ln w="12700">
                    <a:solidFill>
                      <a:srgbClr val="FFFFFF"/>
                    </a:solidFill>
                  </a:ln>
                </p:spPr>
                <p:txBody>
                  <a:bodyPr vert="horz" wrap="square" lIns="121888" tIns="60944" rIns="121888" bIns="60944" numCol="1" anchor="t" anchorCtr="0" compatLnSpc="1">
                    <a:prstTxWarp prst="textNoShape">
                      <a:avLst/>
                    </a:prstTxWarp>
                  </a:bodyPr>
                  <a:lstStyle/>
                  <a:p>
                    <a:pPr defTabSz="1218824" fontAlgn="base">
                      <a:spcBef>
                        <a:spcPct val="0"/>
                      </a:spcBef>
                      <a:spcAft>
                        <a:spcPct val="0"/>
                      </a:spcAft>
                      <a:defRPr/>
                    </a:pPr>
                    <a:endParaRPr lang="en-US" sz="2399" kern="0">
                      <a:solidFill>
                        <a:srgbClr val="FFFFFF"/>
                      </a:solidFill>
                      <a:latin typeface="CiscoSansTT ExtraLight"/>
                      <a:ea typeface="ＭＳ Ｐゴシック" charset="0"/>
                      <a:cs typeface="Arial"/>
                      <a:sym typeface="Arial"/>
                    </a:endParaRPr>
                  </a:p>
                </p:txBody>
              </p:sp>
              <p:sp>
                <p:nvSpPr>
                  <p:cNvPr id="193" name="Rectangle 53">
                    <a:extLst>
                      <a:ext uri="{FF2B5EF4-FFF2-40B4-BE49-F238E27FC236}">
                        <a16:creationId xmlns:a16="http://schemas.microsoft.com/office/drawing/2014/main" id="{50D5DF23-8999-45FC-9D76-4384938F8361}"/>
                      </a:ext>
                    </a:extLst>
                  </p:cNvPr>
                  <p:cNvSpPr>
                    <a:spLocks noChangeArrowheads="1"/>
                  </p:cNvSpPr>
                  <p:nvPr/>
                </p:nvSpPr>
                <p:spPr bwMode="auto">
                  <a:xfrm>
                    <a:off x="5184662" y="2736133"/>
                    <a:ext cx="49379" cy="37984"/>
                  </a:xfrm>
                  <a:prstGeom prst="rect">
                    <a:avLst/>
                  </a:prstGeom>
                  <a:noFill/>
                  <a:ln w="12700">
                    <a:solidFill>
                      <a:srgbClr val="FFFFFF"/>
                    </a:solidFill>
                  </a:ln>
                </p:spPr>
                <p:txBody>
                  <a:bodyPr vert="horz" wrap="square" lIns="121888" tIns="60944" rIns="121888" bIns="60944" numCol="1" anchor="t" anchorCtr="0" compatLnSpc="1">
                    <a:prstTxWarp prst="textNoShape">
                      <a:avLst/>
                    </a:prstTxWarp>
                  </a:bodyPr>
                  <a:lstStyle/>
                  <a:p>
                    <a:pPr defTabSz="1218824" fontAlgn="base">
                      <a:spcBef>
                        <a:spcPct val="0"/>
                      </a:spcBef>
                      <a:spcAft>
                        <a:spcPct val="0"/>
                      </a:spcAft>
                      <a:defRPr/>
                    </a:pPr>
                    <a:endParaRPr lang="en-US" sz="2399" kern="0">
                      <a:solidFill>
                        <a:srgbClr val="FFFFFF"/>
                      </a:solidFill>
                      <a:latin typeface="CiscoSansTT ExtraLight"/>
                      <a:ea typeface="ＭＳ Ｐゴシック" charset="0"/>
                      <a:cs typeface="Arial"/>
                      <a:sym typeface="Arial"/>
                    </a:endParaRPr>
                  </a:p>
                </p:txBody>
              </p:sp>
              <p:sp>
                <p:nvSpPr>
                  <p:cNvPr id="194" name="Rectangle 54">
                    <a:extLst>
                      <a:ext uri="{FF2B5EF4-FFF2-40B4-BE49-F238E27FC236}">
                        <a16:creationId xmlns:a16="http://schemas.microsoft.com/office/drawing/2014/main" id="{4920D99B-B5F0-416D-80DD-33E91DCFAC41}"/>
                      </a:ext>
                    </a:extLst>
                  </p:cNvPr>
                  <p:cNvSpPr>
                    <a:spLocks noChangeArrowheads="1"/>
                  </p:cNvSpPr>
                  <p:nvPr/>
                </p:nvSpPr>
                <p:spPr bwMode="auto">
                  <a:xfrm>
                    <a:off x="5184662" y="2694894"/>
                    <a:ext cx="109610" cy="37441"/>
                  </a:xfrm>
                  <a:prstGeom prst="rect">
                    <a:avLst/>
                  </a:prstGeom>
                  <a:noFill/>
                  <a:ln w="12700">
                    <a:solidFill>
                      <a:srgbClr val="FFFFFF"/>
                    </a:solidFill>
                  </a:ln>
                </p:spPr>
                <p:txBody>
                  <a:bodyPr vert="horz" wrap="square" lIns="121888" tIns="60944" rIns="121888" bIns="60944" numCol="1" anchor="t" anchorCtr="0" compatLnSpc="1">
                    <a:prstTxWarp prst="textNoShape">
                      <a:avLst/>
                    </a:prstTxWarp>
                  </a:bodyPr>
                  <a:lstStyle/>
                  <a:p>
                    <a:pPr defTabSz="1218824" fontAlgn="base">
                      <a:spcBef>
                        <a:spcPct val="0"/>
                      </a:spcBef>
                      <a:spcAft>
                        <a:spcPct val="0"/>
                      </a:spcAft>
                      <a:defRPr/>
                    </a:pPr>
                    <a:endParaRPr lang="en-US" sz="2399" kern="0">
                      <a:solidFill>
                        <a:srgbClr val="FFFFFF"/>
                      </a:solidFill>
                      <a:latin typeface="CiscoSansTT ExtraLight"/>
                      <a:ea typeface="ＭＳ Ｐゴシック" charset="0"/>
                      <a:cs typeface="Arial"/>
                      <a:sym typeface="Arial"/>
                    </a:endParaRPr>
                  </a:p>
                </p:txBody>
              </p:sp>
            </p:grpSp>
          </p:grpSp>
          <p:grpSp>
            <p:nvGrpSpPr>
              <p:cNvPr id="162" name="Group 161">
                <a:extLst>
                  <a:ext uri="{FF2B5EF4-FFF2-40B4-BE49-F238E27FC236}">
                    <a16:creationId xmlns:a16="http://schemas.microsoft.com/office/drawing/2014/main" id="{39EA7DC1-CA3D-42B4-AE47-854B68CE7523}"/>
                  </a:ext>
                </a:extLst>
              </p:cNvPr>
              <p:cNvGrpSpPr/>
              <p:nvPr/>
            </p:nvGrpSpPr>
            <p:grpSpPr>
              <a:xfrm>
                <a:off x="7612380" y="3639530"/>
                <a:ext cx="1007512" cy="635477"/>
                <a:chOff x="3972061" y="1965960"/>
                <a:chExt cx="788756" cy="497499"/>
              </a:xfrm>
            </p:grpSpPr>
            <p:sp>
              <p:nvSpPr>
                <p:cNvPr id="163" name="Rectangle: Rounded Corners 162">
                  <a:extLst>
                    <a:ext uri="{FF2B5EF4-FFF2-40B4-BE49-F238E27FC236}">
                      <a16:creationId xmlns:a16="http://schemas.microsoft.com/office/drawing/2014/main" id="{9AF56AC4-DE33-4F9C-8B9B-D3190E1CC1B8}"/>
                    </a:ext>
                  </a:extLst>
                </p:cNvPr>
                <p:cNvSpPr/>
                <p:nvPr/>
              </p:nvSpPr>
              <p:spPr>
                <a:xfrm>
                  <a:off x="3972061" y="2035727"/>
                  <a:ext cx="249641" cy="427732"/>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defRPr/>
                  </a:pPr>
                  <a:endParaRPr lang="en-US" sz="1600">
                    <a:solidFill>
                      <a:srgbClr val="FFFFFF"/>
                    </a:solidFill>
                    <a:latin typeface="CiscoSansTT ExtraLight"/>
                    <a:sym typeface="Arial"/>
                  </a:endParaRPr>
                </a:p>
              </p:txBody>
            </p:sp>
            <p:grpSp>
              <p:nvGrpSpPr>
                <p:cNvPr id="164" name="Group 163">
                  <a:extLst>
                    <a:ext uri="{FF2B5EF4-FFF2-40B4-BE49-F238E27FC236}">
                      <a16:creationId xmlns:a16="http://schemas.microsoft.com/office/drawing/2014/main" id="{C1CF495C-0964-432A-9550-8174DE28900C}"/>
                    </a:ext>
                  </a:extLst>
                </p:cNvPr>
                <p:cNvGrpSpPr/>
                <p:nvPr/>
              </p:nvGrpSpPr>
              <p:grpSpPr>
                <a:xfrm>
                  <a:off x="4013514" y="2097905"/>
                  <a:ext cx="166735" cy="303376"/>
                  <a:chOff x="4013514" y="2094229"/>
                  <a:chExt cx="166735" cy="303376"/>
                </a:xfrm>
              </p:grpSpPr>
              <p:sp>
                <p:nvSpPr>
                  <p:cNvPr id="181" name="Rectangle: Rounded Corners 180">
                    <a:extLst>
                      <a:ext uri="{FF2B5EF4-FFF2-40B4-BE49-F238E27FC236}">
                        <a16:creationId xmlns:a16="http://schemas.microsoft.com/office/drawing/2014/main" id="{A00F7B09-7624-44E8-B1E8-A83448D2AA09}"/>
                      </a:ext>
                    </a:extLst>
                  </p:cNvPr>
                  <p:cNvSpPr/>
                  <p:nvPr/>
                </p:nvSpPr>
                <p:spPr>
                  <a:xfrm>
                    <a:off x="4013514" y="20942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defRPr/>
                    </a:pPr>
                    <a:endParaRPr lang="en-US" sz="1600">
                      <a:solidFill>
                        <a:srgbClr val="FFFFFF"/>
                      </a:solidFill>
                      <a:latin typeface="CiscoSansTT ExtraLight"/>
                      <a:sym typeface="Arial"/>
                    </a:endParaRPr>
                  </a:p>
                </p:txBody>
              </p:sp>
              <p:sp>
                <p:nvSpPr>
                  <p:cNvPr id="182" name="Rectangle: Rounded Corners 181">
                    <a:extLst>
                      <a:ext uri="{FF2B5EF4-FFF2-40B4-BE49-F238E27FC236}">
                        <a16:creationId xmlns:a16="http://schemas.microsoft.com/office/drawing/2014/main" id="{6F22CE72-CD50-4C62-8B42-7588C213D573}"/>
                      </a:ext>
                    </a:extLst>
                  </p:cNvPr>
                  <p:cNvSpPr/>
                  <p:nvPr/>
                </p:nvSpPr>
                <p:spPr>
                  <a:xfrm>
                    <a:off x="4013514" y="21513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defRPr/>
                    </a:pPr>
                    <a:endParaRPr lang="en-US" sz="1600">
                      <a:solidFill>
                        <a:srgbClr val="FFFFFF"/>
                      </a:solidFill>
                      <a:latin typeface="CiscoSansTT ExtraLight"/>
                      <a:sym typeface="Arial"/>
                    </a:endParaRPr>
                  </a:p>
                </p:txBody>
              </p:sp>
              <p:sp>
                <p:nvSpPr>
                  <p:cNvPr id="183" name="Rectangle: Rounded Corners 182">
                    <a:extLst>
                      <a:ext uri="{FF2B5EF4-FFF2-40B4-BE49-F238E27FC236}">
                        <a16:creationId xmlns:a16="http://schemas.microsoft.com/office/drawing/2014/main" id="{4586CEA5-5C64-44A9-BE0A-7A6DF6528D3E}"/>
                      </a:ext>
                    </a:extLst>
                  </p:cNvPr>
                  <p:cNvSpPr/>
                  <p:nvPr/>
                </p:nvSpPr>
                <p:spPr>
                  <a:xfrm>
                    <a:off x="4013514" y="22085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defRPr/>
                    </a:pPr>
                    <a:endParaRPr lang="en-US" sz="1600">
                      <a:solidFill>
                        <a:srgbClr val="FFFFFF"/>
                      </a:solidFill>
                      <a:latin typeface="CiscoSansTT ExtraLight"/>
                      <a:sym typeface="Arial"/>
                    </a:endParaRPr>
                  </a:p>
                </p:txBody>
              </p:sp>
              <p:sp>
                <p:nvSpPr>
                  <p:cNvPr id="184" name="Rectangle: Rounded Corners 183">
                    <a:extLst>
                      <a:ext uri="{FF2B5EF4-FFF2-40B4-BE49-F238E27FC236}">
                        <a16:creationId xmlns:a16="http://schemas.microsoft.com/office/drawing/2014/main" id="{A6B1566F-1C80-48DF-8D1C-0A22748E9DA3}"/>
                      </a:ext>
                    </a:extLst>
                  </p:cNvPr>
                  <p:cNvSpPr/>
                  <p:nvPr/>
                </p:nvSpPr>
                <p:spPr>
                  <a:xfrm>
                    <a:off x="4013514" y="22656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defRPr/>
                    </a:pPr>
                    <a:endParaRPr lang="en-US" sz="1600">
                      <a:solidFill>
                        <a:srgbClr val="FFFFFF"/>
                      </a:solidFill>
                      <a:latin typeface="CiscoSansTT ExtraLight"/>
                      <a:sym typeface="Arial"/>
                    </a:endParaRPr>
                  </a:p>
                </p:txBody>
              </p:sp>
              <p:sp>
                <p:nvSpPr>
                  <p:cNvPr id="185" name="Rectangle: Rounded Corners 184">
                    <a:extLst>
                      <a:ext uri="{FF2B5EF4-FFF2-40B4-BE49-F238E27FC236}">
                        <a16:creationId xmlns:a16="http://schemas.microsoft.com/office/drawing/2014/main" id="{FE42A7D2-A523-40A1-AF1B-F0111B6285A5}"/>
                      </a:ext>
                    </a:extLst>
                  </p:cNvPr>
                  <p:cNvSpPr/>
                  <p:nvPr/>
                </p:nvSpPr>
                <p:spPr>
                  <a:xfrm>
                    <a:off x="4013514" y="23228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defRPr/>
                    </a:pPr>
                    <a:endParaRPr lang="en-US" sz="1600">
                      <a:solidFill>
                        <a:srgbClr val="FFFFFF"/>
                      </a:solidFill>
                      <a:latin typeface="CiscoSansTT ExtraLight"/>
                      <a:sym typeface="Arial"/>
                    </a:endParaRPr>
                  </a:p>
                </p:txBody>
              </p:sp>
              <p:sp>
                <p:nvSpPr>
                  <p:cNvPr id="186" name="Rectangle: Rounded Corners 185">
                    <a:extLst>
                      <a:ext uri="{FF2B5EF4-FFF2-40B4-BE49-F238E27FC236}">
                        <a16:creationId xmlns:a16="http://schemas.microsoft.com/office/drawing/2014/main" id="{7A874A7A-9482-4F56-B6B9-57A8D9F32067}"/>
                      </a:ext>
                    </a:extLst>
                  </p:cNvPr>
                  <p:cNvSpPr/>
                  <p:nvPr/>
                </p:nvSpPr>
                <p:spPr>
                  <a:xfrm>
                    <a:off x="4013514" y="23799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defRPr/>
                    </a:pPr>
                    <a:endParaRPr lang="en-US" sz="1600">
                      <a:solidFill>
                        <a:srgbClr val="FFFFFF"/>
                      </a:solidFill>
                      <a:latin typeface="CiscoSansTT ExtraLight"/>
                      <a:sym typeface="Arial"/>
                    </a:endParaRPr>
                  </a:p>
                </p:txBody>
              </p:sp>
            </p:grpSp>
            <p:sp>
              <p:nvSpPr>
                <p:cNvPr id="165" name="Rectangle: Rounded Corners 164">
                  <a:extLst>
                    <a:ext uri="{FF2B5EF4-FFF2-40B4-BE49-F238E27FC236}">
                      <a16:creationId xmlns:a16="http://schemas.microsoft.com/office/drawing/2014/main" id="{AB8C43AE-8A54-4F37-90D4-C9726C013061}"/>
                    </a:ext>
                  </a:extLst>
                </p:cNvPr>
                <p:cNvSpPr/>
                <p:nvPr/>
              </p:nvSpPr>
              <p:spPr>
                <a:xfrm>
                  <a:off x="4240666" y="2035727"/>
                  <a:ext cx="249641" cy="427732"/>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defRPr/>
                  </a:pPr>
                  <a:endParaRPr lang="en-US" sz="1600">
                    <a:solidFill>
                      <a:srgbClr val="FFFFFF"/>
                    </a:solidFill>
                    <a:latin typeface="CiscoSansTT ExtraLight"/>
                    <a:sym typeface="Arial"/>
                  </a:endParaRPr>
                </a:p>
              </p:txBody>
            </p:sp>
            <p:grpSp>
              <p:nvGrpSpPr>
                <p:cNvPr id="166" name="Group 165">
                  <a:extLst>
                    <a:ext uri="{FF2B5EF4-FFF2-40B4-BE49-F238E27FC236}">
                      <a16:creationId xmlns:a16="http://schemas.microsoft.com/office/drawing/2014/main" id="{3BA7E08F-7431-4748-9EC6-55EA2C0D371D}"/>
                    </a:ext>
                  </a:extLst>
                </p:cNvPr>
                <p:cNvGrpSpPr/>
                <p:nvPr/>
              </p:nvGrpSpPr>
              <p:grpSpPr>
                <a:xfrm>
                  <a:off x="4282119" y="2097905"/>
                  <a:ext cx="166735" cy="303376"/>
                  <a:chOff x="4013514" y="2094229"/>
                  <a:chExt cx="166735" cy="303376"/>
                </a:xfrm>
              </p:grpSpPr>
              <p:sp>
                <p:nvSpPr>
                  <p:cNvPr id="175" name="Rectangle: Rounded Corners 174">
                    <a:extLst>
                      <a:ext uri="{FF2B5EF4-FFF2-40B4-BE49-F238E27FC236}">
                        <a16:creationId xmlns:a16="http://schemas.microsoft.com/office/drawing/2014/main" id="{FCE729F3-A625-4E8F-A966-8F55859D4DBE}"/>
                      </a:ext>
                    </a:extLst>
                  </p:cNvPr>
                  <p:cNvSpPr/>
                  <p:nvPr/>
                </p:nvSpPr>
                <p:spPr>
                  <a:xfrm>
                    <a:off x="4013514" y="20942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defRPr/>
                    </a:pPr>
                    <a:endParaRPr lang="en-US" sz="1600">
                      <a:solidFill>
                        <a:srgbClr val="FFFFFF"/>
                      </a:solidFill>
                      <a:latin typeface="CiscoSansTT ExtraLight"/>
                      <a:sym typeface="Arial"/>
                    </a:endParaRPr>
                  </a:p>
                </p:txBody>
              </p:sp>
              <p:sp>
                <p:nvSpPr>
                  <p:cNvPr id="176" name="Rectangle: Rounded Corners 175">
                    <a:extLst>
                      <a:ext uri="{FF2B5EF4-FFF2-40B4-BE49-F238E27FC236}">
                        <a16:creationId xmlns:a16="http://schemas.microsoft.com/office/drawing/2014/main" id="{80B614E2-AE4D-4BDC-AF29-7F82A8A0C668}"/>
                      </a:ext>
                    </a:extLst>
                  </p:cNvPr>
                  <p:cNvSpPr/>
                  <p:nvPr/>
                </p:nvSpPr>
                <p:spPr>
                  <a:xfrm>
                    <a:off x="4013514" y="21513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defRPr/>
                    </a:pPr>
                    <a:endParaRPr lang="en-US" sz="1600">
                      <a:solidFill>
                        <a:srgbClr val="FFFFFF"/>
                      </a:solidFill>
                      <a:latin typeface="CiscoSansTT ExtraLight"/>
                      <a:sym typeface="Arial"/>
                    </a:endParaRPr>
                  </a:p>
                </p:txBody>
              </p:sp>
              <p:sp>
                <p:nvSpPr>
                  <p:cNvPr id="177" name="Rectangle: Rounded Corners 176">
                    <a:extLst>
                      <a:ext uri="{FF2B5EF4-FFF2-40B4-BE49-F238E27FC236}">
                        <a16:creationId xmlns:a16="http://schemas.microsoft.com/office/drawing/2014/main" id="{946ED993-EFC6-4290-ADA1-C7A204A840E9}"/>
                      </a:ext>
                    </a:extLst>
                  </p:cNvPr>
                  <p:cNvSpPr/>
                  <p:nvPr/>
                </p:nvSpPr>
                <p:spPr>
                  <a:xfrm>
                    <a:off x="4013514" y="22085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defRPr/>
                    </a:pPr>
                    <a:endParaRPr lang="en-US" sz="1600">
                      <a:solidFill>
                        <a:srgbClr val="FFFFFF"/>
                      </a:solidFill>
                      <a:latin typeface="CiscoSansTT ExtraLight"/>
                      <a:sym typeface="Arial"/>
                    </a:endParaRPr>
                  </a:p>
                </p:txBody>
              </p:sp>
              <p:sp>
                <p:nvSpPr>
                  <p:cNvPr id="178" name="Rectangle: Rounded Corners 177">
                    <a:extLst>
                      <a:ext uri="{FF2B5EF4-FFF2-40B4-BE49-F238E27FC236}">
                        <a16:creationId xmlns:a16="http://schemas.microsoft.com/office/drawing/2014/main" id="{B81B5633-F618-4F23-83DD-DF6941604D4D}"/>
                      </a:ext>
                    </a:extLst>
                  </p:cNvPr>
                  <p:cNvSpPr/>
                  <p:nvPr/>
                </p:nvSpPr>
                <p:spPr>
                  <a:xfrm>
                    <a:off x="4013514" y="22656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defRPr/>
                    </a:pPr>
                    <a:endParaRPr lang="en-US" sz="1600">
                      <a:solidFill>
                        <a:srgbClr val="FFFFFF"/>
                      </a:solidFill>
                      <a:latin typeface="CiscoSansTT ExtraLight"/>
                      <a:sym typeface="Arial"/>
                    </a:endParaRPr>
                  </a:p>
                </p:txBody>
              </p:sp>
              <p:sp>
                <p:nvSpPr>
                  <p:cNvPr id="179" name="Rectangle: Rounded Corners 178">
                    <a:extLst>
                      <a:ext uri="{FF2B5EF4-FFF2-40B4-BE49-F238E27FC236}">
                        <a16:creationId xmlns:a16="http://schemas.microsoft.com/office/drawing/2014/main" id="{0CD64494-9A1D-4BFB-9E8D-BBDFA02BF328}"/>
                      </a:ext>
                    </a:extLst>
                  </p:cNvPr>
                  <p:cNvSpPr/>
                  <p:nvPr/>
                </p:nvSpPr>
                <p:spPr>
                  <a:xfrm>
                    <a:off x="4013514" y="23228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defRPr/>
                    </a:pPr>
                    <a:endParaRPr lang="en-US" sz="1600">
                      <a:solidFill>
                        <a:srgbClr val="FFFFFF"/>
                      </a:solidFill>
                      <a:latin typeface="CiscoSansTT ExtraLight"/>
                      <a:sym typeface="Arial"/>
                    </a:endParaRPr>
                  </a:p>
                </p:txBody>
              </p:sp>
              <p:sp>
                <p:nvSpPr>
                  <p:cNvPr id="180" name="Rectangle: Rounded Corners 179">
                    <a:extLst>
                      <a:ext uri="{FF2B5EF4-FFF2-40B4-BE49-F238E27FC236}">
                        <a16:creationId xmlns:a16="http://schemas.microsoft.com/office/drawing/2014/main" id="{FE73560E-0F70-4749-B342-5A3B01F0DB7F}"/>
                      </a:ext>
                    </a:extLst>
                  </p:cNvPr>
                  <p:cNvSpPr/>
                  <p:nvPr/>
                </p:nvSpPr>
                <p:spPr>
                  <a:xfrm>
                    <a:off x="4013514" y="23799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defRPr/>
                    </a:pPr>
                    <a:endParaRPr lang="en-US" sz="1600">
                      <a:solidFill>
                        <a:srgbClr val="FFFFFF"/>
                      </a:solidFill>
                      <a:latin typeface="CiscoSansTT ExtraLight"/>
                      <a:sym typeface="Arial"/>
                    </a:endParaRPr>
                  </a:p>
                </p:txBody>
              </p:sp>
            </p:grpSp>
            <p:sp>
              <p:nvSpPr>
                <p:cNvPr id="167" name="Rectangle: Rounded Corners 166">
                  <a:extLst>
                    <a:ext uri="{FF2B5EF4-FFF2-40B4-BE49-F238E27FC236}">
                      <a16:creationId xmlns:a16="http://schemas.microsoft.com/office/drawing/2014/main" id="{956E695B-7C6E-41FA-9B89-8ED1A5009305}"/>
                    </a:ext>
                  </a:extLst>
                </p:cNvPr>
                <p:cNvSpPr/>
                <p:nvPr/>
              </p:nvSpPr>
              <p:spPr>
                <a:xfrm>
                  <a:off x="4511176" y="1965960"/>
                  <a:ext cx="249641" cy="497499"/>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defRPr/>
                  </a:pPr>
                  <a:endParaRPr lang="en-US" sz="1600">
                    <a:solidFill>
                      <a:srgbClr val="FFFFFF"/>
                    </a:solidFill>
                    <a:latin typeface="CiscoSansTT ExtraLight"/>
                    <a:sym typeface="Arial"/>
                  </a:endParaRPr>
                </a:p>
              </p:txBody>
            </p:sp>
            <p:grpSp>
              <p:nvGrpSpPr>
                <p:cNvPr id="168" name="Group 167">
                  <a:extLst>
                    <a:ext uri="{FF2B5EF4-FFF2-40B4-BE49-F238E27FC236}">
                      <a16:creationId xmlns:a16="http://schemas.microsoft.com/office/drawing/2014/main" id="{F14DBB31-C3E1-44A7-A2C1-07F14C77A57B}"/>
                    </a:ext>
                  </a:extLst>
                </p:cNvPr>
                <p:cNvGrpSpPr/>
                <p:nvPr/>
              </p:nvGrpSpPr>
              <p:grpSpPr>
                <a:xfrm>
                  <a:off x="4552629" y="2049645"/>
                  <a:ext cx="166735" cy="303376"/>
                  <a:chOff x="4013514" y="2094229"/>
                  <a:chExt cx="166735" cy="303376"/>
                </a:xfrm>
              </p:grpSpPr>
              <p:sp>
                <p:nvSpPr>
                  <p:cNvPr id="169" name="Rectangle: Rounded Corners 168">
                    <a:extLst>
                      <a:ext uri="{FF2B5EF4-FFF2-40B4-BE49-F238E27FC236}">
                        <a16:creationId xmlns:a16="http://schemas.microsoft.com/office/drawing/2014/main" id="{838D3FE5-2776-4C25-9F1F-D65432413821}"/>
                      </a:ext>
                    </a:extLst>
                  </p:cNvPr>
                  <p:cNvSpPr/>
                  <p:nvPr/>
                </p:nvSpPr>
                <p:spPr>
                  <a:xfrm>
                    <a:off x="4013514" y="20942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defRPr/>
                    </a:pPr>
                    <a:endParaRPr lang="en-US" sz="1600">
                      <a:solidFill>
                        <a:srgbClr val="FFFFFF"/>
                      </a:solidFill>
                      <a:latin typeface="CiscoSansTT ExtraLight"/>
                      <a:sym typeface="Arial"/>
                    </a:endParaRPr>
                  </a:p>
                </p:txBody>
              </p:sp>
              <p:sp>
                <p:nvSpPr>
                  <p:cNvPr id="170" name="Rectangle: Rounded Corners 169">
                    <a:extLst>
                      <a:ext uri="{FF2B5EF4-FFF2-40B4-BE49-F238E27FC236}">
                        <a16:creationId xmlns:a16="http://schemas.microsoft.com/office/drawing/2014/main" id="{22D2E025-882C-4DD1-9BBE-C9B1CA98CA00}"/>
                      </a:ext>
                    </a:extLst>
                  </p:cNvPr>
                  <p:cNvSpPr/>
                  <p:nvPr/>
                </p:nvSpPr>
                <p:spPr>
                  <a:xfrm>
                    <a:off x="4013514" y="21513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defRPr/>
                    </a:pPr>
                    <a:endParaRPr lang="en-US" sz="1600">
                      <a:solidFill>
                        <a:srgbClr val="FFFFFF"/>
                      </a:solidFill>
                      <a:latin typeface="CiscoSansTT ExtraLight"/>
                      <a:sym typeface="Arial"/>
                    </a:endParaRPr>
                  </a:p>
                </p:txBody>
              </p:sp>
              <p:sp>
                <p:nvSpPr>
                  <p:cNvPr id="171" name="Rectangle: Rounded Corners 170">
                    <a:extLst>
                      <a:ext uri="{FF2B5EF4-FFF2-40B4-BE49-F238E27FC236}">
                        <a16:creationId xmlns:a16="http://schemas.microsoft.com/office/drawing/2014/main" id="{F84A7F0C-CA5B-4EB3-ADCC-7E71257DFCD5}"/>
                      </a:ext>
                    </a:extLst>
                  </p:cNvPr>
                  <p:cNvSpPr/>
                  <p:nvPr/>
                </p:nvSpPr>
                <p:spPr>
                  <a:xfrm>
                    <a:off x="4013514" y="22085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defRPr/>
                    </a:pPr>
                    <a:endParaRPr lang="en-US" sz="1600">
                      <a:solidFill>
                        <a:srgbClr val="FFFFFF"/>
                      </a:solidFill>
                      <a:latin typeface="CiscoSansTT ExtraLight"/>
                      <a:sym typeface="Arial"/>
                    </a:endParaRPr>
                  </a:p>
                </p:txBody>
              </p:sp>
              <p:sp>
                <p:nvSpPr>
                  <p:cNvPr id="172" name="Rectangle: Rounded Corners 171">
                    <a:extLst>
                      <a:ext uri="{FF2B5EF4-FFF2-40B4-BE49-F238E27FC236}">
                        <a16:creationId xmlns:a16="http://schemas.microsoft.com/office/drawing/2014/main" id="{40D6F5DC-737C-4AB4-B505-EE7486D43D87}"/>
                      </a:ext>
                    </a:extLst>
                  </p:cNvPr>
                  <p:cNvSpPr/>
                  <p:nvPr/>
                </p:nvSpPr>
                <p:spPr>
                  <a:xfrm>
                    <a:off x="4013514" y="22656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defRPr/>
                    </a:pPr>
                    <a:endParaRPr lang="en-US" sz="1600">
                      <a:solidFill>
                        <a:srgbClr val="FFFFFF"/>
                      </a:solidFill>
                      <a:latin typeface="CiscoSansTT ExtraLight"/>
                      <a:sym typeface="Arial"/>
                    </a:endParaRPr>
                  </a:p>
                </p:txBody>
              </p:sp>
              <p:sp>
                <p:nvSpPr>
                  <p:cNvPr id="173" name="Rectangle: Rounded Corners 172">
                    <a:extLst>
                      <a:ext uri="{FF2B5EF4-FFF2-40B4-BE49-F238E27FC236}">
                        <a16:creationId xmlns:a16="http://schemas.microsoft.com/office/drawing/2014/main" id="{05780A16-A9A3-4406-A662-224555FFF544}"/>
                      </a:ext>
                    </a:extLst>
                  </p:cNvPr>
                  <p:cNvSpPr/>
                  <p:nvPr/>
                </p:nvSpPr>
                <p:spPr>
                  <a:xfrm>
                    <a:off x="4013514" y="23228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defRPr/>
                    </a:pPr>
                    <a:endParaRPr lang="en-US" sz="1600">
                      <a:solidFill>
                        <a:srgbClr val="FFFFFF"/>
                      </a:solidFill>
                      <a:latin typeface="CiscoSansTT ExtraLight"/>
                      <a:sym typeface="Arial"/>
                    </a:endParaRPr>
                  </a:p>
                </p:txBody>
              </p:sp>
              <p:sp>
                <p:nvSpPr>
                  <p:cNvPr id="174" name="Rectangle: Rounded Corners 173">
                    <a:extLst>
                      <a:ext uri="{FF2B5EF4-FFF2-40B4-BE49-F238E27FC236}">
                        <a16:creationId xmlns:a16="http://schemas.microsoft.com/office/drawing/2014/main" id="{F06C5676-3D49-4FE2-AE62-CB13B9B402B7}"/>
                      </a:ext>
                    </a:extLst>
                  </p:cNvPr>
                  <p:cNvSpPr/>
                  <p:nvPr/>
                </p:nvSpPr>
                <p:spPr>
                  <a:xfrm>
                    <a:off x="4013514" y="23799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defRPr/>
                    </a:pPr>
                    <a:endParaRPr lang="en-US" sz="1600">
                      <a:solidFill>
                        <a:srgbClr val="FFFFFF"/>
                      </a:solidFill>
                      <a:latin typeface="CiscoSansTT ExtraLight"/>
                      <a:sym typeface="Arial"/>
                    </a:endParaRPr>
                  </a:p>
                </p:txBody>
              </p:sp>
            </p:grpSp>
          </p:grpSp>
        </p:grpSp>
        <p:grpSp>
          <p:nvGrpSpPr>
            <p:cNvPr id="64" name="Group 63">
              <a:extLst>
                <a:ext uri="{FF2B5EF4-FFF2-40B4-BE49-F238E27FC236}">
                  <a16:creationId xmlns:a16="http://schemas.microsoft.com/office/drawing/2014/main" id="{82EFFFA7-1EA2-41BD-AB0D-6857A7BB61E9}"/>
                </a:ext>
              </a:extLst>
            </p:cNvPr>
            <p:cNvGrpSpPr/>
            <p:nvPr/>
          </p:nvGrpSpPr>
          <p:grpSpPr>
            <a:xfrm>
              <a:off x="5684561" y="3462653"/>
              <a:ext cx="1691035" cy="892521"/>
              <a:chOff x="5227361" y="3462653"/>
              <a:chExt cx="1691035" cy="892521"/>
            </a:xfrm>
          </p:grpSpPr>
          <p:sp>
            <p:nvSpPr>
              <p:cNvPr id="65" name="Rectangle 64">
                <a:extLst>
                  <a:ext uri="{FF2B5EF4-FFF2-40B4-BE49-F238E27FC236}">
                    <a16:creationId xmlns:a16="http://schemas.microsoft.com/office/drawing/2014/main" id="{26C927C5-BBCA-42EA-9F0C-A79E12B334E1}"/>
                  </a:ext>
                </a:extLst>
              </p:cNvPr>
              <p:cNvSpPr/>
              <p:nvPr/>
            </p:nvSpPr>
            <p:spPr>
              <a:xfrm>
                <a:off x="5915285" y="3462653"/>
                <a:ext cx="501802" cy="193465"/>
              </a:xfrm>
              <a:prstGeom prst="rect">
                <a:avLst/>
              </a:prstGeom>
            </p:spPr>
            <p:txBody>
              <a:bodyPr wrap="none" lIns="0" tIns="0" rIns="0" bIns="0" anchor="ctr">
                <a:noAutofit/>
              </a:bodyPr>
              <a:lstStyle/>
              <a:p>
                <a:pPr defTabSz="914354" fontAlgn="base">
                  <a:spcBef>
                    <a:spcPct val="0"/>
                  </a:spcBef>
                  <a:spcAft>
                    <a:spcPct val="0"/>
                  </a:spcAft>
                  <a:defRPr/>
                </a:pPr>
                <a:r>
                  <a:rPr lang="en-US" sz="1333" b="1">
                    <a:solidFill>
                      <a:srgbClr val="282828"/>
                    </a:solidFill>
                    <a:latin typeface="CiscoSansTT ExtraLight"/>
                    <a:ea typeface="ＭＳ Ｐゴシック" charset="0"/>
                    <a:cs typeface="Arial"/>
                    <a:sym typeface="Arial"/>
                  </a:rPr>
                  <a:t>Admin</a:t>
                </a:r>
              </a:p>
            </p:txBody>
          </p:sp>
          <p:grpSp>
            <p:nvGrpSpPr>
              <p:cNvPr id="66" name="Group 65">
                <a:extLst>
                  <a:ext uri="{FF2B5EF4-FFF2-40B4-BE49-F238E27FC236}">
                    <a16:creationId xmlns:a16="http://schemas.microsoft.com/office/drawing/2014/main" id="{7DC4DF19-20C6-4A24-9DB9-EB0C61FBD20C}"/>
                  </a:ext>
                </a:extLst>
              </p:cNvPr>
              <p:cNvGrpSpPr/>
              <p:nvPr/>
            </p:nvGrpSpPr>
            <p:grpSpPr>
              <a:xfrm>
                <a:off x="5227361" y="3779578"/>
                <a:ext cx="1691035" cy="216379"/>
                <a:chOff x="3381375" y="3914285"/>
                <a:chExt cx="3345056" cy="209454"/>
              </a:xfrm>
            </p:grpSpPr>
            <p:sp>
              <p:nvSpPr>
                <p:cNvPr id="157" name="Trapezoid 156">
                  <a:extLst>
                    <a:ext uri="{FF2B5EF4-FFF2-40B4-BE49-F238E27FC236}">
                      <a16:creationId xmlns:a16="http://schemas.microsoft.com/office/drawing/2014/main" id="{2A458358-E39A-4D80-8471-FA5DD13CE2C7}"/>
                    </a:ext>
                  </a:extLst>
                </p:cNvPr>
                <p:cNvSpPr/>
                <p:nvPr/>
              </p:nvSpPr>
              <p:spPr>
                <a:xfrm>
                  <a:off x="3381375" y="3914285"/>
                  <a:ext cx="3345056" cy="188507"/>
                </a:xfrm>
                <a:prstGeom prst="trapezoid">
                  <a:avLst>
                    <a:gd name="adj" fmla="val 102192"/>
                  </a:avLst>
                </a:prstGeom>
                <a:solidFill>
                  <a:srgbClr val="FFFFFF">
                    <a:lumMod val="75000"/>
                  </a:srgbClr>
                </a:solidFill>
                <a:ln w="25400" cap="flat" cmpd="sng" algn="ctr">
                  <a:noFill/>
                  <a:prstDash val="solid"/>
                </a:ln>
                <a:effectLst/>
              </p:spPr>
              <p:txBody>
                <a:bodyPr rtlCol="0" anchor="ctr"/>
                <a:lstStyle/>
                <a:p>
                  <a:pPr algn="ctr" defTabSz="914354" fontAlgn="base">
                    <a:spcBef>
                      <a:spcPct val="0"/>
                    </a:spcBef>
                    <a:spcAft>
                      <a:spcPct val="0"/>
                    </a:spcAft>
                    <a:defRPr/>
                  </a:pPr>
                  <a:endParaRPr lang="en-US" sz="2400" kern="0">
                    <a:solidFill>
                      <a:srgbClr val="FFFFFF"/>
                    </a:solidFill>
                    <a:latin typeface="CiscoSansTT ExtraLight"/>
                    <a:ea typeface="ＭＳ Ｐゴシック" charset="0"/>
                    <a:cs typeface="Arial"/>
                    <a:sym typeface="Arial"/>
                  </a:endParaRPr>
                </a:p>
              </p:txBody>
            </p:sp>
            <p:sp>
              <p:nvSpPr>
                <p:cNvPr id="158" name="Trapezoid 157">
                  <a:extLst>
                    <a:ext uri="{FF2B5EF4-FFF2-40B4-BE49-F238E27FC236}">
                      <a16:creationId xmlns:a16="http://schemas.microsoft.com/office/drawing/2014/main" id="{90207FDA-B980-446C-AF7B-7D40423C1F7D}"/>
                    </a:ext>
                  </a:extLst>
                </p:cNvPr>
                <p:cNvSpPr/>
                <p:nvPr/>
              </p:nvSpPr>
              <p:spPr>
                <a:xfrm>
                  <a:off x="3381375" y="4104768"/>
                  <a:ext cx="3345056" cy="18971"/>
                </a:xfrm>
                <a:prstGeom prst="trapezoid">
                  <a:avLst>
                    <a:gd name="adj" fmla="val 0"/>
                  </a:avLst>
                </a:prstGeom>
                <a:solidFill>
                  <a:srgbClr val="FFFFFF">
                    <a:lumMod val="50000"/>
                  </a:srgbClr>
                </a:solidFill>
                <a:ln w="9525" cap="flat" cmpd="sng" algn="ctr">
                  <a:noFill/>
                  <a:prstDash val="solid"/>
                  <a:headEnd type="none" w="med" len="med"/>
                  <a:tailEnd type="none" w="med" len="med"/>
                </a:ln>
                <a:effectLst/>
              </p:spPr>
              <p:txBody>
                <a:bodyPr rot="0" spcFirstLastPara="0" vert="horz" wrap="square" lIns="243840" tIns="195072" rIns="243840" bIns="195072" numCol="1" spcCol="0" rtlCol="0" fromWordArt="0" anchor="t" anchorCtr="0" forceAA="0" compatLnSpc="1">
                  <a:prstTxWarp prst="textNoShape">
                    <a:avLst/>
                  </a:prstTxWarp>
                  <a:noAutofit/>
                </a:bodyPr>
                <a:lstStyle/>
                <a:p>
                  <a:pPr algn="ctr" defTabSz="1243234" fontAlgn="base">
                    <a:lnSpc>
                      <a:spcPct val="90000"/>
                    </a:lnSpc>
                    <a:spcBef>
                      <a:spcPct val="0"/>
                    </a:spcBef>
                    <a:spcAft>
                      <a:spcPct val="0"/>
                    </a:spcAft>
                    <a:defRPr/>
                  </a:pPr>
                  <a:endParaRPr lang="en-US" sz="3200" kern="0">
                    <a:gradFill>
                      <a:gsLst>
                        <a:gs pos="0">
                          <a:srgbClr val="FFFFFF"/>
                        </a:gs>
                        <a:gs pos="100000">
                          <a:srgbClr val="FFFFFF"/>
                        </a:gs>
                      </a:gsLst>
                      <a:lin ang="5400000" scaled="0"/>
                    </a:gradFill>
                    <a:latin typeface="CiscoSansTT ExtraLight"/>
                    <a:ea typeface="Segoe UI" pitchFamily="34" charset="0"/>
                    <a:cs typeface="Segoe UI" pitchFamily="34" charset="0"/>
                    <a:sym typeface="Arial"/>
                  </a:endParaRPr>
                </a:p>
              </p:txBody>
            </p:sp>
          </p:grpSp>
          <p:sp>
            <p:nvSpPr>
              <p:cNvPr id="67" name="Rectangle 66">
                <a:extLst>
                  <a:ext uri="{FF2B5EF4-FFF2-40B4-BE49-F238E27FC236}">
                    <a16:creationId xmlns:a16="http://schemas.microsoft.com/office/drawing/2014/main" id="{D735B9D6-728C-4C3D-8D86-4613DEABB37C}"/>
                  </a:ext>
                </a:extLst>
              </p:cNvPr>
              <p:cNvSpPr/>
              <p:nvPr/>
            </p:nvSpPr>
            <p:spPr>
              <a:xfrm>
                <a:off x="5332013" y="3995852"/>
                <a:ext cx="48995" cy="271858"/>
              </a:xfrm>
              <a:prstGeom prst="rect">
                <a:avLst/>
              </a:prstGeom>
              <a:solidFill>
                <a:srgbClr val="FFFFFF">
                  <a:lumMod val="50000"/>
                </a:srgbClr>
              </a:solidFill>
              <a:ln w="9525" cap="flat" cmpd="sng" algn="ctr">
                <a:noFill/>
                <a:prstDash val="solid"/>
                <a:headEnd type="none" w="med" len="med"/>
                <a:tailEnd type="none" w="med" len="med"/>
              </a:ln>
              <a:effectLst/>
            </p:spPr>
            <p:txBody>
              <a:bodyPr rot="0" spcFirstLastPara="0" vert="horz" wrap="square" lIns="243840" tIns="195072" rIns="243840" bIns="195072" numCol="1" spcCol="0" rtlCol="0" fromWordArt="0" anchor="t" anchorCtr="0" forceAA="0" compatLnSpc="1">
                <a:prstTxWarp prst="textNoShape">
                  <a:avLst/>
                </a:prstTxWarp>
                <a:noAutofit/>
              </a:bodyPr>
              <a:lstStyle/>
              <a:p>
                <a:pPr algn="ctr" defTabSz="1243234" fontAlgn="base">
                  <a:lnSpc>
                    <a:spcPct val="90000"/>
                  </a:lnSpc>
                  <a:spcBef>
                    <a:spcPct val="0"/>
                  </a:spcBef>
                  <a:spcAft>
                    <a:spcPct val="0"/>
                  </a:spcAft>
                  <a:defRPr/>
                </a:pPr>
                <a:endParaRPr lang="en-US" sz="3200" kern="0">
                  <a:gradFill>
                    <a:gsLst>
                      <a:gs pos="0">
                        <a:srgbClr val="FFFFFF"/>
                      </a:gs>
                      <a:gs pos="100000">
                        <a:srgbClr val="FFFFFF"/>
                      </a:gs>
                    </a:gsLst>
                    <a:lin ang="5400000" scaled="0"/>
                  </a:gradFill>
                  <a:latin typeface="CiscoSansTT ExtraLight"/>
                  <a:ea typeface="Segoe UI" pitchFamily="34" charset="0"/>
                  <a:cs typeface="Segoe UI" pitchFamily="34" charset="0"/>
                  <a:sym typeface="Arial"/>
                </a:endParaRPr>
              </a:p>
            </p:txBody>
          </p:sp>
          <p:sp>
            <p:nvSpPr>
              <p:cNvPr id="68" name="Rectangle 67">
                <a:extLst>
                  <a:ext uri="{FF2B5EF4-FFF2-40B4-BE49-F238E27FC236}">
                    <a16:creationId xmlns:a16="http://schemas.microsoft.com/office/drawing/2014/main" id="{FF2D2C79-272C-479B-9933-FE2C236EFC8D}"/>
                  </a:ext>
                </a:extLst>
              </p:cNvPr>
              <p:cNvSpPr/>
              <p:nvPr/>
            </p:nvSpPr>
            <p:spPr>
              <a:xfrm>
                <a:off x="6833347" y="3995852"/>
                <a:ext cx="48995" cy="271858"/>
              </a:xfrm>
              <a:prstGeom prst="rect">
                <a:avLst/>
              </a:prstGeom>
              <a:solidFill>
                <a:srgbClr val="FFFFFF">
                  <a:lumMod val="50000"/>
                </a:srgbClr>
              </a:solidFill>
              <a:ln w="9525" cap="flat" cmpd="sng" algn="ctr">
                <a:noFill/>
                <a:prstDash val="solid"/>
                <a:headEnd type="none" w="med" len="med"/>
                <a:tailEnd type="none" w="med" len="med"/>
              </a:ln>
              <a:effectLst/>
            </p:spPr>
            <p:txBody>
              <a:bodyPr rot="0" spcFirstLastPara="0" vert="horz" wrap="square" lIns="243840" tIns="195072" rIns="243840" bIns="195072" numCol="1" spcCol="0" rtlCol="0" fromWordArt="0" anchor="t" anchorCtr="0" forceAA="0" compatLnSpc="1">
                <a:prstTxWarp prst="textNoShape">
                  <a:avLst/>
                </a:prstTxWarp>
                <a:noAutofit/>
              </a:bodyPr>
              <a:lstStyle/>
              <a:p>
                <a:pPr algn="ctr" defTabSz="1243234" fontAlgn="base">
                  <a:lnSpc>
                    <a:spcPct val="90000"/>
                  </a:lnSpc>
                  <a:spcBef>
                    <a:spcPct val="0"/>
                  </a:spcBef>
                  <a:spcAft>
                    <a:spcPct val="0"/>
                  </a:spcAft>
                  <a:defRPr/>
                </a:pPr>
                <a:endParaRPr lang="en-US" sz="3200" kern="0">
                  <a:gradFill>
                    <a:gsLst>
                      <a:gs pos="0">
                        <a:srgbClr val="FFFFFF"/>
                      </a:gs>
                      <a:gs pos="100000">
                        <a:srgbClr val="FFFFFF"/>
                      </a:gs>
                    </a:gsLst>
                    <a:lin ang="5400000" scaled="0"/>
                  </a:gradFill>
                  <a:latin typeface="CiscoSansTT ExtraLight"/>
                  <a:ea typeface="Segoe UI" pitchFamily="34" charset="0"/>
                  <a:cs typeface="Segoe UI" pitchFamily="34" charset="0"/>
                  <a:sym typeface="Arial"/>
                </a:endParaRPr>
              </a:p>
            </p:txBody>
          </p:sp>
          <p:grpSp>
            <p:nvGrpSpPr>
              <p:cNvPr id="69" name="Group 68">
                <a:extLst>
                  <a:ext uri="{FF2B5EF4-FFF2-40B4-BE49-F238E27FC236}">
                    <a16:creationId xmlns:a16="http://schemas.microsoft.com/office/drawing/2014/main" id="{52D9203A-1C82-440F-87D8-464CE94BE029}"/>
                  </a:ext>
                </a:extLst>
              </p:cNvPr>
              <p:cNvGrpSpPr/>
              <p:nvPr/>
            </p:nvGrpSpPr>
            <p:grpSpPr>
              <a:xfrm>
                <a:off x="5362746" y="3623310"/>
                <a:ext cx="1466614" cy="271931"/>
                <a:chOff x="5826931" y="1567563"/>
                <a:chExt cx="2991995" cy="554758"/>
              </a:xfrm>
            </p:grpSpPr>
            <p:grpSp>
              <p:nvGrpSpPr>
                <p:cNvPr id="77" name="Group 76">
                  <a:extLst>
                    <a:ext uri="{FF2B5EF4-FFF2-40B4-BE49-F238E27FC236}">
                      <a16:creationId xmlns:a16="http://schemas.microsoft.com/office/drawing/2014/main" id="{BED0F8A5-D295-4B20-81F5-4D76BC2953E0}"/>
                    </a:ext>
                  </a:extLst>
                </p:cNvPr>
                <p:cNvGrpSpPr/>
                <p:nvPr/>
              </p:nvGrpSpPr>
              <p:grpSpPr>
                <a:xfrm>
                  <a:off x="6839121" y="1567563"/>
                  <a:ext cx="967615" cy="554758"/>
                  <a:chOff x="6835311" y="1567563"/>
                  <a:chExt cx="967615" cy="554758"/>
                </a:xfrm>
              </p:grpSpPr>
              <p:sp>
                <p:nvSpPr>
                  <p:cNvPr id="130" name="Freeform 222">
                    <a:extLst>
                      <a:ext uri="{FF2B5EF4-FFF2-40B4-BE49-F238E27FC236}">
                        <a16:creationId xmlns:a16="http://schemas.microsoft.com/office/drawing/2014/main" id="{E149DA29-EE26-4A2C-93FD-150322B862A9}"/>
                      </a:ext>
                    </a:extLst>
                  </p:cNvPr>
                  <p:cNvSpPr>
                    <a:spLocks/>
                  </p:cNvSpPr>
                  <p:nvPr/>
                </p:nvSpPr>
                <p:spPr bwMode="auto">
                  <a:xfrm>
                    <a:off x="6835311" y="2082197"/>
                    <a:ext cx="967615" cy="40124"/>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70">
                      <a:defRPr/>
                    </a:pPr>
                    <a:endParaRPr lang="en-US" sz="2400">
                      <a:solidFill>
                        <a:srgbClr val="282828"/>
                      </a:solidFill>
                      <a:latin typeface="CiscoSansTT ExtraLight"/>
                      <a:sym typeface="Arial"/>
                    </a:endParaRPr>
                  </a:p>
                </p:txBody>
              </p:sp>
              <p:sp>
                <p:nvSpPr>
                  <p:cNvPr id="131" name="Freeform 223">
                    <a:extLst>
                      <a:ext uri="{FF2B5EF4-FFF2-40B4-BE49-F238E27FC236}">
                        <a16:creationId xmlns:a16="http://schemas.microsoft.com/office/drawing/2014/main" id="{5D8C4412-2F29-4786-BE54-AB1FFE5A0B75}"/>
                      </a:ext>
                    </a:extLst>
                  </p:cNvPr>
                  <p:cNvSpPr>
                    <a:spLocks/>
                  </p:cNvSpPr>
                  <p:nvPr/>
                </p:nvSpPr>
                <p:spPr bwMode="auto">
                  <a:xfrm>
                    <a:off x="6916721" y="1567563"/>
                    <a:ext cx="805958" cy="485559"/>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2"/>
                  </a:solidFill>
                  <a:ln w="6350">
                    <a:noFill/>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70">
                      <a:defRPr/>
                    </a:pPr>
                    <a:endParaRPr lang="en-US" sz="2400">
                      <a:solidFill>
                        <a:srgbClr val="282828"/>
                      </a:solidFill>
                      <a:latin typeface="CiscoSansTT ExtraLight"/>
                      <a:sym typeface="Arial"/>
                    </a:endParaRPr>
                  </a:p>
                </p:txBody>
              </p:sp>
              <p:sp>
                <p:nvSpPr>
                  <p:cNvPr id="132" name="Freeform 224">
                    <a:extLst>
                      <a:ext uri="{FF2B5EF4-FFF2-40B4-BE49-F238E27FC236}">
                        <a16:creationId xmlns:a16="http://schemas.microsoft.com/office/drawing/2014/main" id="{30C087C1-A574-4671-9375-AD50F2CF4999}"/>
                      </a:ext>
                    </a:extLst>
                  </p:cNvPr>
                  <p:cNvSpPr>
                    <a:spLocks noEditPoints="1"/>
                  </p:cNvSpPr>
                  <p:nvPr/>
                </p:nvSpPr>
                <p:spPr bwMode="auto">
                  <a:xfrm>
                    <a:off x="6916721" y="1567563"/>
                    <a:ext cx="805958" cy="485559"/>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noFill/>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70">
                      <a:defRPr/>
                    </a:pPr>
                    <a:endParaRPr lang="en-US" sz="2400">
                      <a:solidFill>
                        <a:srgbClr val="282828"/>
                      </a:solidFill>
                      <a:latin typeface="CiscoSansTT ExtraLight"/>
                      <a:sym typeface="Arial"/>
                    </a:endParaRPr>
                  </a:p>
                </p:txBody>
              </p:sp>
              <p:grpSp>
                <p:nvGrpSpPr>
                  <p:cNvPr id="133" name="Group 132">
                    <a:extLst>
                      <a:ext uri="{FF2B5EF4-FFF2-40B4-BE49-F238E27FC236}">
                        <a16:creationId xmlns:a16="http://schemas.microsoft.com/office/drawing/2014/main" id="{236EA5A9-832F-4CF1-9D9E-71BDE3FC5F2E}"/>
                      </a:ext>
                    </a:extLst>
                  </p:cNvPr>
                  <p:cNvGrpSpPr/>
                  <p:nvPr/>
                </p:nvGrpSpPr>
                <p:grpSpPr>
                  <a:xfrm>
                    <a:off x="6995088" y="1680764"/>
                    <a:ext cx="649225" cy="254716"/>
                    <a:chOff x="7068354" y="1749344"/>
                    <a:chExt cx="410643" cy="161111"/>
                  </a:xfrm>
                </p:grpSpPr>
                <p:grpSp>
                  <p:nvGrpSpPr>
                    <p:cNvPr id="134" name="Group 133">
                      <a:extLst>
                        <a:ext uri="{FF2B5EF4-FFF2-40B4-BE49-F238E27FC236}">
                          <a16:creationId xmlns:a16="http://schemas.microsoft.com/office/drawing/2014/main" id="{35788AA2-A2BA-4C42-BF6A-D22CEAE2FF13}"/>
                        </a:ext>
                      </a:extLst>
                    </p:cNvPr>
                    <p:cNvGrpSpPr/>
                    <p:nvPr/>
                  </p:nvGrpSpPr>
                  <p:grpSpPr>
                    <a:xfrm>
                      <a:off x="7068354" y="1749344"/>
                      <a:ext cx="410643" cy="60600"/>
                      <a:chOff x="5873592" y="3851702"/>
                      <a:chExt cx="410643" cy="60600"/>
                    </a:xfrm>
                  </p:grpSpPr>
                  <p:sp>
                    <p:nvSpPr>
                      <p:cNvPr id="152" name="Oval 151">
                        <a:extLst>
                          <a:ext uri="{FF2B5EF4-FFF2-40B4-BE49-F238E27FC236}">
                            <a16:creationId xmlns:a16="http://schemas.microsoft.com/office/drawing/2014/main" id="{C354BA0A-0A6D-462F-AD8C-1AC16202BCF6}"/>
                          </a:ext>
                        </a:extLst>
                      </p:cNvPr>
                      <p:cNvSpPr/>
                      <p:nvPr/>
                    </p:nvSpPr>
                    <p:spPr>
                      <a:xfrm>
                        <a:off x="5873592" y="3851702"/>
                        <a:ext cx="60600" cy="60600"/>
                      </a:xfrm>
                      <a:prstGeom prst="ellipse">
                        <a:avLst/>
                      </a:prstGeom>
                      <a:solidFill>
                        <a:srgbClr val="0498D1">
                          <a:lumMod val="75000"/>
                        </a:srgbClr>
                      </a:solidFill>
                      <a:ln w="9525" cap="flat" cmpd="sng" algn="ctr">
                        <a:noFill/>
                        <a:prstDash val="solid"/>
                      </a:ln>
                      <a:effectLst/>
                    </p:spPr>
                    <p:txBody>
                      <a:bodyPr rtlCol="0" anchor="ctr"/>
                      <a:lstStyle/>
                      <a:p>
                        <a:pPr algn="ctr" defTabSz="1625478" fontAlgn="base">
                          <a:spcBef>
                            <a:spcPct val="0"/>
                          </a:spcBef>
                          <a:spcAft>
                            <a:spcPct val="0"/>
                          </a:spcAft>
                          <a:defRPr/>
                        </a:pPr>
                        <a:endParaRPr lang="en-US" sz="4267" kern="0">
                          <a:solidFill>
                            <a:prstClr val="white"/>
                          </a:solidFill>
                          <a:latin typeface="CiscoSansTT ExtraLight"/>
                          <a:ea typeface="ＭＳ Ｐゴシック" charset="0"/>
                          <a:cs typeface="Arial"/>
                          <a:sym typeface="Arial"/>
                        </a:endParaRPr>
                      </a:p>
                    </p:txBody>
                  </p:sp>
                  <p:sp>
                    <p:nvSpPr>
                      <p:cNvPr id="153" name="Oval 152">
                        <a:extLst>
                          <a:ext uri="{FF2B5EF4-FFF2-40B4-BE49-F238E27FC236}">
                            <a16:creationId xmlns:a16="http://schemas.microsoft.com/office/drawing/2014/main" id="{1243BF0B-F47C-47F4-A67D-2DEB58B1EF12}"/>
                          </a:ext>
                        </a:extLst>
                      </p:cNvPr>
                      <p:cNvSpPr/>
                      <p:nvPr/>
                    </p:nvSpPr>
                    <p:spPr>
                      <a:xfrm>
                        <a:off x="5961103" y="3851702"/>
                        <a:ext cx="60600" cy="60600"/>
                      </a:xfrm>
                      <a:prstGeom prst="ellipse">
                        <a:avLst/>
                      </a:prstGeom>
                      <a:solidFill>
                        <a:srgbClr val="0498D1">
                          <a:lumMod val="75000"/>
                        </a:srgbClr>
                      </a:solidFill>
                      <a:ln w="9525" cap="flat" cmpd="sng" algn="ctr">
                        <a:noFill/>
                        <a:prstDash val="solid"/>
                      </a:ln>
                      <a:effectLst/>
                    </p:spPr>
                    <p:txBody>
                      <a:bodyPr rtlCol="0" anchor="ctr"/>
                      <a:lstStyle/>
                      <a:p>
                        <a:pPr algn="ctr" defTabSz="1625478" fontAlgn="base">
                          <a:spcBef>
                            <a:spcPct val="0"/>
                          </a:spcBef>
                          <a:spcAft>
                            <a:spcPct val="0"/>
                          </a:spcAft>
                          <a:defRPr/>
                        </a:pPr>
                        <a:endParaRPr lang="en-US" sz="4267" kern="0">
                          <a:solidFill>
                            <a:prstClr val="white"/>
                          </a:solidFill>
                          <a:latin typeface="CiscoSansTT ExtraLight"/>
                          <a:ea typeface="ＭＳ Ｐゴシック" charset="0"/>
                          <a:cs typeface="Arial"/>
                          <a:sym typeface="Arial"/>
                        </a:endParaRPr>
                      </a:p>
                    </p:txBody>
                  </p:sp>
                  <p:sp>
                    <p:nvSpPr>
                      <p:cNvPr id="154" name="Oval 153">
                        <a:extLst>
                          <a:ext uri="{FF2B5EF4-FFF2-40B4-BE49-F238E27FC236}">
                            <a16:creationId xmlns:a16="http://schemas.microsoft.com/office/drawing/2014/main" id="{A008235A-2A9D-468C-9429-ACE9C45C54E0}"/>
                          </a:ext>
                        </a:extLst>
                      </p:cNvPr>
                      <p:cNvSpPr/>
                      <p:nvPr/>
                    </p:nvSpPr>
                    <p:spPr>
                      <a:xfrm>
                        <a:off x="6048614" y="3851702"/>
                        <a:ext cx="60600" cy="60600"/>
                      </a:xfrm>
                      <a:prstGeom prst="ellipse">
                        <a:avLst/>
                      </a:prstGeom>
                      <a:solidFill>
                        <a:srgbClr val="0498D1">
                          <a:lumMod val="75000"/>
                        </a:srgbClr>
                      </a:solidFill>
                      <a:ln w="9525" cap="flat" cmpd="sng" algn="ctr">
                        <a:noFill/>
                        <a:prstDash val="solid"/>
                      </a:ln>
                      <a:effectLst/>
                    </p:spPr>
                    <p:txBody>
                      <a:bodyPr rtlCol="0" anchor="ctr"/>
                      <a:lstStyle/>
                      <a:p>
                        <a:pPr algn="ctr" defTabSz="1625478" fontAlgn="base">
                          <a:spcBef>
                            <a:spcPct val="0"/>
                          </a:spcBef>
                          <a:spcAft>
                            <a:spcPct val="0"/>
                          </a:spcAft>
                          <a:defRPr/>
                        </a:pPr>
                        <a:endParaRPr lang="en-US" sz="4267" kern="0">
                          <a:solidFill>
                            <a:prstClr val="white"/>
                          </a:solidFill>
                          <a:latin typeface="CiscoSansTT ExtraLight"/>
                          <a:ea typeface="ＭＳ Ｐゴシック" charset="0"/>
                          <a:cs typeface="Arial"/>
                          <a:sym typeface="Arial"/>
                        </a:endParaRPr>
                      </a:p>
                    </p:txBody>
                  </p:sp>
                  <p:sp>
                    <p:nvSpPr>
                      <p:cNvPr id="155" name="Oval 154">
                        <a:extLst>
                          <a:ext uri="{FF2B5EF4-FFF2-40B4-BE49-F238E27FC236}">
                            <a16:creationId xmlns:a16="http://schemas.microsoft.com/office/drawing/2014/main" id="{F03D4E2F-C22A-463E-8599-FDC1FA82D144}"/>
                          </a:ext>
                        </a:extLst>
                      </p:cNvPr>
                      <p:cNvSpPr/>
                      <p:nvPr/>
                    </p:nvSpPr>
                    <p:spPr>
                      <a:xfrm>
                        <a:off x="6136125" y="3851702"/>
                        <a:ext cx="60600" cy="60600"/>
                      </a:xfrm>
                      <a:prstGeom prst="ellipse">
                        <a:avLst/>
                      </a:prstGeom>
                      <a:solidFill>
                        <a:srgbClr val="0498D1">
                          <a:lumMod val="75000"/>
                        </a:srgbClr>
                      </a:solidFill>
                      <a:ln w="9525" cap="flat" cmpd="sng" algn="ctr">
                        <a:noFill/>
                        <a:prstDash val="solid"/>
                      </a:ln>
                      <a:effectLst/>
                    </p:spPr>
                    <p:txBody>
                      <a:bodyPr rtlCol="0" anchor="ctr"/>
                      <a:lstStyle/>
                      <a:p>
                        <a:pPr algn="ctr" defTabSz="1625478" fontAlgn="base">
                          <a:spcBef>
                            <a:spcPct val="0"/>
                          </a:spcBef>
                          <a:spcAft>
                            <a:spcPct val="0"/>
                          </a:spcAft>
                          <a:defRPr/>
                        </a:pPr>
                        <a:endParaRPr lang="en-US" sz="4267" kern="0">
                          <a:solidFill>
                            <a:prstClr val="white"/>
                          </a:solidFill>
                          <a:latin typeface="CiscoSansTT ExtraLight"/>
                          <a:ea typeface="ＭＳ Ｐゴシック" charset="0"/>
                          <a:cs typeface="Arial"/>
                          <a:sym typeface="Arial"/>
                        </a:endParaRPr>
                      </a:p>
                    </p:txBody>
                  </p:sp>
                  <p:sp>
                    <p:nvSpPr>
                      <p:cNvPr id="156" name="Oval 155">
                        <a:extLst>
                          <a:ext uri="{FF2B5EF4-FFF2-40B4-BE49-F238E27FC236}">
                            <a16:creationId xmlns:a16="http://schemas.microsoft.com/office/drawing/2014/main" id="{6D9B6E99-8254-4B61-AA47-454C33A8E12C}"/>
                          </a:ext>
                        </a:extLst>
                      </p:cNvPr>
                      <p:cNvSpPr/>
                      <p:nvPr/>
                    </p:nvSpPr>
                    <p:spPr>
                      <a:xfrm>
                        <a:off x="6223635" y="3851702"/>
                        <a:ext cx="60600" cy="60600"/>
                      </a:xfrm>
                      <a:prstGeom prst="ellipse">
                        <a:avLst/>
                      </a:prstGeom>
                      <a:solidFill>
                        <a:srgbClr val="0498D1">
                          <a:lumMod val="75000"/>
                        </a:srgbClr>
                      </a:solidFill>
                      <a:ln w="9525" cap="flat" cmpd="sng" algn="ctr">
                        <a:noFill/>
                        <a:prstDash val="solid"/>
                      </a:ln>
                      <a:effectLst/>
                    </p:spPr>
                    <p:txBody>
                      <a:bodyPr rtlCol="0" anchor="ctr"/>
                      <a:lstStyle/>
                      <a:p>
                        <a:pPr algn="ctr" defTabSz="1625478" fontAlgn="base">
                          <a:spcBef>
                            <a:spcPct val="0"/>
                          </a:spcBef>
                          <a:spcAft>
                            <a:spcPct val="0"/>
                          </a:spcAft>
                          <a:defRPr/>
                        </a:pPr>
                        <a:endParaRPr lang="en-US" sz="4267" kern="0">
                          <a:solidFill>
                            <a:prstClr val="white"/>
                          </a:solidFill>
                          <a:latin typeface="CiscoSansTT ExtraLight"/>
                          <a:ea typeface="ＭＳ Ｐゴシック" charset="0"/>
                          <a:cs typeface="Arial"/>
                          <a:sym typeface="Arial"/>
                        </a:endParaRPr>
                      </a:p>
                    </p:txBody>
                  </p:sp>
                </p:grpSp>
                <p:grpSp>
                  <p:nvGrpSpPr>
                    <p:cNvPr id="135" name="Group 134">
                      <a:extLst>
                        <a:ext uri="{FF2B5EF4-FFF2-40B4-BE49-F238E27FC236}">
                          <a16:creationId xmlns:a16="http://schemas.microsoft.com/office/drawing/2014/main" id="{46366913-8588-48B1-B8CE-5046ACA3FA2C}"/>
                        </a:ext>
                      </a:extLst>
                    </p:cNvPr>
                    <p:cNvGrpSpPr/>
                    <p:nvPr/>
                  </p:nvGrpSpPr>
                  <p:grpSpPr>
                    <a:xfrm>
                      <a:off x="7087117" y="1832741"/>
                      <a:ext cx="361922" cy="77714"/>
                      <a:chOff x="5892682" y="3935099"/>
                      <a:chExt cx="361922" cy="77714"/>
                    </a:xfrm>
                  </p:grpSpPr>
                  <p:grpSp>
                    <p:nvGrpSpPr>
                      <p:cNvPr id="136" name="Group 135">
                        <a:extLst>
                          <a:ext uri="{FF2B5EF4-FFF2-40B4-BE49-F238E27FC236}">
                            <a16:creationId xmlns:a16="http://schemas.microsoft.com/office/drawing/2014/main" id="{C6A42A6C-A9B6-45CF-B019-A558452FF7FF}"/>
                          </a:ext>
                        </a:extLst>
                      </p:cNvPr>
                      <p:cNvGrpSpPr/>
                      <p:nvPr/>
                    </p:nvGrpSpPr>
                    <p:grpSpPr>
                      <a:xfrm>
                        <a:off x="6062939" y="3938589"/>
                        <a:ext cx="191665" cy="74224"/>
                        <a:chOff x="4551518" y="-1419606"/>
                        <a:chExt cx="1083200" cy="419482"/>
                      </a:xfrm>
                      <a:solidFill>
                        <a:srgbClr val="0498D1">
                          <a:lumMod val="75000"/>
                        </a:srgbClr>
                      </a:solidFill>
                    </p:grpSpPr>
                    <p:grpSp>
                      <p:nvGrpSpPr>
                        <p:cNvPr id="140" name="Group 139">
                          <a:extLst>
                            <a:ext uri="{FF2B5EF4-FFF2-40B4-BE49-F238E27FC236}">
                              <a16:creationId xmlns:a16="http://schemas.microsoft.com/office/drawing/2014/main" id="{07721293-E010-44FF-8952-B7947885DFF4}"/>
                            </a:ext>
                          </a:extLst>
                        </p:cNvPr>
                        <p:cNvGrpSpPr/>
                        <p:nvPr/>
                      </p:nvGrpSpPr>
                      <p:grpSpPr>
                        <a:xfrm>
                          <a:off x="4551518" y="-1419606"/>
                          <a:ext cx="416876" cy="419482"/>
                          <a:chOff x="1039038" y="-1476527"/>
                          <a:chExt cx="254000" cy="255587"/>
                        </a:xfrm>
                        <a:grpFill/>
                      </p:grpSpPr>
                      <p:sp>
                        <p:nvSpPr>
                          <p:cNvPr id="147" name="Freeform 367">
                            <a:extLst>
                              <a:ext uri="{FF2B5EF4-FFF2-40B4-BE49-F238E27FC236}">
                                <a16:creationId xmlns:a16="http://schemas.microsoft.com/office/drawing/2014/main" id="{93EA0D0E-46CC-45B4-801B-4A27ACCEF7B7}"/>
                              </a:ext>
                            </a:extLst>
                          </p:cNvPr>
                          <p:cNvSpPr>
                            <a:spLocks/>
                          </p:cNvSpPr>
                          <p:nvPr/>
                        </p:nvSpPr>
                        <p:spPr bwMode="auto">
                          <a:xfrm>
                            <a:off x="1039038" y="-1430490"/>
                            <a:ext cx="47625" cy="65088"/>
                          </a:xfrm>
                          <a:custGeom>
                            <a:avLst/>
                            <a:gdLst>
                              <a:gd name="T0" fmla="*/ 128 w 207"/>
                              <a:gd name="T1" fmla="*/ 0 h 288"/>
                              <a:gd name="T2" fmla="*/ 128 w 207"/>
                              <a:gd name="T3" fmla="*/ 0 h 288"/>
                              <a:gd name="T4" fmla="*/ 114 w 207"/>
                              <a:gd name="T5" fmla="*/ 17 h 288"/>
                              <a:gd name="T6" fmla="*/ 102 w 207"/>
                              <a:gd name="T7" fmla="*/ 33 h 288"/>
                              <a:gd name="T8" fmla="*/ 90 w 207"/>
                              <a:gd name="T9" fmla="*/ 49 h 288"/>
                              <a:gd name="T10" fmla="*/ 80 w 207"/>
                              <a:gd name="T11" fmla="*/ 67 h 288"/>
                              <a:gd name="T12" fmla="*/ 69 w 207"/>
                              <a:gd name="T13" fmla="*/ 84 h 288"/>
                              <a:gd name="T14" fmla="*/ 59 w 207"/>
                              <a:gd name="T15" fmla="*/ 102 h 288"/>
                              <a:gd name="T16" fmla="*/ 51 w 207"/>
                              <a:gd name="T17" fmla="*/ 119 h 288"/>
                              <a:gd name="T18" fmla="*/ 42 w 207"/>
                              <a:gd name="T19" fmla="*/ 137 h 288"/>
                              <a:gd name="T20" fmla="*/ 35 w 207"/>
                              <a:gd name="T21" fmla="*/ 156 h 288"/>
                              <a:gd name="T22" fmla="*/ 27 w 207"/>
                              <a:gd name="T23" fmla="*/ 174 h 288"/>
                              <a:gd name="T24" fmla="*/ 21 w 207"/>
                              <a:gd name="T25" fmla="*/ 193 h 288"/>
                              <a:gd name="T26" fmla="*/ 16 w 207"/>
                              <a:gd name="T27" fmla="*/ 212 h 288"/>
                              <a:gd name="T28" fmla="*/ 11 w 207"/>
                              <a:gd name="T29" fmla="*/ 230 h 288"/>
                              <a:gd name="T30" fmla="*/ 7 w 207"/>
                              <a:gd name="T31" fmla="*/ 250 h 288"/>
                              <a:gd name="T32" fmla="*/ 3 w 207"/>
                              <a:gd name="T33" fmla="*/ 269 h 288"/>
                              <a:gd name="T34" fmla="*/ 0 w 207"/>
                              <a:gd name="T35" fmla="*/ 288 h 288"/>
                              <a:gd name="T36" fmla="*/ 207 w 207"/>
                              <a:gd name="T37" fmla="*/ 81 h 288"/>
                              <a:gd name="T38" fmla="*/ 128 w 207"/>
                              <a:gd name="T3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88">
                                <a:moveTo>
                                  <a:pt x="128" y="0"/>
                                </a:moveTo>
                                <a:lnTo>
                                  <a:pt x="128" y="0"/>
                                </a:lnTo>
                                <a:lnTo>
                                  <a:pt x="114" y="17"/>
                                </a:lnTo>
                                <a:lnTo>
                                  <a:pt x="102" y="33"/>
                                </a:lnTo>
                                <a:lnTo>
                                  <a:pt x="90" y="49"/>
                                </a:lnTo>
                                <a:lnTo>
                                  <a:pt x="80" y="67"/>
                                </a:lnTo>
                                <a:lnTo>
                                  <a:pt x="69" y="84"/>
                                </a:lnTo>
                                <a:lnTo>
                                  <a:pt x="59" y="102"/>
                                </a:lnTo>
                                <a:lnTo>
                                  <a:pt x="51" y="119"/>
                                </a:lnTo>
                                <a:lnTo>
                                  <a:pt x="42" y="137"/>
                                </a:lnTo>
                                <a:lnTo>
                                  <a:pt x="35" y="156"/>
                                </a:lnTo>
                                <a:lnTo>
                                  <a:pt x="27" y="174"/>
                                </a:lnTo>
                                <a:lnTo>
                                  <a:pt x="21" y="193"/>
                                </a:lnTo>
                                <a:lnTo>
                                  <a:pt x="16" y="212"/>
                                </a:lnTo>
                                <a:lnTo>
                                  <a:pt x="11" y="230"/>
                                </a:lnTo>
                                <a:lnTo>
                                  <a:pt x="7" y="250"/>
                                </a:lnTo>
                                <a:lnTo>
                                  <a:pt x="3" y="269"/>
                                </a:lnTo>
                                <a:lnTo>
                                  <a:pt x="0" y="288"/>
                                </a:lnTo>
                                <a:lnTo>
                                  <a:pt x="207" y="81"/>
                                </a:lnTo>
                                <a:lnTo>
                                  <a:pt x="1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148" name="Freeform 368">
                            <a:extLst>
                              <a:ext uri="{FF2B5EF4-FFF2-40B4-BE49-F238E27FC236}">
                                <a16:creationId xmlns:a16="http://schemas.microsoft.com/office/drawing/2014/main" id="{781F6D66-0694-43E2-89E4-9B0330CECB67}"/>
                              </a:ext>
                            </a:extLst>
                          </p:cNvPr>
                          <p:cNvSpPr>
                            <a:spLocks/>
                          </p:cNvSpPr>
                          <p:nvPr/>
                        </p:nvSpPr>
                        <p:spPr bwMode="auto">
                          <a:xfrm>
                            <a:off x="1053325" y="-1365402"/>
                            <a:ext cx="96837" cy="98425"/>
                          </a:xfrm>
                          <a:custGeom>
                            <a:avLst/>
                            <a:gdLst>
                              <a:gd name="T0" fmla="*/ 350 w 428"/>
                              <a:gd name="T1" fmla="*/ 0 h 438"/>
                              <a:gd name="T2" fmla="*/ 3 w 428"/>
                              <a:gd name="T3" fmla="*/ 346 h 438"/>
                              <a:gd name="T4" fmla="*/ 0 w 428"/>
                              <a:gd name="T5" fmla="*/ 342 h 438"/>
                              <a:gd name="T6" fmla="*/ 0 w 428"/>
                              <a:gd name="T7" fmla="*/ 342 h 438"/>
                              <a:gd name="T8" fmla="*/ 15 w 428"/>
                              <a:gd name="T9" fmla="*/ 368 h 438"/>
                              <a:gd name="T10" fmla="*/ 30 w 428"/>
                              <a:gd name="T11" fmla="*/ 392 h 438"/>
                              <a:gd name="T12" fmla="*/ 47 w 428"/>
                              <a:gd name="T13" fmla="*/ 416 h 438"/>
                              <a:gd name="T14" fmla="*/ 66 w 428"/>
                              <a:gd name="T15" fmla="*/ 438 h 438"/>
                              <a:gd name="T16" fmla="*/ 428 w 428"/>
                              <a:gd name="T17" fmla="*/ 76 h 438"/>
                              <a:gd name="T18" fmla="*/ 350 w 428"/>
                              <a:gd name="T19"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8" h="438">
                                <a:moveTo>
                                  <a:pt x="350" y="0"/>
                                </a:moveTo>
                                <a:lnTo>
                                  <a:pt x="3" y="346"/>
                                </a:lnTo>
                                <a:lnTo>
                                  <a:pt x="0" y="342"/>
                                </a:lnTo>
                                <a:lnTo>
                                  <a:pt x="0" y="342"/>
                                </a:lnTo>
                                <a:lnTo>
                                  <a:pt x="15" y="368"/>
                                </a:lnTo>
                                <a:lnTo>
                                  <a:pt x="30" y="392"/>
                                </a:lnTo>
                                <a:lnTo>
                                  <a:pt x="47" y="416"/>
                                </a:lnTo>
                                <a:lnTo>
                                  <a:pt x="66" y="438"/>
                                </a:lnTo>
                                <a:lnTo>
                                  <a:pt x="428" y="76"/>
                                </a:lnTo>
                                <a:lnTo>
                                  <a:pt x="3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149" name="Freeform 369">
                            <a:extLst>
                              <a:ext uri="{FF2B5EF4-FFF2-40B4-BE49-F238E27FC236}">
                                <a16:creationId xmlns:a16="http://schemas.microsoft.com/office/drawing/2014/main" id="{11B88AB1-13E5-4AEC-8D7C-CAB3045D7AC2}"/>
                              </a:ext>
                            </a:extLst>
                          </p:cNvPr>
                          <p:cNvSpPr>
                            <a:spLocks/>
                          </p:cNvSpPr>
                          <p:nvPr/>
                        </p:nvSpPr>
                        <p:spPr bwMode="auto">
                          <a:xfrm>
                            <a:off x="1083488" y="-1430490"/>
                            <a:ext cx="209550" cy="209550"/>
                          </a:xfrm>
                          <a:custGeom>
                            <a:avLst/>
                            <a:gdLst>
                              <a:gd name="T0" fmla="*/ 0 w 925"/>
                              <a:gd name="T1" fmla="*/ 793 h 925"/>
                              <a:gd name="T2" fmla="*/ 21 w 925"/>
                              <a:gd name="T3" fmla="*/ 810 h 925"/>
                              <a:gd name="T4" fmla="*/ 65 w 925"/>
                              <a:gd name="T5" fmla="*/ 840 h 925"/>
                              <a:gd name="T6" fmla="*/ 111 w 925"/>
                              <a:gd name="T7" fmla="*/ 866 h 925"/>
                              <a:gd name="T8" fmla="*/ 158 w 925"/>
                              <a:gd name="T9" fmla="*/ 887 h 925"/>
                              <a:gd name="T10" fmla="*/ 207 w 925"/>
                              <a:gd name="T11" fmla="*/ 903 h 925"/>
                              <a:gd name="T12" fmla="*/ 257 w 925"/>
                              <a:gd name="T13" fmla="*/ 916 h 925"/>
                              <a:gd name="T14" fmla="*/ 308 w 925"/>
                              <a:gd name="T15" fmla="*/ 923 h 925"/>
                              <a:gd name="T16" fmla="*/ 359 w 925"/>
                              <a:gd name="T17" fmla="*/ 925 h 925"/>
                              <a:gd name="T18" fmla="*/ 410 w 925"/>
                              <a:gd name="T19" fmla="*/ 923 h 925"/>
                              <a:gd name="T20" fmla="*/ 461 w 925"/>
                              <a:gd name="T21" fmla="*/ 917 h 925"/>
                              <a:gd name="T22" fmla="*/ 512 w 925"/>
                              <a:gd name="T23" fmla="*/ 905 h 925"/>
                              <a:gd name="T24" fmla="*/ 561 w 925"/>
                              <a:gd name="T25" fmla="*/ 889 h 925"/>
                              <a:gd name="T26" fmla="*/ 608 w 925"/>
                              <a:gd name="T27" fmla="*/ 869 h 925"/>
                              <a:gd name="T28" fmla="*/ 654 w 925"/>
                              <a:gd name="T29" fmla="*/ 844 h 925"/>
                              <a:gd name="T30" fmla="*/ 699 w 925"/>
                              <a:gd name="T31" fmla="*/ 814 h 925"/>
                              <a:gd name="T32" fmla="*/ 740 w 925"/>
                              <a:gd name="T33" fmla="*/ 780 h 925"/>
                              <a:gd name="T34" fmla="*/ 760 w 925"/>
                              <a:gd name="T35" fmla="*/ 760 h 925"/>
                              <a:gd name="T36" fmla="*/ 797 w 925"/>
                              <a:gd name="T37" fmla="*/ 720 h 925"/>
                              <a:gd name="T38" fmla="*/ 829 w 925"/>
                              <a:gd name="T39" fmla="*/ 677 h 925"/>
                              <a:gd name="T40" fmla="*/ 856 w 925"/>
                              <a:gd name="T41" fmla="*/ 632 h 925"/>
                              <a:gd name="T42" fmla="*/ 879 w 925"/>
                              <a:gd name="T43" fmla="*/ 585 h 925"/>
                              <a:gd name="T44" fmla="*/ 897 w 925"/>
                              <a:gd name="T45" fmla="*/ 536 h 925"/>
                              <a:gd name="T46" fmla="*/ 911 w 925"/>
                              <a:gd name="T47" fmla="*/ 487 h 925"/>
                              <a:gd name="T48" fmla="*/ 920 w 925"/>
                              <a:gd name="T49" fmla="*/ 436 h 925"/>
                              <a:gd name="T50" fmla="*/ 924 w 925"/>
                              <a:gd name="T51" fmla="*/ 385 h 925"/>
                              <a:gd name="T52" fmla="*/ 924 w 925"/>
                              <a:gd name="T53" fmla="*/ 334 h 925"/>
                              <a:gd name="T54" fmla="*/ 919 w 925"/>
                              <a:gd name="T55" fmla="*/ 283 h 925"/>
                              <a:gd name="T56" fmla="*/ 910 w 925"/>
                              <a:gd name="T57" fmla="*/ 233 h 925"/>
                              <a:gd name="T58" fmla="*/ 895 w 925"/>
                              <a:gd name="T59" fmla="*/ 183 h 925"/>
                              <a:gd name="T60" fmla="*/ 877 w 925"/>
                              <a:gd name="T61" fmla="*/ 134 h 925"/>
                              <a:gd name="T62" fmla="*/ 853 w 925"/>
                              <a:gd name="T63" fmla="*/ 88 h 925"/>
                              <a:gd name="T64" fmla="*/ 825 w 925"/>
                              <a:gd name="T65" fmla="*/ 43 h 925"/>
                              <a:gd name="T66" fmla="*/ 793 w 925"/>
                              <a:gd name="T67" fmla="*/ 0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5" h="925">
                                <a:moveTo>
                                  <a:pt x="793" y="0"/>
                                </a:moveTo>
                                <a:lnTo>
                                  <a:pt x="0" y="793"/>
                                </a:lnTo>
                                <a:lnTo>
                                  <a:pt x="0" y="793"/>
                                </a:lnTo>
                                <a:lnTo>
                                  <a:pt x="21" y="810"/>
                                </a:lnTo>
                                <a:lnTo>
                                  <a:pt x="42" y="826"/>
                                </a:lnTo>
                                <a:lnTo>
                                  <a:pt x="65" y="840"/>
                                </a:lnTo>
                                <a:lnTo>
                                  <a:pt x="87" y="853"/>
                                </a:lnTo>
                                <a:lnTo>
                                  <a:pt x="111" y="866"/>
                                </a:lnTo>
                                <a:lnTo>
                                  <a:pt x="134" y="877"/>
                                </a:lnTo>
                                <a:lnTo>
                                  <a:pt x="158" y="887"/>
                                </a:lnTo>
                                <a:lnTo>
                                  <a:pt x="182" y="896"/>
                                </a:lnTo>
                                <a:lnTo>
                                  <a:pt x="207" y="903"/>
                                </a:lnTo>
                                <a:lnTo>
                                  <a:pt x="232" y="911"/>
                                </a:lnTo>
                                <a:lnTo>
                                  <a:pt x="257" y="916"/>
                                </a:lnTo>
                                <a:lnTo>
                                  <a:pt x="283" y="920"/>
                                </a:lnTo>
                                <a:lnTo>
                                  <a:pt x="308" y="923"/>
                                </a:lnTo>
                                <a:lnTo>
                                  <a:pt x="334" y="925"/>
                                </a:lnTo>
                                <a:lnTo>
                                  <a:pt x="359" y="925"/>
                                </a:lnTo>
                                <a:lnTo>
                                  <a:pt x="385" y="925"/>
                                </a:lnTo>
                                <a:lnTo>
                                  <a:pt x="410" y="923"/>
                                </a:lnTo>
                                <a:lnTo>
                                  <a:pt x="436" y="921"/>
                                </a:lnTo>
                                <a:lnTo>
                                  <a:pt x="461" y="917"/>
                                </a:lnTo>
                                <a:lnTo>
                                  <a:pt x="486" y="912"/>
                                </a:lnTo>
                                <a:lnTo>
                                  <a:pt x="512" y="905"/>
                                </a:lnTo>
                                <a:lnTo>
                                  <a:pt x="536" y="898"/>
                                </a:lnTo>
                                <a:lnTo>
                                  <a:pt x="561" y="889"/>
                                </a:lnTo>
                                <a:lnTo>
                                  <a:pt x="584" y="880"/>
                                </a:lnTo>
                                <a:lnTo>
                                  <a:pt x="608" y="869"/>
                                </a:lnTo>
                                <a:lnTo>
                                  <a:pt x="631" y="857"/>
                                </a:lnTo>
                                <a:lnTo>
                                  <a:pt x="654" y="844"/>
                                </a:lnTo>
                                <a:lnTo>
                                  <a:pt x="676" y="830"/>
                                </a:lnTo>
                                <a:lnTo>
                                  <a:pt x="699" y="814"/>
                                </a:lnTo>
                                <a:lnTo>
                                  <a:pt x="719" y="797"/>
                                </a:lnTo>
                                <a:lnTo>
                                  <a:pt x="740" y="780"/>
                                </a:lnTo>
                                <a:lnTo>
                                  <a:pt x="760" y="760"/>
                                </a:lnTo>
                                <a:lnTo>
                                  <a:pt x="760" y="760"/>
                                </a:lnTo>
                                <a:lnTo>
                                  <a:pt x="779" y="741"/>
                                </a:lnTo>
                                <a:lnTo>
                                  <a:pt x="797" y="720"/>
                                </a:lnTo>
                                <a:lnTo>
                                  <a:pt x="813" y="699"/>
                                </a:lnTo>
                                <a:lnTo>
                                  <a:pt x="829" y="677"/>
                                </a:lnTo>
                                <a:lnTo>
                                  <a:pt x="843" y="655"/>
                                </a:lnTo>
                                <a:lnTo>
                                  <a:pt x="856" y="632"/>
                                </a:lnTo>
                                <a:lnTo>
                                  <a:pt x="869" y="609"/>
                                </a:lnTo>
                                <a:lnTo>
                                  <a:pt x="879" y="585"/>
                                </a:lnTo>
                                <a:lnTo>
                                  <a:pt x="889" y="561"/>
                                </a:lnTo>
                                <a:lnTo>
                                  <a:pt x="897" y="536"/>
                                </a:lnTo>
                                <a:lnTo>
                                  <a:pt x="905" y="512"/>
                                </a:lnTo>
                                <a:lnTo>
                                  <a:pt x="911" y="487"/>
                                </a:lnTo>
                                <a:lnTo>
                                  <a:pt x="916" y="462"/>
                                </a:lnTo>
                                <a:lnTo>
                                  <a:pt x="920" y="436"/>
                                </a:lnTo>
                                <a:lnTo>
                                  <a:pt x="923" y="410"/>
                                </a:lnTo>
                                <a:lnTo>
                                  <a:pt x="924" y="385"/>
                                </a:lnTo>
                                <a:lnTo>
                                  <a:pt x="925" y="359"/>
                                </a:lnTo>
                                <a:lnTo>
                                  <a:pt x="924" y="334"/>
                                </a:lnTo>
                                <a:lnTo>
                                  <a:pt x="922" y="308"/>
                                </a:lnTo>
                                <a:lnTo>
                                  <a:pt x="919" y="283"/>
                                </a:lnTo>
                                <a:lnTo>
                                  <a:pt x="915" y="258"/>
                                </a:lnTo>
                                <a:lnTo>
                                  <a:pt x="910" y="233"/>
                                </a:lnTo>
                                <a:lnTo>
                                  <a:pt x="904" y="208"/>
                                </a:lnTo>
                                <a:lnTo>
                                  <a:pt x="895" y="183"/>
                                </a:lnTo>
                                <a:lnTo>
                                  <a:pt x="886" y="159"/>
                                </a:lnTo>
                                <a:lnTo>
                                  <a:pt x="877" y="134"/>
                                </a:lnTo>
                                <a:lnTo>
                                  <a:pt x="866" y="111"/>
                                </a:lnTo>
                                <a:lnTo>
                                  <a:pt x="853" y="88"/>
                                </a:lnTo>
                                <a:lnTo>
                                  <a:pt x="840" y="65"/>
                                </a:lnTo>
                                <a:lnTo>
                                  <a:pt x="825" y="43"/>
                                </a:lnTo>
                                <a:lnTo>
                                  <a:pt x="809" y="22"/>
                                </a:lnTo>
                                <a:lnTo>
                                  <a:pt x="793" y="0"/>
                                </a:lnTo>
                                <a:lnTo>
                                  <a:pt x="7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150" name="Freeform 370">
                            <a:extLst>
                              <a:ext uri="{FF2B5EF4-FFF2-40B4-BE49-F238E27FC236}">
                                <a16:creationId xmlns:a16="http://schemas.microsoft.com/office/drawing/2014/main" id="{E0164347-453F-4B2C-A76F-F115FB86F893}"/>
                              </a:ext>
                            </a:extLst>
                          </p:cNvPr>
                          <p:cNvSpPr>
                            <a:spLocks/>
                          </p:cNvSpPr>
                          <p:nvPr/>
                        </p:nvSpPr>
                        <p:spPr bwMode="auto">
                          <a:xfrm>
                            <a:off x="1083488" y="-1476527"/>
                            <a:ext cx="163512" cy="112713"/>
                          </a:xfrm>
                          <a:custGeom>
                            <a:avLst/>
                            <a:gdLst>
                              <a:gd name="T0" fmla="*/ 725 w 725"/>
                              <a:gd name="T1" fmla="*/ 132 h 494"/>
                              <a:gd name="T2" fmla="*/ 725 w 725"/>
                              <a:gd name="T3" fmla="*/ 132 h 494"/>
                              <a:gd name="T4" fmla="*/ 705 w 725"/>
                              <a:gd name="T5" fmla="*/ 116 h 494"/>
                              <a:gd name="T6" fmla="*/ 685 w 725"/>
                              <a:gd name="T7" fmla="*/ 101 h 494"/>
                              <a:gd name="T8" fmla="*/ 664 w 725"/>
                              <a:gd name="T9" fmla="*/ 87 h 494"/>
                              <a:gd name="T10" fmla="*/ 643 w 725"/>
                              <a:gd name="T11" fmla="*/ 75 h 494"/>
                              <a:gd name="T12" fmla="*/ 621 w 725"/>
                              <a:gd name="T13" fmla="*/ 62 h 494"/>
                              <a:gd name="T14" fmla="*/ 599 w 725"/>
                              <a:gd name="T15" fmla="*/ 51 h 494"/>
                              <a:gd name="T16" fmla="*/ 576 w 725"/>
                              <a:gd name="T17" fmla="*/ 42 h 494"/>
                              <a:gd name="T18" fmla="*/ 553 w 725"/>
                              <a:gd name="T19" fmla="*/ 33 h 494"/>
                              <a:gd name="T20" fmla="*/ 530 w 725"/>
                              <a:gd name="T21" fmla="*/ 25 h 494"/>
                              <a:gd name="T22" fmla="*/ 507 w 725"/>
                              <a:gd name="T23" fmla="*/ 18 h 494"/>
                              <a:gd name="T24" fmla="*/ 483 w 725"/>
                              <a:gd name="T25" fmla="*/ 13 h 494"/>
                              <a:gd name="T26" fmla="*/ 460 w 725"/>
                              <a:gd name="T27" fmla="*/ 8 h 494"/>
                              <a:gd name="T28" fmla="*/ 435 w 725"/>
                              <a:gd name="T29" fmla="*/ 5 h 494"/>
                              <a:gd name="T30" fmla="*/ 411 w 725"/>
                              <a:gd name="T31" fmla="*/ 2 h 494"/>
                              <a:gd name="T32" fmla="*/ 387 w 725"/>
                              <a:gd name="T33" fmla="*/ 1 h 494"/>
                              <a:gd name="T34" fmla="*/ 362 w 725"/>
                              <a:gd name="T35" fmla="*/ 0 h 494"/>
                              <a:gd name="T36" fmla="*/ 339 w 725"/>
                              <a:gd name="T37" fmla="*/ 1 h 494"/>
                              <a:gd name="T38" fmla="*/ 314 w 725"/>
                              <a:gd name="T39" fmla="*/ 2 h 494"/>
                              <a:gd name="T40" fmla="*/ 291 w 725"/>
                              <a:gd name="T41" fmla="*/ 5 h 494"/>
                              <a:gd name="T42" fmla="*/ 266 w 725"/>
                              <a:gd name="T43" fmla="*/ 8 h 494"/>
                              <a:gd name="T44" fmla="*/ 243 w 725"/>
                              <a:gd name="T45" fmla="*/ 13 h 494"/>
                              <a:gd name="T46" fmla="*/ 219 w 725"/>
                              <a:gd name="T47" fmla="*/ 18 h 494"/>
                              <a:gd name="T48" fmla="*/ 196 w 725"/>
                              <a:gd name="T49" fmla="*/ 25 h 494"/>
                              <a:gd name="T50" fmla="*/ 173 w 725"/>
                              <a:gd name="T51" fmla="*/ 33 h 494"/>
                              <a:gd name="T52" fmla="*/ 150 w 725"/>
                              <a:gd name="T53" fmla="*/ 42 h 494"/>
                              <a:gd name="T54" fmla="*/ 127 w 725"/>
                              <a:gd name="T55" fmla="*/ 52 h 494"/>
                              <a:gd name="T56" fmla="*/ 105 w 725"/>
                              <a:gd name="T57" fmla="*/ 62 h 494"/>
                              <a:gd name="T58" fmla="*/ 83 w 725"/>
                              <a:gd name="T59" fmla="*/ 75 h 494"/>
                              <a:gd name="T60" fmla="*/ 62 w 725"/>
                              <a:gd name="T61" fmla="*/ 87 h 494"/>
                              <a:gd name="T62" fmla="*/ 41 w 725"/>
                              <a:gd name="T63" fmla="*/ 101 h 494"/>
                              <a:gd name="T64" fmla="*/ 21 w 725"/>
                              <a:gd name="T65" fmla="*/ 116 h 494"/>
                              <a:gd name="T66" fmla="*/ 0 w 725"/>
                              <a:gd name="T67" fmla="*/ 132 h 494"/>
                              <a:gd name="T68" fmla="*/ 362 w 725"/>
                              <a:gd name="T69" fmla="*/ 494 h 494"/>
                              <a:gd name="T70" fmla="*/ 725 w 725"/>
                              <a:gd name="T71" fmla="*/ 1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5" h="494">
                                <a:moveTo>
                                  <a:pt x="725" y="132"/>
                                </a:moveTo>
                                <a:lnTo>
                                  <a:pt x="725" y="132"/>
                                </a:lnTo>
                                <a:lnTo>
                                  <a:pt x="705" y="116"/>
                                </a:lnTo>
                                <a:lnTo>
                                  <a:pt x="685" y="101"/>
                                </a:lnTo>
                                <a:lnTo>
                                  <a:pt x="664" y="87"/>
                                </a:lnTo>
                                <a:lnTo>
                                  <a:pt x="643" y="75"/>
                                </a:lnTo>
                                <a:lnTo>
                                  <a:pt x="621" y="62"/>
                                </a:lnTo>
                                <a:lnTo>
                                  <a:pt x="599" y="51"/>
                                </a:lnTo>
                                <a:lnTo>
                                  <a:pt x="576" y="42"/>
                                </a:lnTo>
                                <a:lnTo>
                                  <a:pt x="553" y="33"/>
                                </a:lnTo>
                                <a:lnTo>
                                  <a:pt x="530" y="25"/>
                                </a:lnTo>
                                <a:lnTo>
                                  <a:pt x="507" y="18"/>
                                </a:lnTo>
                                <a:lnTo>
                                  <a:pt x="483" y="13"/>
                                </a:lnTo>
                                <a:lnTo>
                                  <a:pt x="460" y="8"/>
                                </a:lnTo>
                                <a:lnTo>
                                  <a:pt x="435" y="5"/>
                                </a:lnTo>
                                <a:lnTo>
                                  <a:pt x="411" y="2"/>
                                </a:lnTo>
                                <a:lnTo>
                                  <a:pt x="387" y="1"/>
                                </a:lnTo>
                                <a:lnTo>
                                  <a:pt x="362" y="0"/>
                                </a:lnTo>
                                <a:lnTo>
                                  <a:pt x="339" y="1"/>
                                </a:lnTo>
                                <a:lnTo>
                                  <a:pt x="314" y="2"/>
                                </a:lnTo>
                                <a:lnTo>
                                  <a:pt x="291" y="5"/>
                                </a:lnTo>
                                <a:lnTo>
                                  <a:pt x="266" y="8"/>
                                </a:lnTo>
                                <a:lnTo>
                                  <a:pt x="243" y="13"/>
                                </a:lnTo>
                                <a:lnTo>
                                  <a:pt x="219" y="18"/>
                                </a:lnTo>
                                <a:lnTo>
                                  <a:pt x="196" y="25"/>
                                </a:lnTo>
                                <a:lnTo>
                                  <a:pt x="173" y="33"/>
                                </a:lnTo>
                                <a:lnTo>
                                  <a:pt x="150" y="42"/>
                                </a:lnTo>
                                <a:lnTo>
                                  <a:pt x="127" y="52"/>
                                </a:lnTo>
                                <a:lnTo>
                                  <a:pt x="105" y="62"/>
                                </a:lnTo>
                                <a:lnTo>
                                  <a:pt x="83" y="75"/>
                                </a:lnTo>
                                <a:lnTo>
                                  <a:pt x="62" y="87"/>
                                </a:lnTo>
                                <a:lnTo>
                                  <a:pt x="41" y="101"/>
                                </a:lnTo>
                                <a:lnTo>
                                  <a:pt x="21" y="116"/>
                                </a:lnTo>
                                <a:lnTo>
                                  <a:pt x="0" y="132"/>
                                </a:lnTo>
                                <a:lnTo>
                                  <a:pt x="362" y="494"/>
                                </a:lnTo>
                                <a:lnTo>
                                  <a:pt x="725"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151" name="Freeform 371">
                            <a:extLst>
                              <a:ext uri="{FF2B5EF4-FFF2-40B4-BE49-F238E27FC236}">
                                <a16:creationId xmlns:a16="http://schemas.microsoft.com/office/drawing/2014/main" id="{ABA30156-A681-4C9C-921E-3A0F5B70C2B4}"/>
                              </a:ext>
                            </a:extLst>
                          </p:cNvPr>
                          <p:cNvSpPr>
                            <a:spLocks/>
                          </p:cNvSpPr>
                          <p:nvPr/>
                        </p:nvSpPr>
                        <p:spPr bwMode="auto">
                          <a:xfrm>
                            <a:off x="1039038" y="-1398740"/>
                            <a:ext cx="79375" cy="92075"/>
                          </a:xfrm>
                          <a:custGeom>
                            <a:avLst/>
                            <a:gdLst>
                              <a:gd name="T0" fmla="*/ 272 w 352"/>
                              <a:gd name="T1" fmla="*/ 0 h 402"/>
                              <a:gd name="T2" fmla="*/ 0 w 352"/>
                              <a:gd name="T3" fmla="*/ 273 h 402"/>
                              <a:gd name="T4" fmla="*/ 0 w 352"/>
                              <a:gd name="T5" fmla="*/ 273 h 402"/>
                              <a:gd name="T6" fmla="*/ 4 w 352"/>
                              <a:gd name="T7" fmla="*/ 305 h 402"/>
                              <a:gd name="T8" fmla="*/ 10 w 352"/>
                              <a:gd name="T9" fmla="*/ 338 h 402"/>
                              <a:gd name="T10" fmla="*/ 18 w 352"/>
                              <a:gd name="T11" fmla="*/ 371 h 402"/>
                              <a:gd name="T12" fmla="*/ 28 w 352"/>
                              <a:gd name="T13" fmla="*/ 402 h 402"/>
                              <a:gd name="T14" fmla="*/ 352 w 352"/>
                              <a:gd name="T15" fmla="*/ 79 h 402"/>
                              <a:gd name="T16" fmla="*/ 272 w 352"/>
                              <a:gd name="T1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2" h="402">
                                <a:moveTo>
                                  <a:pt x="272" y="0"/>
                                </a:moveTo>
                                <a:lnTo>
                                  <a:pt x="0" y="273"/>
                                </a:lnTo>
                                <a:lnTo>
                                  <a:pt x="0" y="273"/>
                                </a:lnTo>
                                <a:lnTo>
                                  <a:pt x="4" y="305"/>
                                </a:lnTo>
                                <a:lnTo>
                                  <a:pt x="10" y="338"/>
                                </a:lnTo>
                                <a:lnTo>
                                  <a:pt x="18" y="371"/>
                                </a:lnTo>
                                <a:lnTo>
                                  <a:pt x="28" y="402"/>
                                </a:lnTo>
                                <a:lnTo>
                                  <a:pt x="352" y="79"/>
                                </a:lnTo>
                                <a:lnTo>
                                  <a:pt x="2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grpSp>
                    <p:grpSp>
                      <p:nvGrpSpPr>
                        <p:cNvPr id="141" name="Group 140">
                          <a:extLst>
                            <a:ext uri="{FF2B5EF4-FFF2-40B4-BE49-F238E27FC236}">
                              <a16:creationId xmlns:a16="http://schemas.microsoft.com/office/drawing/2014/main" id="{8B2041A6-EA0A-40E2-8969-31F27CACD0D2}"/>
                            </a:ext>
                          </a:extLst>
                        </p:cNvPr>
                        <p:cNvGrpSpPr/>
                        <p:nvPr/>
                      </p:nvGrpSpPr>
                      <p:grpSpPr>
                        <a:xfrm>
                          <a:off x="5208518" y="-1395792"/>
                          <a:ext cx="426200" cy="371854"/>
                          <a:chOff x="1620064" y="-757313"/>
                          <a:chExt cx="236538" cy="206376"/>
                        </a:xfrm>
                        <a:grpFill/>
                      </p:grpSpPr>
                      <p:sp>
                        <p:nvSpPr>
                          <p:cNvPr id="142" name="Freeform 186">
                            <a:extLst>
                              <a:ext uri="{FF2B5EF4-FFF2-40B4-BE49-F238E27FC236}">
                                <a16:creationId xmlns:a16="http://schemas.microsoft.com/office/drawing/2014/main" id="{310F4B04-D4B6-4C04-95F6-BF4BBA25B172}"/>
                              </a:ext>
                            </a:extLst>
                          </p:cNvPr>
                          <p:cNvSpPr>
                            <a:spLocks/>
                          </p:cNvSpPr>
                          <p:nvPr/>
                        </p:nvSpPr>
                        <p:spPr bwMode="auto">
                          <a:xfrm>
                            <a:off x="1745476" y="-757313"/>
                            <a:ext cx="44450" cy="174625"/>
                          </a:xfrm>
                          <a:custGeom>
                            <a:avLst/>
                            <a:gdLst>
                              <a:gd name="T0" fmla="*/ 196 w 196"/>
                              <a:gd name="T1" fmla="*/ 26 h 767"/>
                              <a:gd name="T2" fmla="*/ 196 w 196"/>
                              <a:gd name="T3" fmla="*/ 26 h 767"/>
                              <a:gd name="T4" fmla="*/ 196 w 196"/>
                              <a:gd name="T5" fmla="*/ 21 h 767"/>
                              <a:gd name="T6" fmla="*/ 194 w 196"/>
                              <a:gd name="T7" fmla="*/ 17 h 767"/>
                              <a:gd name="T8" fmla="*/ 192 w 196"/>
                              <a:gd name="T9" fmla="*/ 11 h 767"/>
                              <a:gd name="T10" fmla="*/ 189 w 196"/>
                              <a:gd name="T11" fmla="*/ 8 h 767"/>
                              <a:gd name="T12" fmla="*/ 185 w 196"/>
                              <a:gd name="T13" fmla="*/ 5 h 767"/>
                              <a:gd name="T14" fmla="*/ 181 w 196"/>
                              <a:gd name="T15" fmla="*/ 2 h 767"/>
                              <a:gd name="T16" fmla="*/ 177 w 196"/>
                              <a:gd name="T17" fmla="*/ 1 h 767"/>
                              <a:gd name="T18" fmla="*/ 172 w 196"/>
                              <a:gd name="T19" fmla="*/ 0 h 767"/>
                              <a:gd name="T20" fmla="*/ 24 w 196"/>
                              <a:gd name="T21" fmla="*/ 0 h 767"/>
                              <a:gd name="T22" fmla="*/ 24 w 196"/>
                              <a:gd name="T23" fmla="*/ 0 h 767"/>
                              <a:gd name="T24" fmla="*/ 19 w 196"/>
                              <a:gd name="T25" fmla="*/ 1 h 767"/>
                              <a:gd name="T26" fmla="*/ 15 w 196"/>
                              <a:gd name="T27" fmla="*/ 2 h 767"/>
                              <a:gd name="T28" fmla="*/ 11 w 196"/>
                              <a:gd name="T29" fmla="*/ 5 h 767"/>
                              <a:gd name="T30" fmla="*/ 7 w 196"/>
                              <a:gd name="T31" fmla="*/ 8 h 767"/>
                              <a:gd name="T32" fmla="*/ 4 w 196"/>
                              <a:gd name="T33" fmla="*/ 11 h 767"/>
                              <a:gd name="T34" fmla="*/ 2 w 196"/>
                              <a:gd name="T35" fmla="*/ 17 h 767"/>
                              <a:gd name="T36" fmla="*/ 1 w 196"/>
                              <a:gd name="T37" fmla="*/ 21 h 767"/>
                              <a:gd name="T38" fmla="*/ 0 w 196"/>
                              <a:gd name="T39" fmla="*/ 26 h 767"/>
                              <a:gd name="T40" fmla="*/ 0 w 196"/>
                              <a:gd name="T41" fmla="*/ 767 h 767"/>
                              <a:gd name="T42" fmla="*/ 196 w 196"/>
                              <a:gd name="T43" fmla="*/ 767 h 767"/>
                              <a:gd name="T44" fmla="*/ 196 w 196"/>
                              <a:gd name="T45" fmla="*/ 26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767">
                                <a:moveTo>
                                  <a:pt x="196" y="26"/>
                                </a:moveTo>
                                <a:lnTo>
                                  <a:pt x="196" y="26"/>
                                </a:lnTo>
                                <a:lnTo>
                                  <a:pt x="196" y="21"/>
                                </a:lnTo>
                                <a:lnTo>
                                  <a:pt x="194" y="17"/>
                                </a:lnTo>
                                <a:lnTo>
                                  <a:pt x="192" y="11"/>
                                </a:lnTo>
                                <a:lnTo>
                                  <a:pt x="189" y="8"/>
                                </a:lnTo>
                                <a:lnTo>
                                  <a:pt x="185" y="5"/>
                                </a:lnTo>
                                <a:lnTo>
                                  <a:pt x="181" y="2"/>
                                </a:lnTo>
                                <a:lnTo>
                                  <a:pt x="177" y="1"/>
                                </a:lnTo>
                                <a:lnTo>
                                  <a:pt x="172" y="0"/>
                                </a:lnTo>
                                <a:lnTo>
                                  <a:pt x="24" y="0"/>
                                </a:lnTo>
                                <a:lnTo>
                                  <a:pt x="24" y="0"/>
                                </a:lnTo>
                                <a:lnTo>
                                  <a:pt x="19" y="1"/>
                                </a:lnTo>
                                <a:lnTo>
                                  <a:pt x="15" y="2"/>
                                </a:lnTo>
                                <a:lnTo>
                                  <a:pt x="11" y="5"/>
                                </a:lnTo>
                                <a:lnTo>
                                  <a:pt x="7" y="8"/>
                                </a:lnTo>
                                <a:lnTo>
                                  <a:pt x="4" y="11"/>
                                </a:lnTo>
                                <a:lnTo>
                                  <a:pt x="2" y="17"/>
                                </a:lnTo>
                                <a:lnTo>
                                  <a:pt x="1" y="21"/>
                                </a:lnTo>
                                <a:lnTo>
                                  <a:pt x="0" y="26"/>
                                </a:lnTo>
                                <a:lnTo>
                                  <a:pt x="0" y="767"/>
                                </a:lnTo>
                                <a:lnTo>
                                  <a:pt x="196" y="767"/>
                                </a:lnTo>
                                <a:lnTo>
                                  <a:pt x="1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143" name="Freeform 187">
                            <a:extLst>
                              <a:ext uri="{FF2B5EF4-FFF2-40B4-BE49-F238E27FC236}">
                                <a16:creationId xmlns:a16="http://schemas.microsoft.com/office/drawing/2014/main" id="{B2478F58-D9F1-433E-9987-F9B5C7220EE1}"/>
                              </a:ext>
                            </a:extLst>
                          </p:cNvPr>
                          <p:cNvSpPr>
                            <a:spLocks/>
                          </p:cNvSpPr>
                          <p:nvPr/>
                        </p:nvSpPr>
                        <p:spPr bwMode="auto">
                          <a:xfrm>
                            <a:off x="1685151" y="-666825"/>
                            <a:ext cx="44450" cy="84138"/>
                          </a:xfrm>
                          <a:custGeom>
                            <a:avLst/>
                            <a:gdLst>
                              <a:gd name="T0" fmla="*/ 196 w 196"/>
                              <a:gd name="T1" fmla="*/ 25 h 369"/>
                              <a:gd name="T2" fmla="*/ 196 w 196"/>
                              <a:gd name="T3" fmla="*/ 25 h 369"/>
                              <a:gd name="T4" fmla="*/ 196 w 196"/>
                              <a:gd name="T5" fmla="*/ 20 h 369"/>
                              <a:gd name="T6" fmla="*/ 194 w 196"/>
                              <a:gd name="T7" fmla="*/ 15 h 369"/>
                              <a:gd name="T8" fmla="*/ 192 w 196"/>
                              <a:gd name="T9" fmla="*/ 11 h 369"/>
                              <a:gd name="T10" fmla="*/ 189 w 196"/>
                              <a:gd name="T11" fmla="*/ 7 h 369"/>
                              <a:gd name="T12" fmla="*/ 185 w 196"/>
                              <a:gd name="T13" fmla="*/ 4 h 369"/>
                              <a:gd name="T14" fmla="*/ 181 w 196"/>
                              <a:gd name="T15" fmla="*/ 2 h 369"/>
                              <a:gd name="T16" fmla="*/ 177 w 196"/>
                              <a:gd name="T17" fmla="*/ 0 h 369"/>
                              <a:gd name="T18" fmla="*/ 172 w 196"/>
                              <a:gd name="T19" fmla="*/ 0 h 369"/>
                              <a:gd name="T20" fmla="*/ 25 w 196"/>
                              <a:gd name="T21" fmla="*/ 0 h 369"/>
                              <a:gd name="T22" fmla="*/ 25 w 196"/>
                              <a:gd name="T23" fmla="*/ 0 h 369"/>
                              <a:gd name="T24" fmla="*/ 19 w 196"/>
                              <a:gd name="T25" fmla="*/ 0 h 369"/>
                              <a:gd name="T26" fmla="*/ 15 w 196"/>
                              <a:gd name="T27" fmla="*/ 2 h 369"/>
                              <a:gd name="T28" fmla="*/ 11 w 196"/>
                              <a:gd name="T29" fmla="*/ 4 h 369"/>
                              <a:gd name="T30" fmla="*/ 7 w 196"/>
                              <a:gd name="T31" fmla="*/ 7 h 369"/>
                              <a:gd name="T32" fmla="*/ 4 w 196"/>
                              <a:gd name="T33" fmla="*/ 11 h 369"/>
                              <a:gd name="T34" fmla="*/ 2 w 196"/>
                              <a:gd name="T35" fmla="*/ 15 h 369"/>
                              <a:gd name="T36" fmla="*/ 1 w 196"/>
                              <a:gd name="T37" fmla="*/ 20 h 369"/>
                              <a:gd name="T38" fmla="*/ 0 w 196"/>
                              <a:gd name="T39" fmla="*/ 25 h 369"/>
                              <a:gd name="T40" fmla="*/ 0 w 196"/>
                              <a:gd name="T41" fmla="*/ 369 h 369"/>
                              <a:gd name="T42" fmla="*/ 196 w 196"/>
                              <a:gd name="T43" fmla="*/ 369 h 369"/>
                              <a:gd name="T44" fmla="*/ 196 w 196"/>
                              <a:gd name="T45" fmla="*/ 25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369">
                                <a:moveTo>
                                  <a:pt x="196" y="25"/>
                                </a:moveTo>
                                <a:lnTo>
                                  <a:pt x="196" y="25"/>
                                </a:lnTo>
                                <a:lnTo>
                                  <a:pt x="196" y="20"/>
                                </a:lnTo>
                                <a:lnTo>
                                  <a:pt x="194" y="15"/>
                                </a:lnTo>
                                <a:lnTo>
                                  <a:pt x="192" y="11"/>
                                </a:lnTo>
                                <a:lnTo>
                                  <a:pt x="189" y="7"/>
                                </a:lnTo>
                                <a:lnTo>
                                  <a:pt x="185" y="4"/>
                                </a:lnTo>
                                <a:lnTo>
                                  <a:pt x="181" y="2"/>
                                </a:lnTo>
                                <a:lnTo>
                                  <a:pt x="177" y="0"/>
                                </a:lnTo>
                                <a:lnTo>
                                  <a:pt x="172" y="0"/>
                                </a:lnTo>
                                <a:lnTo>
                                  <a:pt x="25" y="0"/>
                                </a:lnTo>
                                <a:lnTo>
                                  <a:pt x="25" y="0"/>
                                </a:lnTo>
                                <a:lnTo>
                                  <a:pt x="19" y="0"/>
                                </a:lnTo>
                                <a:lnTo>
                                  <a:pt x="15" y="2"/>
                                </a:lnTo>
                                <a:lnTo>
                                  <a:pt x="11" y="4"/>
                                </a:lnTo>
                                <a:lnTo>
                                  <a:pt x="7" y="7"/>
                                </a:lnTo>
                                <a:lnTo>
                                  <a:pt x="4" y="11"/>
                                </a:lnTo>
                                <a:lnTo>
                                  <a:pt x="2" y="15"/>
                                </a:lnTo>
                                <a:lnTo>
                                  <a:pt x="1" y="20"/>
                                </a:lnTo>
                                <a:lnTo>
                                  <a:pt x="0" y="25"/>
                                </a:lnTo>
                                <a:lnTo>
                                  <a:pt x="0" y="369"/>
                                </a:lnTo>
                                <a:lnTo>
                                  <a:pt x="196" y="369"/>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144" name="Freeform 188">
                            <a:extLst>
                              <a:ext uri="{FF2B5EF4-FFF2-40B4-BE49-F238E27FC236}">
                                <a16:creationId xmlns:a16="http://schemas.microsoft.com/office/drawing/2014/main" id="{15DED669-4F0C-445D-B5EE-6B08BD75F9B6}"/>
                              </a:ext>
                            </a:extLst>
                          </p:cNvPr>
                          <p:cNvSpPr>
                            <a:spLocks/>
                          </p:cNvSpPr>
                          <p:nvPr/>
                        </p:nvSpPr>
                        <p:spPr bwMode="auto">
                          <a:xfrm>
                            <a:off x="1805801" y="-709688"/>
                            <a:ext cx="44450" cy="127000"/>
                          </a:xfrm>
                          <a:custGeom>
                            <a:avLst/>
                            <a:gdLst>
                              <a:gd name="T0" fmla="*/ 196 w 196"/>
                              <a:gd name="T1" fmla="*/ 24 h 558"/>
                              <a:gd name="T2" fmla="*/ 196 w 196"/>
                              <a:gd name="T3" fmla="*/ 24 h 558"/>
                              <a:gd name="T4" fmla="*/ 196 w 196"/>
                              <a:gd name="T5" fmla="*/ 19 h 558"/>
                              <a:gd name="T6" fmla="*/ 194 w 196"/>
                              <a:gd name="T7" fmla="*/ 15 h 558"/>
                              <a:gd name="T8" fmla="*/ 192 w 196"/>
                              <a:gd name="T9" fmla="*/ 11 h 558"/>
                              <a:gd name="T10" fmla="*/ 189 w 196"/>
                              <a:gd name="T11" fmla="*/ 7 h 558"/>
                              <a:gd name="T12" fmla="*/ 186 w 196"/>
                              <a:gd name="T13" fmla="*/ 4 h 558"/>
                              <a:gd name="T14" fmla="*/ 181 w 196"/>
                              <a:gd name="T15" fmla="*/ 2 h 558"/>
                              <a:gd name="T16" fmla="*/ 177 w 196"/>
                              <a:gd name="T17" fmla="*/ 1 h 558"/>
                              <a:gd name="T18" fmla="*/ 172 w 196"/>
                              <a:gd name="T19" fmla="*/ 0 h 558"/>
                              <a:gd name="T20" fmla="*/ 24 w 196"/>
                              <a:gd name="T21" fmla="*/ 0 h 558"/>
                              <a:gd name="T22" fmla="*/ 24 w 196"/>
                              <a:gd name="T23" fmla="*/ 0 h 558"/>
                              <a:gd name="T24" fmla="*/ 20 w 196"/>
                              <a:gd name="T25" fmla="*/ 1 h 558"/>
                              <a:gd name="T26" fmla="*/ 15 w 196"/>
                              <a:gd name="T27" fmla="*/ 2 h 558"/>
                              <a:gd name="T28" fmla="*/ 11 w 196"/>
                              <a:gd name="T29" fmla="*/ 4 h 558"/>
                              <a:gd name="T30" fmla="*/ 7 w 196"/>
                              <a:gd name="T31" fmla="*/ 7 h 558"/>
                              <a:gd name="T32" fmla="*/ 4 w 196"/>
                              <a:gd name="T33" fmla="*/ 11 h 558"/>
                              <a:gd name="T34" fmla="*/ 2 w 196"/>
                              <a:gd name="T35" fmla="*/ 15 h 558"/>
                              <a:gd name="T36" fmla="*/ 1 w 196"/>
                              <a:gd name="T37" fmla="*/ 19 h 558"/>
                              <a:gd name="T38" fmla="*/ 0 w 196"/>
                              <a:gd name="T39" fmla="*/ 24 h 558"/>
                              <a:gd name="T40" fmla="*/ 0 w 196"/>
                              <a:gd name="T41" fmla="*/ 558 h 558"/>
                              <a:gd name="T42" fmla="*/ 196 w 196"/>
                              <a:gd name="T43" fmla="*/ 558 h 558"/>
                              <a:gd name="T44" fmla="*/ 196 w 196"/>
                              <a:gd name="T45" fmla="*/ 2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558">
                                <a:moveTo>
                                  <a:pt x="196" y="24"/>
                                </a:moveTo>
                                <a:lnTo>
                                  <a:pt x="196" y="24"/>
                                </a:lnTo>
                                <a:lnTo>
                                  <a:pt x="196" y="19"/>
                                </a:lnTo>
                                <a:lnTo>
                                  <a:pt x="194" y="15"/>
                                </a:lnTo>
                                <a:lnTo>
                                  <a:pt x="192" y="11"/>
                                </a:lnTo>
                                <a:lnTo>
                                  <a:pt x="189" y="7"/>
                                </a:lnTo>
                                <a:lnTo>
                                  <a:pt x="186" y="4"/>
                                </a:lnTo>
                                <a:lnTo>
                                  <a:pt x="181" y="2"/>
                                </a:lnTo>
                                <a:lnTo>
                                  <a:pt x="177" y="1"/>
                                </a:lnTo>
                                <a:lnTo>
                                  <a:pt x="172" y="0"/>
                                </a:lnTo>
                                <a:lnTo>
                                  <a:pt x="24" y="0"/>
                                </a:lnTo>
                                <a:lnTo>
                                  <a:pt x="24" y="0"/>
                                </a:lnTo>
                                <a:lnTo>
                                  <a:pt x="20" y="1"/>
                                </a:lnTo>
                                <a:lnTo>
                                  <a:pt x="15" y="2"/>
                                </a:lnTo>
                                <a:lnTo>
                                  <a:pt x="11" y="4"/>
                                </a:lnTo>
                                <a:lnTo>
                                  <a:pt x="7" y="7"/>
                                </a:lnTo>
                                <a:lnTo>
                                  <a:pt x="4" y="11"/>
                                </a:lnTo>
                                <a:lnTo>
                                  <a:pt x="2" y="15"/>
                                </a:lnTo>
                                <a:lnTo>
                                  <a:pt x="1" y="19"/>
                                </a:lnTo>
                                <a:lnTo>
                                  <a:pt x="0" y="24"/>
                                </a:lnTo>
                                <a:lnTo>
                                  <a:pt x="0" y="558"/>
                                </a:lnTo>
                                <a:lnTo>
                                  <a:pt x="196" y="558"/>
                                </a:lnTo>
                                <a:lnTo>
                                  <a:pt x="19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145" name="Freeform 189">
                            <a:extLst>
                              <a:ext uri="{FF2B5EF4-FFF2-40B4-BE49-F238E27FC236}">
                                <a16:creationId xmlns:a16="http://schemas.microsoft.com/office/drawing/2014/main" id="{19FDF960-B10D-4883-8907-06B49B057D5C}"/>
                              </a:ext>
                            </a:extLst>
                          </p:cNvPr>
                          <p:cNvSpPr>
                            <a:spLocks/>
                          </p:cNvSpPr>
                          <p:nvPr/>
                        </p:nvSpPr>
                        <p:spPr bwMode="auto">
                          <a:xfrm>
                            <a:off x="1624826" y="-622375"/>
                            <a:ext cx="44450" cy="39688"/>
                          </a:xfrm>
                          <a:custGeom>
                            <a:avLst/>
                            <a:gdLst>
                              <a:gd name="T0" fmla="*/ 196 w 196"/>
                              <a:gd name="T1" fmla="*/ 25 h 175"/>
                              <a:gd name="T2" fmla="*/ 196 w 196"/>
                              <a:gd name="T3" fmla="*/ 25 h 175"/>
                              <a:gd name="T4" fmla="*/ 195 w 196"/>
                              <a:gd name="T5" fmla="*/ 20 h 175"/>
                              <a:gd name="T6" fmla="*/ 194 w 196"/>
                              <a:gd name="T7" fmla="*/ 16 h 175"/>
                              <a:gd name="T8" fmla="*/ 192 w 196"/>
                              <a:gd name="T9" fmla="*/ 12 h 175"/>
                              <a:gd name="T10" fmla="*/ 189 w 196"/>
                              <a:gd name="T11" fmla="*/ 8 h 175"/>
                              <a:gd name="T12" fmla="*/ 185 w 196"/>
                              <a:gd name="T13" fmla="*/ 5 h 175"/>
                              <a:gd name="T14" fmla="*/ 181 w 196"/>
                              <a:gd name="T15" fmla="*/ 2 h 175"/>
                              <a:gd name="T16" fmla="*/ 177 w 196"/>
                              <a:gd name="T17" fmla="*/ 0 h 175"/>
                              <a:gd name="T18" fmla="*/ 172 w 196"/>
                              <a:gd name="T19" fmla="*/ 0 h 175"/>
                              <a:gd name="T20" fmla="*/ 25 w 196"/>
                              <a:gd name="T21" fmla="*/ 0 h 175"/>
                              <a:gd name="T22" fmla="*/ 25 w 196"/>
                              <a:gd name="T23" fmla="*/ 0 h 175"/>
                              <a:gd name="T24" fmla="*/ 19 w 196"/>
                              <a:gd name="T25" fmla="*/ 0 h 175"/>
                              <a:gd name="T26" fmla="*/ 15 w 196"/>
                              <a:gd name="T27" fmla="*/ 2 h 175"/>
                              <a:gd name="T28" fmla="*/ 10 w 196"/>
                              <a:gd name="T29" fmla="*/ 5 h 175"/>
                              <a:gd name="T30" fmla="*/ 7 w 196"/>
                              <a:gd name="T31" fmla="*/ 8 h 175"/>
                              <a:gd name="T32" fmla="*/ 4 w 196"/>
                              <a:gd name="T33" fmla="*/ 12 h 175"/>
                              <a:gd name="T34" fmla="*/ 2 w 196"/>
                              <a:gd name="T35" fmla="*/ 16 h 175"/>
                              <a:gd name="T36" fmla="*/ 0 w 196"/>
                              <a:gd name="T37" fmla="*/ 20 h 175"/>
                              <a:gd name="T38" fmla="*/ 0 w 196"/>
                              <a:gd name="T39" fmla="*/ 25 h 175"/>
                              <a:gd name="T40" fmla="*/ 0 w 196"/>
                              <a:gd name="T41" fmla="*/ 175 h 175"/>
                              <a:gd name="T42" fmla="*/ 196 w 196"/>
                              <a:gd name="T43" fmla="*/ 175 h 175"/>
                              <a:gd name="T44" fmla="*/ 196 w 196"/>
                              <a:gd name="T45" fmla="*/ 2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175">
                                <a:moveTo>
                                  <a:pt x="196" y="25"/>
                                </a:moveTo>
                                <a:lnTo>
                                  <a:pt x="196" y="25"/>
                                </a:lnTo>
                                <a:lnTo>
                                  <a:pt x="195" y="20"/>
                                </a:lnTo>
                                <a:lnTo>
                                  <a:pt x="194" y="16"/>
                                </a:lnTo>
                                <a:lnTo>
                                  <a:pt x="192" y="12"/>
                                </a:lnTo>
                                <a:lnTo>
                                  <a:pt x="189" y="8"/>
                                </a:lnTo>
                                <a:lnTo>
                                  <a:pt x="185" y="5"/>
                                </a:lnTo>
                                <a:lnTo>
                                  <a:pt x="181" y="2"/>
                                </a:lnTo>
                                <a:lnTo>
                                  <a:pt x="177" y="0"/>
                                </a:lnTo>
                                <a:lnTo>
                                  <a:pt x="172" y="0"/>
                                </a:lnTo>
                                <a:lnTo>
                                  <a:pt x="25" y="0"/>
                                </a:lnTo>
                                <a:lnTo>
                                  <a:pt x="25" y="0"/>
                                </a:lnTo>
                                <a:lnTo>
                                  <a:pt x="19" y="0"/>
                                </a:lnTo>
                                <a:lnTo>
                                  <a:pt x="15" y="2"/>
                                </a:lnTo>
                                <a:lnTo>
                                  <a:pt x="10" y="5"/>
                                </a:lnTo>
                                <a:lnTo>
                                  <a:pt x="7" y="8"/>
                                </a:lnTo>
                                <a:lnTo>
                                  <a:pt x="4" y="12"/>
                                </a:lnTo>
                                <a:lnTo>
                                  <a:pt x="2" y="16"/>
                                </a:lnTo>
                                <a:lnTo>
                                  <a:pt x="0" y="20"/>
                                </a:lnTo>
                                <a:lnTo>
                                  <a:pt x="0" y="25"/>
                                </a:lnTo>
                                <a:lnTo>
                                  <a:pt x="0" y="175"/>
                                </a:lnTo>
                                <a:lnTo>
                                  <a:pt x="196" y="175"/>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146" name="Freeform 190">
                            <a:extLst>
                              <a:ext uri="{FF2B5EF4-FFF2-40B4-BE49-F238E27FC236}">
                                <a16:creationId xmlns:a16="http://schemas.microsoft.com/office/drawing/2014/main" id="{4885F647-3DAE-4C6E-83E5-1E9A62F1C8E6}"/>
                              </a:ext>
                            </a:extLst>
                          </p:cNvPr>
                          <p:cNvSpPr>
                            <a:spLocks/>
                          </p:cNvSpPr>
                          <p:nvPr/>
                        </p:nvSpPr>
                        <p:spPr bwMode="auto">
                          <a:xfrm>
                            <a:off x="1620064" y="-568400"/>
                            <a:ext cx="236538" cy="17463"/>
                          </a:xfrm>
                          <a:custGeom>
                            <a:avLst/>
                            <a:gdLst>
                              <a:gd name="T0" fmla="*/ 1031 w 1044"/>
                              <a:gd name="T1" fmla="*/ 0 h 79"/>
                              <a:gd name="T2" fmla="*/ 13 w 1044"/>
                              <a:gd name="T3" fmla="*/ 0 h 79"/>
                              <a:gd name="T4" fmla="*/ 13 w 1044"/>
                              <a:gd name="T5" fmla="*/ 0 h 79"/>
                              <a:gd name="T6" fmla="*/ 8 w 1044"/>
                              <a:gd name="T7" fmla="*/ 1 h 79"/>
                              <a:gd name="T8" fmla="*/ 4 w 1044"/>
                              <a:gd name="T9" fmla="*/ 3 h 79"/>
                              <a:gd name="T10" fmla="*/ 1 w 1044"/>
                              <a:gd name="T11" fmla="*/ 7 h 79"/>
                              <a:gd name="T12" fmla="*/ 0 w 1044"/>
                              <a:gd name="T13" fmla="*/ 12 h 79"/>
                              <a:gd name="T14" fmla="*/ 0 w 1044"/>
                              <a:gd name="T15" fmla="*/ 66 h 79"/>
                              <a:gd name="T16" fmla="*/ 0 w 1044"/>
                              <a:gd name="T17" fmla="*/ 66 h 79"/>
                              <a:gd name="T18" fmla="*/ 1 w 1044"/>
                              <a:gd name="T19" fmla="*/ 71 h 79"/>
                              <a:gd name="T20" fmla="*/ 4 w 1044"/>
                              <a:gd name="T21" fmla="*/ 75 h 79"/>
                              <a:gd name="T22" fmla="*/ 8 w 1044"/>
                              <a:gd name="T23" fmla="*/ 78 h 79"/>
                              <a:gd name="T24" fmla="*/ 13 w 1044"/>
                              <a:gd name="T25" fmla="*/ 79 h 79"/>
                              <a:gd name="T26" fmla="*/ 1031 w 1044"/>
                              <a:gd name="T27" fmla="*/ 79 h 79"/>
                              <a:gd name="T28" fmla="*/ 1031 w 1044"/>
                              <a:gd name="T29" fmla="*/ 79 h 79"/>
                              <a:gd name="T30" fmla="*/ 1036 w 1044"/>
                              <a:gd name="T31" fmla="*/ 78 h 79"/>
                              <a:gd name="T32" fmla="*/ 1040 w 1044"/>
                              <a:gd name="T33" fmla="*/ 75 h 79"/>
                              <a:gd name="T34" fmla="*/ 1043 w 1044"/>
                              <a:gd name="T35" fmla="*/ 71 h 79"/>
                              <a:gd name="T36" fmla="*/ 1044 w 1044"/>
                              <a:gd name="T37" fmla="*/ 66 h 79"/>
                              <a:gd name="T38" fmla="*/ 1044 w 1044"/>
                              <a:gd name="T39" fmla="*/ 12 h 79"/>
                              <a:gd name="T40" fmla="*/ 1044 w 1044"/>
                              <a:gd name="T41" fmla="*/ 12 h 79"/>
                              <a:gd name="T42" fmla="*/ 1043 w 1044"/>
                              <a:gd name="T43" fmla="*/ 7 h 79"/>
                              <a:gd name="T44" fmla="*/ 1040 w 1044"/>
                              <a:gd name="T45" fmla="*/ 3 h 79"/>
                              <a:gd name="T46" fmla="*/ 1036 w 1044"/>
                              <a:gd name="T47" fmla="*/ 1 h 79"/>
                              <a:gd name="T48" fmla="*/ 1031 w 1044"/>
                              <a:gd name="T49" fmla="*/ 0 h 79"/>
                              <a:gd name="T50" fmla="*/ 1031 w 1044"/>
                              <a:gd name="T5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4" h="79">
                                <a:moveTo>
                                  <a:pt x="1031" y="0"/>
                                </a:moveTo>
                                <a:lnTo>
                                  <a:pt x="13" y="0"/>
                                </a:lnTo>
                                <a:lnTo>
                                  <a:pt x="13" y="0"/>
                                </a:lnTo>
                                <a:lnTo>
                                  <a:pt x="8" y="1"/>
                                </a:lnTo>
                                <a:lnTo>
                                  <a:pt x="4" y="3"/>
                                </a:lnTo>
                                <a:lnTo>
                                  <a:pt x="1" y="7"/>
                                </a:lnTo>
                                <a:lnTo>
                                  <a:pt x="0" y="12"/>
                                </a:lnTo>
                                <a:lnTo>
                                  <a:pt x="0" y="66"/>
                                </a:lnTo>
                                <a:lnTo>
                                  <a:pt x="0" y="66"/>
                                </a:lnTo>
                                <a:lnTo>
                                  <a:pt x="1" y="71"/>
                                </a:lnTo>
                                <a:lnTo>
                                  <a:pt x="4" y="75"/>
                                </a:lnTo>
                                <a:lnTo>
                                  <a:pt x="8" y="78"/>
                                </a:lnTo>
                                <a:lnTo>
                                  <a:pt x="13" y="79"/>
                                </a:lnTo>
                                <a:lnTo>
                                  <a:pt x="1031" y="79"/>
                                </a:lnTo>
                                <a:lnTo>
                                  <a:pt x="1031" y="79"/>
                                </a:lnTo>
                                <a:lnTo>
                                  <a:pt x="1036" y="78"/>
                                </a:lnTo>
                                <a:lnTo>
                                  <a:pt x="1040" y="75"/>
                                </a:lnTo>
                                <a:lnTo>
                                  <a:pt x="1043" y="71"/>
                                </a:lnTo>
                                <a:lnTo>
                                  <a:pt x="1044" y="66"/>
                                </a:lnTo>
                                <a:lnTo>
                                  <a:pt x="1044" y="12"/>
                                </a:lnTo>
                                <a:lnTo>
                                  <a:pt x="1044" y="12"/>
                                </a:lnTo>
                                <a:lnTo>
                                  <a:pt x="1043" y="7"/>
                                </a:lnTo>
                                <a:lnTo>
                                  <a:pt x="1040" y="3"/>
                                </a:lnTo>
                                <a:lnTo>
                                  <a:pt x="1036" y="1"/>
                                </a:lnTo>
                                <a:lnTo>
                                  <a:pt x="1031" y="0"/>
                                </a:lnTo>
                                <a:lnTo>
                                  <a:pt x="10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grpSp>
                  </p:grpSp>
                  <p:sp>
                    <p:nvSpPr>
                      <p:cNvPr id="137" name="Rectangle 136">
                        <a:extLst>
                          <a:ext uri="{FF2B5EF4-FFF2-40B4-BE49-F238E27FC236}">
                            <a16:creationId xmlns:a16="http://schemas.microsoft.com/office/drawing/2014/main" id="{6ABCE204-8C46-4BE2-B4C6-BDAA5AEEE607}"/>
                          </a:ext>
                        </a:extLst>
                      </p:cNvPr>
                      <p:cNvSpPr/>
                      <p:nvPr/>
                    </p:nvSpPr>
                    <p:spPr>
                      <a:xfrm>
                        <a:off x="5892682" y="3935099"/>
                        <a:ext cx="129922" cy="18288"/>
                      </a:xfrm>
                      <a:prstGeom prst="rect">
                        <a:avLst/>
                      </a:prstGeom>
                      <a:solidFill>
                        <a:srgbClr val="0498D1">
                          <a:lumMod val="75000"/>
                        </a:srgbClr>
                      </a:solidFill>
                      <a:ln w="9525" cap="flat" cmpd="sng" algn="ctr">
                        <a:noFill/>
                        <a:prstDash val="solid"/>
                      </a:ln>
                      <a:effectLst/>
                    </p:spPr>
                    <p:txBody>
                      <a:bodyPr rtlCol="0" anchor="ctr"/>
                      <a:lstStyle/>
                      <a:p>
                        <a:pPr algn="ctr" defTabSz="1625478" fontAlgn="base">
                          <a:spcBef>
                            <a:spcPct val="0"/>
                          </a:spcBef>
                          <a:spcAft>
                            <a:spcPct val="0"/>
                          </a:spcAft>
                          <a:defRPr/>
                        </a:pPr>
                        <a:endParaRPr lang="en-US" sz="4267" kern="0">
                          <a:solidFill>
                            <a:prstClr val="white"/>
                          </a:solidFill>
                          <a:latin typeface="CiscoSansTT ExtraLight"/>
                          <a:ea typeface="ＭＳ Ｐゴシック" charset="0"/>
                          <a:cs typeface="Arial"/>
                          <a:sym typeface="Arial"/>
                        </a:endParaRPr>
                      </a:p>
                    </p:txBody>
                  </p:sp>
                  <p:sp>
                    <p:nvSpPr>
                      <p:cNvPr id="138" name="Rectangle 137">
                        <a:extLst>
                          <a:ext uri="{FF2B5EF4-FFF2-40B4-BE49-F238E27FC236}">
                            <a16:creationId xmlns:a16="http://schemas.microsoft.com/office/drawing/2014/main" id="{48B137CF-6AC3-4BB8-AF91-AB24C06A3021}"/>
                          </a:ext>
                        </a:extLst>
                      </p:cNvPr>
                      <p:cNvSpPr/>
                      <p:nvPr/>
                    </p:nvSpPr>
                    <p:spPr>
                      <a:xfrm>
                        <a:off x="5892682" y="3961292"/>
                        <a:ext cx="129922" cy="18288"/>
                      </a:xfrm>
                      <a:prstGeom prst="rect">
                        <a:avLst/>
                      </a:prstGeom>
                      <a:solidFill>
                        <a:srgbClr val="0498D1">
                          <a:lumMod val="75000"/>
                        </a:srgbClr>
                      </a:solidFill>
                      <a:ln w="9525" cap="flat" cmpd="sng" algn="ctr">
                        <a:noFill/>
                        <a:prstDash val="solid"/>
                      </a:ln>
                      <a:effectLst/>
                    </p:spPr>
                    <p:txBody>
                      <a:bodyPr rtlCol="0" anchor="ctr"/>
                      <a:lstStyle/>
                      <a:p>
                        <a:pPr algn="ctr" defTabSz="1625478" fontAlgn="base">
                          <a:spcBef>
                            <a:spcPct val="0"/>
                          </a:spcBef>
                          <a:spcAft>
                            <a:spcPct val="0"/>
                          </a:spcAft>
                          <a:defRPr/>
                        </a:pPr>
                        <a:endParaRPr lang="en-US" sz="4267" kern="0">
                          <a:solidFill>
                            <a:prstClr val="white"/>
                          </a:solidFill>
                          <a:latin typeface="CiscoSansTT ExtraLight"/>
                          <a:ea typeface="ＭＳ Ｐゴシック" charset="0"/>
                          <a:cs typeface="Arial"/>
                          <a:sym typeface="Arial"/>
                        </a:endParaRPr>
                      </a:p>
                    </p:txBody>
                  </p:sp>
                  <p:sp>
                    <p:nvSpPr>
                      <p:cNvPr id="139" name="Rectangle 138">
                        <a:extLst>
                          <a:ext uri="{FF2B5EF4-FFF2-40B4-BE49-F238E27FC236}">
                            <a16:creationId xmlns:a16="http://schemas.microsoft.com/office/drawing/2014/main" id="{556A6FC7-DCB4-466C-8985-3EDA18CF5AF3}"/>
                          </a:ext>
                        </a:extLst>
                      </p:cNvPr>
                      <p:cNvSpPr/>
                      <p:nvPr/>
                    </p:nvSpPr>
                    <p:spPr>
                      <a:xfrm>
                        <a:off x="5892682" y="3989867"/>
                        <a:ext cx="129922" cy="18288"/>
                      </a:xfrm>
                      <a:prstGeom prst="rect">
                        <a:avLst/>
                      </a:prstGeom>
                      <a:solidFill>
                        <a:srgbClr val="0498D1">
                          <a:lumMod val="75000"/>
                        </a:srgbClr>
                      </a:solidFill>
                      <a:ln w="9525" cap="flat" cmpd="sng" algn="ctr">
                        <a:noFill/>
                        <a:prstDash val="solid"/>
                      </a:ln>
                      <a:effectLst/>
                    </p:spPr>
                    <p:txBody>
                      <a:bodyPr rtlCol="0" anchor="ctr"/>
                      <a:lstStyle/>
                      <a:p>
                        <a:pPr algn="ctr" defTabSz="1625478" fontAlgn="base">
                          <a:spcBef>
                            <a:spcPct val="0"/>
                          </a:spcBef>
                          <a:spcAft>
                            <a:spcPct val="0"/>
                          </a:spcAft>
                          <a:defRPr/>
                        </a:pPr>
                        <a:endParaRPr lang="en-US" sz="4267" kern="0">
                          <a:solidFill>
                            <a:prstClr val="white"/>
                          </a:solidFill>
                          <a:latin typeface="CiscoSansTT ExtraLight"/>
                          <a:ea typeface="ＭＳ Ｐゴシック" charset="0"/>
                          <a:cs typeface="Arial"/>
                          <a:sym typeface="Arial"/>
                        </a:endParaRPr>
                      </a:p>
                    </p:txBody>
                  </p:sp>
                </p:grpSp>
              </p:grpSp>
            </p:grpSp>
            <p:grpSp>
              <p:nvGrpSpPr>
                <p:cNvPr id="78" name="Group 77">
                  <a:extLst>
                    <a:ext uri="{FF2B5EF4-FFF2-40B4-BE49-F238E27FC236}">
                      <a16:creationId xmlns:a16="http://schemas.microsoft.com/office/drawing/2014/main" id="{CD2384AA-5CCF-4C05-8402-08E1B8FD0FA5}"/>
                    </a:ext>
                  </a:extLst>
                </p:cNvPr>
                <p:cNvGrpSpPr/>
                <p:nvPr/>
              </p:nvGrpSpPr>
              <p:grpSpPr>
                <a:xfrm>
                  <a:off x="7851311" y="1567563"/>
                  <a:ext cx="967615" cy="554758"/>
                  <a:chOff x="7851311" y="1567563"/>
                  <a:chExt cx="967615" cy="554758"/>
                </a:xfrm>
              </p:grpSpPr>
              <p:sp>
                <p:nvSpPr>
                  <p:cNvPr id="105" name="Freeform 222">
                    <a:extLst>
                      <a:ext uri="{FF2B5EF4-FFF2-40B4-BE49-F238E27FC236}">
                        <a16:creationId xmlns:a16="http://schemas.microsoft.com/office/drawing/2014/main" id="{A2AC8560-065D-48EB-B6B2-4DB293D4CFDD}"/>
                      </a:ext>
                    </a:extLst>
                  </p:cNvPr>
                  <p:cNvSpPr>
                    <a:spLocks/>
                  </p:cNvSpPr>
                  <p:nvPr/>
                </p:nvSpPr>
                <p:spPr bwMode="auto">
                  <a:xfrm>
                    <a:off x="7851311" y="2082197"/>
                    <a:ext cx="967615" cy="40124"/>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bg2">
                      <a:lumMod val="85000"/>
                    </a:schemeClr>
                  </a:solidFill>
                  <a:ln>
                    <a:noFill/>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70">
                      <a:defRPr/>
                    </a:pPr>
                    <a:endParaRPr lang="en-US" sz="2400">
                      <a:solidFill>
                        <a:srgbClr val="282828"/>
                      </a:solidFill>
                      <a:latin typeface="CiscoSansTT ExtraLight"/>
                      <a:sym typeface="Arial"/>
                    </a:endParaRPr>
                  </a:p>
                </p:txBody>
              </p:sp>
              <p:sp>
                <p:nvSpPr>
                  <p:cNvPr id="106" name="Freeform 223">
                    <a:extLst>
                      <a:ext uri="{FF2B5EF4-FFF2-40B4-BE49-F238E27FC236}">
                        <a16:creationId xmlns:a16="http://schemas.microsoft.com/office/drawing/2014/main" id="{D2E182D6-716B-45F3-AEA1-2C21C71421DD}"/>
                      </a:ext>
                    </a:extLst>
                  </p:cNvPr>
                  <p:cNvSpPr>
                    <a:spLocks/>
                  </p:cNvSpPr>
                  <p:nvPr/>
                </p:nvSpPr>
                <p:spPr bwMode="auto">
                  <a:xfrm>
                    <a:off x="7932721" y="1567563"/>
                    <a:ext cx="805958" cy="485559"/>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2"/>
                  </a:solidFill>
                  <a:ln w="9525">
                    <a:noFill/>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70">
                      <a:defRPr/>
                    </a:pPr>
                    <a:endParaRPr lang="en-US" sz="2400">
                      <a:solidFill>
                        <a:srgbClr val="282828"/>
                      </a:solidFill>
                      <a:latin typeface="CiscoSansTT ExtraLight"/>
                      <a:sym typeface="Arial"/>
                    </a:endParaRPr>
                  </a:p>
                </p:txBody>
              </p:sp>
              <p:sp>
                <p:nvSpPr>
                  <p:cNvPr id="107" name="Freeform 224">
                    <a:extLst>
                      <a:ext uri="{FF2B5EF4-FFF2-40B4-BE49-F238E27FC236}">
                        <a16:creationId xmlns:a16="http://schemas.microsoft.com/office/drawing/2014/main" id="{721084A5-C5DE-4519-920D-453DCCA08959}"/>
                      </a:ext>
                    </a:extLst>
                  </p:cNvPr>
                  <p:cNvSpPr>
                    <a:spLocks noEditPoints="1"/>
                  </p:cNvSpPr>
                  <p:nvPr/>
                </p:nvSpPr>
                <p:spPr bwMode="auto">
                  <a:xfrm>
                    <a:off x="7932721" y="1567563"/>
                    <a:ext cx="805958" cy="485559"/>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bg2">
                      <a:lumMod val="85000"/>
                    </a:schemeClr>
                  </a:solidFill>
                  <a:ln w="9525">
                    <a:noFill/>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70">
                      <a:defRPr/>
                    </a:pPr>
                    <a:endParaRPr lang="en-US" sz="2400">
                      <a:solidFill>
                        <a:srgbClr val="282828"/>
                      </a:solidFill>
                      <a:latin typeface="CiscoSansTT ExtraLight"/>
                      <a:sym typeface="Arial"/>
                    </a:endParaRPr>
                  </a:p>
                </p:txBody>
              </p:sp>
              <p:grpSp>
                <p:nvGrpSpPr>
                  <p:cNvPr id="108" name="Group 107">
                    <a:extLst>
                      <a:ext uri="{FF2B5EF4-FFF2-40B4-BE49-F238E27FC236}">
                        <a16:creationId xmlns:a16="http://schemas.microsoft.com/office/drawing/2014/main" id="{243CD77E-EA14-4021-88F5-1D3AD7228FA8}"/>
                      </a:ext>
                    </a:extLst>
                  </p:cNvPr>
                  <p:cNvGrpSpPr/>
                  <p:nvPr/>
                </p:nvGrpSpPr>
                <p:grpSpPr>
                  <a:xfrm>
                    <a:off x="8023256" y="1658619"/>
                    <a:ext cx="619653" cy="297181"/>
                    <a:chOff x="6387497" y="1554479"/>
                    <a:chExt cx="368052" cy="176515"/>
                  </a:xfrm>
                </p:grpSpPr>
                <p:grpSp>
                  <p:nvGrpSpPr>
                    <p:cNvPr id="109" name="Group 108">
                      <a:extLst>
                        <a:ext uri="{FF2B5EF4-FFF2-40B4-BE49-F238E27FC236}">
                          <a16:creationId xmlns:a16="http://schemas.microsoft.com/office/drawing/2014/main" id="{E84FB080-04B9-4A15-B586-6833A7EFC8A2}"/>
                        </a:ext>
                      </a:extLst>
                    </p:cNvPr>
                    <p:cNvGrpSpPr/>
                    <p:nvPr/>
                  </p:nvGrpSpPr>
                  <p:grpSpPr>
                    <a:xfrm>
                      <a:off x="6387497" y="1554479"/>
                      <a:ext cx="235354" cy="176515"/>
                      <a:chOff x="4367138" y="-1752601"/>
                      <a:chExt cx="1447296" cy="1085472"/>
                    </a:xfrm>
                    <a:solidFill>
                      <a:srgbClr val="A6A6A6"/>
                    </a:solidFill>
                  </p:grpSpPr>
                  <p:sp>
                    <p:nvSpPr>
                      <p:cNvPr id="116" name="Rounded Rectangle 2">
                        <a:extLst>
                          <a:ext uri="{FF2B5EF4-FFF2-40B4-BE49-F238E27FC236}">
                            <a16:creationId xmlns:a16="http://schemas.microsoft.com/office/drawing/2014/main" id="{3BDA8A82-EF53-490D-90C1-44B967AC2954}"/>
                          </a:ext>
                        </a:extLst>
                      </p:cNvPr>
                      <p:cNvSpPr/>
                      <p:nvPr/>
                    </p:nvSpPr>
                    <p:spPr>
                      <a:xfrm>
                        <a:off x="4367138" y="-1752601"/>
                        <a:ext cx="1447296" cy="1085472"/>
                      </a:xfrm>
                      <a:custGeom>
                        <a:avLst/>
                        <a:gdLst/>
                        <a:ahLst/>
                        <a:cxnLst/>
                        <a:rect l="l" t="t" r="r" b="b"/>
                        <a:pathLst>
                          <a:path w="1447296" h="1085472">
                            <a:moveTo>
                              <a:pt x="122169" y="69546"/>
                            </a:moveTo>
                            <a:cubicBezTo>
                              <a:pt x="91561" y="69546"/>
                              <a:pt x="66749" y="94358"/>
                              <a:pt x="66749" y="124966"/>
                            </a:cubicBezTo>
                            <a:lnTo>
                              <a:pt x="66749" y="960506"/>
                            </a:lnTo>
                            <a:cubicBezTo>
                              <a:pt x="66749" y="991114"/>
                              <a:pt x="91561" y="1015926"/>
                              <a:pt x="122169" y="1015926"/>
                            </a:cubicBezTo>
                            <a:lnTo>
                              <a:pt x="1325127" y="1015926"/>
                            </a:lnTo>
                            <a:cubicBezTo>
                              <a:pt x="1355735" y="1015926"/>
                              <a:pt x="1380547" y="991114"/>
                              <a:pt x="1380547" y="960506"/>
                            </a:cubicBezTo>
                            <a:lnTo>
                              <a:pt x="1380547" y="124966"/>
                            </a:lnTo>
                            <a:cubicBezTo>
                              <a:pt x="1380547" y="94358"/>
                              <a:pt x="1355735" y="69546"/>
                              <a:pt x="1325127" y="69546"/>
                            </a:cubicBezTo>
                            <a:close/>
                            <a:moveTo>
                              <a:pt x="109307" y="0"/>
                            </a:moveTo>
                            <a:lnTo>
                              <a:pt x="1337989" y="0"/>
                            </a:lnTo>
                            <a:cubicBezTo>
                              <a:pt x="1398358" y="0"/>
                              <a:pt x="1447296" y="48938"/>
                              <a:pt x="1447296" y="109307"/>
                            </a:cubicBezTo>
                            <a:lnTo>
                              <a:pt x="1447296" y="976165"/>
                            </a:lnTo>
                            <a:cubicBezTo>
                              <a:pt x="1447296" y="1036534"/>
                              <a:pt x="1398358" y="1085472"/>
                              <a:pt x="1337989" y="1085472"/>
                            </a:cubicBezTo>
                            <a:lnTo>
                              <a:pt x="109307" y="1085472"/>
                            </a:lnTo>
                            <a:cubicBezTo>
                              <a:pt x="48938" y="1085472"/>
                              <a:pt x="0" y="1036534"/>
                              <a:pt x="0" y="976165"/>
                            </a:cubicBezTo>
                            <a:lnTo>
                              <a:pt x="0" y="109307"/>
                            </a:lnTo>
                            <a:cubicBezTo>
                              <a:pt x="0" y="48938"/>
                              <a:pt x="48938" y="0"/>
                              <a:pt x="109307" y="0"/>
                            </a:cubicBezTo>
                            <a:close/>
                          </a:path>
                        </a:pathLst>
                      </a:custGeom>
                      <a:grpFill/>
                      <a:ln w="25400" cap="flat" cmpd="sng" algn="ctr">
                        <a:noFill/>
                        <a:prstDash val="solid"/>
                      </a:ln>
                      <a:effectLst/>
                    </p:spPr>
                    <p:txBody>
                      <a:bodyPr rtlCol="0" anchor="ctr"/>
                      <a:lstStyle/>
                      <a:p>
                        <a:pPr algn="ctr" defTabSz="914354" fontAlgn="base">
                          <a:spcBef>
                            <a:spcPct val="0"/>
                          </a:spcBef>
                          <a:spcAft>
                            <a:spcPct val="0"/>
                          </a:spcAft>
                          <a:defRPr/>
                        </a:pPr>
                        <a:endParaRPr lang="en-US" sz="2400" kern="0">
                          <a:solidFill>
                            <a:srgbClr val="FFFFFF"/>
                          </a:solidFill>
                          <a:latin typeface="CiscoSansTT ExtraLight"/>
                          <a:ea typeface="ＭＳ Ｐゴシック" charset="0"/>
                          <a:cs typeface="Arial"/>
                          <a:sym typeface="Arial"/>
                        </a:endParaRPr>
                      </a:p>
                    </p:txBody>
                  </p:sp>
                  <p:grpSp>
                    <p:nvGrpSpPr>
                      <p:cNvPr id="117" name="Group 116">
                        <a:extLst>
                          <a:ext uri="{FF2B5EF4-FFF2-40B4-BE49-F238E27FC236}">
                            <a16:creationId xmlns:a16="http://schemas.microsoft.com/office/drawing/2014/main" id="{83885AE3-E2E8-4212-B702-5BF294EE25DF}"/>
                          </a:ext>
                        </a:extLst>
                      </p:cNvPr>
                      <p:cNvGrpSpPr/>
                      <p:nvPr/>
                    </p:nvGrpSpPr>
                    <p:grpSpPr>
                      <a:xfrm>
                        <a:off x="4551518" y="-1419606"/>
                        <a:ext cx="416876" cy="419482"/>
                        <a:chOff x="1039038" y="-1476527"/>
                        <a:chExt cx="254000" cy="255587"/>
                      </a:xfrm>
                      <a:grpFill/>
                    </p:grpSpPr>
                    <p:sp>
                      <p:nvSpPr>
                        <p:cNvPr id="125" name="Freeform 367">
                          <a:extLst>
                            <a:ext uri="{FF2B5EF4-FFF2-40B4-BE49-F238E27FC236}">
                              <a16:creationId xmlns:a16="http://schemas.microsoft.com/office/drawing/2014/main" id="{324EB9A6-962D-4FB2-B76F-00C323F03A71}"/>
                            </a:ext>
                          </a:extLst>
                        </p:cNvPr>
                        <p:cNvSpPr>
                          <a:spLocks/>
                        </p:cNvSpPr>
                        <p:nvPr/>
                      </p:nvSpPr>
                      <p:spPr bwMode="auto">
                        <a:xfrm>
                          <a:off x="1039038" y="-1430490"/>
                          <a:ext cx="47625" cy="65088"/>
                        </a:xfrm>
                        <a:custGeom>
                          <a:avLst/>
                          <a:gdLst>
                            <a:gd name="T0" fmla="*/ 128 w 207"/>
                            <a:gd name="T1" fmla="*/ 0 h 288"/>
                            <a:gd name="T2" fmla="*/ 128 w 207"/>
                            <a:gd name="T3" fmla="*/ 0 h 288"/>
                            <a:gd name="T4" fmla="*/ 114 w 207"/>
                            <a:gd name="T5" fmla="*/ 17 h 288"/>
                            <a:gd name="T6" fmla="*/ 102 w 207"/>
                            <a:gd name="T7" fmla="*/ 33 h 288"/>
                            <a:gd name="T8" fmla="*/ 90 w 207"/>
                            <a:gd name="T9" fmla="*/ 49 h 288"/>
                            <a:gd name="T10" fmla="*/ 80 w 207"/>
                            <a:gd name="T11" fmla="*/ 67 h 288"/>
                            <a:gd name="T12" fmla="*/ 69 w 207"/>
                            <a:gd name="T13" fmla="*/ 84 h 288"/>
                            <a:gd name="T14" fmla="*/ 59 w 207"/>
                            <a:gd name="T15" fmla="*/ 102 h 288"/>
                            <a:gd name="T16" fmla="*/ 51 w 207"/>
                            <a:gd name="T17" fmla="*/ 119 h 288"/>
                            <a:gd name="T18" fmla="*/ 42 w 207"/>
                            <a:gd name="T19" fmla="*/ 137 h 288"/>
                            <a:gd name="T20" fmla="*/ 35 w 207"/>
                            <a:gd name="T21" fmla="*/ 156 h 288"/>
                            <a:gd name="T22" fmla="*/ 27 w 207"/>
                            <a:gd name="T23" fmla="*/ 174 h 288"/>
                            <a:gd name="T24" fmla="*/ 21 w 207"/>
                            <a:gd name="T25" fmla="*/ 193 h 288"/>
                            <a:gd name="T26" fmla="*/ 16 w 207"/>
                            <a:gd name="T27" fmla="*/ 212 h 288"/>
                            <a:gd name="T28" fmla="*/ 11 w 207"/>
                            <a:gd name="T29" fmla="*/ 230 h 288"/>
                            <a:gd name="T30" fmla="*/ 7 w 207"/>
                            <a:gd name="T31" fmla="*/ 250 h 288"/>
                            <a:gd name="T32" fmla="*/ 3 w 207"/>
                            <a:gd name="T33" fmla="*/ 269 h 288"/>
                            <a:gd name="T34" fmla="*/ 0 w 207"/>
                            <a:gd name="T35" fmla="*/ 288 h 288"/>
                            <a:gd name="T36" fmla="*/ 207 w 207"/>
                            <a:gd name="T37" fmla="*/ 81 h 288"/>
                            <a:gd name="T38" fmla="*/ 128 w 207"/>
                            <a:gd name="T3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88">
                              <a:moveTo>
                                <a:pt x="128" y="0"/>
                              </a:moveTo>
                              <a:lnTo>
                                <a:pt x="128" y="0"/>
                              </a:lnTo>
                              <a:lnTo>
                                <a:pt x="114" y="17"/>
                              </a:lnTo>
                              <a:lnTo>
                                <a:pt x="102" y="33"/>
                              </a:lnTo>
                              <a:lnTo>
                                <a:pt x="90" y="49"/>
                              </a:lnTo>
                              <a:lnTo>
                                <a:pt x="80" y="67"/>
                              </a:lnTo>
                              <a:lnTo>
                                <a:pt x="69" y="84"/>
                              </a:lnTo>
                              <a:lnTo>
                                <a:pt x="59" y="102"/>
                              </a:lnTo>
                              <a:lnTo>
                                <a:pt x="51" y="119"/>
                              </a:lnTo>
                              <a:lnTo>
                                <a:pt x="42" y="137"/>
                              </a:lnTo>
                              <a:lnTo>
                                <a:pt x="35" y="156"/>
                              </a:lnTo>
                              <a:lnTo>
                                <a:pt x="27" y="174"/>
                              </a:lnTo>
                              <a:lnTo>
                                <a:pt x="21" y="193"/>
                              </a:lnTo>
                              <a:lnTo>
                                <a:pt x="16" y="212"/>
                              </a:lnTo>
                              <a:lnTo>
                                <a:pt x="11" y="230"/>
                              </a:lnTo>
                              <a:lnTo>
                                <a:pt x="7" y="250"/>
                              </a:lnTo>
                              <a:lnTo>
                                <a:pt x="3" y="269"/>
                              </a:lnTo>
                              <a:lnTo>
                                <a:pt x="0" y="288"/>
                              </a:lnTo>
                              <a:lnTo>
                                <a:pt x="207" y="81"/>
                              </a:lnTo>
                              <a:lnTo>
                                <a:pt x="1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126" name="Freeform 368">
                          <a:extLst>
                            <a:ext uri="{FF2B5EF4-FFF2-40B4-BE49-F238E27FC236}">
                              <a16:creationId xmlns:a16="http://schemas.microsoft.com/office/drawing/2014/main" id="{574B7AAF-0C83-4F48-90AD-F29BFA20F3D6}"/>
                            </a:ext>
                          </a:extLst>
                        </p:cNvPr>
                        <p:cNvSpPr>
                          <a:spLocks/>
                        </p:cNvSpPr>
                        <p:nvPr/>
                      </p:nvSpPr>
                      <p:spPr bwMode="auto">
                        <a:xfrm>
                          <a:off x="1053325" y="-1365402"/>
                          <a:ext cx="96837" cy="98425"/>
                        </a:xfrm>
                        <a:custGeom>
                          <a:avLst/>
                          <a:gdLst>
                            <a:gd name="T0" fmla="*/ 350 w 428"/>
                            <a:gd name="T1" fmla="*/ 0 h 438"/>
                            <a:gd name="T2" fmla="*/ 3 w 428"/>
                            <a:gd name="T3" fmla="*/ 346 h 438"/>
                            <a:gd name="T4" fmla="*/ 0 w 428"/>
                            <a:gd name="T5" fmla="*/ 342 h 438"/>
                            <a:gd name="T6" fmla="*/ 0 w 428"/>
                            <a:gd name="T7" fmla="*/ 342 h 438"/>
                            <a:gd name="T8" fmla="*/ 15 w 428"/>
                            <a:gd name="T9" fmla="*/ 368 h 438"/>
                            <a:gd name="T10" fmla="*/ 30 w 428"/>
                            <a:gd name="T11" fmla="*/ 392 h 438"/>
                            <a:gd name="T12" fmla="*/ 47 w 428"/>
                            <a:gd name="T13" fmla="*/ 416 h 438"/>
                            <a:gd name="T14" fmla="*/ 66 w 428"/>
                            <a:gd name="T15" fmla="*/ 438 h 438"/>
                            <a:gd name="T16" fmla="*/ 428 w 428"/>
                            <a:gd name="T17" fmla="*/ 76 h 438"/>
                            <a:gd name="T18" fmla="*/ 350 w 428"/>
                            <a:gd name="T19"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8" h="438">
                              <a:moveTo>
                                <a:pt x="350" y="0"/>
                              </a:moveTo>
                              <a:lnTo>
                                <a:pt x="3" y="346"/>
                              </a:lnTo>
                              <a:lnTo>
                                <a:pt x="0" y="342"/>
                              </a:lnTo>
                              <a:lnTo>
                                <a:pt x="0" y="342"/>
                              </a:lnTo>
                              <a:lnTo>
                                <a:pt x="15" y="368"/>
                              </a:lnTo>
                              <a:lnTo>
                                <a:pt x="30" y="392"/>
                              </a:lnTo>
                              <a:lnTo>
                                <a:pt x="47" y="416"/>
                              </a:lnTo>
                              <a:lnTo>
                                <a:pt x="66" y="438"/>
                              </a:lnTo>
                              <a:lnTo>
                                <a:pt x="428" y="76"/>
                              </a:lnTo>
                              <a:lnTo>
                                <a:pt x="3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127" name="Freeform 369">
                          <a:extLst>
                            <a:ext uri="{FF2B5EF4-FFF2-40B4-BE49-F238E27FC236}">
                              <a16:creationId xmlns:a16="http://schemas.microsoft.com/office/drawing/2014/main" id="{947AFDC4-4EF0-4626-9F99-744342648C63}"/>
                            </a:ext>
                          </a:extLst>
                        </p:cNvPr>
                        <p:cNvSpPr>
                          <a:spLocks/>
                        </p:cNvSpPr>
                        <p:nvPr/>
                      </p:nvSpPr>
                      <p:spPr bwMode="auto">
                        <a:xfrm>
                          <a:off x="1083488" y="-1430490"/>
                          <a:ext cx="209550" cy="209550"/>
                        </a:xfrm>
                        <a:custGeom>
                          <a:avLst/>
                          <a:gdLst>
                            <a:gd name="T0" fmla="*/ 0 w 925"/>
                            <a:gd name="T1" fmla="*/ 793 h 925"/>
                            <a:gd name="T2" fmla="*/ 21 w 925"/>
                            <a:gd name="T3" fmla="*/ 810 h 925"/>
                            <a:gd name="T4" fmla="*/ 65 w 925"/>
                            <a:gd name="T5" fmla="*/ 840 h 925"/>
                            <a:gd name="T6" fmla="*/ 111 w 925"/>
                            <a:gd name="T7" fmla="*/ 866 h 925"/>
                            <a:gd name="T8" fmla="*/ 158 w 925"/>
                            <a:gd name="T9" fmla="*/ 887 h 925"/>
                            <a:gd name="T10" fmla="*/ 207 w 925"/>
                            <a:gd name="T11" fmla="*/ 903 h 925"/>
                            <a:gd name="T12" fmla="*/ 257 w 925"/>
                            <a:gd name="T13" fmla="*/ 916 h 925"/>
                            <a:gd name="T14" fmla="*/ 308 w 925"/>
                            <a:gd name="T15" fmla="*/ 923 h 925"/>
                            <a:gd name="T16" fmla="*/ 359 w 925"/>
                            <a:gd name="T17" fmla="*/ 925 h 925"/>
                            <a:gd name="T18" fmla="*/ 410 w 925"/>
                            <a:gd name="T19" fmla="*/ 923 h 925"/>
                            <a:gd name="T20" fmla="*/ 461 w 925"/>
                            <a:gd name="T21" fmla="*/ 917 h 925"/>
                            <a:gd name="T22" fmla="*/ 512 w 925"/>
                            <a:gd name="T23" fmla="*/ 905 h 925"/>
                            <a:gd name="T24" fmla="*/ 561 w 925"/>
                            <a:gd name="T25" fmla="*/ 889 h 925"/>
                            <a:gd name="T26" fmla="*/ 608 w 925"/>
                            <a:gd name="T27" fmla="*/ 869 h 925"/>
                            <a:gd name="T28" fmla="*/ 654 w 925"/>
                            <a:gd name="T29" fmla="*/ 844 h 925"/>
                            <a:gd name="T30" fmla="*/ 699 w 925"/>
                            <a:gd name="T31" fmla="*/ 814 h 925"/>
                            <a:gd name="T32" fmla="*/ 740 w 925"/>
                            <a:gd name="T33" fmla="*/ 780 h 925"/>
                            <a:gd name="T34" fmla="*/ 760 w 925"/>
                            <a:gd name="T35" fmla="*/ 760 h 925"/>
                            <a:gd name="T36" fmla="*/ 797 w 925"/>
                            <a:gd name="T37" fmla="*/ 720 h 925"/>
                            <a:gd name="T38" fmla="*/ 829 w 925"/>
                            <a:gd name="T39" fmla="*/ 677 h 925"/>
                            <a:gd name="T40" fmla="*/ 856 w 925"/>
                            <a:gd name="T41" fmla="*/ 632 h 925"/>
                            <a:gd name="T42" fmla="*/ 879 w 925"/>
                            <a:gd name="T43" fmla="*/ 585 h 925"/>
                            <a:gd name="T44" fmla="*/ 897 w 925"/>
                            <a:gd name="T45" fmla="*/ 536 h 925"/>
                            <a:gd name="T46" fmla="*/ 911 w 925"/>
                            <a:gd name="T47" fmla="*/ 487 h 925"/>
                            <a:gd name="T48" fmla="*/ 920 w 925"/>
                            <a:gd name="T49" fmla="*/ 436 h 925"/>
                            <a:gd name="T50" fmla="*/ 924 w 925"/>
                            <a:gd name="T51" fmla="*/ 385 h 925"/>
                            <a:gd name="T52" fmla="*/ 924 w 925"/>
                            <a:gd name="T53" fmla="*/ 334 h 925"/>
                            <a:gd name="T54" fmla="*/ 919 w 925"/>
                            <a:gd name="T55" fmla="*/ 283 h 925"/>
                            <a:gd name="T56" fmla="*/ 910 w 925"/>
                            <a:gd name="T57" fmla="*/ 233 h 925"/>
                            <a:gd name="T58" fmla="*/ 895 w 925"/>
                            <a:gd name="T59" fmla="*/ 183 h 925"/>
                            <a:gd name="T60" fmla="*/ 877 w 925"/>
                            <a:gd name="T61" fmla="*/ 134 h 925"/>
                            <a:gd name="T62" fmla="*/ 853 w 925"/>
                            <a:gd name="T63" fmla="*/ 88 h 925"/>
                            <a:gd name="T64" fmla="*/ 825 w 925"/>
                            <a:gd name="T65" fmla="*/ 43 h 925"/>
                            <a:gd name="T66" fmla="*/ 793 w 925"/>
                            <a:gd name="T67" fmla="*/ 0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5" h="925">
                              <a:moveTo>
                                <a:pt x="793" y="0"/>
                              </a:moveTo>
                              <a:lnTo>
                                <a:pt x="0" y="793"/>
                              </a:lnTo>
                              <a:lnTo>
                                <a:pt x="0" y="793"/>
                              </a:lnTo>
                              <a:lnTo>
                                <a:pt x="21" y="810"/>
                              </a:lnTo>
                              <a:lnTo>
                                <a:pt x="42" y="826"/>
                              </a:lnTo>
                              <a:lnTo>
                                <a:pt x="65" y="840"/>
                              </a:lnTo>
                              <a:lnTo>
                                <a:pt x="87" y="853"/>
                              </a:lnTo>
                              <a:lnTo>
                                <a:pt x="111" y="866"/>
                              </a:lnTo>
                              <a:lnTo>
                                <a:pt x="134" y="877"/>
                              </a:lnTo>
                              <a:lnTo>
                                <a:pt x="158" y="887"/>
                              </a:lnTo>
                              <a:lnTo>
                                <a:pt x="182" y="896"/>
                              </a:lnTo>
                              <a:lnTo>
                                <a:pt x="207" y="903"/>
                              </a:lnTo>
                              <a:lnTo>
                                <a:pt x="232" y="911"/>
                              </a:lnTo>
                              <a:lnTo>
                                <a:pt x="257" y="916"/>
                              </a:lnTo>
                              <a:lnTo>
                                <a:pt x="283" y="920"/>
                              </a:lnTo>
                              <a:lnTo>
                                <a:pt x="308" y="923"/>
                              </a:lnTo>
                              <a:lnTo>
                                <a:pt x="334" y="925"/>
                              </a:lnTo>
                              <a:lnTo>
                                <a:pt x="359" y="925"/>
                              </a:lnTo>
                              <a:lnTo>
                                <a:pt x="385" y="925"/>
                              </a:lnTo>
                              <a:lnTo>
                                <a:pt x="410" y="923"/>
                              </a:lnTo>
                              <a:lnTo>
                                <a:pt x="436" y="921"/>
                              </a:lnTo>
                              <a:lnTo>
                                <a:pt x="461" y="917"/>
                              </a:lnTo>
                              <a:lnTo>
                                <a:pt x="486" y="912"/>
                              </a:lnTo>
                              <a:lnTo>
                                <a:pt x="512" y="905"/>
                              </a:lnTo>
                              <a:lnTo>
                                <a:pt x="536" y="898"/>
                              </a:lnTo>
                              <a:lnTo>
                                <a:pt x="561" y="889"/>
                              </a:lnTo>
                              <a:lnTo>
                                <a:pt x="584" y="880"/>
                              </a:lnTo>
                              <a:lnTo>
                                <a:pt x="608" y="869"/>
                              </a:lnTo>
                              <a:lnTo>
                                <a:pt x="631" y="857"/>
                              </a:lnTo>
                              <a:lnTo>
                                <a:pt x="654" y="844"/>
                              </a:lnTo>
                              <a:lnTo>
                                <a:pt x="676" y="830"/>
                              </a:lnTo>
                              <a:lnTo>
                                <a:pt x="699" y="814"/>
                              </a:lnTo>
                              <a:lnTo>
                                <a:pt x="719" y="797"/>
                              </a:lnTo>
                              <a:lnTo>
                                <a:pt x="740" y="780"/>
                              </a:lnTo>
                              <a:lnTo>
                                <a:pt x="760" y="760"/>
                              </a:lnTo>
                              <a:lnTo>
                                <a:pt x="760" y="760"/>
                              </a:lnTo>
                              <a:lnTo>
                                <a:pt x="779" y="741"/>
                              </a:lnTo>
                              <a:lnTo>
                                <a:pt x="797" y="720"/>
                              </a:lnTo>
                              <a:lnTo>
                                <a:pt x="813" y="699"/>
                              </a:lnTo>
                              <a:lnTo>
                                <a:pt x="829" y="677"/>
                              </a:lnTo>
                              <a:lnTo>
                                <a:pt x="843" y="655"/>
                              </a:lnTo>
                              <a:lnTo>
                                <a:pt x="856" y="632"/>
                              </a:lnTo>
                              <a:lnTo>
                                <a:pt x="869" y="609"/>
                              </a:lnTo>
                              <a:lnTo>
                                <a:pt x="879" y="585"/>
                              </a:lnTo>
                              <a:lnTo>
                                <a:pt x="889" y="561"/>
                              </a:lnTo>
                              <a:lnTo>
                                <a:pt x="897" y="536"/>
                              </a:lnTo>
                              <a:lnTo>
                                <a:pt x="905" y="512"/>
                              </a:lnTo>
                              <a:lnTo>
                                <a:pt x="911" y="487"/>
                              </a:lnTo>
                              <a:lnTo>
                                <a:pt x="916" y="462"/>
                              </a:lnTo>
                              <a:lnTo>
                                <a:pt x="920" y="436"/>
                              </a:lnTo>
                              <a:lnTo>
                                <a:pt x="923" y="410"/>
                              </a:lnTo>
                              <a:lnTo>
                                <a:pt x="924" y="385"/>
                              </a:lnTo>
                              <a:lnTo>
                                <a:pt x="925" y="359"/>
                              </a:lnTo>
                              <a:lnTo>
                                <a:pt x="924" y="334"/>
                              </a:lnTo>
                              <a:lnTo>
                                <a:pt x="922" y="308"/>
                              </a:lnTo>
                              <a:lnTo>
                                <a:pt x="919" y="283"/>
                              </a:lnTo>
                              <a:lnTo>
                                <a:pt x="915" y="258"/>
                              </a:lnTo>
                              <a:lnTo>
                                <a:pt x="910" y="233"/>
                              </a:lnTo>
                              <a:lnTo>
                                <a:pt x="904" y="208"/>
                              </a:lnTo>
                              <a:lnTo>
                                <a:pt x="895" y="183"/>
                              </a:lnTo>
                              <a:lnTo>
                                <a:pt x="886" y="159"/>
                              </a:lnTo>
                              <a:lnTo>
                                <a:pt x="877" y="134"/>
                              </a:lnTo>
                              <a:lnTo>
                                <a:pt x="866" y="111"/>
                              </a:lnTo>
                              <a:lnTo>
                                <a:pt x="853" y="88"/>
                              </a:lnTo>
                              <a:lnTo>
                                <a:pt x="840" y="65"/>
                              </a:lnTo>
                              <a:lnTo>
                                <a:pt x="825" y="43"/>
                              </a:lnTo>
                              <a:lnTo>
                                <a:pt x="809" y="22"/>
                              </a:lnTo>
                              <a:lnTo>
                                <a:pt x="793" y="0"/>
                              </a:lnTo>
                              <a:lnTo>
                                <a:pt x="7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128" name="Freeform 370">
                          <a:extLst>
                            <a:ext uri="{FF2B5EF4-FFF2-40B4-BE49-F238E27FC236}">
                              <a16:creationId xmlns:a16="http://schemas.microsoft.com/office/drawing/2014/main" id="{2190EE54-5506-4689-A937-8D60685CD1BC}"/>
                            </a:ext>
                          </a:extLst>
                        </p:cNvPr>
                        <p:cNvSpPr>
                          <a:spLocks/>
                        </p:cNvSpPr>
                        <p:nvPr/>
                      </p:nvSpPr>
                      <p:spPr bwMode="auto">
                        <a:xfrm>
                          <a:off x="1083488" y="-1476527"/>
                          <a:ext cx="163512" cy="112713"/>
                        </a:xfrm>
                        <a:custGeom>
                          <a:avLst/>
                          <a:gdLst>
                            <a:gd name="T0" fmla="*/ 725 w 725"/>
                            <a:gd name="T1" fmla="*/ 132 h 494"/>
                            <a:gd name="T2" fmla="*/ 725 w 725"/>
                            <a:gd name="T3" fmla="*/ 132 h 494"/>
                            <a:gd name="T4" fmla="*/ 705 w 725"/>
                            <a:gd name="T5" fmla="*/ 116 h 494"/>
                            <a:gd name="T6" fmla="*/ 685 w 725"/>
                            <a:gd name="T7" fmla="*/ 101 h 494"/>
                            <a:gd name="T8" fmla="*/ 664 w 725"/>
                            <a:gd name="T9" fmla="*/ 87 h 494"/>
                            <a:gd name="T10" fmla="*/ 643 w 725"/>
                            <a:gd name="T11" fmla="*/ 75 h 494"/>
                            <a:gd name="T12" fmla="*/ 621 w 725"/>
                            <a:gd name="T13" fmla="*/ 62 h 494"/>
                            <a:gd name="T14" fmla="*/ 599 w 725"/>
                            <a:gd name="T15" fmla="*/ 51 h 494"/>
                            <a:gd name="T16" fmla="*/ 576 w 725"/>
                            <a:gd name="T17" fmla="*/ 42 h 494"/>
                            <a:gd name="T18" fmla="*/ 553 w 725"/>
                            <a:gd name="T19" fmla="*/ 33 h 494"/>
                            <a:gd name="T20" fmla="*/ 530 w 725"/>
                            <a:gd name="T21" fmla="*/ 25 h 494"/>
                            <a:gd name="T22" fmla="*/ 507 w 725"/>
                            <a:gd name="T23" fmla="*/ 18 h 494"/>
                            <a:gd name="T24" fmla="*/ 483 w 725"/>
                            <a:gd name="T25" fmla="*/ 13 h 494"/>
                            <a:gd name="T26" fmla="*/ 460 w 725"/>
                            <a:gd name="T27" fmla="*/ 8 h 494"/>
                            <a:gd name="T28" fmla="*/ 435 w 725"/>
                            <a:gd name="T29" fmla="*/ 5 h 494"/>
                            <a:gd name="T30" fmla="*/ 411 w 725"/>
                            <a:gd name="T31" fmla="*/ 2 h 494"/>
                            <a:gd name="T32" fmla="*/ 387 w 725"/>
                            <a:gd name="T33" fmla="*/ 1 h 494"/>
                            <a:gd name="T34" fmla="*/ 362 w 725"/>
                            <a:gd name="T35" fmla="*/ 0 h 494"/>
                            <a:gd name="T36" fmla="*/ 339 w 725"/>
                            <a:gd name="T37" fmla="*/ 1 h 494"/>
                            <a:gd name="T38" fmla="*/ 314 w 725"/>
                            <a:gd name="T39" fmla="*/ 2 h 494"/>
                            <a:gd name="T40" fmla="*/ 291 w 725"/>
                            <a:gd name="T41" fmla="*/ 5 h 494"/>
                            <a:gd name="T42" fmla="*/ 266 w 725"/>
                            <a:gd name="T43" fmla="*/ 8 h 494"/>
                            <a:gd name="T44" fmla="*/ 243 w 725"/>
                            <a:gd name="T45" fmla="*/ 13 h 494"/>
                            <a:gd name="T46" fmla="*/ 219 w 725"/>
                            <a:gd name="T47" fmla="*/ 18 h 494"/>
                            <a:gd name="T48" fmla="*/ 196 w 725"/>
                            <a:gd name="T49" fmla="*/ 25 h 494"/>
                            <a:gd name="T50" fmla="*/ 173 w 725"/>
                            <a:gd name="T51" fmla="*/ 33 h 494"/>
                            <a:gd name="T52" fmla="*/ 150 w 725"/>
                            <a:gd name="T53" fmla="*/ 42 h 494"/>
                            <a:gd name="T54" fmla="*/ 127 w 725"/>
                            <a:gd name="T55" fmla="*/ 52 h 494"/>
                            <a:gd name="T56" fmla="*/ 105 w 725"/>
                            <a:gd name="T57" fmla="*/ 62 h 494"/>
                            <a:gd name="T58" fmla="*/ 83 w 725"/>
                            <a:gd name="T59" fmla="*/ 75 h 494"/>
                            <a:gd name="T60" fmla="*/ 62 w 725"/>
                            <a:gd name="T61" fmla="*/ 87 h 494"/>
                            <a:gd name="T62" fmla="*/ 41 w 725"/>
                            <a:gd name="T63" fmla="*/ 101 h 494"/>
                            <a:gd name="T64" fmla="*/ 21 w 725"/>
                            <a:gd name="T65" fmla="*/ 116 h 494"/>
                            <a:gd name="T66" fmla="*/ 0 w 725"/>
                            <a:gd name="T67" fmla="*/ 132 h 494"/>
                            <a:gd name="T68" fmla="*/ 362 w 725"/>
                            <a:gd name="T69" fmla="*/ 494 h 494"/>
                            <a:gd name="T70" fmla="*/ 725 w 725"/>
                            <a:gd name="T71" fmla="*/ 1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5" h="494">
                              <a:moveTo>
                                <a:pt x="725" y="132"/>
                              </a:moveTo>
                              <a:lnTo>
                                <a:pt x="725" y="132"/>
                              </a:lnTo>
                              <a:lnTo>
                                <a:pt x="705" y="116"/>
                              </a:lnTo>
                              <a:lnTo>
                                <a:pt x="685" y="101"/>
                              </a:lnTo>
                              <a:lnTo>
                                <a:pt x="664" y="87"/>
                              </a:lnTo>
                              <a:lnTo>
                                <a:pt x="643" y="75"/>
                              </a:lnTo>
                              <a:lnTo>
                                <a:pt x="621" y="62"/>
                              </a:lnTo>
                              <a:lnTo>
                                <a:pt x="599" y="51"/>
                              </a:lnTo>
                              <a:lnTo>
                                <a:pt x="576" y="42"/>
                              </a:lnTo>
                              <a:lnTo>
                                <a:pt x="553" y="33"/>
                              </a:lnTo>
                              <a:lnTo>
                                <a:pt x="530" y="25"/>
                              </a:lnTo>
                              <a:lnTo>
                                <a:pt x="507" y="18"/>
                              </a:lnTo>
                              <a:lnTo>
                                <a:pt x="483" y="13"/>
                              </a:lnTo>
                              <a:lnTo>
                                <a:pt x="460" y="8"/>
                              </a:lnTo>
                              <a:lnTo>
                                <a:pt x="435" y="5"/>
                              </a:lnTo>
                              <a:lnTo>
                                <a:pt x="411" y="2"/>
                              </a:lnTo>
                              <a:lnTo>
                                <a:pt x="387" y="1"/>
                              </a:lnTo>
                              <a:lnTo>
                                <a:pt x="362" y="0"/>
                              </a:lnTo>
                              <a:lnTo>
                                <a:pt x="339" y="1"/>
                              </a:lnTo>
                              <a:lnTo>
                                <a:pt x="314" y="2"/>
                              </a:lnTo>
                              <a:lnTo>
                                <a:pt x="291" y="5"/>
                              </a:lnTo>
                              <a:lnTo>
                                <a:pt x="266" y="8"/>
                              </a:lnTo>
                              <a:lnTo>
                                <a:pt x="243" y="13"/>
                              </a:lnTo>
                              <a:lnTo>
                                <a:pt x="219" y="18"/>
                              </a:lnTo>
                              <a:lnTo>
                                <a:pt x="196" y="25"/>
                              </a:lnTo>
                              <a:lnTo>
                                <a:pt x="173" y="33"/>
                              </a:lnTo>
                              <a:lnTo>
                                <a:pt x="150" y="42"/>
                              </a:lnTo>
                              <a:lnTo>
                                <a:pt x="127" y="52"/>
                              </a:lnTo>
                              <a:lnTo>
                                <a:pt x="105" y="62"/>
                              </a:lnTo>
                              <a:lnTo>
                                <a:pt x="83" y="75"/>
                              </a:lnTo>
                              <a:lnTo>
                                <a:pt x="62" y="87"/>
                              </a:lnTo>
                              <a:lnTo>
                                <a:pt x="41" y="101"/>
                              </a:lnTo>
                              <a:lnTo>
                                <a:pt x="21" y="116"/>
                              </a:lnTo>
                              <a:lnTo>
                                <a:pt x="0" y="132"/>
                              </a:lnTo>
                              <a:lnTo>
                                <a:pt x="362" y="494"/>
                              </a:lnTo>
                              <a:lnTo>
                                <a:pt x="725"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129" name="Freeform 371">
                          <a:extLst>
                            <a:ext uri="{FF2B5EF4-FFF2-40B4-BE49-F238E27FC236}">
                              <a16:creationId xmlns:a16="http://schemas.microsoft.com/office/drawing/2014/main" id="{B1119A6F-F4AD-4F4B-BDE4-81709F95FE7C}"/>
                            </a:ext>
                          </a:extLst>
                        </p:cNvPr>
                        <p:cNvSpPr>
                          <a:spLocks/>
                        </p:cNvSpPr>
                        <p:nvPr/>
                      </p:nvSpPr>
                      <p:spPr bwMode="auto">
                        <a:xfrm>
                          <a:off x="1039038" y="-1398740"/>
                          <a:ext cx="79375" cy="92075"/>
                        </a:xfrm>
                        <a:custGeom>
                          <a:avLst/>
                          <a:gdLst>
                            <a:gd name="T0" fmla="*/ 272 w 352"/>
                            <a:gd name="T1" fmla="*/ 0 h 402"/>
                            <a:gd name="T2" fmla="*/ 0 w 352"/>
                            <a:gd name="T3" fmla="*/ 273 h 402"/>
                            <a:gd name="T4" fmla="*/ 0 w 352"/>
                            <a:gd name="T5" fmla="*/ 273 h 402"/>
                            <a:gd name="T6" fmla="*/ 4 w 352"/>
                            <a:gd name="T7" fmla="*/ 305 h 402"/>
                            <a:gd name="T8" fmla="*/ 10 w 352"/>
                            <a:gd name="T9" fmla="*/ 338 h 402"/>
                            <a:gd name="T10" fmla="*/ 18 w 352"/>
                            <a:gd name="T11" fmla="*/ 371 h 402"/>
                            <a:gd name="T12" fmla="*/ 28 w 352"/>
                            <a:gd name="T13" fmla="*/ 402 h 402"/>
                            <a:gd name="T14" fmla="*/ 352 w 352"/>
                            <a:gd name="T15" fmla="*/ 79 h 402"/>
                            <a:gd name="T16" fmla="*/ 272 w 352"/>
                            <a:gd name="T1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2" h="402">
                              <a:moveTo>
                                <a:pt x="272" y="0"/>
                              </a:moveTo>
                              <a:lnTo>
                                <a:pt x="0" y="273"/>
                              </a:lnTo>
                              <a:lnTo>
                                <a:pt x="0" y="273"/>
                              </a:lnTo>
                              <a:lnTo>
                                <a:pt x="4" y="305"/>
                              </a:lnTo>
                              <a:lnTo>
                                <a:pt x="10" y="338"/>
                              </a:lnTo>
                              <a:lnTo>
                                <a:pt x="18" y="371"/>
                              </a:lnTo>
                              <a:lnTo>
                                <a:pt x="28" y="402"/>
                              </a:lnTo>
                              <a:lnTo>
                                <a:pt x="352" y="79"/>
                              </a:lnTo>
                              <a:lnTo>
                                <a:pt x="2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grpSp>
                  <p:grpSp>
                    <p:nvGrpSpPr>
                      <p:cNvPr id="118" name="Group 117">
                        <a:extLst>
                          <a:ext uri="{FF2B5EF4-FFF2-40B4-BE49-F238E27FC236}">
                            <a16:creationId xmlns:a16="http://schemas.microsoft.com/office/drawing/2014/main" id="{01BC17ED-CDA8-4BD9-8100-C68600DCBC67}"/>
                          </a:ext>
                        </a:extLst>
                      </p:cNvPr>
                      <p:cNvGrpSpPr/>
                      <p:nvPr/>
                    </p:nvGrpSpPr>
                    <p:grpSpPr>
                      <a:xfrm>
                        <a:off x="5208518" y="-1395792"/>
                        <a:ext cx="426200" cy="371854"/>
                        <a:chOff x="1620064" y="-757313"/>
                        <a:chExt cx="236538" cy="206376"/>
                      </a:xfrm>
                      <a:grpFill/>
                    </p:grpSpPr>
                    <p:sp>
                      <p:nvSpPr>
                        <p:cNvPr id="120" name="Freeform 186">
                          <a:extLst>
                            <a:ext uri="{FF2B5EF4-FFF2-40B4-BE49-F238E27FC236}">
                              <a16:creationId xmlns:a16="http://schemas.microsoft.com/office/drawing/2014/main" id="{D89A1760-B1BF-45D5-821C-C6C099C1305E}"/>
                            </a:ext>
                          </a:extLst>
                        </p:cNvPr>
                        <p:cNvSpPr>
                          <a:spLocks/>
                        </p:cNvSpPr>
                        <p:nvPr/>
                      </p:nvSpPr>
                      <p:spPr bwMode="auto">
                        <a:xfrm>
                          <a:off x="1745476" y="-757313"/>
                          <a:ext cx="44450" cy="174625"/>
                        </a:xfrm>
                        <a:custGeom>
                          <a:avLst/>
                          <a:gdLst>
                            <a:gd name="T0" fmla="*/ 196 w 196"/>
                            <a:gd name="T1" fmla="*/ 26 h 767"/>
                            <a:gd name="T2" fmla="*/ 196 w 196"/>
                            <a:gd name="T3" fmla="*/ 26 h 767"/>
                            <a:gd name="T4" fmla="*/ 196 w 196"/>
                            <a:gd name="T5" fmla="*/ 21 h 767"/>
                            <a:gd name="T6" fmla="*/ 194 w 196"/>
                            <a:gd name="T7" fmla="*/ 17 h 767"/>
                            <a:gd name="T8" fmla="*/ 192 w 196"/>
                            <a:gd name="T9" fmla="*/ 11 h 767"/>
                            <a:gd name="T10" fmla="*/ 189 w 196"/>
                            <a:gd name="T11" fmla="*/ 8 h 767"/>
                            <a:gd name="T12" fmla="*/ 185 w 196"/>
                            <a:gd name="T13" fmla="*/ 5 h 767"/>
                            <a:gd name="T14" fmla="*/ 181 w 196"/>
                            <a:gd name="T15" fmla="*/ 2 h 767"/>
                            <a:gd name="T16" fmla="*/ 177 w 196"/>
                            <a:gd name="T17" fmla="*/ 1 h 767"/>
                            <a:gd name="T18" fmla="*/ 172 w 196"/>
                            <a:gd name="T19" fmla="*/ 0 h 767"/>
                            <a:gd name="T20" fmla="*/ 24 w 196"/>
                            <a:gd name="T21" fmla="*/ 0 h 767"/>
                            <a:gd name="T22" fmla="*/ 24 w 196"/>
                            <a:gd name="T23" fmla="*/ 0 h 767"/>
                            <a:gd name="T24" fmla="*/ 19 w 196"/>
                            <a:gd name="T25" fmla="*/ 1 h 767"/>
                            <a:gd name="T26" fmla="*/ 15 w 196"/>
                            <a:gd name="T27" fmla="*/ 2 h 767"/>
                            <a:gd name="T28" fmla="*/ 11 w 196"/>
                            <a:gd name="T29" fmla="*/ 5 h 767"/>
                            <a:gd name="T30" fmla="*/ 7 w 196"/>
                            <a:gd name="T31" fmla="*/ 8 h 767"/>
                            <a:gd name="T32" fmla="*/ 4 w 196"/>
                            <a:gd name="T33" fmla="*/ 11 h 767"/>
                            <a:gd name="T34" fmla="*/ 2 w 196"/>
                            <a:gd name="T35" fmla="*/ 17 h 767"/>
                            <a:gd name="T36" fmla="*/ 1 w 196"/>
                            <a:gd name="T37" fmla="*/ 21 h 767"/>
                            <a:gd name="T38" fmla="*/ 0 w 196"/>
                            <a:gd name="T39" fmla="*/ 26 h 767"/>
                            <a:gd name="T40" fmla="*/ 0 w 196"/>
                            <a:gd name="T41" fmla="*/ 767 h 767"/>
                            <a:gd name="T42" fmla="*/ 196 w 196"/>
                            <a:gd name="T43" fmla="*/ 767 h 767"/>
                            <a:gd name="T44" fmla="*/ 196 w 196"/>
                            <a:gd name="T45" fmla="*/ 26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767">
                              <a:moveTo>
                                <a:pt x="196" y="26"/>
                              </a:moveTo>
                              <a:lnTo>
                                <a:pt x="196" y="26"/>
                              </a:lnTo>
                              <a:lnTo>
                                <a:pt x="196" y="21"/>
                              </a:lnTo>
                              <a:lnTo>
                                <a:pt x="194" y="17"/>
                              </a:lnTo>
                              <a:lnTo>
                                <a:pt x="192" y="11"/>
                              </a:lnTo>
                              <a:lnTo>
                                <a:pt x="189" y="8"/>
                              </a:lnTo>
                              <a:lnTo>
                                <a:pt x="185" y="5"/>
                              </a:lnTo>
                              <a:lnTo>
                                <a:pt x="181" y="2"/>
                              </a:lnTo>
                              <a:lnTo>
                                <a:pt x="177" y="1"/>
                              </a:lnTo>
                              <a:lnTo>
                                <a:pt x="172" y="0"/>
                              </a:lnTo>
                              <a:lnTo>
                                <a:pt x="24" y="0"/>
                              </a:lnTo>
                              <a:lnTo>
                                <a:pt x="24" y="0"/>
                              </a:lnTo>
                              <a:lnTo>
                                <a:pt x="19" y="1"/>
                              </a:lnTo>
                              <a:lnTo>
                                <a:pt x="15" y="2"/>
                              </a:lnTo>
                              <a:lnTo>
                                <a:pt x="11" y="5"/>
                              </a:lnTo>
                              <a:lnTo>
                                <a:pt x="7" y="8"/>
                              </a:lnTo>
                              <a:lnTo>
                                <a:pt x="4" y="11"/>
                              </a:lnTo>
                              <a:lnTo>
                                <a:pt x="2" y="17"/>
                              </a:lnTo>
                              <a:lnTo>
                                <a:pt x="1" y="21"/>
                              </a:lnTo>
                              <a:lnTo>
                                <a:pt x="0" y="26"/>
                              </a:lnTo>
                              <a:lnTo>
                                <a:pt x="0" y="767"/>
                              </a:lnTo>
                              <a:lnTo>
                                <a:pt x="196" y="767"/>
                              </a:lnTo>
                              <a:lnTo>
                                <a:pt x="1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121" name="Freeform 187">
                          <a:extLst>
                            <a:ext uri="{FF2B5EF4-FFF2-40B4-BE49-F238E27FC236}">
                              <a16:creationId xmlns:a16="http://schemas.microsoft.com/office/drawing/2014/main" id="{0C1F5F8A-9AE0-4355-9A96-AD48E7710F5D}"/>
                            </a:ext>
                          </a:extLst>
                        </p:cNvPr>
                        <p:cNvSpPr>
                          <a:spLocks/>
                        </p:cNvSpPr>
                        <p:nvPr/>
                      </p:nvSpPr>
                      <p:spPr bwMode="auto">
                        <a:xfrm>
                          <a:off x="1685151" y="-666825"/>
                          <a:ext cx="44450" cy="84138"/>
                        </a:xfrm>
                        <a:custGeom>
                          <a:avLst/>
                          <a:gdLst>
                            <a:gd name="T0" fmla="*/ 196 w 196"/>
                            <a:gd name="T1" fmla="*/ 25 h 369"/>
                            <a:gd name="T2" fmla="*/ 196 w 196"/>
                            <a:gd name="T3" fmla="*/ 25 h 369"/>
                            <a:gd name="T4" fmla="*/ 196 w 196"/>
                            <a:gd name="T5" fmla="*/ 20 h 369"/>
                            <a:gd name="T6" fmla="*/ 194 w 196"/>
                            <a:gd name="T7" fmla="*/ 15 h 369"/>
                            <a:gd name="T8" fmla="*/ 192 w 196"/>
                            <a:gd name="T9" fmla="*/ 11 h 369"/>
                            <a:gd name="T10" fmla="*/ 189 w 196"/>
                            <a:gd name="T11" fmla="*/ 7 h 369"/>
                            <a:gd name="T12" fmla="*/ 185 w 196"/>
                            <a:gd name="T13" fmla="*/ 4 h 369"/>
                            <a:gd name="T14" fmla="*/ 181 w 196"/>
                            <a:gd name="T15" fmla="*/ 2 h 369"/>
                            <a:gd name="T16" fmla="*/ 177 w 196"/>
                            <a:gd name="T17" fmla="*/ 0 h 369"/>
                            <a:gd name="T18" fmla="*/ 172 w 196"/>
                            <a:gd name="T19" fmla="*/ 0 h 369"/>
                            <a:gd name="T20" fmla="*/ 25 w 196"/>
                            <a:gd name="T21" fmla="*/ 0 h 369"/>
                            <a:gd name="T22" fmla="*/ 25 w 196"/>
                            <a:gd name="T23" fmla="*/ 0 h 369"/>
                            <a:gd name="T24" fmla="*/ 19 w 196"/>
                            <a:gd name="T25" fmla="*/ 0 h 369"/>
                            <a:gd name="T26" fmla="*/ 15 w 196"/>
                            <a:gd name="T27" fmla="*/ 2 h 369"/>
                            <a:gd name="T28" fmla="*/ 11 w 196"/>
                            <a:gd name="T29" fmla="*/ 4 h 369"/>
                            <a:gd name="T30" fmla="*/ 7 w 196"/>
                            <a:gd name="T31" fmla="*/ 7 h 369"/>
                            <a:gd name="T32" fmla="*/ 4 w 196"/>
                            <a:gd name="T33" fmla="*/ 11 h 369"/>
                            <a:gd name="T34" fmla="*/ 2 w 196"/>
                            <a:gd name="T35" fmla="*/ 15 h 369"/>
                            <a:gd name="T36" fmla="*/ 1 w 196"/>
                            <a:gd name="T37" fmla="*/ 20 h 369"/>
                            <a:gd name="T38" fmla="*/ 0 w 196"/>
                            <a:gd name="T39" fmla="*/ 25 h 369"/>
                            <a:gd name="T40" fmla="*/ 0 w 196"/>
                            <a:gd name="T41" fmla="*/ 369 h 369"/>
                            <a:gd name="T42" fmla="*/ 196 w 196"/>
                            <a:gd name="T43" fmla="*/ 369 h 369"/>
                            <a:gd name="T44" fmla="*/ 196 w 196"/>
                            <a:gd name="T45" fmla="*/ 25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369">
                              <a:moveTo>
                                <a:pt x="196" y="25"/>
                              </a:moveTo>
                              <a:lnTo>
                                <a:pt x="196" y="25"/>
                              </a:lnTo>
                              <a:lnTo>
                                <a:pt x="196" y="20"/>
                              </a:lnTo>
                              <a:lnTo>
                                <a:pt x="194" y="15"/>
                              </a:lnTo>
                              <a:lnTo>
                                <a:pt x="192" y="11"/>
                              </a:lnTo>
                              <a:lnTo>
                                <a:pt x="189" y="7"/>
                              </a:lnTo>
                              <a:lnTo>
                                <a:pt x="185" y="4"/>
                              </a:lnTo>
                              <a:lnTo>
                                <a:pt x="181" y="2"/>
                              </a:lnTo>
                              <a:lnTo>
                                <a:pt x="177" y="0"/>
                              </a:lnTo>
                              <a:lnTo>
                                <a:pt x="172" y="0"/>
                              </a:lnTo>
                              <a:lnTo>
                                <a:pt x="25" y="0"/>
                              </a:lnTo>
                              <a:lnTo>
                                <a:pt x="25" y="0"/>
                              </a:lnTo>
                              <a:lnTo>
                                <a:pt x="19" y="0"/>
                              </a:lnTo>
                              <a:lnTo>
                                <a:pt x="15" y="2"/>
                              </a:lnTo>
                              <a:lnTo>
                                <a:pt x="11" y="4"/>
                              </a:lnTo>
                              <a:lnTo>
                                <a:pt x="7" y="7"/>
                              </a:lnTo>
                              <a:lnTo>
                                <a:pt x="4" y="11"/>
                              </a:lnTo>
                              <a:lnTo>
                                <a:pt x="2" y="15"/>
                              </a:lnTo>
                              <a:lnTo>
                                <a:pt x="1" y="20"/>
                              </a:lnTo>
                              <a:lnTo>
                                <a:pt x="0" y="25"/>
                              </a:lnTo>
                              <a:lnTo>
                                <a:pt x="0" y="369"/>
                              </a:lnTo>
                              <a:lnTo>
                                <a:pt x="196" y="369"/>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122" name="Freeform 188">
                          <a:extLst>
                            <a:ext uri="{FF2B5EF4-FFF2-40B4-BE49-F238E27FC236}">
                              <a16:creationId xmlns:a16="http://schemas.microsoft.com/office/drawing/2014/main" id="{167DEBCB-CD5D-400D-B997-05458344792D}"/>
                            </a:ext>
                          </a:extLst>
                        </p:cNvPr>
                        <p:cNvSpPr>
                          <a:spLocks/>
                        </p:cNvSpPr>
                        <p:nvPr/>
                      </p:nvSpPr>
                      <p:spPr bwMode="auto">
                        <a:xfrm>
                          <a:off x="1805801" y="-709688"/>
                          <a:ext cx="44450" cy="127000"/>
                        </a:xfrm>
                        <a:custGeom>
                          <a:avLst/>
                          <a:gdLst>
                            <a:gd name="T0" fmla="*/ 196 w 196"/>
                            <a:gd name="T1" fmla="*/ 24 h 558"/>
                            <a:gd name="T2" fmla="*/ 196 w 196"/>
                            <a:gd name="T3" fmla="*/ 24 h 558"/>
                            <a:gd name="T4" fmla="*/ 196 w 196"/>
                            <a:gd name="T5" fmla="*/ 19 h 558"/>
                            <a:gd name="T6" fmla="*/ 194 w 196"/>
                            <a:gd name="T7" fmla="*/ 15 h 558"/>
                            <a:gd name="T8" fmla="*/ 192 w 196"/>
                            <a:gd name="T9" fmla="*/ 11 h 558"/>
                            <a:gd name="T10" fmla="*/ 189 w 196"/>
                            <a:gd name="T11" fmla="*/ 7 h 558"/>
                            <a:gd name="T12" fmla="*/ 186 w 196"/>
                            <a:gd name="T13" fmla="*/ 4 h 558"/>
                            <a:gd name="T14" fmla="*/ 181 w 196"/>
                            <a:gd name="T15" fmla="*/ 2 h 558"/>
                            <a:gd name="T16" fmla="*/ 177 w 196"/>
                            <a:gd name="T17" fmla="*/ 1 h 558"/>
                            <a:gd name="T18" fmla="*/ 172 w 196"/>
                            <a:gd name="T19" fmla="*/ 0 h 558"/>
                            <a:gd name="T20" fmla="*/ 24 w 196"/>
                            <a:gd name="T21" fmla="*/ 0 h 558"/>
                            <a:gd name="T22" fmla="*/ 24 w 196"/>
                            <a:gd name="T23" fmla="*/ 0 h 558"/>
                            <a:gd name="T24" fmla="*/ 20 w 196"/>
                            <a:gd name="T25" fmla="*/ 1 h 558"/>
                            <a:gd name="T26" fmla="*/ 15 w 196"/>
                            <a:gd name="T27" fmla="*/ 2 h 558"/>
                            <a:gd name="T28" fmla="*/ 11 w 196"/>
                            <a:gd name="T29" fmla="*/ 4 h 558"/>
                            <a:gd name="T30" fmla="*/ 7 w 196"/>
                            <a:gd name="T31" fmla="*/ 7 h 558"/>
                            <a:gd name="T32" fmla="*/ 4 w 196"/>
                            <a:gd name="T33" fmla="*/ 11 h 558"/>
                            <a:gd name="T34" fmla="*/ 2 w 196"/>
                            <a:gd name="T35" fmla="*/ 15 h 558"/>
                            <a:gd name="T36" fmla="*/ 1 w 196"/>
                            <a:gd name="T37" fmla="*/ 19 h 558"/>
                            <a:gd name="T38" fmla="*/ 0 w 196"/>
                            <a:gd name="T39" fmla="*/ 24 h 558"/>
                            <a:gd name="T40" fmla="*/ 0 w 196"/>
                            <a:gd name="T41" fmla="*/ 558 h 558"/>
                            <a:gd name="T42" fmla="*/ 196 w 196"/>
                            <a:gd name="T43" fmla="*/ 558 h 558"/>
                            <a:gd name="T44" fmla="*/ 196 w 196"/>
                            <a:gd name="T45" fmla="*/ 2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558">
                              <a:moveTo>
                                <a:pt x="196" y="24"/>
                              </a:moveTo>
                              <a:lnTo>
                                <a:pt x="196" y="24"/>
                              </a:lnTo>
                              <a:lnTo>
                                <a:pt x="196" y="19"/>
                              </a:lnTo>
                              <a:lnTo>
                                <a:pt x="194" y="15"/>
                              </a:lnTo>
                              <a:lnTo>
                                <a:pt x="192" y="11"/>
                              </a:lnTo>
                              <a:lnTo>
                                <a:pt x="189" y="7"/>
                              </a:lnTo>
                              <a:lnTo>
                                <a:pt x="186" y="4"/>
                              </a:lnTo>
                              <a:lnTo>
                                <a:pt x="181" y="2"/>
                              </a:lnTo>
                              <a:lnTo>
                                <a:pt x="177" y="1"/>
                              </a:lnTo>
                              <a:lnTo>
                                <a:pt x="172" y="0"/>
                              </a:lnTo>
                              <a:lnTo>
                                <a:pt x="24" y="0"/>
                              </a:lnTo>
                              <a:lnTo>
                                <a:pt x="24" y="0"/>
                              </a:lnTo>
                              <a:lnTo>
                                <a:pt x="20" y="1"/>
                              </a:lnTo>
                              <a:lnTo>
                                <a:pt x="15" y="2"/>
                              </a:lnTo>
                              <a:lnTo>
                                <a:pt x="11" y="4"/>
                              </a:lnTo>
                              <a:lnTo>
                                <a:pt x="7" y="7"/>
                              </a:lnTo>
                              <a:lnTo>
                                <a:pt x="4" y="11"/>
                              </a:lnTo>
                              <a:lnTo>
                                <a:pt x="2" y="15"/>
                              </a:lnTo>
                              <a:lnTo>
                                <a:pt x="1" y="19"/>
                              </a:lnTo>
                              <a:lnTo>
                                <a:pt x="0" y="24"/>
                              </a:lnTo>
                              <a:lnTo>
                                <a:pt x="0" y="558"/>
                              </a:lnTo>
                              <a:lnTo>
                                <a:pt x="196" y="558"/>
                              </a:lnTo>
                              <a:lnTo>
                                <a:pt x="19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123" name="Freeform 189">
                          <a:extLst>
                            <a:ext uri="{FF2B5EF4-FFF2-40B4-BE49-F238E27FC236}">
                              <a16:creationId xmlns:a16="http://schemas.microsoft.com/office/drawing/2014/main" id="{886053E9-20A9-4898-A190-E3458DA5A050}"/>
                            </a:ext>
                          </a:extLst>
                        </p:cNvPr>
                        <p:cNvSpPr>
                          <a:spLocks/>
                        </p:cNvSpPr>
                        <p:nvPr/>
                      </p:nvSpPr>
                      <p:spPr bwMode="auto">
                        <a:xfrm>
                          <a:off x="1624826" y="-622375"/>
                          <a:ext cx="44450" cy="39688"/>
                        </a:xfrm>
                        <a:custGeom>
                          <a:avLst/>
                          <a:gdLst>
                            <a:gd name="T0" fmla="*/ 196 w 196"/>
                            <a:gd name="T1" fmla="*/ 25 h 175"/>
                            <a:gd name="T2" fmla="*/ 196 w 196"/>
                            <a:gd name="T3" fmla="*/ 25 h 175"/>
                            <a:gd name="T4" fmla="*/ 195 w 196"/>
                            <a:gd name="T5" fmla="*/ 20 h 175"/>
                            <a:gd name="T6" fmla="*/ 194 w 196"/>
                            <a:gd name="T7" fmla="*/ 16 h 175"/>
                            <a:gd name="T8" fmla="*/ 192 w 196"/>
                            <a:gd name="T9" fmla="*/ 12 h 175"/>
                            <a:gd name="T10" fmla="*/ 189 w 196"/>
                            <a:gd name="T11" fmla="*/ 8 h 175"/>
                            <a:gd name="T12" fmla="*/ 185 w 196"/>
                            <a:gd name="T13" fmla="*/ 5 h 175"/>
                            <a:gd name="T14" fmla="*/ 181 w 196"/>
                            <a:gd name="T15" fmla="*/ 2 h 175"/>
                            <a:gd name="T16" fmla="*/ 177 w 196"/>
                            <a:gd name="T17" fmla="*/ 0 h 175"/>
                            <a:gd name="T18" fmla="*/ 172 w 196"/>
                            <a:gd name="T19" fmla="*/ 0 h 175"/>
                            <a:gd name="T20" fmla="*/ 25 w 196"/>
                            <a:gd name="T21" fmla="*/ 0 h 175"/>
                            <a:gd name="T22" fmla="*/ 25 w 196"/>
                            <a:gd name="T23" fmla="*/ 0 h 175"/>
                            <a:gd name="T24" fmla="*/ 19 w 196"/>
                            <a:gd name="T25" fmla="*/ 0 h 175"/>
                            <a:gd name="T26" fmla="*/ 15 w 196"/>
                            <a:gd name="T27" fmla="*/ 2 h 175"/>
                            <a:gd name="T28" fmla="*/ 10 w 196"/>
                            <a:gd name="T29" fmla="*/ 5 h 175"/>
                            <a:gd name="T30" fmla="*/ 7 w 196"/>
                            <a:gd name="T31" fmla="*/ 8 h 175"/>
                            <a:gd name="T32" fmla="*/ 4 w 196"/>
                            <a:gd name="T33" fmla="*/ 12 h 175"/>
                            <a:gd name="T34" fmla="*/ 2 w 196"/>
                            <a:gd name="T35" fmla="*/ 16 h 175"/>
                            <a:gd name="T36" fmla="*/ 0 w 196"/>
                            <a:gd name="T37" fmla="*/ 20 h 175"/>
                            <a:gd name="T38" fmla="*/ 0 w 196"/>
                            <a:gd name="T39" fmla="*/ 25 h 175"/>
                            <a:gd name="T40" fmla="*/ 0 w 196"/>
                            <a:gd name="T41" fmla="*/ 175 h 175"/>
                            <a:gd name="T42" fmla="*/ 196 w 196"/>
                            <a:gd name="T43" fmla="*/ 175 h 175"/>
                            <a:gd name="T44" fmla="*/ 196 w 196"/>
                            <a:gd name="T45" fmla="*/ 2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175">
                              <a:moveTo>
                                <a:pt x="196" y="25"/>
                              </a:moveTo>
                              <a:lnTo>
                                <a:pt x="196" y="25"/>
                              </a:lnTo>
                              <a:lnTo>
                                <a:pt x="195" y="20"/>
                              </a:lnTo>
                              <a:lnTo>
                                <a:pt x="194" y="16"/>
                              </a:lnTo>
                              <a:lnTo>
                                <a:pt x="192" y="12"/>
                              </a:lnTo>
                              <a:lnTo>
                                <a:pt x="189" y="8"/>
                              </a:lnTo>
                              <a:lnTo>
                                <a:pt x="185" y="5"/>
                              </a:lnTo>
                              <a:lnTo>
                                <a:pt x="181" y="2"/>
                              </a:lnTo>
                              <a:lnTo>
                                <a:pt x="177" y="0"/>
                              </a:lnTo>
                              <a:lnTo>
                                <a:pt x="172" y="0"/>
                              </a:lnTo>
                              <a:lnTo>
                                <a:pt x="25" y="0"/>
                              </a:lnTo>
                              <a:lnTo>
                                <a:pt x="25" y="0"/>
                              </a:lnTo>
                              <a:lnTo>
                                <a:pt x="19" y="0"/>
                              </a:lnTo>
                              <a:lnTo>
                                <a:pt x="15" y="2"/>
                              </a:lnTo>
                              <a:lnTo>
                                <a:pt x="10" y="5"/>
                              </a:lnTo>
                              <a:lnTo>
                                <a:pt x="7" y="8"/>
                              </a:lnTo>
                              <a:lnTo>
                                <a:pt x="4" y="12"/>
                              </a:lnTo>
                              <a:lnTo>
                                <a:pt x="2" y="16"/>
                              </a:lnTo>
                              <a:lnTo>
                                <a:pt x="0" y="20"/>
                              </a:lnTo>
                              <a:lnTo>
                                <a:pt x="0" y="25"/>
                              </a:lnTo>
                              <a:lnTo>
                                <a:pt x="0" y="175"/>
                              </a:lnTo>
                              <a:lnTo>
                                <a:pt x="196" y="175"/>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124" name="Freeform 190">
                          <a:extLst>
                            <a:ext uri="{FF2B5EF4-FFF2-40B4-BE49-F238E27FC236}">
                              <a16:creationId xmlns:a16="http://schemas.microsoft.com/office/drawing/2014/main" id="{5EF0F7F6-A831-4467-96C2-5CF4AA6382DF}"/>
                            </a:ext>
                          </a:extLst>
                        </p:cNvPr>
                        <p:cNvSpPr>
                          <a:spLocks/>
                        </p:cNvSpPr>
                        <p:nvPr/>
                      </p:nvSpPr>
                      <p:spPr bwMode="auto">
                        <a:xfrm>
                          <a:off x="1620064" y="-568400"/>
                          <a:ext cx="236538" cy="17463"/>
                        </a:xfrm>
                        <a:custGeom>
                          <a:avLst/>
                          <a:gdLst>
                            <a:gd name="T0" fmla="*/ 1031 w 1044"/>
                            <a:gd name="T1" fmla="*/ 0 h 79"/>
                            <a:gd name="T2" fmla="*/ 13 w 1044"/>
                            <a:gd name="T3" fmla="*/ 0 h 79"/>
                            <a:gd name="T4" fmla="*/ 13 w 1044"/>
                            <a:gd name="T5" fmla="*/ 0 h 79"/>
                            <a:gd name="T6" fmla="*/ 8 w 1044"/>
                            <a:gd name="T7" fmla="*/ 1 h 79"/>
                            <a:gd name="T8" fmla="*/ 4 w 1044"/>
                            <a:gd name="T9" fmla="*/ 3 h 79"/>
                            <a:gd name="T10" fmla="*/ 1 w 1044"/>
                            <a:gd name="T11" fmla="*/ 7 h 79"/>
                            <a:gd name="T12" fmla="*/ 0 w 1044"/>
                            <a:gd name="T13" fmla="*/ 12 h 79"/>
                            <a:gd name="T14" fmla="*/ 0 w 1044"/>
                            <a:gd name="T15" fmla="*/ 66 h 79"/>
                            <a:gd name="T16" fmla="*/ 0 w 1044"/>
                            <a:gd name="T17" fmla="*/ 66 h 79"/>
                            <a:gd name="T18" fmla="*/ 1 w 1044"/>
                            <a:gd name="T19" fmla="*/ 71 h 79"/>
                            <a:gd name="T20" fmla="*/ 4 w 1044"/>
                            <a:gd name="T21" fmla="*/ 75 h 79"/>
                            <a:gd name="T22" fmla="*/ 8 w 1044"/>
                            <a:gd name="T23" fmla="*/ 78 h 79"/>
                            <a:gd name="T24" fmla="*/ 13 w 1044"/>
                            <a:gd name="T25" fmla="*/ 79 h 79"/>
                            <a:gd name="T26" fmla="*/ 1031 w 1044"/>
                            <a:gd name="T27" fmla="*/ 79 h 79"/>
                            <a:gd name="T28" fmla="*/ 1031 w 1044"/>
                            <a:gd name="T29" fmla="*/ 79 h 79"/>
                            <a:gd name="T30" fmla="*/ 1036 w 1044"/>
                            <a:gd name="T31" fmla="*/ 78 h 79"/>
                            <a:gd name="T32" fmla="*/ 1040 w 1044"/>
                            <a:gd name="T33" fmla="*/ 75 h 79"/>
                            <a:gd name="T34" fmla="*/ 1043 w 1044"/>
                            <a:gd name="T35" fmla="*/ 71 h 79"/>
                            <a:gd name="T36" fmla="*/ 1044 w 1044"/>
                            <a:gd name="T37" fmla="*/ 66 h 79"/>
                            <a:gd name="T38" fmla="*/ 1044 w 1044"/>
                            <a:gd name="T39" fmla="*/ 12 h 79"/>
                            <a:gd name="T40" fmla="*/ 1044 w 1044"/>
                            <a:gd name="T41" fmla="*/ 12 h 79"/>
                            <a:gd name="T42" fmla="*/ 1043 w 1044"/>
                            <a:gd name="T43" fmla="*/ 7 h 79"/>
                            <a:gd name="T44" fmla="*/ 1040 w 1044"/>
                            <a:gd name="T45" fmla="*/ 3 h 79"/>
                            <a:gd name="T46" fmla="*/ 1036 w 1044"/>
                            <a:gd name="T47" fmla="*/ 1 h 79"/>
                            <a:gd name="T48" fmla="*/ 1031 w 1044"/>
                            <a:gd name="T49" fmla="*/ 0 h 79"/>
                            <a:gd name="T50" fmla="*/ 1031 w 1044"/>
                            <a:gd name="T5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4" h="79">
                              <a:moveTo>
                                <a:pt x="1031" y="0"/>
                              </a:moveTo>
                              <a:lnTo>
                                <a:pt x="13" y="0"/>
                              </a:lnTo>
                              <a:lnTo>
                                <a:pt x="13" y="0"/>
                              </a:lnTo>
                              <a:lnTo>
                                <a:pt x="8" y="1"/>
                              </a:lnTo>
                              <a:lnTo>
                                <a:pt x="4" y="3"/>
                              </a:lnTo>
                              <a:lnTo>
                                <a:pt x="1" y="7"/>
                              </a:lnTo>
                              <a:lnTo>
                                <a:pt x="0" y="12"/>
                              </a:lnTo>
                              <a:lnTo>
                                <a:pt x="0" y="66"/>
                              </a:lnTo>
                              <a:lnTo>
                                <a:pt x="0" y="66"/>
                              </a:lnTo>
                              <a:lnTo>
                                <a:pt x="1" y="71"/>
                              </a:lnTo>
                              <a:lnTo>
                                <a:pt x="4" y="75"/>
                              </a:lnTo>
                              <a:lnTo>
                                <a:pt x="8" y="78"/>
                              </a:lnTo>
                              <a:lnTo>
                                <a:pt x="13" y="79"/>
                              </a:lnTo>
                              <a:lnTo>
                                <a:pt x="1031" y="79"/>
                              </a:lnTo>
                              <a:lnTo>
                                <a:pt x="1031" y="79"/>
                              </a:lnTo>
                              <a:lnTo>
                                <a:pt x="1036" y="78"/>
                              </a:lnTo>
                              <a:lnTo>
                                <a:pt x="1040" y="75"/>
                              </a:lnTo>
                              <a:lnTo>
                                <a:pt x="1043" y="71"/>
                              </a:lnTo>
                              <a:lnTo>
                                <a:pt x="1044" y="66"/>
                              </a:lnTo>
                              <a:lnTo>
                                <a:pt x="1044" y="12"/>
                              </a:lnTo>
                              <a:lnTo>
                                <a:pt x="1044" y="12"/>
                              </a:lnTo>
                              <a:lnTo>
                                <a:pt x="1043" y="7"/>
                              </a:lnTo>
                              <a:lnTo>
                                <a:pt x="1040" y="3"/>
                              </a:lnTo>
                              <a:lnTo>
                                <a:pt x="1036" y="1"/>
                              </a:lnTo>
                              <a:lnTo>
                                <a:pt x="1031" y="0"/>
                              </a:lnTo>
                              <a:lnTo>
                                <a:pt x="10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grpSp>
                  <p:sp>
                    <p:nvSpPr>
                      <p:cNvPr id="119" name="Rounded Rectangle 455">
                        <a:extLst>
                          <a:ext uri="{FF2B5EF4-FFF2-40B4-BE49-F238E27FC236}">
                            <a16:creationId xmlns:a16="http://schemas.microsoft.com/office/drawing/2014/main" id="{B3ADB416-B35C-456C-900D-E665A3DA3C66}"/>
                          </a:ext>
                        </a:extLst>
                      </p:cNvPr>
                      <p:cNvSpPr/>
                      <p:nvPr/>
                    </p:nvSpPr>
                    <p:spPr>
                      <a:xfrm>
                        <a:off x="5072499" y="-1601580"/>
                        <a:ext cx="36576" cy="783431"/>
                      </a:xfrm>
                      <a:prstGeom prst="roundRect">
                        <a:avLst>
                          <a:gd name="adj" fmla="val 50000"/>
                        </a:avLst>
                      </a:prstGeom>
                      <a:grpFill/>
                      <a:ln w="25400" cap="flat" cmpd="sng" algn="ctr">
                        <a:noFill/>
                        <a:prstDash val="solid"/>
                      </a:ln>
                      <a:effectLst/>
                    </p:spPr>
                    <p:txBody>
                      <a:bodyPr rtlCol="0" anchor="ctr"/>
                      <a:lstStyle/>
                      <a:p>
                        <a:pPr algn="ctr" defTabSz="914354" fontAlgn="base">
                          <a:spcBef>
                            <a:spcPct val="0"/>
                          </a:spcBef>
                          <a:spcAft>
                            <a:spcPct val="0"/>
                          </a:spcAft>
                          <a:defRPr/>
                        </a:pPr>
                        <a:endParaRPr lang="en-US" sz="2400" kern="0">
                          <a:solidFill>
                            <a:srgbClr val="FFFFFF"/>
                          </a:solidFill>
                          <a:latin typeface="CiscoSansTT ExtraLight"/>
                          <a:ea typeface="ＭＳ Ｐゴシック" charset="0"/>
                          <a:cs typeface="Arial"/>
                          <a:sym typeface="Arial"/>
                        </a:endParaRPr>
                      </a:p>
                    </p:txBody>
                  </p:sp>
                </p:grpSp>
                <p:cxnSp>
                  <p:nvCxnSpPr>
                    <p:cNvPr id="110" name="Straight Connector 109">
                      <a:extLst>
                        <a:ext uri="{FF2B5EF4-FFF2-40B4-BE49-F238E27FC236}">
                          <a16:creationId xmlns:a16="http://schemas.microsoft.com/office/drawing/2014/main" id="{5FE6B863-16F7-441C-88C0-ADD7A171A8E2}"/>
                        </a:ext>
                      </a:extLst>
                    </p:cNvPr>
                    <p:cNvCxnSpPr/>
                    <p:nvPr/>
                  </p:nvCxnSpPr>
                  <p:spPr>
                    <a:xfrm>
                      <a:off x="6656140" y="1603151"/>
                      <a:ext cx="99409" cy="0"/>
                    </a:xfrm>
                    <a:prstGeom prst="line">
                      <a:avLst/>
                    </a:prstGeom>
                    <a:noFill/>
                    <a:ln w="9525" cap="flat" cmpd="sng" algn="ctr">
                      <a:solidFill>
                        <a:srgbClr val="FFFFFF">
                          <a:lumMod val="65000"/>
                        </a:srgbClr>
                      </a:solidFill>
                      <a:prstDash val="solid"/>
                    </a:ln>
                    <a:effectLst/>
                  </p:spPr>
                </p:cxnSp>
                <p:cxnSp>
                  <p:nvCxnSpPr>
                    <p:cNvPr id="111" name="Straight Connector 110">
                      <a:extLst>
                        <a:ext uri="{FF2B5EF4-FFF2-40B4-BE49-F238E27FC236}">
                          <a16:creationId xmlns:a16="http://schemas.microsoft.com/office/drawing/2014/main" id="{203644B1-6882-4A1F-90F3-63542CFDBC95}"/>
                        </a:ext>
                      </a:extLst>
                    </p:cNvPr>
                    <p:cNvCxnSpPr/>
                    <p:nvPr/>
                  </p:nvCxnSpPr>
                  <p:spPr>
                    <a:xfrm>
                      <a:off x="6656140" y="1629592"/>
                      <a:ext cx="87714" cy="0"/>
                    </a:xfrm>
                    <a:prstGeom prst="line">
                      <a:avLst/>
                    </a:prstGeom>
                    <a:noFill/>
                    <a:ln w="9525" cap="flat" cmpd="sng" algn="ctr">
                      <a:solidFill>
                        <a:srgbClr val="FFFFFF">
                          <a:lumMod val="65000"/>
                        </a:srgbClr>
                      </a:solidFill>
                      <a:prstDash val="solid"/>
                    </a:ln>
                    <a:effectLst/>
                  </p:spPr>
                </p:cxnSp>
                <p:cxnSp>
                  <p:nvCxnSpPr>
                    <p:cNvPr id="112" name="Straight Connector 111">
                      <a:extLst>
                        <a:ext uri="{FF2B5EF4-FFF2-40B4-BE49-F238E27FC236}">
                          <a16:creationId xmlns:a16="http://schemas.microsoft.com/office/drawing/2014/main" id="{D249E952-5467-4A6A-8FAB-9D97280F9564}"/>
                        </a:ext>
                      </a:extLst>
                    </p:cNvPr>
                    <p:cNvCxnSpPr/>
                    <p:nvPr/>
                  </p:nvCxnSpPr>
                  <p:spPr>
                    <a:xfrm>
                      <a:off x="6656140" y="1656034"/>
                      <a:ext cx="99409" cy="0"/>
                    </a:xfrm>
                    <a:prstGeom prst="line">
                      <a:avLst/>
                    </a:prstGeom>
                    <a:noFill/>
                    <a:ln w="9525" cap="flat" cmpd="sng" algn="ctr">
                      <a:solidFill>
                        <a:srgbClr val="FFFFFF">
                          <a:lumMod val="65000"/>
                        </a:srgbClr>
                      </a:solidFill>
                      <a:prstDash val="solid"/>
                    </a:ln>
                    <a:effectLst/>
                  </p:spPr>
                </p:cxnSp>
                <p:cxnSp>
                  <p:nvCxnSpPr>
                    <p:cNvPr id="113" name="Straight Connector 112">
                      <a:extLst>
                        <a:ext uri="{FF2B5EF4-FFF2-40B4-BE49-F238E27FC236}">
                          <a16:creationId xmlns:a16="http://schemas.microsoft.com/office/drawing/2014/main" id="{EC1BC486-F781-422A-AD43-E4B1AD27FBA7}"/>
                        </a:ext>
                      </a:extLst>
                    </p:cNvPr>
                    <p:cNvCxnSpPr/>
                    <p:nvPr/>
                  </p:nvCxnSpPr>
                  <p:spPr>
                    <a:xfrm>
                      <a:off x="6656140" y="1682475"/>
                      <a:ext cx="94583" cy="0"/>
                    </a:xfrm>
                    <a:prstGeom prst="line">
                      <a:avLst/>
                    </a:prstGeom>
                    <a:noFill/>
                    <a:ln w="9525" cap="flat" cmpd="sng" algn="ctr">
                      <a:solidFill>
                        <a:srgbClr val="FFFFFF">
                          <a:lumMod val="65000"/>
                        </a:srgbClr>
                      </a:solidFill>
                      <a:prstDash val="solid"/>
                    </a:ln>
                    <a:effectLst/>
                  </p:spPr>
                </p:cxnSp>
                <p:cxnSp>
                  <p:nvCxnSpPr>
                    <p:cNvPr id="114" name="Straight Connector 113">
                      <a:extLst>
                        <a:ext uri="{FF2B5EF4-FFF2-40B4-BE49-F238E27FC236}">
                          <a16:creationId xmlns:a16="http://schemas.microsoft.com/office/drawing/2014/main" id="{AA6D30C4-C10E-4D68-8EA1-A6926A3CD2D9}"/>
                        </a:ext>
                      </a:extLst>
                    </p:cNvPr>
                    <p:cNvCxnSpPr/>
                    <p:nvPr/>
                  </p:nvCxnSpPr>
                  <p:spPr>
                    <a:xfrm>
                      <a:off x="6656140" y="1708917"/>
                      <a:ext cx="94583" cy="0"/>
                    </a:xfrm>
                    <a:prstGeom prst="line">
                      <a:avLst/>
                    </a:prstGeom>
                    <a:noFill/>
                    <a:ln w="9525" cap="flat" cmpd="sng" algn="ctr">
                      <a:solidFill>
                        <a:srgbClr val="FFFFFF">
                          <a:lumMod val="65000"/>
                        </a:srgbClr>
                      </a:solidFill>
                      <a:prstDash val="solid"/>
                    </a:ln>
                    <a:effectLst/>
                  </p:spPr>
                </p:cxnSp>
                <p:cxnSp>
                  <p:nvCxnSpPr>
                    <p:cNvPr id="115" name="Straight Connector 114">
                      <a:extLst>
                        <a:ext uri="{FF2B5EF4-FFF2-40B4-BE49-F238E27FC236}">
                          <a16:creationId xmlns:a16="http://schemas.microsoft.com/office/drawing/2014/main" id="{D3883535-D204-4C05-A78C-FA5D05382CF2}"/>
                        </a:ext>
                      </a:extLst>
                    </p:cNvPr>
                    <p:cNvCxnSpPr/>
                    <p:nvPr/>
                  </p:nvCxnSpPr>
                  <p:spPr>
                    <a:xfrm>
                      <a:off x="6656140" y="1576710"/>
                      <a:ext cx="77751" cy="0"/>
                    </a:xfrm>
                    <a:prstGeom prst="line">
                      <a:avLst/>
                    </a:prstGeom>
                    <a:noFill/>
                    <a:ln w="9525" cap="flat" cmpd="sng" algn="ctr">
                      <a:solidFill>
                        <a:srgbClr val="FFFFFF">
                          <a:lumMod val="65000"/>
                        </a:srgbClr>
                      </a:solidFill>
                      <a:prstDash val="solid"/>
                    </a:ln>
                    <a:effectLst/>
                  </p:spPr>
                </p:cxnSp>
              </p:grpSp>
            </p:grpSp>
            <p:grpSp>
              <p:nvGrpSpPr>
                <p:cNvPr id="79" name="Group 78">
                  <a:extLst>
                    <a:ext uri="{FF2B5EF4-FFF2-40B4-BE49-F238E27FC236}">
                      <a16:creationId xmlns:a16="http://schemas.microsoft.com/office/drawing/2014/main" id="{195F0735-FD6B-4EF6-9C86-6380719D45B8}"/>
                    </a:ext>
                  </a:extLst>
                </p:cNvPr>
                <p:cNvGrpSpPr/>
                <p:nvPr/>
              </p:nvGrpSpPr>
              <p:grpSpPr>
                <a:xfrm>
                  <a:off x="5826931" y="1567563"/>
                  <a:ext cx="967615" cy="554758"/>
                  <a:chOff x="7851311" y="1567563"/>
                  <a:chExt cx="967615" cy="554758"/>
                </a:xfrm>
              </p:grpSpPr>
              <p:sp>
                <p:nvSpPr>
                  <p:cNvPr id="80" name="Freeform 222">
                    <a:extLst>
                      <a:ext uri="{FF2B5EF4-FFF2-40B4-BE49-F238E27FC236}">
                        <a16:creationId xmlns:a16="http://schemas.microsoft.com/office/drawing/2014/main" id="{0DED52D7-5B3F-4A9A-854B-046A85C64440}"/>
                      </a:ext>
                    </a:extLst>
                  </p:cNvPr>
                  <p:cNvSpPr>
                    <a:spLocks/>
                  </p:cNvSpPr>
                  <p:nvPr/>
                </p:nvSpPr>
                <p:spPr bwMode="auto">
                  <a:xfrm>
                    <a:off x="7851311" y="2082197"/>
                    <a:ext cx="967615" cy="40124"/>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bg2">
                      <a:lumMod val="85000"/>
                    </a:schemeClr>
                  </a:solidFill>
                  <a:ln>
                    <a:noFill/>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70">
                      <a:defRPr/>
                    </a:pPr>
                    <a:endParaRPr lang="en-US" sz="2400">
                      <a:solidFill>
                        <a:srgbClr val="282828"/>
                      </a:solidFill>
                      <a:latin typeface="CiscoSansTT ExtraLight"/>
                      <a:sym typeface="Arial"/>
                    </a:endParaRPr>
                  </a:p>
                </p:txBody>
              </p:sp>
              <p:sp>
                <p:nvSpPr>
                  <p:cNvPr id="81" name="Freeform 223">
                    <a:extLst>
                      <a:ext uri="{FF2B5EF4-FFF2-40B4-BE49-F238E27FC236}">
                        <a16:creationId xmlns:a16="http://schemas.microsoft.com/office/drawing/2014/main" id="{B4848CDB-6293-4882-8E9A-B338AEE1C04A}"/>
                      </a:ext>
                    </a:extLst>
                  </p:cNvPr>
                  <p:cNvSpPr>
                    <a:spLocks/>
                  </p:cNvSpPr>
                  <p:nvPr/>
                </p:nvSpPr>
                <p:spPr bwMode="auto">
                  <a:xfrm>
                    <a:off x="7932721" y="1567563"/>
                    <a:ext cx="805958" cy="485559"/>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2"/>
                  </a:solidFill>
                  <a:ln w="9525">
                    <a:noFill/>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70">
                      <a:defRPr/>
                    </a:pPr>
                    <a:endParaRPr lang="en-US" sz="2400">
                      <a:solidFill>
                        <a:srgbClr val="282828"/>
                      </a:solidFill>
                      <a:latin typeface="CiscoSansTT ExtraLight"/>
                      <a:sym typeface="Arial"/>
                    </a:endParaRPr>
                  </a:p>
                </p:txBody>
              </p:sp>
              <p:sp>
                <p:nvSpPr>
                  <p:cNvPr id="82" name="Freeform 224">
                    <a:extLst>
                      <a:ext uri="{FF2B5EF4-FFF2-40B4-BE49-F238E27FC236}">
                        <a16:creationId xmlns:a16="http://schemas.microsoft.com/office/drawing/2014/main" id="{A5E4D927-FAFC-4FA3-9547-EA008C04B5B0}"/>
                      </a:ext>
                    </a:extLst>
                  </p:cNvPr>
                  <p:cNvSpPr>
                    <a:spLocks noEditPoints="1"/>
                  </p:cNvSpPr>
                  <p:nvPr/>
                </p:nvSpPr>
                <p:spPr bwMode="auto">
                  <a:xfrm>
                    <a:off x="7932721" y="1567563"/>
                    <a:ext cx="805958" cy="485559"/>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bg2">
                      <a:lumMod val="85000"/>
                    </a:schemeClr>
                  </a:solidFill>
                  <a:ln w="9525">
                    <a:noFill/>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70">
                      <a:defRPr/>
                    </a:pPr>
                    <a:endParaRPr lang="en-US" sz="2400">
                      <a:solidFill>
                        <a:srgbClr val="282828"/>
                      </a:solidFill>
                      <a:latin typeface="CiscoSansTT ExtraLight"/>
                      <a:sym typeface="Arial"/>
                    </a:endParaRPr>
                  </a:p>
                </p:txBody>
              </p:sp>
              <p:grpSp>
                <p:nvGrpSpPr>
                  <p:cNvPr id="83" name="Group 82">
                    <a:extLst>
                      <a:ext uri="{FF2B5EF4-FFF2-40B4-BE49-F238E27FC236}">
                        <a16:creationId xmlns:a16="http://schemas.microsoft.com/office/drawing/2014/main" id="{833A2772-09E3-483F-BC19-D2519E1624C6}"/>
                      </a:ext>
                    </a:extLst>
                  </p:cNvPr>
                  <p:cNvGrpSpPr/>
                  <p:nvPr/>
                </p:nvGrpSpPr>
                <p:grpSpPr>
                  <a:xfrm>
                    <a:off x="8023256" y="1658619"/>
                    <a:ext cx="619653" cy="297181"/>
                    <a:chOff x="6387497" y="1554479"/>
                    <a:chExt cx="368052" cy="176515"/>
                  </a:xfrm>
                </p:grpSpPr>
                <p:grpSp>
                  <p:nvGrpSpPr>
                    <p:cNvPr id="84" name="Group 83">
                      <a:extLst>
                        <a:ext uri="{FF2B5EF4-FFF2-40B4-BE49-F238E27FC236}">
                          <a16:creationId xmlns:a16="http://schemas.microsoft.com/office/drawing/2014/main" id="{24026698-C9B2-4A06-BF1E-0AA43DD8D666}"/>
                        </a:ext>
                      </a:extLst>
                    </p:cNvPr>
                    <p:cNvGrpSpPr/>
                    <p:nvPr/>
                  </p:nvGrpSpPr>
                  <p:grpSpPr>
                    <a:xfrm>
                      <a:off x="6387497" y="1554479"/>
                      <a:ext cx="235354" cy="176515"/>
                      <a:chOff x="4367138" y="-1752601"/>
                      <a:chExt cx="1447296" cy="1085472"/>
                    </a:xfrm>
                    <a:solidFill>
                      <a:srgbClr val="A6A6A6"/>
                    </a:solidFill>
                  </p:grpSpPr>
                  <p:sp>
                    <p:nvSpPr>
                      <p:cNvPr id="91" name="Rounded Rectangle 2">
                        <a:extLst>
                          <a:ext uri="{FF2B5EF4-FFF2-40B4-BE49-F238E27FC236}">
                            <a16:creationId xmlns:a16="http://schemas.microsoft.com/office/drawing/2014/main" id="{5BDF5A29-6C5F-491E-9776-CE56363531C8}"/>
                          </a:ext>
                        </a:extLst>
                      </p:cNvPr>
                      <p:cNvSpPr/>
                      <p:nvPr/>
                    </p:nvSpPr>
                    <p:spPr>
                      <a:xfrm>
                        <a:off x="4367138" y="-1752601"/>
                        <a:ext cx="1447296" cy="1085472"/>
                      </a:xfrm>
                      <a:custGeom>
                        <a:avLst/>
                        <a:gdLst/>
                        <a:ahLst/>
                        <a:cxnLst/>
                        <a:rect l="l" t="t" r="r" b="b"/>
                        <a:pathLst>
                          <a:path w="1447296" h="1085472">
                            <a:moveTo>
                              <a:pt x="122169" y="69546"/>
                            </a:moveTo>
                            <a:cubicBezTo>
                              <a:pt x="91561" y="69546"/>
                              <a:pt x="66749" y="94358"/>
                              <a:pt x="66749" y="124966"/>
                            </a:cubicBezTo>
                            <a:lnTo>
                              <a:pt x="66749" y="960506"/>
                            </a:lnTo>
                            <a:cubicBezTo>
                              <a:pt x="66749" y="991114"/>
                              <a:pt x="91561" y="1015926"/>
                              <a:pt x="122169" y="1015926"/>
                            </a:cubicBezTo>
                            <a:lnTo>
                              <a:pt x="1325127" y="1015926"/>
                            </a:lnTo>
                            <a:cubicBezTo>
                              <a:pt x="1355735" y="1015926"/>
                              <a:pt x="1380547" y="991114"/>
                              <a:pt x="1380547" y="960506"/>
                            </a:cubicBezTo>
                            <a:lnTo>
                              <a:pt x="1380547" y="124966"/>
                            </a:lnTo>
                            <a:cubicBezTo>
                              <a:pt x="1380547" y="94358"/>
                              <a:pt x="1355735" y="69546"/>
                              <a:pt x="1325127" y="69546"/>
                            </a:cubicBezTo>
                            <a:close/>
                            <a:moveTo>
                              <a:pt x="109307" y="0"/>
                            </a:moveTo>
                            <a:lnTo>
                              <a:pt x="1337989" y="0"/>
                            </a:lnTo>
                            <a:cubicBezTo>
                              <a:pt x="1398358" y="0"/>
                              <a:pt x="1447296" y="48938"/>
                              <a:pt x="1447296" y="109307"/>
                            </a:cubicBezTo>
                            <a:lnTo>
                              <a:pt x="1447296" y="976165"/>
                            </a:lnTo>
                            <a:cubicBezTo>
                              <a:pt x="1447296" y="1036534"/>
                              <a:pt x="1398358" y="1085472"/>
                              <a:pt x="1337989" y="1085472"/>
                            </a:cubicBezTo>
                            <a:lnTo>
                              <a:pt x="109307" y="1085472"/>
                            </a:lnTo>
                            <a:cubicBezTo>
                              <a:pt x="48938" y="1085472"/>
                              <a:pt x="0" y="1036534"/>
                              <a:pt x="0" y="976165"/>
                            </a:cubicBezTo>
                            <a:lnTo>
                              <a:pt x="0" y="109307"/>
                            </a:lnTo>
                            <a:cubicBezTo>
                              <a:pt x="0" y="48938"/>
                              <a:pt x="48938" y="0"/>
                              <a:pt x="109307" y="0"/>
                            </a:cubicBezTo>
                            <a:close/>
                          </a:path>
                        </a:pathLst>
                      </a:custGeom>
                      <a:grpFill/>
                      <a:ln w="25400" cap="flat" cmpd="sng" algn="ctr">
                        <a:noFill/>
                        <a:prstDash val="solid"/>
                      </a:ln>
                      <a:effectLst/>
                    </p:spPr>
                    <p:txBody>
                      <a:bodyPr rtlCol="0" anchor="ctr"/>
                      <a:lstStyle/>
                      <a:p>
                        <a:pPr algn="ctr" defTabSz="914354" fontAlgn="base">
                          <a:spcBef>
                            <a:spcPct val="0"/>
                          </a:spcBef>
                          <a:spcAft>
                            <a:spcPct val="0"/>
                          </a:spcAft>
                          <a:defRPr/>
                        </a:pPr>
                        <a:endParaRPr lang="en-US" sz="2400" kern="0">
                          <a:solidFill>
                            <a:srgbClr val="FFFFFF"/>
                          </a:solidFill>
                          <a:latin typeface="CiscoSansTT ExtraLight"/>
                          <a:ea typeface="ＭＳ Ｐゴシック" charset="0"/>
                          <a:cs typeface="Arial"/>
                          <a:sym typeface="Arial"/>
                        </a:endParaRPr>
                      </a:p>
                    </p:txBody>
                  </p:sp>
                  <p:grpSp>
                    <p:nvGrpSpPr>
                      <p:cNvPr id="92" name="Group 91">
                        <a:extLst>
                          <a:ext uri="{FF2B5EF4-FFF2-40B4-BE49-F238E27FC236}">
                            <a16:creationId xmlns:a16="http://schemas.microsoft.com/office/drawing/2014/main" id="{790B8FFF-E53C-4216-BD93-B67D5C18FB34}"/>
                          </a:ext>
                        </a:extLst>
                      </p:cNvPr>
                      <p:cNvGrpSpPr/>
                      <p:nvPr/>
                    </p:nvGrpSpPr>
                    <p:grpSpPr>
                      <a:xfrm>
                        <a:off x="4551518" y="-1419606"/>
                        <a:ext cx="416876" cy="419482"/>
                        <a:chOff x="1039038" y="-1476527"/>
                        <a:chExt cx="254000" cy="255587"/>
                      </a:xfrm>
                      <a:grpFill/>
                    </p:grpSpPr>
                    <p:sp>
                      <p:nvSpPr>
                        <p:cNvPr id="100" name="Freeform 367">
                          <a:extLst>
                            <a:ext uri="{FF2B5EF4-FFF2-40B4-BE49-F238E27FC236}">
                              <a16:creationId xmlns:a16="http://schemas.microsoft.com/office/drawing/2014/main" id="{9591DC93-81E6-42CE-96A8-CEBBE5C0A1B5}"/>
                            </a:ext>
                          </a:extLst>
                        </p:cNvPr>
                        <p:cNvSpPr>
                          <a:spLocks/>
                        </p:cNvSpPr>
                        <p:nvPr/>
                      </p:nvSpPr>
                      <p:spPr bwMode="auto">
                        <a:xfrm>
                          <a:off x="1039038" y="-1430490"/>
                          <a:ext cx="47625" cy="65088"/>
                        </a:xfrm>
                        <a:custGeom>
                          <a:avLst/>
                          <a:gdLst>
                            <a:gd name="T0" fmla="*/ 128 w 207"/>
                            <a:gd name="T1" fmla="*/ 0 h 288"/>
                            <a:gd name="T2" fmla="*/ 128 w 207"/>
                            <a:gd name="T3" fmla="*/ 0 h 288"/>
                            <a:gd name="T4" fmla="*/ 114 w 207"/>
                            <a:gd name="T5" fmla="*/ 17 h 288"/>
                            <a:gd name="T6" fmla="*/ 102 w 207"/>
                            <a:gd name="T7" fmla="*/ 33 h 288"/>
                            <a:gd name="T8" fmla="*/ 90 w 207"/>
                            <a:gd name="T9" fmla="*/ 49 h 288"/>
                            <a:gd name="T10" fmla="*/ 80 w 207"/>
                            <a:gd name="T11" fmla="*/ 67 h 288"/>
                            <a:gd name="T12" fmla="*/ 69 w 207"/>
                            <a:gd name="T13" fmla="*/ 84 h 288"/>
                            <a:gd name="T14" fmla="*/ 59 w 207"/>
                            <a:gd name="T15" fmla="*/ 102 h 288"/>
                            <a:gd name="T16" fmla="*/ 51 w 207"/>
                            <a:gd name="T17" fmla="*/ 119 h 288"/>
                            <a:gd name="T18" fmla="*/ 42 w 207"/>
                            <a:gd name="T19" fmla="*/ 137 h 288"/>
                            <a:gd name="T20" fmla="*/ 35 w 207"/>
                            <a:gd name="T21" fmla="*/ 156 h 288"/>
                            <a:gd name="T22" fmla="*/ 27 w 207"/>
                            <a:gd name="T23" fmla="*/ 174 h 288"/>
                            <a:gd name="T24" fmla="*/ 21 w 207"/>
                            <a:gd name="T25" fmla="*/ 193 h 288"/>
                            <a:gd name="T26" fmla="*/ 16 w 207"/>
                            <a:gd name="T27" fmla="*/ 212 h 288"/>
                            <a:gd name="T28" fmla="*/ 11 w 207"/>
                            <a:gd name="T29" fmla="*/ 230 h 288"/>
                            <a:gd name="T30" fmla="*/ 7 w 207"/>
                            <a:gd name="T31" fmla="*/ 250 h 288"/>
                            <a:gd name="T32" fmla="*/ 3 w 207"/>
                            <a:gd name="T33" fmla="*/ 269 h 288"/>
                            <a:gd name="T34" fmla="*/ 0 w 207"/>
                            <a:gd name="T35" fmla="*/ 288 h 288"/>
                            <a:gd name="T36" fmla="*/ 207 w 207"/>
                            <a:gd name="T37" fmla="*/ 81 h 288"/>
                            <a:gd name="T38" fmla="*/ 128 w 207"/>
                            <a:gd name="T3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88">
                              <a:moveTo>
                                <a:pt x="128" y="0"/>
                              </a:moveTo>
                              <a:lnTo>
                                <a:pt x="128" y="0"/>
                              </a:lnTo>
                              <a:lnTo>
                                <a:pt x="114" y="17"/>
                              </a:lnTo>
                              <a:lnTo>
                                <a:pt x="102" y="33"/>
                              </a:lnTo>
                              <a:lnTo>
                                <a:pt x="90" y="49"/>
                              </a:lnTo>
                              <a:lnTo>
                                <a:pt x="80" y="67"/>
                              </a:lnTo>
                              <a:lnTo>
                                <a:pt x="69" y="84"/>
                              </a:lnTo>
                              <a:lnTo>
                                <a:pt x="59" y="102"/>
                              </a:lnTo>
                              <a:lnTo>
                                <a:pt x="51" y="119"/>
                              </a:lnTo>
                              <a:lnTo>
                                <a:pt x="42" y="137"/>
                              </a:lnTo>
                              <a:lnTo>
                                <a:pt x="35" y="156"/>
                              </a:lnTo>
                              <a:lnTo>
                                <a:pt x="27" y="174"/>
                              </a:lnTo>
                              <a:lnTo>
                                <a:pt x="21" y="193"/>
                              </a:lnTo>
                              <a:lnTo>
                                <a:pt x="16" y="212"/>
                              </a:lnTo>
                              <a:lnTo>
                                <a:pt x="11" y="230"/>
                              </a:lnTo>
                              <a:lnTo>
                                <a:pt x="7" y="250"/>
                              </a:lnTo>
                              <a:lnTo>
                                <a:pt x="3" y="269"/>
                              </a:lnTo>
                              <a:lnTo>
                                <a:pt x="0" y="288"/>
                              </a:lnTo>
                              <a:lnTo>
                                <a:pt x="207" y="81"/>
                              </a:lnTo>
                              <a:lnTo>
                                <a:pt x="1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101" name="Freeform 368">
                          <a:extLst>
                            <a:ext uri="{FF2B5EF4-FFF2-40B4-BE49-F238E27FC236}">
                              <a16:creationId xmlns:a16="http://schemas.microsoft.com/office/drawing/2014/main" id="{68F9DCAA-44A4-4C0C-A890-2182203D228F}"/>
                            </a:ext>
                          </a:extLst>
                        </p:cNvPr>
                        <p:cNvSpPr>
                          <a:spLocks/>
                        </p:cNvSpPr>
                        <p:nvPr/>
                      </p:nvSpPr>
                      <p:spPr bwMode="auto">
                        <a:xfrm>
                          <a:off x="1053325" y="-1365402"/>
                          <a:ext cx="96837" cy="98425"/>
                        </a:xfrm>
                        <a:custGeom>
                          <a:avLst/>
                          <a:gdLst>
                            <a:gd name="T0" fmla="*/ 350 w 428"/>
                            <a:gd name="T1" fmla="*/ 0 h 438"/>
                            <a:gd name="T2" fmla="*/ 3 w 428"/>
                            <a:gd name="T3" fmla="*/ 346 h 438"/>
                            <a:gd name="T4" fmla="*/ 0 w 428"/>
                            <a:gd name="T5" fmla="*/ 342 h 438"/>
                            <a:gd name="T6" fmla="*/ 0 w 428"/>
                            <a:gd name="T7" fmla="*/ 342 h 438"/>
                            <a:gd name="T8" fmla="*/ 15 w 428"/>
                            <a:gd name="T9" fmla="*/ 368 h 438"/>
                            <a:gd name="T10" fmla="*/ 30 w 428"/>
                            <a:gd name="T11" fmla="*/ 392 h 438"/>
                            <a:gd name="T12" fmla="*/ 47 w 428"/>
                            <a:gd name="T13" fmla="*/ 416 h 438"/>
                            <a:gd name="T14" fmla="*/ 66 w 428"/>
                            <a:gd name="T15" fmla="*/ 438 h 438"/>
                            <a:gd name="T16" fmla="*/ 428 w 428"/>
                            <a:gd name="T17" fmla="*/ 76 h 438"/>
                            <a:gd name="T18" fmla="*/ 350 w 428"/>
                            <a:gd name="T19"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8" h="438">
                              <a:moveTo>
                                <a:pt x="350" y="0"/>
                              </a:moveTo>
                              <a:lnTo>
                                <a:pt x="3" y="346"/>
                              </a:lnTo>
                              <a:lnTo>
                                <a:pt x="0" y="342"/>
                              </a:lnTo>
                              <a:lnTo>
                                <a:pt x="0" y="342"/>
                              </a:lnTo>
                              <a:lnTo>
                                <a:pt x="15" y="368"/>
                              </a:lnTo>
                              <a:lnTo>
                                <a:pt x="30" y="392"/>
                              </a:lnTo>
                              <a:lnTo>
                                <a:pt x="47" y="416"/>
                              </a:lnTo>
                              <a:lnTo>
                                <a:pt x="66" y="438"/>
                              </a:lnTo>
                              <a:lnTo>
                                <a:pt x="428" y="76"/>
                              </a:lnTo>
                              <a:lnTo>
                                <a:pt x="3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102" name="Freeform 369">
                          <a:extLst>
                            <a:ext uri="{FF2B5EF4-FFF2-40B4-BE49-F238E27FC236}">
                              <a16:creationId xmlns:a16="http://schemas.microsoft.com/office/drawing/2014/main" id="{2EB3ED55-D9F3-43C1-A0F5-87BCEFE2380C}"/>
                            </a:ext>
                          </a:extLst>
                        </p:cNvPr>
                        <p:cNvSpPr>
                          <a:spLocks/>
                        </p:cNvSpPr>
                        <p:nvPr/>
                      </p:nvSpPr>
                      <p:spPr bwMode="auto">
                        <a:xfrm>
                          <a:off x="1083488" y="-1430490"/>
                          <a:ext cx="209550" cy="209550"/>
                        </a:xfrm>
                        <a:custGeom>
                          <a:avLst/>
                          <a:gdLst>
                            <a:gd name="T0" fmla="*/ 0 w 925"/>
                            <a:gd name="T1" fmla="*/ 793 h 925"/>
                            <a:gd name="T2" fmla="*/ 21 w 925"/>
                            <a:gd name="T3" fmla="*/ 810 h 925"/>
                            <a:gd name="T4" fmla="*/ 65 w 925"/>
                            <a:gd name="T5" fmla="*/ 840 h 925"/>
                            <a:gd name="T6" fmla="*/ 111 w 925"/>
                            <a:gd name="T7" fmla="*/ 866 h 925"/>
                            <a:gd name="T8" fmla="*/ 158 w 925"/>
                            <a:gd name="T9" fmla="*/ 887 h 925"/>
                            <a:gd name="T10" fmla="*/ 207 w 925"/>
                            <a:gd name="T11" fmla="*/ 903 h 925"/>
                            <a:gd name="T12" fmla="*/ 257 w 925"/>
                            <a:gd name="T13" fmla="*/ 916 h 925"/>
                            <a:gd name="T14" fmla="*/ 308 w 925"/>
                            <a:gd name="T15" fmla="*/ 923 h 925"/>
                            <a:gd name="T16" fmla="*/ 359 w 925"/>
                            <a:gd name="T17" fmla="*/ 925 h 925"/>
                            <a:gd name="T18" fmla="*/ 410 w 925"/>
                            <a:gd name="T19" fmla="*/ 923 h 925"/>
                            <a:gd name="T20" fmla="*/ 461 w 925"/>
                            <a:gd name="T21" fmla="*/ 917 h 925"/>
                            <a:gd name="T22" fmla="*/ 512 w 925"/>
                            <a:gd name="T23" fmla="*/ 905 h 925"/>
                            <a:gd name="T24" fmla="*/ 561 w 925"/>
                            <a:gd name="T25" fmla="*/ 889 h 925"/>
                            <a:gd name="T26" fmla="*/ 608 w 925"/>
                            <a:gd name="T27" fmla="*/ 869 h 925"/>
                            <a:gd name="T28" fmla="*/ 654 w 925"/>
                            <a:gd name="T29" fmla="*/ 844 h 925"/>
                            <a:gd name="T30" fmla="*/ 699 w 925"/>
                            <a:gd name="T31" fmla="*/ 814 h 925"/>
                            <a:gd name="T32" fmla="*/ 740 w 925"/>
                            <a:gd name="T33" fmla="*/ 780 h 925"/>
                            <a:gd name="T34" fmla="*/ 760 w 925"/>
                            <a:gd name="T35" fmla="*/ 760 h 925"/>
                            <a:gd name="T36" fmla="*/ 797 w 925"/>
                            <a:gd name="T37" fmla="*/ 720 h 925"/>
                            <a:gd name="T38" fmla="*/ 829 w 925"/>
                            <a:gd name="T39" fmla="*/ 677 h 925"/>
                            <a:gd name="T40" fmla="*/ 856 w 925"/>
                            <a:gd name="T41" fmla="*/ 632 h 925"/>
                            <a:gd name="T42" fmla="*/ 879 w 925"/>
                            <a:gd name="T43" fmla="*/ 585 h 925"/>
                            <a:gd name="T44" fmla="*/ 897 w 925"/>
                            <a:gd name="T45" fmla="*/ 536 h 925"/>
                            <a:gd name="T46" fmla="*/ 911 w 925"/>
                            <a:gd name="T47" fmla="*/ 487 h 925"/>
                            <a:gd name="T48" fmla="*/ 920 w 925"/>
                            <a:gd name="T49" fmla="*/ 436 h 925"/>
                            <a:gd name="T50" fmla="*/ 924 w 925"/>
                            <a:gd name="T51" fmla="*/ 385 h 925"/>
                            <a:gd name="T52" fmla="*/ 924 w 925"/>
                            <a:gd name="T53" fmla="*/ 334 h 925"/>
                            <a:gd name="T54" fmla="*/ 919 w 925"/>
                            <a:gd name="T55" fmla="*/ 283 h 925"/>
                            <a:gd name="T56" fmla="*/ 910 w 925"/>
                            <a:gd name="T57" fmla="*/ 233 h 925"/>
                            <a:gd name="T58" fmla="*/ 895 w 925"/>
                            <a:gd name="T59" fmla="*/ 183 h 925"/>
                            <a:gd name="T60" fmla="*/ 877 w 925"/>
                            <a:gd name="T61" fmla="*/ 134 h 925"/>
                            <a:gd name="T62" fmla="*/ 853 w 925"/>
                            <a:gd name="T63" fmla="*/ 88 h 925"/>
                            <a:gd name="T64" fmla="*/ 825 w 925"/>
                            <a:gd name="T65" fmla="*/ 43 h 925"/>
                            <a:gd name="T66" fmla="*/ 793 w 925"/>
                            <a:gd name="T67" fmla="*/ 0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5" h="925">
                              <a:moveTo>
                                <a:pt x="793" y="0"/>
                              </a:moveTo>
                              <a:lnTo>
                                <a:pt x="0" y="793"/>
                              </a:lnTo>
                              <a:lnTo>
                                <a:pt x="0" y="793"/>
                              </a:lnTo>
                              <a:lnTo>
                                <a:pt x="21" y="810"/>
                              </a:lnTo>
                              <a:lnTo>
                                <a:pt x="42" y="826"/>
                              </a:lnTo>
                              <a:lnTo>
                                <a:pt x="65" y="840"/>
                              </a:lnTo>
                              <a:lnTo>
                                <a:pt x="87" y="853"/>
                              </a:lnTo>
                              <a:lnTo>
                                <a:pt x="111" y="866"/>
                              </a:lnTo>
                              <a:lnTo>
                                <a:pt x="134" y="877"/>
                              </a:lnTo>
                              <a:lnTo>
                                <a:pt x="158" y="887"/>
                              </a:lnTo>
                              <a:lnTo>
                                <a:pt x="182" y="896"/>
                              </a:lnTo>
                              <a:lnTo>
                                <a:pt x="207" y="903"/>
                              </a:lnTo>
                              <a:lnTo>
                                <a:pt x="232" y="911"/>
                              </a:lnTo>
                              <a:lnTo>
                                <a:pt x="257" y="916"/>
                              </a:lnTo>
                              <a:lnTo>
                                <a:pt x="283" y="920"/>
                              </a:lnTo>
                              <a:lnTo>
                                <a:pt x="308" y="923"/>
                              </a:lnTo>
                              <a:lnTo>
                                <a:pt x="334" y="925"/>
                              </a:lnTo>
                              <a:lnTo>
                                <a:pt x="359" y="925"/>
                              </a:lnTo>
                              <a:lnTo>
                                <a:pt x="385" y="925"/>
                              </a:lnTo>
                              <a:lnTo>
                                <a:pt x="410" y="923"/>
                              </a:lnTo>
                              <a:lnTo>
                                <a:pt x="436" y="921"/>
                              </a:lnTo>
                              <a:lnTo>
                                <a:pt x="461" y="917"/>
                              </a:lnTo>
                              <a:lnTo>
                                <a:pt x="486" y="912"/>
                              </a:lnTo>
                              <a:lnTo>
                                <a:pt x="512" y="905"/>
                              </a:lnTo>
                              <a:lnTo>
                                <a:pt x="536" y="898"/>
                              </a:lnTo>
                              <a:lnTo>
                                <a:pt x="561" y="889"/>
                              </a:lnTo>
                              <a:lnTo>
                                <a:pt x="584" y="880"/>
                              </a:lnTo>
                              <a:lnTo>
                                <a:pt x="608" y="869"/>
                              </a:lnTo>
                              <a:lnTo>
                                <a:pt x="631" y="857"/>
                              </a:lnTo>
                              <a:lnTo>
                                <a:pt x="654" y="844"/>
                              </a:lnTo>
                              <a:lnTo>
                                <a:pt x="676" y="830"/>
                              </a:lnTo>
                              <a:lnTo>
                                <a:pt x="699" y="814"/>
                              </a:lnTo>
                              <a:lnTo>
                                <a:pt x="719" y="797"/>
                              </a:lnTo>
                              <a:lnTo>
                                <a:pt x="740" y="780"/>
                              </a:lnTo>
                              <a:lnTo>
                                <a:pt x="760" y="760"/>
                              </a:lnTo>
                              <a:lnTo>
                                <a:pt x="760" y="760"/>
                              </a:lnTo>
                              <a:lnTo>
                                <a:pt x="779" y="741"/>
                              </a:lnTo>
                              <a:lnTo>
                                <a:pt x="797" y="720"/>
                              </a:lnTo>
                              <a:lnTo>
                                <a:pt x="813" y="699"/>
                              </a:lnTo>
                              <a:lnTo>
                                <a:pt x="829" y="677"/>
                              </a:lnTo>
                              <a:lnTo>
                                <a:pt x="843" y="655"/>
                              </a:lnTo>
                              <a:lnTo>
                                <a:pt x="856" y="632"/>
                              </a:lnTo>
                              <a:lnTo>
                                <a:pt x="869" y="609"/>
                              </a:lnTo>
                              <a:lnTo>
                                <a:pt x="879" y="585"/>
                              </a:lnTo>
                              <a:lnTo>
                                <a:pt x="889" y="561"/>
                              </a:lnTo>
                              <a:lnTo>
                                <a:pt x="897" y="536"/>
                              </a:lnTo>
                              <a:lnTo>
                                <a:pt x="905" y="512"/>
                              </a:lnTo>
                              <a:lnTo>
                                <a:pt x="911" y="487"/>
                              </a:lnTo>
                              <a:lnTo>
                                <a:pt x="916" y="462"/>
                              </a:lnTo>
                              <a:lnTo>
                                <a:pt x="920" y="436"/>
                              </a:lnTo>
                              <a:lnTo>
                                <a:pt x="923" y="410"/>
                              </a:lnTo>
                              <a:lnTo>
                                <a:pt x="924" y="385"/>
                              </a:lnTo>
                              <a:lnTo>
                                <a:pt x="925" y="359"/>
                              </a:lnTo>
                              <a:lnTo>
                                <a:pt x="924" y="334"/>
                              </a:lnTo>
                              <a:lnTo>
                                <a:pt x="922" y="308"/>
                              </a:lnTo>
                              <a:lnTo>
                                <a:pt x="919" y="283"/>
                              </a:lnTo>
                              <a:lnTo>
                                <a:pt x="915" y="258"/>
                              </a:lnTo>
                              <a:lnTo>
                                <a:pt x="910" y="233"/>
                              </a:lnTo>
                              <a:lnTo>
                                <a:pt x="904" y="208"/>
                              </a:lnTo>
                              <a:lnTo>
                                <a:pt x="895" y="183"/>
                              </a:lnTo>
                              <a:lnTo>
                                <a:pt x="886" y="159"/>
                              </a:lnTo>
                              <a:lnTo>
                                <a:pt x="877" y="134"/>
                              </a:lnTo>
                              <a:lnTo>
                                <a:pt x="866" y="111"/>
                              </a:lnTo>
                              <a:lnTo>
                                <a:pt x="853" y="88"/>
                              </a:lnTo>
                              <a:lnTo>
                                <a:pt x="840" y="65"/>
                              </a:lnTo>
                              <a:lnTo>
                                <a:pt x="825" y="43"/>
                              </a:lnTo>
                              <a:lnTo>
                                <a:pt x="809" y="22"/>
                              </a:lnTo>
                              <a:lnTo>
                                <a:pt x="793" y="0"/>
                              </a:lnTo>
                              <a:lnTo>
                                <a:pt x="7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103" name="Freeform 370">
                          <a:extLst>
                            <a:ext uri="{FF2B5EF4-FFF2-40B4-BE49-F238E27FC236}">
                              <a16:creationId xmlns:a16="http://schemas.microsoft.com/office/drawing/2014/main" id="{F6391361-4FB3-493F-AA78-0E42696DCA37}"/>
                            </a:ext>
                          </a:extLst>
                        </p:cNvPr>
                        <p:cNvSpPr>
                          <a:spLocks/>
                        </p:cNvSpPr>
                        <p:nvPr/>
                      </p:nvSpPr>
                      <p:spPr bwMode="auto">
                        <a:xfrm>
                          <a:off x="1083488" y="-1476527"/>
                          <a:ext cx="163512" cy="112713"/>
                        </a:xfrm>
                        <a:custGeom>
                          <a:avLst/>
                          <a:gdLst>
                            <a:gd name="T0" fmla="*/ 725 w 725"/>
                            <a:gd name="T1" fmla="*/ 132 h 494"/>
                            <a:gd name="T2" fmla="*/ 725 w 725"/>
                            <a:gd name="T3" fmla="*/ 132 h 494"/>
                            <a:gd name="T4" fmla="*/ 705 w 725"/>
                            <a:gd name="T5" fmla="*/ 116 h 494"/>
                            <a:gd name="T6" fmla="*/ 685 w 725"/>
                            <a:gd name="T7" fmla="*/ 101 h 494"/>
                            <a:gd name="T8" fmla="*/ 664 w 725"/>
                            <a:gd name="T9" fmla="*/ 87 h 494"/>
                            <a:gd name="T10" fmla="*/ 643 w 725"/>
                            <a:gd name="T11" fmla="*/ 75 h 494"/>
                            <a:gd name="T12" fmla="*/ 621 w 725"/>
                            <a:gd name="T13" fmla="*/ 62 h 494"/>
                            <a:gd name="T14" fmla="*/ 599 w 725"/>
                            <a:gd name="T15" fmla="*/ 51 h 494"/>
                            <a:gd name="T16" fmla="*/ 576 w 725"/>
                            <a:gd name="T17" fmla="*/ 42 h 494"/>
                            <a:gd name="T18" fmla="*/ 553 w 725"/>
                            <a:gd name="T19" fmla="*/ 33 h 494"/>
                            <a:gd name="T20" fmla="*/ 530 w 725"/>
                            <a:gd name="T21" fmla="*/ 25 h 494"/>
                            <a:gd name="T22" fmla="*/ 507 w 725"/>
                            <a:gd name="T23" fmla="*/ 18 h 494"/>
                            <a:gd name="T24" fmla="*/ 483 w 725"/>
                            <a:gd name="T25" fmla="*/ 13 h 494"/>
                            <a:gd name="T26" fmla="*/ 460 w 725"/>
                            <a:gd name="T27" fmla="*/ 8 h 494"/>
                            <a:gd name="T28" fmla="*/ 435 w 725"/>
                            <a:gd name="T29" fmla="*/ 5 h 494"/>
                            <a:gd name="T30" fmla="*/ 411 w 725"/>
                            <a:gd name="T31" fmla="*/ 2 h 494"/>
                            <a:gd name="T32" fmla="*/ 387 w 725"/>
                            <a:gd name="T33" fmla="*/ 1 h 494"/>
                            <a:gd name="T34" fmla="*/ 362 w 725"/>
                            <a:gd name="T35" fmla="*/ 0 h 494"/>
                            <a:gd name="T36" fmla="*/ 339 w 725"/>
                            <a:gd name="T37" fmla="*/ 1 h 494"/>
                            <a:gd name="T38" fmla="*/ 314 w 725"/>
                            <a:gd name="T39" fmla="*/ 2 h 494"/>
                            <a:gd name="T40" fmla="*/ 291 w 725"/>
                            <a:gd name="T41" fmla="*/ 5 h 494"/>
                            <a:gd name="T42" fmla="*/ 266 w 725"/>
                            <a:gd name="T43" fmla="*/ 8 h 494"/>
                            <a:gd name="T44" fmla="*/ 243 w 725"/>
                            <a:gd name="T45" fmla="*/ 13 h 494"/>
                            <a:gd name="T46" fmla="*/ 219 w 725"/>
                            <a:gd name="T47" fmla="*/ 18 h 494"/>
                            <a:gd name="T48" fmla="*/ 196 w 725"/>
                            <a:gd name="T49" fmla="*/ 25 h 494"/>
                            <a:gd name="T50" fmla="*/ 173 w 725"/>
                            <a:gd name="T51" fmla="*/ 33 h 494"/>
                            <a:gd name="T52" fmla="*/ 150 w 725"/>
                            <a:gd name="T53" fmla="*/ 42 h 494"/>
                            <a:gd name="T54" fmla="*/ 127 w 725"/>
                            <a:gd name="T55" fmla="*/ 52 h 494"/>
                            <a:gd name="T56" fmla="*/ 105 w 725"/>
                            <a:gd name="T57" fmla="*/ 62 h 494"/>
                            <a:gd name="T58" fmla="*/ 83 w 725"/>
                            <a:gd name="T59" fmla="*/ 75 h 494"/>
                            <a:gd name="T60" fmla="*/ 62 w 725"/>
                            <a:gd name="T61" fmla="*/ 87 h 494"/>
                            <a:gd name="T62" fmla="*/ 41 w 725"/>
                            <a:gd name="T63" fmla="*/ 101 h 494"/>
                            <a:gd name="T64" fmla="*/ 21 w 725"/>
                            <a:gd name="T65" fmla="*/ 116 h 494"/>
                            <a:gd name="T66" fmla="*/ 0 w 725"/>
                            <a:gd name="T67" fmla="*/ 132 h 494"/>
                            <a:gd name="T68" fmla="*/ 362 w 725"/>
                            <a:gd name="T69" fmla="*/ 494 h 494"/>
                            <a:gd name="T70" fmla="*/ 725 w 725"/>
                            <a:gd name="T71" fmla="*/ 1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5" h="494">
                              <a:moveTo>
                                <a:pt x="725" y="132"/>
                              </a:moveTo>
                              <a:lnTo>
                                <a:pt x="725" y="132"/>
                              </a:lnTo>
                              <a:lnTo>
                                <a:pt x="705" y="116"/>
                              </a:lnTo>
                              <a:lnTo>
                                <a:pt x="685" y="101"/>
                              </a:lnTo>
                              <a:lnTo>
                                <a:pt x="664" y="87"/>
                              </a:lnTo>
                              <a:lnTo>
                                <a:pt x="643" y="75"/>
                              </a:lnTo>
                              <a:lnTo>
                                <a:pt x="621" y="62"/>
                              </a:lnTo>
                              <a:lnTo>
                                <a:pt x="599" y="51"/>
                              </a:lnTo>
                              <a:lnTo>
                                <a:pt x="576" y="42"/>
                              </a:lnTo>
                              <a:lnTo>
                                <a:pt x="553" y="33"/>
                              </a:lnTo>
                              <a:lnTo>
                                <a:pt x="530" y="25"/>
                              </a:lnTo>
                              <a:lnTo>
                                <a:pt x="507" y="18"/>
                              </a:lnTo>
                              <a:lnTo>
                                <a:pt x="483" y="13"/>
                              </a:lnTo>
                              <a:lnTo>
                                <a:pt x="460" y="8"/>
                              </a:lnTo>
                              <a:lnTo>
                                <a:pt x="435" y="5"/>
                              </a:lnTo>
                              <a:lnTo>
                                <a:pt x="411" y="2"/>
                              </a:lnTo>
                              <a:lnTo>
                                <a:pt x="387" y="1"/>
                              </a:lnTo>
                              <a:lnTo>
                                <a:pt x="362" y="0"/>
                              </a:lnTo>
                              <a:lnTo>
                                <a:pt x="339" y="1"/>
                              </a:lnTo>
                              <a:lnTo>
                                <a:pt x="314" y="2"/>
                              </a:lnTo>
                              <a:lnTo>
                                <a:pt x="291" y="5"/>
                              </a:lnTo>
                              <a:lnTo>
                                <a:pt x="266" y="8"/>
                              </a:lnTo>
                              <a:lnTo>
                                <a:pt x="243" y="13"/>
                              </a:lnTo>
                              <a:lnTo>
                                <a:pt x="219" y="18"/>
                              </a:lnTo>
                              <a:lnTo>
                                <a:pt x="196" y="25"/>
                              </a:lnTo>
                              <a:lnTo>
                                <a:pt x="173" y="33"/>
                              </a:lnTo>
                              <a:lnTo>
                                <a:pt x="150" y="42"/>
                              </a:lnTo>
                              <a:lnTo>
                                <a:pt x="127" y="52"/>
                              </a:lnTo>
                              <a:lnTo>
                                <a:pt x="105" y="62"/>
                              </a:lnTo>
                              <a:lnTo>
                                <a:pt x="83" y="75"/>
                              </a:lnTo>
                              <a:lnTo>
                                <a:pt x="62" y="87"/>
                              </a:lnTo>
                              <a:lnTo>
                                <a:pt x="41" y="101"/>
                              </a:lnTo>
                              <a:lnTo>
                                <a:pt x="21" y="116"/>
                              </a:lnTo>
                              <a:lnTo>
                                <a:pt x="0" y="132"/>
                              </a:lnTo>
                              <a:lnTo>
                                <a:pt x="362" y="494"/>
                              </a:lnTo>
                              <a:lnTo>
                                <a:pt x="725"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104" name="Freeform 371">
                          <a:extLst>
                            <a:ext uri="{FF2B5EF4-FFF2-40B4-BE49-F238E27FC236}">
                              <a16:creationId xmlns:a16="http://schemas.microsoft.com/office/drawing/2014/main" id="{3B9D0782-E918-4A3C-A2D5-BB47A8F0ACE4}"/>
                            </a:ext>
                          </a:extLst>
                        </p:cNvPr>
                        <p:cNvSpPr>
                          <a:spLocks/>
                        </p:cNvSpPr>
                        <p:nvPr/>
                      </p:nvSpPr>
                      <p:spPr bwMode="auto">
                        <a:xfrm>
                          <a:off x="1039038" y="-1398740"/>
                          <a:ext cx="79375" cy="92075"/>
                        </a:xfrm>
                        <a:custGeom>
                          <a:avLst/>
                          <a:gdLst>
                            <a:gd name="T0" fmla="*/ 272 w 352"/>
                            <a:gd name="T1" fmla="*/ 0 h 402"/>
                            <a:gd name="T2" fmla="*/ 0 w 352"/>
                            <a:gd name="T3" fmla="*/ 273 h 402"/>
                            <a:gd name="T4" fmla="*/ 0 w 352"/>
                            <a:gd name="T5" fmla="*/ 273 h 402"/>
                            <a:gd name="T6" fmla="*/ 4 w 352"/>
                            <a:gd name="T7" fmla="*/ 305 h 402"/>
                            <a:gd name="T8" fmla="*/ 10 w 352"/>
                            <a:gd name="T9" fmla="*/ 338 h 402"/>
                            <a:gd name="T10" fmla="*/ 18 w 352"/>
                            <a:gd name="T11" fmla="*/ 371 h 402"/>
                            <a:gd name="T12" fmla="*/ 28 w 352"/>
                            <a:gd name="T13" fmla="*/ 402 h 402"/>
                            <a:gd name="T14" fmla="*/ 352 w 352"/>
                            <a:gd name="T15" fmla="*/ 79 h 402"/>
                            <a:gd name="T16" fmla="*/ 272 w 352"/>
                            <a:gd name="T1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2" h="402">
                              <a:moveTo>
                                <a:pt x="272" y="0"/>
                              </a:moveTo>
                              <a:lnTo>
                                <a:pt x="0" y="273"/>
                              </a:lnTo>
                              <a:lnTo>
                                <a:pt x="0" y="273"/>
                              </a:lnTo>
                              <a:lnTo>
                                <a:pt x="4" y="305"/>
                              </a:lnTo>
                              <a:lnTo>
                                <a:pt x="10" y="338"/>
                              </a:lnTo>
                              <a:lnTo>
                                <a:pt x="18" y="371"/>
                              </a:lnTo>
                              <a:lnTo>
                                <a:pt x="28" y="402"/>
                              </a:lnTo>
                              <a:lnTo>
                                <a:pt x="352" y="79"/>
                              </a:lnTo>
                              <a:lnTo>
                                <a:pt x="2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grpSp>
                  <p:grpSp>
                    <p:nvGrpSpPr>
                      <p:cNvPr id="93" name="Group 92">
                        <a:extLst>
                          <a:ext uri="{FF2B5EF4-FFF2-40B4-BE49-F238E27FC236}">
                            <a16:creationId xmlns:a16="http://schemas.microsoft.com/office/drawing/2014/main" id="{57F5AB21-F308-4353-9D48-82EAF7584B4A}"/>
                          </a:ext>
                        </a:extLst>
                      </p:cNvPr>
                      <p:cNvGrpSpPr/>
                      <p:nvPr/>
                    </p:nvGrpSpPr>
                    <p:grpSpPr>
                      <a:xfrm>
                        <a:off x="5208518" y="-1395792"/>
                        <a:ext cx="426200" cy="371854"/>
                        <a:chOff x="1620064" y="-757313"/>
                        <a:chExt cx="236538" cy="206376"/>
                      </a:xfrm>
                      <a:grpFill/>
                    </p:grpSpPr>
                    <p:sp>
                      <p:nvSpPr>
                        <p:cNvPr id="95" name="Freeform 186">
                          <a:extLst>
                            <a:ext uri="{FF2B5EF4-FFF2-40B4-BE49-F238E27FC236}">
                              <a16:creationId xmlns:a16="http://schemas.microsoft.com/office/drawing/2014/main" id="{00B4184A-2EF0-488C-AF88-3DA3D64618B9}"/>
                            </a:ext>
                          </a:extLst>
                        </p:cNvPr>
                        <p:cNvSpPr>
                          <a:spLocks/>
                        </p:cNvSpPr>
                        <p:nvPr/>
                      </p:nvSpPr>
                      <p:spPr bwMode="auto">
                        <a:xfrm>
                          <a:off x="1745476" y="-757313"/>
                          <a:ext cx="44450" cy="174625"/>
                        </a:xfrm>
                        <a:custGeom>
                          <a:avLst/>
                          <a:gdLst>
                            <a:gd name="T0" fmla="*/ 196 w 196"/>
                            <a:gd name="T1" fmla="*/ 26 h 767"/>
                            <a:gd name="T2" fmla="*/ 196 w 196"/>
                            <a:gd name="T3" fmla="*/ 26 h 767"/>
                            <a:gd name="T4" fmla="*/ 196 w 196"/>
                            <a:gd name="T5" fmla="*/ 21 h 767"/>
                            <a:gd name="T6" fmla="*/ 194 w 196"/>
                            <a:gd name="T7" fmla="*/ 17 h 767"/>
                            <a:gd name="T8" fmla="*/ 192 w 196"/>
                            <a:gd name="T9" fmla="*/ 11 h 767"/>
                            <a:gd name="T10" fmla="*/ 189 w 196"/>
                            <a:gd name="T11" fmla="*/ 8 h 767"/>
                            <a:gd name="T12" fmla="*/ 185 w 196"/>
                            <a:gd name="T13" fmla="*/ 5 h 767"/>
                            <a:gd name="T14" fmla="*/ 181 w 196"/>
                            <a:gd name="T15" fmla="*/ 2 h 767"/>
                            <a:gd name="T16" fmla="*/ 177 w 196"/>
                            <a:gd name="T17" fmla="*/ 1 h 767"/>
                            <a:gd name="T18" fmla="*/ 172 w 196"/>
                            <a:gd name="T19" fmla="*/ 0 h 767"/>
                            <a:gd name="T20" fmla="*/ 24 w 196"/>
                            <a:gd name="T21" fmla="*/ 0 h 767"/>
                            <a:gd name="T22" fmla="*/ 24 w 196"/>
                            <a:gd name="T23" fmla="*/ 0 h 767"/>
                            <a:gd name="T24" fmla="*/ 19 w 196"/>
                            <a:gd name="T25" fmla="*/ 1 h 767"/>
                            <a:gd name="T26" fmla="*/ 15 w 196"/>
                            <a:gd name="T27" fmla="*/ 2 h 767"/>
                            <a:gd name="T28" fmla="*/ 11 w 196"/>
                            <a:gd name="T29" fmla="*/ 5 h 767"/>
                            <a:gd name="T30" fmla="*/ 7 w 196"/>
                            <a:gd name="T31" fmla="*/ 8 h 767"/>
                            <a:gd name="T32" fmla="*/ 4 w 196"/>
                            <a:gd name="T33" fmla="*/ 11 h 767"/>
                            <a:gd name="T34" fmla="*/ 2 w 196"/>
                            <a:gd name="T35" fmla="*/ 17 h 767"/>
                            <a:gd name="T36" fmla="*/ 1 w 196"/>
                            <a:gd name="T37" fmla="*/ 21 h 767"/>
                            <a:gd name="T38" fmla="*/ 0 w 196"/>
                            <a:gd name="T39" fmla="*/ 26 h 767"/>
                            <a:gd name="T40" fmla="*/ 0 w 196"/>
                            <a:gd name="T41" fmla="*/ 767 h 767"/>
                            <a:gd name="T42" fmla="*/ 196 w 196"/>
                            <a:gd name="T43" fmla="*/ 767 h 767"/>
                            <a:gd name="T44" fmla="*/ 196 w 196"/>
                            <a:gd name="T45" fmla="*/ 26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767">
                              <a:moveTo>
                                <a:pt x="196" y="26"/>
                              </a:moveTo>
                              <a:lnTo>
                                <a:pt x="196" y="26"/>
                              </a:lnTo>
                              <a:lnTo>
                                <a:pt x="196" y="21"/>
                              </a:lnTo>
                              <a:lnTo>
                                <a:pt x="194" y="17"/>
                              </a:lnTo>
                              <a:lnTo>
                                <a:pt x="192" y="11"/>
                              </a:lnTo>
                              <a:lnTo>
                                <a:pt x="189" y="8"/>
                              </a:lnTo>
                              <a:lnTo>
                                <a:pt x="185" y="5"/>
                              </a:lnTo>
                              <a:lnTo>
                                <a:pt x="181" y="2"/>
                              </a:lnTo>
                              <a:lnTo>
                                <a:pt x="177" y="1"/>
                              </a:lnTo>
                              <a:lnTo>
                                <a:pt x="172" y="0"/>
                              </a:lnTo>
                              <a:lnTo>
                                <a:pt x="24" y="0"/>
                              </a:lnTo>
                              <a:lnTo>
                                <a:pt x="24" y="0"/>
                              </a:lnTo>
                              <a:lnTo>
                                <a:pt x="19" y="1"/>
                              </a:lnTo>
                              <a:lnTo>
                                <a:pt x="15" y="2"/>
                              </a:lnTo>
                              <a:lnTo>
                                <a:pt x="11" y="5"/>
                              </a:lnTo>
                              <a:lnTo>
                                <a:pt x="7" y="8"/>
                              </a:lnTo>
                              <a:lnTo>
                                <a:pt x="4" y="11"/>
                              </a:lnTo>
                              <a:lnTo>
                                <a:pt x="2" y="17"/>
                              </a:lnTo>
                              <a:lnTo>
                                <a:pt x="1" y="21"/>
                              </a:lnTo>
                              <a:lnTo>
                                <a:pt x="0" y="26"/>
                              </a:lnTo>
                              <a:lnTo>
                                <a:pt x="0" y="767"/>
                              </a:lnTo>
                              <a:lnTo>
                                <a:pt x="196" y="767"/>
                              </a:lnTo>
                              <a:lnTo>
                                <a:pt x="1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96" name="Freeform 187">
                          <a:extLst>
                            <a:ext uri="{FF2B5EF4-FFF2-40B4-BE49-F238E27FC236}">
                              <a16:creationId xmlns:a16="http://schemas.microsoft.com/office/drawing/2014/main" id="{362076C5-EAD1-45C1-8059-0CEF81DC57A6}"/>
                            </a:ext>
                          </a:extLst>
                        </p:cNvPr>
                        <p:cNvSpPr>
                          <a:spLocks/>
                        </p:cNvSpPr>
                        <p:nvPr/>
                      </p:nvSpPr>
                      <p:spPr bwMode="auto">
                        <a:xfrm>
                          <a:off x="1685151" y="-666825"/>
                          <a:ext cx="44450" cy="84138"/>
                        </a:xfrm>
                        <a:custGeom>
                          <a:avLst/>
                          <a:gdLst>
                            <a:gd name="T0" fmla="*/ 196 w 196"/>
                            <a:gd name="T1" fmla="*/ 25 h 369"/>
                            <a:gd name="T2" fmla="*/ 196 w 196"/>
                            <a:gd name="T3" fmla="*/ 25 h 369"/>
                            <a:gd name="T4" fmla="*/ 196 w 196"/>
                            <a:gd name="T5" fmla="*/ 20 h 369"/>
                            <a:gd name="T6" fmla="*/ 194 w 196"/>
                            <a:gd name="T7" fmla="*/ 15 h 369"/>
                            <a:gd name="T8" fmla="*/ 192 w 196"/>
                            <a:gd name="T9" fmla="*/ 11 h 369"/>
                            <a:gd name="T10" fmla="*/ 189 w 196"/>
                            <a:gd name="T11" fmla="*/ 7 h 369"/>
                            <a:gd name="T12" fmla="*/ 185 w 196"/>
                            <a:gd name="T13" fmla="*/ 4 h 369"/>
                            <a:gd name="T14" fmla="*/ 181 w 196"/>
                            <a:gd name="T15" fmla="*/ 2 h 369"/>
                            <a:gd name="T16" fmla="*/ 177 w 196"/>
                            <a:gd name="T17" fmla="*/ 0 h 369"/>
                            <a:gd name="T18" fmla="*/ 172 w 196"/>
                            <a:gd name="T19" fmla="*/ 0 h 369"/>
                            <a:gd name="T20" fmla="*/ 25 w 196"/>
                            <a:gd name="T21" fmla="*/ 0 h 369"/>
                            <a:gd name="T22" fmla="*/ 25 w 196"/>
                            <a:gd name="T23" fmla="*/ 0 h 369"/>
                            <a:gd name="T24" fmla="*/ 19 w 196"/>
                            <a:gd name="T25" fmla="*/ 0 h 369"/>
                            <a:gd name="T26" fmla="*/ 15 w 196"/>
                            <a:gd name="T27" fmla="*/ 2 h 369"/>
                            <a:gd name="T28" fmla="*/ 11 w 196"/>
                            <a:gd name="T29" fmla="*/ 4 h 369"/>
                            <a:gd name="T30" fmla="*/ 7 w 196"/>
                            <a:gd name="T31" fmla="*/ 7 h 369"/>
                            <a:gd name="T32" fmla="*/ 4 w 196"/>
                            <a:gd name="T33" fmla="*/ 11 h 369"/>
                            <a:gd name="T34" fmla="*/ 2 w 196"/>
                            <a:gd name="T35" fmla="*/ 15 h 369"/>
                            <a:gd name="T36" fmla="*/ 1 w 196"/>
                            <a:gd name="T37" fmla="*/ 20 h 369"/>
                            <a:gd name="T38" fmla="*/ 0 w 196"/>
                            <a:gd name="T39" fmla="*/ 25 h 369"/>
                            <a:gd name="T40" fmla="*/ 0 w 196"/>
                            <a:gd name="T41" fmla="*/ 369 h 369"/>
                            <a:gd name="T42" fmla="*/ 196 w 196"/>
                            <a:gd name="T43" fmla="*/ 369 h 369"/>
                            <a:gd name="T44" fmla="*/ 196 w 196"/>
                            <a:gd name="T45" fmla="*/ 25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369">
                              <a:moveTo>
                                <a:pt x="196" y="25"/>
                              </a:moveTo>
                              <a:lnTo>
                                <a:pt x="196" y="25"/>
                              </a:lnTo>
                              <a:lnTo>
                                <a:pt x="196" y="20"/>
                              </a:lnTo>
                              <a:lnTo>
                                <a:pt x="194" y="15"/>
                              </a:lnTo>
                              <a:lnTo>
                                <a:pt x="192" y="11"/>
                              </a:lnTo>
                              <a:lnTo>
                                <a:pt x="189" y="7"/>
                              </a:lnTo>
                              <a:lnTo>
                                <a:pt x="185" y="4"/>
                              </a:lnTo>
                              <a:lnTo>
                                <a:pt x="181" y="2"/>
                              </a:lnTo>
                              <a:lnTo>
                                <a:pt x="177" y="0"/>
                              </a:lnTo>
                              <a:lnTo>
                                <a:pt x="172" y="0"/>
                              </a:lnTo>
                              <a:lnTo>
                                <a:pt x="25" y="0"/>
                              </a:lnTo>
                              <a:lnTo>
                                <a:pt x="25" y="0"/>
                              </a:lnTo>
                              <a:lnTo>
                                <a:pt x="19" y="0"/>
                              </a:lnTo>
                              <a:lnTo>
                                <a:pt x="15" y="2"/>
                              </a:lnTo>
                              <a:lnTo>
                                <a:pt x="11" y="4"/>
                              </a:lnTo>
                              <a:lnTo>
                                <a:pt x="7" y="7"/>
                              </a:lnTo>
                              <a:lnTo>
                                <a:pt x="4" y="11"/>
                              </a:lnTo>
                              <a:lnTo>
                                <a:pt x="2" y="15"/>
                              </a:lnTo>
                              <a:lnTo>
                                <a:pt x="1" y="20"/>
                              </a:lnTo>
                              <a:lnTo>
                                <a:pt x="0" y="25"/>
                              </a:lnTo>
                              <a:lnTo>
                                <a:pt x="0" y="369"/>
                              </a:lnTo>
                              <a:lnTo>
                                <a:pt x="196" y="369"/>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97" name="Freeform 188">
                          <a:extLst>
                            <a:ext uri="{FF2B5EF4-FFF2-40B4-BE49-F238E27FC236}">
                              <a16:creationId xmlns:a16="http://schemas.microsoft.com/office/drawing/2014/main" id="{CCE8233A-24B2-4507-9468-2635AA512F93}"/>
                            </a:ext>
                          </a:extLst>
                        </p:cNvPr>
                        <p:cNvSpPr>
                          <a:spLocks/>
                        </p:cNvSpPr>
                        <p:nvPr/>
                      </p:nvSpPr>
                      <p:spPr bwMode="auto">
                        <a:xfrm>
                          <a:off x="1805801" y="-709688"/>
                          <a:ext cx="44450" cy="127000"/>
                        </a:xfrm>
                        <a:custGeom>
                          <a:avLst/>
                          <a:gdLst>
                            <a:gd name="T0" fmla="*/ 196 w 196"/>
                            <a:gd name="T1" fmla="*/ 24 h 558"/>
                            <a:gd name="T2" fmla="*/ 196 w 196"/>
                            <a:gd name="T3" fmla="*/ 24 h 558"/>
                            <a:gd name="T4" fmla="*/ 196 w 196"/>
                            <a:gd name="T5" fmla="*/ 19 h 558"/>
                            <a:gd name="T6" fmla="*/ 194 w 196"/>
                            <a:gd name="T7" fmla="*/ 15 h 558"/>
                            <a:gd name="T8" fmla="*/ 192 w 196"/>
                            <a:gd name="T9" fmla="*/ 11 h 558"/>
                            <a:gd name="T10" fmla="*/ 189 w 196"/>
                            <a:gd name="T11" fmla="*/ 7 h 558"/>
                            <a:gd name="T12" fmla="*/ 186 w 196"/>
                            <a:gd name="T13" fmla="*/ 4 h 558"/>
                            <a:gd name="T14" fmla="*/ 181 w 196"/>
                            <a:gd name="T15" fmla="*/ 2 h 558"/>
                            <a:gd name="T16" fmla="*/ 177 w 196"/>
                            <a:gd name="T17" fmla="*/ 1 h 558"/>
                            <a:gd name="T18" fmla="*/ 172 w 196"/>
                            <a:gd name="T19" fmla="*/ 0 h 558"/>
                            <a:gd name="T20" fmla="*/ 24 w 196"/>
                            <a:gd name="T21" fmla="*/ 0 h 558"/>
                            <a:gd name="T22" fmla="*/ 24 w 196"/>
                            <a:gd name="T23" fmla="*/ 0 h 558"/>
                            <a:gd name="T24" fmla="*/ 20 w 196"/>
                            <a:gd name="T25" fmla="*/ 1 h 558"/>
                            <a:gd name="T26" fmla="*/ 15 w 196"/>
                            <a:gd name="T27" fmla="*/ 2 h 558"/>
                            <a:gd name="T28" fmla="*/ 11 w 196"/>
                            <a:gd name="T29" fmla="*/ 4 h 558"/>
                            <a:gd name="T30" fmla="*/ 7 w 196"/>
                            <a:gd name="T31" fmla="*/ 7 h 558"/>
                            <a:gd name="T32" fmla="*/ 4 w 196"/>
                            <a:gd name="T33" fmla="*/ 11 h 558"/>
                            <a:gd name="T34" fmla="*/ 2 w 196"/>
                            <a:gd name="T35" fmla="*/ 15 h 558"/>
                            <a:gd name="T36" fmla="*/ 1 w 196"/>
                            <a:gd name="T37" fmla="*/ 19 h 558"/>
                            <a:gd name="T38" fmla="*/ 0 w 196"/>
                            <a:gd name="T39" fmla="*/ 24 h 558"/>
                            <a:gd name="T40" fmla="*/ 0 w 196"/>
                            <a:gd name="T41" fmla="*/ 558 h 558"/>
                            <a:gd name="T42" fmla="*/ 196 w 196"/>
                            <a:gd name="T43" fmla="*/ 558 h 558"/>
                            <a:gd name="T44" fmla="*/ 196 w 196"/>
                            <a:gd name="T45" fmla="*/ 2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558">
                              <a:moveTo>
                                <a:pt x="196" y="24"/>
                              </a:moveTo>
                              <a:lnTo>
                                <a:pt x="196" y="24"/>
                              </a:lnTo>
                              <a:lnTo>
                                <a:pt x="196" y="19"/>
                              </a:lnTo>
                              <a:lnTo>
                                <a:pt x="194" y="15"/>
                              </a:lnTo>
                              <a:lnTo>
                                <a:pt x="192" y="11"/>
                              </a:lnTo>
                              <a:lnTo>
                                <a:pt x="189" y="7"/>
                              </a:lnTo>
                              <a:lnTo>
                                <a:pt x="186" y="4"/>
                              </a:lnTo>
                              <a:lnTo>
                                <a:pt x="181" y="2"/>
                              </a:lnTo>
                              <a:lnTo>
                                <a:pt x="177" y="1"/>
                              </a:lnTo>
                              <a:lnTo>
                                <a:pt x="172" y="0"/>
                              </a:lnTo>
                              <a:lnTo>
                                <a:pt x="24" y="0"/>
                              </a:lnTo>
                              <a:lnTo>
                                <a:pt x="24" y="0"/>
                              </a:lnTo>
                              <a:lnTo>
                                <a:pt x="20" y="1"/>
                              </a:lnTo>
                              <a:lnTo>
                                <a:pt x="15" y="2"/>
                              </a:lnTo>
                              <a:lnTo>
                                <a:pt x="11" y="4"/>
                              </a:lnTo>
                              <a:lnTo>
                                <a:pt x="7" y="7"/>
                              </a:lnTo>
                              <a:lnTo>
                                <a:pt x="4" y="11"/>
                              </a:lnTo>
                              <a:lnTo>
                                <a:pt x="2" y="15"/>
                              </a:lnTo>
                              <a:lnTo>
                                <a:pt x="1" y="19"/>
                              </a:lnTo>
                              <a:lnTo>
                                <a:pt x="0" y="24"/>
                              </a:lnTo>
                              <a:lnTo>
                                <a:pt x="0" y="558"/>
                              </a:lnTo>
                              <a:lnTo>
                                <a:pt x="196" y="558"/>
                              </a:lnTo>
                              <a:lnTo>
                                <a:pt x="19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98" name="Freeform 189">
                          <a:extLst>
                            <a:ext uri="{FF2B5EF4-FFF2-40B4-BE49-F238E27FC236}">
                              <a16:creationId xmlns:a16="http://schemas.microsoft.com/office/drawing/2014/main" id="{EC90C207-75E6-4037-981B-3C1D5EBAC6A3}"/>
                            </a:ext>
                          </a:extLst>
                        </p:cNvPr>
                        <p:cNvSpPr>
                          <a:spLocks/>
                        </p:cNvSpPr>
                        <p:nvPr/>
                      </p:nvSpPr>
                      <p:spPr bwMode="auto">
                        <a:xfrm>
                          <a:off x="1624826" y="-622375"/>
                          <a:ext cx="44450" cy="39688"/>
                        </a:xfrm>
                        <a:custGeom>
                          <a:avLst/>
                          <a:gdLst>
                            <a:gd name="T0" fmla="*/ 196 w 196"/>
                            <a:gd name="T1" fmla="*/ 25 h 175"/>
                            <a:gd name="T2" fmla="*/ 196 w 196"/>
                            <a:gd name="T3" fmla="*/ 25 h 175"/>
                            <a:gd name="T4" fmla="*/ 195 w 196"/>
                            <a:gd name="T5" fmla="*/ 20 h 175"/>
                            <a:gd name="T6" fmla="*/ 194 w 196"/>
                            <a:gd name="T7" fmla="*/ 16 h 175"/>
                            <a:gd name="T8" fmla="*/ 192 w 196"/>
                            <a:gd name="T9" fmla="*/ 12 h 175"/>
                            <a:gd name="T10" fmla="*/ 189 w 196"/>
                            <a:gd name="T11" fmla="*/ 8 h 175"/>
                            <a:gd name="T12" fmla="*/ 185 w 196"/>
                            <a:gd name="T13" fmla="*/ 5 h 175"/>
                            <a:gd name="T14" fmla="*/ 181 w 196"/>
                            <a:gd name="T15" fmla="*/ 2 h 175"/>
                            <a:gd name="T16" fmla="*/ 177 w 196"/>
                            <a:gd name="T17" fmla="*/ 0 h 175"/>
                            <a:gd name="T18" fmla="*/ 172 w 196"/>
                            <a:gd name="T19" fmla="*/ 0 h 175"/>
                            <a:gd name="T20" fmla="*/ 25 w 196"/>
                            <a:gd name="T21" fmla="*/ 0 h 175"/>
                            <a:gd name="T22" fmla="*/ 25 w 196"/>
                            <a:gd name="T23" fmla="*/ 0 h 175"/>
                            <a:gd name="T24" fmla="*/ 19 w 196"/>
                            <a:gd name="T25" fmla="*/ 0 h 175"/>
                            <a:gd name="T26" fmla="*/ 15 w 196"/>
                            <a:gd name="T27" fmla="*/ 2 h 175"/>
                            <a:gd name="T28" fmla="*/ 10 w 196"/>
                            <a:gd name="T29" fmla="*/ 5 h 175"/>
                            <a:gd name="T30" fmla="*/ 7 w 196"/>
                            <a:gd name="T31" fmla="*/ 8 h 175"/>
                            <a:gd name="T32" fmla="*/ 4 w 196"/>
                            <a:gd name="T33" fmla="*/ 12 h 175"/>
                            <a:gd name="T34" fmla="*/ 2 w 196"/>
                            <a:gd name="T35" fmla="*/ 16 h 175"/>
                            <a:gd name="T36" fmla="*/ 0 w 196"/>
                            <a:gd name="T37" fmla="*/ 20 h 175"/>
                            <a:gd name="T38" fmla="*/ 0 w 196"/>
                            <a:gd name="T39" fmla="*/ 25 h 175"/>
                            <a:gd name="T40" fmla="*/ 0 w 196"/>
                            <a:gd name="T41" fmla="*/ 175 h 175"/>
                            <a:gd name="T42" fmla="*/ 196 w 196"/>
                            <a:gd name="T43" fmla="*/ 175 h 175"/>
                            <a:gd name="T44" fmla="*/ 196 w 196"/>
                            <a:gd name="T45" fmla="*/ 2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175">
                              <a:moveTo>
                                <a:pt x="196" y="25"/>
                              </a:moveTo>
                              <a:lnTo>
                                <a:pt x="196" y="25"/>
                              </a:lnTo>
                              <a:lnTo>
                                <a:pt x="195" y="20"/>
                              </a:lnTo>
                              <a:lnTo>
                                <a:pt x="194" y="16"/>
                              </a:lnTo>
                              <a:lnTo>
                                <a:pt x="192" y="12"/>
                              </a:lnTo>
                              <a:lnTo>
                                <a:pt x="189" y="8"/>
                              </a:lnTo>
                              <a:lnTo>
                                <a:pt x="185" y="5"/>
                              </a:lnTo>
                              <a:lnTo>
                                <a:pt x="181" y="2"/>
                              </a:lnTo>
                              <a:lnTo>
                                <a:pt x="177" y="0"/>
                              </a:lnTo>
                              <a:lnTo>
                                <a:pt x="172" y="0"/>
                              </a:lnTo>
                              <a:lnTo>
                                <a:pt x="25" y="0"/>
                              </a:lnTo>
                              <a:lnTo>
                                <a:pt x="25" y="0"/>
                              </a:lnTo>
                              <a:lnTo>
                                <a:pt x="19" y="0"/>
                              </a:lnTo>
                              <a:lnTo>
                                <a:pt x="15" y="2"/>
                              </a:lnTo>
                              <a:lnTo>
                                <a:pt x="10" y="5"/>
                              </a:lnTo>
                              <a:lnTo>
                                <a:pt x="7" y="8"/>
                              </a:lnTo>
                              <a:lnTo>
                                <a:pt x="4" y="12"/>
                              </a:lnTo>
                              <a:lnTo>
                                <a:pt x="2" y="16"/>
                              </a:lnTo>
                              <a:lnTo>
                                <a:pt x="0" y="20"/>
                              </a:lnTo>
                              <a:lnTo>
                                <a:pt x="0" y="25"/>
                              </a:lnTo>
                              <a:lnTo>
                                <a:pt x="0" y="175"/>
                              </a:lnTo>
                              <a:lnTo>
                                <a:pt x="196" y="175"/>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sp>
                      <p:nvSpPr>
                        <p:cNvPr id="99" name="Freeform 190">
                          <a:extLst>
                            <a:ext uri="{FF2B5EF4-FFF2-40B4-BE49-F238E27FC236}">
                              <a16:creationId xmlns:a16="http://schemas.microsoft.com/office/drawing/2014/main" id="{72DB037F-CA58-4DED-B100-637DD6FFECD0}"/>
                            </a:ext>
                          </a:extLst>
                        </p:cNvPr>
                        <p:cNvSpPr>
                          <a:spLocks/>
                        </p:cNvSpPr>
                        <p:nvPr/>
                      </p:nvSpPr>
                      <p:spPr bwMode="auto">
                        <a:xfrm>
                          <a:off x="1620064" y="-568400"/>
                          <a:ext cx="236538" cy="17463"/>
                        </a:xfrm>
                        <a:custGeom>
                          <a:avLst/>
                          <a:gdLst>
                            <a:gd name="T0" fmla="*/ 1031 w 1044"/>
                            <a:gd name="T1" fmla="*/ 0 h 79"/>
                            <a:gd name="T2" fmla="*/ 13 w 1044"/>
                            <a:gd name="T3" fmla="*/ 0 h 79"/>
                            <a:gd name="T4" fmla="*/ 13 w 1044"/>
                            <a:gd name="T5" fmla="*/ 0 h 79"/>
                            <a:gd name="T6" fmla="*/ 8 w 1044"/>
                            <a:gd name="T7" fmla="*/ 1 h 79"/>
                            <a:gd name="T8" fmla="*/ 4 w 1044"/>
                            <a:gd name="T9" fmla="*/ 3 h 79"/>
                            <a:gd name="T10" fmla="*/ 1 w 1044"/>
                            <a:gd name="T11" fmla="*/ 7 h 79"/>
                            <a:gd name="T12" fmla="*/ 0 w 1044"/>
                            <a:gd name="T13" fmla="*/ 12 h 79"/>
                            <a:gd name="T14" fmla="*/ 0 w 1044"/>
                            <a:gd name="T15" fmla="*/ 66 h 79"/>
                            <a:gd name="T16" fmla="*/ 0 w 1044"/>
                            <a:gd name="T17" fmla="*/ 66 h 79"/>
                            <a:gd name="T18" fmla="*/ 1 w 1044"/>
                            <a:gd name="T19" fmla="*/ 71 h 79"/>
                            <a:gd name="T20" fmla="*/ 4 w 1044"/>
                            <a:gd name="T21" fmla="*/ 75 h 79"/>
                            <a:gd name="T22" fmla="*/ 8 w 1044"/>
                            <a:gd name="T23" fmla="*/ 78 h 79"/>
                            <a:gd name="T24" fmla="*/ 13 w 1044"/>
                            <a:gd name="T25" fmla="*/ 79 h 79"/>
                            <a:gd name="T26" fmla="*/ 1031 w 1044"/>
                            <a:gd name="T27" fmla="*/ 79 h 79"/>
                            <a:gd name="T28" fmla="*/ 1031 w 1044"/>
                            <a:gd name="T29" fmla="*/ 79 h 79"/>
                            <a:gd name="T30" fmla="*/ 1036 w 1044"/>
                            <a:gd name="T31" fmla="*/ 78 h 79"/>
                            <a:gd name="T32" fmla="*/ 1040 w 1044"/>
                            <a:gd name="T33" fmla="*/ 75 h 79"/>
                            <a:gd name="T34" fmla="*/ 1043 w 1044"/>
                            <a:gd name="T35" fmla="*/ 71 h 79"/>
                            <a:gd name="T36" fmla="*/ 1044 w 1044"/>
                            <a:gd name="T37" fmla="*/ 66 h 79"/>
                            <a:gd name="T38" fmla="*/ 1044 w 1044"/>
                            <a:gd name="T39" fmla="*/ 12 h 79"/>
                            <a:gd name="T40" fmla="*/ 1044 w 1044"/>
                            <a:gd name="T41" fmla="*/ 12 h 79"/>
                            <a:gd name="T42" fmla="*/ 1043 w 1044"/>
                            <a:gd name="T43" fmla="*/ 7 h 79"/>
                            <a:gd name="T44" fmla="*/ 1040 w 1044"/>
                            <a:gd name="T45" fmla="*/ 3 h 79"/>
                            <a:gd name="T46" fmla="*/ 1036 w 1044"/>
                            <a:gd name="T47" fmla="*/ 1 h 79"/>
                            <a:gd name="T48" fmla="*/ 1031 w 1044"/>
                            <a:gd name="T49" fmla="*/ 0 h 79"/>
                            <a:gd name="T50" fmla="*/ 1031 w 1044"/>
                            <a:gd name="T5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4" h="79">
                              <a:moveTo>
                                <a:pt x="1031" y="0"/>
                              </a:moveTo>
                              <a:lnTo>
                                <a:pt x="13" y="0"/>
                              </a:lnTo>
                              <a:lnTo>
                                <a:pt x="13" y="0"/>
                              </a:lnTo>
                              <a:lnTo>
                                <a:pt x="8" y="1"/>
                              </a:lnTo>
                              <a:lnTo>
                                <a:pt x="4" y="3"/>
                              </a:lnTo>
                              <a:lnTo>
                                <a:pt x="1" y="7"/>
                              </a:lnTo>
                              <a:lnTo>
                                <a:pt x="0" y="12"/>
                              </a:lnTo>
                              <a:lnTo>
                                <a:pt x="0" y="66"/>
                              </a:lnTo>
                              <a:lnTo>
                                <a:pt x="0" y="66"/>
                              </a:lnTo>
                              <a:lnTo>
                                <a:pt x="1" y="71"/>
                              </a:lnTo>
                              <a:lnTo>
                                <a:pt x="4" y="75"/>
                              </a:lnTo>
                              <a:lnTo>
                                <a:pt x="8" y="78"/>
                              </a:lnTo>
                              <a:lnTo>
                                <a:pt x="13" y="79"/>
                              </a:lnTo>
                              <a:lnTo>
                                <a:pt x="1031" y="79"/>
                              </a:lnTo>
                              <a:lnTo>
                                <a:pt x="1031" y="79"/>
                              </a:lnTo>
                              <a:lnTo>
                                <a:pt x="1036" y="78"/>
                              </a:lnTo>
                              <a:lnTo>
                                <a:pt x="1040" y="75"/>
                              </a:lnTo>
                              <a:lnTo>
                                <a:pt x="1043" y="71"/>
                              </a:lnTo>
                              <a:lnTo>
                                <a:pt x="1044" y="66"/>
                              </a:lnTo>
                              <a:lnTo>
                                <a:pt x="1044" y="12"/>
                              </a:lnTo>
                              <a:lnTo>
                                <a:pt x="1044" y="12"/>
                              </a:lnTo>
                              <a:lnTo>
                                <a:pt x="1043" y="7"/>
                              </a:lnTo>
                              <a:lnTo>
                                <a:pt x="1040" y="3"/>
                              </a:lnTo>
                              <a:lnTo>
                                <a:pt x="1036" y="1"/>
                              </a:lnTo>
                              <a:lnTo>
                                <a:pt x="1031" y="0"/>
                              </a:lnTo>
                              <a:lnTo>
                                <a:pt x="10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grpSp>
                  <p:sp>
                    <p:nvSpPr>
                      <p:cNvPr id="94" name="Rounded Rectangle 455">
                        <a:extLst>
                          <a:ext uri="{FF2B5EF4-FFF2-40B4-BE49-F238E27FC236}">
                            <a16:creationId xmlns:a16="http://schemas.microsoft.com/office/drawing/2014/main" id="{8EC5A3B2-60FE-4871-9336-37A0B7EE6F84}"/>
                          </a:ext>
                        </a:extLst>
                      </p:cNvPr>
                      <p:cNvSpPr/>
                      <p:nvPr/>
                    </p:nvSpPr>
                    <p:spPr>
                      <a:xfrm>
                        <a:off x="5072499" y="-1601580"/>
                        <a:ext cx="36576" cy="783431"/>
                      </a:xfrm>
                      <a:prstGeom prst="roundRect">
                        <a:avLst>
                          <a:gd name="adj" fmla="val 50000"/>
                        </a:avLst>
                      </a:prstGeom>
                      <a:grpFill/>
                      <a:ln w="25400" cap="flat" cmpd="sng" algn="ctr">
                        <a:noFill/>
                        <a:prstDash val="solid"/>
                      </a:ln>
                      <a:effectLst/>
                    </p:spPr>
                    <p:txBody>
                      <a:bodyPr rtlCol="0" anchor="ctr"/>
                      <a:lstStyle/>
                      <a:p>
                        <a:pPr algn="ctr" defTabSz="914354" fontAlgn="base">
                          <a:spcBef>
                            <a:spcPct val="0"/>
                          </a:spcBef>
                          <a:spcAft>
                            <a:spcPct val="0"/>
                          </a:spcAft>
                          <a:defRPr/>
                        </a:pPr>
                        <a:endParaRPr lang="en-US" sz="2400" kern="0">
                          <a:solidFill>
                            <a:srgbClr val="FFFFFF"/>
                          </a:solidFill>
                          <a:latin typeface="CiscoSansTT ExtraLight"/>
                          <a:ea typeface="ＭＳ Ｐゴシック" charset="0"/>
                          <a:cs typeface="Arial"/>
                          <a:sym typeface="Arial"/>
                        </a:endParaRPr>
                      </a:p>
                    </p:txBody>
                  </p:sp>
                </p:grpSp>
                <p:cxnSp>
                  <p:nvCxnSpPr>
                    <p:cNvPr id="85" name="Straight Connector 84">
                      <a:extLst>
                        <a:ext uri="{FF2B5EF4-FFF2-40B4-BE49-F238E27FC236}">
                          <a16:creationId xmlns:a16="http://schemas.microsoft.com/office/drawing/2014/main" id="{71286079-9753-45CB-AFD6-2C10DA47F7FE}"/>
                        </a:ext>
                      </a:extLst>
                    </p:cNvPr>
                    <p:cNvCxnSpPr/>
                    <p:nvPr/>
                  </p:nvCxnSpPr>
                  <p:spPr>
                    <a:xfrm>
                      <a:off x="6656140" y="1603151"/>
                      <a:ext cx="99409" cy="0"/>
                    </a:xfrm>
                    <a:prstGeom prst="line">
                      <a:avLst/>
                    </a:prstGeom>
                    <a:noFill/>
                    <a:ln w="9525" cap="flat" cmpd="sng" algn="ctr">
                      <a:solidFill>
                        <a:srgbClr val="FFFFFF">
                          <a:lumMod val="65000"/>
                        </a:srgbClr>
                      </a:solidFill>
                      <a:prstDash val="solid"/>
                    </a:ln>
                    <a:effectLst/>
                  </p:spPr>
                </p:cxnSp>
                <p:cxnSp>
                  <p:nvCxnSpPr>
                    <p:cNvPr id="86" name="Straight Connector 85">
                      <a:extLst>
                        <a:ext uri="{FF2B5EF4-FFF2-40B4-BE49-F238E27FC236}">
                          <a16:creationId xmlns:a16="http://schemas.microsoft.com/office/drawing/2014/main" id="{69B479BE-6373-4085-8D61-E5B1A320F136}"/>
                        </a:ext>
                      </a:extLst>
                    </p:cNvPr>
                    <p:cNvCxnSpPr/>
                    <p:nvPr/>
                  </p:nvCxnSpPr>
                  <p:spPr>
                    <a:xfrm>
                      <a:off x="6656140" y="1629592"/>
                      <a:ext cx="87714" cy="0"/>
                    </a:xfrm>
                    <a:prstGeom prst="line">
                      <a:avLst/>
                    </a:prstGeom>
                    <a:noFill/>
                    <a:ln w="9525" cap="flat" cmpd="sng" algn="ctr">
                      <a:solidFill>
                        <a:srgbClr val="FFFFFF">
                          <a:lumMod val="65000"/>
                        </a:srgbClr>
                      </a:solidFill>
                      <a:prstDash val="solid"/>
                    </a:ln>
                    <a:effectLst/>
                  </p:spPr>
                </p:cxnSp>
                <p:cxnSp>
                  <p:nvCxnSpPr>
                    <p:cNvPr id="87" name="Straight Connector 86">
                      <a:extLst>
                        <a:ext uri="{FF2B5EF4-FFF2-40B4-BE49-F238E27FC236}">
                          <a16:creationId xmlns:a16="http://schemas.microsoft.com/office/drawing/2014/main" id="{E5918638-228C-42A7-B6A5-CB1F9A6CD9AA}"/>
                        </a:ext>
                      </a:extLst>
                    </p:cNvPr>
                    <p:cNvCxnSpPr/>
                    <p:nvPr/>
                  </p:nvCxnSpPr>
                  <p:spPr>
                    <a:xfrm>
                      <a:off x="6656140" y="1656034"/>
                      <a:ext cx="99409" cy="0"/>
                    </a:xfrm>
                    <a:prstGeom prst="line">
                      <a:avLst/>
                    </a:prstGeom>
                    <a:noFill/>
                    <a:ln w="9525" cap="flat" cmpd="sng" algn="ctr">
                      <a:solidFill>
                        <a:srgbClr val="FFFFFF">
                          <a:lumMod val="65000"/>
                        </a:srgbClr>
                      </a:solidFill>
                      <a:prstDash val="solid"/>
                    </a:ln>
                    <a:effectLst/>
                  </p:spPr>
                </p:cxnSp>
                <p:cxnSp>
                  <p:nvCxnSpPr>
                    <p:cNvPr id="88" name="Straight Connector 87">
                      <a:extLst>
                        <a:ext uri="{FF2B5EF4-FFF2-40B4-BE49-F238E27FC236}">
                          <a16:creationId xmlns:a16="http://schemas.microsoft.com/office/drawing/2014/main" id="{B85B9DFC-614D-4FD0-B554-2DEAE5862898}"/>
                        </a:ext>
                      </a:extLst>
                    </p:cNvPr>
                    <p:cNvCxnSpPr/>
                    <p:nvPr/>
                  </p:nvCxnSpPr>
                  <p:spPr>
                    <a:xfrm>
                      <a:off x="6656140" y="1682475"/>
                      <a:ext cx="94583" cy="0"/>
                    </a:xfrm>
                    <a:prstGeom prst="line">
                      <a:avLst/>
                    </a:prstGeom>
                    <a:noFill/>
                    <a:ln w="9525" cap="flat" cmpd="sng" algn="ctr">
                      <a:solidFill>
                        <a:srgbClr val="FFFFFF">
                          <a:lumMod val="65000"/>
                        </a:srgbClr>
                      </a:solidFill>
                      <a:prstDash val="solid"/>
                    </a:ln>
                    <a:effectLst/>
                  </p:spPr>
                </p:cxnSp>
                <p:cxnSp>
                  <p:nvCxnSpPr>
                    <p:cNvPr id="89" name="Straight Connector 88">
                      <a:extLst>
                        <a:ext uri="{FF2B5EF4-FFF2-40B4-BE49-F238E27FC236}">
                          <a16:creationId xmlns:a16="http://schemas.microsoft.com/office/drawing/2014/main" id="{DBB1E62C-2F58-4D7E-90B8-3A44C5E03A08}"/>
                        </a:ext>
                      </a:extLst>
                    </p:cNvPr>
                    <p:cNvCxnSpPr/>
                    <p:nvPr/>
                  </p:nvCxnSpPr>
                  <p:spPr>
                    <a:xfrm>
                      <a:off x="6656140" y="1708917"/>
                      <a:ext cx="94583" cy="0"/>
                    </a:xfrm>
                    <a:prstGeom prst="line">
                      <a:avLst/>
                    </a:prstGeom>
                    <a:noFill/>
                    <a:ln w="9525" cap="flat" cmpd="sng" algn="ctr">
                      <a:solidFill>
                        <a:srgbClr val="FFFFFF">
                          <a:lumMod val="65000"/>
                        </a:srgbClr>
                      </a:solidFill>
                      <a:prstDash val="solid"/>
                    </a:ln>
                    <a:effectLst/>
                  </p:spPr>
                </p:cxnSp>
                <p:cxnSp>
                  <p:nvCxnSpPr>
                    <p:cNvPr id="90" name="Straight Connector 89">
                      <a:extLst>
                        <a:ext uri="{FF2B5EF4-FFF2-40B4-BE49-F238E27FC236}">
                          <a16:creationId xmlns:a16="http://schemas.microsoft.com/office/drawing/2014/main" id="{066ACA17-288E-433E-9223-577599679E54}"/>
                        </a:ext>
                      </a:extLst>
                    </p:cNvPr>
                    <p:cNvCxnSpPr/>
                    <p:nvPr/>
                  </p:nvCxnSpPr>
                  <p:spPr>
                    <a:xfrm>
                      <a:off x="6656140" y="1576710"/>
                      <a:ext cx="77751" cy="0"/>
                    </a:xfrm>
                    <a:prstGeom prst="line">
                      <a:avLst/>
                    </a:prstGeom>
                    <a:noFill/>
                    <a:ln w="9525" cap="flat" cmpd="sng" algn="ctr">
                      <a:solidFill>
                        <a:srgbClr val="FFFFFF">
                          <a:lumMod val="65000"/>
                        </a:srgbClr>
                      </a:solidFill>
                      <a:prstDash val="solid"/>
                    </a:ln>
                    <a:effectLst/>
                  </p:spPr>
                </p:cxnSp>
              </p:grpSp>
            </p:grpSp>
          </p:grpSp>
          <p:grpSp>
            <p:nvGrpSpPr>
              <p:cNvPr id="70" name="Group 69">
                <a:extLst>
                  <a:ext uri="{FF2B5EF4-FFF2-40B4-BE49-F238E27FC236}">
                    <a16:creationId xmlns:a16="http://schemas.microsoft.com/office/drawing/2014/main" id="{B1E853CC-7C96-44EE-A446-263F777BB1E4}"/>
                  </a:ext>
                </a:extLst>
              </p:cNvPr>
              <p:cNvGrpSpPr/>
              <p:nvPr/>
            </p:nvGrpSpPr>
            <p:grpSpPr>
              <a:xfrm>
                <a:off x="5887838" y="3678155"/>
                <a:ext cx="375802" cy="677019"/>
                <a:chOff x="3742840" y="3888864"/>
                <a:chExt cx="323389" cy="582596"/>
              </a:xfrm>
            </p:grpSpPr>
            <p:sp>
              <p:nvSpPr>
                <p:cNvPr id="71" name="Oval 70">
                  <a:extLst>
                    <a:ext uri="{FF2B5EF4-FFF2-40B4-BE49-F238E27FC236}">
                      <a16:creationId xmlns:a16="http://schemas.microsoft.com/office/drawing/2014/main" id="{CF38509C-4F83-4955-8FC2-F4CCC75966B2}"/>
                    </a:ext>
                  </a:extLst>
                </p:cNvPr>
                <p:cNvSpPr/>
                <p:nvPr/>
              </p:nvSpPr>
              <p:spPr bwMode="auto">
                <a:xfrm>
                  <a:off x="3845654" y="3888864"/>
                  <a:ext cx="125052" cy="137638"/>
                </a:xfrm>
                <a:prstGeom prst="ellipse">
                  <a:avLst/>
                </a:prstGeom>
                <a:solidFill>
                  <a:srgbClr val="FFFFFF">
                    <a:lumMod val="50000"/>
                  </a:srgbClr>
                </a:solidFill>
                <a:ln w="9525" cap="flat" cmpd="sng" algn="ctr">
                  <a:noFill/>
                  <a:prstDash val="solid"/>
                  <a:headEnd type="none" w="med" len="med"/>
                  <a:tailEnd type="none" w="med" len="med"/>
                </a:ln>
                <a:effectLst/>
              </p:spPr>
              <p:txBody>
                <a:bodyPr rot="0" spcFirstLastPara="0" vert="horz" wrap="square" lIns="243840" tIns="195072" rIns="243840" bIns="195072" numCol="1" spcCol="0" rtlCol="0" fromWordArt="0" anchor="t" anchorCtr="0" forceAA="0" compatLnSpc="1">
                  <a:prstTxWarp prst="textNoShape">
                    <a:avLst/>
                  </a:prstTxWarp>
                  <a:noAutofit/>
                </a:bodyPr>
                <a:lstStyle/>
                <a:p>
                  <a:pPr algn="ctr" defTabSz="1243234" fontAlgn="base">
                    <a:lnSpc>
                      <a:spcPct val="90000"/>
                    </a:lnSpc>
                    <a:spcBef>
                      <a:spcPct val="0"/>
                    </a:spcBef>
                    <a:spcAft>
                      <a:spcPct val="0"/>
                    </a:spcAft>
                    <a:defRPr/>
                  </a:pPr>
                  <a:endParaRPr lang="en-US" sz="3200" kern="0">
                    <a:gradFill>
                      <a:gsLst>
                        <a:gs pos="0">
                          <a:srgbClr val="FFFFFF"/>
                        </a:gs>
                        <a:gs pos="100000">
                          <a:srgbClr val="FFFFFF"/>
                        </a:gs>
                      </a:gsLst>
                      <a:lin ang="5400000" scaled="0"/>
                    </a:gradFill>
                    <a:latin typeface="CiscoSansTT ExtraLight"/>
                    <a:ea typeface="Segoe UI" pitchFamily="34" charset="0"/>
                    <a:cs typeface="Segoe UI" pitchFamily="34" charset="0"/>
                    <a:sym typeface="Arial"/>
                  </a:endParaRPr>
                </a:p>
              </p:txBody>
            </p:sp>
            <p:sp>
              <p:nvSpPr>
                <p:cNvPr id="72" name="Rounded Rectangle 937">
                  <a:extLst>
                    <a:ext uri="{FF2B5EF4-FFF2-40B4-BE49-F238E27FC236}">
                      <a16:creationId xmlns:a16="http://schemas.microsoft.com/office/drawing/2014/main" id="{D5AD9050-EB49-414F-AFDB-7F15B02DBEE9}"/>
                    </a:ext>
                  </a:extLst>
                </p:cNvPr>
                <p:cNvSpPr/>
                <p:nvPr/>
              </p:nvSpPr>
              <p:spPr bwMode="auto">
                <a:xfrm>
                  <a:off x="3776667" y="4041211"/>
                  <a:ext cx="254522" cy="116089"/>
                </a:xfrm>
                <a:custGeom>
                  <a:avLst/>
                  <a:gdLst>
                    <a:gd name="connsiteX0" fmla="*/ 0 w 2324706"/>
                    <a:gd name="connsiteY0" fmla="*/ 160805 h 964811"/>
                    <a:gd name="connsiteX1" fmla="*/ 160805 w 2324706"/>
                    <a:gd name="connsiteY1" fmla="*/ 0 h 964811"/>
                    <a:gd name="connsiteX2" fmla="*/ 2163901 w 2324706"/>
                    <a:gd name="connsiteY2" fmla="*/ 0 h 964811"/>
                    <a:gd name="connsiteX3" fmla="*/ 2324706 w 2324706"/>
                    <a:gd name="connsiteY3" fmla="*/ 16080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0 w 2324706"/>
                    <a:gd name="connsiteY0" fmla="*/ 160805 h 964811"/>
                    <a:gd name="connsiteX1" fmla="*/ 160805 w 2324706"/>
                    <a:gd name="connsiteY1" fmla="*/ 0 h 964811"/>
                    <a:gd name="connsiteX2" fmla="*/ 2102941 w 2324706"/>
                    <a:gd name="connsiteY2" fmla="*/ 0 h 964811"/>
                    <a:gd name="connsiteX3" fmla="*/ 2324706 w 2324706"/>
                    <a:gd name="connsiteY3" fmla="*/ 16080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0 w 2324706"/>
                    <a:gd name="connsiteY0" fmla="*/ 160805 h 964811"/>
                    <a:gd name="connsiteX1" fmla="*/ 160805 w 2324706"/>
                    <a:gd name="connsiteY1" fmla="*/ 0 h 964811"/>
                    <a:gd name="connsiteX2" fmla="*/ 2102941 w 2324706"/>
                    <a:gd name="connsiteY2" fmla="*/ 0 h 964811"/>
                    <a:gd name="connsiteX3" fmla="*/ 2233266 w 2324706"/>
                    <a:gd name="connsiteY3" fmla="*/ 15318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0 w 2324706"/>
                    <a:gd name="connsiteY0" fmla="*/ 160805 h 964811"/>
                    <a:gd name="connsiteX1" fmla="*/ 252245 w 2324706"/>
                    <a:gd name="connsiteY1" fmla="*/ 7620 h 964811"/>
                    <a:gd name="connsiteX2" fmla="*/ 2102941 w 2324706"/>
                    <a:gd name="connsiteY2" fmla="*/ 0 h 964811"/>
                    <a:gd name="connsiteX3" fmla="*/ 2233266 w 2324706"/>
                    <a:gd name="connsiteY3" fmla="*/ 15318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91440 w 2324706"/>
                    <a:gd name="connsiteY0" fmla="*/ 168425 h 964811"/>
                    <a:gd name="connsiteX1" fmla="*/ 252245 w 2324706"/>
                    <a:gd name="connsiteY1" fmla="*/ 7620 h 964811"/>
                    <a:gd name="connsiteX2" fmla="*/ 2102941 w 2324706"/>
                    <a:gd name="connsiteY2" fmla="*/ 0 h 964811"/>
                    <a:gd name="connsiteX3" fmla="*/ 2233266 w 2324706"/>
                    <a:gd name="connsiteY3" fmla="*/ 15318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91440 w 2324706"/>
                    <a:gd name="connsiteY8" fmla="*/ 168425 h 964811"/>
                    <a:gd name="connsiteX0" fmla="*/ 129540 w 2362806"/>
                    <a:gd name="connsiteY0" fmla="*/ 168425 h 964811"/>
                    <a:gd name="connsiteX1" fmla="*/ 290345 w 2362806"/>
                    <a:gd name="connsiteY1" fmla="*/ 7620 h 964811"/>
                    <a:gd name="connsiteX2" fmla="*/ 2141041 w 2362806"/>
                    <a:gd name="connsiteY2" fmla="*/ 0 h 964811"/>
                    <a:gd name="connsiteX3" fmla="*/ 2271366 w 2362806"/>
                    <a:gd name="connsiteY3" fmla="*/ 153185 h 964811"/>
                    <a:gd name="connsiteX4" fmla="*/ 2362806 w 2362806"/>
                    <a:gd name="connsiteY4" fmla="*/ 804006 h 964811"/>
                    <a:gd name="connsiteX5" fmla="*/ 2202001 w 2362806"/>
                    <a:gd name="connsiteY5" fmla="*/ 964811 h 964811"/>
                    <a:gd name="connsiteX6" fmla="*/ 198905 w 2362806"/>
                    <a:gd name="connsiteY6" fmla="*/ 964811 h 964811"/>
                    <a:gd name="connsiteX7" fmla="*/ 0 w 2362806"/>
                    <a:gd name="connsiteY7" fmla="*/ 796386 h 964811"/>
                    <a:gd name="connsiteX8" fmla="*/ 129540 w 2362806"/>
                    <a:gd name="connsiteY8" fmla="*/ 168425 h 964811"/>
                    <a:gd name="connsiteX0" fmla="*/ 129540 w 2408526"/>
                    <a:gd name="connsiteY0" fmla="*/ 168425 h 964811"/>
                    <a:gd name="connsiteX1" fmla="*/ 290345 w 2408526"/>
                    <a:gd name="connsiteY1" fmla="*/ 7620 h 964811"/>
                    <a:gd name="connsiteX2" fmla="*/ 2141041 w 2408526"/>
                    <a:gd name="connsiteY2" fmla="*/ 0 h 964811"/>
                    <a:gd name="connsiteX3" fmla="*/ 2271366 w 2408526"/>
                    <a:gd name="connsiteY3" fmla="*/ 153185 h 964811"/>
                    <a:gd name="connsiteX4" fmla="*/ 2408526 w 2408526"/>
                    <a:gd name="connsiteY4" fmla="*/ 796386 h 964811"/>
                    <a:gd name="connsiteX5" fmla="*/ 2202001 w 2408526"/>
                    <a:gd name="connsiteY5" fmla="*/ 964811 h 964811"/>
                    <a:gd name="connsiteX6" fmla="*/ 198905 w 2408526"/>
                    <a:gd name="connsiteY6" fmla="*/ 964811 h 964811"/>
                    <a:gd name="connsiteX7" fmla="*/ 0 w 2408526"/>
                    <a:gd name="connsiteY7" fmla="*/ 796386 h 964811"/>
                    <a:gd name="connsiteX8" fmla="*/ 129540 w 2408526"/>
                    <a:gd name="connsiteY8" fmla="*/ 168425 h 964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8526" h="964811">
                      <a:moveTo>
                        <a:pt x="129540" y="168425"/>
                      </a:moveTo>
                      <a:cubicBezTo>
                        <a:pt x="129540" y="79615"/>
                        <a:pt x="201535" y="7620"/>
                        <a:pt x="290345" y="7620"/>
                      </a:cubicBezTo>
                      <a:lnTo>
                        <a:pt x="2141041" y="0"/>
                      </a:lnTo>
                      <a:cubicBezTo>
                        <a:pt x="2229851" y="0"/>
                        <a:pt x="2271366" y="64375"/>
                        <a:pt x="2271366" y="153185"/>
                      </a:cubicBezTo>
                      <a:lnTo>
                        <a:pt x="2408526" y="796386"/>
                      </a:lnTo>
                      <a:cubicBezTo>
                        <a:pt x="2408526" y="885196"/>
                        <a:pt x="2290811" y="964811"/>
                        <a:pt x="2202001" y="964811"/>
                      </a:cubicBezTo>
                      <a:lnTo>
                        <a:pt x="198905" y="964811"/>
                      </a:lnTo>
                      <a:cubicBezTo>
                        <a:pt x="110095" y="964811"/>
                        <a:pt x="0" y="885196"/>
                        <a:pt x="0" y="796386"/>
                      </a:cubicBezTo>
                      <a:lnTo>
                        <a:pt x="129540" y="168425"/>
                      </a:lnTo>
                      <a:close/>
                    </a:path>
                  </a:pathLst>
                </a:custGeom>
                <a:solidFill>
                  <a:srgbClr val="FFFFFF">
                    <a:lumMod val="85000"/>
                  </a:srgbClr>
                </a:solidFill>
                <a:ln w="6350">
                  <a:solidFill>
                    <a:srgbClr val="FFFFFF">
                      <a:lumMod val="65000"/>
                    </a:srgbClr>
                  </a:solidFill>
                  <a:round/>
                  <a:headEnd/>
                  <a:tailEnd/>
                </a:ln>
              </p:spPr>
              <p:txBody>
                <a:bodyPr vert="horz" wrap="square" lIns="121920" tIns="60960" rIns="121920" bIns="60960" numCol="1" anchor="t" anchorCtr="0" compatLnSpc="1">
                  <a:prstTxWarp prst="textNoShape">
                    <a:avLst/>
                  </a:prstTxWarp>
                  <a:noAutofit/>
                </a:bodyPr>
                <a:lstStyle/>
                <a:p>
                  <a:pPr defTabSz="1219140" fontAlgn="base">
                    <a:spcBef>
                      <a:spcPct val="0"/>
                    </a:spcBef>
                    <a:spcAft>
                      <a:spcPct val="0"/>
                    </a:spcAft>
                    <a:defRPr/>
                  </a:pPr>
                  <a:endParaRPr lang="en-US" sz="2400" kern="0">
                    <a:solidFill>
                      <a:srgbClr val="505050"/>
                    </a:solidFill>
                    <a:latin typeface="CiscoSansTT ExtraLight"/>
                    <a:ea typeface="ＭＳ Ｐゴシック" charset="0"/>
                    <a:cs typeface="Arial"/>
                    <a:sym typeface="Arial"/>
                  </a:endParaRPr>
                </a:p>
              </p:txBody>
            </p:sp>
            <p:sp>
              <p:nvSpPr>
                <p:cNvPr id="73" name="Freeform 929">
                  <a:extLst>
                    <a:ext uri="{FF2B5EF4-FFF2-40B4-BE49-F238E27FC236}">
                      <a16:creationId xmlns:a16="http://schemas.microsoft.com/office/drawing/2014/main" id="{4A24C9DC-1130-4FD7-8528-2F396EF60B43}"/>
                    </a:ext>
                  </a:extLst>
                </p:cNvPr>
                <p:cNvSpPr>
                  <a:spLocks/>
                </p:cNvSpPr>
                <p:nvPr/>
              </p:nvSpPr>
              <p:spPr bwMode="auto">
                <a:xfrm>
                  <a:off x="3794414" y="4028495"/>
                  <a:ext cx="217281" cy="218760"/>
                </a:xfrm>
                <a:custGeom>
                  <a:avLst/>
                  <a:gdLst>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29379 w 553405"/>
                    <a:gd name="connsiteY52" fmla="*/ 17047 h 551547"/>
                    <a:gd name="connsiteX53" fmla="*/ 142943 w 553405"/>
                    <a:gd name="connsiteY53" fmla="*/ 13520 h 551547"/>
                    <a:gd name="connsiteX54" fmla="*/ 157028 w 553405"/>
                    <a:gd name="connsiteY54" fmla="*/ 10581 h 551547"/>
                    <a:gd name="connsiteX55" fmla="*/ 171114 w 553405"/>
                    <a:gd name="connsiteY55" fmla="*/ 8230 h 551547"/>
                    <a:gd name="connsiteX56" fmla="*/ 189894 w 553405"/>
                    <a:gd name="connsiteY56" fmla="*/ 5291 h 551547"/>
                    <a:gd name="connsiteX57" fmla="*/ 209197 w 553405"/>
                    <a:gd name="connsiteY57" fmla="*/ 3527 h 551547"/>
                    <a:gd name="connsiteX58" fmla="*/ 227977 w 553405"/>
                    <a:gd name="connsiteY58" fmla="*/ 1764 h 551547"/>
                    <a:gd name="connsiteX59" fmla="*/ 246758 w 553405"/>
                    <a:gd name="connsiteY59" fmla="*/ 588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42943 w 553405"/>
                    <a:gd name="connsiteY52" fmla="*/ 13520 h 551547"/>
                    <a:gd name="connsiteX53" fmla="*/ 157028 w 553405"/>
                    <a:gd name="connsiteY53" fmla="*/ 10581 h 551547"/>
                    <a:gd name="connsiteX54" fmla="*/ 171114 w 553405"/>
                    <a:gd name="connsiteY54" fmla="*/ 8230 h 551547"/>
                    <a:gd name="connsiteX55" fmla="*/ 189894 w 553405"/>
                    <a:gd name="connsiteY55" fmla="*/ 5291 h 551547"/>
                    <a:gd name="connsiteX56" fmla="*/ 209197 w 553405"/>
                    <a:gd name="connsiteY56" fmla="*/ 3527 h 551547"/>
                    <a:gd name="connsiteX57" fmla="*/ 227977 w 553405"/>
                    <a:gd name="connsiteY57" fmla="*/ 1764 h 551547"/>
                    <a:gd name="connsiteX58" fmla="*/ 246758 w 553405"/>
                    <a:gd name="connsiteY58" fmla="*/ 588 h 551547"/>
                    <a:gd name="connsiteX59" fmla="*/ 265539 w 553405"/>
                    <a:gd name="connsiteY59"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57028 w 553405"/>
                    <a:gd name="connsiteY52" fmla="*/ 10581 h 551547"/>
                    <a:gd name="connsiteX53" fmla="*/ 171114 w 553405"/>
                    <a:gd name="connsiteY53" fmla="*/ 8230 h 551547"/>
                    <a:gd name="connsiteX54" fmla="*/ 189894 w 553405"/>
                    <a:gd name="connsiteY54" fmla="*/ 5291 h 551547"/>
                    <a:gd name="connsiteX55" fmla="*/ 209197 w 553405"/>
                    <a:gd name="connsiteY55" fmla="*/ 3527 h 551547"/>
                    <a:gd name="connsiteX56" fmla="*/ 227977 w 553405"/>
                    <a:gd name="connsiteY56" fmla="*/ 1764 h 551547"/>
                    <a:gd name="connsiteX57" fmla="*/ 246758 w 553405"/>
                    <a:gd name="connsiteY57" fmla="*/ 588 h 551547"/>
                    <a:gd name="connsiteX58" fmla="*/ 265539 w 553405"/>
                    <a:gd name="connsiteY58"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71114 w 553405"/>
                    <a:gd name="connsiteY52" fmla="*/ 8230 h 551547"/>
                    <a:gd name="connsiteX53" fmla="*/ 189894 w 553405"/>
                    <a:gd name="connsiteY53" fmla="*/ 5291 h 551547"/>
                    <a:gd name="connsiteX54" fmla="*/ 209197 w 553405"/>
                    <a:gd name="connsiteY54" fmla="*/ 3527 h 551547"/>
                    <a:gd name="connsiteX55" fmla="*/ 227977 w 553405"/>
                    <a:gd name="connsiteY55" fmla="*/ 1764 h 551547"/>
                    <a:gd name="connsiteX56" fmla="*/ 246758 w 553405"/>
                    <a:gd name="connsiteY56" fmla="*/ 588 h 551547"/>
                    <a:gd name="connsiteX57" fmla="*/ 265539 w 553405"/>
                    <a:gd name="connsiteY57"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89894 w 553405"/>
                    <a:gd name="connsiteY52" fmla="*/ 5291 h 551547"/>
                    <a:gd name="connsiteX53" fmla="*/ 209197 w 553405"/>
                    <a:gd name="connsiteY53" fmla="*/ 3527 h 551547"/>
                    <a:gd name="connsiteX54" fmla="*/ 227977 w 553405"/>
                    <a:gd name="connsiteY54" fmla="*/ 1764 h 551547"/>
                    <a:gd name="connsiteX55" fmla="*/ 246758 w 553405"/>
                    <a:gd name="connsiteY55" fmla="*/ 588 h 551547"/>
                    <a:gd name="connsiteX56" fmla="*/ 265539 w 553405"/>
                    <a:gd name="connsiteY56"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09197 w 553405"/>
                    <a:gd name="connsiteY52" fmla="*/ 3527 h 551547"/>
                    <a:gd name="connsiteX53" fmla="*/ 227977 w 553405"/>
                    <a:gd name="connsiteY53" fmla="*/ 1764 h 551547"/>
                    <a:gd name="connsiteX54" fmla="*/ 246758 w 553405"/>
                    <a:gd name="connsiteY54" fmla="*/ 588 h 551547"/>
                    <a:gd name="connsiteX55" fmla="*/ 265539 w 553405"/>
                    <a:gd name="connsiteY55"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27977 w 553405"/>
                    <a:gd name="connsiteY52" fmla="*/ 1764 h 551547"/>
                    <a:gd name="connsiteX53" fmla="*/ 246758 w 553405"/>
                    <a:gd name="connsiteY53" fmla="*/ 588 h 551547"/>
                    <a:gd name="connsiteX54" fmla="*/ 265539 w 553405"/>
                    <a:gd name="connsiteY54"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46758 w 553405"/>
                    <a:gd name="connsiteY52" fmla="*/ 588 h 551547"/>
                    <a:gd name="connsiteX53" fmla="*/ 265539 w 553405"/>
                    <a:gd name="connsiteY53"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65539 w 553405"/>
                    <a:gd name="connsiteY52" fmla="*/ 0 h 551547"/>
                    <a:gd name="connsiteX0" fmla="*/ 115293 w 553405"/>
                    <a:gd name="connsiteY0" fmla="*/ 20574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0" fmla="*/ 115293 w 553405"/>
                    <a:gd name="connsiteY0" fmla="*/ 19986 h 550959"/>
                    <a:gd name="connsiteX1" fmla="*/ 303622 w 553405"/>
                    <a:gd name="connsiteY1" fmla="*/ 0 h 550959"/>
                    <a:gd name="connsiteX2" fmla="*/ 322925 w 553405"/>
                    <a:gd name="connsiteY2" fmla="*/ 1176 h 550959"/>
                    <a:gd name="connsiteX3" fmla="*/ 344835 w 553405"/>
                    <a:gd name="connsiteY3" fmla="*/ 2939 h 550959"/>
                    <a:gd name="connsiteX4" fmla="*/ 366746 w 553405"/>
                    <a:gd name="connsiteY4" fmla="*/ 5290 h 550959"/>
                    <a:gd name="connsiteX5" fmla="*/ 388657 w 553405"/>
                    <a:gd name="connsiteY5" fmla="*/ 8230 h 550959"/>
                    <a:gd name="connsiteX6" fmla="*/ 411090 w 553405"/>
                    <a:gd name="connsiteY6" fmla="*/ 12932 h 550959"/>
                    <a:gd name="connsiteX7" fmla="*/ 432479 w 553405"/>
                    <a:gd name="connsiteY7" fmla="*/ 18223 h 550959"/>
                    <a:gd name="connsiteX8" fmla="*/ 453868 w 553405"/>
                    <a:gd name="connsiteY8" fmla="*/ 24101 h 550959"/>
                    <a:gd name="connsiteX9" fmla="*/ 474735 w 553405"/>
                    <a:gd name="connsiteY9" fmla="*/ 31743 h 550959"/>
                    <a:gd name="connsiteX10" fmla="*/ 495603 w 553405"/>
                    <a:gd name="connsiteY10" fmla="*/ 40560 h 550959"/>
                    <a:gd name="connsiteX11" fmla="*/ 499776 w 553405"/>
                    <a:gd name="connsiteY11" fmla="*/ 42912 h 550959"/>
                    <a:gd name="connsiteX12" fmla="*/ 502907 w 553405"/>
                    <a:gd name="connsiteY12" fmla="*/ 45851 h 550959"/>
                    <a:gd name="connsiteX13" fmla="*/ 503950 w 553405"/>
                    <a:gd name="connsiteY13" fmla="*/ 47614 h 550959"/>
                    <a:gd name="connsiteX14" fmla="*/ 504993 w 553405"/>
                    <a:gd name="connsiteY14" fmla="*/ 49378 h 550959"/>
                    <a:gd name="connsiteX15" fmla="*/ 505515 w 553405"/>
                    <a:gd name="connsiteY15" fmla="*/ 51729 h 550959"/>
                    <a:gd name="connsiteX16" fmla="*/ 506037 w 553405"/>
                    <a:gd name="connsiteY16" fmla="*/ 55256 h 550959"/>
                    <a:gd name="connsiteX17" fmla="*/ 520122 w 553405"/>
                    <a:gd name="connsiteY17" fmla="*/ 170471 h 550959"/>
                    <a:gd name="connsiteX18" fmla="*/ 526904 w 553405"/>
                    <a:gd name="connsiteY18" fmla="*/ 228079 h 550959"/>
                    <a:gd name="connsiteX19" fmla="*/ 534208 w 553405"/>
                    <a:gd name="connsiteY19" fmla="*/ 286274 h 550959"/>
                    <a:gd name="connsiteX20" fmla="*/ 540990 w 553405"/>
                    <a:gd name="connsiteY20" fmla="*/ 352699 h 550959"/>
                    <a:gd name="connsiteX21" fmla="*/ 544120 w 553405"/>
                    <a:gd name="connsiteY21" fmla="*/ 386793 h 550959"/>
                    <a:gd name="connsiteX22" fmla="*/ 546728 w 553405"/>
                    <a:gd name="connsiteY22" fmla="*/ 419712 h 550959"/>
                    <a:gd name="connsiteX23" fmla="*/ 548815 w 553405"/>
                    <a:gd name="connsiteY23" fmla="*/ 453806 h 550959"/>
                    <a:gd name="connsiteX24" fmla="*/ 550902 w 553405"/>
                    <a:gd name="connsiteY24" fmla="*/ 486725 h 550959"/>
                    <a:gd name="connsiteX25" fmla="*/ 552467 w 553405"/>
                    <a:gd name="connsiteY25" fmla="*/ 520819 h 550959"/>
                    <a:gd name="connsiteX26" fmla="*/ 553405 w 553405"/>
                    <a:gd name="connsiteY26" fmla="*/ 550959 h 550959"/>
                    <a:gd name="connsiteX27" fmla="*/ 0 w 553405"/>
                    <a:gd name="connsiteY27" fmla="*/ 550959 h 550959"/>
                    <a:gd name="connsiteX28" fmla="*/ 0 w 553405"/>
                    <a:gd name="connsiteY28" fmla="*/ 536690 h 550959"/>
                    <a:gd name="connsiteX29" fmla="*/ 1044 w 553405"/>
                    <a:gd name="connsiteY29" fmla="*/ 512589 h 550959"/>
                    <a:gd name="connsiteX30" fmla="*/ 2609 w 553405"/>
                    <a:gd name="connsiteY30" fmla="*/ 479083 h 550959"/>
                    <a:gd name="connsiteX31" fmla="*/ 5217 w 553405"/>
                    <a:gd name="connsiteY31" fmla="*/ 444988 h 550959"/>
                    <a:gd name="connsiteX32" fmla="*/ 10434 w 553405"/>
                    <a:gd name="connsiteY32" fmla="*/ 377976 h 550959"/>
                    <a:gd name="connsiteX33" fmla="*/ 17216 w 553405"/>
                    <a:gd name="connsiteY33" fmla="*/ 305672 h 550959"/>
                    <a:gd name="connsiteX34" fmla="*/ 25041 w 553405"/>
                    <a:gd name="connsiteY34" fmla="*/ 233369 h 550959"/>
                    <a:gd name="connsiteX35" fmla="*/ 34432 w 553405"/>
                    <a:gd name="connsiteY35" fmla="*/ 155188 h 550959"/>
                    <a:gd name="connsiteX36" fmla="*/ 44344 w 553405"/>
                    <a:gd name="connsiteY36" fmla="*/ 75830 h 550959"/>
                    <a:gd name="connsiteX37" fmla="*/ 45909 w 553405"/>
                    <a:gd name="connsiteY37" fmla="*/ 67601 h 550959"/>
                    <a:gd name="connsiteX38" fmla="*/ 46430 w 553405"/>
                    <a:gd name="connsiteY38" fmla="*/ 64074 h 550959"/>
                    <a:gd name="connsiteX39" fmla="*/ 46430 w 553405"/>
                    <a:gd name="connsiteY39" fmla="*/ 59959 h 550959"/>
                    <a:gd name="connsiteX40" fmla="*/ 46952 w 553405"/>
                    <a:gd name="connsiteY40" fmla="*/ 54668 h 550959"/>
                    <a:gd name="connsiteX41" fmla="*/ 47995 w 553405"/>
                    <a:gd name="connsiteY41" fmla="*/ 51141 h 550959"/>
                    <a:gd name="connsiteX42" fmla="*/ 49561 w 553405"/>
                    <a:gd name="connsiteY42" fmla="*/ 48202 h 550959"/>
                    <a:gd name="connsiteX43" fmla="*/ 51126 w 553405"/>
                    <a:gd name="connsiteY43" fmla="*/ 45851 h 550959"/>
                    <a:gd name="connsiteX44" fmla="*/ 53212 w 553405"/>
                    <a:gd name="connsiteY44" fmla="*/ 43499 h 550959"/>
                    <a:gd name="connsiteX45" fmla="*/ 55299 w 553405"/>
                    <a:gd name="connsiteY45" fmla="*/ 41736 h 550959"/>
                    <a:gd name="connsiteX46" fmla="*/ 61038 w 553405"/>
                    <a:gd name="connsiteY46" fmla="*/ 38797 h 550959"/>
                    <a:gd name="connsiteX47" fmla="*/ 74601 w 553405"/>
                    <a:gd name="connsiteY47" fmla="*/ 32919 h 550959"/>
                    <a:gd name="connsiteX48" fmla="*/ 88165 w 553405"/>
                    <a:gd name="connsiteY48" fmla="*/ 28216 h 550959"/>
                    <a:gd name="connsiteX49" fmla="*/ 101208 w 553405"/>
                    <a:gd name="connsiteY49" fmla="*/ 23513 h 550959"/>
                    <a:gd name="connsiteX50" fmla="*/ 115293 w 553405"/>
                    <a:gd name="connsiteY50" fmla="*/ 19986 h 550959"/>
                    <a:gd name="connsiteX0" fmla="*/ 115293 w 553405"/>
                    <a:gd name="connsiteY0" fmla="*/ 18810 h 549783"/>
                    <a:gd name="connsiteX1" fmla="*/ 322925 w 553405"/>
                    <a:gd name="connsiteY1" fmla="*/ 0 h 549783"/>
                    <a:gd name="connsiteX2" fmla="*/ 344835 w 553405"/>
                    <a:gd name="connsiteY2" fmla="*/ 1763 h 549783"/>
                    <a:gd name="connsiteX3" fmla="*/ 366746 w 553405"/>
                    <a:gd name="connsiteY3" fmla="*/ 4114 h 549783"/>
                    <a:gd name="connsiteX4" fmla="*/ 388657 w 553405"/>
                    <a:gd name="connsiteY4" fmla="*/ 7054 h 549783"/>
                    <a:gd name="connsiteX5" fmla="*/ 411090 w 553405"/>
                    <a:gd name="connsiteY5" fmla="*/ 11756 h 549783"/>
                    <a:gd name="connsiteX6" fmla="*/ 432479 w 553405"/>
                    <a:gd name="connsiteY6" fmla="*/ 17047 h 549783"/>
                    <a:gd name="connsiteX7" fmla="*/ 453868 w 553405"/>
                    <a:gd name="connsiteY7" fmla="*/ 22925 h 549783"/>
                    <a:gd name="connsiteX8" fmla="*/ 474735 w 553405"/>
                    <a:gd name="connsiteY8" fmla="*/ 30567 h 549783"/>
                    <a:gd name="connsiteX9" fmla="*/ 495603 w 553405"/>
                    <a:gd name="connsiteY9" fmla="*/ 39384 h 549783"/>
                    <a:gd name="connsiteX10" fmla="*/ 499776 w 553405"/>
                    <a:gd name="connsiteY10" fmla="*/ 41736 h 549783"/>
                    <a:gd name="connsiteX11" fmla="*/ 502907 w 553405"/>
                    <a:gd name="connsiteY11" fmla="*/ 44675 h 549783"/>
                    <a:gd name="connsiteX12" fmla="*/ 503950 w 553405"/>
                    <a:gd name="connsiteY12" fmla="*/ 46438 h 549783"/>
                    <a:gd name="connsiteX13" fmla="*/ 504993 w 553405"/>
                    <a:gd name="connsiteY13" fmla="*/ 48202 h 549783"/>
                    <a:gd name="connsiteX14" fmla="*/ 505515 w 553405"/>
                    <a:gd name="connsiteY14" fmla="*/ 50553 h 549783"/>
                    <a:gd name="connsiteX15" fmla="*/ 506037 w 553405"/>
                    <a:gd name="connsiteY15" fmla="*/ 54080 h 549783"/>
                    <a:gd name="connsiteX16" fmla="*/ 520122 w 553405"/>
                    <a:gd name="connsiteY16" fmla="*/ 169295 h 549783"/>
                    <a:gd name="connsiteX17" fmla="*/ 526904 w 553405"/>
                    <a:gd name="connsiteY17" fmla="*/ 226903 h 549783"/>
                    <a:gd name="connsiteX18" fmla="*/ 534208 w 553405"/>
                    <a:gd name="connsiteY18" fmla="*/ 285098 h 549783"/>
                    <a:gd name="connsiteX19" fmla="*/ 540990 w 553405"/>
                    <a:gd name="connsiteY19" fmla="*/ 351523 h 549783"/>
                    <a:gd name="connsiteX20" fmla="*/ 544120 w 553405"/>
                    <a:gd name="connsiteY20" fmla="*/ 385617 h 549783"/>
                    <a:gd name="connsiteX21" fmla="*/ 546728 w 553405"/>
                    <a:gd name="connsiteY21" fmla="*/ 418536 h 549783"/>
                    <a:gd name="connsiteX22" fmla="*/ 548815 w 553405"/>
                    <a:gd name="connsiteY22" fmla="*/ 452630 h 549783"/>
                    <a:gd name="connsiteX23" fmla="*/ 550902 w 553405"/>
                    <a:gd name="connsiteY23" fmla="*/ 485549 h 549783"/>
                    <a:gd name="connsiteX24" fmla="*/ 552467 w 553405"/>
                    <a:gd name="connsiteY24" fmla="*/ 519643 h 549783"/>
                    <a:gd name="connsiteX25" fmla="*/ 553405 w 553405"/>
                    <a:gd name="connsiteY25" fmla="*/ 549783 h 549783"/>
                    <a:gd name="connsiteX26" fmla="*/ 0 w 553405"/>
                    <a:gd name="connsiteY26" fmla="*/ 549783 h 549783"/>
                    <a:gd name="connsiteX27" fmla="*/ 0 w 553405"/>
                    <a:gd name="connsiteY27" fmla="*/ 535514 h 549783"/>
                    <a:gd name="connsiteX28" fmla="*/ 1044 w 553405"/>
                    <a:gd name="connsiteY28" fmla="*/ 511413 h 549783"/>
                    <a:gd name="connsiteX29" fmla="*/ 2609 w 553405"/>
                    <a:gd name="connsiteY29" fmla="*/ 477907 h 549783"/>
                    <a:gd name="connsiteX30" fmla="*/ 5217 w 553405"/>
                    <a:gd name="connsiteY30" fmla="*/ 443812 h 549783"/>
                    <a:gd name="connsiteX31" fmla="*/ 10434 w 553405"/>
                    <a:gd name="connsiteY31" fmla="*/ 376800 h 549783"/>
                    <a:gd name="connsiteX32" fmla="*/ 17216 w 553405"/>
                    <a:gd name="connsiteY32" fmla="*/ 304496 h 549783"/>
                    <a:gd name="connsiteX33" fmla="*/ 25041 w 553405"/>
                    <a:gd name="connsiteY33" fmla="*/ 232193 h 549783"/>
                    <a:gd name="connsiteX34" fmla="*/ 34432 w 553405"/>
                    <a:gd name="connsiteY34" fmla="*/ 154012 h 549783"/>
                    <a:gd name="connsiteX35" fmla="*/ 44344 w 553405"/>
                    <a:gd name="connsiteY35" fmla="*/ 74654 h 549783"/>
                    <a:gd name="connsiteX36" fmla="*/ 45909 w 553405"/>
                    <a:gd name="connsiteY36" fmla="*/ 66425 h 549783"/>
                    <a:gd name="connsiteX37" fmla="*/ 46430 w 553405"/>
                    <a:gd name="connsiteY37" fmla="*/ 62898 h 549783"/>
                    <a:gd name="connsiteX38" fmla="*/ 46430 w 553405"/>
                    <a:gd name="connsiteY38" fmla="*/ 58783 h 549783"/>
                    <a:gd name="connsiteX39" fmla="*/ 46952 w 553405"/>
                    <a:gd name="connsiteY39" fmla="*/ 53492 h 549783"/>
                    <a:gd name="connsiteX40" fmla="*/ 47995 w 553405"/>
                    <a:gd name="connsiteY40" fmla="*/ 49965 h 549783"/>
                    <a:gd name="connsiteX41" fmla="*/ 49561 w 553405"/>
                    <a:gd name="connsiteY41" fmla="*/ 47026 h 549783"/>
                    <a:gd name="connsiteX42" fmla="*/ 51126 w 553405"/>
                    <a:gd name="connsiteY42" fmla="*/ 44675 h 549783"/>
                    <a:gd name="connsiteX43" fmla="*/ 53212 w 553405"/>
                    <a:gd name="connsiteY43" fmla="*/ 42323 h 549783"/>
                    <a:gd name="connsiteX44" fmla="*/ 55299 w 553405"/>
                    <a:gd name="connsiteY44" fmla="*/ 40560 h 549783"/>
                    <a:gd name="connsiteX45" fmla="*/ 61038 w 553405"/>
                    <a:gd name="connsiteY45" fmla="*/ 37621 h 549783"/>
                    <a:gd name="connsiteX46" fmla="*/ 74601 w 553405"/>
                    <a:gd name="connsiteY46" fmla="*/ 31743 h 549783"/>
                    <a:gd name="connsiteX47" fmla="*/ 88165 w 553405"/>
                    <a:gd name="connsiteY47" fmla="*/ 27040 h 549783"/>
                    <a:gd name="connsiteX48" fmla="*/ 101208 w 553405"/>
                    <a:gd name="connsiteY48" fmla="*/ 22337 h 549783"/>
                    <a:gd name="connsiteX49" fmla="*/ 115293 w 553405"/>
                    <a:gd name="connsiteY49" fmla="*/ 18810 h 549783"/>
                    <a:gd name="connsiteX0" fmla="*/ 115293 w 553405"/>
                    <a:gd name="connsiteY0" fmla="*/ 17047 h 548020"/>
                    <a:gd name="connsiteX1" fmla="*/ 344835 w 553405"/>
                    <a:gd name="connsiteY1" fmla="*/ 0 h 548020"/>
                    <a:gd name="connsiteX2" fmla="*/ 366746 w 553405"/>
                    <a:gd name="connsiteY2" fmla="*/ 2351 h 548020"/>
                    <a:gd name="connsiteX3" fmla="*/ 388657 w 553405"/>
                    <a:gd name="connsiteY3" fmla="*/ 5291 h 548020"/>
                    <a:gd name="connsiteX4" fmla="*/ 411090 w 553405"/>
                    <a:gd name="connsiteY4" fmla="*/ 9993 h 548020"/>
                    <a:gd name="connsiteX5" fmla="*/ 432479 w 553405"/>
                    <a:gd name="connsiteY5" fmla="*/ 15284 h 548020"/>
                    <a:gd name="connsiteX6" fmla="*/ 453868 w 553405"/>
                    <a:gd name="connsiteY6" fmla="*/ 21162 h 548020"/>
                    <a:gd name="connsiteX7" fmla="*/ 474735 w 553405"/>
                    <a:gd name="connsiteY7" fmla="*/ 28804 h 548020"/>
                    <a:gd name="connsiteX8" fmla="*/ 495603 w 553405"/>
                    <a:gd name="connsiteY8" fmla="*/ 37621 h 548020"/>
                    <a:gd name="connsiteX9" fmla="*/ 499776 w 553405"/>
                    <a:gd name="connsiteY9" fmla="*/ 39973 h 548020"/>
                    <a:gd name="connsiteX10" fmla="*/ 502907 w 553405"/>
                    <a:gd name="connsiteY10" fmla="*/ 42912 h 548020"/>
                    <a:gd name="connsiteX11" fmla="*/ 503950 w 553405"/>
                    <a:gd name="connsiteY11" fmla="*/ 44675 h 548020"/>
                    <a:gd name="connsiteX12" fmla="*/ 504993 w 553405"/>
                    <a:gd name="connsiteY12" fmla="*/ 46439 h 548020"/>
                    <a:gd name="connsiteX13" fmla="*/ 505515 w 553405"/>
                    <a:gd name="connsiteY13" fmla="*/ 48790 h 548020"/>
                    <a:gd name="connsiteX14" fmla="*/ 506037 w 553405"/>
                    <a:gd name="connsiteY14" fmla="*/ 52317 h 548020"/>
                    <a:gd name="connsiteX15" fmla="*/ 520122 w 553405"/>
                    <a:gd name="connsiteY15" fmla="*/ 167532 h 548020"/>
                    <a:gd name="connsiteX16" fmla="*/ 526904 w 553405"/>
                    <a:gd name="connsiteY16" fmla="*/ 225140 h 548020"/>
                    <a:gd name="connsiteX17" fmla="*/ 534208 w 553405"/>
                    <a:gd name="connsiteY17" fmla="*/ 283335 h 548020"/>
                    <a:gd name="connsiteX18" fmla="*/ 540990 w 553405"/>
                    <a:gd name="connsiteY18" fmla="*/ 349760 h 548020"/>
                    <a:gd name="connsiteX19" fmla="*/ 544120 w 553405"/>
                    <a:gd name="connsiteY19" fmla="*/ 383854 h 548020"/>
                    <a:gd name="connsiteX20" fmla="*/ 546728 w 553405"/>
                    <a:gd name="connsiteY20" fmla="*/ 416773 h 548020"/>
                    <a:gd name="connsiteX21" fmla="*/ 548815 w 553405"/>
                    <a:gd name="connsiteY21" fmla="*/ 450867 h 548020"/>
                    <a:gd name="connsiteX22" fmla="*/ 550902 w 553405"/>
                    <a:gd name="connsiteY22" fmla="*/ 483786 h 548020"/>
                    <a:gd name="connsiteX23" fmla="*/ 552467 w 553405"/>
                    <a:gd name="connsiteY23" fmla="*/ 517880 h 548020"/>
                    <a:gd name="connsiteX24" fmla="*/ 553405 w 553405"/>
                    <a:gd name="connsiteY24" fmla="*/ 548020 h 548020"/>
                    <a:gd name="connsiteX25" fmla="*/ 0 w 553405"/>
                    <a:gd name="connsiteY25" fmla="*/ 548020 h 548020"/>
                    <a:gd name="connsiteX26" fmla="*/ 0 w 553405"/>
                    <a:gd name="connsiteY26" fmla="*/ 533751 h 548020"/>
                    <a:gd name="connsiteX27" fmla="*/ 1044 w 553405"/>
                    <a:gd name="connsiteY27" fmla="*/ 509650 h 548020"/>
                    <a:gd name="connsiteX28" fmla="*/ 2609 w 553405"/>
                    <a:gd name="connsiteY28" fmla="*/ 476144 h 548020"/>
                    <a:gd name="connsiteX29" fmla="*/ 5217 w 553405"/>
                    <a:gd name="connsiteY29" fmla="*/ 442049 h 548020"/>
                    <a:gd name="connsiteX30" fmla="*/ 10434 w 553405"/>
                    <a:gd name="connsiteY30" fmla="*/ 375037 h 548020"/>
                    <a:gd name="connsiteX31" fmla="*/ 17216 w 553405"/>
                    <a:gd name="connsiteY31" fmla="*/ 302733 h 548020"/>
                    <a:gd name="connsiteX32" fmla="*/ 25041 w 553405"/>
                    <a:gd name="connsiteY32" fmla="*/ 230430 h 548020"/>
                    <a:gd name="connsiteX33" fmla="*/ 34432 w 553405"/>
                    <a:gd name="connsiteY33" fmla="*/ 152249 h 548020"/>
                    <a:gd name="connsiteX34" fmla="*/ 44344 w 553405"/>
                    <a:gd name="connsiteY34" fmla="*/ 72891 h 548020"/>
                    <a:gd name="connsiteX35" fmla="*/ 45909 w 553405"/>
                    <a:gd name="connsiteY35" fmla="*/ 64662 h 548020"/>
                    <a:gd name="connsiteX36" fmla="*/ 46430 w 553405"/>
                    <a:gd name="connsiteY36" fmla="*/ 61135 h 548020"/>
                    <a:gd name="connsiteX37" fmla="*/ 46430 w 553405"/>
                    <a:gd name="connsiteY37" fmla="*/ 57020 h 548020"/>
                    <a:gd name="connsiteX38" fmla="*/ 46952 w 553405"/>
                    <a:gd name="connsiteY38" fmla="*/ 51729 h 548020"/>
                    <a:gd name="connsiteX39" fmla="*/ 47995 w 553405"/>
                    <a:gd name="connsiteY39" fmla="*/ 48202 h 548020"/>
                    <a:gd name="connsiteX40" fmla="*/ 49561 w 553405"/>
                    <a:gd name="connsiteY40" fmla="*/ 45263 h 548020"/>
                    <a:gd name="connsiteX41" fmla="*/ 51126 w 553405"/>
                    <a:gd name="connsiteY41" fmla="*/ 42912 h 548020"/>
                    <a:gd name="connsiteX42" fmla="*/ 53212 w 553405"/>
                    <a:gd name="connsiteY42" fmla="*/ 40560 h 548020"/>
                    <a:gd name="connsiteX43" fmla="*/ 55299 w 553405"/>
                    <a:gd name="connsiteY43" fmla="*/ 38797 h 548020"/>
                    <a:gd name="connsiteX44" fmla="*/ 61038 w 553405"/>
                    <a:gd name="connsiteY44" fmla="*/ 35858 h 548020"/>
                    <a:gd name="connsiteX45" fmla="*/ 74601 w 553405"/>
                    <a:gd name="connsiteY45" fmla="*/ 29980 h 548020"/>
                    <a:gd name="connsiteX46" fmla="*/ 88165 w 553405"/>
                    <a:gd name="connsiteY46" fmla="*/ 25277 h 548020"/>
                    <a:gd name="connsiteX47" fmla="*/ 101208 w 553405"/>
                    <a:gd name="connsiteY47" fmla="*/ 20574 h 548020"/>
                    <a:gd name="connsiteX48" fmla="*/ 115293 w 553405"/>
                    <a:gd name="connsiteY48" fmla="*/ 17047 h 548020"/>
                    <a:gd name="connsiteX0" fmla="*/ 115293 w 553405"/>
                    <a:gd name="connsiteY0" fmla="*/ 14696 h 545669"/>
                    <a:gd name="connsiteX1" fmla="*/ 366746 w 553405"/>
                    <a:gd name="connsiteY1" fmla="*/ 0 h 545669"/>
                    <a:gd name="connsiteX2" fmla="*/ 388657 w 553405"/>
                    <a:gd name="connsiteY2" fmla="*/ 2940 h 545669"/>
                    <a:gd name="connsiteX3" fmla="*/ 411090 w 553405"/>
                    <a:gd name="connsiteY3" fmla="*/ 7642 h 545669"/>
                    <a:gd name="connsiteX4" fmla="*/ 432479 w 553405"/>
                    <a:gd name="connsiteY4" fmla="*/ 12933 h 545669"/>
                    <a:gd name="connsiteX5" fmla="*/ 453868 w 553405"/>
                    <a:gd name="connsiteY5" fmla="*/ 18811 h 545669"/>
                    <a:gd name="connsiteX6" fmla="*/ 474735 w 553405"/>
                    <a:gd name="connsiteY6" fmla="*/ 26453 h 545669"/>
                    <a:gd name="connsiteX7" fmla="*/ 495603 w 553405"/>
                    <a:gd name="connsiteY7" fmla="*/ 35270 h 545669"/>
                    <a:gd name="connsiteX8" fmla="*/ 499776 w 553405"/>
                    <a:gd name="connsiteY8" fmla="*/ 37622 h 545669"/>
                    <a:gd name="connsiteX9" fmla="*/ 502907 w 553405"/>
                    <a:gd name="connsiteY9" fmla="*/ 40561 h 545669"/>
                    <a:gd name="connsiteX10" fmla="*/ 503950 w 553405"/>
                    <a:gd name="connsiteY10" fmla="*/ 42324 h 545669"/>
                    <a:gd name="connsiteX11" fmla="*/ 504993 w 553405"/>
                    <a:gd name="connsiteY11" fmla="*/ 44088 h 545669"/>
                    <a:gd name="connsiteX12" fmla="*/ 505515 w 553405"/>
                    <a:gd name="connsiteY12" fmla="*/ 46439 h 545669"/>
                    <a:gd name="connsiteX13" fmla="*/ 506037 w 553405"/>
                    <a:gd name="connsiteY13" fmla="*/ 49966 h 545669"/>
                    <a:gd name="connsiteX14" fmla="*/ 520122 w 553405"/>
                    <a:gd name="connsiteY14" fmla="*/ 165181 h 545669"/>
                    <a:gd name="connsiteX15" fmla="*/ 526904 w 553405"/>
                    <a:gd name="connsiteY15" fmla="*/ 222789 h 545669"/>
                    <a:gd name="connsiteX16" fmla="*/ 534208 w 553405"/>
                    <a:gd name="connsiteY16" fmla="*/ 280984 h 545669"/>
                    <a:gd name="connsiteX17" fmla="*/ 540990 w 553405"/>
                    <a:gd name="connsiteY17" fmla="*/ 347409 h 545669"/>
                    <a:gd name="connsiteX18" fmla="*/ 544120 w 553405"/>
                    <a:gd name="connsiteY18" fmla="*/ 381503 h 545669"/>
                    <a:gd name="connsiteX19" fmla="*/ 546728 w 553405"/>
                    <a:gd name="connsiteY19" fmla="*/ 414422 h 545669"/>
                    <a:gd name="connsiteX20" fmla="*/ 548815 w 553405"/>
                    <a:gd name="connsiteY20" fmla="*/ 448516 h 545669"/>
                    <a:gd name="connsiteX21" fmla="*/ 550902 w 553405"/>
                    <a:gd name="connsiteY21" fmla="*/ 481435 h 545669"/>
                    <a:gd name="connsiteX22" fmla="*/ 552467 w 553405"/>
                    <a:gd name="connsiteY22" fmla="*/ 515529 h 545669"/>
                    <a:gd name="connsiteX23" fmla="*/ 553405 w 553405"/>
                    <a:gd name="connsiteY23" fmla="*/ 545669 h 545669"/>
                    <a:gd name="connsiteX24" fmla="*/ 0 w 553405"/>
                    <a:gd name="connsiteY24" fmla="*/ 545669 h 545669"/>
                    <a:gd name="connsiteX25" fmla="*/ 0 w 553405"/>
                    <a:gd name="connsiteY25" fmla="*/ 531400 h 545669"/>
                    <a:gd name="connsiteX26" fmla="*/ 1044 w 553405"/>
                    <a:gd name="connsiteY26" fmla="*/ 507299 h 545669"/>
                    <a:gd name="connsiteX27" fmla="*/ 2609 w 553405"/>
                    <a:gd name="connsiteY27" fmla="*/ 473793 h 545669"/>
                    <a:gd name="connsiteX28" fmla="*/ 5217 w 553405"/>
                    <a:gd name="connsiteY28" fmla="*/ 439698 h 545669"/>
                    <a:gd name="connsiteX29" fmla="*/ 10434 w 553405"/>
                    <a:gd name="connsiteY29" fmla="*/ 372686 h 545669"/>
                    <a:gd name="connsiteX30" fmla="*/ 17216 w 553405"/>
                    <a:gd name="connsiteY30" fmla="*/ 300382 h 545669"/>
                    <a:gd name="connsiteX31" fmla="*/ 25041 w 553405"/>
                    <a:gd name="connsiteY31" fmla="*/ 228079 h 545669"/>
                    <a:gd name="connsiteX32" fmla="*/ 34432 w 553405"/>
                    <a:gd name="connsiteY32" fmla="*/ 149898 h 545669"/>
                    <a:gd name="connsiteX33" fmla="*/ 44344 w 553405"/>
                    <a:gd name="connsiteY33" fmla="*/ 70540 h 545669"/>
                    <a:gd name="connsiteX34" fmla="*/ 45909 w 553405"/>
                    <a:gd name="connsiteY34" fmla="*/ 62311 h 545669"/>
                    <a:gd name="connsiteX35" fmla="*/ 46430 w 553405"/>
                    <a:gd name="connsiteY35" fmla="*/ 58784 h 545669"/>
                    <a:gd name="connsiteX36" fmla="*/ 46430 w 553405"/>
                    <a:gd name="connsiteY36" fmla="*/ 54669 h 545669"/>
                    <a:gd name="connsiteX37" fmla="*/ 46952 w 553405"/>
                    <a:gd name="connsiteY37" fmla="*/ 49378 h 545669"/>
                    <a:gd name="connsiteX38" fmla="*/ 47995 w 553405"/>
                    <a:gd name="connsiteY38" fmla="*/ 45851 h 545669"/>
                    <a:gd name="connsiteX39" fmla="*/ 49561 w 553405"/>
                    <a:gd name="connsiteY39" fmla="*/ 42912 h 545669"/>
                    <a:gd name="connsiteX40" fmla="*/ 51126 w 553405"/>
                    <a:gd name="connsiteY40" fmla="*/ 40561 h 545669"/>
                    <a:gd name="connsiteX41" fmla="*/ 53212 w 553405"/>
                    <a:gd name="connsiteY41" fmla="*/ 38209 h 545669"/>
                    <a:gd name="connsiteX42" fmla="*/ 55299 w 553405"/>
                    <a:gd name="connsiteY42" fmla="*/ 36446 h 545669"/>
                    <a:gd name="connsiteX43" fmla="*/ 61038 w 553405"/>
                    <a:gd name="connsiteY43" fmla="*/ 33507 h 545669"/>
                    <a:gd name="connsiteX44" fmla="*/ 74601 w 553405"/>
                    <a:gd name="connsiteY44" fmla="*/ 27629 h 545669"/>
                    <a:gd name="connsiteX45" fmla="*/ 88165 w 553405"/>
                    <a:gd name="connsiteY45" fmla="*/ 22926 h 545669"/>
                    <a:gd name="connsiteX46" fmla="*/ 101208 w 553405"/>
                    <a:gd name="connsiteY46" fmla="*/ 18223 h 545669"/>
                    <a:gd name="connsiteX47" fmla="*/ 115293 w 553405"/>
                    <a:gd name="connsiteY47" fmla="*/ 14696 h 545669"/>
                    <a:gd name="connsiteX0" fmla="*/ 115293 w 553405"/>
                    <a:gd name="connsiteY0" fmla="*/ 11756 h 542729"/>
                    <a:gd name="connsiteX1" fmla="*/ 388657 w 553405"/>
                    <a:gd name="connsiteY1" fmla="*/ 0 h 542729"/>
                    <a:gd name="connsiteX2" fmla="*/ 411090 w 553405"/>
                    <a:gd name="connsiteY2" fmla="*/ 4702 h 542729"/>
                    <a:gd name="connsiteX3" fmla="*/ 432479 w 553405"/>
                    <a:gd name="connsiteY3" fmla="*/ 9993 h 542729"/>
                    <a:gd name="connsiteX4" fmla="*/ 453868 w 553405"/>
                    <a:gd name="connsiteY4" fmla="*/ 15871 h 542729"/>
                    <a:gd name="connsiteX5" fmla="*/ 474735 w 553405"/>
                    <a:gd name="connsiteY5" fmla="*/ 23513 h 542729"/>
                    <a:gd name="connsiteX6" fmla="*/ 495603 w 553405"/>
                    <a:gd name="connsiteY6" fmla="*/ 32330 h 542729"/>
                    <a:gd name="connsiteX7" fmla="*/ 499776 w 553405"/>
                    <a:gd name="connsiteY7" fmla="*/ 34682 h 542729"/>
                    <a:gd name="connsiteX8" fmla="*/ 502907 w 553405"/>
                    <a:gd name="connsiteY8" fmla="*/ 37621 h 542729"/>
                    <a:gd name="connsiteX9" fmla="*/ 503950 w 553405"/>
                    <a:gd name="connsiteY9" fmla="*/ 39384 h 542729"/>
                    <a:gd name="connsiteX10" fmla="*/ 504993 w 553405"/>
                    <a:gd name="connsiteY10" fmla="*/ 41148 h 542729"/>
                    <a:gd name="connsiteX11" fmla="*/ 505515 w 553405"/>
                    <a:gd name="connsiteY11" fmla="*/ 43499 h 542729"/>
                    <a:gd name="connsiteX12" fmla="*/ 506037 w 553405"/>
                    <a:gd name="connsiteY12" fmla="*/ 47026 h 542729"/>
                    <a:gd name="connsiteX13" fmla="*/ 520122 w 553405"/>
                    <a:gd name="connsiteY13" fmla="*/ 162241 h 542729"/>
                    <a:gd name="connsiteX14" fmla="*/ 526904 w 553405"/>
                    <a:gd name="connsiteY14" fmla="*/ 219849 h 542729"/>
                    <a:gd name="connsiteX15" fmla="*/ 534208 w 553405"/>
                    <a:gd name="connsiteY15" fmla="*/ 278044 h 542729"/>
                    <a:gd name="connsiteX16" fmla="*/ 540990 w 553405"/>
                    <a:gd name="connsiteY16" fmla="*/ 344469 h 542729"/>
                    <a:gd name="connsiteX17" fmla="*/ 544120 w 553405"/>
                    <a:gd name="connsiteY17" fmla="*/ 378563 h 542729"/>
                    <a:gd name="connsiteX18" fmla="*/ 546728 w 553405"/>
                    <a:gd name="connsiteY18" fmla="*/ 411482 h 542729"/>
                    <a:gd name="connsiteX19" fmla="*/ 548815 w 553405"/>
                    <a:gd name="connsiteY19" fmla="*/ 445576 h 542729"/>
                    <a:gd name="connsiteX20" fmla="*/ 550902 w 553405"/>
                    <a:gd name="connsiteY20" fmla="*/ 478495 h 542729"/>
                    <a:gd name="connsiteX21" fmla="*/ 552467 w 553405"/>
                    <a:gd name="connsiteY21" fmla="*/ 512589 h 542729"/>
                    <a:gd name="connsiteX22" fmla="*/ 553405 w 553405"/>
                    <a:gd name="connsiteY22" fmla="*/ 542729 h 542729"/>
                    <a:gd name="connsiteX23" fmla="*/ 0 w 553405"/>
                    <a:gd name="connsiteY23" fmla="*/ 542729 h 542729"/>
                    <a:gd name="connsiteX24" fmla="*/ 0 w 553405"/>
                    <a:gd name="connsiteY24" fmla="*/ 528460 h 542729"/>
                    <a:gd name="connsiteX25" fmla="*/ 1044 w 553405"/>
                    <a:gd name="connsiteY25" fmla="*/ 504359 h 542729"/>
                    <a:gd name="connsiteX26" fmla="*/ 2609 w 553405"/>
                    <a:gd name="connsiteY26" fmla="*/ 470853 h 542729"/>
                    <a:gd name="connsiteX27" fmla="*/ 5217 w 553405"/>
                    <a:gd name="connsiteY27" fmla="*/ 436758 h 542729"/>
                    <a:gd name="connsiteX28" fmla="*/ 10434 w 553405"/>
                    <a:gd name="connsiteY28" fmla="*/ 369746 h 542729"/>
                    <a:gd name="connsiteX29" fmla="*/ 17216 w 553405"/>
                    <a:gd name="connsiteY29" fmla="*/ 297442 h 542729"/>
                    <a:gd name="connsiteX30" fmla="*/ 25041 w 553405"/>
                    <a:gd name="connsiteY30" fmla="*/ 225139 h 542729"/>
                    <a:gd name="connsiteX31" fmla="*/ 34432 w 553405"/>
                    <a:gd name="connsiteY31" fmla="*/ 146958 h 542729"/>
                    <a:gd name="connsiteX32" fmla="*/ 44344 w 553405"/>
                    <a:gd name="connsiteY32" fmla="*/ 67600 h 542729"/>
                    <a:gd name="connsiteX33" fmla="*/ 45909 w 553405"/>
                    <a:gd name="connsiteY33" fmla="*/ 59371 h 542729"/>
                    <a:gd name="connsiteX34" fmla="*/ 46430 w 553405"/>
                    <a:gd name="connsiteY34" fmla="*/ 55844 h 542729"/>
                    <a:gd name="connsiteX35" fmla="*/ 46430 w 553405"/>
                    <a:gd name="connsiteY35" fmla="*/ 51729 h 542729"/>
                    <a:gd name="connsiteX36" fmla="*/ 46952 w 553405"/>
                    <a:gd name="connsiteY36" fmla="*/ 46438 h 542729"/>
                    <a:gd name="connsiteX37" fmla="*/ 47995 w 553405"/>
                    <a:gd name="connsiteY37" fmla="*/ 42911 h 542729"/>
                    <a:gd name="connsiteX38" fmla="*/ 49561 w 553405"/>
                    <a:gd name="connsiteY38" fmla="*/ 39972 h 542729"/>
                    <a:gd name="connsiteX39" fmla="*/ 51126 w 553405"/>
                    <a:gd name="connsiteY39" fmla="*/ 37621 h 542729"/>
                    <a:gd name="connsiteX40" fmla="*/ 53212 w 553405"/>
                    <a:gd name="connsiteY40" fmla="*/ 35269 h 542729"/>
                    <a:gd name="connsiteX41" fmla="*/ 55299 w 553405"/>
                    <a:gd name="connsiteY41" fmla="*/ 33506 h 542729"/>
                    <a:gd name="connsiteX42" fmla="*/ 61038 w 553405"/>
                    <a:gd name="connsiteY42" fmla="*/ 30567 h 542729"/>
                    <a:gd name="connsiteX43" fmla="*/ 74601 w 553405"/>
                    <a:gd name="connsiteY43" fmla="*/ 24689 h 542729"/>
                    <a:gd name="connsiteX44" fmla="*/ 88165 w 553405"/>
                    <a:gd name="connsiteY44" fmla="*/ 19986 h 542729"/>
                    <a:gd name="connsiteX45" fmla="*/ 101208 w 553405"/>
                    <a:gd name="connsiteY45" fmla="*/ 15283 h 542729"/>
                    <a:gd name="connsiteX46" fmla="*/ 115293 w 553405"/>
                    <a:gd name="connsiteY46" fmla="*/ 11756 h 542729"/>
                    <a:gd name="connsiteX0" fmla="*/ 115293 w 553405"/>
                    <a:gd name="connsiteY0" fmla="*/ 7054 h 538027"/>
                    <a:gd name="connsiteX1" fmla="*/ 411090 w 553405"/>
                    <a:gd name="connsiteY1" fmla="*/ 0 h 538027"/>
                    <a:gd name="connsiteX2" fmla="*/ 432479 w 553405"/>
                    <a:gd name="connsiteY2" fmla="*/ 5291 h 538027"/>
                    <a:gd name="connsiteX3" fmla="*/ 453868 w 553405"/>
                    <a:gd name="connsiteY3" fmla="*/ 11169 h 538027"/>
                    <a:gd name="connsiteX4" fmla="*/ 474735 w 553405"/>
                    <a:gd name="connsiteY4" fmla="*/ 18811 h 538027"/>
                    <a:gd name="connsiteX5" fmla="*/ 495603 w 553405"/>
                    <a:gd name="connsiteY5" fmla="*/ 27628 h 538027"/>
                    <a:gd name="connsiteX6" fmla="*/ 499776 w 553405"/>
                    <a:gd name="connsiteY6" fmla="*/ 29980 h 538027"/>
                    <a:gd name="connsiteX7" fmla="*/ 502907 w 553405"/>
                    <a:gd name="connsiteY7" fmla="*/ 32919 h 538027"/>
                    <a:gd name="connsiteX8" fmla="*/ 503950 w 553405"/>
                    <a:gd name="connsiteY8" fmla="*/ 34682 h 538027"/>
                    <a:gd name="connsiteX9" fmla="*/ 504993 w 553405"/>
                    <a:gd name="connsiteY9" fmla="*/ 36446 h 538027"/>
                    <a:gd name="connsiteX10" fmla="*/ 505515 w 553405"/>
                    <a:gd name="connsiteY10" fmla="*/ 38797 h 538027"/>
                    <a:gd name="connsiteX11" fmla="*/ 506037 w 553405"/>
                    <a:gd name="connsiteY11" fmla="*/ 42324 h 538027"/>
                    <a:gd name="connsiteX12" fmla="*/ 520122 w 553405"/>
                    <a:gd name="connsiteY12" fmla="*/ 157539 h 538027"/>
                    <a:gd name="connsiteX13" fmla="*/ 526904 w 553405"/>
                    <a:gd name="connsiteY13" fmla="*/ 215147 h 538027"/>
                    <a:gd name="connsiteX14" fmla="*/ 534208 w 553405"/>
                    <a:gd name="connsiteY14" fmla="*/ 273342 h 538027"/>
                    <a:gd name="connsiteX15" fmla="*/ 540990 w 553405"/>
                    <a:gd name="connsiteY15" fmla="*/ 339767 h 538027"/>
                    <a:gd name="connsiteX16" fmla="*/ 544120 w 553405"/>
                    <a:gd name="connsiteY16" fmla="*/ 373861 h 538027"/>
                    <a:gd name="connsiteX17" fmla="*/ 546728 w 553405"/>
                    <a:gd name="connsiteY17" fmla="*/ 406780 h 538027"/>
                    <a:gd name="connsiteX18" fmla="*/ 548815 w 553405"/>
                    <a:gd name="connsiteY18" fmla="*/ 440874 h 538027"/>
                    <a:gd name="connsiteX19" fmla="*/ 550902 w 553405"/>
                    <a:gd name="connsiteY19" fmla="*/ 473793 h 538027"/>
                    <a:gd name="connsiteX20" fmla="*/ 552467 w 553405"/>
                    <a:gd name="connsiteY20" fmla="*/ 507887 h 538027"/>
                    <a:gd name="connsiteX21" fmla="*/ 553405 w 553405"/>
                    <a:gd name="connsiteY21" fmla="*/ 538027 h 538027"/>
                    <a:gd name="connsiteX22" fmla="*/ 0 w 553405"/>
                    <a:gd name="connsiteY22" fmla="*/ 538027 h 538027"/>
                    <a:gd name="connsiteX23" fmla="*/ 0 w 553405"/>
                    <a:gd name="connsiteY23" fmla="*/ 523758 h 538027"/>
                    <a:gd name="connsiteX24" fmla="*/ 1044 w 553405"/>
                    <a:gd name="connsiteY24" fmla="*/ 499657 h 538027"/>
                    <a:gd name="connsiteX25" fmla="*/ 2609 w 553405"/>
                    <a:gd name="connsiteY25" fmla="*/ 466151 h 538027"/>
                    <a:gd name="connsiteX26" fmla="*/ 5217 w 553405"/>
                    <a:gd name="connsiteY26" fmla="*/ 432056 h 538027"/>
                    <a:gd name="connsiteX27" fmla="*/ 10434 w 553405"/>
                    <a:gd name="connsiteY27" fmla="*/ 365044 h 538027"/>
                    <a:gd name="connsiteX28" fmla="*/ 17216 w 553405"/>
                    <a:gd name="connsiteY28" fmla="*/ 292740 h 538027"/>
                    <a:gd name="connsiteX29" fmla="*/ 25041 w 553405"/>
                    <a:gd name="connsiteY29" fmla="*/ 220437 h 538027"/>
                    <a:gd name="connsiteX30" fmla="*/ 34432 w 553405"/>
                    <a:gd name="connsiteY30" fmla="*/ 142256 h 538027"/>
                    <a:gd name="connsiteX31" fmla="*/ 44344 w 553405"/>
                    <a:gd name="connsiteY31" fmla="*/ 62898 h 538027"/>
                    <a:gd name="connsiteX32" fmla="*/ 45909 w 553405"/>
                    <a:gd name="connsiteY32" fmla="*/ 54669 h 538027"/>
                    <a:gd name="connsiteX33" fmla="*/ 46430 w 553405"/>
                    <a:gd name="connsiteY33" fmla="*/ 51142 h 538027"/>
                    <a:gd name="connsiteX34" fmla="*/ 46430 w 553405"/>
                    <a:gd name="connsiteY34" fmla="*/ 47027 h 538027"/>
                    <a:gd name="connsiteX35" fmla="*/ 46952 w 553405"/>
                    <a:gd name="connsiteY35" fmla="*/ 41736 h 538027"/>
                    <a:gd name="connsiteX36" fmla="*/ 47995 w 553405"/>
                    <a:gd name="connsiteY36" fmla="*/ 38209 h 538027"/>
                    <a:gd name="connsiteX37" fmla="*/ 49561 w 553405"/>
                    <a:gd name="connsiteY37" fmla="*/ 35270 h 538027"/>
                    <a:gd name="connsiteX38" fmla="*/ 51126 w 553405"/>
                    <a:gd name="connsiteY38" fmla="*/ 32919 h 538027"/>
                    <a:gd name="connsiteX39" fmla="*/ 53212 w 553405"/>
                    <a:gd name="connsiteY39" fmla="*/ 30567 h 538027"/>
                    <a:gd name="connsiteX40" fmla="*/ 55299 w 553405"/>
                    <a:gd name="connsiteY40" fmla="*/ 28804 h 538027"/>
                    <a:gd name="connsiteX41" fmla="*/ 61038 w 553405"/>
                    <a:gd name="connsiteY41" fmla="*/ 25865 h 538027"/>
                    <a:gd name="connsiteX42" fmla="*/ 74601 w 553405"/>
                    <a:gd name="connsiteY42" fmla="*/ 19987 h 538027"/>
                    <a:gd name="connsiteX43" fmla="*/ 88165 w 553405"/>
                    <a:gd name="connsiteY43" fmla="*/ 15284 h 538027"/>
                    <a:gd name="connsiteX44" fmla="*/ 101208 w 553405"/>
                    <a:gd name="connsiteY44" fmla="*/ 10581 h 538027"/>
                    <a:gd name="connsiteX45" fmla="*/ 115293 w 553405"/>
                    <a:gd name="connsiteY45" fmla="*/ 7054 h 538027"/>
                    <a:gd name="connsiteX0" fmla="*/ 115293 w 553405"/>
                    <a:gd name="connsiteY0" fmla="*/ 1763 h 532736"/>
                    <a:gd name="connsiteX1" fmla="*/ 432479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5293 w 553405"/>
                    <a:gd name="connsiteY44" fmla="*/ 1763 h 532736"/>
                    <a:gd name="connsiteX0" fmla="*/ 115293 w 553405"/>
                    <a:gd name="connsiteY0" fmla="*/ 1763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5293 w 553405"/>
                    <a:gd name="connsiteY44" fmla="*/ 1763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75309 w 553405"/>
                    <a:gd name="connsiteY0" fmla="*/ 5208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75309 w 553405"/>
                    <a:gd name="connsiteY44" fmla="*/ 5208 h 532736"/>
                    <a:gd name="connsiteX0" fmla="*/ 175309 w 553405"/>
                    <a:gd name="connsiteY0" fmla="*/ 11938 h 539466"/>
                    <a:gd name="connsiteX1" fmla="*/ 382458 w 553405"/>
                    <a:gd name="connsiteY1" fmla="*/ 0 h 539466"/>
                    <a:gd name="connsiteX2" fmla="*/ 453868 w 553405"/>
                    <a:gd name="connsiteY2" fmla="*/ 12608 h 539466"/>
                    <a:gd name="connsiteX3" fmla="*/ 474735 w 553405"/>
                    <a:gd name="connsiteY3" fmla="*/ 20250 h 539466"/>
                    <a:gd name="connsiteX4" fmla="*/ 495603 w 553405"/>
                    <a:gd name="connsiteY4" fmla="*/ 29067 h 539466"/>
                    <a:gd name="connsiteX5" fmla="*/ 499776 w 553405"/>
                    <a:gd name="connsiteY5" fmla="*/ 31419 h 539466"/>
                    <a:gd name="connsiteX6" fmla="*/ 502907 w 553405"/>
                    <a:gd name="connsiteY6" fmla="*/ 34358 h 539466"/>
                    <a:gd name="connsiteX7" fmla="*/ 503950 w 553405"/>
                    <a:gd name="connsiteY7" fmla="*/ 36121 h 539466"/>
                    <a:gd name="connsiteX8" fmla="*/ 504993 w 553405"/>
                    <a:gd name="connsiteY8" fmla="*/ 37885 h 539466"/>
                    <a:gd name="connsiteX9" fmla="*/ 505515 w 553405"/>
                    <a:gd name="connsiteY9" fmla="*/ 40236 h 539466"/>
                    <a:gd name="connsiteX10" fmla="*/ 506037 w 553405"/>
                    <a:gd name="connsiteY10" fmla="*/ 43763 h 539466"/>
                    <a:gd name="connsiteX11" fmla="*/ 520122 w 553405"/>
                    <a:gd name="connsiteY11" fmla="*/ 158978 h 539466"/>
                    <a:gd name="connsiteX12" fmla="*/ 526904 w 553405"/>
                    <a:gd name="connsiteY12" fmla="*/ 216586 h 539466"/>
                    <a:gd name="connsiteX13" fmla="*/ 534208 w 553405"/>
                    <a:gd name="connsiteY13" fmla="*/ 274781 h 539466"/>
                    <a:gd name="connsiteX14" fmla="*/ 540990 w 553405"/>
                    <a:gd name="connsiteY14" fmla="*/ 341206 h 539466"/>
                    <a:gd name="connsiteX15" fmla="*/ 544120 w 553405"/>
                    <a:gd name="connsiteY15" fmla="*/ 375300 h 539466"/>
                    <a:gd name="connsiteX16" fmla="*/ 546728 w 553405"/>
                    <a:gd name="connsiteY16" fmla="*/ 408219 h 539466"/>
                    <a:gd name="connsiteX17" fmla="*/ 548815 w 553405"/>
                    <a:gd name="connsiteY17" fmla="*/ 442313 h 539466"/>
                    <a:gd name="connsiteX18" fmla="*/ 550902 w 553405"/>
                    <a:gd name="connsiteY18" fmla="*/ 475232 h 539466"/>
                    <a:gd name="connsiteX19" fmla="*/ 552467 w 553405"/>
                    <a:gd name="connsiteY19" fmla="*/ 509326 h 539466"/>
                    <a:gd name="connsiteX20" fmla="*/ 553405 w 553405"/>
                    <a:gd name="connsiteY20" fmla="*/ 539466 h 539466"/>
                    <a:gd name="connsiteX21" fmla="*/ 0 w 553405"/>
                    <a:gd name="connsiteY21" fmla="*/ 539466 h 539466"/>
                    <a:gd name="connsiteX22" fmla="*/ 0 w 553405"/>
                    <a:gd name="connsiteY22" fmla="*/ 525197 h 539466"/>
                    <a:gd name="connsiteX23" fmla="*/ 1044 w 553405"/>
                    <a:gd name="connsiteY23" fmla="*/ 501096 h 539466"/>
                    <a:gd name="connsiteX24" fmla="*/ 2609 w 553405"/>
                    <a:gd name="connsiteY24" fmla="*/ 467590 h 539466"/>
                    <a:gd name="connsiteX25" fmla="*/ 5217 w 553405"/>
                    <a:gd name="connsiteY25" fmla="*/ 433495 h 539466"/>
                    <a:gd name="connsiteX26" fmla="*/ 10434 w 553405"/>
                    <a:gd name="connsiteY26" fmla="*/ 366483 h 539466"/>
                    <a:gd name="connsiteX27" fmla="*/ 17216 w 553405"/>
                    <a:gd name="connsiteY27" fmla="*/ 294179 h 539466"/>
                    <a:gd name="connsiteX28" fmla="*/ 25041 w 553405"/>
                    <a:gd name="connsiteY28" fmla="*/ 221876 h 539466"/>
                    <a:gd name="connsiteX29" fmla="*/ 34432 w 553405"/>
                    <a:gd name="connsiteY29" fmla="*/ 143695 h 539466"/>
                    <a:gd name="connsiteX30" fmla="*/ 44344 w 553405"/>
                    <a:gd name="connsiteY30" fmla="*/ 64337 h 539466"/>
                    <a:gd name="connsiteX31" fmla="*/ 45909 w 553405"/>
                    <a:gd name="connsiteY31" fmla="*/ 56108 h 539466"/>
                    <a:gd name="connsiteX32" fmla="*/ 46430 w 553405"/>
                    <a:gd name="connsiteY32" fmla="*/ 52581 h 539466"/>
                    <a:gd name="connsiteX33" fmla="*/ 46430 w 553405"/>
                    <a:gd name="connsiteY33" fmla="*/ 48466 h 539466"/>
                    <a:gd name="connsiteX34" fmla="*/ 46952 w 553405"/>
                    <a:gd name="connsiteY34" fmla="*/ 43175 h 539466"/>
                    <a:gd name="connsiteX35" fmla="*/ 47995 w 553405"/>
                    <a:gd name="connsiteY35" fmla="*/ 39648 h 539466"/>
                    <a:gd name="connsiteX36" fmla="*/ 49561 w 553405"/>
                    <a:gd name="connsiteY36" fmla="*/ 36709 h 539466"/>
                    <a:gd name="connsiteX37" fmla="*/ 51126 w 553405"/>
                    <a:gd name="connsiteY37" fmla="*/ 34358 h 539466"/>
                    <a:gd name="connsiteX38" fmla="*/ 53212 w 553405"/>
                    <a:gd name="connsiteY38" fmla="*/ 32006 h 539466"/>
                    <a:gd name="connsiteX39" fmla="*/ 55299 w 553405"/>
                    <a:gd name="connsiteY39" fmla="*/ 30243 h 539466"/>
                    <a:gd name="connsiteX40" fmla="*/ 61038 w 553405"/>
                    <a:gd name="connsiteY40" fmla="*/ 27304 h 539466"/>
                    <a:gd name="connsiteX41" fmla="*/ 74601 w 553405"/>
                    <a:gd name="connsiteY41" fmla="*/ 21426 h 539466"/>
                    <a:gd name="connsiteX42" fmla="*/ 88165 w 553405"/>
                    <a:gd name="connsiteY42" fmla="*/ 16723 h 539466"/>
                    <a:gd name="connsiteX43" fmla="*/ 101208 w 553405"/>
                    <a:gd name="connsiteY43" fmla="*/ 12020 h 539466"/>
                    <a:gd name="connsiteX44" fmla="*/ 175309 w 553405"/>
                    <a:gd name="connsiteY44" fmla="*/ 11938 h 539466"/>
                    <a:gd name="connsiteX0" fmla="*/ 187497 w 553405"/>
                    <a:gd name="connsiteY0" fmla="*/ 0 h 539641"/>
                    <a:gd name="connsiteX1" fmla="*/ 382458 w 553405"/>
                    <a:gd name="connsiteY1" fmla="*/ 175 h 539641"/>
                    <a:gd name="connsiteX2" fmla="*/ 453868 w 553405"/>
                    <a:gd name="connsiteY2" fmla="*/ 12783 h 539641"/>
                    <a:gd name="connsiteX3" fmla="*/ 474735 w 553405"/>
                    <a:gd name="connsiteY3" fmla="*/ 20425 h 539641"/>
                    <a:gd name="connsiteX4" fmla="*/ 495603 w 553405"/>
                    <a:gd name="connsiteY4" fmla="*/ 29242 h 539641"/>
                    <a:gd name="connsiteX5" fmla="*/ 499776 w 553405"/>
                    <a:gd name="connsiteY5" fmla="*/ 31594 h 539641"/>
                    <a:gd name="connsiteX6" fmla="*/ 502907 w 553405"/>
                    <a:gd name="connsiteY6" fmla="*/ 34533 h 539641"/>
                    <a:gd name="connsiteX7" fmla="*/ 503950 w 553405"/>
                    <a:gd name="connsiteY7" fmla="*/ 36296 h 539641"/>
                    <a:gd name="connsiteX8" fmla="*/ 504993 w 553405"/>
                    <a:gd name="connsiteY8" fmla="*/ 38060 h 539641"/>
                    <a:gd name="connsiteX9" fmla="*/ 505515 w 553405"/>
                    <a:gd name="connsiteY9" fmla="*/ 40411 h 539641"/>
                    <a:gd name="connsiteX10" fmla="*/ 506037 w 553405"/>
                    <a:gd name="connsiteY10" fmla="*/ 43938 h 539641"/>
                    <a:gd name="connsiteX11" fmla="*/ 520122 w 553405"/>
                    <a:gd name="connsiteY11" fmla="*/ 159153 h 539641"/>
                    <a:gd name="connsiteX12" fmla="*/ 526904 w 553405"/>
                    <a:gd name="connsiteY12" fmla="*/ 216761 h 539641"/>
                    <a:gd name="connsiteX13" fmla="*/ 534208 w 553405"/>
                    <a:gd name="connsiteY13" fmla="*/ 274956 h 539641"/>
                    <a:gd name="connsiteX14" fmla="*/ 540990 w 553405"/>
                    <a:gd name="connsiteY14" fmla="*/ 341381 h 539641"/>
                    <a:gd name="connsiteX15" fmla="*/ 544120 w 553405"/>
                    <a:gd name="connsiteY15" fmla="*/ 375475 h 539641"/>
                    <a:gd name="connsiteX16" fmla="*/ 546728 w 553405"/>
                    <a:gd name="connsiteY16" fmla="*/ 408394 h 539641"/>
                    <a:gd name="connsiteX17" fmla="*/ 548815 w 553405"/>
                    <a:gd name="connsiteY17" fmla="*/ 442488 h 539641"/>
                    <a:gd name="connsiteX18" fmla="*/ 550902 w 553405"/>
                    <a:gd name="connsiteY18" fmla="*/ 475407 h 539641"/>
                    <a:gd name="connsiteX19" fmla="*/ 552467 w 553405"/>
                    <a:gd name="connsiteY19" fmla="*/ 509501 h 539641"/>
                    <a:gd name="connsiteX20" fmla="*/ 553405 w 553405"/>
                    <a:gd name="connsiteY20" fmla="*/ 539641 h 539641"/>
                    <a:gd name="connsiteX21" fmla="*/ 0 w 553405"/>
                    <a:gd name="connsiteY21" fmla="*/ 539641 h 539641"/>
                    <a:gd name="connsiteX22" fmla="*/ 0 w 553405"/>
                    <a:gd name="connsiteY22" fmla="*/ 525372 h 539641"/>
                    <a:gd name="connsiteX23" fmla="*/ 1044 w 553405"/>
                    <a:gd name="connsiteY23" fmla="*/ 501271 h 539641"/>
                    <a:gd name="connsiteX24" fmla="*/ 2609 w 553405"/>
                    <a:gd name="connsiteY24" fmla="*/ 467765 h 539641"/>
                    <a:gd name="connsiteX25" fmla="*/ 5217 w 553405"/>
                    <a:gd name="connsiteY25" fmla="*/ 433670 h 539641"/>
                    <a:gd name="connsiteX26" fmla="*/ 10434 w 553405"/>
                    <a:gd name="connsiteY26" fmla="*/ 366658 h 539641"/>
                    <a:gd name="connsiteX27" fmla="*/ 17216 w 553405"/>
                    <a:gd name="connsiteY27" fmla="*/ 294354 h 539641"/>
                    <a:gd name="connsiteX28" fmla="*/ 25041 w 553405"/>
                    <a:gd name="connsiteY28" fmla="*/ 222051 h 539641"/>
                    <a:gd name="connsiteX29" fmla="*/ 34432 w 553405"/>
                    <a:gd name="connsiteY29" fmla="*/ 143870 h 539641"/>
                    <a:gd name="connsiteX30" fmla="*/ 44344 w 553405"/>
                    <a:gd name="connsiteY30" fmla="*/ 64512 h 539641"/>
                    <a:gd name="connsiteX31" fmla="*/ 45909 w 553405"/>
                    <a:gd name="connsiteY31" fmla="*/ 56283 h 539641"/>
                    <a:gd name="connsiteX32" fmla="*/ 46430 w 553405"/>
                    <a:gd name="connsiteY32" fmla="*/ 52756 h 539641"/>
                    <a:gd name="connsiteX33" fmla="*/ 46430 w 553405"/>
                    <a:gd name="connsiteY33" fmla="*/ 48641 h 539641"/>
                    <a:gd name="connsiteX34" fmla="*/ 46952 w 553405"/>
                    <a:gd name="connsiteY34" fmla="*/ 43350 h 539641"/>
                    <a:gd name="connsiteX35" fmla="*/ 47995 w 553405"/>
                    <a:gd name="connsiteY35" fmla="*/ 39823 h 539641"/>
                    <a:gd name="connsiteX36" fmla="*/ 49561 w 553405"/>
                    <a:gd name="connsiteY36" fmla="*/ 36884 h 539641"/>
                    <a:gd name="connsiteX37" fmla="*/ 51126 w 553405"/>
                    <a:gd name="connsiteY37" fmla="*/ 34533 h 539641"/>
                    <a:gd name="connsiteX38" fmla="*/ 53212 w 553405"/>
                    <a:gd name="connsiteY38" fmla="*/ 32181 h 539641"/>
                    <a:gd name="connsiteX39" fmla="*/ 55299 w 553405"/>
                    <a:gd name="connsiteY39" fmla="*/ 30418 h 539641"/>
                    <a:gd name="connsiteX40" fmla="*/ 61038 w 553405"/>
                    <a:gd name="connsiteY40" fmla="*/ 27479 h 539641"/>
                    <a:gd name="connsiteX41" fmla="*/ 74601 w 553405"/>
                    <a:gd name="connsiteY41" fmla="*/ 21601 h 539641"/>
                    <a:gd name="connsiteX42" fmla="*/ 88165 w 553405"/>
                    <a:gd name="connsiteY42" fmla="*/ 16898 h 539641"/>
                    <a:gd name="connsiteX43" fmla="*/ 101208 w 553405"/>
                    <a:gd name="connsiteY43" fmla="*/ 12195 h 539641"/>
                    <a:gd name="connsiteX44" fmla="*/ 187497 w 553405"/>
                    <a:gd name="connsiteY44" fmla="*/ 0 h 539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53405" h="539641">
                      <a:moveTo>
                        <a:pt x="187497" y="0"/>
                      </a:moveTo>
                      <a:cubicBezTo>
                        <a:pt x="276619" y="37593"/>
                        <a:pt x="304938" y="37939"/>
                        <a:pt x="382458" y="175"/>
                      </a:cubicBezTo>
                      <a:lnTo>
                        <a:pt x="453868" y="12783"/>
                      </a:lnTo>
                      <a:lnTo>
                        <a:pt x="474735" y="20425"/>
                      </a:lnTo>
                      <a:lnTo>
                        <a:pt x="495603" y="29242"/>
                      </a:lnTo>
                      <a:lnTo>
                        <a:pt x="499776" y="31594"/>
                      </a:lnTo>
                      <a:lnTo>
                        <a:pt x="502907" y="34533"/>
                      </a:lnTo>
                      <a:lnTo>
                        <a:pt x="503950" y="36296"/>
                      </a:lnTo>
                      <a:lnTo>
                        <a:pt x="504993" y="38060"/>
                      </a:lnTo>
                      <a:lnTo>
                        <a:pt x="505515" y="40411"/>
                      </a:lnTo>
                      <a:lnTo>
                        <a:pt x="506037" y="43938"/>
                      </a:lnTo>
                      <a:lnTo>
                        <a:pt x="520122" y="159153"/>
                      </a:lnTo>
                      <a:lnTo>
                        <a:pt x="526904" y="216761"/>
                      </a:lnTo>
                      <a:lnTo>
                        <a:pt x="534208" y="274956"/>
                      </a:lnTo>
                      <a:lnTo>
                        <a:pt x="540990" y="341381"/>
                      </a:lnTo>
                      <a:lnTo>
                        <a:pt x="544120" y="375475"/>
                      </a:lnTo>
                      <a:lnTo>
                        <a:pt x="546728" y="408394"/>
                      </a:lnTo>
                      <a:lnTo>
                        <a:pt x="548815" y="442488"/>
                      </a:lnTo>
                      <a:lnTo>
                        <a:pt x="550902" y="475407"/>
                      </a:lnTo>
                      <a:cubicBezTo>
                        <a:pt x="551424" y="486772"/>
                        <a:pt x="551945" y="498136"/>
                        <a:pt x="552467" y="509501"/>
                      </a:cubicBezTo>
                      <a:cubicBezTo>
                        <a:pt x="552780" y="519548"/>
                        <a:pt x="553092" y="529594"/>
                        <a:pt x="553405" y="539641"/>
                      </a:cubicBezTo>
                      <a:lnTo>
                        <a:pt x="0" y="539641"/>
                      </a:lnTo>
                      <a:lnTo>
                        <a:pt x="0" y="525372"/>
                      </a:lnTo>
                      <a:lnTo>
                        <a:pt x="1044" y="501271"/>
                      </a:lnTo>
                      <a:cubicBezTo>
                        <a:pt x="1566" y="490102"/>
                        <a:pt x="2087" y="478934"/>
                        <a:pt x="2609" y="467765"/>
                      </a:cubicBezTo>
                      <a:lnTo>
                        <a:pt x="5217" y="433670"/>
                      </a:lnTo>
                      <a:lnTo>
                        <a:pt x="10434" y="366658"/>
                      </a:lnTo>
                      <a:lnTo>
                        <a:pt x="17216" y="294354"/>
                      </a:lnTo>
                      <a:lnTo>
                        <a:pt x="25041" y="222051"/>
                      </a:lnTo>
                      <a:lnTo>
                        <a:pt x="34432" y="143870"/>
                      </a:lnTo>
                      <a:lnTo>
                        <a:pt x="44344" y="64512"/>
                      </a:lnTo>
                      <a:lnTo>
                        <a:pt x="45909" y="56283"/>
                      </a:lnTo>
                      <a:cubicBezTo>
                        <a:pt x="46083" y="55107"/>
                        <a:pt x="46256" y="53932"/>
                        <a:pt x="46430" y="52756"/>
                      </a:cubicBezTo>
                      <a:lnTo>
                        <a:pt x="46430" y="48641"/>
                      </a:lnTo>
                      <a:lnTo>
                        <a:pt x="46952" y="43350"/>
                      </a:lnTo>
                      <a:lnTo>
                        <a:pt x="47995" y="39823"/>
                      </a:lnTo>
                      <a:lnTo>
                        <a:pt x="49561" y="36884"/>
                      </a:lnTo>
                      <a:lnTo>
                        <a:pt x="51126" y="34533"/>
                      </a:lnTo>
                      <a:lnTo>
                        <a:pt x="53212" y="32181"/>
                      </a:lnTo>
                      <a:lnTo>
                        <a:pt x="55299" y="30418"/>
                      </a:lnTo>
                      <a:lnTo>
                        <a:pt x="61038" y="27479"/>
                      </a:lnTo>
                      <a:lnTo>
                        <a:pt x="74601" y="21601"/>
                      </a:lnTo>
                      <a:lnTo>
                        <a:pt x="88165" y="16898"/>
                      </a:lnTo>
                      <a:lnTo>
                        <a:pt x="101208" y="12195"/>
                      </a:lnTo>
                      <a:lnTo>
                        <a:pt x="187497" y="0"/>
                      </a:lnTo>
                      <a:close/>
                    </a:path>
                  </a:pathLst>
                </a:custGeom>
                <a:solidFill>
                  <a:srgbClr val="FFFFFF">
                    <a:lumMod val="85000"/>
                  </a:srgbClr>
                </a:solidFill>
                <a:ln w="6350">
                  <a:solidFill>
                    <a:srgbClr val="FFFFFF">
                      <a:lumMod val="65000"/>
                    </a:srgbClr>
                  </a:solidFill>
                  <a:round/>
                  <a:headEnd/>
                  <a:tailEnd/>
                </a:ln>
              </p:spPr>
              <p:txBody>
                <a:bodyPr vert="horz" wrap="square" lIns="121920" tIns="60960" rIns="121920" bIns="60960" numCol="1" anchor="t" anchorCtr="0" compatLnSpc="1">
                  <a:prstTxWarp prst="textNoShape">
                    <a:avLst/>
                  </a:prstTxWarp>
                  <a:noAutofit/>
                </a:bodyPr>
                <a:lstStyle/>
                <a:p>
                  <a:pPr defTabSz="1219140" fontAlgn="base">
                    <a:spcBef>
                      <a:spcPct val="0"/>
                    </a:spcBef>
                    <a:spcAft>
                      <a:spcPct val="0"/>
                    </a:spcAft>
                    <a:defRPr/>
                  </a:pPr>
                  <a:endParaRPr lang="en-US" sz="2400" kern="0">
                    <a:solidFill>
                      <a:srgbClr val="505050"/>
                    </a:solidFill>
                    <a:latin typeface="CiscoSansTT ExtraLight"/>
                    <a:ea typeface="ＭＳ Ｐゴシック" charset="0"/>
                    <a:cs typeface="Arial"/>
                    <a:sym typeface="Arial"/>
                  </a:endParaRPr>
                </a:p>
              </p:txBody>
            </p:sp>
            <p:sp>
              <p:nvSpPr>
                <p:cNvPr id="74" name="Rectangle: Rounded Corners 73">
                  <a:extLst>
                    <a:ext uri="{FF2B5EF4-FFF2-40B4-BE49-F238E27FC236}">
                      <a16:creationId xmlns:a16="http://schemas.microsoft.com/office/drawing/2014/main" id="{661E81D5-E8C2-4F35-979F-EED2E3D52C80}"/>
                    </a:ext>
                  </a:extLst>
                </p:cNvPr>
                <p:cNvSpPr/>
                <p:nvPr/>
              </p:nvSpPr>
              <p:spPr>
                <a:xfrm>
                  <a:off x="3823827" y="4269274"/>
                  <a:ext cx="62293" cy="145564"/>
                </a:xfrm>
                <a:prstGeom prst="roundRect">
                  <a:avLst>
                    <a:gd name="adj" fmla="val 50000"/>
                  </a:avLst>
                </a:prstGeom>
                <a:solidFill>
                  <a:srgbClr val="FFFFFF">
                    <a:lumMod val="85000"/>
                  </a:srgbClr>
                </a:solidFill>
                <a:ln w="6350">
                  <a:solidFill>
                    <a:srgbClr val="FFFFFF">
                      <a:lumMod val="65000"/>
                    </a:srgbClr>
                  </a:solidFill>
                  <a:round/>
                  <a:headEnd/>
                  <a:tailEnd/>
                </a:ln>
              </p:spPr>
              <p:txBody>
                <a:bodyPr vert="horz" wrap="square" lIns="121920" tIns="60960" rIns="121920" bIns="60960" numCol="1" anchor="t" anchorCtr="0" compatLnSpc="1">
                  <a:prstTxWarp prst="textNoShape">
                    <a:avLst/>
                  </a:prstTxWarp>
                  <a:noAutofit/>
                </a:bodyPr>
                <a:lstStyle/>
                <a:p>
                  <a:pPr defTabSz="1219140" fontAlgn="base">
                    <a:spcBef>
                      <a:spcPct val="0"/>
                    </a:spcBef>
                    <a:spcAft>
                      <a:spcPct val="0"/>
                    </a:spcAft>
                    <a:defRPr/>
                  </a:pPr>
                  <a:endParaRPr lang="en-US" sz="2400" kern="0">
                    <a:solidFill>
                      <a:srgbClr val="505050"/>
                    </a:solidFill>
                    <a:latin typeface="CiscoSansTT ExtraLight"/>
                    <a:ea typeface="ＭＳ Ｐゴシック" charset="0"/>
                    <a:cs typeface="Arial"/>
                    <a:sym typeface="Arial"/>
                  </a:endParaRPr>
                </a:p>
              </p:txBody>
            </p:sp>
            <p:sp>
              <p:nvSpPr>
                <p:cNvPr id="75" name="Rectangle: Rounded Corners 74">
                  <a:extLst>
                    <a:ext uri="{FF2B5EF4-FFF2-40B4-BE49-F238E27FC236}">
                      <a16:creationId xmlns:a16="http://schemas.microsoft.com/office/drawing/2014/main" id="{7E7475F6-47F9-4118-A10B-7656A10A8D87}"/>
                    </a:ext>
                  </a:extLst>
                </p:cNvPr>
                <p:cNvSpPr/>
                <p:nvPr/>
              </p:nvSpPr>
              <p:spPr>
                <a:xfrm>
                  <a:off x="3930983" y="4269274"/>
                  <a:ext cx="62293" cy="145564"/>
                </a:xfrm>
                <a:prstGeom prst="roundRect">
                  <a:avLst>
                    <a:gd name="adj" fmla="val 50000"/>
                  </a:avLst>
                </a:prstGeom>
                <a:solidFill>
                  <a:srgbClr val="FFFFFF">
                    <a:lumMod val="85000"/>
                  </a:srgbClr>
                </a:solidFill>
                <a:ln w="6350">
                  <a:solidFill>
                    <a:srgbClr val="FFFFFF">
                      <a:lumMod val="65000"/>
                    </a:srgbClr>
                  </a:solidFill>
                  <a:round/>
                  <a:headEnd/>
                  <a:tailEnd/>
                </a:ln>
              </p:spPr>
              <p:txBody>
                <a:bodyPr vert="horz" wrap="square" lIns="121920" tIns="60960" rIns="121920" bIns="60960" numCol="1" anchor="t" anchorCtr="0" compatLnSpc="1">
                  <a:prstTxWarp prst="textNoShape">
                    <a:avLst/>
                  </a:prstTxWarp>
                  <a:noAutofit/>
                </a:bodyPr>
                <a:lstStyle/>
                <a:p>
                  <a:pPr defTabSz="1219140" fontAlgn="base">
                    <a:spcBef>
                      <a:spcPct val="0"/>
                    </a:spcBef>
                    <a:spcAft>
                      <a:spcPct val="0"/>
                    </a:spcAft>
                    <a:defRPr/>
                  </a:pPr>
                  <a:endParaRPr lang="en-US" sz="2400" kern="0">
                    <a:solidFill>
                      <a:srgbClr val="505050"/>
                    </a:solidFill>
                    <a:latin typeface="CiscoSansTT ExtraLight"/>
                    <a:ea typeface="ＭＳ Ｐゴシック" charset="0"/>
                    <a:cs typeface="Arial"/>
                    <a:sym typeface="Arial"/>
                  </a:endParaRPr>
                </a:p>
              </p:txBody>
            </p:sp>
            <p:sp>
              <p:nvSpPr>
                <p:cNvPr id="76" name="Freeform: Shape 75">
                  <a:extLst>
                    <a:ext uri="{FF2B5EF4-FFF2-40B4-BE49-F238E27FC236}">
                      <a16:creationId xmlns:a16="http://schemas.microsoft.com/office/drawing/2014/main" id="{7FA0F7AE-20A5-4A5F-A1C1-E660DDB70DBE}"/>
                    </a:ext>
                  </a:extLst>
                </p:cNvPr>
                <p:cNvSpPr/>
                <p:nvPr/>
              </p:nvSpPr>
              <p:spPr>
                <a:xfrm>
                  <a:off x="3742840" y="4062427"/>
                  <a:ext cx="323389" cy="409033"/>
                </a:xfrm>
                <a:custGeom>
                  <a:avLst/>
                  <a:gdLst>
                    <a:gd name="connsiteX0" fmla="*/ 54634 w 323389"/>
                    <a:gd name="connsiteY0" fmla="*/ 197003 h 409033"/>
                    <a:gd name="connsiteX1" fmla="*/ 275793 w 323389"/>
                    <a:gd name="connsiteY1" fmla="*/ 197003 h 409033"/>
                    <a:gd name="connsiteX2" fmla="*/ 295281 w 323389"/>
                    <a:gd name="connsiteY2" fmla="*/ 216491 h 409033"/>
                    <a:gd name="connsiteX3" fmla="*/ 275793 w 323389"/>
                    <a:gd name="connsiteY3" fmla="*/ 235979 h 409033"/>
                    <a:gd name="connsiteX4" fmla="*/ 178192 w 323389"/>
                    <a:gd name="connsiteY4" fmla="*/ 235979 h 409033"/>
                    <a:gd name="connsiteX5" fmla="*/ 178813 w 323389"/>
                    <a:gd name="connsiteY5" fmla="*/ 236600 h 409033"/>
                    <a:gd name="connsiteX6" fmla="*/ 178813 w 323389"/>
                    <a:gd name="connsiteY6" fmla="*/ 312624 h 409033"/>
                    <a:gd name="connsiteX7" fmla="*/ 317240 w 323389"/>
                    <a:gd name="connsiteY7" fmla="*/ 363485 h 409033"/>
                    <a:gd name="connsiteX8" fmla="*/ 322811 w 323389"/>
                    <a:gd name="connsiteY8" fmla="*/ 375529 h 409033"/>
                    <a:gd name="connsiteX9" fmla="*/ 319701 w 323389"/>
                    <a:gd name="connsiteY9" fmla="*/ 383994 h 409033"/>
                    <a:gd name="connsiteX10" fmla="*/ 319426 w 323389"/>
                    <a:gd name="connsiteY10" fmla="*/ 384121 h 409033"/>
                    <a:gd name="connsiteX11" fmla="*/ 321494 w 323389"/>
                    <a:gd name="connsiteY11" fmla="*/ 389114 h 409033"/>
                    <a:gd name="connsiteX12" fmla="*/ 301575 w 323389"/>
                    <a:gd name="connsiteY12" fmla="*/ 409033 h 409033"/>
                    <a:gd name="connsiteX13" fmla="*/ 281656 w 323389"/>
                    <a:gd name="connsiteY13" fmla="*/ 389114 h 409033"/>
                    <a:gd name="connsiteX14" fmla="*/ 284929 w 323389"/>
                    <a:gd name="connsiteY14" fmla="*/ 381214 h 409033"/>
                    <a:gd name="connsiteX15" fmla="*/ 163366 w 323389"/>
                    <a:gd name="connsiteY15" fmla="*/ 336548 h 409033"/>
                    <a:gd name="connsiteX16" fmla="*/ 37257 w 323389"/>
                    <a:gd name="connsiteY16" fmla="*/ 382884 h 409033"/>
                    <a:gd name="connsiteX17" fmla="*/ 39838 w 323389"/>
                    <a:gd name="connsiteY17" fmla="*/ 389114 h 409033"/>
                    <a:gd name="connsiteX18" fmla="*/ 19919 w 323389"/>
                    <a:gd name="connsiteY18" fmla="*/ 409033 h 409033"/>
                    <a:gd name="connsiteX19" fmla="*/ 0 w 323389"/>
                    <a:gd name="connsiteY19" fmla="*/ 389114 h 409033"/>
                    <a:gd name="connsiteX20" fmla="*/ 4723 w 323389"/>
                    <a:gd name="connsiteY20" fmla="*/ 377713 h 409033"/>
                    <a:gd name="connsiteX21" fmla="*/ 3920 w 323389"/>
                    <a:gd name="connsiteY21" fmla="*/ 375529 h 409033"/>
                    <a:gd name="connsiteX22" fmla="*/ 9492 w 323389"/>
                    <a:gd name="connsiteY22" fmla="*/ 363485 h 409033"/>
                    <a:gd name="connsiteX23" fmla="*/ 151615 w 323389"/>
                    <a:gd name="connsiteY23" fmla="*/ 311265 h 409033"/>
                    <a:gd name="connsiteX24" fmla="*/ 151615 w 323389"/>
                    <a:gd name="connsiteY24" fmla="*/ 236600 h 409033"/>
                    <a:gd name="connsiteX25" fmla="*/ 152236 w 323389"/>
                    <a:gd name="connsiteY25" fmla="*/ 235979 h 409033"/>
                    <a:gd name="connsiteX26" fmla="*/ 54634 w 323389"/>
                    <a:gd name="connsiteY26" fmla="*/ 235979 h 409033"/>
                    <a:gd name="connsiteX27" fmla="*/ 35146 w 323389"/>
                    <a:gd name="connsiteY27" fmla="*/ 216491 h 409033"/>
                    <a:gd name="connsiteX28" fmla="*/ 54634 w 323389"/>
                    <a:gd name="connsiteY28" fmla="*/ 197003 h 409033"/>
                    <a:gd name="connsiteX29" fmla="*/ 161115 w 323389"/>
                    <a:gd name="connsiteY29" fmla="*/ 3 h 409033"/>
                    <a:gd name="connsiteX30" fmla="*/ 251492 w 323389"/>
                    <a:gd name="connsiteY30" fmla="*/ 46977 h 409033"/>
                    <a:gd name="connsiteX31" fmla="*/ 278829 w 323389"/>
                    <a:gd name="connsiteY31" fmla="*/ 176649 h 409033"/>
                    <a:gd name="connsiteX32" fmla="*/ 270084 w 323389"/>
                    <a:gd name="connsiteY32" fmla="*/ 190251 h 409033"/>
                    <a:gd name="connsiteX33" fmla="*/ 55357 w 323389"/>
                    <a:gd name="connsiteY33" fmla="*/ 190737 h 409033"/>
                    <a:gd name="connsiteX34" fmla="*/ 45155 w 323389"/>
                    <a:gd name="connsiteY34" fmla="*/ 180535 h 409033"/>
                    <a:gd name="connsiteX35" fmla="*/ 70188 w 323389"/>
                    <a:gd name="connsiteY35" fmla="*/ 46977 h 409033"/>
                    <a:gd name="connsiteX36" fmla="*/ 161115 w 323389"/>
                    <a:gd name="connsiteY36" fmla="*/ 3 h 40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23389" h="409033">
                      <a:moveTo>
                        <a:pt x="54634" y="197003"/>
                      </a:moveTo>
                      <a:lnTo>
                        <a:pt x="275793" y="197003"/>
                      </a:lnTo>
                      <a:cubicBezTo>
                        <a:pt x="286556" y="197003"/>
                        <a:pt x="295281" y="205728"/>
                        <a:pt x="295281" y="216491"/>
                      </a:cubicBezTo>
                      <a:cubicBezTo>
                        <a:pt x="295281" y="227254"/>
                        <a:pt x="286556" y="235979"/>
                        <a:pt x="275793" y="235979"/>
                      </a:cubicBezTo>
                      <a:lnTo>
                        <a:pt x="178192" y="235979"/>
                      </a:lnTo>
                      <a:lnTo>
                        <a:pt x="178813" y="236600"/>
                      </a:lnTo>
                      <a:lnTo>
                        <a:pt x="178813" y="312624"/>
                      </a:lnTo>
                      <a:lnTo>
                        <a:pt x="317240" y="363485"/>
                      </a:lnTo>
                      <a:cubicBezTo>
                        <a:pt x="322104" y="365272"/>
                        <a:pt x="324598" y="370665"/>
                        <a:pt x="322811" y="375529"/>
                      </a:cubicBezTo>
                      <a:lnTo>
                        <a:pt x="319701" y="383994"/>
                      </a:lnTo>
                      <a:lnTo>
                        <a:pt x="319426" y="384121"/>
                      </a:lnTo>
                      <a:lnTo>
                        <a:pt x="321494" y="389114"/>
                      </a:lnTo>
                      <a:cubicBezTo>
                        <a:pt x="321494" y="400115"/>
                        <a:pt x="312576" y="409033"/>
                        <a:pt x="301575" y="409033"/>
                      </a:cubicBezTo>
                      <a:cubicBezTo>
                        <a:pt x="290574" y="409033"/>
                        <a:pt x="281656" y="400115"/>
                        <a:pt x="281656" y="389114"/>
                      </a:cubicBezTo>
                      <a:lnTo>
                        <a:pt x="284929" y="381214"/>
                      </a:lnTo>
                      <a:lnTo>
                        <a:pt x="163366" y="336548"/>
                      </a:lnTo>
                      <a:lnTo>
                        <a:pt x="37257" y="382884"/>
                      </a:lnTo>
                      <a:lnTo>
                        <a:pt x="39838" y="389114"/>
                      </a:lnTo>
                      <a:cubicBezTo>
                        <a:pt x="39838" y="400115"/>
                        <a:pt x="30920" y="409033"/>
                        <a:pt x="19919" y="409033"/>
                      </a:cubicBezTo>
                      <a:cubicBezTo>
                        <a:pt x="8918" y="409033"/>
                        <a:pt x="0" y="400115"/>
                        <a:pt x="0" y="389114"/>
                      </a:cubicBezTo>
                      <a:lnTo>
                        <a:pt x="4723" y="377713"/>
                      </a:lnTo>
                      <a:lnTo>
                        <a:pt x="3920" y="375529"/>
                      </a:lnTo>
                      <a:cubicBezTo>
                        <a:pt x="2133" y="370665"/>
                        <a:pt x="4627" y="365272"/>
                        <a:pt x="9492" y="363485"/>
                      </a:cubicBezTo>
                      <a:lnTo>
                        <a:pt x="151615" y="311265"/>
                      </a:lnTo>
                      <a:lnTo>
                        <a:pt x="151615" y="236600"/>
                      </a:lnTo>
                      <a:lnTo>
                        <a:pt x="152236" y="235979"/>
                      </a:lnTo>
                      <a:lnTo>
                        <a:pt x="54634" y="235979"/>
                      </a:lnTo>
                      <a:cubicBezTo>
                        <a:pt x="43871" y="235979"/>
                        <a:pt x="35146" y="227254"/>
                        <a:pt x="35146" y="216491"/>
                      </a:cubicBezTo>
                      <a:cubicBezTo>
                        <a:pt x="35146" y="205728"/>
                        <a:pt x="43871" y="197003"/>
                        <a:pt x="54634" y="197003"/>
                      </a:cubicBezTo>
                      <a:close/>
                      <a:moveTo>
                        <a:pt x="161115" y="3"/>
                      </a:moveTo>
                      <a:cubicBezTo>
                        <a:pt x="198297" y="-283"/>
                        <a:pt x="235387" y="15089"/>
                        <a:pt x="251492" y="46977"/>
                      </a:cubicBezTo>
                      <a:lnTo>
                        <a:pt x="278829" y="176649"/>
                      </a:lnTo>
                      <a:cubicBezTo>
                        <a:pt x="279800" y="182640"/>
                        <a:pt x="278343" y="189117"/>
                        <a:pt x="270084" y="190251"/>
                      </a:cubicBezTo>
                      <a:lnTo>
                        <a:pt x="55357" y="190737"/>
                      </a:lnTo>
                      <a:cubicBezTo>
                        <a:pt x="49527" y="189279"/>
                        <a:pt x="44669" y="190737"/>
                        <a:pt x="45155" y="180535"/>
                      </a:cubicBezTo>
                      <a:lnTo>
                        <a:pt x="70188" y="46977"/>
                      </a:lnTo>
                      <a:cubicBezTo>
                        <a:pt x="86660" y="16233"/>
                        <a:pt x="123934" y="289"/>
                        <a:pt x="161115" y="3"/>
                      </a:cubicBezTo>
                      <a:close/>
                    </a:path>
                  </a:pathLst>
                </a:custGeom>
                <a:solidFill>
                  <a:srgbClr val="FFFFFF">
                    <a:lumMod val="50000"/>
                  </a:srgbClr>
                </a:solidFill>
                <a:ln w="9525" cap="flat" cmpd="sng" algn="ctr">
                  <a:noFill/>
                  <a:prstDash val="solid"/>
                  <a:headEnd type="none" w="med" len="med"/>
                  <a:tailEnd type="none" w="med" len="med"/>
                </a:ln>
                <a:effectLst/>
              </p:spPr>
              <p:txBody>
                <a:bodyPr rot="0" spcFirstLastPara="0" vert="horz" wrap="square" lIns="243840" tIns="195072" rIns="243840" bIns="195072" numCol="1" spcCol="0" rtlCol="0" fromWordArt="0" anchor="t" anchorCtr="0" forceAA="0" compatLnSpc="1">
                  <a:prstTxWarp prst="textNoShape">
                    <a:avLst/>
                  </a:prstTxWarp>
                  <a:noAutofit/>
                </a:bodyPr>
                <a:lstStyle/>
                <a:p>
                  <a:pPr algn="ctr" defTabSz="1243234" fontAlgn="base">
                    <a:lnSpc>
                      <a:spcPct val="90000"/>
                    </a:lnSpc>
                    <a:spcBef>
                      <a:spcPct val="0"/>
                    </a:spcBef>
                    <a:spcAft>
                      <a:spcPct val="0"/>
                    </a:spcAft>
                    <a:defRPr/>
                  </a:pPr>
                  <a:endParaRPr lang="en-US" sz="3200" kern="0">
                    <a:gradFill>
                      <a:gsLst>
                        <a:gs pos="0">
                          <a:srgbClr val="FFFFFF"/>
                        </a:gs>
                        <a:gs pos="100000">
                          <a:srgbClr val="FFFFFF"/>
                        </a:gs>
                      </a:gsLst>
                      <a:lin ang="5400000" scaled="0"/>
                    </a:gradFill>
                    <a:latin typeface="CiscoSansTT ExtraLight"/>
                    <a:ea typeface="Segoe UI" pitchFamily="34" charset="0"/>
                    <a:cs typeface="Segoe UI" pitchFamily="34" charset="0"/>
                    <a:sym typeface="Arial"/>
                  </a:endParaRPr>
                </a:p>
              </p:txBody>
            </p:sp>
          </p:grpSp>
        </p:grpSp>
      </p:grpSp>
      <p:sp>
        <p:nvSpPr>
          <p:cNvPr id="242" name="Rectangle 241">
            <a:extLst>
              <a:ext uri="{FF2B5EF4-FFF2-40B4-BE49-F238E27FC236}">
                <a16:creationId xmlns:a16="http://schemas.microsoft.com/office/drawing/2014/main" id="{EAFB4837-AF26-4A3E-9CF7-BE614A68956A}"/>
              </a:ext>
            </a:extLst>
          </p:cNvPr>
          <p:cNvSpPr/>
          <p:nvPr/>
        </p:nvSpPr>
        <p:spPr>
          <a:xfrm>
            <a:off x="372591" y="4425057"/>
            <a:ext cx="784404" cy="273579"/>
          </a:xfrm>
          <a:prstGeom prst="rect">
            <a:avLst/>
          </a:prstGeom>
        </p:spPr>
        <p:txBody>
          <a:bodyPr wrap="none" lIns="0" tIns="0" rIns="0" bIns="0" anchor="ctr">
            <a:noAutofit/>
          </a:bodyPr>
          <a:lstStyle/>
          <a:p>
            <a:pPr defTabSz="914354" fontAlgn="base">
              <a:spcBef>
                <a:spcPct val="0"/>
              </a:spcBef>
              <a:spcAft>
                <a:spcPct val="0"/>
              </a:spcAft>
              <a:defRPr/>
            </a:pPr>
            <a:r>
              <a:rPr lang="en-US" sz="1333" b="1">
                <a:solidFill>
                  <a:srgbClr val="282828"/>
                </a:solidFill>
                <a:latin typeface="CiscoSansTT ExtraLight"/>
                <a:ea typeface="ＭＳ Ｐゴシック" charset="0"/>
                <a:cs typeface="Arial"/>
                <a:sym typeface="Arial"/>
              </a:rPr>
              <a:t>Branch</a:t>
            </a:r>
          </a:p>
        </p:txBody>
      </p:sp>
      <p:grpSp>
        <p:nvGrpSpPr>
          <p:cNvPr id="243" name="Group 242">
            <a:extLst>
              <a:ext uri="{FF2B5EF4-FFF2-40B4-BE49-F238E27FC236}">
                <a16:creationId xmlns:a16="http://schemas.microsoft.com/office/drawing/2014/main" id="{BFAA686F-D13B-4F98-8E65-18DF62146373}"/>
              </a:ext>
            </a:extLst>
          </p:cNvPr>
          <p:cNvGrpSpPr/>
          <p:nvPr/>
        </p:nvGrpSpPr>
        <p:grpSpPr>
          <a:xfrm>
            <a:off x="353741" y="4423949"/>
            <a:ext cx="1754041" cy="2001644"/>
            <a:chOff x="58271" y="3401998"/>
            <a:chExt cx="891906" cy="1017808"/>
          </a:xfrm>
        </p:grpSpPr>
        <p:grpSp>
          <p:nvGrpSpPr>
            <p:cNvPr id="244" name="Group 243">
              <a:extLst>
                <a:ext uri="{FF2B5EF4-FFF2-40B4-BE49-F238E27FC236}">
                  <a16:creationId xmlns:a16="http://schemas.microsoft.com/office/drawing/2014/main" id="{CBA2AD2C-FF3D-4EE8-98D4-D2E525F0D208}"/>
                </a:ext>
              </a:extLst>
            </p:cNvPr>
            <p:cNvGrpSpPr/>
            <p:nvPr/>
          </p:nvGrpSpPr>
          <p:grpSpPr>
            <a:xfrm>
              <a:off x="58271" y="3524780"/>
              <a:ext cx="835910" cy="895026"/>
              <a:chOff x="8788396" y="3417888"/>
              <a:chExt cx="4803774" cy="5143500"/>
            </a:xfrm>
          </p:grpSpPr>
          <p:sp>
            <p:nvSpPr>
              <p:cNvPr id="262" name="Freeform 22">
                <a:extLst>
                  <a:ext uri="{FF2B5EF4-FFF2-40B4-BE49-F238E27FC236}">
                    <a16:creationId xmlns:a16="http://schemas.microsoft.com/office/drawing/2014/main" id="{ABBF1E6A-7038-4900-A697-9EB7221E765E}"/>
                  </a:ext>
                </a:extLst>
              </p:cNvPr>
              <p:cNvSpPr>
                <a:spLocks/>
              </p:cNvSpPr>
              <p:nvPr/>
            </p:nvSpPr>
            <p:spPr bwMode="auto">
              <a:xfrm>
                <a:off x="8902700" y="3532188"/>
                <a:ext cx="4552950" cy="4948238"/>
              </a:xfrm>
              <a:custGeom>
                <a:avLst/>
                <a:gdLst>
                  <a:gd name="T0" fmla="*/ 0 w 2868"/>
                  <a:gd name="T1" fmla="*/ 866 h 3117"/>
                  <a:gd name="T2" fmla="*/ 1860 w 2868"/>
                  <a:gd name="T3" fmla="*/ 0 h 3117"/>
                  <a:gd name="T4" fmla="*/ 1882 w 2868"/>
                  <a:gd name="T5" fmla="*/ 675 h 3117"/>
                  <a:gd name="T6" fmla="*/ 2868 w 2868"/>
                  <a:gd name="T7" fmla="*/ 675 h 3117"/>
                  <a:gd name="T8" fmla="*/ 2868 w 2868"/>
                  <a:gd name="T9" fmla="*/ 3117 h 3117"/>
                  <a:gd name="T10" fmla="*/ 0 w 2868"/>
                  <a:gd name="T11" fmla="*/ 3117 h 3117"/>
                  <a:gd name="T12" fmla="*/ 0 w 2868"/>
                  <a:gd name="T13" fmla="*/ 866 h 3117"/>
                </a:gdLst>
                <a:ahLst/>
                <a:cxnLst>
                  <a:cxn ang="0">
                    <a:pos x="T0" y="T1"/>
                  </a:cxn>
                  <a:cxn ang="0">
                    <a:pos x="T2" y="T3"/>
                  </a:cxn>
                  <a:cxn ang="0">
                    <a:pos x="T4" y="T5"/>
                  </a:cxn>
                  <a:cxn ang="0">
                    <a:pos x="T6" y="T7"/>
                  </a:cxn>
                  <a:cxn ang="0">
                    <a:pos x="T8" y="T9"/>
                  </a:cxn>
                  <a:cxn ang="0">
                    <a:pos x="T10" y="T11"/>
                  </a:cxn>
                  <a:cxn ang="0">
                    <a:pos x="T12" y="T13"/>
                  </a:cxn>
                </a:cxnLst>
                <a:rect l="0" t="0" r="r" b="b"/>
                <a:pathLst>
                  <a:path w="2868" h="3117">
                    <a:moveTo>
                      <a:pt x="0" y="866"/>
                    </a:moveTo>
                    <a:lnTo>
                      <a:pt x="1860" y="0"/>
                    </a:lnTo>
                    <a:lnTo>
                      <a:pt x="1882" y="675"/>
                    </a:lnTo>
                    <a:lnTo>
                      <a:pt x="2868" y="675"/>
                    </a:lnTo>
                    <a:lnTo>
                      <a:pt x="2868" y="3117"/>
                    </a:lnTo>
                    <a:lnTo>
                      <a:pt x="0" y="3117"/>
                    </a:lnTo>
                    <a:lnTo>
                      <a:pt x="0" y="866"/>
                    </a:lnTo>
                    <a:close/>
                  </a:path>
                </a:pathLst>
              </a:custGeom>
              <a:solidFill>
                <a:srgbClr val="03729D"/>
              </a:solidFill>
              <a:ln w="9525">
                <a:solidFill>
                  <a:srgbClr val="049CD4">
                    <a:lumMod val="50000"/>
                  </a:srgbClr>
                </a:solidFill>
                <a:round/>
                <a:headEnd/>
                <a:tailEnd/>
              </a:ln>
            </p:spPr>
            <p:txBody>
              <a:bodyPr vert="horz" wrap="square" lIns="121920" tIns="60960" rIns="121920" bIns="60960" numCol="1" anchor="t" anchorCtr="0" compatLnSpc="1">
                <a:prstTxWarp prst="textNoShape">
                  <a:avLst/>
                </a:prstTxWarp>
              </a:bodyPr>
              <a:lstStyle/>
              <a:p>
                <a:pPr defTabSz="1219110" fontAlgn="base">
                  <a:spcBef>
                    <a:spcPct val="0"/>
                  </a:spcBef>
                  <a:spcAft>
                    <a:spcPct val="0"/>
                  </a:spcAft>
                  <a:defRPr/>
                </a:pPr>
                <a:endParaRPr lang="en-US" sz="2400" kern="0">
                  <a:solidFill>
                    <a:sysClr val="windowText" lastClr="000000"/>
                  </a:solidFill>
                  <a:latin typeface="CiscoSansTT ExtraLight"/>
                  <a:ea typeface="ＭＳ Ｐゴシック" charset="0"/>
                  <a:cs typeface="Arial"/>
                  <a:sym typeface="Arial"/>
                </a:endParaRPr>
              </a:p>
            </p:txBody>
          </p:sp>
          <p:sp>
            <p:nvSpPr>
              <p:cNvPr id="263" name="Rectangle 23">
                <a:extLst>
                  <a:ext uri="{FF2B5EF4-FFF2-40B4-BE49-F238E27FC236}">
                    <a16:creationId xmlns:a16="http://schemas.microsoft.com/office/drawing/2014/main" id="{B0C537FE-B39F-4239-9F61-2C5FC9447CDC}"/>
                  </a:ext>
                </a:extLst>
              </p:cNvPr>
              <p:cNvSpPr>
                <a:spLocks noChangeArrowheads="1"/>
              </p:cNvSpPr>
              <p:nvPr/>
            </p:nvSpPr>
            <p:spPr bwMode="auto">
              <a:xfrm>
                <a:off x="9415463" y="5256213"/>
                <a:ext cx="688975" cy="806450"/>
              </a:xfrm>
              <a:prstGeom prst="rect">
                <a:avLst/>
              </a:prstGeom>
              <a:solidFill>
                <a:srgbClr val="FFFFFF"/>
              </a:solidFill>
              <a:ln w="9525">
                <a:solidFill>
                  <a:srgbClr val="000000"/>
                </a:solidFill>
                <a:miter lim="800000"/>
                <a:headEnd/>
                <a:tailEnd/>
              </a:ln>
            </p:spPr>
            <p:txBody>
              <a:bodyPr vert="horz" wrap="square" lIns="121920" tIns="60960" rIns="121920" bIns="60960" numCol="1" anchor="t" anchorCtr="0" compatLnSpc="1">
                <a:prstTxWarp prst="textNoShape">
                  <a:avLst/>
                </a:prstTxWarp>
              </a:bodyPr>
              <a:lstStyle/>
              <a:p>
                <a:pPr defTabSz="1219110" fontAlgn="base">
                  <a:spcBef>
                    <a:spcPct val="0"/>
                  </a:spcBef>
                  <a:spcAft>
                    <a:spcPct val="0"/>
                  </a:spcAft>
                  <a:defRPr/>
                </a:pPr>
                <a:endParaRPr lang="en-US" sz="2400" kern="0">
                  <a:solidFill>
                    <a:sysClr val="windowText" lastClr="000000"/>
                  </a:solidFill>
                  <a:latin typeface="CiscoSansTT ExtraLight"/>
                  <a:ea typeface="ＭＳ Ｐゴシック" charset="0"/>
                  <a:cs typeface="Arial"/>
                  <a:sym typeface="Arial"/>
                </a:endParaRPr>
              </a:p>
            </p:txBody>
          </p:sp>
          <p:sp>
            <p:nvSpPr>
              <p:cNvPr id="264" name="Rectangle 24">
                <a:extLst>
                  <a:ext uri="{FF2B5EF4-FFF2-40B4-BE49-F238E27FC236}">
                    <a16:creationId xmlns:a16="http://schemas.microsoft.com/office/drawing/2014/main" id="{67C85C14-41C5-4418-ACF8-C4A0F5407B9E}"/>
                  </a:ext>
                </a:extLst>
              </p:cNvPr>
              <p:cNvSpPr>
                <a:spLocks noChangeArrowheads="1"/>
              </p:cNvSpPr>
              <p:nvPr/>
            </p:nvSpPr>
            <p:spPr bwMode="auto">
              <a:xfrm>
                <a:off x="10664827" y="5256214"/>
                <a:ext cx="688975" cy="806451"/>
              </a:xfrm>
              <a:prstGeom prst="rect">
                <a:avLst/>
              </a:prstGeom>
              <a:solidFill>
                <a:srgbClr val="FFFFFF"/>
              </a:solidFill>
              <a:ln w="9525">
                <a:solidFill>
                  <a:srgbClr val="000000"/>
                </a:solidFill>
                <a:miter lim="800000"/>
                <a:headEnd/>
                <a:tailEnd/>
              </a:ln>
            </p:spPr>
            <p:txBody>
              <a:bodyPr vert="horz" wrap="square" lIns="121920" tIns="60960" rIns="121920" bIns="60960" numCol="1" anchor="t" anchorCtr="0" compatLnSpc="1">
                <a:prstTxWarp prst="textNoShape">
                  <a:avLst/>
                </a:prstTxWarp>
              </a:bodyPr>
              <a:lstStyle/>
              <a:p>
                <a:pPr defTabSz="1219110" fontAlgn="base">
                  <a:spcBef>
                    <a:spcPct val="0"/>
                  </a:spcBef>
                  <a:spcAft>
                    <a:spcPct val="0"/>
                  </a:spcAft>
                  <a:defRPr/>
                </a:pPr>
                <a:endParaRPr lang="en-US" sz="2400" kern="0">
                  <a:solidFill>
                    <a:sysClr val="windowText" lastClr="000000"/>
                  </a:solidFill>
                  <a:latin typeface="CiscoSansTT ExtraLight"/>
                  <a:ea typeface="ＭＳ Ｐゴシック" charset="0"/>
                  <a:cs typeface="Arial"/>
                  <a:sym typeface="Arial"/>
                </a:endParaRPr>
              </a:p>
            </p:txBody>
          </p:sp>
          <p:sp>
            <p:nvSpPr>
              <p:cNvPr id="265" name="Rectangle 25">
                <a:extLst>
                  <a:ext uri="{FF2B5EF4-FFF2-40B4-BE49-F238E27FC236}">
                    <a16:creationId xmlns:a16="http://schemas.microsoft.com/office/drawing/2014/main" id="{8374EC53-446A-40EA-B6AC-197DC72F06F8}"/>
                  </a:ext>
                </a:extLst>
              </p:cNvPr>
              <p:cNvSpPr>
                <a:spLocks noChangeArrowheads="1"/>
              </p:cNvSpPr>
              <p:nvPr/>
            </p:nvSpPr>
            <p:spPr bwMode="auto">
              <a:xfrm>
                <a:off x="12334875" y="5035551"/>
                <a:ext cx="688975" cy="7032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10" fontAlgn="base">
                  <a:spcBef>
                    <a:spcPct val="0"/>
                  </a:spcBef>
                  <a:spcAft>
                    <a:spcPct val="0"/>
                  </a:spcAft>
                  <a:defRPr/>
                </a:pPr>
                <a:endParaRPr lang="en-US" sz="2400" kern="0">
                  <a:solidFill>
                    <a:sysClr val="windowText" lastClr="000000"/>
                  </a:solidFill>
                  <a:latin typeface="CiscoSansTT ExtraLight"/>
                  <a:ea typeface="ＭＳ Ｐゴシック" charset="0"/>
                  <a:cs typeface="Arial"/>
                  <a:sym typeface="Arial"/>
                </a:endParaRPr>
              </a:p>
            </p:txBody>
          </p:sp>
          <p:sp>
            <p:nvSpPr>
              <p:cNvPr id="266" name="Rectangle 26">
                <a:extLst>
                  <a:ext uri="{FF2B5EF4-FFF2-40B4-BE49-F238E27FC236}">
                    <a16:creationId xmlns:a16="http://schemas.microsoft.com/office/drawing/2014/main" id="{DDF8E02E-295C-42CF-B3D8-C8E388248A93}"/>
                  </a:ext>
                </a:extLst>
              </p:cNvPr>
              <p:cNvSpPr>
                <a:spLocks noChangeArrowheads="1"/>
              </p:cNvSpPr>
              <p:nvPr/>
            </p:nvSpPr>
            <p:spPr bwMode="auto">
              <a:xfrm>
                <a:off x="12334875" y="6149976"/>
                <a:ext cx="688975" cy="7032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10" fontAlgn="base">
                  <a:spcBef>
                    <a:spcPct val="0"/>
                  </a:spcBef>
                  <a:spcAft>
                    <a:spcPct val="0"/>
                  </a:spcAft>
                  <a:defRPr/>
                </a:pPr>
                <a:endParaRPr lang="en-US" sz="2400" kern="0">
                  <a:solidFill>
                    <a:sysClr val="windowText" lastClr="000000"/>
                  </a:solidFill>
                  <a:latin typeface="CiscoSansTT ExtraLight"/>
                  <a:ea typeface="ＭＳ Ｐゴシック" charset="0"/>
                  <a:cs typeface="Arial"/>
                  <a:sym typeface="Arial"/>
                </a:endParaRPr>
              </a:p>
            </p:txBody>
          </p:sp>
          <p:sp>
            <p:nvSpPr>
              <p:cNvPr id="267" name="Rectangle 27">
                <a:extLst>
                  <a:ext uri="{FF2B5EF4-FFF2-40B4-BE49-F238E27FC236}">
                    <a16:creationId xmlns:a16="http://schemas.microsoft.com/office/drawing/2014/main" id="{DAB4B6CB-9DEF-4A8F-AEA3-AB57BFF5776C}"/>
                  </a:ext>
                </a:extLst>
              </p:cNvPr>
              <p:cNvSpPr>
                <a:spLocks noChangeArrowheads="1"/>
              </p:cNvSpPr>
              <p:nvPr/>
            </p:nvSpPr>
            <p:spPr bwMode="auto">
              <a:xfrm>
                <a:off x="12334875" y="7308851"/>
                <a:ext cx="688975" cy="7032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10" fontAlgn="base">
                  <a:spcBef>
                    <a:spcPct val="0"/>
                  </a:spcBef>
                  <a:spcAft>
                    <a:spcPct val="0"/>
                  </a:spcAft>
                  <a:defRPr/>
                </a:pPr>
                <a:endParaRPr lang="en-US" sz="2400" kern="0">
                  <a:solidFill>
                    <a:sysClr val="windowText" lastClr="000000"/>
                  </a:solidFill>
                  <a:latin typeface="CiscoSansTT ExtraLight"/>
                  <a:ea typeface="ＭＳ Ｐゴシック" charset="0"/>
                  <a:cs typeface="Arial"/>
                  <a:sym typeface="Arial"/>
                </a:endParaRPr>
              </a:p>
            </p:txBody>
          </p:sp>
          <p:sp>
            <p:nvSpPr>
              <p:cNvPr id="268" name="Rectangle 28">
                <a:extLst>
                  <a:ext uri="{FF2B5EF4-FFF2-40B4-BE49-F238E27FC236}">
                    <a16:creationId xmlns:a16="http://schemas.microsoft.com/office/drawing/2014/main" id="{24FE861A-C37F-4C08-B20E-4D2B2FA9B2DF}"/>
                  </a:ext>
                </a:extLst>
              </p:cNvPr>
              <p:cNvSpPr>
                <a:spLocks noChangeArrowheads="1"/>
              </p:cNvSpPr>
              <p:nvPr/>
            </p:nvSpPr>
            <p:spPr bwMode="auto">
              <a:xfrm>
                <a:off x="9415463" y="6503988"/>
                <a:ext cx="688975" cy="804863"/>
              </a:xfrm>
              <a:prstGeom prst="rect">
                <a:avLst/>
              </a:prstGeom>
              <a:solidFill>
                <a:srgbClr val="FFFFFF"/>
              </a:solidFill>
              <a:ln w="9525">
                <a:solidFill>
                  <a:srgbClr val="000000"/>
                </a:solidFill>
                <a:miter lim="800000"/>
                <a:headEnd/>
                <a:tailEnd/>
              </a:ln>
            </p:spPr>
            <p:txBody>
              <a:bodyPr vert="horz" wrap="square" lIns="121920" tIns="60960" rIns="121920" bIns="60960" numCol="1" anchor="t" anchorCtr="0" compatLnSpc="1">
                <a:prstTxWarp prst="textNoShape">
                  <a:avLst/>
                </a:prstTxWarp>
              </a:bodyPr>
              <a:lstStyle/>
              <a:p>
                <a:pPr defTabSz="1219110" fontAlgn="base">
                  <a:spcBef>
                    <a:spcPct val="0"/>
                  </a:spcBef>
                  <a:spcAft>
                    <a:spcPct val="0"/>
                  </a:spcAft>
                  <a:defRPr/>
                </a:pPr>
                <a:endParaRPr lang="en-US" sz="2400" kern="0">
                  <a:solidFill>
                    <a:sysClr val="windowText" lastClr="000000"/>
                  </a:solidFill>
                  <a:latin typeface="CiscoSansTT ExtraLight"/>
                  <a:ea typeface="ＭＳ Ｐゴシック" charset="0"/>
                  <a:cs typeface="Arial"/>
                  <a:sym typeface="Arial"/>
                </a:endParaRPr>
              </a:p>
            </p:txBody>
          </p:sp>
          <p:sp>
            <p:nvSpPr>
              <p:cNvPr id="269" name="Rectangle 29">
                <a:extLst>
                  <a:ext uri="{FF2B5EF4-FFF2-40B4-BE49-F238E27FC236}">
                    <a16:creationId xmlns:a16="http://schemas.microsoft.com/office/drawing/2014/main" id="{03674E1E-A852-47B3-BBA6-7357F620D3CF}"/>
                  </a:ext>
                </a:extLst>
              </p:cNvPr>
              <p:cNvSpPr>
                <a:spLocks noChangeArrowheads="1"/>
              </p:cNvSpPr>
              <p:nvPr/>
            </p:nvSpPr>
            <p:spPr bwMode="auto">
              <a:xfrm>
                <a:off x="10664825" y="6503988"/>
                <a:ext cx="688975" cy="804863"/>
              </a:xfrm>
              <a:prstGeom prst="rect">
                <a:avLst/>
              </a:prstGeom>
              <a:solidFill>
                <a:srgbClr val="FFFFFF"/>
              </a:solidFill>
              <a:ln w="9525">
                <a:solidFill>
                  <a:srgbClr val="000000"/>
                </a:solidFill>
                <a:miter lim="800000"/>
                <a:headEnd/>
                <a:tailEnd/>
              </a:ln>
            </p:spPr>
            <p:txBody>
              <a:bodyPr vert="horz" wrap="square" lIns="121920" tIns="60960" rIns="121920" bIns="60960" numCol="1" anchor="t" anchorCtr="0" compatLnSpc="1">
                <a:prstTxWarp prst="textNoShape">
                  <a:avLst/>
                </a:prstTxWarp>
              </a:bodyPr>
              <a:lstStyle/>
              <a:p>
                <a:pPr defTabSz="1219110" fontAlgn="base">
                  <a:spcBef>
                    <a:spcPct val="0"/>
                  </a:spcBef>
                  <a:spcAft>
                    <a:spcPct val="0"/>
                  </a:spcAft>
                  <a:defRPr/>
                </a:pPr>
                <a:endParaRPr lang="en-US" sz="2400" kern="0">
                  <a:solidFill>
                    <a:sysClr val="windowText" lastClr="000000"/>
                  </a:solidFill>
                  <a:latin typeface="CiscoSansTT ExtraLight"/>
                  <a:ea typeface="ＭＳ Ｐゴシック" charset="0"/>
                  <a:cs typeface="Arial"/>
                  <a:sym typeface="Arial"/>
                </a:endParaRPr>
              </a:p>
            </p:txBody>
          </p:sp>
          <p:sp>
            <p:nvSpPr>
              <p:cNvPr id="270" name="Freeform 30">
                <a:extLst>
                  <a:ext uri="{FF2B5EF4-FFF2-40B4-BE49-F238E27FC236}">
                    <a16:creationId xmlns:a16="http://schemas.microsoft.com/office/drawing/2014/main" id="{87CACE2D-363E-40F7-B507-21BA6AD600E4}"/>
                  </a:ext>
                </a:extLst>
              </p:cNvPr>
              <p:cNvSpPr>
                <a:spLocks noEditPoints="1"/>
              </p:cNvSpPr>
              <p:nvPr/>
            </p:nvSpPr>
            <p:spPr bwMode="auto">
              <a:xfrm>
                <a:off x="8788396" y="3417888"/>
                <a:ext cx="4803774" cy="5143500"/>
              </a:xfrm>
              <a:custGeom>
                <a:avLst/>
                <a:gdLst>
                  <a:gd name="T0" fmla="*/ 33 w 3026"/>
                  <a:gd name="T1" fmla="*/ 875 h 3240"/>
                  <a:gd name="T2" fmla="*/ 0 w 3026"/>
                  <a:gd name="T3" fmla="*/ 936 h 3240"/>
                  <a:gd name="T4" fmla="*/ 33 w 3026"/>
                  <a:gd name="T5" fmla="*/ 3227 h 3240"/>
                  <a:gd name="T6" fmla="*/ 2967 w 3026"/>
                  <a:gd name="T7" fmla="*/ 3240 h 3240"/>
                  <a:gd name="T8" fmla="*/ 3026 w 3026"/>
                  <a:gd name="T9" fmla="*/ 3168 h 3240"/>
                  <a:gd name="T10" fmla="*/ 2993 w 3026"/>
                  <a:gd name="T11" fmla="*/ 660 h 3240"/>
                  <a:gd name="T12" fmla="*/ 2013 w 3026"/>
                  <a:gd name="T13" fmla="*/ 53 h 3240"/>
                  <a:gd name="T14" fmla="*/ 1947 w 3026"/>
                  <a:gd name="T15" fmla="*/ 0 h 3240"/>
                  <a:gd name="T16" fmla="*/ 1296 w 3026"/>
                  <a:gd name="T17" fmla="*/ 2723 h 3240"/>
                  <a:gd name="T18" fmla="*/ 1224 w 3026"/>
                  <a:gd name="T19" fmla="*/ 2664 h 3240"/>
                  <a:gd name="T20" fmla="*/ 734 w 3026"/>
                  <a:gd name="T21" fmla="*/ 2699 h 3240"/>
                  <a:gd name="T22" fmla="*/ 1873 w 3026"/>
                  <a:gd name="T23" fmla="*/ 184 h 3240"/>
                  <a:gd name="T24" fmla="*/ 2234 w 3026"/>
                  <a:gd name="T25" fmla="*/ 936 h 3240"/>
                  <a:gd name="T26" fmla="*/ 2162 w 3026"/>
                  <a:gd name="T27" fmla="*/ 997 h 3240"/>
                  <a:gd name="T28" fmla="*/ 2182 w 3026"/>
                  <a:gd name="T29" fmla="*/ 1491 h 3240"/>
                  <a:gd name="T30" fmla="*/ 2679 w 3026"/>
                  <a:gd name="T31" fmla="*/ 1512 h 3240"/>
                  <a:gd name="T32" fmla="*/ 2737 w 3026"/>
                  <a:gd name="T33" fmla="*/ 1440 h 3240"/>
                  <a:gd name="T34" fmla="*/ 2704 w 3026"/>
                  <a:gd name="T35" fmla="*/ 949 h 3240"/>
                  <a:gd name="T36" fmla="*/ 346 w 3026"/>
                  <a:gd name="T37" fmla="*/ 1083 h 3240"/>
                  <a:gd name="T38" fmla="*/ 289 w 3026"/>
                  <a:gd name="T39" fmla="*/ 1153 h 3240"/>
                  <a:gd name="T40" fmla="*/ 322 w 3026"/>
                  <a:gd name="T41" fmla="*/ 1716 h 3240"/>
                  <a:gd name="T42" fmla="*/ 892 w 3026"/>
                  <a:gd name="T43" fmla="*/ 1723 h 3240"/>
                  <a:gd name="T44" fmla="*/ 938 w 3026"/>
                  <a:gd name="T45" fmla="*/ 1153 h 3240"/>
                  <a:gd name="T46" fmla="*/ 892 w 3026"/>
                  <a:gd name="T47" fmla="*/ 1087 h 3240"/>
                  <a:gd name="T48" fmla="*/ 1125 w 3026"/>
                  <a:gd name="T49" fmla="*/ 1087 h 3240"/>
                  <a:gd name="T50" fmla="*/ 1081 w 3026"/>
                  <a:gd name="T51" fmla="*/ 1657 h 3240"/>
                  <a:gd name="T52" fmla="*/ 1125 w 3026"/>
                  <a:gd name="T53" fmla="*/ 1723 h 3240"/>
                  <a:gd name="T54" fmla="*/ 1697 w 3026"/>
                  <a:gd name="T55" fmla="*/ 1716 h 3240"/>
                  <a:gd name="T56" fmla="*/ 1730 w 3026"/>
                  <a:gd name="T57" fmla="*/ 1153 h 3240"/>
                  <a:gd name="T58" fmla="*/ 1671 w 3026"/>
                  <a:gd name="T59" fmla="*/ 1081 h 3240"/>
                  <a:gd name="T60" fmla="*/ 2305 w 3026"/>
                  <a:gd name="T61" fmla="*/ 1079 h 3240"/>
                  <a:gd name="T62" fmla="*/ 1585 w 3026"/>
                  <a:gd name="T63" fmla="*/ 1225 h 3240"/>
                  <a:gd name="T64" fmla="*/ 2206 w 3026"/>
                  <a:gd name="T65" fmla="*/ 1664 h 3240"/>
                  <a:gd name="T66" fmla="*/ 2162 w 3026"/>
                  <a:gd name="T67" fmla="*/ 2161 h 3240"/>
                  <a:gd name="T68" fmla="*/ 2206 w 3026"/>
                  <a:gd name="T69" fmla="*/ 2227 h 3240"/>
                  <a:gd name="T70" fmla="*/ 2704 w 3026"/>
                  <a:gd name="T71" fmla="*/ 2219 h 3240"/>
                  <a:gd name="T72" fmla="*/ 2737 w 3026"/>
                  <a:gd name="T73" fmla="*/ 1728 h 3240"/>
                  <a:gd name="T74" fmla="*/ 2679 w 3026"/>
                  <a:gd name="T75" fmla="*/ 1659 h 3240"/>
                  <a:gd name="T76" fmla="*/ 2305 w 3026"/>
                  <a:gd name="T77" fmla="*/ 1800 h 3240"/>
                  <a:gd name="T78" fmla="*/ 301 w 3026"/>
                  <a:gd name="T79" fmla="*/ 1909 h 3240"/>
                  <a:gd name="T80" fmla="*/ 294 w 3026"/>
                  <a:gd name="T81" fmla="*/ 2475 h 3240"/>
                  <a:gd name="T82" fmla="*/ 864 w 3026"/>
                  <a:gd name="T83" fmla="*/ 2521 h 3240"/>
                  <a:gd name="T84" fmla="*/ 930 w 3026"/>
                  <a:gd name="T85" fmla="*/ 2475 h 3240"/>
                  <a:gd name="T86" fmla="*/ 925 w 3026"/>
                  <a:gd name="T87" fmla="*/ 1905 h 3240"/>
                  <a:gd name="T88" fmla="*/ 1153 w 3026"/>
                  <a:gd name="T89" fmla="*/ 1872 h 3240"/>
                  <a:gd name="T90" fmla="*/ 1086 w 3026"/>
                  <a:gd name="T91" fmla="*/ 1920 h 3240"/>
                  <a:gd name="T92" fmla="*/ 1094 w 3026"/>
                  <a:gd name="T93" fmla="*/ 2488 h 3240"/>
                  <a:gd name="T94" fmla="*/ 1656 w 3026"/>
                  <a:gd name="T95" fmla="*/ 2521 h 3240"/>
                  <a:gd name="T96" fmla="*/ 1728 w 3026"/>
                  <a:gd name="T97" fmla="*/ 2462 h 3240"/>
                  <a:gd name="T98" fmla="*/ 1708 w 3026"/>
                  <a:gd name="T99" fmla="*/ 1894 h 3240"/>
                  <a:gd name="T100" fmla="*/ 792 w 3026"/>
                  <a:gd name="T101" fmla="*/ 2017 h 3240"/>
                  <a:gd name="T102" fmla="*/ 1224 w 3026"/>
                  <a:gd name="T103" fmla="*/ 2376 h 3240"/>
                  <a:gd name="T104" fmla="*/ 2184 w 3026"/>
                  <a:gd name="T105" fmla="*/ 2401 h 3240"/>
                  <a:gd name="T106" fmla="*/ 2162 w 3026"/>
                  <a:gd name="T107" fmla="*/ 2894 h 3240"/>
                  <a:gd name="T108" fmla="*/ 2234 w 3026"/>
                  <a:gd name="T109" fmla="*/ 2953 h 3240"/>
                  <a:gd name="T110" fmla="*/ 2725 w 3026"/>
                  <a:gd name="T111" fmla="*/ 2920 h 3240"/>
                  <a:gd name="T112" fmla="*/ 2732 w 3026"/>
                  <a:gd name="T113" fmla="*/ 2422 h 3240"/>
                  <a:gd name="T114" fmla="*/ 2234 w 3026"/>
                  <a:gd name="T115" fmla="*/ 2376 h 3240"/>
                  <a:gd name="T116" fmla="*/ 1153 w 3026"/>
                  <a:gd name="T117" fmla="*/ 2808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26" h="3240">
                    <a:moveTo>
                      <a:pt x="1947" y="0"/>
                    </a:moveTo>
                    <a:lnTo>
                      <a:pt x="1947" y="0"/>
                    </a:lnTo>
                    <a:lnTo>
                      <a:pt x="1930" y="2"/>
                    </a:lnTo>
                    <a:lnTo>
                      <a:pt x="1914" y="6"/>
                    </a:lnTo>
                    <a:lnTo>
                      <a:pt x="42" y="870"/>
                    </a:lnTo>
                    <a:lnTo>
                      <a:pt x="42" y="870"/>
                    </a:lnTo>
                    <a:lnTo>
                      <a:pt x="33" y="875"/>
                    </a:lnTo>
                    <a:lnTo>
                      <a:pt x="26" y="881"/>
                    </a:lnTo>
                    <a:lnTo>
                      <a:pt x="18" y="888"/>
                    </a:lnTo>
                    <a:lnTo>
                      <a:pt x="13" y="897"/>
                    </a:lnTo>
                    <a:lnTo>
                      <a:pt x="7" y="907"/>
                    </a:lnTo>
                    <a:lnTo>
                      <a:pt x="4" y="916"/>
                    </a:lnTo>
                    <a:lnTo>
                      <a:pt x="2" y="927"/>
                    </a:lnTo>
                    <a:lnTo>
                      <a:pt x="0" y="936"/>
                    </a:lnTo>
                    <a:lnTo>
                      <a:pt x="0" y="3168"/>
                    </a:lnTo>
                    <a:lnTo>
                      <a:pt x="0" y="3168"/>
                    </a:lnTo>
                    <a:lnTo>
                      <a:pt x="2" y="3183"/>
                    </a:lnTo>
                    <a:lnTo>
                      <a:pt x="7" y="3196"/>
                    </a:lnTo>
                    <a:lnTo>
                      <a:pt x="13" y="3209"/>
                    </a:lnTo>
                    <a:lnTo>
                      <a:pt x="22" y="3220"/>
                    </a:lnTo>
                    <a:lnTo>
                      <a:pt x="33" y="3227"/>
                    </a:lnTo>
                    <a:lnTo>
                      <a:pt x="46" y="3234"/>
                    </a:lnTo>
                    <a:lnTo>
                      <a:pt x="59" y="3240"/>
                    </a:lnTo>
                    <a:lnTo>
                      <a:pt x="74" y="3240"/>
                    </a:lnTo>
                    <a:lnTo>
                      <a:pt x="1945" y="3240"/>
                    </a:lnTo>
                    <a:lnTo>
                      <a:pt x="2952" y="3240"/>
                    </a:lnTo>
                    <a:lnTo>
                      <a:pt x="2952" y="3240"/>
                    </a:lnTo>
                    <a:lnTo>
                      <a:pt x="2967" y="3240"/>
                    </a:lnTo>
                    <a:lnTo>
                      <a:pt x="2982" y="3234"/>
                    </a:lnTo>
                    <a:lnTo>
                      <a:pt x="2993" y="3229"/>
                    </a:lnTo>
                    <a:lnTo>
                      <a:pt x="3004" y="3220"/>
                    </a:lnTo>
                    <a:lnTo>
                      <a:pt x="3013" y="3209"/>
                    </a:lnTo>
                    <a:lnTo>
                      <a:pt x="3019" y="3198"/>
                    </a:lnTo>
                    <a:lnTo>
                      <a:pt x="3024" y="3183"/>
                    </a:lnTo>
                    <a:lnTo>
                      <a:pt x="3026" y="3168"/>
                    </a:lnTo>
                    <a:lnTo>
                      <a:pt x="3026" y="721"/>
                    </a:lnTo>
                    <a:lnTo>
                      <a:pt x="3026" y="721"/>
                    </a:lnTo>
                    <a:lnTo>
                      <a:pt x="3024" y="706"/>
                    </a:lnTo>
                    <a:lnTo>
                      <a:pt x="3019" y="691"/>
                    </a:lnTo>
                    <a:lnTo>
                      <a:pt x="3013" y="680"/>
                    </a:lnTo>
                    <a:lnTo>
                      <a:pt x="3004" y="669"/>
                    </a:lnTo>
                    <a:lnTo>
                      <a:pt x="2993" y="660"/>
                    </a:lnTo>
                    <a:lnTo>
                      <a:pt x="2982" y="655"/>
                    </a:lnTo>
                    <a:lnTo>
                      <a:pt x="2967" y="649"/>
                    </a:lnTo>
                    <a:lnTo>
                      <a:pt x="2952" y="647"/>
                    </a:lnTo>
                    <a:lnTo>
                      <a:pt x="2017" y="647"/>
                    </a:lnTo>
                    <a:lnTo>
                      <a:pt x="2017" y="72"/>
                    </a:lnTo>
                    <a:lnTo>
                      <a:pt x="2017" y="72"/>
                    </a:lnTo>
                    <a:lnTo>
                      <a:pt x="2013" y="53"/>
                    </a:lnTo>
                    <a:lnTo>
                      <a:pt x="2008" y="39"/>
                    </a:lnTo>
                    <a:lnTo>
                      <a:pt x="2000" y="26"/>
                    </a:lnTo>
                    <a:lnTo>
                      <a:pt x="1991" y="17"/>
                    </a:lnTo>
                    <a:lnTo>
                      <a:pt x="1980" y="9"/>
                    </a:lnTo>
                    <a:lnTo>
                      <a:pt x="1969" y="4"/>
                    </a:lnTo>
                    <a:lnTo>
                      <a:pt x="1958" y="2"/>
                    </a:lnTo>
                    <a:lnTo>
                      <a:pt x="1947" y="0"/>
                    </a:lnTo>
                    <a:lnTo>
                      <a:pt x="1947" y="0"/>
                    </a:lnTo>
                    <a:close/>
                    <a:moveTo>
                      <a:pt x="1873" y="184"/>
                    </a:moveTo>
                    <a:lnTo>
                      <a:pt x="1873" y="3097"/>
                    </a:lnTo>
                    <a:lnTo>
                      <a:pt x="1296" y="3097"/>
                    </a:lnTo>
                    <a:lnTo>
                      <a:pt x="1296" y="2736"/>
                    </a:lnTo>
                    <a:lnTo>
                      <a:pt x="1296" y="2736"/>
                    </a:lnTo>
                    <a:lnTo>
                      <a:pt x="1296" y="2723"/>
                    </a:lnTo>
                    <a:lnTo>
                      <a:pt x="1291" y="2710"/>
                    </a:lnTo>
                    <a:lnTo>
                      <a:pt x="1285" y="2698"/>
                    </a:lnTo>
                    <a:lnTo>
                      <a:pt x="1276" y="2687"/>
                    </a:lnTo>
                    <a:lnTo>
                      <a:pt x="1265" y="2677"/>
                    </a:lnTo>
                    <a:lnTo>
                      <a:pt x="1252" y="2670"/>
                    </a:lnTo>
                    <a:lnTo>
                      <a:pt x="1239" y="2666"/>
                    </a:lnTo>
                    <a:lnTo>
                      <a:pt x="1224" y="2664"/>
                    </a:lnTo>
                    <a:lnTo>
                      <a:pt x="792" y="2664"/>
                    </a:lnTo>
                    <a:lnTo>
                      <a:pt x="792" y="2664"/>
                    </a:lnTo>
                    <a:lnTo>
                      <a:pt x="778" y="2666"/>
                    </a:lnTo>
                    <a:lnTo>
                      <a:pt x="765" y="2672"/>
                    </a:lnTo>
                    <a:lnTo>
                      <a:pt x="752" y="2679"/>
                    </a:lnTo>
                    <a:lnTo>
                      <a:pt x="741" y="2690"/>
                    </a:lnTo>
                    <a:lnTo>
                      <a:pt x="734" y="2699"/>
                    </a:lnTo>
                    <a:lnTo>
                      <a:pt x="726" y="2712"/>
                    </a:lnTo>
                    <a:lnTo>
                      <a:pt x="722" y="2725"/>
                    </a:lnTo>
                    <a:lnTo>
                      <a:pt x="721" y="2736"/>
                    </a:lnTo>
                    <a:lnTo>
                      <a:pt x="721" y="3097"/>
                    </a:lnTo>
                    <a:lnTo>
                      <a:pt x="145" y="3097"/>
                    </a:lnTo>
                    <a:lnTo>
                      <a:pt x="145" y="982"/>
                    </a:lnTo>
                    <a:lnTo>
                      <a:pt x="1873" y="184"/>
                    </a:lnTo>
                    <a:close/>
                    <a:moveTo>
                      <a:pt x="2017" y="793"/>
                    </a:moveTo>
                    <a:lnTo>
                      <a:pt x="2881" y="793"/>
                    </a:lnTo>
                    <a:lnTo>
                      <a:pt x="2881" y="3097"/>
                    </a:lnTo>
                    <a:lnTo>
                      <a:pt x="2017" y="3097"/>
                    </a:lnTo>
                    <a:lnTo>
                      <a:pt x="2017" y="793"/>
                    </a:lnTo>
                    <a:close/>
                    <a:moveTo>
                      <a:pt x="2234" y="936"/>
                    </a:moveTo>
                    <a:lnTo>
                      <a:pt x="2234" y="936"/>
                    </a:lnTo>
                    <a:lnTo>
                      <a:pt x="2219" y="938"/>
                    </a:lnTo>
                    <a:lnTo>
                      <a:pt x="2206" y="943"/>
                    </a:lnTo>
                    <a:lnTo>
                      <a:pt x="2193" y="951"/>
                    </a:lnTo>
                    <a:lnTo>
                      <a:pt x="2184" y="960"/>
                    </a:lnTo>
                    <a:lnTo>
                      <a:pt x="2175" y="971"/>
                    </a:lnTo>
                    <a:lnTo>
                      <a:pt x="2167" y="984"/>
                    </a:lnTo>
                    <a:lnTo>
                      <a:pt x="2162" y="997"/>
                    </a:lnTo>
                    <a:lnTo>
                      <a:pt x="2162" y="1008"/>
                    </a:lnTo>
                    <a:lnTo>
                      <a:pt x="2162" y="1440"/>
                    </a:lnTo>
                    <a:lnTo>
                      <a:pt x="2162" y="1440"/>
                    </a:lnTo>
                    <a:lnTo>
                      <a:pt x="2162" y="1455"/>
                    </a:lnTo>
                    <a:lnTo>
                      <a:pt x="2167" y="1467"/>
                    </a:lnTo>
                    <a:lnTo>
                      <a:pt x="2175" y="1480"/>
                    </a:lnTo>
                    <a:lnTo>
                      <a:pt x="2182" y="1491"/>
                    </a:lnTo>
                    <a:lnTo>
                      <a:pt x="2193" y="1499"/>
                    </a:lnTo>
                    <a:lnTo>
                      <a:pt x="2206" y="1506"/>
                    </a:lnTo>
                    <a:lnTo>
                      <a:pt x="2219" y="1512"/>
                    </a:lnTo>
                    <a:lnTo>
                      <a:pt x="2234" y="1512"/>
                    </a:lnTo>
                    <a:lnTo>
                      <a:pt x="2666" y="1512"/>
                    </a:lnTo>
                    <a:lnTo>
                      <a:pt x="2666" y="1512"/>
                    </a:lnTo>
                    <a:lnTo>
                      <a:pt x="2679" y="1512"/>
                    </a:lnTo>
                    <a:lnTo>
                      <a:pt x="2691" y="1506"/>
                    </a:lnTo>
                    <a:lnTo>
                      <a:pt x="2704" y="1499"/>
                    </a:lnTo>
                    <a:lnTo>
                      <a:pt x="2715" y="1491"/>
                    </a:lnTo>
                    <a:lnTo>
                      <a:pt x="2725" y="1480"/>
                    </a:lnTo>
                    <a:lnTo>
                      <a:pt x="2732" y="1467"/>
                    </a:lnTo>
                    <a:lnTo>
                      <a:pt x="2736" y="1455"/>
                    </a:lnTo>
                    <a:lnTo>
                      <a:pt x="2737" y="1440"/>
                    </a:lnTo>
                    <a:lnTo>
                      <a:pt x="2737" y="1008"/>
                    </a:lnTo>
                    <a:lnTo>
                      <a:pt x="2737" y="1008"/>
                    </a:lnTo>
                    <a:lnTo>
                      <a:pt x="2736" y="995"/>
                    </a:lnTo>
                    <a:lnTo>
                      <a:pt x="2732" y="982"/>
                    </a:lnTo>
                    <a:lnTo>
                      <a:pt x="2725" y="969"/>
                    </a:lnTo>
                    <a:lnTo>
                      <a:pt x="2715" y="958"/>
                    </a:lnTo>
                    <a:lnTo>
                      <a:pt x="2704" y="949"/>
                    </a:lnTo>
                    <a:lnTo>
                      <a:pt x="2691" y="941"/>
                    </a:lnTo>
                    <a:lnTo>
                      <a:pt x="2679" y="938"/>
                    </a:lnTo>
                    <a:lnTo>
                      <a:pt x="2666" y="936"/>
                    </a:lnTo>
                    <a:lnTo>
                      <a:pt x="2234" y="936"/>
                    </a:lnTo>
                    <a:close/>
                    <a:moveTo>
                      <a:pt x="360" y="1079"/>
                    </a:moveTo>
                    <a:lnTo>
                      <a:pt x="360" y="1079"/>
                    </a:lnTo>
                    <a:lnTo>
                      <a:pt x="346" y="1083"/>
                    </a:lnTo>
                    <a:lnTo>
                      <a:pt x="333" y="1087"/>
                    </a:lnTo>
                    <a:lnTo>
                      <a:pt x="320" y="1094"/>
                    </a:lnTo>
                    <a:lnTo>
                      <a:pt x="311" y="1105"/>
                    </a:lnTo>
                    <a:lnTo>
                      <a:pt x="301" y="1116"/>
                    </a:lnTo>
                    <a:lnTo>
                      <a:pt x="294" y="1127"/>
                    </a:lnTo>
                    <a:lnTo>
                      <a:pt x="290" y="1140"/>
                    </a:lnTo>
                    <a:lnTo>
                      <a:pt x="289" y="1153"/>
                    </a:lnTo>
                    <a:lnTo>
                      <a:pt x="289" y="1657"/>
                    </a:lnTo>
                    <a:lnTo>
                      <a:pt x="289" y="1657"/>
                    </a:lnTo>
                    <a:lnTo>
                      <a:pt x="290" y="1670"/>
                    </a:lnTo>
                    <a:lnTo>
                      <a:pt x="294" y="1684"/>
                    </a:lnTo>
                    <a:lnTo>
                      <a:pt x="301" y="1695"/>
                    </a:lnTo>
                    <a:lnTo>
                      <a:pt x="311" y="1706"/>
                    </a:lnTo>
                    <a:lnTo>
                      <a:pt x="322" y="1716"/>
                    </a:lnTo>
                    <a:lnTo>
                      <a:pt x="335" y="1723"/>
                    </a:lnTo>
                    <a:lnTo>
                      <a:pt x="347" y="1727"/>
                    </a:lnTo>
                    <a:lnTo>
                      <a:pt x="360" y="1728"/>
                    </a:lnTo>
                    <a:lnTo>
                      <a:pt x="864" y="1728"/>
                    </a:lnTo>
                    <a:lnTo>
                      <a:pt x="864" y="1728"/>
                    </a:lnTo>
                    <a:lnTo>
                      <a:pt x="879" y="1727"/>
                    </a:lnTo>
                    <a:lnTo>
                      <a:pt x="892" y="1723"/>
                    </a:lnTo>
                    <a:lnTo>
                      <a:pt x="904" y="1716"/>
                    </a:lnTo>
                    <a:lnTo>
                      <a:pt x="916" y="1706"/>
                    </a:lnTo>
                    <a:lnTo>
                      <a:pt x="925" y="1695"/>
                    </a:lnTo>
                    <a:lnTo>
                      <a:pt x="930" y="1684"/>
                    </a:lnTo>
                    <a:lnTo>
                      <a:pt x="936" y="1670"/>
                    </a:lnTo>
                    <a:lnTo>
                      <a:pt x="938" y="1657"/>
                    </a:lnTo>
                    <a:lnTo>
                      <a:pt x="938" y="1153"/>
                    </a:lnTo>
                    <a:lnTo>
                      <a:pt x="938" y="1153"/>
                    </a:lnTo>
                    <a:lnTo>
                      <a:pt x="936" y="1138"/>
                    </a:lnTo>
                    <a:lnTo>
                      <a:pt x="930" y="1125"/>
                    </a:lnTo>
                    <a:lnTo>
                      <a:pt x="925" y="1112"/>
                    </a:lnTo>
                    <a:lnTo>
                      <a:pt x="916" y="1101"/>
                    </a:lnTo>
                    <a:lnTo>
                      <a:pt x="904" y="1092"/>
                    </a:lnTo>
                    <a:lnTo>
                      <a:pt x="892" y="1087"/>
                    </a:lnTo>
                    <a:lnTo>
                      <a:pt x="879" y="1081"/>
                    </a:lnTo>
                    <a:lnTo>
                      <a:pt x="864" y="1079"/>
                    </a:lnTo>
                    <a:lnTo>
                      <a:pt x="360" y="1079"/>
                    </a:lnTo>
                    <a:close/>
                    <a:moveTo>
                      <a:pt x="1153" y="1079"/>
                    </a:moveTo>
                    <a:lnTo>
                      <a:pt x="1153" y="1079"/>
                    </a:lnTo>
                    <a:lnTo>
                      <a:pt x="1138" y="1083"/>
                    </a:lnTo>
                    <a:lnTo>
                      <a:pt x="1125" y="1087"/>
                    </a:lnTo>
                    <a:lnTo>
                      <a:pt x="1112" y="1094"/>
                    </a:lnTo>
                    <a:lnTo>
                      <a:pt x="1101" y="1105"/>
                    </a:lnTo>
                    <a:lnTo>
                      <a:pt x="1094" y="1116"/>
                    </a:lnTo>
                    <a:lnTo>
                      <a:pt x="1086" y="1127"/>
                    </a:lnTo>
                    <a:lnTo>
                      <a:pt x="1083" y="1140"/>
                    </a:lnTo>
                    <a:lnTo>
                      <a:pt x="1081" y="1153"/>
                    </a:lnTo>
                    <a:lnTo>
                      <a:pt x="1081" y="1657"/>
                    </a:lnTo>
                    <a:lnTo>
                      <a:pt x="1081" y="1657"/>
                    </a:lnTo>
                    <a:lnTo>
                      <a:pt x="1083" y="1670"/>
                    </a:lnTo>
                    <a:lnTo>
                      <a:pt x="1086" y="1684"/>
                    </a:lnTo>
                    <a:lnTo>
                      <a:pt x="1094" y="1695"/>
                    </a:lnTo>
                    <a:lnTo>
                      <a:pt x="1103" y="1706"/>
                    </a:lnTo>
                    <a:lnTo>
                      <a:pt x="1114" y="1716"/>
                    </a:lnTo>
                    <a:lnTo>
                      <a:pt x="1125" y="1723"/>
                    </a:lnTo>
                    <a:lnTo>
                      <a:pt x="1140" y="1727"/>
                    </a:lnTo>
                    <a:lnTo>
                      <a:pt x="1153" y="1728"/>
                    </a:lnTo>
                    <a:lnTo>
                      <a:pt x="1656" y="1728"/>
                    </a:lnTo>
                    <a:lnTo>
                      <a:pt x="1656" y="1728"/>
                    </a:lnTo>
                    <a:lnTo>
                      <a:pt x="1671" y="1727"/>
                    </a:lnTo>
                    <a:lnTo>
                      <a:pt x="1684" y="1723"/>
                    </a:lnTo>
                    <a:lnTo>
                      <a:pt x="1697" y="1716"/>
                    </a:lnTo>
                    <a:lnTo>
                      <a:pt x="1708" y="1706"/>
                    </a:lnTo>
                    <a:lnTo>
                      <a:pt x="1717" y="1695"/>
                    </a:lnTo>
                    <a:lnTo>
                      <a:pt x="1723" y="1684"/>
                    </a:lnTo>
                    <a:lnTo>
                      <a:pt x="1728" y="1670"/>
                    </a:lnTo>
                    <a:lnTo>
                      <a:pt x="1730" y="1657"/>
                    </a:lnTo>
                    <a:lnTo>
                      <a:pt x="1730" y="1153"/>
                    </a:lnTo>
                    <a:lnTo>
                      <a:pt x="1730" y="1153"/>
                    </a:lnTo>
                    <a:lnTo>
                      <a:pt x="1728" y="1138"/>
                    </a:lnTo>
                    <a:lnTo>
                      <a:pt x="1723" y="1125"/>
                    </a:lnTo>
                    <a:lnTo>
                      <a:pt x="1717" y="1112"/>
                    </a:lnTo>
                    <a:lnTo>
                      <a:pt x="1708" y="1101"/>
                    </a:lnTo>
                    <a:lnTo>
                      <a:pt x="1697" y="1092"/>
                    </a:lnTo>
                    <a:lnTo>
                      <a:pt x="1684" y="1087"/>
                    </a:lnTo>
                    <a:lnTo>
                      <a:pt x="1671" y="1081"/>
                    </a:lnTo>
                    <a:lnTo>
                      <a:pt x="1656" y="1079"/>
                    </a:lnTo>
                    <a:lnTo>
                      <a:pt x="1153" y="1079"/>
                    </a:lnTo>
                    <a:close/>
                    <a:moveTo>
                      <a:pt x="2305" y="1079"/>
                    </a:moveTo>
                    <a:lnTo>
                      <a:pt x="2594" y="1079"/>
                    </a:lnTo>
                    <a:lnTo>
                      <a:pt x="2594" y="1368"/>
                    </a:lnTo>
                    <a:lnTo>
                      <a:pt x="2305" y="1368"/>
                    </a:lnTo>
                    <a:lnTo>
                      <a:pt x="2305" y="1079"/>
                    </a:lnTo>
                    <a:close/>
                    <a:moveTo>
                      <a:pt x="432" y="1225"/>
                    </a:moveTo>
                    <a:lnTo>
                      <a:pt x="792" y="1225"/>
                    </a:lnTo>
                    <a:lnTo>
                      <a:pt x="792" y="1585"/>
                    </a:lnTo>
                    <a:lnTo>
                      <a:pt x="432" y="1585"/>
                    </a:lnTo>
                    <a:lnTo>
                      <a:pt x="432" y="1225"/>
                    </a:lnTo>
                    <a:close/>
                    <a:moveTo>
                      <a:pt x="1224" y="1225"/>
                    </a:moveTo>
                    <a:lnTo>
                      <a:pt x="1585" y="1225"/>
                    </a:lnTo>
                    <a:lnTo>
                      <a:pt x="1585" y="1585"/>
                    </a:lnTo>
                    <a:lnTo>
                      <a:pt x="1224" y="1585"/>
                    </a:lnTo>
                    <a:lnTo>
                      <a:pt x="1224" y="1225"/>
                    </a:lnTo>
                    <a:close/>
                    <a:moveTo>
                      <a:pt x="2234" y="1657"/>
                    </a:moveTo>
                    <a:lnTo>
                      <a:pt x="2234" y="1657"/>
                    </a:lnTo>
                    <a:lnTo>
                      <a:pt x="2219" y="1659"/>
                    </a:lnTo>
                    <a:lnTo>
                      <a:pt x="2206" y="1664"/>
                    </a:lnTo>
                    <a:lnTo>
                      <a:pt x="2193" y="1671"/>
                    </a:lnTo>
                    <a:lnTo>
                      <a:pt x="2184" y="1681"/>
                    </a:lnTo>
                    <a:lnTo>
                      <a:pt x="2175" y="1692"/>
                    </a:lnTo>
                    <a:lnTo>
                      <a:pt x="2167" y="1703"/>
                    </a:lnTo>
                    <a:lnTo>
                      <a:pt x="2162" y="1716"/>
                    </a:lnTo>
                    <a:lnTo>
                      <a:pt x="2162" y="1728"/>
                    </a:lnTo>
                    <a:lnTo>
                      <a:pt x="2162" y="2161"/>
                    </a:lnTo>
                    <a:lnTo>
                      <a:pt x="2162" y="2161"/>
                    </a:lnTo>
                    <a:lnTo>
                      <a:pt x="2162" y="2175"/>
                    </a:lnTo>
                    <a:lnTo>
                      <a:pt x="2167" y="2188"/>
                    </a:lnTo>
                    <a:lnTo>
                      <a:pt x="2175" y="2199"/>
                    </a:lnTo>
                    <a:lnTo>
                      <a:pt x="2182" y="2210"/>
                    </a:lnTo>
                    <a:lnTo>
                      <a:pt x="2193" y="2219"/>
                    </a:lnTo>
                    <a:lnTo>
                      <a:pt x="2206" y="2227"/>
                    </a:lnTo>
                    <a:lnTo>
                      <a:pt x="2219" y="2230"/>
                    </a:lnTo>
                    <a:lnTo>
                      <a:pt x="2234" y="2232"/>
                    </a:lnTo>
                    <a:lnTo>
                      <a:pt x="2666" y="2232"/>
                    </a:lnTo>
                    <a:lnTo>
                      <a:pt x="2666" y="2232"/>
                    </a:lnTo>
                    <a:lnTo>
                      <a:pt x="2679" y="2230"/>
                    </a:lnTo>
                    <a:lnTo>
                      <a:pt x="2691" y="2227"/>
                    </a:lnTo>
                    <a:lnTo>
                      <a:pt x="2704" y="2219"/>
                    </a:lnTo>
                    <a:lnTo>
                      <a:pt x="2715" y="2210"/>
                    </a:lnTo>
                    <a:lnTo>
                      <a:pt x="2725" y="2199"/>
                    </a:lnTo>
                    <a:lnTo>
                      <a:pt x="2732" y="2188"/>
                    </a:lnTo>
                    <a:lnTo>
                      <a:pt x="2736" y="2175"/>
                    </a:lnTo>
                    <a:lnTo>
                      <a:pt x="2737" y="2161"/>
                    </a:lnTo>
                    <a:lnTo>
                      <a:pt x="2737" y="1728"/>
                    </a:lnTo>
                    <a:lnTo>
                      <a:pt x="2737" y="1728"/>
                    </a:lnTo>
                    <a:lnTo>
                      <a:pt x="2736" y="1714"/>
                    </a:lnTo>
                    <a:lnTo>
                      <a:pt x="2732" y="1701"/>
                    </a:lnTo>
                    <a:lnTo>
                      <a:pt x="2725" y="1690"/>
                    </a:lnTo>
                    <a:lnTo>
                      <a:pt x="2715" y="1679"/>
                    </a:lnTo>
                    <a:lnTo>
                      <a:pt x="2704" y="1670"/>
                    </a:lnTo>
                    <a:lnTo>
                      <a:pt x="2691" y="1662"/>
                    </a:lnTo>
                    <a:lnTo>
                      <a:pt x="2679" y="1659"/>
                    </a:lnTo>
                    <a:lnTo>
                      <a:pt x="2666" y="1657"/>
                    </a:lnTo>
                    <a:lnTo>
                      <a:pt x="2234" y="1657"/>
                    </a:lnTo>
                    <a:close/>
                    <a:moveTo>
                      <a:pt x="2305" y="1800"/>
                    </a:moveTo>
                    <a:lnTo>
                      <a:pt x="2594" y="1800"/>
                    </a:lnTo>
                    <a:lnTo>
                      <a:pt x="2594" y="2089"/>
                    </a:lnTo>
                    <a:lnTo>
                      <a:pt x="2305" y="2089"/>
                    </a:lnTo>
                    <a:lnTo>
                      <a:pt x="2305" y="1800"/>
                    </a:lnTo>
                    <a:close/>
                    <a:moveTo>
                      <a:pt x="360" y="1872"/>
                    </a:moveTo>
                    <a:lnTo>
                      <a:pt x="360" y="1872"/>
                    </a:lnTo>
                    <a:lnTo>
                      <a:pt x="346" y="1874"/>
                    </a:lnTo>
                    <a:lnTo>
                      <a:pt x="333" y="1879"/>
                    </a:lnTo>
                    <a:lnTo>
                      <a:pt x="320" y="1887"/>
                    </a:lnTo>
                    <a:lnTo>
                      <a:pt x="311" y="1898"/>
                    </a:lnTo>
                    <a:lnTo>
                      <a:pt x="301" y="1909"/>
                    </a:lnTo>
                    <a:lnTo>
                      <a:pt x="294" y="1920"/>
                    </a:lnTo>
                    <a:lnTo>
                      <a:pt x="290" y="1933"/>
                    </a:lnTo>
                    <a:lnTo>
                      <a:pt x="289" y="1944"/>
                    </a:lnTo>
                    <a:lnTo>
                      <a:pt x="289" y="2449"/>
                    </a:lnTo>
                    <a:lnTo>
                      <a:pt x="289" y="2449"/>
                    </a:lnTo>
                    <a:lnTo>
                      <a:pt x="290" y="2462"/>
                    </a:lnTo>
                    <a:lnTo>
                      <a:pt x="294" y="2475"/>
                    </a:lnTo>
                    <a:lnTo>
                      <a:pt x="301" y="2488"/>
                    </a:lnTo>
                    <a:lnTo>
                      <a:pt x="311" y="2499"/>
                    </a:lnTo>
                    <a:lnTo>
                      <a:pt x="322" y="2508"/>
                    </a:lnTo>
                    <a:lnTo>
                      <a:pt x="335" y="2516"/>
                    </a:lnTo>
                    <a:lnTo>
                      <a:pt x="347" y="2519"/>
                    </a:lnTo>
                    <a:lnTo>
                      <a:pt x="360" y="2521"/>
                    </a:lnTo>
                    <a:lnTo>
                      <a:pt x="864" y="2521"/>
                    </a:lnTo>
                    <a:lnTo>
                      <a:pt x="864" y="2521"/>
                    </a:lnTo>
                    <a:lnTo>
                      <a:pt x="879" y="2519"/>
                    </a:lnTo>
                    <a:lnTo>
                      <a:pt x="892" y="2516"/>
                    </a:lnTo>
                    <a:lnTo>
                      <a:pt x="904" y="2508"/>
                    </a:lnTo>
                    <a:lnTo>
                      <a:pt x="916" y="2499"/>
                    </a:lnTo>
                    <a:lnTo>
                      <a:pt x="925" y="2488"/>
                    </a:lnTo>
                    <a:lnTo>
                      <a:pt x="930" y="2475"/>
                    </a:lnTo>
                    <a:lnTo>
                      <a:pt x="936" y="2462"/>
                    </a:lnTo>
                    <a:lnTo>
                      <a:pt x="938" y="2449"/>
                    </a:lnTo>
                    <a:lnTo>
                      <a:pt x="938" y="1944"/>
                    </a:lnTo>
                    <a:lnTo>
                      <a:pt x="938" y="1944"/>
                    </a:lnTo>
                    <a:lnTo>
                      <a:pt x="936" y="1931"/>
                    </a:lnTo>
                    <a:lnTo>
                      <a:pt x="930" y="1918"/>
                    </a:lnTo>
                    <a:lnTo>
                      <a:pt x="925" y="1905"/>
                    </a:lnTo>
                    <a:lnTo>
                      <a:pt x="916" y="1894"/>
                    </a:lnTo>
                    <a:lnTo>
                      <a:pt x="904" y="1885"/>
                    </a:lnTo>
                    <a:lnTo>
                      <a:pt x="892" y="1879"/>
                    </a:lnTo>
                    <a:lnTo>
                      <a:pt x="879" y="1874"/>
                    </a:lnTo>
                    <a:lnTo>
                      <a:pt x="864" y="1872"/>
                    </a:lnTo>
                    <a:lnTo>
                      <a:pt x="360" y="1872"/>
                    </a:lnTo>
                    <a:close/>
                    <a:moveTo>
                      <a:pt x="1153" y="1872"/>
                    </a:moveTo>
                    <a:lnTo>
                      <a:pt x="1153" y="1872"/>
                    </a:lnTo>
                    <a:lnTo>
                      <a:pt x="1138" y="1874"/>
                    </a:lnTo>
                    <a:lnTo>
                      <a:pt x="1125" y="1879"/>
                    </a:lnTo>
                    <a:lnTo>
                      <a:pt x="1112" y="1887"/>
                    </a:lnTo>
                    <a:lnTo>
                      <a:pt x="1101" y="1898"/>
                    </a:lnTo>
                    <a:lnTo>
                      <a:pt x="1094" y="1909"/>
                    </a:lnTo>
                    <a:lnTo>
                      <a:pt x="1086" y="1920"/>
                    </a:lnTo>
                    <a:lnTo>
                      <a:pt x="1083" y="1933"/>
                    </a:lnTo>
                    <a:lnTo>
                      <a:pt x="1081" y="1944"/>
                    </a:lnTo>
                    <a:lnTo>
                      <a:pt x="1081" y="2449"/>
                    </a:lnTo>
                    <a:lnTo>
                      <a:pt x="1081" y="2449"/>
                    </a:lnTo>
                    <a:lnTo>
                      <a:pt x="1083" y="2462"/>
                    </a:lnTo>
                    <a:lnTo>
                      <a:pt x="1086" y="2475"/>
                    </a:lnTo>
                    <a:lnTo>
                      <a:pt x="1094" y="2488"/>
                    </a:lnTo>
                    <a:lnTo>
                      <a:pt x="1103" y="2499"/>
                    </a:lnTo>
                    <a:lnTo>
                      <a:pt x="1114" y="2508"/>
                    </a:lnTo>
                    <a:lnTo>
                      <a:pt x="1125" y="2516"/>
                    </a:lnTo>
                    <a:lnTo>
                      <a:pt x="1140" y="2519"/>
                    </a:lnTo>
                    <a:lnTo>
                      <a:pt x="1153" y="2521"/>
                    </a:lnTo>
                    <a:lnTo>
                      <a:pt x="1656" y="2521"/>
                    </a:lnTo>
                    <a:lnTo>
                      <a:pt x="1656" y="2521"/>
                    </a:lnTo>
                    <a:lnTo>
                      <a:pt x="1671" y="2519"/>
                    </a:lnTo>
                    <a:lnTo>
                      <a:pt x="1684" y="2516"/>
                    </a:lnTo>
                    <a:lnTo>
                      <a:pt x="1697" y="2508"/>
                    </a:lnTo>
                    <a:lnTo>
                      <a:pt x="1708" y="2499"/>
                    </a:lnTo>
                    <a:lnTo>
                      <a:pt x="1717" y="2488"/>
                    </a:lnTo>
                    <a:lnTo>
                      <a:pt x="1723" y="2475"/>
                    </a:lnTo>
                    <a:lnTo>
                      <a:pt x="1728" y="2462"/>
                    </a:lnTo>
                    <a:lnTo>
                      <a:pt x="1730" y="2449"/>
                    </a:lnTo>
                    <a:lnTo>
                      <a:pt x="1730" y="1944"/>
                    </a:lnTo>
                    <a:lnTo>
                      <a:pt x="1730" y="1944"/>
                    </a:lnTo>
                    <a:lnTo>
                      <a:pt x="1728" y="1931"/>
                    </a:lnTo>
                    <a:lnTo>
                      <a:pt x="1723" y="1918"/>
                    </a:lnTo>
                    <a:lnTo>
                      <a:pt x="1717" y="1905"/>
                    </a:lnTo>
                    <a:lnTo>
                      <a:pt x="1708" y="1894"/>
                    </a:lnTo>
                    <a:lnTo>
                      <a:pt x="1697" y="1885"/>
                    </a:lnTo>
                    <a:lnTo>
                      <a:pt x="1684" y="1879"/>
                    </a:lnTo>
                    <a:lnTo>
                      <a:pt x="1671" y="1874"/>
                    </a:lnTo>
                    <a:lnTo>
                      <a:pt x="1656" y="1872"/>
                    </a:lnTo>
                    <a:lnTo>
                      <a:pt x="1153" y="1872"/>
                    </a:lnTo>
                    <a:close/>
                    <a:moveTo>
                      <a:pt x="432" y="2017"/>
                    </a:moveTo>
                    <a:lnTo>
                      <a:pt x="792" y="2017"/>
                    </a:lnTo>
                    <a:lnTo>
                      <a:pt x="792" y="2376"/>
                    </a:lnTo>
                    <a:lnTo>
                      <a:pt x="432" y="2376"/>
                    </a:lnTo>
                    <a:lnTo>
                      <a:pt x="432" y="2017"/>
                    </a:lnTo>
                    <a:close/>
                    <a:moveTo>
                      <a:pt x="1224" y="2017"/>
                    </a:moveTo>
                    <a:lnTo>
                      <a:pt x="1585" y="2017"/>
                    </a:lnTo>
                    <a:lnTo>
                      <a:pt x="1585" y="2376"/>
                    </a:lnTo>
                    <a:lnTo>
                      <a:pt x="1224" y="2376"/>
                    </a:lnTo>
                    <a:lnTo>
                      <a:pt x="1224" y="2017"/>
                    </a:lnTo>
                    <a:close/>
                    <a:moveTo>
                      <a:pt x="2234" y="2376"/>
                    </a:moveTo>
                    <a:lnTo>
                      <a:pt x="2234" y="2376"/>
                    </a:lnTo>
                    <a:lnTo>
                      <a:pt x="2219" y="2379"/>
                    </a:lnTo>
                    <a:lnTo>
                      <a:pt x="2206" y="2383"/>
                    </a:lnTo>
                    <a:lnTo>
                      <a:pt x="2193" y="2392"/>
                    </a:lnTo>
                    <a:lnTo>
                      <a:pt x="2184" y="2401"/>
                    </a:lnTo>
                    <a:lnTo>
                      <a:pt x="2175" y="2413"/>
                    </a:lnTo>
                    <a:lnTo>
                      <a:pt x="2167" y="2424"/>
                    </a:lnTo>
                    <a:lnTo>
                      <a:pt x="2162" y="2436"/>
                    </a:lnTo>
                    <a:lnTo>
                      <a:pt x="2162" y="2449"/>
                    </a:lnTo>
                    <a:lnTo>
                      <a:pt x="2162" y="2881"/>
                    </a:lnTo>
                    <a:lnTo>
                      <a:pt x="2162" y="2881"/>
                    </a:lnTo>
                    <a:lnTo>
                      <a:pt x="2162" y="2894"/>
                    </a:lnTo>
                    <a:lnTo>
                      <a:pt x="2167" y="2907"/>
                    </a:lnTo>
                    <a:lnTo>
                      <a:pt x="2175" y="2920"/>
                    </a:lnTo>
                    <a:lnTo>
                      <a:pt x="2182" y="2931"/>
                    </a:lnTo>
                    <a:lnTo>
                      <a:pt x="2193" y="2940"/>
                    </a:lnTo>
                    <a:lnTo>
                      <a:pt x="2206" y="2948"/>
                    </a:lnTo>
                    <a:lnTo>
                      <a:pt x="2219" y="2951"/>
                    </a:lnTo>
                    <a:lnTo>
                      <a:pt x="2234" y="2953"/>
                    </a:lnTo>
                    <a:lnTo>
                      <a:pt x="2666" y="2953"/>
                    </a:lnTo>
                    <a:lnTo>
                      <a:pt x="2666" y="2953"/>
                    </a:lnTo>
                    <a:lnTo>
                      <a:pt x="2679" y="2951"/>
                    </a:lnTo>
                    <a:lnTo>
                      <a:pt x="2691" y="2948"/>
                    </a:lnTo>
                    <a:lnTo>
                      <a:pt x="2704" y="2940"/>
                    </a:lnTo>
                    <a:lnTo>
                      <a:pt x="2715" y="2931"/>
                    </a:lnTo>
                    <a:lnTo>
                      <a:pt x="2725" y="2920"/>
                    </a:lnTo>
                    <a:lnTo>
                      <a:pt x="2732" y="2907"/>
                    </a:lnTo>
                    <a:lnTo>
                      <a:pt x="2736" y="2894"/>
                    </a:lnTo>
                    <a:lnTo>
                      <a:pt x="2737" y="2881"/>
                    </a:lnTo>
                    <a:lnTo>
                      <a:pt x="2737" y="2449"/>
                    </a:lnTo>
                    <a:lnTo>
                      <a:pt x="2737" y="2449"/>
                    </a:lnTo>
                    <a:lnTo>
                      <a:pt x="2736" y="2435"/>
                    </a:lnTo>
                    <a:lnTo>
                      <a:pt x="2732" y="2422"/>
                    </a:lnTo>
                    <a:lnTo>
                      <a:pt x="2725" y="2409"/>
                    </a:lnTo>
                    <a:lnTo>
                      <a:pt x="2715" y="2398"/>
                    </a:lnTo>
                    <a:lnTo>
                      <a:pt x="2704" y="2389"/>
                    </a:lnTo>
                    <a:lnTo>
                      <a:pt x="2691" y="2383"/>
                    </a:lnTo>
                    <a:lnTo>
                      <a:pt x="2679" y="2378"/>
                    </a:lnTo>
                    <a:lnTo>
                      <a:pt x="2666" y="2376"/>
                    </a:lnTo>
                    <a:lnTo>
                      <a:pt x="2234" y="2376"/>
                    </a:lnTo>
                    <a:close/>
                    <a:moveTo>
                      <a:pt x="2305" y="2521"/>
                    </a:moveTo>
                    <a:lnTo>
                      <a:pt x="2594" y="2521"/>
                    </a:lnTo>
                    <a:lnTo>
                      <a:pt x="2594" y="2808"/>
                    </a:lnTo>
                    <a:lnTo>
                      <a:pt x="2305" y="2808"/>
                    </a:lnTo>
                    <a:lnTo>
                      <a:pt x="2305" y="2521"/>
                    </a:lnTo>
                    <a:close/>
                    <a:moveTo>
                      <a:pt x="864" y="2808"/>
                    </a:moveTo>
                    <a:lnTo>
                      <a:pt x="1153" y="2808"/>
                    </a:lnTo>
                    <a:lnTo>
                      <a:pt x="1153" y="3097"/>
                    </a:lnTo>
                    <a:lnTo>
                      <a:pt x="864" y="3097"/>
                    </a:lnTo>
                    <a:lnTo>
                      <a:pt x="864" y="2808"/>
                    </a:lnTo>
                    <a:close/>
                  </a:path>
                </a:pathLst>
              </a:custGeom>
              <a:solidFill>
                <a:srgbClr val="049CD4">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10" fontAlgn="base">
                  <a:spcBef>
                    <a:spcPct val="0"/>
                  </a:spcBef>
                  <a:spcAft>
                    <a:spcPct val="0"/>
                  </a:spcAft>
                  <a:defRPr/>
                </a:pPr>
                <a:endParaRPr lang="en-US" sz="2400" kern="0">
                  <a:solidFill>
                    <a:sysClr val="windowText" lastClr="000000"/>
                  </a:solidFill>
                  <a:latin typeface="CiscoSansTT ExtraLight"/>
                  <a:ea typeface="ＭＳ Ｐゴシック" charset="0"/>
                  <a:cs typeface="Arial"/>
                  <a:sym typeface="Arial"/>
                </a:endParaRPr>
              </a:p>
            </p:txBody>
          </p:sp>
        </p:grpSp>
        <p:grpSp>
          <p:nvGrpSpPr>
            <p:cNvPr id="255" name="Group 254">
              <a:extLst>
                <a:ext uri="{FF2B5EF4-FFF2-40B4-BE49-F238E27FC236}">
                  <a16:creationId xmlns:a16="http://schemas.microsoft.com/office/drawing/2014/main" id="{64F834E1-E77C-461C-9508-FAEDBDC9E719}"/>
                </a:ext>
              </a:extLst>
            </p:cNvPr>
            <p:cNvGrpSpPr/>
            <p:nvPr/>
          </p:nvGrpSpPr>
          <p:grpSpPr>
            <a:xfrm>
              <a:off x="773643" y="3601360"/>
              <a:ext cx="176534" cy="129926"/>
              <a:chOff x="5184662" y="2694894"/>
              <a:chExt cx="164415" cy="121006"/>
            </a:xfrm>
          </p:grpSpPr>
          <p:sp>
            <p:nvSpPr>
              <p:cNvPr id="257" name="Rectangle 50">
                <a:extLst>
                  <a:ext uri="{FF2B5EF4-FFF2-40B4-BE49-F238E27FC236}">
                    <a16:creationId xmlns:a16="http://schemas.microsoft.com/office/drawing/2014/main" id="{39352CC7-FE1D-46EF-B93E-A8AAC13D11D4}"/>
                  </a:ext>
                </a:extLst>
              </p:cNvPr>
              <p:cNvSpPr>
                <a:spLocks noChangeArrowheads="1"/>
              </p:cNvSpPr>
              <p:nvPr/>
            </p:nvSpPr>
            <p:spPr bwMode="auto">
              <a:xfrm>
                <a:off x="5239467" y="2736133"/>
                <a:ext cx="109610" cy="37984"/>
              </a:xfrm>
              <a:prstGeom prst="rect">
                <a:avLst/>
              </a:prstGeom>
              <a:noFill/>
              <a:ln w="12700">
                <a:solidFill>
                  <a:srgbClr val="FFFFFF"/>
                </a:solidFill>
              </a:ln>
            </p:spPr>
            <p:txBody>
              <a:bodyPr vert="horz" wrap="square" lIns="121888" tIns="60944" rIns="121888" bIns="60944" numCol="1" anchor="t" anchorCtr="0" compatLnSpc="1">
                <a:prstTxWarp prst="textNoShape">
                  <a:avLst/>
                </a:prstTxWarp>
              </a:bodyPr>
              <a:lstStyle/>
              <a:p>
                <a:pPr defTabSz="1218824" fontAlgn="base">
                  <a:spcBef>
                    <a:spcPct val="0"/>
                  </a:spcBef>
                  <a:spcAft>
                    <a:spcPct val="0"/>
                  </a:spcAft>
                  <a:defRPr/>
                </a:pPr>
                <a:endParaRPr lang="en-US" sz="2399" kern="0">
                  <a:solidFill>
                    <a:srgbClr val="FFFFFF"/>
                  </a:solidFill>
                  <a:latin typeface="CiscoSansTT ExtraLight"/>
                  <a:ea typeface="ＭＳ Ｐゴシック" charset="0"/>
                  <a:cs typeface="Arial"/>
                  <a:sym typeface="Arial"/>
                </a:endParaRPr>
              </a:p>
            </p:txBody>
          </p:sp>
          <p:sp>
            <p:nvSpPr>
              <p:cNvPr id="258" name="Rectangle 51">
                <a:extLst>
                  <a:ext uri="{FF2B5EF4-FFF2-40B4-BE49-F238E27FC236}">
                    <a16:creationId xmlns:a16="http://schemas.microsoft.com/office/drawing/2014/main" id="{594B0B85-84BA-406A-9801-CCD733D59DE5}"/>
                  </a:ext>
                </a:extLst>
              </p:cNvPr>
              <p:cNvSpPr>
                <a:spLocks noChangeArrowheads="1"/>
              </p:cNvSpPr>
              <p:nvPr/>
            </p:nvSpPr>
            <p:spPr bwMode="auto">
              <a:xfrm>
                <a:off x="5299156" y="2777916"/>
                <a:ext cx="49921" cy="37984"/>
              </a:xfrm>
              <a:prstGeom prst="rect">
                <a:avLst/>
              </a:prstGeom>
              <a:noFill/>
              <a:ln w="12700">
                <a:solidFill>
                  <a:srgbClr val="FFFFFF"/>
                </a:solidFill>
              </a:ln>
            </p:spPr>
            <p:txBody>
              <a:bodyPr vert="horz" wrap="square" lIns="121888" tIns="60944" rIns="121888" bIns="60944" numCol="1" anchor="t" anchorCtr="0" compatLnSpc="1">
                <a:prstTxWarp prst="textNoShape">
                  <a:avLst/>
                </a:prstTxWarp>
              </a:bodyPr>
              <a:lstStyle/>
              <a:p>
                <a:pPr defTabSz="1218824" fontAlgn="base">
                  <a:spcBef>
                    <a:spcPct val="0"/>
                  </a:spcBef>
                  <a:spcAft>
                    <a:spcPct val="0"/>
                  </a:spcAft>
                  <a:defRPr/>
                </a:pPr>
                <a:endParaRPr lang="en-US" sz="2399" kern="0">
                  <a:solidFill>
                    <a:srgbClr val="FFFFFF"/>
                  </a:solidFill>
                  <a:latin typeface="CiscoSansTT ExtraLight"/>
                  <a:ea typeface="ＭＳ Ｐゴシック" charset="0"/>
                  <a:cs typeface="Arial"/>
                  <a:sym typeface="Arial"/>
                </a:endParaRPr>
              </a:p>
            </p:txBody>
          </p:sp>
          <p:sp>
            <p:nvSpPr>
              <p:cNvPr id="259" name="Rectangle 52">
                <a:extLst>
                  <a:ext uri="{FF2B5EF4-FFF2-40B4-BE49-F238E27FC236}">
                    <a16:creationId xmlns:a16="http://schemas.microsoft.com/office/drawing/2014/main" id="{4845A439-E94D-487D-8388-B4AD5D93787F}"/>
                  </a:ext>
                </a:extLst>
              </p:cNvPr>
              <p:cNvSpPr>
                <a:spLocks noChangeArrowheads="1"/>
              </p:cNvSpPr>
              <p:nvPr/>
            </p:nvSpPr>
            <p:spPr bwMode="auto">
              <a:xfrm>
                <a:off x="5299156" y="2694894"/>
                <a:ext cx="49921" cy="37441"/>
              </a:xfrm>
              <a:prstGeom prst="rect">
                <a:avLst/>
              </a:prstGeom>
              <a:noFill/>
              <a:ln w="12700">
                <a:solidFill>
                  <a:srgbClr val="FFFFFF"/>
                </a:solidFill>
              </a:ln>
            </p:spPr>
            <p:txBody>
              <a:bodyPr vert="horz" wrap="square" lIns="121888" tIns="60944" rIns="121888" bIns="60944" numCol="1" anchor="t" anchorCtr="0" compatLnSpc="1">
                <a:prstTxWarp prst="textNoShape">
                  <a:avLst/>
                </a:prstTxWarp>
              </a:bodyPr>
              <a:lstStyle/>
              <a:p>
                <a:pPr defTabSz="1218824" fontAlgn="base">
                  <a:spcBef>
                    <a:spcPct val="0"/>
                  </a:spcBef>
                  <a:spcAft>
                    <a:spcPct val="0"/>
                  </a:spcAft>
                  <a:defRPr/>
                </a:pPr>
                <a:endParaRPr lang="en-US" sz="2399" kern="0">
                  <a:solidFill>
                    <a:srgbClr val="FFFFFF"/>
                  </a:solidFill>
                  <a:latin typeface="CiscoSansTT ExtraLight"/>
                  <a:ea typeface="ＭＳ Ｐゴシック" charset="0"/>
                  <a:cs typeface="Arial"/>
                  <a:sym typeface="Arial"/>
                </a:endParaRPr>
              </a:p>
            </p:txBody>
          </p:sp>
          <p:sp>
            <p:nvSpPr>
              <p:cNvPr id="260" name="Rectangle 53">
                <a:extLst>
                  <a:ext uri="{FF2B5EF4-FFF2-40B4-BE49-F238E27FC236}">
                    <a16:creationId xmlns:a16="http://schemas.microsoft.com/office/drawing/2014/main" id="{9425F234-CAC1-4292-A313-255ED8668143}"/>
                  </a:ext>
                </a:extLst>
              </p:cNvPr>
              <p:cNvSpPr>
                <a:spLocks noChangeArrowheads="1"/>
              </p:cNvSpPr>
              <p:nvPr/>
            </p:nvSpPr>
            <p:spPr bwMode="auto">
              <a:xfrm>
                <a:off x="5184662" y="2736133"/>
                <a:ext cx="49379" cy="37984"/>
              </a:xfrm>
              <a:prstGeom prst="rect">
                <a:avLst/>
              </a:prstGeom>
              <a:noFill/>
              <a:ln w="12700">
                <a:solidFill>
                  <a:srgbClr val="FFFFFF"/>
                </a:solidFill>
              </a:ln>
            </p:spPr>
            <p:txBody>
              <a:bodyPr vert="horz" wrap="square" lIns="121888" tIns="60944" rIns="121888" bIns="60944" numCol="1" anchor="t" anchorCtr="0" compatLnSpc="1">
                <a:prstTxWarp prst="textNoShape">
                  <a:avLst/>
                </a:prstTxWarp>
              </a:bodyPr>
              <a:lstStyle/>
              <a:p>
                <a:pPr defTabSz="1218824" fontAlgn="base">
                  <a:spcBef>
                    <a:spcPct val="0"/>
                  </a:spcBef>
                  <a:spcAft>
                    <a:spcPct val="0"/>
                  </a:spcAft>
                  <a:defRPr/>
                </a:pPr>
                <a:endParaRPr lang="en-US" sz="2399" kern="0">
                  <a:solidFill>
                    <a:srgbClr val="FFFFFF"/>
                  </a:solidFill>
                  <a:latin typeface="CiscoSansTT ExtraLight"/>
                  <a:ea typeface="ＭＳ Ｐゴシック" charset="0"/>
                  <a:cs typeface="Arial"/>
                  <a:sym typeface="Arial"/>
                </a:endParaRPr>
              </a:p>
            </p:txBody>
          </p:sp>
        </p:grpSp>
        <p:grpSp>
          <p:nvGrpSpPr>
            <p:cNvPr id="246" name="Group 245">
              <a:extLst>
                <a:ext uri="{FF2B5EF4-FFF2-40B4-BE49-F238E27FC236}">
                  <a16:creationId xmlns:a16="http://schemas.microsoft.com/office/drawing/2014/main" id="{A1B6663D-8898-46DA-B3CF-D9B49C0F2D94}"/>
                </a:ext>
              </a:extLst>
            </p:cNvPr>
            <p:cNvGrpSpPr/>
            <p:nvPr/>
          </p:nvGrpSpPr>
          <p:grpSpPr>
            <a:xfrm>
              <a:off x="453101" y="3401998"/>
              <a:ext cx="220312" cy="220983"/>
              <a:chOff x="5638829" y="2574999"/>
              <a:chExt cx="293235" cy="294128"/>
            </a:xfrm>
          </p:grpSpPr>
          <p:sp>
            <p:nvSpPr>
              <p:cNvPr id="247" name="Oval 246">
                <a:extLst>
                  <a:ext uri="{FF2B5EF4-FFF2-40B4-BE49-F238E27FC236}">
                    <a16:creationId xmlns:a16="http://schemas.microsoft.com/office/drawing/2014/main" id="{3926204D-D7B7-4E51-A11B-A27CE60A7F96}"/>
                  </a:ext>
                </a:extLst>
              </p:cNvPr>
              <p:cNvSpPr/>
              <p:nvPr/>
            </p:nvSpPr>
            <p:spPr>
              <a:xfrm>
                <a:off x="5638829" y="2574999"/>
                <a:ext cx="293235" cy="294128"/>
              </a:xfrm>
              <a:prstGeom prst="ellipse">
                <a:avLst/>
              </a:prstGeom>
              <a:solidFill>
                <a:schemeClr val="accent1"/>
              </a:solidFill>
              <a:ln w="25400" cap="flat">
                <a:noFill/>
                <a:round/>
                <a:headEnd type="none" w="med" len="med"/>
                <a:tailEnd type="none" w="med" len="med"/>
              </a:ln>
              <a:effectLst/>
            </p:spPr>
            <p:txBody>
              <a:bodyPr lIns="0" tIns="0" rIns="0" bIns="0"/>
              <a:lstStyle/>
              <a:p>
                <a:pPr defTabSz="914354" eaLnBrk="0" fontAlgn="base" hangingPunct="0">
                  <a:lnSpc>
                    <a:spcPct val="90000"/>
                  </a:lnSpc>
                  <a:spcBef>
                    <a:spcPct val="0"/>
                  </a:spcBef>
                  <a:spcAft>
                    <a:spcPct val="0"/>
                  </a:spcAft>
                  <a:defRPr/>
                </a:pPr>
                <a:endParaRPr lang="en-US" sz="2400" kern="0">
                  <a:solidFill>
                    <a:srgbClr val="39393B"/>
                  </a:solidFill>
                  <a:latin typeface="CiscoSansTT ExtraLight"/>
                  <a:ea typeface="ＭＳ Ｐゴシック" charset="0"/>
                  <a:cs typeface="Arial"/>
                  <a:sym typeface="Arial"/>
                </a:endParaRPr>
              </a:p>
            </p:txBody>
          </p:sp>
          <p:grpSp>
            <p:nvGrpSpPr>
              <p:cNvPr id="248" name="Group 247">
                <a:extLst>
                  <a:ext uri="{FF2B5EF4-FFF2-40B4-BE49-F238E27FC236}">
                    <a16:creationId xmlns:a16="http://schemas.microsoft.com/office/drawing/2014/main" id="{B7E5677C-2EFD-416A-90AB-9644AD99E5A6}"/>
                  </a:ext>
                </a:extLst>
              </p:cNvPr>
              <p:cNvGrpSpPr/>
              <p:nvPr/>
            </p:nvGrpSpPr>
            <p:grpSpPr>
              <a:xfrm>
                <a:off x="5749077" y="2606625"/>
                <a:ext cx="72738" cy="230877"/>
                <a:chOff x="4707334" y="2441614"/>
                <a:chExt cx="106495" cy="338027"/>
              </a:xfrm>
            </p:grpSpPr>
            <p:sp>
              <p:nvSpPr>
                <p:cNvPr id="252" name="Freeform 5">
                  <a:extLst>
                    <a:ext uri="{FF2B5EF4-FFF2-40B4-BE49-F238E27FC236}">
                      <a16:creationId xmlns:a16="http://schemas.microsoft.com/office/drawing/2014/main" id="{1992A7B0-1B8B-45A3-BA14-776393F3ACD5}"/>
                    </a:ext>
                  </a:extLst>
                </p:cNvPr>
                <p:cNvSpPr>
                  <a:spLocks/>
                </p:cNvSpPr>
                <p:nvPr/>
              </p:nvSpPr>
              <p:spPr bwMode="auto">
                <a:xfrm rot="16200000" flipH="1">
                  <a:off x="4697152" y="2451796"/>
                  <a:ext cx="126855" cy="106491"/>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40" fontAlgn="base">
                    <a:spcBef>
                      <a:spcPct val="0"/>
                    </a:spcBef>
                    <a:spcAft>
                      <a:spcPct val="0"/>
                    </a:spcAft>
                    <a:defRPr/>
                  </a:pPr>
                  <a:endParaRPr lang="en-US" sz="2400">
                    <a:solidFill>
                      <a:srgbClr val="39393B"/>
                    </a:solidFill>
                    <a:latin typeface="CiscoSansTT ExtraLight"/>
                    <a:sym typeface="Arial"/>
                  </a:endParaRPr>
                </a:p>
              </p:txBody>
            </p:sp>
            <p:sp>
              <p:nvSpPr>
                <p:cNvPr id="253" name="Freeform 5">
                  <a:extLst>
                    <a:ext uri="{FF2B5EF4-FFF2-40B4-BE49-F238E27FC236}">
                      <a16:creationId xmlns:a16="http://schemas.microsoft.com/office/drawing/2014/main" id="{1453200B-80E6-4AB2-A05F-3B9D4303FDDE}"/>
                    </a:ext>
                  </a:extLst>
                </p:cNvPr>
                <p:cNvSpPr>
                  <a:spLocks/>
                </p:cNvSpPr>
                <p:nvPr/>
              </p:nvSpPr>
              <p:spPr bwMode="auto">
                <a:xfrm rot="5400000" flipH="1">
                  <a:off x="4697154" y="2662967"/>
                  <a:ext cx="126855" cy="106494"/>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40" fontAlgn="base">
                    <a:spcBef>
                      <a:spcPct val="0"/>
                    </a:spcBef>
                    <a:spcAft>
                      <a:spcPct val="0"/>
                    </a:spcAft>
                    <a:defRPr/>
                  </a:pPr>
                  <a:endParaRPr lang="en-US" sz="2400">
                    <a:solidFill>
                      <a:srgbClr val="39393B"/>
                    </a:solidFill>
                    <a:latin typeface="CiscoSansTT ExtraLight"/>
                    <a:sym typeface="Arial"/>
                  </a:endParaRPr>
                </a:p>
              </p:txBody>
            </p:sp>
          </p:grpSp>
          <p:grpSp>
            <p:nvGrpSpPr>
              <p:cNvPr id="249" name="Group 248">
                <a:extLst>
                  <a:ext uri="{FF2B5EF4-FFF2-40B4-BE49-F238E27FC236}">
                    <a16:creationId xmlns:a16="http://schemas.microsoft.com/office/drawing/2014/main" id="{58140876-F0B8-463B-9504-5DE452DE41CE}"/>
                  </a:ext>
                </a:extLst>
              </p:cNvPr>
              <p:cNvGrpSpPr/>
              <p:nvPr/>
            </p:nvGrpSpPr>
            <p:grpSpPr>
              <a:xfrm rot="5400000">
                <a:off x="5749078" y="2606626"/>
                <a:ext cx="72737" cy="230874"/>
                <a:chOff x="4801866" y="2441614"/>
                <a:chExt cx="106494" cy="338023"/>
              </a:xfrm>
            </p:grpSpPr>
            <p:sp>
              <p:nvSpPr>
                <p:cNvPr id="250" name="Freeform 5">
                  <a:extLst>
                    <a:ext uri="{FF2B5EF4-FFF2-40B4-BE49-F238E27FC236}">
                      <a16:creationId xmlns:a16="http://schemas.microsoft.com/office/drawing/2014/main" id="{726F46B3-9CBD-450E-A255-E215A6DB60DA}"/>
                    </a:ext>
                  </a:extLst>
                </p:cNvPr>
                <p:cNvSpPr>
                  <a:spLocks/>
                </p:cNvSpPr>
                <p:nvPr/>
              </p:nvSpPr>
              <p:spPr bwMode="auto">
                <a:xfrm rot="16200000" flipH="1">
                  <a:off x="4791685" y="2451795"/>
                  <a:ext cx="126855" cy="106494"/>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40" fontAlgn="base">
                    <a:spcBef>
                      <a:spcPct val="0"/>
                    </a:spcBef>
                    <a:spcAft>
                      <a:spcPct val="0"/>
                    </a:spcAft>
                    <a:defRPr/>
                  </a:pPr>
                  <a:endParaRPr lang="en-US" sz="2400">
                    <a:solidFill>
                      <a:srgbClr val="39393B"/>
                    </a:solidFill>
                    <a:latin typeface="CiscoSansTT ExtraLight"/>
                    <a:sym typeface="Arial"/>
                  </a:endParaRPr>
                </a:p>
              </p:txBody>
            </p:sp>
            <p:sp>
              <p:nvSpPr>
                <p:cNvPr id="251" name="Freeform 5">
                  <a:extLst>
                    <a:ext uri="{FF2B5EF4-FFF2-40B4-BE49-F238E27FC236}">
                      <a16:creationId xmlns:a16="http://schemas.microsoft.com/office/drawing/2014/main" id="{CCD2AA11-5AAE-4372-8C0D-76C4A2A1ABE3}"/>
                    </a:ext>
                  </a:extLst>
                </p:cNvPr>
                <p:cNvSpPr>
                  <a:spLocks/>
                </p:cNvSpPr>
                <p:nvPr/>
              </p:nvSpPr>
              <p:spPr bwMode="auto">
                <a:xfrm rot="5400000" flipH="1">
                  <a:off x="4791684" y="2662964"/>
                  <a:ext cx="126855" cy="106491"/>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40" fontAlgn="base">
                    <a:spcBef>
                      <a:spcPct val="0"/>
                    </a:spcBef>
                    <a:spcAft>
                      <a:spcPct val="0"/>
                    </a:spcAft>
                    <a:defRPr/>
                  </a:pPr>
                  <a:endParaRPr lang="en-US" sz="2400">
                    <a:solidFill>
                      <a:srgbClr val="39393B"/>
                    </a:solidFill>
                    <a:latin typeface="CiscoSansTT ExtraLight"/>
                    <a:sym typeface="Arial"/>
                  </a:endParaRPr>
                </a:p>
              </p:txBody>
            </p:sp>
          </p:grpSp>
        </p:grpSp>
      </p:grpSp>
      <p:grpSp>
        <p:nvGrpSpPr>
          <p:cNvPr id="280" name="Group 279">
            <a:extLst>
              <a:ext uri="{FF2B5EF4-FFF2-40B4-BE49-F238E27FC236}">
                <a16:creationId xmlns:a16="http://schemas.microsoft.com/office/drawing/2014/main" id="{DD8B348B-D00A-41BE-A76A-5086F00B8CC7}"/>
              </a:ext>
            </a:extLst>
          </p:cNvPr>
          <p:cNvGrpSpPr/>
          <p:nvPr/>
        </p:nvGrpSpPr>
        <p:grpSpPr>
          <a:xfrm>
            <a:off x="5325661" y="5855828"/>
            <a:ext cx="754419" cy="573125"/>
            <a:chOff x="3677943" y="4007722"/>
            <a:chExt cx="565814" cy="429844"/>
          </a:xfrm>
        </p:grpSpPr>
        <p:sp>
          <p:nvSpPr>
            <p:cNvPr id="281" name="Freeform 335">
              <a:extLst>
                <a:ext uri="{FF2B5EF4-FFF2-40B4-BE49-F238E27FC236}">
                  <a16:creationId xmlns:a16="http://schemas.microsoft.com/office/drawing/2014/main" id="{9F55C628-A195-46F8-B4A8-2F6D637F321D}"/>
                </a:ext>
              </a:extLst>
            </p:cNvPr>
            <p:cNvSpPr>
              <a:spLocks noEditPoints="1"/>
            </p:cNvSpPr>
            <p:nvPr/>
          </p:nvSpPr>
          <p:spPr bwMode="auto">
            <a:xfrm>
              <a:off x="3677943" y="4007722"/>
              <a:ext cx="565814" cy="429844"/>
            </a:xfrm>
            <a:custGeom>
              <a:avLst/>
              <a:gdLst>
                <a:gd name="T0" fmla="*/ 67 w 67"/>
                <a:gd name="T1" fmla="*/ 24 h 51"/>
                <a:gd name="T2" fmla="*/ 61 w 67"/>
                <a:gd name="T3" fmla="*/ 19 h 51"/>
                <a:gd name="T4" fmla="*/ 60 w 67"/>
                <a:gd name="T5" fmla="*/ 19 h 51"/>
                <a:gd name="T6" fmla="*/ 55 w 67"/>
                <a:gd name="T7" fmla="*/ 5 h 51"/>
                <a:gd name="T8" fmla="*/ 49 w 67"/>
                <a:gd name="T9" fmla="*/ 0 h 51"/>
                <a:gd name="T10" fmla="*/ 19 w 67"/>
                <a:gd name="T11" fmla="*/ 0 h 51"/>
                <a:gd name="T12" fmla="*/ 13 w 67"/>
                <a:gd name="T13" fmla="*/ 5 h 51"/>
                <a:gd name="T14" fmla="*/ 8 w 67"/>
                <a:gd name="T15" fmla="*/ 19 h 51"/>
                <a:gd name="T16" fmla="*/ 6 w 67"/>
                <a:gd name="T17" fmla="*/ 19 h 51"/>
                <a:gd name="T18" fmla="*/ 0 w 67"/>
                <a:gd name="T19" fmla="*/ 24 h 51"/>
                <a:gd name="T20" fmla="*/ 0 w 67"/>
                <a:gd name="T21" fmla="*/ 40 h 51"/>
                <a:gd name="T22" fmla="*/ 6 w 67"/>
                <a:gd name="T23" fmla="*/ 40 h 51"/>
                <a:gd name="T24" fmla="*/ 6 w 67"/>
                <a:gd name="T25" fmla="*/ 46 h 51"/>
                <a:gd name="T26" fmla="*/ 11 w 67"/>
                <a:gd name="T27" fmla="*/ 51 h 51"/>
                <a:gd name="T28" fmla="*/ 17 w 67"/>
                <a:gd name="T29" fmla="*/ 46 h 51"/>
                <a:gd name="T30" fmla="*/ 17 w 67"/>
                <a:gd name="T31" fmla="*/ 40 h 51"/>
                <a:gd name="T32" fmla="*/ 50 w 67"/>
                <a:gd name="T33" fmla="*/ 40 h 51"/>
                <a:gd name="T34" fmla="*/ 50 w 67"/>
                <a:gd name="T35" fmla="*/ 46 h 51"/>
                <a:gd name="T36" fmla="*/ 55 w 67"/>
                <a:gd name="T37" fmla="*/ 51 h 51"/>
                <a:gd name="T38" fmla="*/ 60 w 67"/>
                <a:gd name="T39" fmla="*/ 46 h 51"/>
                <a:gd name="T40" fmla="*/ 60 w 67"/>
                <a:gd name="T41" fmla="*/ 40 h 51"/>
                <a:gd name="T42" fmla="*/ 67 w 67"/>
                <a:gd name="T43" fmla="*/ 40 h 51"/>
                <a:gd name="T44" fmla="*/ 67 w 67"/>
                <a:gd name="T45" fmla="*/ 24 h 51"/>
                <a:gd name="T46" fmla="*/ 17 w 67"/>
                <a:gd name="T47" fmla="*/ 6 h 51"/>
                <a:gd name="T48" fmla="*/ 19 w 67"/>
                <a:gd name="T49" fmla="*/ 5 h 51"/>
                <a:gd name="T50" fmla="*/ 49 w 67"/>
                <a:gd name="T51" fmla="*/ 5 h 51"/>
                <a:gd name="T52" fmla="*/ 51 w 67"/>
                <a:gd name="T53" fmla="*/ 6 h 51"/>
                <a:gd name="T54" fmla="*/ 55 w 67"/>
                <a:gd name="T55" fmla="*/ 19 h 51"/>
                <a:gd name="T56" fmla="*/ 13 w 67"/>
                <a:gd name="T57" fmla="*/ 19 h 51"/>
                <a:gd name="T58" fmla="*/ 17 w 67"/>
                <a:gd name="T59" fmla="*/ 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7" h="51">
                  <a:moveTo>
                    <a:pt x="67" y="24"/>
                  </a:moveTo>
                  <a:cubicBezTo>
                    <a:pt x="67" y="21"/>
                    <a:pt x="65" y="19"/>
                    <a:pt x="61" y="19"/>
                  </a:cubicBezTo>
                  <a:cubicBezTo>
                    <a:pt x="61" y="19"/>
                    <a:pt x="61" y="19"/>
                    <a:pt x="60" y="19"/>
                  </a:cubicBezTo>
                  <a:cubicBezTo>
                    <a:pt x="60" y="18"/>
                    <a:pt x="59" y="14"/>
                    <a:pt x="55" y="5"/>
                  </a:cubicBezTo>
                  <a:cubicBezTo>
                    <a:pt x="54" y="2"/>
                    <a:pt x="52" y="0"/>
                    <a:pt x="49" y="0"/>
                  </a:cubicBezTo>
                  <a:cubicBezTo>
                    <a:pt x="49" y="0"/>
                    <a:pt x="49" y="0"/>
                    <a:pt x="19" y="0"/>
                  </a:cubicBezTo>
                  <a:cubicBezTo>
                    <a:pt x="16" y="0"/>
                    <a:pt x="14" y="2"/>
                    <a:pt x="13" y="5"/>
                  </a:cubicBezTo>
                  <a:cubicBezTo>
                    <a:pt x="13" y="5"/>
                    <a:pt x="12" y="5"/>
                    <a:pt x="8" y="19"/>
                  </a:cubicBezTo>
                  <a:cubicBezTo>
                    <a:pt x="7" y="19"/>
                    <a:pt x="7" y="19"/>
                    <a:pt x="6" y="19"/>
                  </a:cubicBezTo>
                  <a:cubicBezTo>
                    <a:pt x="3" y="19"/>
                    <a:pt x="0" y="21"/>
                    <a:pt x="0" y="24"/>
                  </a:cubicBezTo>
                  <a:cubicBezTo>
                    <a:pt x="0" y="24"/>
                    <a:pt x="0" y="24"/>
                    <a:pt x="0" y="40"/>
                  </a:cubicBezTo>
                  <a:cubicBezTo>
                    <a:pt x="6" y="40"/>
                    <a:pt x="6" y="40"/>
                    <a:pt x="6" y="40"/>
                  </a:cubicBezTo>
                  <a:cubicBezTo>
                    <a:pt x="6" y="42"/>
                    <a:pt x="6" y="44"/>
                    <a:pt x="6" y="46"/>
                  </a:cubicBezTo>
                  <a:cubicBezTo>
                    <a:pt x="6" y="49"/>
                    <a:pt x="9" y="51"/>
                    <a:pt x="11" y="51"/>
                  </a:cubicBezTo>
                  <a:cubicBezTo>
                    <a:pt x="14" y="51"/>
                    <a:pt x="17" y="49"/>
                    <a:pt x="17" y="46"/>
                  </a:cubicBezTo>
                  <a:cubicBezTo>
                    <a:pt x="17" y="46"/>
                    <a:pt x="17" y="46"/>
                    <a:pt x="17" y="40"/>
                  </a:cubicBezTo>
                  <a:cubicBezTo>
                    <a:pt x="50" y="40"/>
                    <a:pt x="50" y="40"/>
                    <a:pt x="50" y="40"/>
                  </a:cubicBezTo>
                  <a:cubicBezTo>
                    <a:pt x="50" y="42"/>
                    <a:pt x="50" y="44"/>
                    <a:pt x="50" y="46"/>
                  </a:cubicBezTo>
                  <a:cubicBezTo>
                    <a:pt x="50" y="49"/>
                    <a:pt x="52" y="51"/>
                    <a:pt x="55" y="51"/>
                  </a:cubicBezTo>
                  <a:cubicBezTo>
                    <a:pt x="58" y="51"/>
                    <a:pt x="60" y="49"/>
                    <a:pt x="60" y="46"/>
                  </a:cubicBezTo>
                  <a:cubicBezTo>
                    <a:pt x="60" y="46"/>
                    <a:pt x="60" y="46"/>
                    <a:pt x="60" y="40"/>
                  </a:cubicBezTo>
                  <a:cubicBezTo>
                    <a:pt x="67" y="40"/>
                    <a:pt x="67" y="40"/>
                    <a:pt x="67" y="40"/>
                  </a:cubicBezTo>
                  <a:cubicBezTo>
                    <a:pt x="67" y="40"/>
                    <a:pt x="67" y="40"/>
                    <a:pt x="67" y="24"/>
                  </a:cubicBezTo>
                  <a:close/>
                  <a:moveTo>
                    <a:pt x="17" y="6"/>
                  </a:moveTo>
                  <a:cubicBezTo>
                    <a:pt x="18" y="5"/>
                    <a:pt x="19" y="5"/>
                    <a:pt x="19" y="5"/>
                  </a:cubicBezTo>
                  <a:cubicBezTo>
                    <a:pt x="19" y="5"/>
                    <a:pt x="19" y="5"/>
                    <a:pt x="49" y="5"/>
                  </a:cubicBezTo>
                  <a:cubicBezTo>
                    <a:pt x="49" y="5"/>
                    <a:pt x="50" y="5"/>
                    <a:pt x="51" y="6"/>
                  </a:cubicBezTo>
                  <a:cubicBezTo>
                    <a:pt x="51" y="6"/>
                    <a:pt x="51" y="6"/>
                    <a:pt x="55" y="19"/>
                  </a:cubicBezTo>
                  <a:cubicBezTo>
                    <a:pt x="49" y="19"/>
                    <a:pt x="37" y="19"/>
                    <a:pt x="13" y="19"/>
                  </a:cubicBezTo>
                  <a:cubicBezTo>
                    <a:pt x="14" y="17"/>
                    <a:pt x="15" y="13"/>
                    <a:pt x="17" y="6"/>
                  </a:cubicBezTo>
                  <a:close/>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82" name="Oval 336">
              <a:extLst>
                <a:ext uri="{FF2B5EF4-FFF2-40B4-BE49-F238E27FC236}">
                  <a16:creationId xmlns:a16="http://schemas.microsoft.com/office/drawing/2014/main" id="{2DCCACD1-5658-46C6-9C8B-122D650D682C}"/>
                </a:ext>
              </a:extLst>
            </p:cNvPr>
            <p:cNvSpPr>
              <a:spLocks noChangeArrowheads="1"/>
            </p:cNvSpPr>
            <p:nvPr/>
          </p:nvSpPr>
          <p:spPr bwMode="auto">
            <a:xfrm>
              <a:off x="4103397" y="4191955"/>
              <a:ext cx="83336" cy="87723"/>
            </a:xfrm>
            <a:prstGeom prst="ellipse">
              <a:avLst/>
            </a:pr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83" name="Oval 337">
              <a:extLst>
                <a:ext uri="{FF2B5EF4-FFF2-40B4-BE49-F238E27FC236}">
                  <a16:creationId xmlns:a16="http://schemas.microsoft.com/office/drawing/2014/main" id="{01240386-0CD2-47D7-8614-2150D30FB98D}"/>
                </a:ext>
              </a:extLst>
            </p:cNvPr>
            <p:cNvSpPr>
              <a:spLocks noChangeArrowheads="1"/>
            </p:cNvSpPr>
            <p:nvPr/>
          </p:nvSpPr>
          <p:spPr bwMode="auto">
            <a:xfrm>
              <a:off x="3761283" y="4191962"/>
              <a:ext cx="87723" cy="87723"/>
            </a:xfrm>
            <a:prstGeom prst="ellipse">
              <a:avLst/>
            </a:pr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nvGrpSpPr>
          <p:cNvPr id="284" name="Group 283">
            <a:extLst>
              <a:ext uri="{FF2B5EF4-FFF2-40B4-BE49-F238E27FC236}">
                <a16:creationId xmlns:a16="http://schemas.microsoft.com/office/drawing/2014/main" id="{3E7CFCF6-31D6-4E51-924B-6E1A971B320A}"/>
              </a:ext>
            </a:extLst>
          </p:cNvPr>
          <p:cNvGrpSpPr/>
          <p:nvPr/>
        </p:nvGrpSpPr>
        <p:grpSpPr>
          <a:xfrm>
            <a:off x="6293914" y="5374031"/>
            <a:ext cx="529127" cy="1088491"/>
            <a:chOff x="4499580" y="5533687"/>
            <a:chExt cx="663333" cy="1364573"/>
          </a:xfrm>
          <a:solidFill>
            <a:srgbClr val="39393B"/>
          </a:solidFill>
        </p:grpSpPr>
        <p:sp>
          <p:nvSpPr>
            <p:cNvPr id="285" name="Freeform: Shape 284">
              <a:extLst>
                <a:ext uri="{FF2B5EF4-FFF2-40B4-BE49-F238E27FC236}">
                  <a16:creationId xmlns:a16="http://schemas.microsoft.com/office/drawing/2014/main" id="{836A4A07-415F-48B3-827D-AC125A879BC3}"/>
                </a:ext>
              </a:extLst>
            </p:cNvPr>
            <p:cNvSpPr/>
            <p:nvPr/>
          </p:nvSpPr>
          <p:spPr bwMode="auto">
            <a:xfrm>
              <a:off x="4818013" y="5533687"/>
              <a:ext cx="270559" cy="286605"/>
            </a:xfrm>
            <a:custGeom>
              <a:avLst/>
              <a:gdLst>
                <a:gd name="connsiteX0" fmla="*/ 135280 w 270559"/>
                <a:gd name="connsiteY0" fmla="*/ 0 h 286605"/>
                <a:gd name="connsiteX1" fmla="*/ 270559 w 270559"/>
                <a:gd name="connsiteY1" fmla="*/ 143302 h 286605"/>
                <a:gd name="connsiteX2" fmla="*/ 135280 w 270559"/>
                <a:gd name="connsiteY2" fmla="*/ 286605 h 286605"/>
                <a:gd name="connsiteX3" fmla="*/ 0 w 270559"/>
                <a:gd name="connsiteY3" fmla="*/ 143302 h 286605"/>
                <a:gd name="connsiteX4" fmla="*/ 135280 w 270559"/>
                <a:gd name="connsiteY4" fmla="*/ 0 h 286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559" h="286605">
                  <a:moveTo>
                    <a:pt x="135280" y="0"/>
                  </a:moveTo>
                  <a:cubicBezTo>
                    <a:pt x="209993" y="0"/>
                    <a:pt x="270559" y="64159"/>
                    <a:pt x="270559" y="143302"/>
                  </a:cubicBezTo>
                  <a:cubicBezTo>
                    <a:pt x="270559" y="222446"/>
                    <a:pt x="209993" y="286605"/>
                    <a:pt x="135280" y="286605"/>
                  </a:cubicBezTo>
                  <a:cubicBezTo>
                    <a:pt x="60567" y="286605"/>
                    <a:pt x="0" y="222446"/>
                    <a:pt x="0" y="143302"/>
                  </a:cubicBezTo>
                  <a:cubicBezTo>
                    <a:pt x="0" y="64159"/>
                    <a:pt x="60567" y="0"/>
                    <a:pt x="135280" y="0"/>
                  </a:cubicBezTo>
                  <a:close/>
                </a:path>
              </a:pathLst>
            </a:custGeom>
            <a:grpFill/>
            <a:ln>
              <a:noFill/>
            </a:ln>
          </p:spPr>
          <p:txBody>
            <a:bodyPr rot="0" spcFirstLastPara="0" vert="horz" wrap="square" lIns="121920" tIns="60960" rIns="121920" bIns="6096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219140" fontAlgn="base">
                <a:spcBef>
                  <a:spcPct val="0"/>
                </a:spcBef>
                <a:spcAft>
                  <a:spcPct val="0"/>
                </a:spcAft>
                <a:defRPr/>
              </a:pPr>
              <a:endParaRPr lang="en-US" sz="2400" kern="0">
                <a:solidFill>
                  <a:srgbClr val="FFFFFF"/>
                </a:solidFill>
                <a:latin typeface="CiscoSansTT ExtraLight"/>
                <a:sym typeface="Arial"/>
              </a:endParaRPr>
            </a:p>
          </p:txBody>
        </p:sp>
        <p:sp>
          <p:nvSpPr>
            <p:cNvPr id="286" name="Freeform: Shape 285">
              <a:extLst>
                <a:ext uri="{FF2B5EF4-FFF2-40B4-BE49-F238E27FC236}">
                  <a16:creationId xmlns:a16="http://schemas.microsoft.com/office/drawing/2014/main" id="{20BA3AFB-AB81-495F-A945-F8EF30754AD4}"/>
                </a:ext>
              </a:extLst>
            </p:cNvPr>
            <p:cNvSpPr/>
            <p:nvPr/>
          </p:nvSpPr>
          <p:spPr bwMode="auto">
            <a:xfrm>
              <a:off x="4791320" y="5863168"/>
              <a:ext cx="301311" cy="464489"/>
            </a:xfrm>
            <a:custGeom>
              <a:avLst/>
              <a:gdLst>
                <a:gd name="connsiteX0" fmla="*/ 346640 w 561111"/>
                <a:gd name="connsiteY0" fmla="*/ 0 h 465992"/>
                <a:gd name="connsiteX1" fmla="*/ 518216 w 561111"/>
                <a:gd name="connsiteY1" fmla="*/ 0 h 465992"/>
                <a:gd name="connsiteX2" fmla="*/ 561111 w 561111"/>
                <a:gd name="connsiteY2" fmla="*/ 42895 h 465992"/>
                <a:gd name="connsiteX3" fmla="*/ 561111 w 561111"/>
                <a:gd name="connsiteY3" fmla="*/ 421594 h 465992"/>
                <a:gd name="connsiteX4" fmla="*/ 518216 w 561111"/>
                <a:gd name="connsiteY4" fmla="*/ 464489 h 465992"/>
                <a:gd name="connsiteX5" fmla="*/ 500527 w 561111"/>
                <a:gd name="connsiteY5" fmla="*/ 464489 h 465992"/>
                <a:gd name="connsiteX6" fmla="*/ 503314 w 561111"/>
                <a:gd name="connsiteY6" fmla="*/ 446183 h 465992"/>
                <a:gd name="connsiteX7" fmla="*/ 503314 w 561111"/>
                <a:gd name="connsiteY7" fmla="*/ 101295 h 465992"/>
                <a:gd name="connsiteX8" fmla="*/ 434765 w 561111"/>
                <a:gd name="connsiteY8" fmla="*/ 32747 h 465992"/>
                <a:gd name="connsiteX9" fmla="*/ 366217 w 561111"/>
                <a:gd name="connsiteY9" fmla="*/ 101295 h 465992"/>
                <a:gd name="connsiteX10" fmla="*/ 366217 w 561111"/>
                <a:gd name="connsiteY10" fmla="*/ 446183 h 465992"/>
                <a:gd name="connsiteX11" fmla="*/ 369004 w 561111"/>
                <a:gd name="connsiteY11" fmla="*/ 464489 h 465992"/>
                <a:gd name="connsiteX12" fmla="*/ 346640 w 561111"/>
                <a:gd name="connsiteY12" fmla="*/ 464489 h 465992"/>
                <a:gd name="connsiteX13" fmla="*/ 303745 w 561111"/>
                <a:gd name="connsiteY13" fmla="*/ 421594 h 465992"/>
                <a:gd name="connsiteX14" fmla="*/ 283536 w 561111"/>
                <a:gd name="connsiteY14" fmla="*/ 250757 h 465992"/>
                <a:gd name="connsiteX15" fmla="*/ 71451 w 561111"/>
                <a:gd name="connsiteY15" fmla="*/ 452085 h 465992"/>
                <a:gd name="connsiteX16" fmla="*/ 35283 w 561111"/>
                <a:gd name="connsiteY16" fmla="*/ 465975 h 465992"/>
                <a:gd name="connsiteX17" fmla="*/ 0 w 561111"/>
                <a:gd name="connsiteY17" fmla="*/ 450274 h 465992"/>
                <a:gd name="connsiteX18" fmla="*/ 0 w 561111"/>
                <a:gd name="connsiteY18" fmla="*/ 313793 h 465992"/>
                <a:gd name="connsiteX19" fmla="*/ 35521 w 561111"/>
                <a:gd name="connsiteY19" fmla="*/ 345112 h 465992"/>
                <a:gd name="connsiteX20" fmla="*/ 36176 w 561111"/>
                <a:gd name="connsiteY20" fmla="*/ 345976 h 465992"/>
                <a:gd name="connsiteX21" fmla="*/ 259800 w 561111"/>
                <a:gd name="connsiteY21" fmla="*/ 133694 h 465992"/>
                <a:gd name="connsiteX22" fmla="*/ 269327 w 561111"/>
                <a:gd name="connsiteY22" fmla="*/ 127719 h 465992"/>
                <a:gd name="connsiteX23" fmla="*/ 268703 w 561111"/>
                <a:gd name="connsiteY23" fmla="*/ 109290 h 465992"/>
                <a:gd name="connsiteX24" fmla="*/ 346640 w 561111"/>
                <a:gd name="connsiteY24" fmla="*/ 0 h 465992"/>
                <a:gd name="connsiteX0" fmla="*/ 346640 w 561111"/>
                <a:gd name="connsiteY0" fmla="*/ 0 h 465992"/>
                <a:gd name="connsiteX1" fmla="*/ 518216 w 561111"/>
                <a:gd name="connsiteY1" fmla="*/ 0 h 465992"/>
                <a:gd name="connsiteX2" fmla="*/ 561111 w 561111"/>
                <a:gd name="connsiteY2" fmla="*/ 42895 h 465992"/>
                <a:gd name="connsiteX3" fmla="*/ 561111 w 561111"/>
                <a:gd name="connsiteY3" fmla="*/ 421594 h 465992"/>
                <a:gd name="connsiteX4" fmla="*/ 518216 w 561111"/>
                <a:gd name="connsiteY4" fmla="*/ 464489 h 465992"/>
                <a:gd name="connsiteX5" fmla="*/ 500527 w 561111"/>
                <a:gd name="connsiteY5" fmla="*/ 464489 h 465992"/>
                <a:gd name="connsiteX6" fmla="*/ 503314 w 561111"/>
                <a:gd name="connsiteY6" fmla="*/ 446183 h 465992"/>
                <a:gd name="connsiteX7" fmla="*/ 503314 w 561111"/>
                <a:gd name="connsiteY7" fmla="*/ 101295 h 465992"/>
                <a:gd name="connsiteX8" fmla="*/ 434765 w 561111"/>
                <a:gd name="connsiteY8" fmla="*/ 32747 h 465992"/>
                <a:gd name="connsiteX9" fmla="*/ 366217 w 561111"/>
                <a:gd name="connsiteY9" fmla="*/ 101295 h 465992"/>
                <a:gd name="connsiteX10" fmla="*/ 366217 w 561111"/>
                <a:gd name="connsiteY10" fmla="*/ 446183 h 465992"/>
                <a:gd name="connsiteX11" fmla="*/ 369004 w 561111"/>
                <a:gd name="connsiteY11" fmla="*/ 464489 h 465992"/>
                <a:gd name="connsiteX12" fmla="*/ 346640 w 561111"/>
                <a:gd name="connsiteY12" fmla="*/ 464489 h 465992"/>
                <a:gd name="connsiteX13" fmla="*/ 303745 w 561111"/>
                <a:gd name="connsiteY13" fmla="*/ 421594 h 465992"/>
                <a:gd name="connsiteX14" fmla="*/ 283536 w 561111"/>
                <a:gd name="connsiteY14" fmla="*/ 250757 h 465992"/>
                <a:gd name="connsiteX15" fmla="*/ 71451 w 561111"/>
                <a:gd name="connsiteY15" fmla="*/ 452085 h 465992"/>
                <a:gd name="connsiteX16" fmla="*/ 35283 w 561111"/>
                <a:gd name="connsiteY16" fmla="*/ 465975 h 465992"/>
                <a:gd name="connsiteX17" fmla="*/ 0 w 561111"/>
                <a:gd name="connsiteY17" fmla="*/ 450274 h 465992"/>
                <a:gd name="connsiteX18" fmla="*/ 35521 w 561111"/>
                <a:gd name="connsiteY18" fmla="*/ 345112 h 465992"/>
                <a:gd name="connsiteX19" fmla="*/ 36176 w 561111"/>
                <a:gd name="connsiteY19" fmla="*/ 345976 h 465992"/>
                <a:gd name="connsiteX20" fmla="*/ 259800 w 561111"/>
                <a:gd name="connsiteY20" fmla="*/ 133694 h 465992"/>
                <a:gd name="connsiteX21" fmla="*/ 269327 w 561111"/>
                <a:gd name="connsiteY21" fmla="*/ 127719 h 465992"/>
                <a:gd name="connsiteX22" fmla="*/ 268703 w 561111"/>
                <a:gd name="connsiteY22" fmla="*/ 109290 h 465992"/>
                <a:gd name="connsiteX23" fmla="*/ 346640 w 561111"/>
                <a:gd name="connsiteY23" fmla="*/ 0 h 465992"/>
                <a:gd name="connsiteX0" fmla="*/ 311357 w 525828"/>
                <a:gd name="connsiteY0" fmla="*/ 0 h 465992"/>
                <a:gd name="connsiteX1" fmla="*/ 482933 w 525828"/>
                <a:gd name="connsiteY1" fmla="*/ 0 h 465992"/>
                <a:gd name="connsiteX2" fmla="*/ 525828 w 525828"/>
                <a:gd name="connsiteY2" fmla="*/ 42895 h 465992"/>
                <a:gd name="connsiteX3" fmla="*/ 525828 w 525828"/>
                <a:gd name="connsiteY3" fmla="*/ 421594 h 465992"/>
                <a:gd name="connsiteX4" fmla="*/ 482933 w 525828"/>
                <a:gd name="connsiteY4" fmla="*/ 464489 h 465992"/>
                <a:gd name="connsiteX5" fmla="*/ 465244 w 525828"/>
                <a:gd name="connsiteY5" fmla="*/ 464489 h 465992"/>
                <a:gd name="connsiteX6" fmla="*/ 468031 w 525828"/>
                <a:gd name="connsiteY6" fmla="*/ 446183 h 465992"/>
                <a:gd name="connsiteX7" fmla="*/ 468031 w 525828"/>
                <a:gd name="connsiteY7" fmla="*/ 101295 h 465992"/>
                <a:gd name="connsiteX8" fmla="*/ 399482 w 525828"/>
                <a:gd name="connsiteY8" fmla="*/ 32747 h 465992"/>
                <a:gd name="connsiteX9" fmla="*/ 330934 w 525828"/>
                <a:gd name="connsiteY9" fmla="*/ 101295 h 465992"/>
                <a:gd name="connsiteX10" fmla="*/ 330934 w 525828"/>
                <a:gd name="connsiteY10" fmla="*/ 446183 h 465992"/>
                <a:gd name="connsiteX11" fmla="*/ 333721 w 525828"/>
                <a:gd name="connsiteY11" fmla="*/ 464489 h 465992"/>
                <a:gd name="connsiteX12" fmla="*/ 311357 w 525828"/>
                <a:gd name="connsiteY12" fmla="*/ 464489 h 465992"/>
                <a:gd name="connsiteX13" fmla="*/ 268462 w 525828"/>
                <a:gd name="connsiteY13" fmla="*/ 421594 h 465992"/>
                <a:gd name="connsiteX14" fmla="*/ 248253 w 525828"/>
                <a:gd name="connsiteY14" fmla="*/ 250757 h 465992"/>
                <a:gd name="connsiteX15" fmla="*/ 36168 w 525828"/>
                <a:gd name="connsiteY15" fmla="*/ 452085 h 465992"/>
                <a:gd name="connsiteX16" fmla="*/ 0 w 525828"/>
                <a:gd name="connsiteY16" fmla="*/ 465975 h 465992"/>
                <a:gd name="connsiteX17" fmla="*/ 238 w 525828"/>
                <a:gd name="connsiteY17" fmla="*/ 345112 h 465992"/>
                <a:gd name="connsiteX18" fmla="*/ 893 w 525828"/>
                <a:gd name="connsiteY18" fmla="*/ 345976 h 465992"/>
                <a:gd name="connsiteX19" fmla="*/ 224517 w 525828"/>
                <a:gd name="connsiteY19" fmla="*/ 133694 h 465992"/>
                <a:gd name="connsiteX20" fmla="*/ 234044 w 525828"/>
                <a:gd name="connsiteY20" fmla="*/ 127719 h 465992"/>
                <a:gd name="connsiteX21" fmla="*/ 233420 w 525828"/>
                <a:gd name="connsiteY21" fmla="*/ 109290 h 465992"/>
                <a:gd name="connsiteX22" fmla="*/ 311357 w 525828"/>
                <a:gd name="connsiteY22" fmla="*/ 0 h 465992"/>
                <a:gd name="connsiteX0" fmla="*/ 311119 w 525590"/>
                <a:gd name="connsiteY0" fmla="*/ 0 h 464489"/>
                <a:gd name="connsiteX1" fmla="*/ 482695 w 525590"/>
                <a:gd name="connsiteY1" fmla="*/ 0 h 464489"/>
                <a:gd name="connsiteX2" fmla="*/ 525590 w 525590"/>
                <a:gd name="connsiteY2" fmla="*/ 42895 h 464489"/>
                <a:gd name="connsiteX3" fmla="*/ 525590 w 525590"/>
                <a:gd name="connsiteY3" fmla="*/ 421594 h 464489"/>
                <a:gd name="connsiteX4" fmla="*/ 482695 w 525590"/>
                <a:gd name="connsiteY4" fmla="*/ 464489 h 464489"/>
                <a:gd name="connsiteX5" fmla="*/ 465006 w 525590"/>
                <a:gd name="connsiteY5" fmla="*/ 464489 h 464489"/>
                <a:gd name="connsiteX6" fmla="*/ 467793 w 525590"/>
                <a:gd name="connsiteY6" fmla="*/ 446183 h 464489"/>
                <a:gd name="connsiteX7" fmla="*/ 467793 w 525590"/>
                <a:gd name="connsiteY7" fmla="*/ 101295 h 464489"/>
                <a:gd name="connsiteX8" fmla="*/ 399244 w 525590"/>
                <a:gd name="connsiteY8" fmla="*/ 32747 h 464489"/>
                <a:gd name="connsiteX9" fmla="*/ 330696 w 525590"/>
                <a:gd name="connsiteY9" fmla="*/ 101295 h 464489"/>
                <a:gd name="connsiteX10" fmla="*/ 330696 w 525590"/>
                <a:gd name="connsiteY10" fmla="*/ 446183 h 464489"/>
                <a:gd name="connsiteX11" fmla="*/ 333483 w 525590"/>
                <a:gd name="connsiteY11" fmla="*/ 464489 h 464489"/>
                <a:gd name="connsiteX12" fmla="*/ 311119 w 525590"/>
                <a:gd name="connsiteY12" fmla="*/ 464489 h 464489"/>
                <a:gd name="connsiteX13" fmla="*/ 268224 w 525590"/>
                <a:gd name="connsiteY13" fmla="*/ 421594 h 464489"/>
                <a:gd name="connsiteX14" fmla="*/ 248015 w 525590"/>
                <a:gd name="connsiteY14" fmla="*/ 250757 h 464489"/>
                <a:gd name="connsiteX15" fmla="*/ 35930 w 525590"/>
                <a:gd name="connsiteY15" fmla="*/ 452085 h 464489"/>
                <a:gd name="connsiteX16" fmla="*/ 0 w 525590"/>
                <a:gd name="connsiteY16" fmla="*/ 345112 h 464489"/>
                <a:gd name="connsiteX17" fmla="*/ 655 w 525590"/>
                <a:gd name="connsiteY17" fmla="*/ 345976 h 464489"/>
                <a:gd name="connsiteX18" fmla="*/ 224279 w 525590"/>
                <a:gd name="connsiteY18" fmla="*/ 133694 h 464489"/>
                <a:gd name="connsiteX19" fmla="*/ 233806 w 525590"/>
                <a:gd name="connsiteY19" fmla="*/ 127719 h 464489"/>
                <a:gd name="connsiteX20" fmla="*/ 233182 w 525590"/>
                <a:gd name="connsiteY20" fmla="*/ 109290 h 464489"/>
                <a:gd name="connsiteX21" fmla="*/ 311119 w 525590"/>
                <a:gd name="connsiteY21" fmla="*/ 0 h 464489"/>
                <a:gd name="connsiteX0" fmla="*/ 332074 w 546545"/>
                <a:gd name="connsiteY0" fmla="*/ 0 h 464489"/>
                <a:gd name="connsiteX1" fmla="*/ 503650 w 546545"/>
                <a:gd name="connsiteY1" fmla="*/ 0 h 464489"/>
                <a:gd name="connsiteX2" fmla="*/ 546545 w 546545"/>
                <a:gd name="connsiteY2" fmla="*/ 42895 h 464489"/>
                <a:gd name="connsiteX3" fmla="*/ 546545 w 546545"/>
                <a:gd name="connsiteY3" fmla="*/ 421594 h 464489"/>
                <a:gd name="connsiteX4" fmla="*/ 503650 w 546545"/>
                <a:gd name="connsiteY4" fmla="*/ 464489 h 464489"/>
                <a:gd name="connsiteX5" fmla="*/ 485961 w 546545"/>
                <a:gd name="connsiteY5" fmla="*/ 464489 h 464489"/>
                <a:gd name="connsiteX6" fmla="*/ 488748 w 546545"/>
                <a:gd name="connsiteY6" fmla="*/ 446183 h 464489"/>
                <a:gd name="connsiteX7" fmla="*/ 488748 w 546545"/>
                <a:gd name="connsiteY7" fmla="*/ 101295 h 464489"/>
                <a:gd name="connsiteX8" fmla="*/ 420199 w 546545"/>
                <a:gd name="connsiteY8" fmla="*/ 32747 h 464489"/>
                <a:gd name="connsiteX9" fmla="*/ 351651 w 546545"/>
                <a:gd name="connsiteY9" fmla="*/ 101295 h 464489"/>
                <a:gd name="connsiteX10" fmla="*/ 351651 w 546545"/>
                <a:gd name="connsiteY10" fmla="*/ 446183 h 464489"/>
                <a:gd name="connsiteX11" fmla="*/ 354438 w 546545"/>
                <a:gd name="connsiteY11" fmla="*/ 464489 h 464489"/>
                <a:gd name="connsiteX12" fmla="*/ 332074 w 546545"/>
                <a:gd name="connsiteY12" fmla="*/ 464489 h 464489"/>
                <a:gd name="connsiteX13" fmla="*/ 289179 w 546545"/>
                <a:gd name="connsiteY13" fmla="*/ 421594 h 464489"/>
                <a:gd name="connsiteX14" fmla="*/ 268970 w 546545"/>
                <a:gd name="connsiteY14" fmla="*/ 250757 h 464489"/>
                <a:gd name="connsiteX15" fmla="*/ 56885 w 546545"/>
                <a:gd name="connsiteY15" fmla="*/ 452085 h 464489"/>
                <a:gd name="connsiteX16" fmla="*/ 20955 w 546545"/>
                <a:gd name="connsiteY16" fmla="*/ 345112 h 464489"/>
                <a:gd name="connsiteX17" fmla="*/ 21610 w 546545"/>
                <a:gd name="connsiteY17" fmla="*/ 345976 h 464489"/>
                <a:gd name="connsiteX18" fmla="*/ 245234 w 546545"/>
                <a:gd name="connsiteY18" fmla="*/ 133694 h 464489"/>
                <a:gd name="connsiteX19" fmla="*/ 254761 w 546545"/>
                <a:gd name="connsiteY19" fmla="*/ 127719 h 464489"/>
                <a:gd name="connsiteX20" fmla="*/ 254137 w 546545"/>
                <a:gd name="connsiteY20" fmla="*/ 109290 h 464489"/>
                <a:gd name="connsiteX21" fmla="*/ 332074 w 546545"/>
                <a:gd name="connsiteY21" fmla="*/ 0 h 464489"/>
                <a:gd name="connsiteX0" fmla="*/ 350065 w 564536"/>
                <a:gd name="connsiteY0" fmla="*/ 0 h 464489"/>
                <a:gd name="connsiteX1" fmla="*/ 521641 w 564536"/>
                <a:gd name="connsiteY1" fmla="*/ 0 h 464489"/>
                <a:gd name="connsiteX2" fmla="*/ 564536 w 564536"/>
                <a:gd name="connsiteY2" fmla="*/ 42895 h 464489"/>
                <a:gd name="connsiteX3" fmla="*/ 564536 w 564536"/>
                <a:gd name="connsiteY3" fmla="*/ 421594 h 464489"/>
                <a:gd name="connsiteX4" fmla="*/ 521641 w 564536"/>
                <a:gd name="connsiteY4" fmla="*/ 464489 h 464489"/>
                <a:gd name="connsiteX5" fmla="*/ 503952 w 564536"/>
                <a:gd name="connsiteY5" fmla="*/ 464489 h 464489"/>
                <a:gd name="connsiteX6" fmla="*/ 506739 w 564536"/>
                <a:gd name="connsiteY6" fmla="*/ 446183 h 464489"/>
                <a:gd name="connsiteX7" fmla="*/ 506739 w 564536"/>
                <a:gd name="connsiteY7" fmla="*/ 101295 h 464489"/>
                <a:gd name="connsiteX8" fmla="*/ 438190 w 564536"/>
                <a:gd name="connsiteY8" fmla="*/ 32747 h 464489"/>
                <a:gd name="connsiteX9" fmla="*/ 369642 w 564536"/>
                <a:gd name="connsiteY9" fmla="*/ 101295 h 464489"/>
                <a:gd name="connsiteX10" fmla="*/ 369642 w 564536"/>
                <a:gd name="connsiteY10" fmla="*/ 446183 h 464489"/>
                <a:gd name="connsiteX11" fmla="*/ 372429 w 564536"/>
                <a:gd name="connsiteY11" fmla="*/ 464489 h 464489"/>
                <a:gd name="connsiteX12" fmla="*/ 350065 w 564536"/>
                <a:gd name="connsiteY12" fmla="*/ 464489 h 464489"/>
                <a:gd name="connsiteX13" fmla="*/ 307170 w 564536"/>
                <a:gd name="connsiteY13" fmla="*/ 421594 h 464489"/>
                <a:gd name="connsiteX14" fmla="*/ 286961 w 564536"/>
                <a:gd name="connsiteY14" fmla="*/ 250757 h 464489"/>
                <a:gd name="connsiteX15" fmla="*/ 74876 w 564536"/>
                <a:gd name="connsiteY15" fmla="*/ 452085 h 464489"/>
                <a:gd name="connsiteX16" fmla="*/ 38946 w 564536"/>
                <a:gd name="connsiteY16" fmla="*/ 345112 h 464489"/>
                <a:gd name="connsiteX17" fmla="*/ 39601 w 564536"/>
                <a:gd name="connsiteY17" fmla="*/ 345976 h 464489"/>
                <a:gd name="connsiteX18" fmla="*/ 263225 w 564536"/>
                <a:gd name="connsiteY18" fmla="*/ 133694 h 464489"/>
                <a:gd name="connsiteX19" fmla="*/ 272752 w 564536"/>
                <a:gd name="connsiteY19" fmla="*/ 127719 h 464489"/>
                <a:gd name="connsiteX20" fmla="*/ 272128 w 564536"/>
                <a:gd name="connsiteY20" fmla="*/ 109290 h 464489"/>
                <a:gd name="connsiteX21" fmla="*/ 350065 w 564536"/>
                <a:gd name="connsiteY21" fmla="*/ 0 h 464489"/>
                <a:gd name="connsiteX0" fmla="*/ 311119 w 525590"/>
                <a:gd name="connsiteY0" fmla="*/ 0 h 464489"/>
                <a:gd name="connsiteX1" fmla="*/ 482695 w 525590"/>
                <a:gd name="connsiteY1" fmla="*/ 0 h 464489"/>
                <a:gd name="connsiteX2" fmla="*/ 525590 w 525590"/>
                <a:gd name="connsiteY2" fmla="*/ 42895 h 464489"/>
                <a:gd name="connsiteX3" fmla="*/ 525590 w 525590"/>
                <a:gd name="connsiteY3" fmla="*/ 421594 h 464489"/>
                <a:gd name="connsiteX4" fmla="*/ 482695 w 525590"/>
                <a:gd name="connsiteY4" fmla="*/ 464489 h 464489"/>
                <a:gd name="connsiteX5" fmla="*/ 465006 w 525590"/>
                <a:gd name="connsiteY5" fmla="*/ 464489 h 464489"/>
                <a:gd name="connsiteX6" fmla="*/ 467793 w 525590"/>
                <a:gd name="connsiteY6" fmla="*/ 446183 h 464489"/>
                <a:gd name="connsiteX7" fmla="*/ 467793 w 525590"/>
                <a:gd name="connsiteY7" fmla="*/ 101295 h 464489"/>
                <a:gd name="connsiteX8" fmla="*/ 399244 w 525590"/>
                <a:gd name="connsiteY8" fmla="*/ 32747 h 464489"/>
                <a:gd name="connsiteX9" fmla="*/ 330696 w 525590"/>
                <a:gd name="connsiteY9" fmla="*/ 101295 h 464489"/>
                <a:gd name="connsiteX10" fmla="*/ 330696 w 525590"/>
                <a:gd name="connsiteY10" fmla="*/ 446183 h 464489"/>
                <a:gd name="connsiteX11" fmla="*/ 333483 w 525590"/>
                <a:gd name="connsiteY11" fmla="*/ 464489 h 464489"/>
                <a:gd name="connsiteX12" fmla="*/ 311119 w 525590"/>
                <a:gd name="connsiteY12" fmla="*/ 464489 h 464489"/>
                <a:gd name="connsiteX13" fmla="*/ 268224 w 525590"/>
                <a:gd name="connsiteY13" fmla="*/ 421594 h 464489"/>
                <a:gd name="connsiteX14" fmla="*/ 248015 w 525590"/>
                <a:gd name="connsiteY14" fmla="*/ 250757 h 464489"/>
                <a:gd name="connsiteX15" fmla="*/ 35930 w 525590"/>
                <a:gd name="connsiteY15" fmla="*/ 452085 h 464489"/>
                <a:gd name="connsiteX16" fmla="*/ 0 w 525590"/>
                <a:gd name="connsiteY16" fmla="*/ 345112 h 464489"/>
                <a:gd name="connsiteX17" fmla="*/ 224279 w 525590"/>
                <a:gd name="connsiteY17" fmla="*/ 133694 h 464489"/>
                <a:gd name="connsiteX18" fmla="*/ 233806 w 525590"/>
                <a:gd name="connsiteY18" fmla="*/ 127719 h 464489"/>
                <a:gd name="connsiteX19" fmla="*/ 233182 w 525590"/>
                <a:gd name="connsiteY19" fmla="*/ 109290 h 464489"/>
                <a:gd name="connsiteX20" fmla="*/ 311119 w 525590"/>
                <a:gd name="connsiteY20" fmla="*/ 0 h 464489"/>
                <a:gd name="connsiteX0" fmla="*/ 311119 w 525590"/>
                <a:gd name="connsiteY0" fmla="*/ 0 h 464489"/>
                <a:gd name="connsiteX1" fmla="*/ 482695 w 525590"/>
                <a:gd name="connsiteY1" fmla="*/ 0 h 464489"/>
                <a:gd name="connsiteX2" fmla="*/ 525590 w 525590"/>
                <a:gd name="connsiteY2" fmla="*/ 42895 h 464489"/>
                <a:gd name="connsiteX3" fmla="*/ 525590 w 525590"/>
                <a:gd name="connsiteY3" fmla="*/ 421594 h 464489"/>
                <a:gd name="connsiteX4" fmla="*/ 482695 w 525590"/>
                <a:gd name="connsiteY4" fmla="*/ 464489 h 464489"/>
                <a:gd name="connsiteX5" fmla="*/ 465006 w 525590"/>
                <a:gd name="connsiteY5" fmla="*/ 464489 h 464489"/>
                <a:gd name="connsiteX6" fmla="*/ 467793 w 525590"/>
                <a:gd name="connsiteY6" fmla="*/ 446183 h 464489"/>
                <a:gd name="connsiteX7" fmla="*/ 467793 w 525590"/>
                <a:gd name="connsiteY7" fmla="*/ 101295 h 464489"/>
                <a:gd name="connsiteX8" fmla="*/ 399244 w 525590"/>
                <a:gd name="connsiteY8" fmla="*/ 32747 h 464489"/>
                <a:gd name="connsiteX9" fmla="*/ 330696 w 525590"/>
                <a:gd name="connsiteY9" fmla="*/ 101295 h 464489"/>
                <a:gd name="connsiteX10" fmla="*/ 330696 w 525590"/>
                <a:gd name="connsiteY10" fmla="*/ 446183 h 464489"/>
                <a:gd name="connsiteX11" fmla="*/ 333483 w 525590"/>
                <a:gd name="connsiteY11" fmla="*/ 464489 h 464489"/>
                <a:gd name="connsiteX12" fmla="*/ 311119 w 525590"/>
                <a:gd name="connsiteY12" fmla="*/ 464489 h 464489"/>
                <a:gd name="connsiteX13" fmla="*/ 268224 w 525590"/>
                <a:gd name="connsiteY13" fmla="*/ 421594 h 464489"/>
                <a:gd name="connsiteX14" fmla="*/ 248015 w 525590"/>
                <a:gd name="connsiteY14" fmla="*/ 250757 h 464489"/>
                <a:gd name="connsiteX15" fmla="*/ 35930 w 525590"/>
                <a:gd name="connsiteY15" fmla="*/ 452085 h 464489"/>
                <a:gd name="connsiteX16" fmla="*/ 0 w 525590"/>
                <a:gd name="connsiteY16" fmla="*/ 345112 h 464489"/>
                <a:gd name="connsiteX17" fmla="*/ 224279 w 525590"/>
                <a:gd name="connsiteY17" fmla="*/ 133694 h 464489"/>
                <a:gd name="connsiteX18" fmla="*/ 233806 w 525590"/>
                <a:gd name="connsiteY18" fmla="*/ 127719 h 464489"/>
                <a:gd name="connsiteX19" fmla="*/ 233182 w 525590"/>
                <a:gd name="connsiteY19" fmla="*/ 109290 h 464489"/>
                <a:gd name="connsiteX20" fmla="*/ 311119 w 525590"/>
                <a:gd name="connsiteY20" fmla="*/ 0 h 464489"/>
                <a:gd name="connsiteX0" fmla="*/ 343343 w 557814"/>
                <a:gd name="connsiteY0" fmla="*/ 0 h 464489"/>
                <a:gd name="connsiteX1" fmla="*/ 514919 w 557814"/>
                <a:gd name="connsiteY1" fmla="*/ 0 h 464489"/>
                <a:gd name="connsiteX2" fmla="*/ 557814 w 557814"/>
                <a:gd name="connsiteY2" fmla="*/ 42895 h 464489"/>
                <a:gd name="connsiteX3" fmla="*/ 557814 w 557814"/>
                <a:gd name="connsiteY3" fmla="*/ 421594 h 464489"/>
                <a:gd name="connsiteX4" fmla="*/ 514919 w 557814"/>
                <a:gd name="connsiteY4" fmla="*/ 464489 h 464489"/>
                <a:gd name="connsiteX5" fmla="*/ 497230 w 557814"/>
                <a:gd name="connsiteY5" fmla="*/ 464489 h 464489"/>
                <a:gd name="connsiteX6" fmla="*/ 500017 w 557814"/>
                <a:gd name="connsiteY6" fmla="*/ 446183 h 464489"/>
                <a:gd name="connsiteX7" fmla="*/ 500017 w 557814"/>
                <a:gd name="connsiteY7" fmla="*/ 101295 h 464489"/>
                <a:gd name="connsiteX8" fmla="*/ 431468 w 557814"/>
                <a:gd name="connsiteY8" fmla="*/ 32747 h 464489"/>
                <a:gd name="connsiteX9" fmla="*/ 362920 w 557814"/>
                <a:gd name="connsiteY9" fmla="*/ 101295 h 464489"/>
                <a:gd name="connsiteX10" fmla="*/ 362920 w 557814"/>
                <a:gd name="connsiteY10" fmla="*/ 446183 h 464489"/>
                <a:gd name="connsiteX11" fmla="*/ 365707 w 557814"/>
                <a:gd name="connsiteY11" fmla="*/ 464489 h 464489"/>
                <a:gd name="connsiteX12" fmla="*/ 343343 w 557814"/>
                <a:gd name="connsiteY12" fmla="*/ 464489 h 464489"/>
                <a:gd name="connsiteX13" fmla="*/ 300448 w 557814"/>
                <a:gd name="connsiteY13" fmla="*/ 421594 h 464489"/>
                <a:gd name="connsiteX14" fmla="*/ 280239 w 557814"/>
                <a:gd name="connsiteY14" fmla="*/ 250757 h 464489"/>
                <a:gd name="connsiteX15" fmla="*/ 68154 w 557814"/>
                <a:gd name="connsiteY15" fmla="*/ 452085 h 464489"/>
                <a:gd name="connsiteX16" fmla="*/ 32224 w 557814"/>
                <a:gd name="connsiteY16" fmla="*/ 345112 h 464489"/>
                <a:gd name="connsiteX17" fmla="*/ 256503 w 557814"/>
                <a:gd name="connsiteY17" fmla="*/ 133694 h 464489"/>
                <a:gd name="connsiteX18" fmla="*/ 266030 w 557814"/>
                <a:gd name="connsiteY18" fmla="*/ 127719 h 464489"/>
                <a:gd name="connsiteX19" fmla="*/ 265406 w 557814"/>
                <a:gd name="connsiteY19" fmla="*/ 109290 h 464489"/>
                <a:gd name="connsiteX20" fmla="*/ 343343 w 557814"/>
                <a:gd name="connsiteY20" fmla="*/ 0 h 464489"/>
                <a:gd name="connsiteX0" fmla="*/ 340190 w 554661"/>
                <a:gd name="connsiteY0" fmla="*/ 0 h 464489"/>
                <a:gd name="connsiteX1" fmla="*/ 511766 w 554661"/>
                <a:gd name="connsiteY1" fmla="*/ 0 h 464489"/>
                <a:gd name="connsiteX2" fmla="*/ 554661 w 554661"/>
                <a:gd name="connsiteY2" fmla="*/ 42895 h 464489"/>
                <a:gd name="connsiteX3" fmla="*/ 554661 w 554661"/>
                <a:gd name="connsiteY3" fmla="*/ 421594 h 464489"/>
                <a:gd name="connsiteX4" fmla="*/ 511766 w 554661"/>
                <a:gd name="connsiteY4" fmla="*/ 464489 h 464489"/>
                <a:gd name="connsiteX5" fmla="*/ 494077 w 554661"/>
                <a:gd name="connsiteY5" fmla="*/ 464489 h 464489"/>
                <a:gd name="connsiteX6" fmla="*/ 496864 w 554661"/>
                <a:gd name="connsiteY6" fmla="*/ 446183 h 464489"/>
                <a:gd name="connsiteX7" fmla="*/ 496864 w 554661"/>
                <a:gd name="connsiteY7" fmla="*/ 101295 h 464489"/>
                <a:gd name="connsiteX8" fmla="*/ 428315 w 554661"/>
                <a:gd name="connsiteY8" fmla="*/ 32747 h 464489"/>
                <a:gd name="connsiteX9" fmla="*/ 359767 w 554661"/>
                <a:gd name="connsiteY9" fmla="*/ 101295 h 464489"/>
                <a:gd name="connsiteX10" fmla="*/ 359767 w 554661"/>
                <a:gd name="connsiteY10" fmla="*/ 446183 h 464489"/>
                <a:gd name="connsiteX11" fmla="*/ 362554 w 554661"/>
                <a:gd name="connsiteY11" fmla="*/ 464489 h 464489"/>
                <a:gd name="connsiteX12" fmla="*/ 340190 w 554661"/>
                <a:gd name="connsiteY12" fmla="*/ 464489 h 464489"/>
                <a:gd name="connsiteX13" fmla="*/ 297295 w 554661"/>
                <a:gd name="connsiteY13" fmla="*/ 421594 h 464489"/>
                <a:gd name="connsiteX14" fmla="*/ 277086 w 554661"/>
                <a:gd name="connsiteY14" fmla="*/ 250757 h 464489"/>
                <a:gd name="connsiteX15" fmla="*/ 79288 w 554661"/>
                <a:gd name="connsiteY15" fmla="*/ 437798 h 464489"/>
                <a:gd name="connsiteX16" fmla="*/ 29071 w 554661"/>
                <a:gd name="connsiteY16" fmla="*/ 345112 h 464489"/>
                <a:gd name="connsiteX17" fmla="*/ 253350 w 554661"/>
                <a:gd name="connsiteY17" fmla="*/ 133694 h 464489"/>
                <a:gd name="connsiteX18" fmla="*/ 262877 w 554661"/>
                <a:gd name="connsiteY18" fmla="*/ 127719 h 464489"/>
                <a:gd name="connsiteX19" fmla="*/ 262253 w 554661"/>
                <a:gd name="connsiteY19" fmla="*/ 109290 h 464489"/>
                <a:gd name="connsiteX20" fmla="*/ 340190 w 554661"/>
                <a:gd name="connsiteY20" fmla="*/ 0 h 464489"/>
                <a:gd name="connsiteX0" fmla="*/ 311119 w 525590"/>
                <a:gd name="connsiteY0" fmla="*/ 0 h 464489"/>
                <a:gd name="connsiteX1" fmla="*/ 482695 w 525590"/>
                <a:gd name="connsiteY1" fmla="*/ 0 h 464489"/>
                <a:gd name="connsiteX2" fmla="*/ 525590 w 525590"/>
                <a:gd name="connsiteY2" fmla="*/ 42895 h 464489"/>
                <a:gd name="connsiteX3" fmla="*/ 525590 w 525590"/>
                <a:gd name="connsiteY3" fmla="*/ 421594 h 464489"/>
                <a:gd name="connsiteX4" fmla="*/ 482695 w 525590"/>
                <a:gd name="connsiteY4" fmla="*/ 464489 h 464489"/>
                <a:gd name="connsiteX5" fmla="*/ 465006 w 525590"/>
                <a:gd name="connsiteY5" fmla="*/ 464489 h 464489"/>
                <a:gd name="connsiteX6" fmla="*/ 467793 w 525590"/>
                <a:gd name="connsiteY6" fmla="*/ 446183 h 464489"/>
                <a:gd name="connsiteX7" fmla="*/ 467793 w 525590"/>
                <a:gd name="connsiteY7" fmla="*/ 101295 h 464489"/>
                <a:gd name="connsiteX8" fmla="*/ 399244 w 525590"/>
                <a:gd name="connsiteY8" fmla="*/ 32747 h 464489"/>
                <a:gd name="connsiteX9" fmla="*/ 330696 w 525590"/>
                <a:gd name="connsiteY9" fmla="*/ 101295 h 464489"/>
                <a:gd name="connsiteX10" fmla="*/ 330696 w 525590"/>
                <a:gd name="connsiteY10" fmla="*/ 446183 h 464489"/>
                <a:gd name="connsiteX11" fmla="*/ 333483 w 525590"/>
                <a:gd name="connsiteY11" fmla="*/ 464489 h 464489"/>
                <a:gd name="connsiteX12" fmla="*/ 311119 w 525590"/>
                <a:gd name="connsiteY12" fmla="*/ 464489 h 464489"/>
                <a:gd name="connsiteX13" fmla="*/ 268224 w 525590"/>
                <a:gd name="connsiteY13" fmla="*/ 421594 h 464489"/>
                <a:gd name="connsiteX14" fmla="*/ 248015 w 525590"/>
                <a:gd name="connsiteY14" fmla="*/ 250757 h 464489"/>
                <a:gd name="connsiteX15" fmla="*/ 0 w 525590"/>
                <a:gd name="connsiteY15" fmla="*/ 345112 h 464489"/>
                <a:gd name="connsiteX16" fmla="*/ 224279 w 525590"/>
                <a:gd name="connsiteY16" fmla="*/ 133694 h 464489"/>
                <a:gd name="connsiteX17" fmla="*/ 233806 w 525590"/>
                <a:gd name="connsiteY17" fmla="*/ 127719 h 464489"/>
                <a:gd name="connsiteX18" fmla="*/ 233182 w 525590"/>
                <a:gd name="connsiteY18" fmla="*/ 109290 h 464489"/>
                <a:gd name="connsiteX19" fmla="*/ 311119 w 525590"/>
                <a:gd name="connsiteY19" fmla="*/ 0 h 464489"/>
                <a:gd name="connsiteX0" fmla="*/ 86840 w 301311"/>
                <a:gd name="connsiteY0" fmla="*/ 0 h 464489"/>
                <a:gd name="connsiteX1" fmla="*/ 258416 w 301311"/>
                <a:gd name="connsiteY1" fmla="*/ 0 h 464489"/>
                <a:gd name="connsiteX2" fmla="*/ 301311 w 301311"/>
                <a:gd name="connsiteY2" fmla="*/ 42895 h 464489"/>
                <a:gd name="connsiteX3" fmla="*/ 301311 w 301311"/>
                <a:gd name="connsiteY3" fmla="*/ 421594 h 464489"/>
                <a:gd name="connsiteX4" fmla="*/ 258416 w 301311"/>
                <a:gd name="connsiteY4" fmla="*/ 464489 h 464489"/>
                <a:gd name="connsiteX5" fmla="*/ 240727 w 301311"/>
                <a:gd name="connsiteY5" fmla="*/ 464489 h 464489"/>
                <a:gd name="connsiteX6" fmla="*/ 243514 w 301311"/>
                <a:gd name="connsiteY6" fmla="*/ 446183 h 464489"/>
                <a:gd name="connsiteX7" fmla="*/ 243514 w 301311"/>
                <a:gd name="connsiteY7" fmla="*/ 101295 h 464489"/>
                <a:gd name="connsiteX8" fmla="*/ 174965 w 301311"/>
                <a:gd name="connsiteY8" fmla="*/ 32747 h 464489"/>
                <a:gd name="connsiteX9" fmla="*/ 106417 w 301311"/>
                <a:gd name="connsiteY9" fmla="*/ 101295 h 464489"/>
                <a:gd name="connsiteX10" fmla="*/ 106417 w 301311"/>
                <a:gd name="connsiteY10" fmla="*/ 446183 h 464489"/>
                <a:gd name="connsiteX11" fmla="*/ 109204 w 301311"/>
                <a:gd name="connsiteY11" fmla="*/ 464489 h 464489"/>
                <a:gd name="connsiteX12" fmla="*/ 86840 w 301311"/>
                <a:gd name="connsiteY12" fmla="*/ 464489 h 464489"/>
                <a:gd name="connsiteX13" fmla="*/ 43945 w 301311"/>
                <a:gd name="connsiteY13" fmla="*/ 421594 h 464489"/>
                <a:gd name="connsiteX14" fmla="*/ 23736 w 301311"/>
                <a:gd name="connsiteY14" fmla="*/ 250757 h 464489"/>
                <a:gd name="connsiteX15" fmla="*/ 0 w 301311"/>
                <a:gd name="connsiteY15" fmla="*/ 133694 h 464489"/>
                <a:gd name="connsiteX16" fmla="*/ 9527 w 301311"/>
                <a:gd name="connsiteY16" fmla="*/ 127719 h 464489"/>
                <a:gd name="connsiteX17" fmla="*/ 8903 w 301311"/>
                <a:gd name="connsiteY17" fmla="*/ 109290 h 464489"/>
                <a:gd name="connsiteX18" fmla="*/ 86840 w 301311"/>
                <a:gd name="connsiteY18" fmla="*/ 0 h 46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1311" h="464489">
                  <a:moveTo>
                    <a:pt x="86840" y="0"/>
                  </a:moveTo>
                  <a:lnTo>
                    <a:pt x="258416" y="0"/>
                  </a:lnTo>
                  <a:cubicBezTo>
                    <a:pt x="282106" y="0"/>
                    <a:pt x="301311" y="19205"/>
                    <a:pt x="301311" y="42895"/>
                  </a:cubicBezTo>
                  <a:lnTo>
                    <a:pt x="301311" y="421594"/>
                  </a:lnTo>
                  <a:cubicBezTo>
                    <a:pt x="301311" y="445284"/>
                    <a:pt x="282106" y="464489"/>
                    <a:pt x="258416" y="464489"/>
                  </a:cubicBezTo>
                  <a:lnTo>
                    <a:pt x="240727" y="464489"/>
                  </a:lnTo>
                  <a:cubicBezTo>
                    <a:pt x="242645" y="458719"/>
                    <a:pt x="243514" y="452552"/>
                    <a:pt x="243514" y="446183"/>
                  </a:cubicBezTo>
                  <a:lnTo>
                    <a:pt x="243514" y="101295"/>
                  </a:lnTo>
                  <a:cubicBezTo>
                    <a:pt x="243514" y="63437"/>
                    <a:pt x="212824" y="32747"/>
                    <a:pt x="174965" y="32747"/>
                  </a:cubicBezTo>
                  <a:cubicBezTo>
                    <a:pt x="137107" y="32747"/>
                    <a:pt x="106417" y="63437"/>
                    <a:pt x="106417" y="101295"/>
                  </a:cubicBezTo>
                  <a:lnTo>
                    <a:pt x="106417" y="446183"/>
                  </a:lnTo>
                  <a:cubicBezTo>
                    <a:pt x="106417" y="452552"/>
                    <a:pt x="107286" y="458719"/>
                    <a:pt x="109204" y="464489"/>
                  </a:cubicBezTo>
                  <a:lnTo>
                    <a:pt x="86840" y="464489"/>
                  </a:lnTo>
                  <a:cubicBezTo>
                    <a:pt x="63150" y="464489"/>
                    <a:pt x="43945" y="445284"/>
                    <a:pt x="43945" y="421594"/>
                  </a:cubicBezTo>
                  <a:cubicBezTo>
                    <a:pt x="43945" y="351850"/>
                    <a:pt x="33248" y="302373"/>
                    <a:pt x="23736" y="250757"/>
                  </a:cubicBezTo>
                  <a:lnTo>
                    <a:pt x="0" y="133694"/>
                  </a:lnTo>
                  <a:lnTo>
                    <a:pt x="9527" y="127719"/>
                  </a:lnTo>
                  <a:cubicBezTo>
                    <a:pt x="8991" y="121737"/>
                    <a:pt x="8903" y="115596"/>
                    <a:pt x="8903" y="109290"/>
                  </a:cubicBezTo>
                  <a:cubicBezTo>
                    <a:pt x="8903" y="85599"/>
                    <a:pt x="63150" y="0"/>
                    <a:pt x="86840" y="0"/>
                  </a:cubicBezTo>
                  <a:close/>
                </a:path>
              </a:pathLst>
            </a:custGeom>
            <a:grpFill/>
            <a:ln>
              <a:noFill/>
            </a:ln>
          </p:spPr>
          <p:txBody>
            <a:bodyPr rot="0" spcFirstLastPara="0" vert="horz" wrap="square" lIns="121920" tIns="60960" rIns="121920" bIns="6096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219140" fontAlgn="base">
                <a:spcBef>
                  <a:spcPct val="0"/>
                </a:spcBef>
                <a:spcAft>
                  <a:spcPct val="0"/>
                </a:spcAft>
                <a:defRPr/>
              </a:pPr>
              <a:endParaRPr lang="en-US" sz="2400" kern="0">
                <a:solidFill>
                  <a:srgbClr val="FFFFFF"/>
                </a:solidFill>
                <a:latin typeface="CiscoSansTT ExtraLight"/>
                <a:sym typeface="Arial"/>
              </a:endParaRPr>
            </a:p>
          </p:txBody>
        </p:sp>
        <p:sp>
          <p:nvSpPr>
            <p:cNvPr id="287" name="Freeform: Shape 286">
              <a:extLst>
                <a:ext uri="{FF2B5EF4-FFF2-40B4-BE49-F238E27FC236}">
                  <a16:creationId xmlns:a16="http://schemas.microsoft.com/office/drawing/2014/main" id="{507885B4-5F68-4CCE-AF33-850A052F30B0}"/>
                </a:ext>
              </a:extLst>
            </p:cNvPr>
            <p:cNvSpPr/>
            <p:nvPr/>
          </p:nvSpPr>
          <p:spPr bwMode="auto">
            <a:xfrm>
              <a:off x="4915663" y="5902555"/>
              <a:ext cx="101243" cy="541794"/>
            </a:xfrm>
            <a:custGeom>
              <a:avLst/>
              <a:gdLst>
                <a:gd name="connsiteX0" fmla="*/ 50621 w 101243"/>
                <a:gd name="connsiteY0" fmla="*/ 0 h 541794"/>
                <a:gd name="connsiteX1" fmla="*/ 101243 w 101243"/>
                <a:gd name="connsiteY1" fmla="*/ 50621 h 541794"/>
                <a:gd name="connsiteX2" fmla="*/ 101243 w 101243"/>
                <a:gd name="connsiteY2" fmla="*/ 491172 h 541794"/>
                <a:gd name="connsiteX3" fmla="*/ 50621 w 101243"/>
                <a:gd name="connsiteY3" fmla="*/ 541794 h 541794"/>
                <a:gd name="connsiteX4" fmla="*/ 0 w 101243"/>
                <a:gd name="connsiteY4" fmla="*/ 491172 h 541794"/>
                <a:gd name="connsiteX5" fmla="*/ 0 w 101243"/>
                <a:gd name="connsiteY5" fmla="*/ 50621 h 541794"/>
                <a:gd name="connsiteX6" fmla="*/ 50621 w 101243"/>
                <a:gd name="connsiteY6" fmla="*/ 0 h 54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243" h="541794">
                  <a:moveTo>
                    <a:pt x="50621" y="0"/>
                  </a:moveTo>
                  <a:cubicBezTo>
                    <a:pt x="78579" y="0"/>
                    <a:pt x="101243" y="22664"/>
                    <a:pt x="101243" y="50621"/>
                  </a:cubicBezTo>
                  <a:lnTo>
                    <a:pt x="101243" y="491172"/>
                  </a:lnTo>
                  <a:cubicBezTo>
                    <a:pt x="101243" y="519130"/>
                    <a:pt x="78579" y="541794"/>
                    <a:pt x="50621" y="541794"/>
                  </a:cubicBezTo>
                  <a:cubicBezTo>
                    <a:pt x="22664" y="541794"/>
                    <a:pt x="0" y="519130"/>
                    <a:pt x="0" y="491172"/>
                  </a:cubicBezTo>
                  <a:lnTo>
                    <a:pt x="0" y="50621"/>
                  </a:lnTo>
                  <a:cubicBezTo>
                    <a:pt x="0" y="22664"/>
                    <a:pt x="22664" y="0"/>
                    <a:pt x="50621" y="0"/>
                  </a:cubicBezTo>
                  <a:close/>
                </a:path>
              </a:pathLst>
            </a:custGeom>
            <a:grpFill/>
            <a:ln>
              <a:noFill/>
            </a:ln>
          </p:spPr>
          <p:txBody>
            <a:bodyPr rot="0" spcFirstLastPara="0" vert="horz" wrap="square" lIns="121920" tIns="60960" rIns="121920" bIns="6096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219140" fontAlgn="base">
                <a:spcBef>
                  <a:spcPct val="0"/>
                </a:spcBef>
                <a:spcAft>
                  <a:spcPct val="0"/>
                </a:spcAft>
                <a:defRPr/>
              </a:pPr>
              <a:endParaRPr lang="en-US" sz="2400" kern="0">
                <a:solidFill>
                  <a:srgbClr val="FFFFFF"/>
                </a:solidFill>
                <a:latin typeface="CiscoSansTT ExtraLight"/>
                <a:sym typeface="Arial"/>
              </a:endParaRPr>
            </a:p>
          </p:txBody>
        </p:sp>
        <p:sp>
          <p:nvSpPr>
            <p:cNvPr id="288" name="Freeform: Shape 287">
              <a:extLst>
                <a:ext uri="{FF2B5EF4-FFF2-40B4-BE49-F238E27FC236}">
                  <a16:creationId xmlns:a16="http://schemas.microsoft.com/office/drawing/2014/main" id="{B1955B65-77DC-4A97-9519-E60B39E5D699}"/>
                </a:ext>
              </a:extLst>
            </p:cNvPr>
            <p:cNvSpPr/>
            <p:nvPr/>
          </p:nvSpPr>
          <p:spPr bwMode="auto">
            <a:xfrm>
              <a:off x="4788969" y="6377900"/>
              <a:ext cx="370766" cy="330573"/>
            </a:xfrm>
            <a:custGeom>
              <a:avLst/>
              <a:gdLst>
                <a:gd name="connsiteX0" fmla="*/ 105627 w 370766"/>
                <a:gd name="connsiteY0" fmla="*/ 0 h 330573"/>
                <a:gd name="connsiteX1" fmla="*/ 118762 w 370766"/>
                <a:gd name="connsiteY1" fmla="*/ 0 h 330573"/>
                <a:gd name="connsiteX2" fmla="*/ 118762 w 370766"/>
                <a:gd name="connsiteY2" fmla="*/ 33286 h 330573"/>
                <a:gd name="connsiteX3" fmla="*/ 175900 w 370766"/>
                <a:gd name="connsiteY3" fmla="*/ 90424 h 330573"/>
                <a:gd name="connsiteX4" fmla="*/ 233038 w 370766"/>
                <a:gd name="connsiteY4" fmla="*/ 33286 h 330573"/>
                <a:gd name="connsiteX5" fmla="*/ 233038 w 370766"/>
                <a:gd name="connsiteY5" fmla="*/ 0 h 330573"/>
                <a:gd name="connsiteX6" fmla="*/ 246173 w 370766"/>
                <a:gd name="connsiteY6" fmla="*/ 0 h 330573"/>
                <a:gd name="connsiteX7" fmla="*/ 281311 w 370766"/>
                <a:gd name="connsiteY7" fmla="*/ 35138 h 330573"/>
                <a:gd name="connsiteX8" fmla="*/ 281311 w 370766"/>
                <a:gd name="connsiteY8" fmla="*/ 112979 h 330573"/>
                <a:gd name="connsiteX9" fmla="*/ 344066 w 370766"/>
                <a:gd name="connsiteY9" fmla="*/ 112979 h 330573"/>
                <a:gd name="connsiteX10" fmla="*/ 370766 w 370766"/>
                <a:gd name="connsiteY10" fmla="*/ 129995 h 330573"/>
                <a:gd name="connsiteX11" fmla="*/ 370766 w 370766"/>
                <a:gd name="connsiteY11" fmla="*/ 222104 h 330573"/>
                <a:gd name="connsiteX12" fmla="*/ 262296 w 370766"/>
                <a:gd name="connsiteY12" fmla="*/ 330573 h 330573"/>
                <a:gd name="connsiteX13" fmla="*/ 215526 w 370766"/>
                <a:gd name="connsiteY13" fmla="*/ 330573 h 330573"/>
                <a:gd name="connsiteX14" fmla="*/ 212112 w 370766"/>
                <a:gd name="connsiteY14" fmla="*/ 325949 h 330573"/>
                <a:gd name="connsiteX15" fmla="*/ 155844 w 370766"/>
                <a:gd name="connsiteY15" fmla="*/ 328759 h 330573"/>
                <a:gd name="connsiteX16" fmla="*/ 154766 w 370766"/>
                <a:gd name="connsiteY16" fmla="*/ 330573 h 330573"/>
                <a:gd name="connsiteX17" fmla="*/ 108469 w 370766"/>
                <a:gd name="connsiteY17" fmla="*/ 330573 h 330573"/>
                <a:gd name="connsiteX18" fmla="*/ 0 w 370766"/>
                <a:gd name="connsiteY18" fmla="*/ 222104 h 330573"/>
                <a:gd name="connsiteX19" fmla="*/ 0 w 370766"/>
                <a:gd name="connsiteY19" fmla="*/ 128025 h 330573"/>
                <a:gd name="connsiteX20" fmla="*/ 25371 w 370766"/>
                <a:gd name="connsiteY20" fmla="*/ 112979 h 330573"/>
                <a:gd name="connsiteX21" fmla="*/ 70489 w 370766"/>
                <a:gd name="connsiteY21" fmla="*/ 112979 h 330573"/>
                <a:gd name="connsiteX22" fmla="*/ 70489 w 370766"/>
                <a:gd name="connsiteY22" fmla="*/ 35138 h 330573"/>
                <a:gd name="connsiteX23" fmla="*/ 105627 w 370766"/>
                <a:gd name="connsiteY23" fmla="*/ 0 h 330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70766" h="330573">
                  <a:moveTo>
                    <a:pt x="105627" y="0"/>
                  </a:moveTo>
                  <a:lnTo>
                    <a:pt x="118762" y="0"/>
                  </a:lnTo>
                  <a:lnTo>
                    <a:pt x="118762" y="33286"/>
                  </a:lnTo>
                  <a:cubicBezTo>
                    <a:pt x="118762" y="64843"/>
                    <a:pt x="144343" y="90424"/>
                    <a:pt x="175900" y="90424"/>
                  </a:cubicBezTo>
                  <a:cubicBezTo>
                    <a:pt x="207456" y="90424"/>
                    <a:pt x="233038" y="64843"/>
                    <a:pt x="233038" y="33286"/>
                  </a:cubicBezTo>
                  <a:lnTo>
                    <a:pt x="233038" y="0"/>
                  </a:lnTo>
                  <a:lnTo>
                    <a:pt x="246173" y="0"/>
                  </a:lnTo>
                  <a:cubicBezTo>
                    <a:pt x="265579" y="0"/>
                    <a:pt x="281311" y="15732"/>
                    <a:pt x="281311" y="35138"/>
                  </a:cubicBezTo>
                  <a:lnTo>
                    <a:pt x="281311" y="112979"/>
                  </a:lnTo>
                  <a:lnTo>
                    <a:pt x="344066" y="112979"/>
                  </a:lnTo>
                  <a:cubicBezTo>
                    <a:pt x="355920" y="112979"/>
                    <a:pt x="366161" y="119882"/>
                    <a:pt x="370766" y="129995"/>
                  </a:cubicBezTo>
                  <a:lnTo>
                    <a:pt x="370766" y="222104"/>
                  </a:lnTo>
                  <a:lnTo>
                    <a:pt x="262296" y="330573"/>
                  </a:lnTo>
                  <a:lnTo>
                    <a:pt x="215526" y="330573"/>
                  </a:lnTo>
                  <a:lnTo>
                    <a:pt x="212112" y="325949"/>
                  </a:lnTo>
                  <a:cubicBezTo>
                    <a:pt x="195798" y="311187"/>
                    <a:pt x="170606" y="312445"/>
                    <a:pt x="155844" y="328759"/>
                  </a:cubicBezTo>
                  <a:cubicBezTo>
                    <a:pt x="155374" y="329278"/>
                    <a:pt x="154921" y="329806"/>
                    <a:pt x="154766" y="330573"/>
                  </a:cubicBezTo>
                  <a:lnTo>
                    <a:pt x="108469" y="330573"/>
                  </a:lnTo>
                  <a:lnTo>
                    <a:pt x="0" y="222104"/>
                  </a:lnTo>
                  <a:lnTo>
                    <a:pt x="0" y="128025"/>
                  </a:lnTo>
                  <a:cubicBezTo>
                    <a:pt x="4759" y="118923"/>
                    <a:pt x="14371" y="112979"/>
                    <a:pt x="25371" y="112979"/>
                  </a:cubicBezTo>
                  <a:lnTo>
                    <a:pt x="70489" y="112979"/>
                  </a:lnTo>
                  <a:lnTo>
                    <a:pt x="70489" y="35138"/>
                  </a:lnTo>
                  <a:cubicBezTo>
                    <a:pt x="70489" y="15732"/>
                    <a:pt x="86221" y="0"/>
                    <a:pt x="105627" y="0"/>
                  </a:cubicBezTo>
                  <a:close/>
                </a:path>
              </a:pathLst>
            </a:custGeom>
            <a:grpFill/>
            <a:ln>
              <a:noFill/>
            </a:ln>
          </p:spPr>
          <p:txBody>
            <a:bodyPr rot="0" spcFirstLastPara="0" vert="horz" wrap="square" lIns="121920" tIns="60960" rIns="121920" bIns="6096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219140" fontAlgn="base">
                <a:spcBef>
                  <a:spcPct val="0"/>
                </a:spcBef>
                <a:spcAft>
                  <a:spcPct val="0"/>
                </a:spcAft>
                <a:defRPr/>
              </a:pPr>
              <a:endParaRPr lang="en-US" sz="2400" kern="0">
                <a:solidFill>
                  <a:srgbClr val="FFFFFF"/>
                </a:solidFill>
                <a:latin typeface="CiscoSansTT ExtraLight"/>
                <a:sym typeface="Arial"/>
              </a:endParaRPr>
            </a:p>
          </p:txBody>
        </p:sp>
        <p:sp>
          <p:nvSpPr>
            <p:cNvPr id="289" name="Freeform: Shape 288">
              <a:extLst>
                <a:ext uri="{FF2B5EF4-FFF2-40B4-BE49-F238E27FC236}">
                  <a16:creationId xmlns:a16="http://schemas.microsoft.com/office/drawing/2014/main" id="{FD6C74F2-C49B-4F6D-8A1E-01AAA8778762}"/>
                </a:ext>
              </a:extLst>
            </p:cNvPr>
            <p:cNvSpPr/>
            <p:nvPr/>
          </p:nvSpPr>
          <p:spPr bwMode="auto">
            <a:xfrm>
              <a:off x="4784462" y="6608152"/>
              <a:ext cx="378451" cy="290108"/>
            </a:xfrm>
            <a:custGeom>
              <a:avLst/>
              <a:gdLst>
                <a:gd name="connsiteX0" fmla="*/ 0 w 378451"/>
                <a:gd name="connsiteY0" fmla="*/ 0 h 290108"/>
                <a:gd name="connsiteX1" fmla="*/ 108470 w 378451"/>
                <a:gd name="connsiteY1" fmla="*/ 108469 h 290108"/>
                <a:gd name="connsiteX2" fmla="*/ 154429 w 378451"/>
                <a:gd name="connsiteY2" fmla="*/ 108469 h 290108"/>
                <a:gd name="connsiteX3" fmla="*/ 163161 w 378451"/>
                <a:gd name="connsiteY3" fmla="*/ 154775 h 290108"/>
                <a:gd name="connsiteX4" fmla="*/ 219429 w 378451"/>
                <a:gd name="connsiteY4" fmla="*/ 151965 h 290108"/>
                <a:gd name="connsiteX5" fmla="*/ 226028 w 378451"/>
                <a:gd name="connsiteY5" fmla="*/ 108469 h 290108"/>
                <a:gd name="connsiteX6" fmla="*/ 271310 w 378451"/>
                <a:gd name="connsiteY6" fmla="*/ 108469 h 290108"/>
                <a:gd name="connsiteX7" fmla="*/ 378451 w 378451"/>
                <a:gd name="connsiteY7" fmla="*/ 1328 h 290108"/>
                <a:gd name="connsiteX8" fmla="*/ 378451 w 378451"/>
                <a:gd name="connsiteY8" fmla="*/ 151626 h 290108"/>
                <a:gd name="connsiteX9" fmla="*/ 348573 w 378451"/>
                <a:gd name="connsiteY9" fmla="*/ 181504 h 290108"/>
                <a:gd name="connsiteX10" fmla="*/ 285818 w 378451"/>
                <a:gd name="connsiteY10" fmla="*/ 181504 h 290108"/>
                <a:gd name="connsiteX11" fmla="*/ 285818 w 378451"/>
                <a:gd name="connsiteY11" fmla="*/ 254971 h 290108"/>
                <a:gd name="connsiteX12" fmla="*/ 250680 w 378451"/>
                <a:gd name="connsiteY12" fmla="*/ 290108 h 290108"/>
                <a:gd name="connsiteX13" fmla="*/ 110134 w 378451"/>
                <a:gd name="connsiteY13" fmla="*/ 290108 h 290108"/>
                <a:gd name="connsiteX14" fmla="*/ 74996 w 378451"/>
                <a:gd name="connsiteY14" fmla="*/ 254971 h 290108"/>
                <a:gd name="connsiteX15" fmla="*/ 74996 w 378451"/>
                <a:gd name="connsiteY15" fmla="*/ 181504 h 290108"/>
                <a:gd name="connsiteX16" fmla="*/ 29878 w 378451"/>
                <a:gd name="connsiteY16" fmla="*/ 181504 h 290108"/>
                <a:gd name="connsiteX17" fmla="*/ 0 w 378451"/>
                <a:gd name="connsiteY17" fmla="*/ 151626 h 290108"/>
                <a:gd name="connsiteX18" fmla="*/ 0 w 378451"/>
                <a:gd name="connsiteY18" fmla="*/ 0 h 290108"/>
                <a:gd name="connsiteX19" fmla="*/ 83093 w 378451"/>
                <a:gd name="connsiteY19" fmla="*/ 182358 h 290108"/>
                <a:gd name="connsiteX20" fmla="*/ 83093 w 378451"/>
                <a:gd name="connsiteY20" fmla="*/ 195636 h 290108"/>
                <a:gd name="connsiteX21" fmla="*/ 277379 w 378451"/>
                <a:gd name="connsiteY21" fmla="*/ 195636 h 290108"/>
                <a:gd name="connsiteX22" fmla="*/ 277379 w 378451"/>
                <a:gd name="connsiteY22" fmla="*/ 182358 h 290108"/>
                <a:gd name="connsiteX23" fmla="*/ 83093 w 378451"/>
                <a:gd name="connsiteY23" fmla="*/ 182358 h 29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78451" h="290108">
                  <a:moveTo>
                    <a:pt x="0" y="0"/>
                  </a:moveTo>
                  <a:lnTo>
                    <a:pt x="108470" y="108469"/>
                  </a:lnTo>
                  <a:lnTo>
                    <a:pt x="154429" y="108469"/>
                  </a:lnTo>
                  <a:cubicBezTo>
                    <a:pt x="146549" y="123664"/>
                    <a:pt x="149823" y="142705"/>
                    <a:pt x="163161" y="154775"/>
                  </a:cubicBezTo>
                  <a:cubicBezTo>
                    <a:pt x="179475" y="169537"/>
                    <a:pt x="204667" y="168279"/>
                    <a:pt x="219429" y="151965"/>
                  </a:cubicBezTo>
                  <a:cubicBezTo>
                    <a:pt x="230489" y="139742"/>
                    <a:pt x="232556" y="122535"/>
                    <a:pt x="226028" y="108469"/>
                  </a:cubicBezTo>
                  <a:lnTo>
                    <a:pt x="271310" y="108469"/>
                  </a:lnTo>
                  <a:lnTo>
                    <a:pt x="378451" y="1328"/>
                  </a:lnTo>
                  <a:lnTo>
                    <a:pt x="378451" y="151626"/>
                  </a:lnTo>
                  <a:cubicBezTo>
                    <a:pt x="378451" y="168127"/>
                    <a:pt x="365075" y="181504"/>
                    <a:pt x="348573" y="181504"/>
                  </a:cubicBezTo>
                  <a:lnTo>
                    <a:pt x="285818" y="181504"/>
                  </a:lnTo>
                  <a:lnTo>
                    <a:pt x="285818" y="254971"/>
                  </a:lnTo>
                  <a:cubicBezTo>
                    <a:pt x="285818" y="274376"/>
                    <a:pt x="270086" y="290108"/>
                    <a:pt x="250680" y="290108"/>
                  </a:cubicBezTo>
                  <a:lnTo>
                    <a:pt x="110134" y="290108"/>
                  </a:lnTo>
                  <a:cubicBezTo>
                    <a:pt x="90728" y="290108"/>
                    <a:pt x="74996" y="274376"/>
                    <a:pt x="74996" y="254971"/>
                  </a:cubicBezTo>
                  <a:lnTo>
                    <a:pt x="74996" y="181504"/>
                  </a:lnTo>
                  <a:lnTo>
                    <a:pt x="29878" y="181504"/>
                  </a:lnTo>
                  <a:cubicBezTo>
                    <a:pt x="13377" y="181504"/>
                    <a:pt x="0" y="168127"/>
                    <a:pt x="0" y="151626"/>
                  </a:cubicBezTo>
                  <a:lnTo>
                    <a:pt x="0" y="0"/>
                  </a:lnTo>
                  <a:close/>
                  <a:moveTo>
                    <a:pt x="83093" y="182358"/>
                  </a:moveTo>
                  <a:lnTo>
                    <a:pt x="83093" y="195636"/>
                  </a:lnTo>
                  <a:lnTo>
                    <a:pt x="277379" y="195636"/>
                  </a:lnTo>
                  <a:lnTo>
                    <a:pt x="277379" y="182358"/>
                  </a:lnTo>
                  <a:lnTo>
                    <a:pt x="83093" y="182358"/>
                  </a:lnTo>
                  <a:close/>
                </a:path>
              </a:pathLst>
            </a:custGeom>
            <a:grpFill/>
            <a:ln>
              <a:noFill/>
            </a:ln>
          </p:spPr>
          <p:txBody>
            <a:bodyPr rot="0" spcFirstLastPara="0" vert="horz" wrap="square" lIns="121920" tIns="60960" rIns="121920" bIns="6096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219140" fontAlgn="base">
                <a:spcBef>
                  <a:spcPct val="0"/>
                </a:spcBef>
                <a:spcAft>
                  <a:spcPct val="0"/>
                </a:spcAft>
                <a:defRPr/>
              </a:pPr>
              <a:endParaRPr lang="en-US" sz="2400" kern="0">
                <a:solidFill>
                  <a:srgbClr val="FFFFFF"/>
                </a:solidFill>
                <a:latin typeface="CiscoSansTT ExtraLight"/>
                <a:sym typeface="Arial"/>
              </a:endParaRPr>
            </a:p>
          </p:txBody>
        </p:sp>
        <p:sp>
          <p:nvSpPr>
            <p:cNvPr id="290" name="Freeform: Shape 289">
              <a:extLst>
                <a:ext uri="{FF2B5EF4-FFF2-40B4-BE49-F238E27FC236}">
                  <a16:creationId xmlns:a16="http://schemas.microsoft.com/office/drawing/2014/main" id="{B1BD13F7-A385-45A5-90BC-724C02BD4420}"/>
                </a:ext>
              </a:extLst>
            </p:cNvPr>
            <p:cNvSpPr/>
            <p:nvPr/>
          </p:nvSpPr>
          <p:spPr bwMode="auto">
            <a:xfrm>
              <a:off x="4953179" y="6716621"/>
              <a:ext cx="41532" cy="9665"/>
            </a:xfrm>
            <a:custGeom>
              <a:avLst/>
              <a:gdLst>
                <a:gd name="connsiteX0" fmla="*/ 6943 w 41532"/>
                <a:gd name="connsiteY0" fmla="*/ 0 h 9665"/>
                <a:gd name="connsiteX1" fmla="*/ 34838 w 41532"/>
                <a:gd name="connsiteY1" fmla="*/ 0 h 9665"/>
                <a:gd name="connsiteX2" fmla="*/ 41532 w 41532"/>
                <a:gd name="connsiteY2" fmla="*/ 7591 h 9665"/>
                <a:gd name="connsiteX3" fmla="*/ 0 w 41532"/>
                <a:gd name="connsiteY3" fmla="*/ 9665 h 9665"/>
                <a:gd name="connsiteX4" fmla="*/ 6943 w 41532"/>
                <a:gd name="connsiteY4" fmla="*/ 0 h 9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32" h="9665">
                  <a:moveTo>
                    <a:pt x="6943" y="0"/>
                  </a:moveTo>
                  <a:lnTo>
                    <a:pt x="34838" y="0"/>
                  </a:lnTo>
                  <a:lnTo>
                    <a:pt x="41532" y="7591"/>
                  </a:lnTo>
                  <a:lnTo>
                    <a:pt x="0" y="9665"/>
                  </a:lnTo>
                  <a:cubicBezTo>
                    <a:pt x="1325" y="5716"/>
                    <a:pt x="3684" y="2318"/>
                    <a:pt x="6943" y="0"/>
                  </a:cubicBezTo>
                  <a:close/>
                </a:path>
              </a:pathLst>
            </a:custGeom>
            <a:grpFill/>
            <a:ln>
              <a:noFill/>
            </a:ln>
          </p:spPr>
          <p:txBody>
            <a:bodyPr rot="0" spcFirstLastPara="0" vert="horz" wrap="square" lIns="121920" tIns="60960" rIns="121920" bIns="6096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219140" fontAlgn="base">
                <a:spcBef>
                  <a:spcPct val="0"/>
                </a:spcBef>
                <a:spcAft>
                  <a:spcPct val="0"/>
                </a:spcAft>
                <a:defRPr/>
              </a:pPr>
              <a:endParaRPr lang="en-US" sz="2400" kern="0">
                <a:solidFill>
                  <a:srgbClr val="FFFFFF"/>
                </a:solidFill>
                <a:latin typeface="CiscoSansTT ExtraLight"/>
                <a:sym typeface="Arial"/>
              </a:endParaRPr>
            </a:p>
          </p:txBody>
        </p:sp>
        <p:sp>
          <p:nvSpPr>
            <p:cNvPr id="291" name="Freeform: Shape 290">
              <a:extLst>
                <a:ext uri="{FF2B5EF4-FFF2-40B4-BE49-F238E27FC236}">
                  <a16:creationId xmlns:a16="http://schemas.microsoft.com/office/drawing/2014/main" id="{9F9C5C04-14D1-4B6B-838C-31DEDFBB7365}"/>
                </a:ext>
              </a:extLst>
            </p:cNvPr>
            <p:cNvSpPr/>
            <p:nvPr/>
          </p:nvSpPr>
          <p:spPr bwMode="auto">
            <a:xfrm>
              <a:off x="4953992" y="6740490"/>
              <a:ext cx="41532" cy="15229"/>
            </a:xfrm>
            <a:custGeom>
              <a:avLst/>
              <a:gdLst>
                <a:gd name="connsiteX0" fmla="*/ 41532 w 41532"/>
                <a:gd name="connsiteY0" fmla="*/ 0 h 15229"/>
                <a:gd name="connsiteX1" fmla="*/ 21474 w 41532"/>
                <a:gd name="connsiteY1" fmla="*/ 15202 h 15229"/>
                <a:gd name="connsiteX2" fmla="*/ 0 w 41532"/>
                <a:gd name="connsiteY2" fmla="*/ 2074 h 15229"/>
                <a:gd name="connsiteX3" fmla="*/ 41532 w 41532"/>
                <a:gd name="connsiteY3" fmla="*/ 0 h 15229"/>
              </a:gdLst>
              <a:ahLst/>
              <a:cxnLst>
                <a:cxn ang="0">
                  <a:pos x="connsiteX0" y="connsiteY0"/>
                </a:cxn>
                <a:cxn ang="0">
                  <a:pos x="connsiteX1" y="connsiteY1"/>
                </a:cxn>
                <a:cxn ang="0">
                  <a:pos x="connsiteX2" y="connsiteY2"/>
                </a:cxn>
                <a:cxn ang="0">
                  <a:pos x="connsiteX3" y="connsiteY3"/>
                </a:cxn>
              </a:cxnLst>
              <a:rect l="l" t="t" r="r" b="b"/>
              <a:pathLst>
                <a:path w="41532" h="15229">
                  <a:moveTo>
                    <a:pt x="41532" y="0"/>
                  </a:moveTo>
                  <a:cubicBezTo>
                    <a:pt x="38610" y="8711"/>
                    <a:pt x="30651" y="14744"/>
                    <a:pt x="21474" y="15202"/>
                  </a:cubicBezTo>
                  <a:cubicBezTo>
                    <a:pt x="12297" y="15660"/>
                    <a:pt x="3776" y="10450"/>
                    <a:pt x="0" y="2074"/>
                  </a:cubicBezTo>
                  <a:lnTo>
                    <a:pt x="41532" y="0"/>
                  </a:lnTo>
                  <a:close/>
                </a:path>
              </a:pathLst>
            </a:custGeom>
            <a:grpFill/>
            <a:ln>
              <a:noFill/>
            </a:ln>
          </p:spPr>
          <p:txBody>
            <a:bodyPr rot="0" spcFirstLastPara="0" vert="horz" wrap="square" lIns="121920" tIns="60960" rIns="121920" bIns="6096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219140" fontAlgn="base">
                <a:spcBef>
                  <a:spcPct val="0"/>
                </a:spcBef>
                <a:spcAft>
                  <a:spcPct val="0"/>
                </a:spcAft>
                <a:defRPr/>
              </a:pPr>
              <a:endParaRPr lang="en-US" sz="2400" kern="0">
                <a:solidFill>
                  <a:srgbClr val="FFFFFF"/>
                </a:solidFill>
                <a:latin typeface="CiscoSansTT ExtraLight"/>
                <a:sym typeface="Arial"/>
              </a:endParaRPr>
            </a:p>
          </p:txBody>
        </p:sp>
        <p:grpSp>
          <p:nvGrpSpPr>
            <p:cNvPr id="292" name="Group 291">
              <a:extLst>
                <a:ext uri="{FF2B5EF4-FFF2-40B4-BE49-F238E27FC236}">
                  <a16:creationId xmlns:a16="http://schemas.microsoft.com/office/drawing/2014/main" id="{29FFB90B-DC25-450F-A936-01BAD65AAB54}"/>
                </a:ext>
              </a:extLst>
            </p:cNvPr>
            <p:cNvGrpSpPr/>
            <p:nvPr/>
          </p:nvGrpSpPr>
          <p:grpSpPr>
            <a:xfrm flipH="1">
              <a:off x="4499580" y="5654822"/>
              <a:ext cx="382559" cy="501293"/>
              <a:chOff x="3816000" y="5207380"/>
              <a:chExt cx="213378" cy="279604"/>
            </a:xfrm>
            <a:grpFill/>
          </p:grpSpPr>
          <p:sp>
            <p:nvSpPr>
              <p:cNvPr id="293" name="Rectangle: Rounded Corners 292">
                <a:extLst>
                  <a:ext uri="{FF2B5EF4-FFF2-40B4-BE49-F238E27FC236}">
                    <a16:creationId xmlns:a16="http://schemas.microsoft.com/office/drawing/2014/main" id="{D2177AFA-BC11-45E8-A13E-5F8A19A4987D}"/>
                  </a:ext>
                </a:extLst>
              </p:cNvPr>
              <p:cNvSpPr/>
              <p:nvPr/>
            </p:nvSpPr>
            <p:spPr>
              <a:xfrm rot="818077">
                <a:off x="3981198" y="5207380"/>
                <a:ext cx="26415" cy="141785"/>
              </a:xfrm>
              <a:prstGeom prst="roundRect">
                <a:avLst/>
              </a:prstGeom>
              <a:solidFill>
                <a:srgbClr val="0498D1">
                  <a:lumMod val="75000"/>
                </a:srgbClr>
              </a:solidFill>
              <a:ln w="25400" cap="flat" cmpd="sng" algn="ctr">
                <a:noFill/>
                <a:prstDash val="solid"/>
              </a:ln>
              <a:effectLst/>
            </p:spPr>
            <p:txBody>
              <a:bodyPr rtlCol="0" anchor="ctr"/>
              <a:lstStyle/>
              <a:p>
                <a:pPr algn="ctr" defTabSz="914354" fontAlgn="base">
                  <a:spcBef>
                    <a:spcPct val="0"/>
                  </a:spcBef>
                  <a:spcAft>
                    <a:spcPct val="0"/>
                  </a:spcAft>
                  <a:defRPr/>
                </a:pPr>
                <a:endParaRPr lang="en-US" sz="1600" kern="0">
                  <a:solidFill>
                    <a:srgbClr val="FFFFFF"/>
                  </a:solidFill>
                  <a:latin typeface="CiscoSansTT ExtraLight"/>
                  <a:ea typeface="ＭＳ Ｐゴシック" charset="0"/>
                  <a:cs typeface="Arial"/>
                  <a:sym typeface="Arial"/>
                </a:endParaRPr>
              </a:p>
            </p:txBody>
          </p:sp>
          <p:sp>
            <p:nvSpPr>
              <p:cNvPr id="294" name="Freeform: Shape 293">
                <a:extLst>
                  <a:ext uri="{FF2B5EF4-FFF2-40B4-BE49-F238E27FC236}">
                    <a16:creationId xmlns:a16="http://schemas.microsoft.com/office/drawing/2014/main" id="{50163713-3B15-4650-8040-A62B00C76DC3}"/>
                  </a:ext>
                </a:extLst>
              </p:cNvPr>
              <p:cNvSpPr/>
              <p:nvPr/>
            </p:nvSpPr>
            <p:spPr bwMode="auto">
              <a:xfrm>
                <a:off x="3816000" y="5345134"/>
                <a:ext cx="122778" cy="141850"/>
              </a:xfrm>
              <a:custGeom>
                <a:avLst/>
                <a:gdLst>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70412 w 373044"/>
                  <a:gd name="connsiteY5" fmla="*/ 390763 h 394829"/>
                  <a:gd name="connsiteX6" fmla="*/ 331738 w 373044"/>
                  <a:gd name="connsiteY6" fmla="*/ 376801 h 394829"/>
                  <a:gd name="connsiteX7" fmla="*/ 19672 w 373044"/>
                  <a:gd name="connsiteY7" fmla="*/ 101651 h 394829"/>
                  <a:gd name="connsiteX8" fmla="*/ 14518 w 373044"/>
                  <a:gd name="connsiteY8" fmla="*/ 19671 h 394829"/>
                  <a:gd name="connsiteX9" fmla="*/ 54441 w 373044"/>
                  <a:gd name="connsiteY9"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31738 w 373044"/>
                  <a:gd name="connsiteY5" fmla="*/ 376801 h 394829"/>
                  <a:gd name="connsiteX6" fmla="*/ 19672 w 373044"/>
                  <a:gd name="connsiteY6" fmla="*/ 101651 h 394829"/>
                  <a:gd name="connsiteX7" fmla="*/ 14518 w 373044"/>
                  <a:gd name="connsiteY7" fmla="*/ 19671 h 394829"/>
                  <a:gd name="connsiteX8" fmla="*/ 54441 w 373044"/>
                  <a:gd name="connsiteY8"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31738 w 373044"/>
                  <a:gd name="connsiteY4" fmla="*/ 376801 h 394829"/>
                  <a:gd name="connsiteX5" fmla="*/ 19672 w 373044"/>
                  <a:gd name="connsiteY5" fmla="*/ 101651 h 394829"/>
                  <a:gd name="connsiteX6" fmla="*/ 14518 w 373044"/>
                  <a:gd name="connsiteY6" fmla="*/ 19671 h 394829"/>
                  <a:gd name="connsiteX7" fmla="*/ 54441 w 373044"/>
                  <a:gd name="connsiteY7" fmla="*/ 116 h 394829"/>
                  <a:gd name="connsiteX0" fmla="*/ 54441 w 373044"/>
                  <a:gd name="connsiteY0" fmla="*/ 116 h 376801"/>
                  <a:gd name="connsiteX1" fmla="*/ 96499 w 373044"/>
                  <a:gd name="connsiteY1" fmla="*/ 14517 h 376801"/>
                  <a:gd name="connsiteX2" fmla="*/ 373044 w 373044"/>
                  <a:gd name="connsiteY2" fmla="*/ 258348 h 376801"/>
                  <a:gd name="connsiteX3" fmla="*/ 331738 w 373044"/>
                  <a:gd name="connsiteY3" fmla="*/ 376801 h 376801"/>
                  <a:gd name="connsiteX4" fmla="*/ 19672 w 373044"/>
                  <a:gd name="connsiteY4" fmla="*/ 101651 h 376801"/>
                  <a:gd name="connsiteX5" fmla="*/ 14518 w 373044"/>
                  <a:gd name="connsiteY5" fmla="*/ 19671 h 376801"/>
                  <a:gd name="connsiteX6" fmla="*/ 54441 w 373044"/>
                  <a:gd name="connsiteY6" fmla="*/ 116 h 376801"/>
                  <a:gd name="connsiteX0" fmla="*/ 54441 w 392514"/>
                  <a:gd name="connsiteY0" fmla="*/ 116 h 389308"/>
                  <a:gd name="connsiteX1" fmla="*/ 96499 w 392514"/>
                  <a:gd name="connsiteY1" fmla="*/ 14517 h 389308"/>
                  <a:gd name="connsiteX2" fmla="*/ 373044 w 392514"/>
                  <a:gd name="connsiteY2" fmla="*/ 258348 h 389308"/>
                  <a:gd name="connsiteX3" fmla="*/ 331738 w 392514"/>
                  <a:gd name="connsiteY3" fmla="*/ 376801 h 389308"/>
                  <a:gd name="connsiteX4" fmla="*/ 19672 w 392514"/>
                  <a:gd name="connsiteY4" fmla="*/ 101651 h 389308"/>
                  <a:gd name="connsiteX5" fmla="*/ 14518 w 392514"/>
                  <a:gd name="connsiteY5" fmla="*/ 19671 h 389308"/>
                  <a:gd name="connsiteX6" fmla="*/ 54441 w 392514"/>
                  <a:gd name="connsiteY6" fmla="*/ 116 h 389308"/>
                  <a:gd name="connsiteX0" fmla="*/ 54441 w 417895"/>
                  <a:gd name="connsiteY0" fmla="*/ 116 h 390341"/>
                  <a:gd name="connsiteX1" fmla="*/ 96499 w 417895"/>
                  <a:gd name="connsiteY1" fmla="*/ 14517 h 390341"/>
                  <a:gd name="connsiteX2" fmla="*/ 373044 w 417895"/>
                  <a:gd name="connsiteY2" fmla="*/ 258348 h 390341"/>
                  <a:gd name="connsiteX3" fmla="*/ 331738 w 417895"/>
                  <a:gd name="connsiteY3" fmla="*/ 376801 h 390341"/>
                  <a:gd name="connsiteX4" fmla="*/ 19672 w 417895"/>
                  <a:gd name="connsiteY4" fmla="*/ 101651 h 390341"/>
                  <a:gd name="connsiteX5" fmla="*/ 14518 w 417895"/>
                  <a:gd name="connsiteY5" fmla="*/ 19671 h 390341"/>
                  <a:gd name="connsiteX6" fmla="*/ 54441 w 417895"/>
                  <a:gd name="connsiteY6" fmla="*/ 116 h 390341"/>
                  <a:gd name="connsiteX0" fmla="*/ 54441 w 415063"/>
                  <a:gd name="connsiteY0" fmla="*/ 116 h 388409"/>
                  <a:gd name="connsiteX1" fmla="*/ 96499 w 415063"/>
                  <a:gd name="connsiteY1" fmla="*/ 14517 h 388409"/>
                  <a:gd name="connsiteX2" fmla="*/ 373044 w 415063"/>
                  <a:gd name="connsiteY2" fmla="*/ 258348 h 388409"/>
                  <a:gd name="connsiteX3" fmla="*/ 331738 w 415063"/>
                  <a:gd name="connsiteY3" fmla="*/ 376801 h 388409"/>
                  <a:gd name="connsiteX4" fmla="*/ 19672 w 415063"/>
                  <a:gd name="connsiteY4" fmla="*/ 101651 h 388409"/>
                  <a:gd name="connsiteX5" fmla="*/ 14518 w 415063"/>
                  <a:gd name="connsiteY5" fmla="*/ 19671 h 388409"/>
                  <a:gd name="connsiteX6" fmla="*/ 54441 w 415063"/>
                  <a:gd name="connsiteY6" fmla="*/ 116 h 388409"/>
                  <a:gd name="connsiteX0" fmla="*/ 54441 w 389618"/>
                  <a:gd name="connsiteY0" fmla="*/ 116 h 385766"/>
                  <a:gd name="connsiteX1" fmla="*/ 96499 w 389618"/>
                  <a:gd name="connsiteY1" fmla="*/ 14517 h 385766"/>
                  <a:gd name="connsiteX2" fmla="*/ 311132 w 389618"/>
                  <a:gd name="connsiteY2" fmla="*/ 203579 h 385766"/>
                  <a:gd name="connsiteX3" fmla="*/ 331738 w 389618"/>
                  <a:gd name="connsiteY3" fmla="*/ 376801 h 385766"/>
                  <a:gd name="connsiteX4" fmla="*/ 19672 w 389618"/>
                  <a:gd name="connsiteY4" fmla="*/ 101651 h 385766"/>
                  <a:gd name="connsiteX5" fmla="*/ 14518 w 389618"/>
                  <a:gd name="connsiteY5" fmla="*/ 19671 h 385766"/>
                  <a:gd name="connsiteX6" fmla="*/ 54441 w 389618"/>
                  <a:gd name="connsiteY6" fmla="*/ 116 h 385766"/>
                  <a:gd name="connsiteX0" fmla="*/ 54441 w 353150"/>
                  <a:gd name="connsiteY0" fmla="*/ 116 h 331409"/>
                  <a:gd name="connsiteX1" fmla="*/ 96499 w 353150"/>
                  <a:gd name="connsiteY1" fmla="*/ 14517 h 331409"/>
                  <a:gd name="connsiteX2" fmla="*/ 311132 w 353150"/>
                  <a:gd name="connsiteY2" fmla="*/ 203579 h 331409"/>
                  <a:gd name="connsiteX3" fmla="*/ 269825 w 353150"/>
                  <a:gd name="connsiteY3" fmla="*/ 319651 h 331409"/>
                  <a:gd name="connsiteX4" fmla="*/ 19672 w 353150"/>
                  <a:gd name="connsiteY4" fmla="*/ 101651 h 331409"/>
                  <a:gd name="connsiteX5" fmla="*/ 14518 w 353150"/>
                  <a:gd name="connsiteY5" fmla="*/ 19671 h 331409"/>
                  <a:gd name="connsiteX6" fmla="*/ 54441 w 353150"/>
                  <a:gd name="connsiteY6" fmla="*/ 116 h 331409"/>
                  <a:gd name="connsiteX0" fmla="*/ 54441 w 344424"/>
                  <a:gd name="connsiteY0" fmla="*/ 116 h 321584"/>
                  <a:gd name="connsiteX1" fmla="*/ 96499 w 344424"/>
                  <a:gd name="connsiteY1" fmla="*/ 14517 h 321584"/>
                  <a:gd name="connsiteX2" fmla="*/ 311132 w 344424"/>
                  <a:gd name="connsiteY2" fmla="*/ 203579 h 321584"/>
                  <a:gd name="connsiteX3" fmla="*/ 269825 w 344424"/>
                  <a:gd name="connsiteY3" fmla="*/ 319651 h 321584"/>
                  <a:gd name="connsiteX4" fmla="*/ 19672 w 344424"/>
                  <a:gd name="connsiteY4" fmla="*/ 101651 h 321584"/>
                  <a:gd name="connsiteX5" fmla="*/ 14518 w 344424"/>
                  <a:gd name="connsiteY5" fmla="*/ 19671 h 321584"/>
                  <a:gd name="connsiteX6" fmla="*/ 54441 w 344424"/>
                  <a:gd name="connsiteY6" fmla="*/ 116 h 321584"/>
                  <a:gd name="connsiteX0" fmla="*/ 54441 w 327967"/>
                  <a:gd name="connsiteY0" fmla="*/ 116 h 261639"/>
                  <a:gd name="connsiteX1" fmla="*/ 96499 w 327967"/>
                  <a:gd name="connsiteY1" fmla="*/ 14517 h 261639"/>
                  <a:gd name="connsiteX2" fmla="*/ 311132 w 327967"/>
                  <a:gd name="connsiteY2" fmla="*/ 203579 h 261639"/>
                  <a:gd name="connsiteX3" fmla="*/ 200769 w 327967"/>
                  <a:gd name="connsiteY3" fmla="*/ 257739 h 261639"/>
                  <a:gd name="connsiteX4" fmla="*/ 19672 w 327967"/>
                  <a:gd name="connsiteY4" fmla="*/ 101651 h 261639"/>
                  <a:gd name="connsiteX5" fmla="*/ 14518 w 327967"/>
                  <a:gd name="connsiteY5" fmla="*/ 19671 h 261639"/>
                  <a:gd name="connsiteX6" fmla="*/ 54441 w 327967"/>
                  <a:gd name="connsiteY6" fmla="*/ 116 h 261639"/>
                  <a:gd name="connsiteX0" fmla="*/ 54441 w 294993"/>
                  <a:gd name="connsiteY0" fmla="*/ 116 h 260030"/>
                  <a:gd name="connsiteX1" fmla="*/ 96499 w 294993"/>
                  <a:gd name="connsiteY1" fmla="*/ 14517 h 260030"/>
                  <a:gd name="connsiteX2" fmla="*/ 270650 w 294993"/>
                  <a:gd name="connsiteY2" fmla="*/ 160717 h 260030"/>
                  <a:gd name="connsiteX3" fmla="*/ 200769 w 294993"/>
                  <a:gd name="connsiteY3" fmla="*/ 257739 h 260030"/>
                  <a:gd name="connsiteX4" fmla="*/ 19672 w 294993"/>
                  <a:gd name="connsiteY4" fmla="*/ 101651 h 260030"/>
                  <a:gd name="connsiteX5" fmla="*/ 14518 w 294993"/>
                  <a:gd name="connsiteY5" fmla="*/ 19671 h 260030"/>
                  <a:gd name="connsiteX6" fmla="*/ 54441 w 294993"/>
                  <a:gd name="connsiteY6" fmla="*/ 116 h 260030"/>
                  <a:gd name="connsiteX0" fmla="*/ 14518 w 294993"/>
                  <a:gd name="connsiteY0" fmla="*/ 17692 h 258051"/>
                  <a:gd name="connsiteX1" fmla="*/ 96499 w 294993"/>
                  <a:gd name="connsiteY1" fmla="*/ 12538 h 258051"/>
                  <a:gd name="connsiteX2" fmla="*/ 270650 w 294993"/>
                  <a:gd name="connsiteY2" fmla="*/ 158738 h 258051"/>
                  <a:gd name="connsiteX3" fmla="*/ 200769 w 294993"/>
                  <a:gd name="connsiteY3" fmla="*/ 255760 h 258051"/>
                  <a:gd name="connsiteX4" fmla="*/ 19672 w 294993"/>
                  <a:gd name="connsiteY4" fmla="*/ 99672 h 258051"/>
                  <a:gd name="connsiteX5" fmla="*/ 14518 w 294993"/>
                  <a:gd name="connsiteY5" fmla="*/ 17692 h 258051"/>
                  <a:gd name="connsiteX0" fmla="*/ 3422 w 278743"/>
                  <a:gd name="connsiteY0" fmla="*/ 88267 h 246646"/>
                  <a:gd name="connsiteX1" fmla="*/ 80249 w 278743"/>
                  <a:gd name="connsiteY1" fmla="*/ 1133 h 246646"/>
                  <a:gd name="connsiteX2" fmla="*/ 254400 w 278743"/>
                  <a:gd name="connsiteY2" fmla="*/ 147333 h 246646"/>
                  <a:gd name="connsiteX3" fmla="*/ 184519 w 278743"/>
                  <a:gd name="connsiteY3" fmla="*/ 244355 h 246646"/>
                  <a:gd name="connsiteX4" fmla="*/ 3422 w 278743"/>
                  <a:gd name="connsiteY4" fmla="*/ 88267 h 246646"/>
                  <a:gd name="connsiteX0" fmla="*/ 19692 w 223750"/>
                  <a:gd name="connsiteY0" fmla="*/ 152069 h 246082"/>
                  <a:gd name="connsiteX1" fmla="*/ 25256 w 223750"/>
                  <a:gd name="connsiteY1" fmla="*/ 569 h 246082"/>
                  <a:gd name="connsiteX2" fmla="*/ 199407 w 223750"/>
                  <a:gd name="connsiteY2" fmla="*/ 146769 h 246082"/>
                  <a:gd name="connsiteX3" fmla="*/ 129526 w 223750"/>
                  <a:gd name="connsiteY3" fmla="*/ 243791 h 246082"/>
                  <a:gd name="connsiteX4" fmla="*/ 19692 w 223750"/>
                  <a:gd name="connsiteY4" fmla="*/ 152069 h 246082"/>
                  <a:gd name="connsiteX0" fmla="*/ 8447 w 212505"/>
                  <a:gd name="connsiteY0" fmla="*/ 151500 h 245513"/>
                  <a:gd name="connsiteX1" fmla="*/ 14011 w 212505"/>
                  <a:gd name="connsiteY1" fmla="*/ 0 h 245513"/>
                  <a:gd name="connsiteX2" fmla="*/ 188162 w 212505"/>
                  <a:gd name="connsiteY2" fmla="*/ 146200 h 245513"/>
                  <a:gd name="connsiteX3" fmla="*/ 118281 w 212505"/>
                  <a:gd name="connsiteY3" fmla="*/ 243222 h 245513"/>
                  <a:gd name="connsiteX4" fmla="*/ 8447 w 212505"/>
                  <a:gd name="connsiteY4" fmla="*/ 151500 h 245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505" h="245513">
                    <a:moveTo>
                      <a:pt x="8447" y="151500"/>
                    </a:moveTo>
                    <a:cubicBezTo>
                      <a:pt x="-8931" y="110963"/>
                      <a:pt x="4364" y="49925"/>
                      <a:pt x="14011" y="0"/>
                    </a:cubicBezTo>
                    <a:lnTo>
                      <a:pt x="188162" y="146200"/>
                    </a:lnTo>
                    <a:cubicBezTo>
                      <a:pt x="238688" y="171397"/>
                      <a:pt x="208249" y="260888"/>
                      <a:pt x="118281" y="243222"/>
                    </a:cubicBezTo>
                    <a:lnTo>
                      <a:pt x="8447" y="151500"/>
                    </a:lnTo>
                    <a:close/>
                  </a:path>
                </a:pathLst>
              </a:custGeom>
              <a:grpFill/>
              <a:ln>
                <a:noFill/>
              </a:ln>
            </p:spPr>
            <p:txBody>
              <a:bodyPr rot="0" spcFirstLastPara="0" vert="horz" wrap="square" lIns="121920" tIns="60960" rIns="121920" bIns="6096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219140" fontAlgn="base">
                  <a:spcBef>
                    <a:spcPct val="0"/>
                  </a:spcBef>
                  <a:spcAft>
                    <a:spcPct val="0"/>
                  </a:spcAft>
                  <a:defRPr/>
                </a:pPr>
                <a:endParaRPr lang="en-US" sz="2400" kern="0">
                  <a:solidFill>
                    <a:srgbClr val="FFFFFF"/>
                  </a:solidFill>
                  <a:latin typeface="CiscoSansTT ExtraLight"/>
                  <a:sym typeface="Arial"/>
                </a:endParaRPr>
              </a:p>
            </p:txBody>
          </p:sp>
          <p:sp>
            <p:nvSpPr>
              <p:cNvPr id="295" name="Freeform: Shape 294">
                <a:extLst>
                  <a:ext uri="{FF2B5EF4-FFF2-40B4-BE49-F238E27FC236}">
                    <a16:creationId xmlns:a16="http://schemas.microsoft.com/office/drawing/2014/main" id="{2274C80C-DB5D-40D9-9DA0-D207A0C7E7B5}"/>
                  </a:ext>
                </a:extLst>
              </p:cNvPr>
              <p:cNvSpPr/>
              <p:nvPr/>
            </p:nvSpPr>
            <p:spPr bwMode="auto">
              <a:xfrm rot="15300000">
                <a:off x="3862948" y="5305392"/>
                <a:ext cx="166801" cy="166059"/>
              </a:xfrm>
              <a:custGeom>
                <a:avLst/>
                <a:gdLst>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70412 w 373044"/>
                  <a:gd name="connsiteY5" fmla="*/ 390763 h 394829"/>
                  <a:gd name="connsiteX6" fmla="*/ 331738 w 373044"/>
                  <a:gd name="connsiteY6" fmla="*/ 376801 h 394829"/>
                  <a:gd name="connsiteX7" fmla="*/ 19672 w 373044"/>
                  <a:gd name="connsiteY7" fmla="*/ 101651 h 394829"/>
                  <a:gd name="connsiteX8" fmla="*/ 14518 w 373044"/>
                  <a:gd name="connsiteY8" fmla="*/ 19671 h 394829"/>
                  <a:gd name="connsiteX9" fmla="*/ 54441 w 373044"/>
                  <a:gd name="connsiteY9"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31738 w 373044"/>
                  <a:gd name="connsiteY5" fmla="*/ 376801 h 394829"/>
                  <a:gd name="connsiteX6" fmla="*/ 19672 w 373044"/>
                  <a:gd name="connsiteY6" fmla="*/ 101651 h 394829"/>
                  <a:gd name="connsiteX7" fmla="*/ 14518 w 373044"/>
                  <a:gd name="connsiteY7" fmla="*/ 19671 h 394829"/>
                  <a:gd name="connsiteX8" fmla="*/ 54441 w 373044"/>
                  <a:gd name="connsiteY8"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31738 w 373044"/>
                  <a:gd name="connsiteY4" fmla="*/ 376801 h 394829"/>
                  <a:gd name="connsiteX5" fmla="*/ 19672 w 373044"/>
                  <a:gd name="connsiteY5" fmla="*/ 101651 h 394829"/>
                  <a:gd name="connsiteX6" fmla="*/ 14518 w 373044"/>
                  <a:gd name="connsiteY6" fmla="*/ 19671 h 394829"/>
                  <a:gd name="connsiteX7" fmla="*/ 54441 w 373044"/>
                  <a:gd name="connsiteY7" fmla="*/ 116 h 394829"/>
                  <a:gd name="connsiteX0" fmla="*/ 54441 w 373044"/>
                  <a:gd name="connsiteY0" fmla="*/ 116 h 376801"/>
                  <a:gd name="connsiteX1" fmla="*/ 96499 w 373044"/>
                  <a:gd name="connsiteY1" fmla="*/ 14517 h 376801"/>
                  <a:gd name="connsiteX2" fmla="*/ 373044 w 373044"/>
                  <a:gd name="connsiteY2" fmla="*/ 258348 h 376801"/>
                  <a:gd name="connsiteX3" fmla="*/ 331738 w 373044"/>
                  <a:gd name="connsiteY3" fmla="*/ 376801 h 376801"/>
                  <a:gd name="connsiteX4" fmla="*/ 19672 w 373044"/>
                  <a:gd name="connsiteY4" fmla="*/ 101651 h 376801"/>
                  <a:gd name="connsiteX5" fmla="*/ 14518 w 373044"/>
                  <a:gd name="connsiteY5" fmla="*/ 19671 h 376801"/>
                  <a:gd name="connsiteX6" fmla="*/ 54441 w 373044"/>
                  <a:gd name="connsiteY6" fmla="*/ 116 h 376801"/>
                  <a:gd name="connsiteX0" fmla="*/ 54441 w 392514"/>
                  <a:gd name="connsiteY0" fmla="*/ 116 h 389308"/>
                  <a:gd name="connsiteX1" fmla="*/ 96499 w 392514"/>
                  <a:gd name="connsiteY1" fmla="*/ 14517 h 389308"/>
                  <a:gd name="connsiteX2" fmla="*/ 373044 w 392514"/>
                  <a:gd name="connsiteY2" fmla="*/ 258348 h 389308"/>
                  <a:gd name="connsiteX3" fmla="*/ 331738 w 392514"/>
                  <a:gd name="connsiteY3" fmla="*/ 376801 h 389308"/>
                  <a:gd name="connsiteX4" fmla="*/ 19672 w 392514"/>
                  <a:gd name="connsiteY4" fmla="*/ 101651 h 389308"/>
                  <a:gd name="connsiteX5" fmla="*/ 14518 w 392514"/>
                  <a:gd name="connsiteY5" fmla="*/ 19671 h 389308"/>
                  <a:gd name="connsiteX6" fmla="*/ 54441 w 392514"/>
                  <a:gd name="connsiteY6" fmla="*/ 116 h 389308"/>
                  <a:gd name="connsiteX0" fmla="*/ 54441 w 417895"/>
                  <a:gd name="connsiteY0" fmla="*/ 116 h 390341"/>
                  <a:gd name="connsiteX1" fmla="*/ 96499 w 417895"/>
                  <a:gd name="connsiteY1" fmla="*/ 14517 h 390341"/>
                  <a:gd name="connsiteX2" fmla="*/ 373044 w 417895"/>
                  <a:gd name="connsiteY2" fmla="*/ 258348 h 390341"/>
                  <a:gd name="connsiteX3" fmla="*/ 331738 w 417895"/>
                  <a:gd name="connsiteY3" fmla="*/ 376801 h 390341"/>
                  <a:gd name="connsiteX4" fmla="*/ 19672 w 417895"/>
                  <a:gd name="connsiteY4" fmla="*/ 101651 h 390341"/>
                  <a:gd name="connsiteX5" fmla="*/ 14518 w 417895"/>
                  <a:gd name="connsiteY5" fmla="*/ 19671 h 390341"/>
                  <a:gd name="connsiteX6" fmla="*/ 54441 w 417895"/>
                  <a:gd name="connsiteY6" fmla="*/ 116 h 390341"/>
                  <a:gd name="connsiteX0" fmla="*/ 54441 w 415063"/>
                  <a:gd name="connsiteY0" fmla="*/ 116 h 388409"/>
                  <a:gd name="connsiteX1" fmla="*/ 96499 w 415063"/>
                  <a:gd name="connsiteY1" fmla="*/ 14517 h 388409"/>
                  <a:gd name="connsiteX2" fmla="*/ 373044 w 415063"/>
                  <a:gd name="connsiteY2" fmla="*/ 258348 h 388409"/>
                  <a:gd name="connsiteX3" fmla="*/ 331738 w 415063"/>
                  <a:gd name="connsiteY3" fmla="*/ 376801 h 388409"/>
                  <a:gd name="connsiteX4" fmla="*/ 19672 w 415063"/>
                  <a:gd name="connsiteY4" fmla="*/ 101651 h 388409"/>
                  <a:gd name="connsiteX5" fmla="*/ 14518 w 415063"/>
                  <a:gd name="connsiteY5" fmla="*/ 19671 h 388409"/>
                  <a:gd name="connsiteX6" fmla="*/ 54441 w 415063"/>
                  <a:gd name="connsiteY6" fmla="*/ 116 h 388409"/>
                  <a:gd name="connsiteX0" fmla="*/ 54441 w 389618"/>
                  <a:gd name="connsiteY0" fmla="*/ 116 h 385766"/>
                  <a:gd name="connsiteX1" fmla="*/ 96499 w 389618"/>
                  <a:gd name="connsiteY1" fmla="*/ 14517 h 385766"/>
                  <a:gd name="connsiteX2" fmla="*/ 311132 w 389618"/>
                  <a:gd name="connsiteY2" fmla="*/ 203579 h 385766"/>
                  <a:gd name="connsiteX3" fmla="*/ 331738 w 389618"/>
                  <a:gd name="connsiteY3" fmla="*/ 376801 h 385766"/>
                  <a:gd name="connsiteX4" fmla="*/ 19672 w 389618"/>
                  <a:gd name="connsiteY4" fmla="*/ 101651 h 385766"/>
                  <a:gd name="connsiteX5" fmla="*/ 14518 w 389618"/>
                  <a:gd name="connsiteY5" fmla="*/ 19671 h 385766"/>
                  <a:gd name="connsiteX6" fmla="*/ 54441 w 389618"/>
                  <a:gd name="connsiteY6" fmla="*/ 116 h 385766"/>
                  <a:gd name="connsiteX0" fmla="*/ 54441 w 353150"/>
                  <a:gd name="connsiteY0" fmla="*/ 116 h 331409"/>
                  <a:gd name="connsiteX1" fmla="*/ 96499 w 353150"/>
                  <a:gd name="connsiteY1" fmla="*/ 14517 h 331409"/>
                  <a:gd name="connsiteX2" fmla="*/ 311132 w 353150"/>
                  <a:gd name="connsiteY2" fmla="*/ 203579 h 331409"/>
                  <a:gd name="connsiteX3" fmla="*/ 269825 w 353150"/>
                  <a:gd name="connsiteY3" fmla="*/ 319651 h 331409"/>
                  <a:gd name="connsiteX4" fmla="*/ 19672 w 353150"/>
                  <a:gd name="connsiteY4" fmla="*/ 101651 h 331409"/>
                  <a:gd name="connsiteX5" fmla="*/ 14518 w 353150"/>
                  <a:gd name="connsiteY5" fmla="*/ 19671 h 331409"/>
                  <a:gd name="connsiteX6" fmla="*/ 54441 w 353150"/>
                  <a:gd name="connsiteY6" fmla="*/ 116 h 331409"/>
                  <a:gd name="connsiteX0" fmla="*/ 54441 w 344424"/>
                  <a:gd name="connsiteY0" fmla="*/ 116 h 321584"/>
                  <a:gd name="connsiteX1" fmla="*/ 96499 w 344424"/>
                  <a:gd name="connsiteY1" fmla="*/ 14517 h 321584"/>
                  <a:gd name="connsiteX2" fmla="*/ 311132 w 344424"/>
                  <a:gd name="connsiteY2" fmla="*/ 203579 h 321584"/>
                  <a:gd name="connsiteX3" fmla="*/ 269825 w 344424"/>
                  <a:gd name="connsiteY3" fmla="*/ 319651 h 321584"/>
                  <a:gd name="connsiteX4" fmla="*/ 19672 w 344424"/>
                  <a:gd name="connsiteY4" fmla="*/ 101651 h 321584"/>
                  <a:gd name="connsiteX5" fmla="*/ 14518 w 344424"/>
                  <a:gd name="connsiteY5" fmla="*/ 19671 h 321584"/>
                  <a:gd name="connsiteX6" fmla="*/ 54441 w 344424"/>
                  <a:gd name="connsiteY6" fmla="*/ 116 h 32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424" h="321584">
                    <a:moveTo>
                      <a:pt x="54441" y="116"/>
                    </a:moveTo>
                    <a:cubicBezTo>
                      <a:pt x="69276" y="-817"/>
                      <a:pt x="84468" y="3910"/>
                      <a:pt x="96499" y="14517"/>
                    </a:cubicBezTo>
                    <a:lnTo>
                      <a:pt x="311132" y="203579"/>
                    </a:lnTo>
                    <a:cubicBezTo>
                      <a:pt x="361658" y="228776"/>
                      <a:pt x="359793" y="337317"/>
                      <a:pt x="269825" y="319651"/>
                    </a:cubicBezTo>
                    <a:lnTo>
                      <a:pt x="19672" y="101651"/>
                    </a:lnTo>
                    <a:cubicBezTo>
                      <a:pt x="-4390" y="80436"/>
                      <a:pt x="-6697" y="43733"/>
                      <a:pt x="14518" y="19671"/>
                    </a:cubicBezTo>
                    <a:cubicBezTo>
                      <a:pt x="25126" y="7640"/>
                      <a:pt x="39605" y="1048"/>
                      <a:pt x="54441" y="116"/>
                    </a:cubicBezTo>
                    <a:close/>
                  </a:path>
                </a:pathLst>
              </a:custGeom>
              <a:grpFill/>
              <a:ln>
                <a:noFill/>
              </a:ln>
            </p:spPr>
            <p:txBody>
              <a:bodyPr rot="0" spcFirstLastPara="0" vert="horz" wrap="square" lIns="121920" tIns="60960" rIns="121920" bIns="6096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219140" fontAlgn="base">
                  <a:spcBef>
                    <a:spcPct val="0"/>
                  </a:spcBef>
                  <a:spcAft>
                    <a:spcPct val="0"/>
                  </a:spcAft>
                  <a:defRPr/>
                </a:pPr>
                <a:endParaRPr lang="en-US" sz="2400" kern="0">
                  <a:solidFill>
                    <a:srgbClr val="FFFFFF"/>
                  </a:solidFill>
                  <a:latin typeface="CiscoSansTT ExtraLight"/>
                  <a:sym typeface="Arial"/>
                </a:endParaRPr>
              </a:p>
            </p:txBody>
          </p:sp>
        </p:grpSp>
      </p:grpSp>
      <p:cxnSp>
        <p:nvCxnSpPr>
          <p:cNvPr id="315" name="Straight Connector 314">
            <a:extLst>
              <a:ext uri="{FF2B5EF4-FFF2-40B4-BE49-F238E27FC236}">
                <a16:creationId xmlns:a16="http://schemas.microsoft.com/office/drawing/2014/main" id="{FA577348-91A9-40E9-9D2F-9343954E6595}"/>
              </a:ext>
            </a:extLst>
          </p:cNvPr>
          <p:cNvCxnSpPr>
            <a:cxnSpLocks/>
          </p:cNvCxnSpPr>
          <p:nvPr/>
        </p:nvCxnSpPr>
        <p:spPr>
          <a:xfrm flipH="1" flipV="1">
            <a:off x="8470075" y="3195247"/>
            <a:ext cx="21143" cy="2168355"/>
          </a:xfrm>
          <a:prstGeom prst="line">
            <a:avLst/>
          </a:prstGeom>
          <a:solidFill>
            <a:srgbClr val="FFFFFF">
              <a:lumMod val="95000"/>
            </a:srgbClr>
          </a:solidFill>
          <a:ln w="6350" cap="flat" cmpd="sng" algn="ctr">
            <a:solidFill>
              <a:schemeClr val="accent1"/>
            </a:solidFill>
            <a:prstDash val="dash"/>
          </a:ln>
          <a:effectLst/>
        </p:spPr>
      </p:cxnSp>
      <p:sp>
        <p:nvSpPr>
          <p:cNvPr id="346" name="Rectangle 345">
            <a:extLst>
              <a:ext uri="{FF2B5EF4-FFF2-40B4-BE49-F238E27FC236}">
                <a16:creationId xmlns:a16="http://schemas.microsoft.com/office/drawing/2014/main" id="{1A6DA6EC-6228-4E50-9E14-5A3699FC8CE4}"/>
              </a:ext>
            </a:extLst>
          </p:cNvPr>
          <p:cNvSpPr/>
          <p:nvPr/>
        </p:nvSpPr>
        <p:spPr>
          <a:xfrm>
            <a:off x="4912079" y="5175806"/>
            <a:ext cx="1168590" cy="205121"/>
          </a:xfrm>
          <a:prstGeom prst="rect">
            <a:avLst/>
          </a:prstGeom>
        </p:spPr>
        <p:txBody>
          <a:bodyPr wrap="none" lIns="0" tIns="0" rIns="0" bIns="0">
            <a:spAutoFit/>
          </a:bodyPr>
          <a:lstStyle/>
          <a:p>
            <a:pPr defTabSz="914354" fontAlgn="base">
              <a:spcBef>
                <a:spcPct val="0"/>
              </a:spcBef>
              <a:spcAft>
                <a:spcPct val="0"/>
              </a:spcAft>
              <a:defRPr/>
            </a:pPr>
            <a:r>
              <a:rPr lang="en-US" sz="1333" b="1" kern="0">
                <a:solidFill>
                  <a:srgbClr val="282828"/>
                </a:solidFill>
                <a:latin typeface="CiscoSansTT ExtraLight"/>
                <a:ea typeface="ＭＳ Ｐゴシック" charset="0"/>
                <a:cs typeface="Arial"/>
                <a:sym typeface="Arial"/>
              </a:rPr>
              <a:t>Roaming Users</a:t>
            </a:r>
          </a:p>
        </p:txBody>
      </p:sp>
      <p:grpSp>
        <p:nvGrpSpPr>
          <p:cNvPr id="5" name="Group 4">
            <a:extLst>
              <a:ext uri="{FF2B5EF4-FFF2-40B4-BE49-F238E27FC236}">
                <a16:creationId xmlns:a16="http://schemas.microsoft.com/office/drawing/2014/main" id="{3F619D8D-5F68-4E83-831C-5782E7752AB0}"/>
              </a:ext>
            </a:extLst>
          </p:cNvPr>
          <p:cNvGrpSpPr/>
          <p:nvPr/>
        </p:nvGrpSpPr>
        <p:grpSpPr>
          <a:xfrm>
            <a:off x="1036357" y="5567744"/>
            <a:ext cx="3929991" cy="912349"/>
            <a:chOff x="1290159" y="4037158"/>
            <a:chExt cx="1724855" cy="400427"/>
          </a:xfrm>
        </p:grpSpPr>
        <p:sp>
          <p:nvSpPr>
            <p:cNvPr id="6" name="Rectangle 138">
              <a:extLst>
                <a:ext uri="{FF2B5EF4-FFF2-40B4-BE49-F238E27FC236}">
                  <a16:creationId xmlns:a16="http://schemas.microsoft.com/office/drawing/2014/main" id="{C5FEB285-0967-41D4-8CD2-3014AFB69721}"/>
                </a:ext>
              </a:extLst>
            </p:cNvPr>
            <p:cNvSpPr>
              <a:spLocks noChangeArrowheads="1"/>
            </p:cNvSpPr>
            <p:nvPr/>
          </p:nvSpPr>
          <p:spPr bwMode="auto">
            <a:xfrm>
              <a:off x="1998584" y="4350314"/>
              <a:ext cx="15401" cy="87270"/>
            </a:xfrm>
            <a:prstGeom prst="rect">
              <a:avLst/>
            </a:prstGeom>
            <a:solidFill>
              <a:srgbClr val="8D63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7" name="Rectangle 139">
              <a:extLst>
                <a:ext uri="{FF2B5EF4-FFF2-40B4-BE49-F238E27FC236}">
                  <a16:creationId xmlns:a16="http://schemas.microsoft.com/office/drawing/2014/main" id="{C6B49591-0D96-45F5-8CE3-964B5C71725C}"/>
                </a:ext>
              </a:extLst>
            </p:cNvPr>
            <p:cNvSpPr>
              <a:spLocks noChangeArrowheads="1"/>
            </p:cNvSpPr>
            <p:nvPr/>
          </p:nvSpPr>
          <p:spPr bwMode="auto">
            <a:xfrm>
              <a:off x="1998584" y="4350315"/>
              <a:ext cx="15401" cy="87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8" name="Oval 140">
              <a:extLst>
                <a:ext uri="{FF2B5EF4-FFF2-40B4-BE49-F238E27FC236}">
                  <a16:creationId xmlns:a16="http://schemas.microsoft.com/office/drawing/2014/main" id="{4B691A66-4244-48B4-9053-7853D84446AF}"/>
                </a:ext>
              </a:extLst>
            </p:cNvPr>
            <p:cNvSpPr>
              <a:spLocks noChangeArrowheads="1"/>
            </p:cNvSpPr>
            <p:nvPr/>
          </p:nvSpPr>
          <p:spPr bwMode="auto">
            <a:xfrm>
              <a:off x="1890780" y="4037168"/>
              <a:ext cx="238708" cy="325980"/>
            </a:xfrm>
            <a:prstGeom prst="ellipse">
              <a:avLst/>
            </a:prstGeom>
            <a:solidFill>
              <a:srgbClr val="6D9E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9" name="Freeform 141">
              <a:extLst>
                <a:ext uri="{FF2B5EF4-FFF2-40B4-BE49-F238E27FC236}">
                  <a16:creationId xmlns:a16="http://schemas.microsoft.com/office/drawing/2014/main" id="{65E41682-002F-4F92-AE61-10113A7DD611}"/>
                </a:ext>
              </a:extLst>
            </p:cNvPr>
            <p:cNvSpPr>
              <a:spLocks noEditPoints="1"/>
            </p:cNvSpPr>
            <p:nvPr/>
          </p:nvSpPr>
          <p:spPr bwMode="auto">
            <a:xfrm>
              <a:off x="2003716" y="4037168"/>
              <a:ext cx="5133" cy="0"/>
            </a:xfrm>
            <a:custGeom>
              <a:avLst/>
              <a:gdLst>
                <a:gd name="T0" fmla="*/ 0 w 1"/>
                <a:gd name="T1" fmla="*/ 0 w 1"/>
                <a:gd name="T2" fmla="*/ 0 w 1"/>
                <a:gd name="T3" fmla="*/ 0 w 1"/>
                <a:gd name="T4" fmla="*/ 0 w 1"/>
                <a:gd name="T5" fmla="*/ 0 w 1"/>
                <a:gd name="T6" fmla="*/ 1 w 1"/>
                <a:gd name="T7" fmla="*/ 0 w 1"/>
                <a:gd name="T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1" y="0"/>
                  </a:moveTo>
                  <a:cubicBezTo>
                    <a:pt x="1" y="0"/>
                    <a:pt x="0" y="0"/>
                    <a:pt x="0" y="0"/>
                  </a:cubicBezTo>
                  <a:cubicBezTo>
                    <a:pt x="0" y="0"/>
                    <a:pt x="1" y="0"/>
                    <a:pt x="1" y="0"/>
                  </a:cubicBezTo>
                </a:path>
              </a:pathLst>
            </a:custGeom>
            <a:solidFill>
              <a:srgbClr val="C5B0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10" name="Freeform 142">
              <a:extLst>
                <a:ext uri="{FF2B5EF4-FFF2-40B4-BE49-F238E27FC236}">
                  <a16:creationId xmlns:a16="http://schemas.microsoft.com/office/drawing/2014/main" id="{7988DBAB-E89A-4633-BEC6-11A61C2446F3}"/>
                </a:ext>
              </a:extLst>
            </p:cNvPr>
            <p:cNvSpPr>
              <a:spLocks/>
            </p:cNvSpPr>
            <p:nvPr/>
          </p:nvSpPr>
          <p:spPr bwMode="auto">
            <a:xfrm>
              <a:off x="1998584" y="4037168"/>
              <a:ext cx="110371" cy="325980"/>
            </a:xfrm>
            <a:custGeom>
              <a:avLst/>
              <a:gdLst>
                <a:gd name="T0" fmla="*/ 2 w 22"/>
                <a:gd name="T1" fmla="*/ 0 h 66"/>
                <a:gd name="T2" fmla="*/ 2 w 22"/>
                <a:gd name="T3" fmla="*/ 0 h 66"/>
                <a:gd name="T4" fmla="*/ 2 w 22"/>
                <a:gd name="T5" fmla="*/ 0 h 66"/>
                <a:gd name="T6" fmla="*/ 1 w 22"/>
                <a:gd name="T7" fmla="*/ 0 h 66"/>
                <a:gd name="T8" fmla="*/ 1 w 22"/>
                <a:gd name="T9" fmla="*/ 0 h 66"/>
                <a:gd name="T10" fmla="*/ 1 w 22"/>
                <a:gd name="T11" fmla="*/ 0 h 66"/>
                <a:gd name="T12" fmla="*/ 1 w 22"/>
                <a:gd name="T13" fmla="*/ 0 h 66"/>
                <a:gd name="T14" fmla="*/ 1 w 22"/>
                <a:gd name="T15" fmla="*/ 0 h 66"/>
                <a:gd name="T16" fmla="*/ 0 w 22"/>
                <a:gd name="T17" fmla="*/ 0 h 66"/>
                <a:gd name="T18" fmla="*/ 16 w 22"/>
                <a:gd name="T19" fmla="*/ 50 h 66"/>
                <a:gd name="T20" fmla="*/ 0 w 22"/>
                <a:gd name="T21" fmla="*/ 66 h 66"/>
                <a:gd name="T22" fmla="*/ 2 w 22"/>
                <a:gd name="T23" fmla="*/ 66 h 66"/>
                <a:gd name="T24" fmla="*/ 19 w 22"/>
                <a:gd name="T25" fmla="*/ 61 h 66"/>
                <a:gd name="T26" fmla="*/ 18 w 22"/>
                <a:gd name="T27" fmla="*/ 57 h 66"/>
                <a:gd name="T28" fmla="*/ 22 w 22"/>
                <a:gd name="T29" fmla="*/ 33 h 66"/>
                <a:gd name="T30" fmla="*/ 2 w 22"/>
                <a:gd name="T3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66">
                  <a:moveTo>
                    <a:pt x="2" y="0"/>
                  </a:moveTo>
                  <a:cubicBezTo>
                    <a:pt x="2" y="0"/>
                    <a:pt x="2" y="0"/>
                    <a:pt x="2" y="0"/>
                  </a:cubicBezTo>
                  <a:cubicBezTo>
                    <a:pt x="2" y="0"/>
                    <a:pt x="2" y="0"/>
                    <a:pt x="2" y="0"/>
                  </a:cubicBezTo>
                  <a:cubicBezTo>
                    <a:pt x="2"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0" y="0"/>
                  </a:cubicBezTo>
                  <a:cubicBezTo>
                    <a:pt x="9" y="3"/>
                    <a:pt x="16" y="41"/>
                    <a:pt x="16" y="50"/>
                  </a:cubicBezTo>
                  <a:cubicBezTo>
                    <a:pt x="16" y="58"/>
                    <a:pt x="9" y="65"/>
                    <a:pt x="0" y="66"/>
                  </a:cubicBezTo>
                  <a:cubicBezTo>
                    <a:pt x="1" y="66"/>
                    <a:pt x="1" y="66"/>
                    <a:pt x="2" y="66"/>
                  </a:cubicBezTo>
                  <a:cubicBezTo>
                    <a:pt x="8" y="66"/>
                    <a:pt x="14" y="64"/>
                    <a:pt x="19" y="61"/>
                  </a:cubicBezTo>
                  <a:cubicBezTo>
                    <a:pt x="18" y="60"/>
                    <a:pt x="18" y="58"/>
                    <a:pt x="18" y="57"/>
                  </a:cubicBezTo>
                  <a:cubicBezTo>
                    <a:pt x="18" y="53"/>
                    <a:pt x="20" y="42"/>
                    <a:pt x="22" y="33"/>
                  </a:cubicBezTo>
                  <a:cubicBezTo>
                    <a:pt x="18" y="18"/>
                    <a:pt x="10" y="0"/>
                    <a:pt x="2" y="0"/>
                  </a:cubicBezTo>
                </a:path>
              </a:pathLst>
            </a:custGeom>
            <a:solidFill>
              <a:srgbClr val="9DA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11" name="Rectangle 143">
              <a:extLst>
                <a:ext uri="{FF2B5EF4-FFF2-40B4-BE49-F238E27FC236}">
                  <a16:creationId xmlns:a16="http://schemas.microsoft.com/office/drawing/2014/main" id="{48D10A0E-5408-4770-BEB8-8281572306AC}"/>
                </a:ext>
              </a:extLst>
            </p:cNvPr>
            <p:cNvSpPr>
              <a:spLocks noChangeArrowheads="1"/>
            </p:cNvSpPr>
            <p:nvPr/>
          </p:nvSpPr>
          <p:spPr bwMode="auto">
            <a:xfrm>
              <a:off x="2306592" y="4350312"/>
              <a:ext cx="10267" cy="87270"/>
            </a:xfrm>
            <a:prstGeom prst="rect">
              <a:avLst/>
            </a:prstGeom>
            <a:solidFill>
              <a:srgbClr val="8D63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12" name="Rectangle 144">
              <a:extLst>
                <a:ext uri="{FF2B5EF4-FFF2-40B4-BE49-F238E27FC236}">
                  <a16:creationId xmlns:a16="http://schemas.microsoft.com/office/drawing/2014/main" id="{63A692E8-4531-40A0-8248-EF1AC02D764D}"/>
                </a:ext>
              </a:extLst>
            </p:cNvPr>
            <p:cNvSpPr>
              <a:spLocks noChangeArrowheads="1"/>
            </p:cNvSpPr>
            <p:nvPr/>
          </p:nvSpPr>
          <p:spPr bwMode="auto">
            <a:xfrm>
              <a:off x="2306592" y="4350306"/>
              <a:ext cx="10267" cy="87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13" name="Oval 145">
              <a:extLst>
                <a:ext uri="{FF2B5EF4-FFF2-40B4-BE49-F238E27FC236}">
                  <a16:creationId xmlns:a16="http://schemas.microsoft.com/office/drawing/2014/main" id="{2441F248-7C64-471D-AE2A-9F26F00CD3C4}"/>
                </a:ext>
              </a:extLst>
            </p:cNvPr>
            <p:cNvSpPr>
              <a:spLocks noChangeArrowheads="1"/>
            </p:cNvSpPr>
            <p:nvPr/>
          </p:nvSpPr>
          <p:spPr bwMode="auto">
            <a:xfrm>
              <a:off x="2193656" y="4037161"/>
              <a:ext cx="236142" cy="325979"/>
            </a:xfrm>
            <a:prstGeom prst="ellipse">
              <a:avLst/>
            </a:prstGeom>
            <a:solidFill>
              <a:srgbClr val="6D9E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14" name="Freeform 146">
              <a:extLst>
                <a:ext uri="{FF2B5EF4-FFF2-40B4-BE49-F238E27FC236}">
                  <a16:creationId xmlns:a16="http://schemas.microsoft.com/office/drawing/2014/main" id="{E6FE0B88-B642-4DD7-8BF8-F8AF14052882}"/>
                </a:ext>
              </a:extLst>
            </p:cNvPr>
            <p:cNvSpPr>
              <a:spLocks noEditPoints="1"/>
            </p:cNvSpPr>
            <p:nvPr/>
          </p:nvSpPr>
          <p:spPr bwMode="auto">
            <a:xfrm>
              <a:off x="2311726" y="4037161"/>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C5B0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15" name="Freeform 147">
              <a:extLst>
                <a:ext uri="{FF2B5EF4-FFF2-40B4-BE49-F238E27FC236}">
                  <a16:creationId xmlns:a16="http://schemas.microsoft.com/office/drawing/2014/main" id="{03C3BE11-69CC-4D7C-B4EF-564885894DDF}"/>
                </a:ext>
              </a:extLst>
            </p:cNvPr>
            <p:cNvSpPr>
              <a:spLocks/>
            </p:cNvSpPr>
            <p:nvPr/>
          </p:nvSpPr>
          <p:spPr bwMode="auto">
            <a:xfrm>
              <a:off x="2306592" y="4037158"/>
              <a:ext cx="123205" cy="325979"/>
            </a:xfrm>
            <a:custGeom>
              <a:avLst/>
              <a:gdLst>
                <a:gd name="T0" fmla="*/ 1 w 25"/>
                <a:gd name="T1" fmla="*/ 0 h 66"/>
                <a:gd name="T2" fmla="*/ 1 w 25"/>
                <a:gd name="T3" fmla="*/ 0 h 66"/>
                <a:gd name="T4" fmla="*/ 1 w 25"/>
                <a:gd name="T5" fmla="*/ 0 h 66"/>
                <a:gd name="T6" fmla="*/ 1 w 25"/>
                <a:gd name="T7" fmla="*/ 0 h 66"/>
                <a:gd name="T8" fmla="*/ 1 w 25"/>
                <a:gd name="T9" fmla="*/ 0 h 66"/>
                <a:gd name="T10" fmla="*/ 1 w 25"/>
                <a:gd name="T11" fmla="*/ 0 h 66"/>
                <a:gd name="T12" fmla="*/ 1 w 25"/>
                <a:gd name="T13" fmla="*/ 0 h 66"/>
                <a:gd name="T14" fmla="*/ 1 w 25"/>
                <a:gd name="T15" fmla="*/ 0 h 66"/>
                <a:gd name="T16" fmla="*/ 0 w 25"/>
                <a:gd name="T17" fmla="*/ 0 h 66"/>
                <a:gd name="T18" fmla="*/ 15 w 25"/>
                <a:gd name="T19" fmla="*/ 50 h 66"/>
                <a:gd name="T20" fmla="*/ 0 w 25"/>
                <a:gd name="T21" fmla="*/ 66 h 66"/>
                <a:gd name="T22" fmla="*/ 1 w 25"/>
                <a:gd name="T23" fmla="*/ 66 h 66"/>
                <a:gd name="T24" fmla="*/ 25 w 25"/>
                <a:gd name="T25" fmla="*/ 50 h 66"/>
                <a:gd name="T26" fmla="*/ 1 w 25"/>
                <a:gd name="T2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66">
                  <a:moveTo>
                    <a:pt x="1" y="0"/>
                  </a:move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0" y="0"/>
                    <a:pt x="0" y="0"/>
                  </a:cubicBezTo>
                  <a:cubicBezTo>
                    <a:pt x="9" y="3"/>
                    <a:pt x="15" y="41"/>
                    <a:pt x="15" y="50"/>
                  </a:cubicBezTo>
                  <a:cubicBezTo>
                    <a:pt x="15" y="58"/>
                    <a:pt x="9" y="65"/>
                    <a:pt x="0" y="66"/>
                  </a:cubicBezTo>
                  <a:cubicBezTo>
                    <a:pt x="0" y="66"/>
                    <a:pt x="1" y="66"/>
                    <a:pt x="1" y="66"/>
                  </a:cubicBezTo>
                  <a:cubicBezTo>
                    <a:pt x="14" y="66"/>
                    <a:pt x="25" y="59"/>
                    <a:pt x="25" y="50"/>
                  </a:cubicBezTo>
                  <a:cubicBezTo>
                    <a:pt x="25" y="41"/>
                    <a:pt x="14" y="0"/>
                    <a:pt x="1" y="0"/>
                  </a:cubicBezTo>
                </a:path>
              </a:pathLst>
            </a:custGeom>
            <a:solidFill>
              <a:srgbClr val="9DA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16" name="Rectangle 148">
              <a:extLst>
                <a:ext uri="{FF2B5EF4-FFF2-40B4-BE49-F238E27FC236}">
                  <a16:creationId xmlns:a16="http://schemas.microsoft.com/office/drawing/2014/main" id="{B2F1F8D8-E6B7-4E3A-87B9-3E17D279A614}"/>
                </a:ext>
              </a:extLst>
            </p:cNvPr>
            <p:cNvSpPr>
              <a:spLocks noChangeArrowheads="1"/>
            </p:cNvSpPr>
            <p:nvPr/>
          </p:nvSpPr>
          <p:spPr bwMode="auto">
            <a:xfrm>
              <a:off x="2147455" y="4368271"/>
              <a:ext cx="5133" cy="69302"/>
            </a:xfrm>
            <a:prstGeom prst="rect">
              <a:avLst/>
            </a:prstGeom>
            <a:solidFill>
              <a:srgbClr val="8D63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17" name="Rectangle 149">
              <a:extLst>
                <a:ext uri="{FF2B5EF4-FFF2-40B4-BE49-F238E27FC236}">
                  <a16:creationId xmlns:a16="http://schemas.microsoft.com/office/drawing/2014/main" id="{AABFD8E1-5A27-48E8-A5B9-D474B0D74054}"/>
                </a:ext>
              </a:extLst>
            </p:cNvPr>
            <p:cNvSpPr>
              <a:spLocks noChangeArrowheads="1"/>
            </p:cNvSpPr>
            <p:nvPr/>
          </p:nvSpPr>
          <p:spPr bwMode="auto">
            <a:xfrm>
              <a:off x="2147455" y="4368272"/>
              <a:ext cx="5133" cy="69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18" name="Oval 150">
              <a:extLst>
                <a:ext uri="{FF2B5EF4-FFF2-40B4-BE49-F238E27FC236}">
                  <a16:creationId xmlns:a16="http://schemas.microsoft.com/office/drawing/2014/main" id="{F54CADC6-BE37-4BDD-9C7B-E1D59EDB8C08}"/>
                </a:ext>
              </a:extLst>
            </p:cNvPr>
            <p:cNvSpPr>
              <a:spLocks noChangeArrowheads="1"/>
            </p:cNvSpPr>
            <p:nvPr/>
          </p:nvSpPr>
          <p:spPr bwMode="auto">
            <a:xfrm>
              <a:off x="2088420" y="4126993"/>
              <a:ext cx="123205" cy="251543"/>
            </a:xfrm>
            <a:prstGeom prst="ellipse">
              <a:avLst/>
            </a:prstGeom>
            <a:solidFill>
              <a:srgbClr val="6D9E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19" name="Freeform 151">
              <a:extLst>
                <a:ext uri="{FF2B5EF4-FFF2-40B4-BE49-F238E27FC236}">
                  <a16:creationId xmlns:a16="http://schemas.microsoft.com/office/drawing/2014/main" id="{30B9C7CB-E8E8-4C7E-B8E0-C704CAD6CA45}"/>
                </a:ext>
              </a:extLst>
            </p:cNvPr>
            <p:cNvSpPr>
              <a:spLocks/>
            </p:cNvSpPr>
            <p:nvPr/>
          </p:nvSpPr>
          <p:spPr bwMode="auto">
            <a:xfrm>
              <a:off x="2147455" y="4126995"/>
              <a:ext cx="64169" cy="251543"/>
            </a:xfrm>
            <a:custGeom>
              <a:avLst/>
              <a:gdLst>
                <a:gd name="T0" fmla="*/ 1 w 13"/>
                <a:gd name="T1" fmla="*/ 0 h 51"/>
                <a:gd name="T2" fmla="*/ 1 w 13"/>
                <a:gd name="T3" fmla="*/ 0 h 51"/>
                <a:gd name="T4" fmla="*/ 0 w 13"/>
                <a:gd name="T5" fmla="*/ 0 h 51"/>
                <a:gd name="T6" fmla="*/ 8 w 13"/>
                <a:gd name="T7" fmla="*/ 39 h 51"/>
                <a:gd name="T8" fmla="*/ 0 w 13"/>
                <a:gd name="T9" fmla="*/ 51 h 51"/>
                <a:gd name="T10" fmla="*/ 1 w 13"/>
                <a:gd name="T11" fmla="*/ 51 h 51"/>
                <a:gd name="T12" fmla="*/ 13 w 13"/>
                <a:gd name="T13" fmla="*/ 39 h 51"/>
                <a:gd name="T14" fmla="*/ 11 w 13"/>
                <a:gd name="T15" fmla="*/ 22 h 51"/>
                <a:gd name="T16" fmla="*/ 1 w 13"/>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1">
                  <a:moveTo>
                    <a:pt x="1" y="0"/>
                  </a:moveTo>
                  <a:cubicBezTo>
                    <a:pt x="1" y="0"/>
                    <a:pt x="1" y="0"/>
                    <a:pt x="1" y="0"/>
                  </a:cubicBezTo>
                  <a:cubicBezTo>
                    <a:pt x="0" y="0"/>
                    <a:pt x="0" y="0"/>
                    <a:pt x="0" y="0"/>
                  </a:cubicBezTo>
                  <a:cubicBezTo>
                    <a:pt x="4" y="2"/>
                    <a:pt x="8" y="32"/>
                    <a:pt x="8" y="39"/>
                  </a:cubicBezTo>
                  <a:cubicBezTo>
                    <a:pt x="8" y="45"/>
                    <a:pt x="4" y="51"/>
                    <a:pt x="0" y="51"/>
                  </a:cubicBezTo>
                  <a:cubicBezTo>
                    <a:pt x="1" y="51"/>
                    <a:pt x="1" y="51"/>
                    <a:pt x="1" y="51"/>
                  </a:cubicBezTo>
                  <a:cubicBezTo>
                    <a:pt x="7" y="51"/>
                    <a:pt x="13" y="46"/>
                    <a:pt x="13" y="39"/>
                  </a:cubicBezTo>
                  <a:cubicBezTo>
                    <a:pt x="13" y="36"/>
                    <a:pt x="12" y="29"/>
                    <a:pt x="11" y="22"/>
                  </a:cubicBezTo>
                  <a:cubicBezTo>
                    <a:pt x="8" y="11"/>
                    <a:pt x="5" y="0"/>
                    <a:pt x="1" y="0"/>
                  </a:cubicBezTo>
                </a:path>
              </a:pathLst>
            </a:custGeom>
            <a:solidFill>
              <a:srgbClr val="9DA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0" name="Freeform 255">
              <a:extLst>
                <a:ext uri="{FF2B5EF4-FFF2-40B4-BE49-F238E27FC236}">
                  <a16:creationId xmlns:a16="http://schemas.microsoft.com/office/drawing/2014/main" id="{54C9D737-ED57-4DBD-922B-3B3D3097BDAB}"/>
                </a:ext>
              </a:extLst>
            </p:cNvPr>
            <p:cNvSpPr>
              <a:spLocks/>
            </p:cNvSpPr>
            <p:nvPr/>
          </p:nvSpPr>
          <p:spPr bwMode="auto">
            <a:xfrm>
              <a:off x="1290159" y="4229667"/>
              <a:ext cx="639120" cy="200206"/>
            </a:xfrm>
            <a:custGeom>
              <a:avLst/>
              <a:gdLst>
                <a:gd name="T0" fmla="*/ 0 w 129"/>
                <a:gd name="T1" fmla="*/ 40 h 40"/>
                <a:gd name="T2" fmla="*/ 129 w 129"/>
                <a:gd name="T3" fmla="*/ 40 h 40"/>
                <a:gd name="T4" fmla="*/ 85 w 129"/>
                <a:gd name="T5" fmla="*/ 3 h 40"/>
                <a:gd name="T6" fmla="*/ 57 w 129"/>
                <a:gd name="T7" fmla="*/ 12 h 40"/>
                <a:gd name="T8" fmla="*/ 37 w 129"/>
                <a:gd name="T9" fmla="*/ 0 h 40"/>
                <a:gd name="T10" fmla="*/ 13 w 129"/>
                <a:gd name="T11" fmla="*/ 23 h 40"/>
                <a:gd name="T12" fmla="*/ 13 w 129"/>
                <a:gd name="T13" fmla="*/ 28 h 40"/>
                <a:gd name="T14" fmla="*/ 0 w 129"/>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
                  <a:moveTo>
                    <a:pt x="0" y="40"/>
                  </a:moveTo>
                  <a:cubicBezTo>
                    <a:pt x="129" y="40"/>
                    <a:pt x="129" y="40"/>
                    <a:pt x="129" y="40"/>
                  </a:cubicBezTo>
                  <a:cubicBezTo>
                    <a:pt x="125" y="19"/>
                    <a:pt x="107" y="3"/>
                    <a:pt x="85" y="3"/>
                  </a:cubicBezTo>
                  <a:cubicBezTo>
                    <a:pt x="74" y="3"/>
                    <a:pt x="65" y="6"/>
                    <a:pt x="57" y="12"/>
                  </a:cubicBezTo>
                  <a:cubicBezTo>
                    <a:pt x="53" y="5"/>
                    <a:pt x="46" y="0"/>
                    <a:pt x="37" y="0"/>
                  </a:cubicBezTo>
                  <a:cubicBezTo>
                    <a:pt x="24" y="0"/>
                    <a:pt x="13" y="10"/>
                    <a:pt x="13" y="23"/>
                  </a:cubicBezTo>
                  <a:cubicBezTo>
                    <a:pt x="13" y="25"/>
                    <a:pt x="13" y="26"/>
                    <a:pt x="13" y="28"/>
                  </a:cubicBezTo>
                  <a:cubicBezTo>
                    <a:pt x="7" y="30"/>
                    <a:pt x="3" y="35"/>
                    <a:pt x="0" y="40"/>
                  </a:cubicBezTo>
                  <a:close/>
                </a:path>
              </a:pathLst>
            </a:custGeom>
            <a:solidFill>
              <a:srgbClr val="6D9E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1" name="Freeform 256">
              <a:extLst>
                <a:ext uri="{FF2B5EF4-FFF2-40B4-BE49-F238E27FC236}">
                  <a16:creationId xmlns:a16="http://schemas.microsoft.com/office/drawing/2014/main" id="{C3AFFCEC-CA61-47E4-8C1E-A6EFBF275342}"/>
                </a:ext>
              </a:extLst>
            </p:cNvPr>
            <p:cNvSpPr>
              <a:spLocks/>
            </p:cNvSpPr>
            <p:nvPr/>
          </p:nvSpPr>
          <p:spPr bwMode="auto">
            <a:xfrm>
              <a:off x="2375894" y="4229667"/>
              <a:ext cx="639120" cy="200206"/>
            </a:xfrm>
            <a:custGeom>
              <a:avLst/>
              <a:gdLst>
                <a:gd name="T0" fmla="*/ 0 w 129"/>
                <a:gd name="T1" fmla="*/ 40 h 40"/>
                <a:gd name="T2" fmla="*/ 129 w 129"/>
                <a:gd name="T3" fmla="*/ 40 h 40"/>
                <a:gd name="T4" fmla="*/ 85 w 129"/>
                <a:gd name="T5" fmla="*/ 3 h 40"/>
                <a:gd name="T6" fmla="*/ 58 w 129"/>
                <a:gd name="T7" fmla="*/ 12 h 40"/>
                <a:gd name="T8" fmla="*/ 37 w 129"/>
                <a:gd name="T9" fmla="*/ 0 h 40"/>
                <a:gd name="T10" fmla="*/ 13 w 129"/>
                <a:gd name="T11" fmla="*/ 23 h 40"/>
                <a:gd name="T12" fmla="*/ 14 w 129"/>
                <a:gd name="T13" fmla="*/ 28 h 40"/>
                <a:gd name="T14" fmla="*/ 0 w 129"/>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
                  <a:moveTo>
                    <a:pt x="0" y="40"/>
                  </a:moveTo>
                  <a:cubicBezTo>
                    <a:pt x="129" y="40"/>
                    <a:pt x="129" y="40"/>
                    <a:pt x="129" y="40"/>
                  </a:cubicBezTo>
                  <a:cubicBezTo>
                    <a:pt x="126" y="19"/>
                    <a:pt x="107" y="3"/>
                    <a:pt x="85" y="3"/>
                  </a:cubicBezTo>
                  <a:cubicBezTo>
                    <a:pt x="75" y="3"/>
                    <a:pt x="65" y="6"/>
                    <a:pt x="58" y="12"/>
                  </a:cubicBezTo>
                  <a:cubicBezTo>
                    <a:pt x="54" y="5"/>
                    <a:pt x="46" y="0"/>
                    <a:pt x="37" y="0"/>
                  </a:cubicBezTo>
                  <a:cubicBezTo>
                    <a:pt x="24" y="0"/>
                    <a:pt x="13" y="10"/>
                    <a:pt x="13" y="23"/>
                  </a:cubicBezTo>
                  <a:cubicBezTo>
                    <a:pt x="13" y="25"/>
                    <a:pt x="13" y="26"/>
                    <a:pt x="14" y="28"/>
                  </a:cubicBezTo>
                  <a:cubicBezTo>
                    <a:pt x="8" y="30"/>
                    <a:pt x="3" y="35"/>
                    <a:pt x="0" y="40"/>
                  </a:cubicBezTo>
                  <a:close/>
                </a:path>
              </a:pathLst>
            </a:custGeom>
            <a:solidFill>
              <a:srgbClr val="6D9E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sp>
        <p:nvSpPr>
          <p:cNvPr id="371" name="Title 2">
            <a:extLst>
              <a:ext uri="{FF2B5EF4-FFF2-40B4-BE49-F238E27FC236}">
                <a16:creationId xmlns:a16="http://schemas.microsoft.com/office/drawing/2014/main" id="{11C40FBE-FCA3-DE41-93D7-C4F171A0C293}"/>
              </a:ext>
            </a:extLst>
          </p:cNvPr>
          <p:cNvSpPr>
            <a:spLocks noGrp="1"/>
          </p:cNvSpPr>
          <p:nvPr>
            <p:ph type="title"/>
          </p:nvPr>
        </p:nvSpPr>
        <p:spPr>
          <a:xfrm>
            <a:off x="279560" y="194049"/>
            <a:ext cx="11674613" cy="975783"/>
          </a:xfrm>
        </p:spPr>
        <p:txBody>
          <a:bodyPr/>
          <a:lstStyle/>
          <a:p>
            <a:pPr algn="ctr"/>
            <a:r>
              <a:rPr lang="en-US" sz="3467"/>
              <a:t>Cisco Managed Detection and Response</a:t>
            </a:r>
          </a:p>
        </p:txBody>
      </p:sp>
      <p:grpSp>
        <p:nvGrpSpPr>
          <p:cNvPr id="271" name="Group 270">
            <a:extLst>
              <a:ext uri="{FF2B5EF4-FFF2-40B4-BE49-F238E27FC236}">
                <a16:creationId xmlns:a16="http://schemas.microsoft.com/office/drawing/2014/main" id="{0F024E77-2C09-470B-96A0-0867FE81904F}"/>
              </a:ext>
            </a:extLst>
          </p:cNvPr>
          <p:cNvGrpSpPr/>
          <p:nvPr/>
        </p:nvGrpSpPr>
        <p:grpSpPr>
          <a:xfrm>
            <a:off x="3942901" y="5357276"/>
            <a:ext cx="453532" cy="1135971"/>
            <a:chOff x="-3199621" y="1224343"/>
            <a:chExt cx="2401534" cy="5385099"/>
          </a:xfrm>
        </p:grpSpPr>
        <p:sp>
          <p:nvSpPr>
            <p:cNvPr id="272" name="Rectangle: Rounded Corners 271">
              <a:extLst>
                <a:ext uri="{FF2B5EF4-FFF2-40B4-BE49-F238E27FC236}">
                  <a16:creationId xmlns:a16="http://schemas.microsoft.com/office/drawing/2014/main" id="{739A6E43-C878-48D1-A40A-48643F665F5D}"/>
                </a:ext>
              </a:extLst>
            </p:cNvPr>
            <p:cNvSpPr/>
            <p:nvPr/>
          </p:nvSpPr>
          <p:spPr>
            <a:xfrm rot="818077">
              <a:off x="-1145814" y="1895764"/>
              <a:ext cx="190644" cy="1023298"/>
            </a:xfrm>
            <a:prstGeom prst="roundRect">
              <a:avLst/>
            </a:prstGeom>
            <a:solidFill>
              <a:srgbClr val="0498D1">
                <a:lumMod val="75000"/>
              </a:srgbClr>
            </a:solidFill>
            <a:ln>
              <a:noFill/>
            </a:ln>
          </p:spPr>
          <p:txBody>
            <a:bodyPr rot="0" spcFirstLastPara="0" vert="horz" wrap="square" lIns="121920" tIns="60960" rIns="121920" bIns="60960" numCol="1" spcCol="0" rtlCol="0" fromWordArt="0" anchor="t" anchorCtr="0" forceAA="0" compatLnSpc="1">
              <a:prstTxWarp prst="textNoShape">
                <a:avLst/>
              </a:prstTxWarp>
              <a:noAutofit/>
            </a:bodyPr>
            <a:lstStyle/>
            <a:p>
              <a:pPr algn="ctr" defTabSz="1219140" fontAlgn="base">
                <a:spcBef>
                  <a:spcPct val="0"/>
                </a:spcBef>
                <a:spcAft>
                  <a:spcPct val="0"/>
                </a:spcAft>
                <a:defRPr/>
              </a:pPr>
              <a:endParaRPr lang="en-US" sz="2400" kern="0">
                <a:solidFill>
                  <a:srgbClr val="FFFFFF"/>
                </a:solidFill>
                <a:latin typeface="CiscoSansTT ExtraLight"/>
                <a:ea typeface="ＭＳ Ｐゴシック" charset="0"/>
                <a:cs typeface="Arial"/>
                <a:sym typeface="Arial"/>
              </a:endParaRPr>
            </a:p>
          </p:txBody>
        </p:sp>
        <p:sp>
          <p:nvSpPr>
            <p:cNvPr id="273" name="Freeform: Shape 272">
              <a:extLst>
                <a:ext uri="{FF2B5EF4-FFF2-40B4-BE49-F238E27FC236}">
                  <a16:creationId xmlns:a16="http://schemas.microsoft.com/office/drawing/2014/main" id="{57DA0ED1-D2E5-4FF5-A06F-B858DFDDE328}"/>
                </a:ext>
              </a:extLst>
            </p:cNvPr>
            <p:cNvSpPr/>
            <p:nvPr/>
          </p:nvSpPr>
          <p:spPr bwMode="auto">
            <a:xfrm>
              <a:off x="-3049329" y="1224343"/>
              <a:ext cx="1128201" cy="1195111"/>
            </a:xfrm>
            <a:custGeom>
              <a:avLst/>
              <a:gdLst>
                <a:gd name="connsiteX0" fmla="*/ 135280 w 270560"/>
                <a:gd name="connsiteY0" fmla="*/ 0 h 286605"/>
                <a:gd name="connsiteX1" fmla="*/ 270560 w 270560"/>
                <a:gd name="connsiteY1" fmla="*/ 143302 h 286605"/>
                <a:gd name="connsiteX2" fmla="*/ 135280 w 270560"/>
                <a:gd name="connsiteY2" fmla="*/ 286605 h 286605"/>
                <a:gd name="connsiteX3" fmla="*/ 0 w 270560"/>
                <a:gd name="connsiteY3" fmla="*/ 143302 h 286605"/>
                <a:gd name="connsiteX4" fmla="*/ 135280 w 270560"/>
                <a:gd name="connsiteY4" fmla="*/ 0 h 286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560" h="286605">
                  <a:moveTo>
                    <a:pt x="135280" y="0"/>
                  </a:moveTo>
                  <a:cubicBezTo>
                    <a:pt x="209993" y="0"/>
                    <a:pt x="270560" y="64159"/>
                    <a:pt x="270560" y="143302"/>
                  </a:cubicBezTo>
                  <a:cubicBezTo>
                    <a:pt x="270560" y="222446"/>
                    <a:pt x="209993" y="286605"/>
                    <a:pt x="135280" y="286605"/>
                  </a:cubicBezTo>
                  <a:cubicBezTo>
                    <a:pt x="60567" y="286605"/>
                    <a:pt x="0" y="222446"/>
                    <a:pt x="0" y="143302"/>
                  </a:cubicBezTo>
                  <a:cubicBezTo>
                    <a:pt x="0" y="64159"/>
                    <a:pt x="60567" y="0"/>
                    <a:pt x="135280" y="0"/>
                  </a:cubicBezTo>
                  <a:close/>
                </a:path>
              </a:pathLst>
            </a:custGeom>
            <a:solidFill>
              <a:srgbClr val="39393B"/>
            </a:solidFill>
            <a:ln>
              <a:noFill/>
            </a:ln>
          </p:spPr>
          <p:txBody>
            <a:bodyPr rot="0" spcFirstLastPara="0" vert="horz" wrap="square" lIns="121920" tIns="60960" rIns="121920" bIns="60960" numCol="1" spcCol="0" rtlCol="0" fromWordArt="0" anchor="t" anchorCtr="0" forceAA="0" compatLnSpc="1">
              <a:prstTxWarp prst="textNoShape">
                <a:avLst/>
              </a:prstTxWarp>
              <a:noAutofit/>
            </a:bodyPr>
            <a:lstStyle/>
            <a:p>
              <a:pPr algn="ctr" defTabSz="1219140" fontAlgn="base">
                <a:spcBef>
                  <a:spcPct val="0"/>
                </a:spcBef>
                <a:spcAft>
                  <a:spcPct val="0"/>
                </a:spcAft>
                <a:defRPr/>
              </a:pPr>
              <a:endParaRPr lang="en-US" sz="2400" kern="0">
                <a:solidFill>
                  <a:srgbClr val="FFFFFF"/>
                </a:solidFill>
                <a:latin typeface="CiscoSansTT ExtraLight"/>
                <a:ea typeface="ＭＳ Ｐゴシック" charset="0"/>
                <a:cs typeface="Arial"/>
                <a:sym typeface="Arial"/>
              </a:endParaRPr>
            </a:p>
          </p:txBody>
        </p:sp>
        <p:sp>
          <p:nvSpPr>
            <p:cNvPr id="274" name="Freeform: Shape 273">
              <a:extLst>
                <a:ext uri="{FF2B5EF4-FFF2-40B4-BE49-F238E27FC236}">
                  <a16:creationId xmlns:a16="http://schemas.microsoft.com/office/drawing/2014/main" id="{7C575079-FCC2-4A48-AFF4-CBAEBEF6A92F}"/>
                </a:ext>
              </a:extLst>
            </p:cNvPr>
            <p:cNvSpPr/>
            <p:nvPr/>
          </p:nvSpPr>
          <p:spPr bwMode="auto">
            <a:xfrm>
              <a:off x="-2994312" y="2598247"/>
              <a:ext cx="1219305" cy="1936864"/>
            </a:xfrm>
            <a:custGeom>
              <a:avLst/>
              <a:gdLst>
                <a:gd name="connsiteX0" fmla="*/ 42895 w 292407"/>
                <a:gd name="connsiteY0" fmla="*/ 0 h 464489"/>
                <a:gd name="connsiteX1" fmla="*/ 214470 w 292407"/>
                <a:gd name="connsiteY1" fmla="*/ 0 h 464489"/>
                <a:gd name="connsiteX2" fmla="*/ 292407 w 292407"/>
                <a:gd name="connsiteY2" fmla="*/ 109290 h 464489"/>
                <a:gd name="connsiteX3" fmla="*/ 290619 w 292407"/>
                <a:gd name="connsiteY3" fmla="*/ 156607 h 464489"/>
                <a:gd name="connsiteX4" fmla="*/ 178976 w 292407"/>
                <a:gd name="connsiteY4" fmla="*/ 58170 h 464489"/>
                <a:gd name="connsiteX5" fmla="*/ 76365 w 292407"/>
                <a:gd name="connsiteY5" fmla="*/ 64621 h 464489"/>
                <a:gd name="connsiteX6" fmla="*/ 82816 w 292407"/>
                <a:gd name="connsiteY6" fmla="*/ 167232 h 464489"/>
                <a:gd name="connsiteX7" fmla="*/ 264368 w 292407"/>
                <a:gd name="connsiteY7" fmla="*/ 327307 h 464489"/>
                <a:gd name="connsiteX8" fmla="*/ 257365 w 292407"/>
                <a:gd name="connsiteY8" fmla="*/ 421594 h 464489"/>
                <a:gd name="connsiteX9" fmla="*/ 214470 w 292407"/>
                <a:gd name="connsiteY9" fmla="*/ 464489 h 464489"/>
                <a:gd name="connsiteX10" fmla="*/ 42895 w 292407"/>
                <a:gd name="connsiteY10" fmla="*/ 464489 h 464489"/>
                <a:gd name="connsiteX11" fmla="*/ 0 w 292407"/>
                <a:gd name="connsiteY11" fmla="*/ 421594 h 464489"/>
                <a:gd name="connsiteX12" fmla="*/ 0 w 292407"/>
                <a:gd name="connsiteY12" fmla="*/ 42895 h 464489"/>
                <a:gd name="connsiteX13" fmla="*/ 42895 w 292407"/>
                <a:gd name="connsiteY13" fmla="*/ 0 h 46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2407" h="464489">
                  <a:moveTo>
                    <a:pt x="42895" y="0"/>
                  </a:moveTo>
                  <a:lnTo>
                    <a:pt x="214470" y="0"/>
                  </a:lnTo>
                  <a:cubicBezTo>
                    <a:pt x="238161" y="0"/>
                    <a:pt x="292407" y="85599"/>
                    <a:pt x="292407" y="109290"/>
                  </a:cubicBezTo>
                  <a:cubicBezTo>
                    <a:pt x="292407" y="126142"/>
                    <a:pt x="291783" y="141811"/>
                    <a:pt x="290619" y="156607"/>
                  </a:cubicBezTo>
                  <a:lnTo>
                    <a:pt x="178976" y="58170"/>
                  </a:lnTo>
                  <a:cubicBezTo>
                    <a:pt x="148859" y="31617"/>
                    <a:pt x="102919" y="34505"/>
                    <a:pt x="76365" y="64621"/>
                  </a:cubicBezTo>
                  <a:cubicBezTo>
                    <a:pt x="49811" y="94738"/>
                    <a:pt x="52699" y="140678"/>
                    <a:pt x="82816" y="167232"/>
                  </a:cubicBezTo>
                  <a:lnTo>
                    <a:pt x="264368" y="327307"/>
                  </a:lnTo>
                  <a:cubicBezTo>
                    <a:pt x="260177" y="355405"/>
                    <a:pt x="257365" y="385836"/>
                    <a:pt x="257365" y="421594"/>
                  </a:cubicBezTo>
                  <a:cubicBezTo>
                    <a:pt x="257365" y="445284"/>
                    <a:pt x="238161" y="464489"/>
                    <a:pt x="214470" y="464489"/>
                  </a:cubicBezTo>
                  <a:lnTo>
                    <a:pt x="42895" y="464489"/>
                  </a:lnTo>
                  <a:cubicBezTo>
                    <a:pt x="19205" y="464489"/>
                    <a:pt x="0" y="445284"/>
                    <a:pt x="0" y="421594"/>
                  </a:cubicBezTo>
                  <a:lnTo>
                    <a:pt x="0" y="42895"/>
                  </a:lnTo>
                  <a:cubicBezTo>
                    <a:pt x="0" y="19205"/>
                    <a:pt x="19205" y="0"/>
                    <a:pt x="42895" y="0"/>
                  </a:cubicBezTo>
                  <a:close/>
                </a:path>
              </a:pathLst>
            </a:custGeom>
            <a:solidFill>
              <a:srgbClr val="39393B"/>
            </a:solidFill>
            <a:ln>
              <a:noFill/>
            </a:ln>
          </p:spPr>
          <p:txBody>
            <a:bodyPr rot="0" spcFirstLastPara="0" vert="horz" wrap="square" lIns="121920" tIns="60960" rIns="121920" bIns="60960" numCol="1" spcCol="0" rtlCol="0" fromWordArt="0" anchor="t" anchorCtr="0" forceAA="0" compatLnSpc="1">
              <a:prstTxWarp prst="textNoShape">
                <a:avLst/>
              </a:prstTxWarp>
              <a:noAutofit/>
            </a:bodyPr>
            <a:lstStyle/>
            <a:p>
              <a:pPr algn="ctr" defTabSz="1219140" fontAlgn="base">
                <a:spcBef>
                  <a:spcPct val="0"/>
                </a:spcBef>
                <a:spcAft>
                  <a:spcPct val="0"/>
                </a:spcAft>
                <a:defRPr/>
              </a:pPr>
              <a:endParaRPr lang="en-US" sz="2400" kern="0">
                <a:solidFill>
                  <a:srgbClr val="FFFFFF"/>
                </a:solidFill>
                <a:latin typeface="CiscoSansTT ExtraLight"/>
                <a:ea typeface="ＭＳ Ｐゴシック" charset="0"/>
                <a:cs typeface="Arial"/>
                <a:sym typeface="Arial"/>
              </a:endParaRPr>
            </a:p>
          </p:txBody>
        </p:sp>
        <p:sp>
          <p:nvSpPr>
            <p:cNvPr id="275" name="Freeform: Shape 274">
              <a:extLst>
                <a:ext uri="{FF2B5EF4-FFF2-40B4-BE49-F238E27FC236}">
                  <a16:creationId xmlns:a16="http://schemas.microsoft.com/office/drawing/2014/main" id="{42986DA2-FFAE-46E4-AFB1-DD02541BA644}"/>
                </a:ext>
              </a:extLst>
            </p:cNvPr>
            <p:cNvSpPr/>
            <p:nvPr/>
          </p:nvSpPr>
          <p:spPr bwMode="auto">
            <a:xfrm>
              <a:off x="-2682065" y="2829437"/>
              <a:ext cx="1230087" cy="1084298"/>
            </a:xfrm>
            <a:custGeom>
              <a:avLst/>
              <a:gdLst>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70412 w 373044"/>
                <a:gd name="connsiteY5" fmla="*/ 390763 h 394829"/>
                <a:gd name="connsiteX6" fmla="*/ 331738 w 373044"/>
                <a:gd name="connsiteY6" fmla="*/ 376801 h 394829"/>
                <a:gd name="connsiteX7" fmla="*/ 19672 w 373044"/>
                <a:gd name="connsiteY7" fmla="*/ 101651 h 394829"/>
                <a:gd name="connsiteX8" fmla="*/ 14518 w 373044"/>
                <a:gd name="connsiteY8" fmla="*/ 19671 h 394829"/>
                <a:gd name="connsiteX9" fmla="*/ 54441 w 373044"/>
                <a:gd name="connsiteY9"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31738 w 373044"/>
                <a:gd name="connsiteY5" fmla="*/ 376801 h 394829"/>
                <a:gd name="connsiteX6" fmla="*/ 19672 w 373044"/>
                <a:gd name="connsiteY6" fmla="*/ 101651 h 394829"/>
                <a:gd name="connsiteX7" fmla="*/ 14518 w 373044"/>
                <a:gd name="connsiteY7" fmla="*/ 19671 h 394829"/>
                <a:gd name="connsiteX8" fmla="*/ 54441 w 373044"/>
                <a:gd name="connsiteY8"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31738 w 373044"/>
                <a:gd name="connsiteY4" fmla="*/ 376801 h 394829"/>
                <a:gd name="connsiteX5" fmla="*/ 19672 w 373044"/>
                <a:gd name="connsiteY5" fmla="*/ 101651 h 394829"/>
                <a:gd name="connsiteX6" fmla="*/ 14518 w 373044"/>
                <a:gd name="connsiteY6" fmla="*/ 19671 h 394829"/>
                <a:gd name="connsiteX7" fmla="*/ 54441 w 373044"/>
                <a:gd name="connsiteY7" fmla="*/ 116 h 394829"/>
                <a:gd name="connsiteX0" fmla="*/ 54441 w 373044"/>
                <a:gd name="connsiteY0" fmla="*/ 116 h 376801"/>
                <a:gd name="connsiteX1" fmla="*/ 96499 w 373044"/>
                <a:gd name="connsiteY1" fmla="*/ 14517 h 376801"/>
                <a:gd name="connsiteX2" fmla="*/ 373044 w 373044"/>
                <a:gd name="connsiteY2" fmla="*/ 258348 h 376801"/>
                <a:gd name="connsiteX3" fmla="*/ 331738 w 373044"/>
                <a:gd name="connsiteY3" fmla="*/ 376801 h 376801"/>
                <a:gd name="connsiteX4" fmla="*/ 19672 w 373044"/>
                <a:gd name="connsiteY4" fmla="*/ 101651 h 376801"/>
                <a:gd name="connsiteX5" fmla="*/ 14518 w 373044"/>
                <a:gd name="connsiteY5" fmla="*/ 19671 h 376801"/>
                <a:gd name="connsiteX6" fmla="*/ 54441 w 373044"/>
                <a:gd name="connsiteY6" fmla="*/ 116 h 376801"/>
                <a:gd name="connsiteX0" fmla="*/ 54441 w 392514"/>
                <a:gd name="connsiteY0" fmla="*/ 116 h 389308"/>
                <a:gd name="connsiteX1" fmla="*/ 96499 w 392514"/>
                <a:gd name="connsiteY1" fmla="*/ 14517 h 389308"/>
                <a:gd name="connsiteX2" fmla="*/ 373044 w 392514"/>
                <a:gd name="connsiteY2" fmla="*/ 258348 h 389308"/>
                <a:gd name="connsiteX3" fmla="*/ 331738 w 392514"/>
                <a:gd name="connsiteY3" fmla="*/ 376801 h 389308"/>
                <a:gd name="connsiteX4" fmla="*/ 19672 w 392514"/>
                <a:gd name="connsiteY4" fmla="*/ 101651 h 389308"/>
                <a:gd name="connsiteX5" fmla="*/ 14518 w 392514"/>
                <a:gd name="connsiteY5" fmla="*/ 19671 h 389308"/>
                <a:gd name="connsiteX6" fmla="*/ 54441 w 392514"/>
                <a:gd name="connsiteY6" fmla="*/ 116 h 389308"/>
                <a:gd name="connsiteX0" fmla="*/ 54441 w 417895"/>
                <a:gd name="connsiteY0" fmla="*/ 116 h 390341"/>
                <a:gd name="connsiteX1" fmla="*/ 96499 w 417895"/>
                <a:gd name="connsiteY1" fmla="*/ 14517 h 390341"/>
                <a:gd name="connsiteX2" fmla="*/ 373044 w 417895"/>
                <a:gd name="connsiteY2" fmla="*/ 258348 h 390341"/>
                <a:gd name="connsiteX3" fmla="*/ 331738 w 417895"/>
                <a:gd name="connsiteY3" fmla="*/ 376801 h 390341"/>
                <a:gd name="connsiteX4" fmla="*/ 19672 w 417895"/>
                <a:gd name="connsiteY4" fmla="*/ 101651 h 390341"/>
                <a:gd name="connsiteX5" fmla="*/ 14518 w 417895"/>
                <a:gd name="connsiteY5" fmla="*/ 19671 h 390341"/>
                <a:gd name="connsiteX6" fmla="*/ 54441 w 417895"/>
                <a:gd name="connsiteY6" fmla="*/ 116 h 390341"/>
                <a:gd name="connsiteX0" fmla="*/ 54441 w 415063"/>
                <a:gd name="connsiteY0" fmla="*/ 116 h 388409"/>
                <a:gd name="connsiteX1" fmla="*/ 96499 w 415063"/>
                <a:gd name="connsiteY1" fmla="*/ 14517 h 388409"/>
                <a:gd name="connsiteX2" fmla="*/ 373044 w 415063"/>
                <a:gd name="connsiteY2" fmla="*/ 258348 h 388409"/>
                <a:gd name="connsiteX3" fmla="*/ 331738 w 415063"/>
                <a:gd name="connsiteY3" fmla="*/ 376801 h 388409"/>
                <a:gd name="connsiteX4" fmla="*/ 19672 w 415063"/>
                <a:gd name="connsiteY4" fmla="*/ 101651 h 388409"/>
                <a:gd name="connsiteX5" fmla="*/ 14518 w 415063"/>
                <a:gd name="connsiteY5" fmla="*/ 19671 h 388409"/>
                <a:gd name="connsiteX6" fmla="*/ 54441 w 415063"/>
                <a:gd name="connsiteY6" fmla="*/ 116 h 388409"/>
                <a:gd name="connsiteX0" fmla="*/ 54441 w 389618"/>
                <a:gd name="connsiteY0" fmla="*/ 116 h 385766"/>
                <a:gd name="connsiteX1" fmla="*/ 96499 w 389618"/>
                <a:gd name="connsiteY1" fmla="*/ 14517 h 385766"/>
                <a:gd name="connsiteX2" fmla="*/ 311132 w 389618"/>
                <a:gd name="connsiteY2" fmla="*/ 203579 h 385766"/>
                <a:gd name="connsiteX3" fmla="*/ 331738 w 389618"/>
                <a:gd name="connsiteY3" fmla="*/ 376801 h 385766"/>
                <a:gd name="connsiteX4" fmla="*/ 19672 w 389618"/>
                <a:gd name="connsiteY4" fmla="*/ 101651 h 385766"/>
                <a:gd name="connsiteX5" fmla="*/ 14518 w 389618"/>
                <a:gd name="connsiteY5" fmla="*/ 19671 h 385766"/>
                <a:gd name="connsiteX6" fmla="*/ 54441 w 389618"/>
                <a:gd name="connsiteY6" fmla="*/ 116 h 385766"/>
                <a:gd name="connsiteX0" fmla="*/ 54441 w 353150"/>
                <a:gd name="connsiteY0" fmla="*/ 116 h 331409"/>
                <a:gd name="connsiteX1" fmla="*/ 96499 w 353150"/>
                <a:gd name="connsiteY1" fmla="*/ 14517 h 331409"/>
                <a:gd name="connsiteX2" fmla="*/ 311132 w 353150"/>
                <a:gd name="connsiteY2" fmla="*/ 203579 h 331409"/>
                <a:gd name="connsiteX3" fmla="*/ 269825 w 353150"/>
                <a:gd name="connsiteY3" fmla="*/ 319651 h 331409"/>
                <a:gd name="connsiteX4" fmla="*/ 19672 w 353150"/>
                <a:gd name="connsiteY4" fmla="*/ 101651 h 331409"/>
                <a:gd name="connsiteX5" fmla="*/ 14518 w 353150"/>
                <a:gd name="connsiteY5" fmla="*/ 19671 h 331409"/>
                <a:gd name="connsiteX6" fmla="*/ 54441 w 353150"/>
                <a:gd name="connsiteY6" fmla="*/ 116 h 331409"/>
                <a:gd name="connsiteX0" fmla="*/ 54441 w 344424"/>
                <a:gd name="connsiteY0" fmla="*/ 116 h 321584"/>
                <a:gd name="connsiteX1" fmla="*/ 96499 w 344424"/>
                <a:gd name="connsiteY1" fmla="*/ 14517 h 321584"/>
                <a:gd name="connsiteX2" fmla="*/ 311132 w 344424"/>
                <a:gd name="connsiteY2" fmla="*/ 203579 h 321584"/>
                <a:gd name="connsiteX3" fmla="*/ 269825 w 344424"/>
                <a:gd name="connsiteY3" fmla="*/ 319651 h 321584"/>
                <a:gd name="connsiteX4" fmla="*/ 19672 w 344424"/>
                <a:gd name="connsiteY4" fmla="*/ 101651 h 321584"/>
                <a:gd name="connsiteX5" fmla="*/ 14518 w 344424"/>
                <a:gd name="connsiteY5" fmla="*/ 19671 h 321584"/>
                <a:gd name="connsiteX6" fmla="*/ 54441 w 344424"/>
                <a:gd name="connsiteY6" fmla="*/ 116 h 321584"/>
                <a:gd name="connsiteX0" fmla="*/ 54441 w 327967"/>
                <a:gd name="connsiteY0" fmla="*/ 116 h 261639"/>
                <a:gd name="connsiteX1" fmla="*/ 96499 w 327967"/>
                <a:gd name="connsiteY1" fmla="*/ 14517 h 261639"/>
                <a:gd name="connsiteX2" fmla="*/ 311132 w 327967"/>
                <a:gd name="connsiteY2" fmla="*/ 203579 h 261639"/>
                <a:gd name="connsiteX3" fmla="*/ 200769 w 327967"/>
                <a:gd name="connsiteY3" fmla="*/ 257739 h 261639"/>
                <a:gd name="connsiteX4" fmla="*/ 19672 w 327967"/>
                <a:gd name="connsiteY4" fmla="*/ 101651 h 261639"/>
                <a:gd name="connsiteX5" fmla="*/ 14518 w 327967"/>
                <a:gd name="connsiteY5" fmla="*/ 19671 h 261639"/>
                <a:gd name="connsiteX6" fmla="*/ 54441 w 327967"/>
                <a:gd name="connsiteY6" fmla="*/ 116 h 261639"/>
                <a:gd name="connsiteX0" fmla="*/ 54441 w 294993"/>
                <a:gd name="connsiteY0" fmla="*/ 116 h 260030"/>
                <a:gd name="connsiteX1" fmla="*/ 96499 w 294993"/>
                <a:gd name="connsiteY1" fmla="*/ 14517 h 260030"/>
                <a:gd name="connsiteX2" fmla="*/ 270650 w 294993"/>
                <a:gd name="connsiteY2" fmla="*/ 160717 h 260030"/>
                <a:gd name="connsiteX3" fmla="*/ 200769 w 294993"/>
                <a:gd name="connsiteY3" fmla="*/ 257739 h 260030"/>
                <a:gd name="connsiteX4" fmla="*/ 19672 w 294993"/>
                <a:gd name="connsiteY4" fmla="*/ 101651 h 260030"/>
                <a:gd name="connsiteX5" fmla="*/ 14518 w 294993"/>
                <a:gd name="connsiteY5" fmla="*/ 19671 h 260030"/>
                <a:gd name="connsiteX6" fmla="*/ 54441 w 294993"/>
                <a:gd name="connsiteY6" fmla="*/ 116 h 26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4993" h="260030">
                  <a:moveTo>
                    <a:pt x="54441" y="116"/>
                  </a:moveTo>
                  <a:cubicBezTo>
                    <a:pt x="69276" y="-817"/>
                    <a:pt x="84468" y="3910"/>
                    <a:pt x="96499" y="14517"/>
                  </a:cubicBezTo>
                  <a:lnTo>
                    <a:pt x="270650" y="160717"/>
                  </a:lnTo>
                  <a:cubicBezTo>
                    <a:pt x="321176" y="185914"/>
                    <a:pt x="290737" y="275405"/>
                    <a:pt x="200769" y="257739"/>
                  </a:cubicBezTo>
                  <a:lnTo>
                    <a:pt x="19672" y="101651"/>
                  </a:lnTo>
                  <a:cubicBezTo>
                    <a:pt x="-4390" y="80436"/>
                    <a:pt x="-6697" y="43733"/>
                    <a:pt x="14518" y="19671"/>
                  </a:cubicBezTo>
                  <a:cubicBezTo>
                    <a:pt x="25126" y="7640"/>
                    <a:pt x="39605" y="1048"/>
                    <a:pt x="54441" y="116"/>
                  </a:cubicBezTo>
                  <a:close/>
                </a:path>
              </a:pathLst>
            </a:custGeom>
            <a:solidFill>
              <a:srgbClr val="39393B"/>
            </a:solidFill>
            <a:ln>
              <a:noFill/>
            </a:ln>
          </p:spPr>
          <p:txBody>
            <a:bodyPr rot="0" spcFirstLastPara="0" vert="horz" wrap="square" lIns="121920" tIns="60960" rIns="121920" bIns="60960" numCol="1" spcCol="0" rtlCol="0" fromWordArt="0" anchor="t" anchorCtr="0" forceAA="0" compatLnSpc="1">
              <a:prstTxWarp prst="textNoShape">
                <a:avLst/>
              </a:prstTxWarp>
              <a:noAutofit/>
            </a:bodyPr>
            <a:lstStyle/>
            <a:p>
              <a:pPr algn="ctr" defTabSz="1219140" fontAlgn="base">
                <a:spcBef>
                  <a:spcPct val="0"/>
                </a:spcBef>
                <a:spcAft>
                  <a:spcPct val="0"/>
                </a:spcAft>
                <a:defRPr/>
              </a:pPr>
              <a:endParaRPr lang="en-US" sz="2400" kern="0">
                <a:solidFill>
                  <a:srgbClr val="FFFFFF"/>
                </a:solidFill>
                <a:latin typeface="CiscoSansTT ExtraLight"/>
                <a:ea typeface="ＭＳ Ｐゴシック" charset="0"/>
                <a:cs typeface="Arial"/>
                <a:sym typeface="Arial"/>
              </a:endParaRPr>
            </a:p>
          </p:txBody>
        </p:sp>
        <p:sp>
          <p:nvSpPr>
            <p:cNvPr id="276" name="Freeform: Shape 275">
              <a:extLst>
                <a:ext uri="{FF2B5EF4-FFF2-40B4-BE49-F238E27FC236}">
                  <a16:creationId xmlns:a16="http://schemas.microsoft.com/office/drawing/2014/main" id="{2FD685C4-FB2A-44E4-826D-796A99476377}"/>
                </a:ext>
              </a:extLst>
            </p:cNvPr>
            <p:cNvSpPr/>
            <p:nvPr/>
          </p:nvSpPr>
          <p:spPr bwMode="auto">
            <a:xfrm>
              <a:off x="-3134498" y="4242178"/>
              <a:ext cx="1534298" cy="921603"/>
            </a:xfrm>
            <a:custGeom>
              <a:avLst/>
              <a:gdLst>
                <a:gd name="connsiteX0" fmla="*/ 35138 w 210821"/>
                <a:gd name="connsiteY0" fmla="*/ 0 h 520360"/>
                <a:gd name="connsiteX1" fmla="*/ 175684 w 210821"/>
                <a:gd name="connsiteY1" fmla="*/ 0 h 520360"/>
                <a:gd name="connsiteX2" fmla="*/ 210821 w 210821"/>
                <a:gd name="connsiteY2" fmla="*/ 35138 h 520360"/>
                <a:gd name="connsiteX3" fmla="*/ 210821 w 210821"/>
                <a:gd name="connsiteY3" fmla="*/ 485223 h 520360"/>
                <a:gd name="connsiteX4" fmla="*/ 175684 w 210821"/>
                <a:gd name="connsiteY4" fmla="*/ 520360 h 520360"/>
                <a:gd name="connsiteX5" fmla="*/ 35138 w 210821"/>
                <a:gd name="connsiteY5" fmla="*/ 520360 h 520360"/>
                <a:gd name="connsiteX6" fmla="*/ 0 w 210821"/>
                <a:gd name="connsiteY6" fmla="*/ 485223 h 520360"/>
                <a:gd name="connsiteX7" fmla="*/ 0 w 210821"/>
                <a:gd name="connsiteY7" fmla="*/ 35138 h 520360"/>
                <a:gd name="connsiteX8" fmla="*/ 35138 w 210821"/>
                <a:gd name="connsiteY8" fmla="*/ 0 h 520360"/>
                <a:gd name="connsiteX0" fmla="*/ 35138 w 274780"/>
                <a:gd name="connsiteY0" fmla="*/ 0 h 536315"/>
                <a:gd name="connsiteX1" fmla="*/ 175684 w 274780"/>
                <a:gd name="connsiteY1" fmla="*/ 0 h 536315"/>
                <a:gd name="connsiteX2" fmla="*/ 210821 w 274780"/>
                <a:gd name="connsiteY2" fmla="*/ 35138 h 536315"/>
                <a:gd name="connsiteX3" fmla="*/ 274780 w 274780"/>
                <a:gd name="connsiteY3" fmla="*/ 529567 h 536315"/>
                <a:gd name="connsiteX4" fmla="*/ 175684 w 274780"/>
                <a:gd name="connsiteY4" fmla="*/ 520360 h 536315"/>
                <a:gd name="connsiteX5" fmla="*/ 35138 w 274780"/>
                <a:gd name="connsiteY5" fmla="*/ 520360 h 536315"/>
                <a:gd name="connsiteX6" fmla="*/ 0 w 274780"/>
                <a:gd name="connsiteY6" fmla="*/ 485223 h 536315"/>
                <a:gd name="connsiteX7" fmla="*/ 0 w 274780"/>
                <a:gd name="connsiteY7" fmla="*/ 35138 h 536315"/>
                <a:gd name="connsiteX8" fmla="*/ 35138 w 274780"/>
                <a:gd name="connsiteY8" fmla="*/ 0 h 536315"/>
                <a:gd name="connsiteX0" fmla="*/ 35138 w 274780"/>
                <a:gd name="connsiteY0" fmla="*/ 0 h 536315"/>
                <a:gd name="connsiteX1" fmla="*/ 175684 w 274780"/>
                <a:gd name="connsiteY1" fmla="*/ 0 h 536315"/>
                <a:gd name="connsiteX2" fmla="*/ 210821 w 274780"/>
                <a:gd name="connsiteY2" fmla="*/ 35138 h 536315"/>
                <a:gd name="connsiteX3" fmla="*/ 274780 w 274780"/>
                <a:gd name="connsiteY3" fmla="*/ 529567 h 536315"/>
                <a:gd name="connsiteX4" fmla="*/ 175684 w 274780"/>
                <a:gd name="connsiteY4" fmla="*/ 520360 h 536315"/>
                <a:gd name="connsiteX5" fmla="*/ 35138 w 274780"/>
                <a:gd name="connsiteY5" fmla="*/ 520360 h 536315"/>
                <a:gd name="connsiteX6" fmla="*/ 0 w 274780"/>
                <a:gd name="connsiteY6" fmla="*/ 485223 h 536315"/>
                <a:gd name="connsiteX7" fmla="*/ 0 w 274780"/>
                <a:gd name="connsiteY7" fmla="*/ 35138 h 536315"/>
                <a:gd name="connsiteX8" fmla="*/ 35138 w 274780"/>
                <a:gd name="connsiteY8" fmla="*/ 0 h 536315"/>
                <a:gd name="connsiteX0" fmla="*/ 35138 w 274780"/>
                <a:gd name="connsiteY0" fmla="*/ 0 h 536315"/>
                <a:gd name="connsiteX1" fmla="*/ 175684 w 274780"/>
                <a:gd name="connsiteY1" fmla="*/ 0 h 536315"/>
                <a:gd name="connsiteX2" fmla="*/ 210821 w 274780"/>
                <a:gd name="connsiteY2" fmla="*/ 35138 h 536315"/>
                <a:gd name="connsiteX3" fmla="*/ 274780 w 274780"/>
                <a:gd name="connsiteY3" fmla="*/ 529567 h 536315"/>
                <a:gd name="connsiteX4" fmla="*/ 175684 w 274780"/>
                <a:gd name="connsiteY4" fmla="*/ 520360 h 536315"/>
                <a:gd name="connsiteX5" fmla="*/ 35138 w 274780"/>
                <a:gd name="connsiteY5" fmla="*/ 520360 h 536315"/>
                <a:gd name="connsiteX6" fmla="*/ 0 w 274780"/>
                <a:gd name="connsiteY6" fmla="*/ 485223 h 536315"/>
                <a:gd name="connsiteX7" fmla="*/ 0 w 274780"/>
                <a:gd name="connsiteY7" fmla="*/ 35138 h 536315"/>
                <a:gd name="connsiteX8" fmla="*/ 35138 w 274780"/>
                <a:gd name="connsiteY8" fmla="*/ 0 h 536315"/>
                <a:gd name="connsiteX0" fmla="*/ 66204 w 305846"/>
                <a:gd name="connsiteY0" fmla="*/ 0 h 536315"/>
                <a:gd name="connsiteX1" fmla="*/ 206750 w 305846"/>
                <a:gd name="connsiteY1" fmla="*/ 0 h 536315"/>
                <a:gd name="connsiteX2" fmla="*/ 241887 w 305846"/>
                <a:gd name="connsiteY2" fmla="*/ 35138 h 536315"/>
                <a:gd name="connsiteX3" fmla="*/ 305846 w 305846"/>
                <a:gd name="connsiteY3" fmla="*/ 529567 h 536315"/>
                <a:gd name="connsiteX4" fmla="*/ 206750 w 305846"/>
                <a:gd name="connsiteY4" fmla="*/ 520360 h 536315"/>
                <a:gd name="connsiteX5" fmla="*/ 66204 w 305846"/>
                <a:gd name="connsiteY5" fmla="*/ 520360 h 536315"/>
                <a:gd name="connsiteX6" fmla="*/ 0 w 305846"/>
                <a:gd name="connsiteY6" fmla="*/ 507395 h 536315"/>
                <a:gd name="connsiteX7" fmla="*/ 31066 w 305846"/>
                <a:gd name="connsiteY7" fmla="*/ 35138 h 536315"/>
                <a:gd name="connsiteX8" fmla="*/ 66204 w 305846"/>
                <a:gd name="connsiteY8" fmla="*/ 0 h 536315"/>
                <a:gd name="connsiteX0" fmla="*/ 66204 w 305846"/>
                <a:gd name="connsiteY0" fmla="*/ 0 h 536315"/>
                <a:gd name="connsiteX1" fmla="*/ 206750 w 305846"/>
                <a:gd name="connsiteY1" fmla="*/ 0 h 536315"/>
                <a:gd name="connsiteX2" fmla="*/ 241887 w 305846"/>
                <a:gd name="connsiteY2" fmla="*/ 35138 h 536315"/>
                <a:gd name="connsiteX3" fmla="*/ 305846 w 305846"/>
                <a:gd name="connsiteY3" fmla="*/ 529567 h 536315"/>
                <a:gd name="connsiteX4" fmla="*/ 206750 w 305846"/>
                <a:gd name="connsiteY4" fmla="*/ 520360 h 536315"/>
                <a:gd name="connsiteX5" fmla="*/ 66204 w 305846"/>
                <a:gd name="connsiteY5" fmla="*/ 520360 h 536315"/>
                <a:gd name="connsiteX6" fmla="*/ 0 w 305846"/>
                <a:gd name="connsiteY6" fmla="*/ 507395 h 536315"/>
                <a:gd name="connsiteX7" fmla="*/ 31066 w 305846"/>
                <a:gd name="connsiteY7" fmla="*/ 35138 h 536315"/>
                <a:gd name="connsiteX8" fmla="*/ 66204 w 305846"/>
                <a:gd name="connsiteY8" fmla="*/ 0 h 53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5846" h="536315">
                  <a:moveTo>
                    <a:pt x="66204" y="0"/>
                  </a:moveTo>
                  <a:lnTo>
                    <a:pt x="206750" y="0"/>
                  </a:lnTo>
                  <a:cubicBezTo>
                    <a:pt x="226156" y="0"/>
                    <a:pt x="241887" y="15732"/>
                    <a:pt x="241887" y="35138"/>
                  </a:cubicBezTo>
                  <a:cubicBezTo>
                    <a:pt x="241887" y="185166"/>
                    <a:pt x="269298" y="339630"/>
                    <a:pt x="305846" y="529567"/>
                  </a:cubicBezTo>
                  <a:cubicBezTo>
                    <a:pt x="305846" y="548972"/>
                    <a:pt x="226156" y="520360"/>
                    <a:pt x="206750" y="520360"/>
                  </a:cubicBezTo>
                  <a:lnTo>
                    <a:pt x="66204" y="520360"/>
                  </a:lnTo>
                  <a:cubicBezTo>
                    <a:pt x="46798" y="520360"/>
                    <a:pt x="0" y="526800"/>
                    <a:pt x="0" y="507395"/>
                  </a:cubicBezTo>
                  <a:cubicBezTo>
                    <a:pt x="28629" y="354410"/>
                    <a:pt x="20711" y="192557"/>
                    <a:pt x="31066" y="35138"/>
                  </a:cubicBezTo>
                  <a:cubicBezTo>
                    <a:pt x="31066" y="15732"/>
                    <a:pt x="46798" y="0"/>
                    <a:pt x="66204" y="0"/>
                  </a:cubicBezTo>
                  <a:close/>
                </a:path>
              </a:pathLst>
            </a:custGeom>
            <a:solidFill>
              <a:srgbClr val="39393B"/>
            </a:solidFill>
            <a:ln>
              <a:noFill/>
            </a:ln>
          </p:spPr>
          <p:txBody>
            <a:bodyPr rot="0" spcFirstLastPara="0" vert="horz" wrap="square" lIns="121920" tIns="60960" rIns="121920" bIns="60960" numCol="1" spcCol="0" rtlCol="0" fromWordArt="0" anchor="t" anchorCtr="0" forceAA="0" compatLnSpc="1">
              <a:prstTxWarp prst="textNoShape">
                <a:avLst/>
              </a:prstTxWarp>
              <a:noAutofit/>
            </a:bodyPr>
            <a:lstStyle/>
            <a:p>
              <a:pPr algn="ctr" defTabSz="1219140" fontAlgn="base">
                <a:spcBef>
                  <a:spcPct val="0"/>
                </a:spcBef>
                <a:spcAft>
                  <a:spcPct val="0"/>
                </a:spcAft>
                <a:defRPr/>
              </a:pPr>
              <a:endParaRPr lang="en-US" sz="2400" kern="0">
                <a:solidFill>
                  <a:srgbClr val="FFFFFF"/>
                </a:solidFill>
                <a:latin typeface="CiscoSansTT ExtraLight"/>
                <a:ea typeface="ＭＳ Ｐゴシック" charset="0"/>
                <a:cs typeface="Arial"/>
                <a:sym typeface="Arial"/>
              </a:endParaRPr>
            </a:p>
          </p:txBody>
        </p:sp>
        <p:sp>
          <p:nvSpPr>
            <p:cNvPr id="277" name="Freeform: Shape 276">
              <a:extLst>
                <a:ext uri="{FF2B5EF4-FFF2-40B4-BE49-F238E27FC236}">
                  <a16:creationId xmlns:a16="http://schemas.microsoft.com/office/drawing/2014/main" id="{2B4EEEF1-1F2C-4307-9C29-6CFEAB970688}"/>
                </a:ext>
              </a:extLst>
            </p:cNvPr>
            <p:cNvSpPr/>
            <p:nvPr/>
          </p:nvSpPr>
          <p:spPr bwMode="auto">
            <a:xfrm rot="15300000">
              <a:off x="-1999254" y="2603140"/>
              <a:ext cx="1203844" cy="1198490"/>
            </a:xfrm>
            <a:custGeom>
              <a:avLst/>
              <a:gdLst>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70412 w 373044"/>
                <a:gd name="connsiteY5" fmla="*/ 390763 h 394829"/>
                <a:gd name="connsiteX6" fmla="*/ 331738 w 373044"/>
                <a:gd name="connsiteY6" fmla="*/ 376801 h 394829"/>
                <a:gd name="connsiteX7" fmla="*/ 19672 w 373044"/>
                <a:gd name="connsiteY7" fmla="*/ 101651 h 394829"/>
                <a:gd name="connsiteX8" fmla="*/ 14518 w 373044"/>
                <a:gd name="connsiteY8" fmla="*/ 19671 h 394829"/>
                <a:gd name="connsiteX9" fmla="*/ 54441 w 373044"/>
                <a:gd name="connsiteY9"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31738 w 373044"/>
                <a:gd name="connsiteY5" fmla="*/ 376801 h 394829"/>
                <a:gd name="connsiteX6" fmla="*/ 19672 w 373044"/>
                <a:gd name="connsiteY6" fmla="*/ 101651 h 394829"/>
                <a:gd name="connsiteX7" fmla="*/ 14518 w 373044"/>
                <a:gd name="connsiteY7" fmla="*/ 19671 h 394829"/>
                <a:gd name="connsiteX8" fmla="*/ 54441 w 373044"/>
                <a:gd name="connsiteY8"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31738 w 373044"/>
                <a:gd name="connsiteY4" fmla="*/ 376801 h 394829"/>
                <a:gd name="connsiteX5" fmla="*/ 19672 w 373044"/>
                <a:gd name="connsiteY5" fmla="*/ 101651 h 394829"/>
                <a:gd name="connsiteX6" fmla="*/ 14518 w 373044"/>
                <a:gd name="connsiteY6" fmla="*/ 19671 h 394829"/>
                <a:gd name="connsiteX7" fmla="*/ 54441 w 373044"/>
                <a:gd name="connsiteY7" fmla="*/ 116 h 394829"/>
                <a:gd name="connsiteX0" fmla="*/ 54441 w 373044"/>
                <a:gd name="connsiteY0" fmla="*/ 116 h 376801"/>
                <a:gd name="connsiteX1" fmla="*/ 96499 w 373044"/>
                <a:gd name="connsiteY1" fmla="*/ 14517 h 376801"/>
                <a:gd name="connsiteX2" fmla="*/ 373044 w 373044"/>
                <a:gd name="connsiteY2" fmla="*/ 258348 h 376801"/>
                <a:gd name="connsiteX3" fmla="*/ 331738 w 373044"/>
                <a:gd name="connsiteY3" fmla="*/ 376801 h 376801"/>
                <a:gd name="connsiteX4" fmla="*/ 19672 w 373044"/>
                <a:gd name="connsiteY4" fmla="*/ 101651 h 376801"/>
                <a:gd name="connsiteX5" fmla="*/ 14518 w 373044"/>
                <a:gd name="connsiteY5" fmla="*/ 19671 h 376801"/>
                <a:gd name="connsiteX6" fmla="*/ 54441 w 373044"/>
                <a:gd name="connsiteY6" fmla="*/ 116 h 376801"/>
                <a:gd name="connsiteX0" fmla="*/ 54441 w 392514"/>
                <a:gd name="connsiteY0" fmla="*/ 116 h 389308"/>
                <a:gd name="connsiteX1" fmla="*/ 96499 w 392514"/>
                <a:gd name="connsiteY1" fmla="*/ 14517 h 389308"/>
                <a:gd name="connsiteX2" fmla="*/ 373044 w 392514"/>
                <a:gd name="connsiteY2" fmla="*/ 258348 h 389308"/>
                <a:gd name="connsiteX3" fmla="*/ 331738 w 392514"/>
                <a:gd name="connsiteY3" fmla="*/ 376801 h 389308"/>
                <a:gd name="connsiteX4" fmla="*/ 19672 w 392514"/>
                <a:gd name="connsiteY4" fmla="*/ 101651 h 389308"/>
                <a:gd name="connsiteX5" fmla="*/ 14518 w 392514"/>
                <a:gd name="connsiteY5" fmla="*/ 19671 h 389308"/>
                <a:gd name="connsiteX6" fmla="*/ 54441 w 392514"/>
                <a:gd name="connsiteY6" fmla="*/ 116 h 389308"/>
                <a:gd name="connsiteX0" fmla="*/ 54441 w 417895"/>
                <a:gd name="connsiteY0" fmla="*/ 116 h 390341"/>
                <a:gd name="connsiteX1" fmla="*/ 96499 w 417895"/>
                <a:gd name="connsiteY1" fmla="*/ 14517 h 390341"/>
                <a:gd name="connsiteX2" fmla="*/ 373044 w 417895"/>
                <a:gd name="connsiteY2" fmla="*/ 258348 h 390341"/>
                <a:gd name="connsiteX3" fmla="*/ 331738 w 417895"/>
                <a:gd name="connsiteY3" fmla="*/ 376801 h 390341"/>
                <a:gd name="connsiteX4" fmla="*/ 19672 w 417895"/>
                <a:gd name="connsiteY4" fmla="*/ 101651 h 390341"/>
                <a:gd name="connsiteX5" fmla="*/ 14518 w 417895"/>
                <a:gd name="connsiteY5" fmla="*/ 19671 h 390341"/>
                <a:gd name="connsiteX6" fmla="*/ 54441 w 417895"/>
                <a:gd name="connsiteY6" fmla="*/ 116 h 390341"/>
                <a:gd name="connsiteX0" fmla="*/ 54441 w 415063"/>
                <a:gd name="connsiteY0" fmla="*/ 116 h 388409"/>
                <a:gd name="connsiteX1" fmla="*/ 96499 w 415063"/>
                <a:gd name="connsiteY1" fmla="*/ 14517 h 388409"/>
                <a:gd name="connsiteX2" fmla="*/ 373044 w 415063"/>
                <a:gd name="connsiteY2" fmla="*/ 258348 h 388409"/>
                <a:gd name="connsiteX3" fmla="*/ 331738 w 415063"/>
                <a:gd name="connsiteY3" fmla="*/ 376801 h 388409"/>
                <a:gd name="connsiteX4" fmla="*/ 19672 w 415063"/>
                <a:gd name="connsiteY4" fmla="*/ 101651 h 388409"/>
                <a:gd name="connsiteX5" fmla="*/ 14518 w 415063"/>
                <a:gd name="connsiteY5" fmla="*/ 19671 h 388409"/>
                <a:gd name="connsiteX6" fmla="*/ 54441 w 415063"/>
                <a:gd name="connsiteY6" fmla="*/ 116 h 388409"/>
                <a:gd name="connsiteX0" fmla="*/ 54441 w 389618"/>
                <a:gd name="connsiteY0" fmla="*/ 116 h 385766"/>
                <a:gd name="connsiteX1" fmla="*/ 96499 w 389618"/>
                <a:gd name="connsiteY1" fmla="*/ 14517 h 385766"/>
                <a:gd name="connsiteX2" fmla="*/ 311132 w 389618"/>
                <a:gd name="connsiteY2" fmla="*/ 203579 h 385766"/>
                <a:gd name="connsiteX3" fmla="*/ 331738 w 389618"/>
                <a:gd name="connsiteY3" fmla="*/ 376801 h 385766"/>
                <a:gd name="connsiteX4" fmla="*/ 19672 w 389618"/>
                <a:gd name="connsiteY4" fmla="*/ 101651 h 385766"/>
                <a:gd name="connsiteX5" fmla="*/ 14518 w 389618"/>
                <a:gd name="connsiteY5" fmla="*/ 19671 h 385766"/>
                <a:gd name="connsiteX6" fmla="*/ 54441 w 389618"/>
                <a:gd name="connsiteY6" fmla="*/ 116 h 385766"/>
                <a:gd name="connsiteX0" fmla="*/ 54441 w 353150"/>
                <a:gd name="connsiteY0" fmla="*/ 116 h 331409"/>
                <a:gd name="connsiteX1" fmla="*/ 96499 w 353150"/>
                <a:gd name="connsiteY1" fmla="*/ 14517 h 331409"/>
                <a:gd name="connsiteX2" fmla="*/ 311132 w 353150"/>
                <a:gd name="connsiteY2" fmla="*/ 203579 h 331409"/>
                <a:gd name="connsiteX3" fmla="*/ 269825 w 353150"/>
                <a:gd name="connsiteY3" fmla="*/ 319651 h 331409"/>
                <a:gd name="connsiteX4" fmla="*/ 19672 w 353150"/>
                <a:gd name="connsiteY4" fmla="*/ 101651 h 331409"/>
                <a:gd name="connsiteX5" fmla="*/ 14518 w 353150"/>
                <a:gd name="connsiteY5" fmla="*/ 19671 h 331409"/>
                <a:gd name="connsiteX6" fmla="*/ 54441 w 353150"/>
                <a:gd name="connsiteY6" fmla="*/ 116 h 331409"/>
                <a:gd name="connsiteX0" fmla="*/ 54441 w 344424"/>
                <a:gd name="connsiteY0" fmla="*/ 116 h 321584"/>
                <a:gd name="connsiteX1" fmla="*/ 96499 w 344424"/>
                <a:gd name="connsiteY1" fmla="*/ 14517 h 321584"/>
                <a:gd name="connsiteX2" fmla="*/ 311132 w 344424"/>
                <a:gd name="connsiteY2" fmla="*/ 203579 h 321584"/>
                <a:gd name="connsiteX3" fmla="*/ 269825 w 344424"/>
                <a:gd name="connsiteY3" fmla="*/ 319651 h 321584"/>
                <a:gd name="connsiteX4" fmla="*/ 19672 w 344424"/>
                <a:gd name="connsiteY4" fmla="*/ 101651 h 321584"/>
                <a:gd name="connsiteX5" fmla="*/ 14518 w 344424"/>
                <a:gd name="connsiteY5" fmla="*/ 19671 h 321584"/>
                <a:gd name="connsiteX6" fmla="*/ 54441 w 344424"/>
                <a:gd name="connsiteY6" fmla="*/ 116 h 32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424" h="321584">
                  <a:moveTo>
                    <a:pt x="54441" y="116"/>
                  </a:moveTo>
                  <a:cubicBezTo>
                    <a:pt x="69276" y="-817"/>
                    <a:pt x="84468" y="3910"/>
                    <a:pt x="96499" y="14517"/>
                  </a:cubicBezTo>
                  <a:lnTo>
                    <a:pt x="311132" y="203579"/>
                  </a:lnTo>
                  <a:cubicBezTo>
                    <a:pt x="361658" y="228776"/>
                    <a:pt x="359793" y="337317"/>
                    <a:pt x="269825" y="319651"/>
                  </a:cubicBezTo>
                  <a:lnTo>
                    <a:pt x="19672" y="101651"/>
                  </a:lnTo>
                  <a:cubicBezTo>
                    <a:pt x="-4390" y="80436"/>
                    <a:pt x="-6697" y="43733"/>
                    <a:pt x="14518" y="19671"/>
                  </a:cubicBezTo>
                  <a:cubicBezTo>
                    <a:pt x="25126" y="7640"/>
                    <a:pt x="39605" y="1048"/>
                    <a:pt x="54441" y="116"/>
                  </a:cubicBezTo>
                  <a:close/>
                </a:path>
              </a:pathLst>
            </a:custGeom>
            <a:solidFill>
              <a:srgbClr val="39393B"/>
            </a:solidFill>
            <a:ln>
              <a:noFill/>
            </a:ln>
          </p:spPr>
          <p:txBody>
            <a:bodyPr rot="0" spcFirstLastPara="0" vert="horz" wrap="square" lIns="121920" tIns="60960" rIns="121920" bIns="60960" numCol="1" spcCol="0" rtlCol="0" fromWordArt="0" anchor="t" anchorCtr="0" forceAA="0" compatLnSpc="1">
              <a:prstTxWarp prst="textNoShape">
                <a:avLst/>
              </a:prstTxWarp>
              <a:noAutofit/>
            </a:bodyPr>
            <a:lstStyle/>
            <a:p>
              <a:pPr algn="ctr" defTabSz="1219140" fontAlgn="base">
                <a:spcBef>
                  <a:spcPct val="0"/>
                </a:spcBef>
                <a:spcAft>
                  <a:spcPct val="0"/>
                </a:spcAft>
                <a:defRPr/>
              </a:pPr>
              <a:endParaRPr lang="en-US" sz="2400" kern="0">
                <a:solidFill>
                  <a:srgbClr val="FFFFFF"/>
                </a:solidFill>
                <a:latin typeface="CiscoSansTT ExtraLight"/>
                <a:ea typeface="ＭＳ Ｐゴシック" charset="0"/>
                <a:cs typeface="Arial"/>
                <a:sym typeface="Arial"/>
              </a:endParaRPr>
            </a:p>
          </p:txBody>
        </p:sp>
        <p:sp>
          <p:nvSpPr>
            <p:cNvPr id="278" name="Freeform: Shape 277">
              <a:extLst>
                <a:ext uri="{FF2B5EF4-FFF2-40B4-BE49-F238E27FC236}">
                  <a16:creationId xmlns:a16="http://schemas.microsoft.com/office/drawing/2014/main" id="{C1B0F060-B427-4E0E-A3D4-A05CCA07592A}"/>
                </a:ext>
              </a:extLst>
            </p:cNvPr>
            <p:cNvSpPr/>
            <p:nvPr/>
          </p:nvSpPr>
          <p:spPr bwMode="auto">
            <a:xfrm>
              <a:off x="-3199621" y="1625600"/>
              <a:ext cx="507633" cy="537743"/>
            </a:xfrm>
            <a:custGeom>
              <a:avLst/>
              <a:gdLst>
                <a:gd name="connsiteX0" fmla="*/ 135280 w 270560"/>
                <a:gd name="connsiteY0" fmla="*/ 0 h 286605"/>
                <a:gd name="connsiteX1" fmla="*/ 270560 w 270560"/>
                <a:gd name="connsiteY1" fmla="*/ 143302 h 286605"/>
                <a:gd name="connsiteX2" fmla="*/ 135280 w 270560"/>
                <a:gd name="connsiteY2" fmla="*/ 286605 h 286605"/>
                <a:gd name="connsiteX3" fmla="*/ 0 w 270560"/>
                <a:gd name="connsiteY3" fmla="*/ 143302 h 286605"/>
                <a:gd name="connsiteX4" fmla="*/ 135280 w 270560"/>
                <a:gd name="connsiteY4" fmla="*/ 0 h 286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560" h="286605">
                  <a:moveTo>
                    <a:pt x="135280" y="0"/>
                  </a:moveTo>
                  <a:cubicBezTo>
                    <a:pt x="209993" y="0"/>
                    <a:pt x="270560" y="64159"/>
                    <a:pt x="270560" y="143302"/>
                  </a:cubicBezTo>
                  <a:cubicBezTo>
                    <a:pt x="270560" y="222446"/>
                    <a:pt x="209993" y="286605"/>
                    <a:pt x="135280" y="286605"/>
                  </a:cubicBezTo>
                  <a:cubicBezTo>
                    <a:pt x="60567" y="286605"/>
                    <a:pt x="0" y="222446"/>
                    <a:pt x="0" y="143302"/>
                  </a:cubicBezTo>
                  <a:cubicBezTo>
                    <a:pt x="0" y="64159"/>
                    <a:pt x="60567" y="0"/>
                    <a:pt x="135280" y="0"/>
                  </a:cubicBezTo>
                  <a:close/>
                </a:path>
              </a:pathLst>
            </a:custGeom>
            <a:solidFill>
              <a:srgbClr val="39393B"/>
            </a:solidFill>
            <a:ln>
              <a:noFill/>
            </a:ln>
          </p:spPr>
          <p:txBody>
            <a:bodyPr rot="0" spcFirstLastPara="0" vert="horz" wrap="square" lIns="121920" tIns="60960" rIns="121920" bIns="60960" numCol="1" spcCol="0" rtlCol="0" fromWordArt="0" anchor="t" anchorCtr="0" forceAA="0" compatLnSpc="1">
              <a:prstTxWarp prst="textNoShape">
                <a:avLst/>
              </a:prstTxWarp>
              <a:noAutofit/>
            </a:bodyPr>
            <a:lstStyle/>
            <a:p>
              <a:pPr algn="ctr" defTabSz="1219140" fontAlgn="base">
                <a:spcBef>
                  <a:spcPct val="0"/>
                </a:spcBef>
                <a:spcAft>
                  <a:spcPct val="0"/>
                </a:spcAft>
                <a:defRPr/>
              </a:pPr>
              <a:endParaRPr lang="en-US" sz="2400" kern="0">
                <a:solidFill>
                  <a:srgbClr val="FFFFFF"/>
                </a:solidFill>
                <a:latin typeface="CiscoSansTT ExtraLight"/>
                <a:ea typeface="ＭＳ Ｐゴシック" charset="0"/>
                <a:cs typeface="Arial"/>
                <a:sym typeface="Arial"/>
              </a:endParaRPr>
            </a:p>
          </p:txBody>
        </p:sp>
        <p:sp>
          <p:nvSpPr>
            <p:cNvPr id="279" name="Rectangle: Rounded Corners 278">
              <a:extLst>
                <a:ext uri="{FF2B5EF4-FFF2-40B4-BE49-F238E27FC236}">
                  <a16:creationId xmlns:a16="http://schemas.microsoft.com/office/drawing/2014/main" id="{66A07D9F-7E50-4B18-9F9A-F23EF91EEE1E}"/>
                </a:ext>
              </a:extLst>
            </p:cNvPr>
            <p:cNvSpPr/>
            <p:nvPr/>
          </p:nvSpPr>
          <p:spPr>
            <a:xfrm>
              <a:off x="-2692644" y="4841237"/>
              <a:ext cx="634936" cy="1768205"/>
            </a:xfrm>
            <a:prstGeom prst="roundRect">
              <a:avLst>
                <a:gd name="adj" fmla="val 47590"/>
              </a:avLst>
            </a:prstGeom>
            <a:solidFill>
              <a:srgbClr val="39393B"/>
            </a:solidFill>
            <a:ln>
              <a:noFill/>
            </a:ln>
          </p:spPr>
          <p:txBody>
            <a:bodyPr rot="0" spcFirstLastPara="0" vert="horz" wrap="square" lIns="121920" tIns="60960" rIns="121920" bIns="60960" numCol="1" spcCol="0" rtlCol="0" fromWordArt="0" anchor="t" anchorCtr="0" forceAA="0" compatLnSpc="1">
              <a:prstTxWarp prst="textNoShape">
                <a:avLst/>
              </a:prstTxWarp>
              <a:noAutofit/>
            </a:bodyPr>
            <a:lstStyle/>
            <a:p>
              <a:pPr algn="ctr" defTabSz="1219140" fontAlgn="base">
                <a:spcBef>
                  <a:spcPct val="0"/>
                </a:spcBef>
                <a:spcAft>
                  <a:spcPct val="0"/>
                </a:spcAft>
                <a:defRPr/>
              </a:pPr>
              <a:endParaRPr lang="en-US" sz="2400" kern="0">
                <a:solidFill>
                  <a:srgbClr val="FFFFFF"/>
                </a:solidFill>
                <a:latin typeface="CiscoSansTT ExtraLight"/>
                <a:ea typeface="ＭＳ Ｐゴシック" charset="0"/>
                <a:cs typeface="Arial"/>
                <a:sym typeface="Arial"/>
              </a:endParaRPr>
            </a:p>
          </p:txBody>
        </p:sp>
      </p:grpSp>
      <p:sp>
        <p:nvSpPr>
          <p:cNvPr id="373" name="Arc 128">
            <a:extLst>
              <a:ext uri="{FF2B5EF4-FFF2-40B4-BE49-F238E27FC236}">
                <a16:creationId xmlns:a16="http://schemas.microsoft.com/office/drawing/2014/main" id="{A424A5A0-C831-8B4F-B183-2C8C4D99E227}"/>
              </a:ext>
            </a:extLst>
          </p:cNvPr>
          <p:cNvSpPr/>
          <p:nvPr/>
        </p:nvSpPr>
        <p:spPr>
          <a:xfrm rot="18292575" flipH="1">
            <a:off x="2823422" y="2742188"/>
            <a:ext cx="793948" cy="3314920"/>
          </a:xfrm>
          <a:custGeom>
            <a:avLst/>
            <a:gdLst>
              <a:gd name="connsiteX0" fmla="*/ 379259 w 758519"/>
              <a:gd name="connsiteY0" fmla="*/ 0 h 758519"/>
              <a:gd name="connsiteX1" fmla="*/ 758519 w 758519"/>
              <a:gd name="connsiteY1" fmla="*/ 379260 h 758519"/>
              <a:gd name="connsiteX2" fmla="*/ 379260 w 758519"/>
              <a:gd name="connsiteY2" fmla="*/ 379260 h 758519"/>
              <a:gd name="connsiteX3" fmla="*/ 379259 w 758519"/>
              <a:gd name="connsiteY3" fmla="*/ 0 h 758519"/>
              <a:gd name="connsiteX0" fmla="*/ 379259 w 758519"/>
              <a:gd name="connsiteY0" fmla="*/ 0 h 758519"/>
              <a:gd name="connsiteX1" fmla="*/ 758519 w 758519"/>
              <a:gd name="connsiteY1" fmla="*/ 379260 h 758519"/>
              <a:gd name="connsiteX0" fmla="*/ 0 w 414781"/>
              <a:gd name="connsiteY0" fmla="*/ 0 h 379260"/>
              <a:gd name="connsiteX1" fmla="*/ 379260 w 414781"/>
              <a:gd name="connsiteY1" fmla="*/ 379260 h 379260"/>
              <a:gd name="connsiteX2" fmla="*/ 1 w 414781"/>
              <a:gd name="connsiteY2" fmla="*/ 379260 h 379260"/>
              <a:gd name="connsiteX3" fmla="*/ 0 w 414781"/>
              <a:gd name="connsiteY3" fmla="*/ 0 h 379260"/>
              <a:gd name="connsiteX0" fmla="*/ 0 w 414781"/>
              <a:gd name="connsiteY0" fmla="*/ 0 h 379260"/>
              <a:gd name="connsiteX1" fmla="*/ 414781 w 414781"/>
              <a:gd name="connsiteY1" fmla="*/ 322746 h 379260"/>
              <a:gd name="connsiteX0" fmla="*/ 0 w 414781"/>
              <a:gd name="connsiteY0" fmla="*/ 0 h 379260"/>
              <a:gd name="connsiteX1" fmla="*/ 379260 w 414781"/>
              <a:gd name="connsiteY1" fmla="*/ 379260 h 379260"/>
              <a:gd name="connsiteX2" fmla="*/ 1 w 414781"/>
              <a:gd name="connsiteY2" fmla="*/ 379260 h 379260"/>
              <a:gd name="connsiteX3" fmla="*/ 0 w 414781"/>
              <a:gd name="connsiteY3" fmla="*/ 0 h 379260"/>
              <a:gd name="connsiteX0" fmla="*/ 0 w 414781"/>
              <a:gd name="connsiteY0" fmla="*/ 0 h 379260"/>
              <a:gd name="connsiteX1" fmla="*/ 414781 w 414781"/>
              <a:gd name="connsiteY1" fmla="*/ 322746 h 379260"/>
              <a:gd name="connsiteX0" fmla="*/ 12472 w 427253"/>
              <a:gd name="connsiteY0" fmla="*/ 0 h 379260"/>
              <a:gd name="connsiteX1" fmla="*/ 391732 w 427253"/>
              <a:gd name="connsiteY1" fmla="*/ 379260 h 379260"/>
              <a:gd name="connsiteX2" fmla="*/ 12473 w 427253"/>
              <a:gd name="connsiteY2" fmla="*/ 379260 h 379260"/>
              <a:gd name="connsiteX3" fmla="*/ 12472 w 427253"/>
              <a:gd name="connsiteY3" fmla="*/ 0 h 379260"/>
              <a:gd name="connsiteX0" fmla="*/ 0 w 427253"/>
              <a:gd name="connsiteY0" fmla="*/ 6788 h 379260"/>
              <a:gd name="connsiteX1" fmla="*/ 427253 w 427253"/>
              <a:gd name="connsiteY1" fmla="*/ 322746 h 379260"/>
              <a:gd name="connsiteX0" fmla="*/ 12472 w 427253"/>
              <a:gd name="connsiteY0" fmla="*/ 0 h 379260"/>
              <a:gd name="connsiteX1" fmla="*/ 391732 w 427253"/>
              <a:gd name="connsiteY1" fmla="*/ 379260 h 379260"/>
              <a:gd name="connsiteX2" fmla="*/ 12473 w 427253"/>
              <a:gd name="connsiteY2" fmla="*/ 379260 h 379260"/>
              <a:gd name="connsiteX3" fmla="*/ 12472 w 427253"/>
              <a:gd name="connsiteY3" fmla="*/ 0 h 379260"/>
              <a:gd name="connsiteX0" fmla="*/ 0 w 427253"/>
              <a:gd name="connsiteY0" fmla="*/ 6788 h 379260"/>
              <a:gd name="connsiteX1" fmla="*/ 427253 w 427253"/>
              <a:gd name="connsiteY1" fmla="*/ 322746 h 379260"/>
            </a:gdLst>
            <a:ahLst/>
            <a:cxnLst>
              <a:cxn ang="0">
                <a:pos x="connsiteX0" y="connsiteY0"/>
              </a:cxn>
              <a:cxn ang="0">
                <a:pos x="connsiteX1" y="connsiteY1"/>
              </a:cxn>
            </a:cxnLst>
            <a:rect l="l" t="t" r="r" b="b"/>
            <a:pathLst>
              <a:path w="427253" h="379260" stroke="0" extrusionOk="0">
                <a:moveTo>
                  <a:pt x="12472" y="0"/>
                </a:moveTo>
                <a:cubicBezTo>
                  <a:pt x="221932" y="0"/>
                  <a:pt x="391732" y="169800"/>
                  <a:pt x="391732" y="379260"/>
                </a:cubicBezTo>
                <a:lnTo>
                  <a:pt x="12473" y="379260"/>
                </a:lnTo>
                <a:cubicBezTo>
                  <a:pt x="12473" y="252840"/>
                  <a:pt x="12472" y="126420"/>
                  <a:pt x="12472" y="0"/>
                </a:cubicBezTo>
                <a:close/>
              </a:path>
              <a:path w="427253" h="379260" fill="none">
                <a:moveTo>
                  <a:pt x="0" y="6788"/>
                </a:moveTo>
                <a:cubicBezTo>
                  <a:pt x="129896" y="20995"/>
                  <a:pt x="358662" y="150620"/>
                  <a:pt x="427253" y="322746"/>
                </a:cubicBezTo>
              </a:path>
            </a:pathLst>
          </a:custGeom>
          <a:noFill/>
          <a:ln w="9525">
            <a:solidFill>
              <a:schemeClr val="accent1">
                <a:alpha val="40000"/>
              </a:schemeClr>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609570" fontAlgn="base">
              <a:spcBef>
                <a:spcPct val="0"/>
              </a:spcBef>
              <a:spcAft>
                <a:spcPct val="0"/>
              </a:spcAft>
              <a:defRPr/>
            </a:pPr>
            <a:endParaRPr lang="en-US" sz="2400">
              <a:solidFill>
                <a:srgbClr val="282828"/>
              </a:solidFill>
              <a:latin typeface="CiscoSansTT ExtraLight"/>
              <a:sym typeface="Arial"/>
            </a:endParaRPr>
          </a:p>
        </p:txBody>
      </p:sp>
      <p:sp>
        <p:nvSpPr>
          <p:cNvPr id="374" name="Arc 128">
            <a:extLst>
              <a:ext uri="{FF2B5EF4-FFF2-40B4-BE49-F238E27FC236}">
                <a16:creationId xmlns:a16="http://schemas.microsoft.com/office/drawing/2014/main" id="{10D362FE-A30D-AB44-9ECE-62D3E6D8894E}"/>
              </a:ext>
            </a:extLst>
          </p:cNvPr>
          <p:cNvSpPr/>
          <p:nvPr/>
        </p:nvSpPr>
        <p:spPr>
          <a:xfrm rot="16617218" flipH="1">
            <a:off x="2871425" y="3952203"/>
            <a:ext cx="2047420" cy="690435"/>
          </a:xfrm>
          <a:custGeom>
            <a:avLst/>
            <a:gdLst>
              <a:gd name="connsiteX0" fmla="*/ 379259 w 758519"/>
              <a:gd name="connsiteY0" fmla="*/ 0 h 758519"/>
              <a:gd name="connsiteX1" fmla="*/ 758519 w 758519"/>
              <a:gd name="connsiteY1" fmla="*/ 379260 h 758519"/>
              <a:gd name="connsiteX2" fmla="*/ 379260 w 758519"/>
              <a:gd name="connsiteY2" fmla="*/ 379260 h 758519"/>
              <a:gd name="connsiteX3" fmla="*/ 379259 w 758519"/>
              <a:gd name="connsiteY3" fmla="*/ 0 h 758519"/>
              <a:gd name="connsiteX0" fmla="*/ 379259 w 758519"/>
              <a:gd name="connsiteY0" fmla="*/ 0 h 758519"/>
              <a:gd name="connsiteX1" fmla="*/ 758519 w 758519"/>
              <a:gd name="connsiteY1" fmla="*/ 379260 h 758519"/>
              <a:gd name="connsiteX0" fmla="*/ 0 w 414781"/>
              <a:gd name="connsiteY0" fmla="*/ 0 h 379260"/>
              <a:gd name="connsiteX1" fmla="*/ 379260 w 414781"/>
              <a:gd name="connsiteY1" fmla="*/ 379260 h 379260"/>
              <a:gd name="connsiteX2" fmla="*/ 1 w 414781"/>
              <a:gd name="connsiteY2" fmla="*/ 379260 h 379260"/>
              <a:gd name="connsiteX3" fmla="*/ 0 w 414781"/>
              <a:gd name="connsiteY3" fmla="*/ 0 h 379260"/>
              <a:gd name="connsiteX0" fmla="*/ 0 w 414781"/>
              <a:gd name="connsiteY0" fmla="*/ 0 h 379260"/>
              <a:gd name="connsiteX1" fmla="*/ 414781 w 414781"/>
              <a:gd name="connsiteY1" fmla="*/ 322746 h 379260"/>
              <a:gd name="connsiteX0" fmla="*/ 0 w 414781"/>
              <a:gd name="connsiteY0" fmla="*/ 0 h 379260"/>
              <a:gd name="connsiteX1" fmla="*/ 379260 w 414781"/>
              <a:gd name="connsiteY1" fmla="*/ 379260 h 379260"/>
              <a:gd name="connsiteX2" fmla="*/ 1 w 414781"/>
              <a:gd name="connsiteY2" fmla="*/ 379260 h 379260"/>
              <a:gd name="connsiteX3" fmla="*/ 0 w 414781"/>
              <a:gd name="connsiteY3" fmla="*/ 0 h 379260"/>
              <a:gd name="connsiteX0" fmla="*/ 0 w 414781"/>
              <a:gd name="connsiteY0" fmla="*/ 0 h 379260"/>
              <a:gd name="connsiteX1" fmla="*/ 414781 w 414781"/>
              <a:gd name="connsiteY1" fmla="*/ 322746 h 379260"/>
              <a:gd name="connsiteX0" fmla="*/ 12472 w 427253"/>
              <a:gd name="connsiteY0" fmla="*/ 0 h 379260"/>
              <a:gd name="connsiteX1" fmla="*/ 391732 w 427253"/>
              <a:gd name="connsiteY1" fmla="*/ 379260 h 379260"/>
              <a:gd name="connsiteX2" fmla="*/ 12473 w 427253"/>
              <a:gd name="connsiteY2" fmla="*/ 379260 h 379260"/>
              <a:gd name="connsiteX3" fmla="*/ 12472 w 427253"/>
              <a:gd name="connsiteY3" fmla="*/ 0 h 379260"/>
              <a:gd name="connsiteX0" fmla="*/ 0 w 427253"/>
              <a:gd name="connsiteY0" fmla="*/ 6788 h 379260"/>
              <a:gd name="connsiteX1" fmla="*/ 427253 w 427253"/>
              <a:gd name="connsiteY1" fmla="*/ 322746 h 379260"/>
              <a:gd name="connsiteX0" fmla="*/ 12472 w 427253"/>
              <a:gd name="connsiteY0" fmla="*/ 0 h 379260"/>
              <a:gd name="connsiteX1" fmla="*/ 391732 w 427253"/>
              <a:gd name="connsiteY1" fmla="*/ 379260 h 379260"/>
              <a:gd name="connsiteX2" fmla="*/ 12473 w 427253"/>
              <a:gd name="connsiteY2" fmla="*/ 379260 h 379260"/>
              <a:gd name="connsiteX3" fmla="*/ 12472 w 427253"/>
              <a:gd name="connsiteY3" fmla="*/ 0 h 379260"/>
              <a:gd name="connsiteX0" fmla="*/ 0 w 427253"/>
              <a:gd name="connsiteY0" fmla="*/ 6788 h 379260"/>
              <a:gd name="connsiteX1" fmla="*/ 427253 w 427253"/>
              <a:gd name="connsiteY1" fmla="*/ 322746 h 379260"/>
            </a:gdLst>
            <a:ahLst/>
            <a:cxnLst>
              <a:cxn ang="0">
                <a:pos x="connsiteX0" y="connsiteY0"/>
              </a:cxn>
              <a:cxn ang="0">
                <a:pos x="connsiteX1" y="connsiteY1"/>
              </a:cxn>
            </a:cxnLst>
            <a:rect l="l" t="t" r="r" b="b"/>
            <a:pathLst>
              <a:path w="427253" h="379260" stroke="0" extrusionOk="0">
                <a:moveTo>
                  <a:pt x="12472" y="0"/>
                </a:moveTo>
                <a:cubicBezTo>
                  <a:pt x="221932" y="0"/>
                  <a:pt x="391732" y="169800"/>
                  <a:pt x="391732" y="379260"/>
                </a:cubicBezTo>
                <a:lnTo>
                  <a:pt x="12473" y="379260"/>
                </a:lnTo>
                <a:cubicBezTo>
                  <a:pt x="12473" y="252840"/>
                  <a:pt x="12472" y="126420"/>
                  <a:pt x="12472" y="0"/>
                </a:cubicBezTo>
                <a:close/>
              </a:path>
              <a:path w="427253" h="379260" fill="none">
                <a:moveTo>
                  <a:pt x="0" y="6788"/>
                </a:moveTo>
                <a:cubicBezTo>
                  <a:pt x="129896" y="20995"/>
                  <a:pt x="358662" y="150620"/>
                  <a:pt x="427253" y="322746"/>
                </a:cubicBezTo>
              </a:path>
            </a:pathLst>
          </a:custGeom>
          <a:ln w="15875">
            <a:solidFill>
              <a:schemeClr val="accent5">
                <a:alpha val="45000"/>
              </a:schemeClr>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609570" fontAlgn="base">
              <a:spcBef>
                <a:spcPct val="0"/>
              </a:spcBef>
              <a:spcAft>
                <a:spcPct val="0"/>
              </a:spcAft>
              <a:defRPr/>
            </a:pPr>
            <a:endParaRPr lang="en-US" sz="2400">
              <a:solidFill>
                <a:srgbClr val="282828"/>
              </a:solidFill>
              <a:latin typeface="CiscoSansTT ExtraLight"/>
              <a:sym typeface="Arial"/>
            </a:endParaRPr>
          </a:p>
        </p:txBody>
      </p:sp>
      <p:sp>
        <p:nvSpPr>
          <p:cNvPr id="375" name="Arc 128">
            <a:extLst>
              <a:ext uri="{FF2B5EF4-FFF2-40B4-BE49-F238E27FC236}">
                <a16:creationId xmlns:a16="http://schemas.microsoft.com/office/drawing/2014/main" id="{CDB3D910-9711-9D40-B1C4-341FF9E5F325}"/>
              </a:ext>
            </a:extLst>
          </p:cNvPr>
          <p:cNvSpPr/>
          <p:nvPr/>
        </p:nvSpPr>
        <p:spPr>
          <a:xfrm rot="7825057">
            <a:off x="3685057" y="1340832"/>
            <a:ext cx="923529" cy="5492056"/>
          </a:xfrm>
          <a:custGeom>
            <a:avLst/>
            <a:gdLst>
              <a:gd name="connsiteX0" fmla="*/ 379259 w 758519"/>
              <a:gd name="connsiteY0" fmla="*/ 0 h 758519"/>
              <a:gd name="connsiteX1" fmla="*/ 758519 w 758519"/>
              <a:gd name="connsiteY1" fmla="*/ 379260 h 758519"/>
              <a:gd name="connsiteX2" fmla="*/ 379260 w 758519"/>
              <a:gd name="connsiteY2" fmla="*/ 379260 h 758519"/>
              <a:gd name="connsiteX3" fmla="*/ 379259 w 758519"/>
              <a:gd name="connsiteY3" fmla="*/ 0 h 758519"/>
              <a:gd name="connsiteX0" fmla="*/ 379259 w 758519"/>
              <a:gd name="connsiteY0" fmla="*/ 0 h 758519"/>
              <a:gd name="connsiteX1" fmla="*/ 758519 w 758519"/>
              <a:gd name="connsiteY1" fmla="*/ 379260 h 758519"/>
              <a:gd name="connsiteX0" fmla="*/ 0 w 414781"/>
              <a:gd name="connsiteY0" fmla="*/ 0 h 379260"/>
              <a:gd name="connsiteX1" fmla="*/ 379260 w 414781"/>
              <a:gd name="connsiteY1" fmla="*/ 379260 h 379260"/>
              <a:gd name="connsiteX2" fmla="*/ 1 w 414781"/>
              <a:gd name="connsiteY2" fmla="*/ 379260 h 379260"/>
              <a:gd name="connsiteX3" fmla="*/ 0 w 414781"/>
              <a:gd name="connsiteY3" fmla="*/ 0 h 379260"/>
              <a:gd name="connsiteX0" fmla="*/ 0 w 414781"/>
              <a:gd name="connsiteY0" fmla="*/ 0 h 379260"/>
              <a:gd name="connsiteX1" fmla="*/ 414781 w 414781"/>
              <a:gd name="connsiteY1" fmla="*/ 322746 h 379260"/>
              <a:gd name="connsiteX0" fmla="*/ 0 w 414781"/>
              <a:gd name="connsiteY0" fmla="*/ 0 h 379260"/>
              <a:gd name="connsiteX1" fmla="*/ 379260 w 414781"/>
              <a:gd name="connsiteY1" fmla="*/ 379260 h 379260"/>
              <a:gd name="connsiteX2" fmla="*/ 1 w 414781"/>
              <a:gd name="connsiteY2" fmla="*/ 379260 h 379260"/>
              <a:gd name="connsiteX3" fmla="*/ 0 w 414781"/>
              <a:gd name="connsiteY3" fmla="*/ 0 h 379260"/>
              <a:gd name="connsiteX0" fmla="*/ 0 w 414781"/>
              <a:gd name="connsiteY0" fmla="*/ 0 h 379260"/>
              <a:gd name="connsiteX1" fmla="*/ 414781 w 414781"/>
              <a:gd name="connsiteY1" fmla="*/ 322746 h 379260"/>
              <a:gd name="connsiteX0" fmla="*/ 12472 w 427253"/>
              <a:gd name="connsiteY0" fmla="*/ 0 h 379260"/>
              <a:gd name="connsiteX1" fmla="*/ 391732 w 427253"/>
              <a:gd name="connsiteY1" fmla="*/ 379260 h 379260"/>
              <a:gd name="connsiteX2" fmla="*/ 12473 w 427253"/>
              <a:gd name="connsiteY2" fmla="*/ 379260 h 379260"/>
              <a:gd name="connsiteX3" fmla="*/ 12472 w 427253"/>
              <a:gd name="connsiteY3" fmla="*/ 0 h 379260"/>
              <a:gd name="connsiteX0" fmla="*/ 0 w 427253"/>
              <a:gd name="connsiteY0" fmla="*/ 6788 h 379260"/>
              <a:gd name="connsiteX1" fmla="*/ 427253 w 427253"/>
              <a:gd name="connsiteY1" fmla="*/ 322746 h 379260"/>
              <a:gd name="connsiteX0" fmla="*/ 12472 w 427253"/>
              <a:gd name="connsiteY0" fmla="*/ 0 h 379260"/>
              <a:gd name="connsiteX1" fmla="*/ 391732 w 427253"/>
              <a:gd name="connsiteY1" fmla="*/ 379260 h 379260"/>
              <a:gd name="connsiteX2" fmla="*/ 12473 w 427253"/>
              <a:gd name="connsiteY2" fmla="*/ 379260 h 379260"/>
              <a:gd name="connsiteX3" fmla="*/ 12472 w 427253"/>
              <a:gd name="connsiteY3" fmla="*/ 0 h 379260"/>
              <a:gd name="connsiteX0" fmla="*/ 0 w 427253"/>
              <a:gd name="connsiteY0" fmla="*/ 6788 h 379260"/>
              <a:gd name="connsiteX1" fmla="*/ 427253 w 427253"/>
              <a:gd name="connsiteY1" fmla="*/ 322746 h 379260"/>
            </a:gdLst>
            <a:ahLst/>
            <a:cxnLst>
              <a:cxn ang="0">
                <a:pos x="connsiteX0" y="connsiteY0"/>
              </a:cxn>
              <a:cxn ang="0">
                <a:pos x="connsiteX1" y="connsiteY1"/>
              </a:cxn>
            </a:cxnLst>
            <a:rect l="l" t="t" r="r" b="b"/>
            <a:pathLst>
              <a:path w="427253" h="379260" stroke="0" extrusionOk="0">
                <a:moveTo>
                  <a:pt x="12472" y="0"/>
                </a:moveTo>
                <a:cubicBezTo>
                  <a:pt x="221932" y="0"/>
                  <a:pt x="391732" y="169800"/>
                  <a:pt x="391732" y="379260"/>
                </a:cubicBezTo>
                <a:lnTo>
                  <a:pt x="12473" y="379260"/>
                </a:lnTo>
                <a:cubicBezTo>
                  <a:pt x="12473" y="252840"/>
                  <a:pt x="12472" y="126420"/>
                  <a:pt x="12472" y="0"/>
                </a:cubicBezTo>
                <a:close/>
              </a:path>
              <a:path w="427253" h="379260" fill="none">
                <a:moveTo>
                  <a:pt x="0" y="6788"/>
                </a:moveTo>
                <a:cubicBezTo>
                  <a:pt x="129896" y="20995"/>
                  <a:pt x="358662" y="150620"/>
                  <a:pt x="427253" y="322746"/>
                </a:cubicBezTo>
              </a:path>
            </a:pathLst>
          </a:custGeom>
          <a:noFill/>
          <a:ln w="15875">
            <a:solidFill>
              <a:schemeClr val="accent1">
                <a:alpha val="40000"/>
              </a:schemeClr>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609570" fontAlgn="base">
              <a:spcBef>
                <a:spcPct val="0"/>
              </a:spcBef>
              <a:spcAft>
                <a:spcPct val="0"/>
              </a:spcAft>
              <a:defRPr/>
            </a:pPr>
            <a:endParaRPr lang="en-US" sz="2400">
              <a:solidFill>
                <a:srgbClr val="282828"/>
              </a:solidFill>
              <a:latin typeface="CiscoSansTT ExtraLight"/>
              <a:sym typeface="Arial"/>
            </a:endParaRPr>
          </a:p>
        </p:txBody>
      </p:sp>
      <p:sp>
        <p:nvSpPr>
          <p:cNvPr id="376" name="Arc 128">
            <a:extLst>
              <a:ext uri="{FF2B5EF4-FFF2-40B4-BE49-F238E27FC236}">
                <a16:creationId xmlns:a16="http://schemas.microsoft.com/office/drawing/2014/main" id="{91A14C52-13BC-C84D-84D9-7B5FAE9A4B74}"/>
              </a:ext>
            </a:extLst>
          </p:cNvPr>
          <p:cNvSpPr/>
          <p:nvPr/>
        </p:nvSpPr>
        <p:spPr>
          <a:xfrm rot="18292575" flipH="1">
            <a:off x="5365373" y="2605183"/>
            <a:ext cx="492071" cy="3600731"/>
          </a:xfrm>
          <a:custGeom>
            <a:avLst/>
            <a:gdLst>
              <a:gd name="connsiteX0" fmla="*/ 379259 w 758519"/>
              <a:gd name="connsiteY0" fmla="*/ 0 h 758519"/>
              <a:gd name="connsiteX1" fmla="*/ 758519 w 758519"/>
              <a:gd name="connsiteY1" fmla="*/ 379260 h 758519"/>
              <a:gd name="connsiteX2" fmla="*/ 379260 w 758519"/>
              <a:gd name="connsiteY2" fmla="*/ 379260 h 758519"/>
              <a:gd name="connsiteX3" fmla="*/ 379259 w 758519"/>
              <a:gd name="connsiteY3" fmla="*/ 0 h 758519"/>
              <a:gd name="connsiteX0" fmla="*/ 379259 w 758519"/>
              <a:gd name="connsiteY0" fmla="*/ 0 h 758519"/>
              <a:gd name="connsiteX1" fmla="*/ 758519 w 758519"/>
              <a:gd name="connsiteY1" fmla="*/ 379260 h 758519"/>
              <a:gd name="connsiteX0" fmla="*/ 0 w 414781"/>
              <a:gd name="connsiteY0" fmla="*/ 0 h 379260"/>
              <a:gd name="connsiteX1" fmla="*/ 379260 w 414781"/>
              <a:gd name="connsiteY1" fmla="*/ 379260 h 379260"/>
              <a:gd name="connsiteX2" fmla="*/ 1 w 414781"/>
              <a:gd name="connsiteY2" fmla="*/ 379260 h 379260"/>
              <a:gd name="connsiteX3" fmla="*/ 0 w 414781"/>
              <a:gd name="connsiteY3" fmla="*/ 0 h 379260"/>
              <a:gd name="connsiteX0" fmla="*/ 0 w 414781"/>
              <a:gd name="connsiteY0" fmla="*/ 0 h 379260"/>
              <a:gd name="connsiteX1" fmla="*/ 414781 w 414781"/>
              <a:gd name="connsiteY1" fmla="*/ 322746 h 379260"/>
              <a:gd name="connsiteX0" fmla="*/ 0 w 414781"/>
              <a:gd name="connsiteY0" fmla="*/ 0 h 379260"/>
              <a:gd name="connsiteX1" fmla="*/ 379260 w 414781"/>
              <a:gd name="connsiteY1" fmla="*/ 379260 h 379260"/>
              <a:gd name="connsiteX2" fmla="*/ 1 w 414781"/>
              <a:gd name="connsiteY2" fmla="*/ 379260 h 379260"/>
              <a:gd name="connsiteX3" fmla="*/ 0 w 414781"/>
              <a:gd name="connsiteY3" fmla="*/ 0 h 379260"/>
              <a:gd name="connsiteX0" fmla="*/ 0 w 414781"/>
              <a:gd name="connsiteY0" fmla="*/ 0 h 379260"/>
              <a:gd name="connsiteX1" fmla="*/ 414781 w 414781"/>
              <a:gd name="connsiteY1" fmla="*/ 322746 h 379260"/>
              <a:gd name="connsiteX0" fmla="*/ 12472 w 427253"/>
              <a:gd name="connsiteY0" fmla="*/ 0 h 379260"/>
              <a:gd name="connsiteX1" fmla="*/ 391732 w 427253"/>
              <a:gd name="connsiteY1" fmla="*/ 379260 h 379260"/>
              <a:gd name="connsiteX2" fmla="*/ 12473 w 427253"/>
              <a:gd name="connsiteY2" fmla="*/ 379260 h 379260"/>
              <a:gd name="connsiteX3" fmla="*/ 12472 w 427253"/>
              <a:gd name="connsiteY3" fmla="*/ 0 h 379260"/>
              <a:gd name="connsiteX0" fmla="*/ 0 w 427253"/>
              <a:gd name="connsiteY0" fmla="*/ 6788 h 379260"/>
              <a:gd name="connsiteX1" fmla="*/ 427253 w 427253"/>
              <a:gd name="connsiteY1" fmla="*/ 322746 h 379260"/>
              <a:gd name="connsiteX0" fmla="*/ 12472 w 427253"/>
              <a:gd name="connsiteY0" fmla="*/ 0 h 379260"/>
              <a:gd name="connsiteX1" fmla="*/ 391732 w 427253"/>
              <a:gd name="connsiteY1" fmla="*/ 379260 h 379260"/>
              <a:gd name="connsiteX2" fmla="*/ 12473 w 427253"/>
              <a:gd name="connsiteY2" fmla="*/ 379260 h 379260"/>
              <a:gd name="connsiteX3" fmla="*/ 12472 w 427253"/>
              <a:gd name="connsiteY3" fmla="*/ 0 h 379260"/>
              <a:gd name="connsiteX0" fmla="*/ 0 w 427253"/>
              <a:gd name="connsiteY0" fmla="*/ 6788 h 379260"/>
              <a:gd name="connsiteX1" fmla="*/ 427253 w 427253"/>
              <a:gd name="connsiteY1" fmla="*/ 322746 h 379260"/>
            </a:gdLst>
            <a:ahLst/>
            <a:cxnLst>
              <a:cxn ang="0">
                <a:pos x="connsiteX0" y="connsiteY0"/>
              </a:cxn>
              <a:cxn ang="0">
                <a:pos x="connsiteX1" y="connsiteY1"/>
              </a:cxn>
            </a:cxnLst>
            <a:rect l="l" t="t" r="r" b="b"/>
            <a:pathLst>
              <a:path w="427253" h="379260" stroke="0" extrusionOk="0">
                <a:moveTo>
                  <a:pt x="12472" y="0"/>
                </a:moveTo>
                <a:cubicBezTo>
                  <a:pt x="221932" y="0"/>
                  <a:pt x="391732" y="169800"/>
                  <a:pt x="391732" y="379260"/>
                </a:cubicBezTo>
                <a:lnTo>
                  <a:pt x="12473" y="379260"/>
                </a:lnTo>
                <a:cubicBezTo>
                  <a:pt x="12473" y="252840"/>
                  <a:pt x="12472" y="126420"/>
                  <a:pt x="12472" y="0"/>
                </a:cubicBezTo>
                <a:close/>
              </a:path>
              <a:path w="427253" h="379260" fill="none">
                <a:moveTo>
                  <a:pt x="0" y="6788"/>
                </a:moveTo>
                <a:cubicBezTo>
                  <a:pt x="129896" y="20995"/>
                  <a:pt x="358662" y="150620"/>
                  <a:pt x="427253" y="322746"/>
                </a:cubicBezTo>
              </a:path>
            </a:pathLst>
          </a:custGeom>
          <a:noFill/>
          <a:ln w="15875">
            <a:solidFill>
              <a:schemeClr val="accent5">
                <a:alpha val="40000"/>
              </a:schemeClr>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609570" fontAlgn="base">
              <a:spcBef>
                <a:spcPct val="0"/>
              </a:spcBef>
              <a:spcAft>
                <a:spcPct val="0"/>
              </a:spcAft>
              <a:defRPr/>
            </a:pPr>
            <a:endParaRPr lang="en-US" sz="2400">
              <a:solidFill>
                <a:srgbClr val="282828"/>
              </a:solidFill>
              <a:latin typeface="CiscoSansTT ExtraLight"/>
              <a:sym typeface="Arial"/>
            </a:endParaRPr>
          </a:p>
        </p:txBody>
      </p:sp>
      <p:sp>
        <p:nvSpPr>
          <p:cNvPr id="331" name="Arc 128">
            <a:extLst>
              <a:ext uri="{FF2B5EF4-FFF2-40B4-BE49-F238E27FC236}">
                <a16:creationId xmlns:a16="http://schemas.microsoft.com/office/drawing/2014/main" id="{9E7B1ABF-EDC2-AE49-8300-BDF5F0FC55EE}"/>
              </a:ext>
            </a:extLst>
          </p:cNvPr>
          <p:cNvSpPr/>
          <p:nvPr/>
        </p:nvSpPr>
        <p:spPr>
          <a:xfrm rot="19704822">
            <a:off x="7166894" y="1269910"/>
            <a:ext cx="2580772" cy="1990652"/>
          </a:xfrm>
          <a:custGeom>
            <a:avLst/>
            <a:gdLst>
              <a:gd name="connsiteX0" fmla="*/ 379259 w 758519"/>
              <a:gd name="connsiteY0" fmla="*/ 0 h 758519"/>
              <a:gd name="connsiteX1" fmla="*/ 758519 w 758519"/>
              <a:gd name="connsiteY1" fmla="*/ 379260 h 758519"/>
              <a:gd name="connsiteX2" fmla="*/ 379260 w 758519"/>
              <a:gd name="connsiteY2" fmla="*/ 379260 h 758519"/>
              <a:gd name="connsiteX3" fmla="*/ 379259 w 758519"/>
              <a:gd name="connsiteY3" fmla="*/ 0 h 758519"/>
              <a:gd name="connsiteX0" fmla="*/ 379259 w 758519"/>
              <a:gd name="connsiteY0" fmla="*/ 0 h 758519"/>
              <a:gd name="connsiteX1" fmla="*/ 758519 w 758519"/>
              <a:gd name="connsiteY1" fmla="*/ 379260 h 758519"/>
              <a:gd name="connsiteX0" fmla="*/ 0 w 414781"/>
              <a:gd name="connsiteY0" fmla="*/ 0 h 379260"/>
              <a:gd name="connsiteX1" fmla="*/ 379260 w 414781"/>
              <a:gd name="connsiteY1" fmla="*/ 379260 h 379260"/>
              <a:gd name="connsiteX2" fmla="*/ 1 w 414781"/>
              <a:gd name="connsiteY2" fmla="*/ 379260 h 379260"/>
              <a:gd name="connsiteX3" fmla="*/ 0 w 414781"/>
              <a:gd name="connsiteY3" fmla="*/ 0 h 379260"/>
              <a:gd name="connsiteX0" fmla="*/ 0 w 414781"/>
              <a:gd name="connsiteY0" fmla="*/ 0 h 379260"/>
              <a:gd name="connsiteX1" fmla="*/ 414781 w 414781"/>
              <a:gd name="connsiteY1" fmla="*/ 322746 h 379260"/>
              <a:gd name="connsiteX0" fmla="*/ 0 w 414781"/>
              <a:gd name="connsiteY0" fmla="*/ 0 h 379260"/>
              <a:gd name="connsiteX1" fmla="*/ 379260 w 414781"/>
              <a:gd name="connsiteY1" fmla="*/ 379260 h 379260"/>
              <a:gd name="connsiteX2" fmla="*/ 1 w 414781"/>
              <a:gd name="connsiteY2" fmla="*/ 379260 h 379260"/>
              <a:gd name="connsiteX3" fmla="*/ 0 w 414781"/>
              <a:gd name="connsiteY3" fmla="*/ 0 h 379260"/>
              <a:gd name="connsiteX0" fmla="*/ 0 w 414781"/>
              <a:gd name="connsiteY0" fmla="*/ 0 h 379260"/>
              <a:gd name="connsiteX1" fmla="*/ 414781 w 414781"/>
              <a:gd name="connsiteY1" fmla="*/ 322746 h 379260"/>
              <a:gd name="connsiteX0" fmla="*/ 12472 w 427253"/>
              <a:gd name="connsiteY0" fmla="*/ 0 h 379260"/>
              <a:gd name="connsiteX1" fmla="*/ 391732 w 427253"/>
              <a:gd name="connsiteY1" fmla="*/ 379260 h 379260"/>
              <a:gd name="connsiteX2" fmla="*/ 12473 w 427253"/>
              <a:gd name="connsiteY2" fmla="*/ 379260 h 379260"/>
              <a:gd name="connsiteX3" fmla="*/ 12472 w 427253"/>
              <a:gd name="connsiteY3" fmla="*/ 0 h 379260"/>
              <a:gd name="connsiteX0" fmla="*/ 0 w 427253"/>
              <a:gd name="connsiteY0" fmla="*/ 6788 h 379260"/>
              <a:gd name="connsiteX1" fmla="*/ 427253 w 427253"/>
              <a:gd name="connsiteY1" fmla="*/ 322746 h 379260"/>
              <a:gd name="connsiteX0" fmla="*/ 12472 w 427253"/>
              <a:gd name="connsiteY0" fmla="*/ 0 h 379260"/>
              <a:gd name="connsiteX1" fmla="*/ 391732 w 427253"/>
              <a:gd name="connsiteY1" fmla="*/ 379260 h 379260"/>
              <a:gd name="connsiteX2" fmla="*/ 12473 w 427253"/>
              <a:gd name="connsiteY2" fmla="*/ 379260 h 379260"/>
              <a:gd name="connsiteX3" fmla="*/ 12472 w 427253"/>
              <a:gd name="connsiteY3" fmla="*/ 0 h 379260"/>
              <a:gd name="connsiteX0" fmla="*/ 0 w 427253"/>
              <a:gd name="connsiteY0" fmla="*/ 6788 h 379260"/>
              <a:gd name="connsiteX1" fmla="*/ 427253 w 427253"/>
              <a:gd name="connsiteY1" fmla="*/ 322746 h 379260"/>
            </a:gdLst>
            <a:ahLst/>
            <a:cxnLst>
              <a:cxn ang="0">
                <a:pos x="connsiteX0" y="connsiteY0"/>
              </a:cxn>
              <a:cxn ang="0">
                <a:pos x="connsiteX1" y="connsiteY1"/>
              </a:cxn>
            </a:cxnLst>
            <a:rect l="l" t="t" r="r" b="b"/>
            <a:pathLst>
              <a:path w="427253" h="379260" stroke="0" extrusionOk="0">
                <a:moveTo>
                  <a:pt x="12472" y="0"/>
                </a:moveTo>
                <a:cubicBezTo>
                  <a:pt x="221932" y="0"/>
                  <a:pt x="391732" y="169800"/>
                  <a:pt x="391732" y="379260"/>
                </a:cubicBezTo>
                <a:lnTo>
                  <a:pt x="12473" y="379260"/>
                </a:lnTo>
                <a:cubicBezTo>
                  <a:pt x="12473" y="252840"/>
                  <a:pt x="12472" y="126420"/>
                  <a:pt x="12472" y="0"/>
                </a:cubicBezTo>
                <a:close/>
              </a:path>
              <a:path w="427253" h="379260" fill="none">
                <a:moveTo>
                  <a:pt x="0" y="6788"/>
                </a:moveTo>
                <a:cubicBezTo>
                  <a:pt x="129896" y="20995"/>
                  <a:pt x="358662" y="150620"/>
                  <a:pt x="427253" y="322746"/>
                </a:cubicBezTo>
              </a:path>
            </a:pathLst>
          </a:custGeom>
          <a:ln w="15875">
            <a:solidFill>
              <a:schemeClr val="accent6">
                <a:alpha val="45000"/>
              </a:schemeClr>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609570" fontAlgn="base">
              <a:spcBef>
                <a:spcPct val="0"/>
              </a:spcBef>
              <a:spcAft>
                <a:spcPct val="0"/>
              </a:spcAft>
              <a:defRPr/>
            </a:pPr>
            <a:endParaRPr lang="en-US" sz="2400">
              <a:solidFill>
                <a:srgbClr val="282828"/>
              </a:solidFill>
              <a:latin typeface="CiscoSansTT ExtraLight"/>
              <a:sym typeface="Arial"/>
            </a:endParaRPr>
          </a:p>
        </p:txBody>
      </p:sp>
      <p:grpSp>
        <p:nvGrpSpPr>
          <p:cNvPr id="2" name="Group 1">
            <a:extLst>
              <a:ext uri="{FF2B5EF4-FFF2-40B4-BE49-F238E27FC236}">
                <a16:creationId xmlns:a16="http://schemas.microsoft.com/office/drawing/2014/main" id="{24DCEBBD-B279-49D3-BFD1-F50DDBB41D91}"/>
              </a:ext>
            </a:extLst>
          </p:cNvPr>
          <p:cNvGrpSpPr/>
          <p:nvPr/>
        </p:nvGrpSpPr>
        <p:grpSpPr>
          <a:xfrm>
            <a:off x="1112779" y="2726092"/>
            <a:ext cx="9966447" cy="469155"/>
            <a:chOff x="834584" y="1834369"/>
            <a:chExt cx="7474835" cy="351866"/>
          </a:xfrm>
        </p:grpSpPr>
        <p:sp>
          <p:nvSpPr>
            <p:cNvPr id="306" name="TextBox 305">
              <a:extLst>
                <a:ext uri="{FF2B5EF4-FFF2-40B4-BE49-F238E27FC236}">
                  <a16:creationId xmlns:a16="http://schemas.microsoft.com/office/drawing/2014/main" id="{ECEF713C-2592-4B13-89DA-149EDF9C38F7}"/>
                </a:ext>
              </a:extLst>
            </p:cNvPr>
            <p:cNvSpPr txBox="1"/>
            <p:nvPr/>
          </p:nvSpPr>
          <p:spPr>
            <a:xfrm>
              <a:off x="2276087" y="1834369"/>
              <a:ext cx="1523904" cy="351866"/>
            </a:xfrm>
            <a:prstGeom prst="rect">
              <a:avLst/>
            </a:prstGeom>
            <a:noFill/>
          </p:spPr>
          <p:txBody>
            <a:bodyPr wrap="square" lIns="0" tIns="0" rIns="0" bIns="0" rtlCol="0">
              <a:noAutofit/>
            </a:bodyPr>
            <a:lstStyle/>
            <a:p>
              <a:pPr algn="ctr" defTabSz="914354" fontAlgn="base">
                <a:spcBef>
                  <a:spcPct val="0"/>
                </a:spcBef>
                <a:spcAft>
                  <a:spcPct val="0"/>
                </a:spcAft>
                <a:defRPr/>
              </a:pPr>
              <a:r>
                <a:rPr lang="en-US" sz="1333" b="1" kern="0">
                  <a:solidFill>
                    <a:srgbClr val="0498D1">
                      <a:lumMod val="75000"/>
                    </a:srgbClr>
                  </a:solidFill>
                  <a:latin typeface="CiscoSansTT ExtraLight"/>
                  <a:ea typeface="ＭＳ Ｐゴシック" charset="0"/>
                  <a:cs typeface="Calibri"/>
                  <a:sym typeface="Arial"/>
                </a:rPr>
                <a:t>AMP</a:t>
              </a:r>
            </a:p>
            <a:p>
              <a:pPr algn="ctr" defTabSz="914354" fontAlgn="base">
                <a:spcBef>
                  <a:spcPct val="0"/>
                </a:spcBef>
                <a:spcAft>
                  <a:spcPct val="0"/>
                </a:spcAft>
                <a:defRPr/>
              </a:pPr>
              <a:r>
                <a:rPr lang="en-US" sz="1333" kern="0">
                  <a:solidFill>
                    <a:srgbClr val="0498D1">
                      <a:lumMod val="75000"/>
                    </a:srgbClr>
                  </a:solidFill>
                  <a:latin typeface="CiscoSansTT ExtraLight"/>
                  <a:ea typeface="ＭＳ Ｐゴシック" charset="0"/>
                  <a:cs typeface="Calibri"/>
                  <a:sym typeface="Arial"/>
                </a:rPr>
                <a:t>Endpoint Protection</a:t>
              </a:r>
            </a:p>
          </p:txBody>
        </p:sp>
        <p:sp>
          <p:nvSpPr>
            <p:cNvPr id="308" name="TextBox 307">
              <a:extLst>
                <a:ext uri="{FF2B5EF4-FFF2-40B4-BE49-F238E27FC236}">
                  <a16:creationId xmlns:a16="http://schemas.microsoft.com/office/drawing/2014/main" id="{22D5B3B4-02A4-438A-9045-BB5C10B9172E}"/>
                </a:ext>
              </a:extLst>
            </p:cNvPr>
            <p:cNvSpPr txBox="1"/>
            <p:nvPr/>
          </p:nvSpPr>
          <p:spPr>
            <a:xfrm>
              <a:off x="5436470" y="1834369"/>
              <a:ext cx="1338987" cy="351866"/>
            </a:xfrm>
            <a:prstGeom prst="rect">
              <a:avLst/>
            </a:prstGeom>
            <a:noFill/>
          </p:spPr>
          <p:txBody>
            <a:bodyPr wrap="square" lIns="0" tIns="0" rIns="0" bIns="0" rtlCol="0">
              <a:noAutofit/>
            </a:bodyPr>
            <a:lstStyle/>
            <a:p>
              <a:pPr algn="ctr" defTabSz="914354" fontAlgn="base">
                <a:spcBef>
                  <a:spcPct val="0"/>
                </a:spcBef>
                <a:spcAft>
                  <a:spcPct val="0"/>
                </a:spcAft>
                <a:defRPr/>
              </a:pPr>
              <a:r>
                <a:rPr lang="en-US" sz="1333" b="1" kern="0">
                  <a:solidFill>
                    <a:srgbClr val="0498D1">
                      <a:lumMod val="75000"/>
                    </a:srgbClr>
                  </a:solidFill>
                  <a:latin typeface="CiscoSansTT ExtraLight"/>
                  <a:ea typeface="ＭＳ Ｐゴシック" charset="0"/>
                  <a:cs typeface="Calibri"/>
                  <a:sym typeface="Arial"/>
                </a:rPr>
                <a:t>STEALTHWATCH</a:t>
              </a:r>
            </a:p>
            <a:p>
              <a:pPr algn="ctr" defTabSz="914354" fontAlgn="base">
                <a:spcBef>
                  <a:spcPct val="0"/>
                </a:spcBef>
                <a:spcAft>
                  <a:spcPct val="0"/>
                </a:spcAft>
                <a:defRPr/>
              </a:pPr>
              <a:r>
                <a:rPr lang="en-US" sz="1333" b="1" kern="0">
                  <a:solidFill>
                    <a:srgbClr val="0498D1">
                      <a:lumMod val="75000"/>
                    </a:srgbClr>
                  </a:solidFill>
                  <a:latin typeface="CiscoSansTT ExtraLight"/>
                  <a:ea typeface="ＭＳ Ｐゴシック" charset="0"/>
                  <a:cs typeface="Calibri"/>
                  <a:sym typeface="Arial"/>
                </a:rPr>
                <a:t>CLOUD</a:t>
              </a:r>
            </a:p>
          </p:txBody>
        </p:sp>
        <p:sp>
          <p:nvSpPr>
            <p:cNvPr id="309" name="TextBox 308">
              <a:extLst>
                <a:ext uri="{FF2B5EF4-FFF2-40B4-BE49-F238E27FC236}">
                  <a16:creationId xmlns:a16="http://schemas.microsoft.com/office/drawing/2014/main" id="{CF277800-8396-4B69-94C4-F62482D72549}"/>
                </a:ext>
              </a:extLst>
            </p:cNvPr>
            <p:cNvSpPr txBox="1"/>
            <p:nvPr/>
          </p:nvSpPr>
          <p:spPr>
            <a:xfrm>
              <a:off x="834584" y="1834369"/>
              <a:ext cx="1338987" cy="351866"/>
            </a:xfrm>
            <a:prstGeom prst="rect">
              <a:avLst/>
            </a:prstGeom>
            <a:noFill/>
          </p:spPr>
          <p:txBody>
            <a:bodyPr wrap="square" lIns="0" tIns="0" rIns="0" bIns="0" rtlCol="0">
              <a:noAutofit/>
            </a:bodyPr>
            <a:lstStyle/>
            <a:p>
              <a:pPr algn="ctr" defTabSz="914354" fontAlgn="base">
                <a:spcBef>
                  <a:spcPct val="0"/>
                </a:spcBef>
                <a:spcAft>
                  <a:spcPct val="0"/>
                </a:spcAft>
                <a:defRPr/>
              </a:pPr>
              <a:r>
                <a:rPr lang="en-US" sz="1333" b="1" kern="0">
                  <a:solidFill>
                    <a:srgbClr val="0498D1">
                      <a:lumMod val="75000"/>
                    </a:srgbClr>
                  </a:solidFill>
                  <a:latin typeface="CiscoSansTT ExtraLight"/>
                  <a:ea typeface="ＭＳ Ｐゴシック" charset="0"/>
                  <a:cs typeface="Calibri"/>
                  <a:sym typeface="Arial"/>
                </a:rPr>
                <a:t>UMBRELLA</a:t>
              </a:r>
            </a:p>
            <a:p>
              <a:pPr algn="ctr" defTabSz="914354" fontAlgn="base">
                <a:spcBef>
                  <a:spcPct val="0"/>
                </a:spcBef>
                <a:spcAft>
                  <a:spcPct val="0"/>
                </a:spcAft>
                <a:defRPr/>
              </a:pPr>
              <a:r>
                <a:rPr lang="en-US" sz="1333" kern="0">
                  <a:solidFill>
                    <a:srgbClr val="0498D1">
                      <a:lumMod val="75000"/>
                    </a:srgbClr>
                  </a:solidFill>
                  <a:latin typeface="CiscoSansTT ExtraLight"/>
                  <a:ea typeface="ＭＳ Ｐゴシック" charset="0"/>
                  <a:cs typeface="Calibri"/>
                  <a:sym typeface="Arial"/>
                </a:rPr>
                <a:t>DNS</a:t>
              </a:r>
            </a:p>
          </p:txBody>
        </p:sp>
        <p:sp>
          <p:nvSpPr>
            <p:cNvPr id="310" name="TextBox 309">
              <a:extLst>
                <a:ext uri="{FF2B5EF4-FFF2-40B4-BE49-F238E27FC236}">
                  <a16:creationId xmlns:a16="http://schemas.microsoft.com/office/drawing/2014/main" id="{76FE1D42-796D-4030-8592-A7645DF5D316}"/>
                </a:ext>
              </a:extLst>
            </p:cNvPr>
            <p:cNvSpPr txBox="1"/>
            <p:nvPr/>
          </p:nvSpPr>
          <p:spPr>
            <a:xfrm>
              <a:off x="6970432" y="1834369"/>
              <a:ext cx="1338987" cy="351866"/>
            </a:xfrm>
            <a:prstGeom prst="rect">
              <a:avLst/>
            </a:prstGeom>
            <a:noFill/>
          </p:spPr>
          <p:txBody>
            <a:bodyPr wrap="square" lIns="0" tIns="0" rIns="0" bIns="0" rtlCol="0">
              <a:noAutofit/>
            </a:bodyPr>
            <a:lstStyle/>
            <a:p>
              <a:pPr algn="ctr" defTabSz="914354" fontAlgn="base">
                <a:spcBef>
                  <a:spcPct val="0"/>
                </a:spcBef>
                <a:spcAft>
                  <a:spcPct val="0"/>
                </a:spcAft>
                <a:defRPr/>
              </a:pPr>
              <a:r>
                <a:rPr lang="en-US" sz="1333" b="1" kern="0">
                  <a:solidFill>
                    <a:srgbClr val="0498D1">
                      <a:lumMod val="75000"/>
                    </a:srgbClr>
                  </a:solidFill>
                  <a:latin typeface="CiscoSansTT ExtraLight"/>
                  <a:ea typeface="ＭＳ Ｐゴシック" charset="0"/>
                  <a:cs typeface="Calibri"/>
                  <a:sym typeface="Arial"/>
                </a:rPr>
                <a:t>THREAT GRID</a:t>
              </a:r>
            </a:p>
            <a:p>
              <a:pPr algn="ctr" defTabSz="914354" fontAlgn="base">
                <a:spcBef>
                  <a:spcPct val="0"/>
                </a:spcBef>
                <a:spcAft>
                  <a:spcPct val="0"/>
                </a:spcAft>
                <a:defRPr/>
              </a:pPr>
              <a:r>
                <a:rPr lang="en-US" sz="1333" b="1" kern="0">
                  <a:solidFill>
                    <a:srgbClr val="0498D1">
                      <a:lumMod val="75000"/>
                    </a:srgbClr>
                  </a:solidFill>
                  <a:latin typeface="CiscoSansTT ExtraLight"/>
                  <a:ea typeface="ＭＳ Ｐゴシック" charset="0"/>
                  <a:cs typeface="Calibri"/>
                  <a:sym typeface="Arial"/>
                </a:rPr>
                <a:t> </a:t>
              </a:r>
              <a:r>
                <a:rPr lang="en-US" sz="1333" kern="0">
                  <a:solidFill>
                    <a:srgbClr val="0498D1">
                      <a:lumMod val="75000"/>
                    </a:srgbClr>
                  </a:solidFill>
                  <a:latin typeface="CiscoSansTT ExtraLight"/>
                  <a:ea typeface="ＭＳ Ｐゴシック" charset="0"/>
                  <a:cs typeface="Calibri"/>
                  <a:sym typeface="Arial"/>
                </a:rPr>
                <a:t>Analytics</a:t>
              </a:r>
            </a:p>
          </p:txBody>
        </p:sp>
      </p:grpSp>
      <p:pic>
        <p:nvPicPr>
          <p:cNvPr id="339" name="Picture 338">
            <a:extLst>
              <a:ext uri="{FF2B5EF4-FFF2-40B4-BE49-F238E27FC236}">
                <a16:creationId xmlns:a16="http://schemas.microsoft.com/office/drawing/2014/main" id="{F9465A0A-0784-484E-8045-BC550C93F78C}"/>
              </a:ext>
            </a:extLst>
          </p:cNvPr>
          <p:cNvPicPr>
            <a:picLocks/>
          </p:cNvPicPr>
          <p:nvPr/>
        </p:nvPicPr>
        <p:blipFill>
          <a:blip r:embed="rId3" cstate="print">
            <a:extLst>
              <a:ext uri="{28A0092B-C50C-407E-A947-70E740481C1C}">
                <a14:useLocalDpi xmlns:a14="http://schemas.microsoft.com/office/drawing/2010/main"/>
              </a:ext>
            </a:extLst>
          </a:blip>
          <a:stretch>
            <a:fillRect/>
          </a:stretch>
        </p:blipFill>
        <p:spPr>
          <a:xfrm>
            <a:off x="7889381" y="2075220"/>
            <a:ext cx="600000" cy="600000"/>
          </a:xfrm>
          <a:prstGeom prst="rect">
            <a:avLst/>
          </a:prstGeom>
        </p:spPr>
      </p:pic>
      <p:pic>
        <p:nvPicPr>
          <p:cNvPr id="340" name="Picture 339">
            <a:extLst>
              <a:ext uri="{FF2B5EF4-FFF2-40B4-BE49-F238E27FC236}">
                <a16:creationId xmlns:a16="http://schemas.microsoft.com/office/drawing/2014/main" id="{A5509108-C2F1-4C10-9DF9-88763D402C0B}"/>
              </a:ext>
            </a:extLst>
          </p:cNvPr>
          <p:cNvPicPr>
            <a:picLocks/>
          </p:cNvPicPr>
          <p:nvPr/>
        </p:nvPicPr>
        <p:blipFill>
          <a:blip r:embed="rId4" cstate="print">
            <a:extLst>
              <a:ext uri="{28A0092B-C50C-407E-A947-70E740481C1C}">
                <a14:useLocalDpi xmlns:a14="http://schemas.microsoft.com/office/drawing/2010/main"/>
              </a:ext>
            </a:extLst>
          </a:blip>
          <a:stretch>
            <a:fillRect/>
          </a:stretch>
        </p:blipFill>
        <p:spPr>
          <a:xfrm>
            <a:off x="3758187" y="2075220"/>
            <a:ext cx="600000" cy="600000"/>
          </a:xfrm>
          <a:prstGeom prst="rect">
            <a:avLst/>
          </a:prstGeom>
        </p:spPr>
      </p:pic>
      <p:pic>
        <p:nvPicPr>
          <p:cNvPr id="341" name="Picture 340">
            <a:extLst>
              <a:ext uri="{FF2B5EF4-FFF2-40B4-BE49-F238E27FC236}">
                <a16:creationId xmlns:a16="http://schemas.microsoft.com/office/drawing/2014/main" id="{DA1C1B55-2B00-42BE-B3F7-16B0B1EBAC0E}"/>
              </a:ext>
            </a:extLst>
          </p:cNvPr>
          <p:cNvPicPr>
            <a:picLocks/>
          </p:cNvPicPr>
          <p:nvPr/>
        </p:nvPicPr>
        <p:blipFill>
          <a:blip r:embed="rId5" cstate="print">
            <a:extLst>
              <a:ext uri="{28A0092B-C50C-407E-A947-70E740481C1C}">
                <a14:useLocalDpi xmlns:a14="http://schemas.microsoft.com/office/drawing/2010/main"/>
              </a:ext>
            </a:extLst>
          </a:blip>
          <a:stretch>
            <a:fillRect/>
          </a:stretch>
        </p:blipFill>
        <p:spPr>
          <a:xfrm>
            <a:off x="9912961" y="2075220"/>
            <a:ext cx="600000" cy="600000"/>
          </a:xfrm>
          <a:prstGeom prst="rect">
            <a:avLst/>
          </a:prstGeom>
        </p:spPr>
      </p:pic>
      <p:pic>
        <p:nvPicPr>
          <p:cNvPr id="342" name="Picture 341">
            <a:extLst>
              <a:ext uri="{FF2B5EF4-FFF2-40B4-BE49-F238E27FC236}">
                <a16:creationId xmlns:a16="http://schemas.microsoft.com/office/drawing/2014/main" id="{2575CC0A-35F9-4AC1-BD76-5AA12066CCA8}"/>
              </a:ext>
            </a:extLst>
          </p:cNvPr>
          <p:cNvPicPr>
            <a:picLocks/>
          </p:cNvPicPr>
          <p:nvPr/>
        </p:nvPicPr>
        <p:blipFill>
          <a:blip r:embed="rId6" cstate="print">
            <a:extLst>
              <a:ext uri="{28A0092B-C50C-407E-A947-70E740481C1C}">
                <a14:useLocalDpi xmlns:a14="http://schemas.microsoft.com/office/drawing/2010/main"/>
              </a:ext>
            </a:extLst>
          </a:blip>
          <a:stretch>
            <a:fillRect/>
          </a:stretch>
        </p:blipFill>
        <p:spPr>
          <a:xfrm>
            <a:off x="1651059" y="2075220"/>
            <a:ext cx="600000" cy="600000"/>
          </a:xfrm>
          <a:prstGeom prst="rect">
            <a:avLst/>
          </a:prstGeom>
        </p:spPr>
      </p:pic>
      <p:grpSp>
        <p:nvGrpSpPr>
          <p:cNvPr id="3" name="Group 2">
            <a:extLst>
              <a:ext uri="{FF2B5EF4-FFF2-40B4-BE49-F238E27FC236}">
                <a16:creationId xmlns:a16="http://schemas.microsoft.com/office/drawing/2014/main" id="{D5026552-ABCE-4C70-B2FE-B574B4DF4435}"/>
              </a:ext>
            </a:extLst>
          </p:cNvPr>
          <p:cNvGrpSpPr/>
          <p:nvPr/>
        </p:nvGrpSpPr>
        <p:grpSpPr>
          <a:xfrm>
            <a:off x="4759468" y="1559749"/>
            <a:ext cx="2642245" cy="1232477"/>
            <a:chOff x="2710267" y="1422570"/>
            <a:chExt cx="5002561" cy="1863347"/>
          </a:xfrm>
        </p:grpSpPr>
        <p:sp>
          <p:nvSpPr>
            <p:cNvPr id="332" name="Freeform 193">
              <a:extLst>
                <a:ext uri="{FF2B5EF4-FFF2-40B4-BE49-F238E27FC236}">
                  <a16:creationId xmlns:a16="http://schemas.microsoft.com/office/drawing/2014/main" id="{3CF6C1D2-6F66-4DEF-AF6A-ABCC8E5B95A3}"/>
                </a:ext>
              </a:extLst>
            </p:cNvPr>
            <p:cNvSpPr>
              <a:spLocks/>
            </p:cNvSpPr>
            <p:nvPr/>
          </p:nvSpPr>
          <p:spPr bwMode="auto">
            <a:xfrm flipH="1">
              <a:off x="4221341" y="1422570"/>
              <a:ext cx="3491487" cy="1325732"/>
            </a:xfrm>
            <a:custGeom>
              <a:avLst/>
              <a:gdLst>
                <a:gd name="connsiteX0" fmla="*/ 733902 w 1210718"/>
                <a:gd name="connsiteY0" fmla="*/ 0 h 599742"/>
                <a:gd name="connsiteX1" fmla="*/ 882562 w 1210718"/>
                <a:gd name="connsiteY1" fmla="*/ 0 h 599742"/>
                <a:gd name="connsiteX2" fmla="*/ 1015293 w 1210718"/>
                <a:gd name="connsiteY2" fmla="*/ 127622 h 599742"/>
                <a:gd name="connsiteX3" fmla="*/ 1006776 w 1210718"/>
                <a:gd name="connsiteY3" fmla="*/ 170827 h 599742"/>
                <a:gd name="connsiteX4" fmla="*/ 1046952 w 1210718"/>
                <a:gd name="connsiteY4" fmla="*/ 178771 h 599742"/>
                <a:gd name="connsiteX5" fmla="*/ 1127605 w 1210718"/>
                <a:gd name="connsiteY5" fmla="*/ 301408 h 599742"/>
                <a:gd name="connsiteX6" fmla="*/ 1118155 w 1210718"/>
                <a:gd name="connsiteY6" fmla="*/ 346509 h 599742"/>
                <a:gd name="connsiteX7" fmla="*/ 1132310 w 1210718"/>
                <a:gd name="connsiteY7" fmla="*/ 349483 h 599742"/>
                <a:gd name="connsiteX8" fmla="*/ 1210718 w 1210718"/>
                <a:gd name="connsiteY8" fmla="*/ 472120 h 599742"/>
                <a:gd name="connsiteX9" fmla="*/ 1083274 w 1210718"/>
                <a:gd name="connsiteY9" fmla="*/ 599742 h 599742"/>
                <a:gd name="connsiteX10" fmla="*/ 127444 w 1210718"/>
                <a:gd name="connsiteY10" fmla="*/ 599742 h 599742"/>
                <a:gd name="connsiteX11" fmla="*/ 0 w 1210718"/>
                <a:gd name="connsiteY11" fmla="*/ 472120 h 599742"/>
                <a:gd name="connsiteX12" fmla="*/ 127444 w 1210718"/>
                <a:gd name="connsiteY12" fmla="*/ 339180 h 599742"/>
                <a:gd name="connsiteX13" fmla="*/ 275151 w 1210718"/>
                <a:gd name="connsiteY13" fmla="*/ 339180 h 599742"/>
                <a:gd name="connsiteX14" fmla="*/ 267300 w 1210718"/>
                <a:gd name="connsiteY14" fmla="*/ 301408 h 599742"/>
                <a:gd name="connsiteX15" fmla="*/ 394753 w 1210718"/>
                <a:gd name="connsiteY15" fmla="*/ 168468 h 599742"/>
                <a:gd name="connsiteX16" fmla="*/ 592829 w 1210718"/>
                <a:gd name="connsiteY16" fmla="*/ 168468 h 599742"/>
                <a:gd name="connsiteX17" fmla="*/ 614468 w 1210718"/>
                <a:gd name="connsiteY17" fmla="*/ 168468 h 599742"/>
                <a:gd name="connsiteX18" fmla="*/ 606480 w 1210718"/>
                <a:gd name="connsiteY18" fmla="*/ 127622 h 599742"/>
                <a:gd name="connsiteX19" fmla="*/ 733902 w 1210718"/>
                <a:gd name="connsiteY19" fmla="*/ 0 h 59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0718" h="599742">
                  <a:moveTo>
                    <a:pt x="733902" y="0"/>
                  </a:moveTo>
                  <a:cubicBezTo>
                    <a:pt x="882562" y="0"/>
                    <a:pt x="882562" y="0"/>
                    <a:pt x="882562" y="0"/>
                  </a:cubicBezTo>
                  <a:cubicBezTo>
                    <a:pt x="956891" y="0"/>
                    <a:pt x="1015293" y="58493"/>
                    <a:pt x="1015293" y="127622"/>
                  </a:cubicBezTo>
                  <a:lnTo>
                    <a:pt x="1006776" y="170827"/>
                  </a:lnTo>
                  <a:lnTo>
                    <a:pt x="1046952" y="178771"/>
                  </a:lnTo>
                  <a:cubicBezTo>
                    <a:pt x="1094746" y="198712"/>
                    <a:pt x="1127605" y="245573"/>
                    <a:pt x="1127605" y="301408"/>
                  </a:cubicBezTo>
                  <a:lnTo>
                    <a:pt x="1118155" y="346509"/>
                  </a:lnTo>
                  <a:lnTo>
                    <a:pt x="1132310" y="349483"/>
                  </a:lnTo>
                  <a:cubicBezTo>
                    <a:pt x="1177862" y="369424"/>
                    <a:pt x="1210718" y="416285"/>
                    <a:pt x="1210718" y="472120"/>
                  </a:cubicBezTo>
                  <a:cubicBezTo>
                    <a:pt x="1210718" y="541249"/>
                    <a:pt x="1152306" y="599742"/>
                    <a:pt x="1083274" y="599742"/>
                  </a:cubicBezTo>
                  <a:cubicBezTo>
                    <a:pt x="127444" y="599742"/>
                    <a:pt x="127444" y="599742"/>
                    <a:pt x="127444" y="599742"/>
                  </a:cubicBezTo>
                  <a:cubicBezTo>
                    <a:pt x="58412" y="599742"/>
                    <a:pt x="0" y="541249"/>
                    <a:pt x="0" y="472120"/>
                  </a:cubicBezTo>
                  <a:cubicBezTo>
                    <a:pt x="0" y="397674"/>
                    <a:pt x="58412" y="339180"/>
                    <a:pt x="127444" y="339180"/>
                  </a:cubicBezTo>
                  <a:lnTo>
                    <a:pt x="275151" y="339180"/>
                  </a:lnTo>
                  <a:lnTo>
                    <a:pt x="267300" y="301408"/>
                  </a:lnTo>
                  <a:cubicBezTo>
                    <a:pt x="267300" y="226961"/>
                    <a:pt x="325716" y="168468"/>
                    <a:pt x="394753" y="168468"/>
                  </a:cubicBezTo>
                  <a:cubicBezTo>
                    <a:pt x="469764" y="168468"/>
                    <a:pt x="535399" y="168468"/>
                    <a:pt x="592829" y="168468"/>
                  </a:cubicBezTo>
                  <a:lnTo>
                    <a:pt x="614468" y="168468"/>
                  </a:lnTo>
                  <a:lnTo>
                    <a:pt x="606480" y="127622"/>
                  </a:lnTo>
                  <a:cubicBezTo>
                    <a:pt x="606480" y="58493"/>
                    <a:pt x="664882" y="0"/>
                    <a:pt x="733902" y="0"/>
                  </a:cubicBezTo>
                  <a:close/>
                </a:path>
              </a:pathLst>
            </a:custGeom>
            <a:noFill/>
            <a:ln w="28575">
              <a:solidFill>
                <a:schemeClr val="accent5"/>
              </a:solidFill>
            </a:ln>
          </p:spPr>
          <p:txBody>
            <a:bodyPr vert="horz" wrap="square" lIns="0" tIns="60960" rIns="60960" bIns="12192" numCol="1" anchor="b" anchorCtr="0" compatLnSpc="1">
              <a:prstTxWarp prst="textNoShape">
                <a:avLst/>
              </a:prstTxWarp>
              <a:noAutofit/>
            </a:bodyPr>
            <a:lstStyle/>
            <a:p>
              <a:pPr algn="ctr" defTabSz="609585" fontAlgn="base">
                <a:spcBef>
                  <a:spcPct val="0"/>
                </a:spcBef>
                <a:spcAft>
                  <a:spcPct val="0"/>
                </a:spcAft>
                <a:defRPr/>
              </a:pPr>
              <a:endParaRPr lang="en-US" sz="400">
                <a:solidFill>
                  <a:srgbClr val="FFFFFF"/>
                </a:solidFill>
                <a:latin typeface="CiscoSansTT ExtraLight"/>
                <a:ea typeface="ＭＳ Ｐゴシック" charset="0"/>
                <a:cs typeface="CiscoSansTT ExtraLight" panose="020B0303020201020303" pitchFamily="34" charset="0"/>
                <a:sym typeface="Arial"/>
              </a:endParaRPr>
            </a:p>
          </p:txBody>
        </p:sp>
        <p:sp>
          <p:nvSpPr>
            <p:cNvPr id="333" name="Freeform 193">
              <a:extLst>
                <a:ext uri="{FF2B5EF4-FFF2-40B4-BE49-F238E27FC236}">
                  <a16:creationId xmlns:a16="http://schemas.microsoft.com/office/drawing/2014/main" id="{165B2622-0AC2-4A0A-9DDE-D5360FDEBBEA}"/>
                </a:ext>
              </a:extLst>
            </p:cNvPr>
            <p:cNvSpPr>
              <a:spLocks/>
            </p:cNvSpPr>
            <p:nvPr/>
          </p:nvSpPr>
          <p:spPr bwMode="auto">
            <a:xfrm flipH="1">
              <a:off x="2710267" y="1755972"/>
              <a:ext cx="3491487" cy="1529945"/>
            </a:xfrm>
            <a:custGeom>
              <a:avLst/>
              <a:gdLst>
                <a:gd name="connsiteX0" fmla="*/ 733902 w 1210718"/>
                <a:gd name="connsiteY0" fmla="*/ 0 h 599742"/>
                <a:gd name="connsiteX1" fmla="*/ 882562 w 1210718"/>
                <a:gd name="connsiteY1" fmla="*/ 0 h 599742"/>
                <a:gd name="connsiteX2" fmla="*/ 1015293 w 1210718"/>
                <a:gd name="connsiteY2" fmla="*/ 127622 h 599742"/>
                <a:gd name="connsiteX3" fmla="*/ 1006776 w 1210718"/>
                <a:gd name="connsiteY3" fmla="*/ 170827 h 599742"/>
                <a:gd name="connsiteX4" fmla="*/ 1046952 w 1210718"/>
                <a:gd name="connsiteY4" fmla="*/ 178771 h 599742"/>
                <a:gd name="connsiteX5" fmla="*/ 1127605 w 1210718"/>
                <a:gd name="connsiteY5" fmla="*/ 301408 h 599742"/>
                <a:gd name="connsiteX6" fmla="*/ 1118155 w 1210718"/>
                <a:gd name="connsiteY6" fmla="*/ 346509 h 599742"/>
                <a:gd name="connsiteX7" fmla="*/ 1132310 w 1210718"/>
                <a:gd name="connsiteY7" fmla="*/ 349483 h 599742"/>
                <a:gd name="connsiteX8" fmla="*/ 1210718 w 1210718"/>
                <a:gd name="connsiteY8" fmla="*/ 472120 h 599742"/>
                <a:gd name="connsiteX9" fmla="*/ 1083274 w 1210718"/>
                <a:gd name="connsiteY9" fmla="*/ 599742 h 599742"/>
                <a:gd name="connsiteX10" fmla="*/ 127444 w 1210718"/>
                <a:gd name="connsiteY10" fmla="*/ 599742 h 599742"/>
                <a:gd name="connsiteX11" fmla="*/ 0 w 1210718"/>
                <a:gd name="connsiteY11" fmla="*/ 472120 h 599742"/>
                <a:gd name="connsiteX12" fmla="*/ 127444 w 1210718"/>
                <a:gd name="connsiteY12" fmla="*/ 339180 h 599742"/>
                <a:gd name="connsiteX13" fmla="*/ 275151 w 1210718"/>
                <a:gd name="connsiteY13" fmla="*/ 339180 h 599742"/>
                <a:gd name="connsiteX14" fmla="*/ 267300 w 1210718"/>
                <a:gd name="connsiteY14" fmla="*/ 301408 h 599742"/>
                <a:gd name="connsiteX15" fmla="*/ 394753 w 1210718"/>
                <a:gd name="connsiteY15" fmla="*/ 168468 h 599742"/>
                <a:gd name="connsiteX16" fmla="*/ 592829 w 1210718"/>
                <a:gd name="connsiteY16" fmla="*/ 168468 h 599742"/>
                <a:gd name="connsiteX17" fmla="*/ 614468 w 1210718"/>
                <a:gd name="connsiteY17" fmla="*/ 168468 h 599742"/>
                <a:gd name="connsiteX18" fmla="*/ 606480 w 1210718"/>
                <a:gd name="connsiteY18" fmla="*/ 127622 h 599742"/>
                <a:gd name="connsiteX19" fmla="*/ 733902 w 1210718"/>
                <a:gd name="connsiteY19" fmla="*/ 0 h 59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0718" h="599742">
                  <a:moveTo>
                    <a:pt x="733902" y="0"/>
                  </a:moveTo>
                  <a:cubicBezTo>
                    <a:pt x="882562" y="0"/>
                    <a:pt x="882562" y="0"/>
                    <a:pt x="882562" y="0"/>
                  </a:cubicBezTo>
                  <a:cubicBezTo>
                    <a:pt x="956891" y="0"/>
                    <a:pt x="1015293" y="58493"/>
                    <a:pt x="1015293" y="127622"/>
                  </a:cubicBezTo>
                  <a:lnTo>
                    <a:pt x="1006776" y="170827"/>
                  </a:lnTo>
                  <a:lnTo>
                    <a:pt x="1046952" y="178771"/>
                  </a:lnTo>
                  <a:cubicBezTo>
                    <a:pt x="1094746" y="198712"/>
                    <a:pt x="1127605" y="245573"/>
                    <a:pt x="1127605" y="301408"/>
                  </a:cubicBezTo>
                  <a:lnTo>
                    <a:pt x="1118155" y="346509"/>
                  </a:lnTo>
                  <a:lnTo>
                    <a:pt x="1132310" y="349483"/>
                  </a:lnTo>
                  <a:cubicBezTo>
                    <a:pt x="1177862" y="369424"/>
                    <a:pt x="1210718" y="416285"/>
                    <a:pt x="1210718" y="472120"/>
                  </a:cubicBezTo>
                  <a:cubicBezTo>
                    <a:pt x="1210718" y="541249"/>
                    <a:pt x="1152306" y="599742"/>
                    <a:pt x="1083274" y="599742"/>
                  </a:cubicBezTo>
                  <a:cubicBezTo>
                    <a:pt x="127444" y="599742"/>
                    <a:pt x="127444" y="599742"/>
                    <a:pt x="127444" y="599742"/>
                  </a:cubicBezTo>
                  <a:cubicBezTo>
                    <a:pt x="58412" y="599742"/>
                    <a:pt x="0" y="541249"/>
                    <a:pt x="0" y="472120"/>
                  </a:cubicBezTo>
                  <a:cubicBezTo>
                    <a:pt x="0" y="397674"/>
                    <a:pt x="58412" y="339180"/>
                    <a:pt x="127444" y="339180"/>
                  </a:cubicBezTo>
                  <a:lnTo>
                    <a:pt x="275151" y="339180"/>
                  </a:lnTo>
                  <a:lnTo>
                    <a:pt x="267300" y="301408"/>
                  </a:lnTo>
                  <a:cubicBezTo>
                    <a:pt x="267300" y="226961"/>
                    <a:pt x="325716" y="168468"/>
                    <a:pt x="394753" y="168468"/>
                  </a:cubicBezTo>
                  <a:cubicBezTo>
                    <a:pt x="469764" y="168468"/>
                    <a:pt x="535399" y="168468"/>
                    <a:pt x="592829" y="168468"/>
                  </a:cubicBezTo>
                  <a:lnTo>
                    <a:pt x="614468" y="168468"/>
                  </a:lnTo>
                  <a:lnTo>
                    <a:pt x="606480" y="127622"/>
                  </a:lnTo>
                  <a:cubicBezTo>
                    <a:pt x="606480" y="58493"/>
                    <a:pt x="664882" y="0"/>
                    <a:pt x="733902" y="0"/>
                  </a:cubicBezTo>
                  <a:close/>
                </a:path>
              </a:pathLst>
            </a:custGeom>
            <a:noFill/>
            <a:ln w="28575">
              <a:solidFill>
                <a:schemeClr val="accent5"/>
              </a:solidFill>
            </a:ln>
          </p:spPr>
          <p:txBody>
            <a:bodyPr vert="horz" wrap="square" lIns="0" tIns="60960" rIns="60960" bIns="12192" numCol="1" anchor="b" anchorCtr="0" compatLnSpc="1">
              <a:prstTxWarp prst="textNoShape">
                <a:avLst/>
              </a:prstTxWarp>
              <a:noAutofit/>
            </a:bodyPr>
            <a:lstStyle/>
            <a:p>
              <a:pPr algn="ctr" defTabSz="609585" fontAlgn="base">
                <a:spcBef>
                  <a:spcPct val="0"/>
                </a:spcBef>
                <a:spcAft>
                  <a:spcPct val="0"/>
                </a:spcAft>
                <a:defRPr/>
              </a:pPr>
              <a:endParaRPr lang="en-US" sz="400">
                <a:solidFill>
                  <a:srgbClr val="FFFFFF"/>
                </a:solidFill>
                <a:latin typeface="CiscoSansTT ExtraLight"/>
                <a:ea typeface="ＭＳ Ｐゴシック" charset="0"/>
                <a:cs typeface="CiscoSansTT ExtraLight" panose="020B0303020201020303" pitchFamily="34" charset="0"/>
                <a:sym typeface="Arial"/>
              </a:endParaRPr>
            </a:p>
          </p:txBody>
        </p:sp>
        <p:grpSp>
          <p:nvGrpSpPr>
            <p:cNvPr id="334" name="Group 333">
              <a:extLst>
                <a:ext uri="{FF2B5EF4-FFF2-40B4-BE49-F238E27FC236}">
                  <a16:creationId xmlns:a16="http://schemas.microsoft.com/office/drawing/2014/main" id="{8C64BE3C-2C40-4653-8F66-F73C46123224}"/>
                </a:ext>
              </a:extLst>
            </p:cNvPr>
            <p:cNvGrpSpPr/>
            <p:nvPr/>
          </p:nvGrpSpPr>
          <p:grpSpPr>
            <a:xfrm>
              <a:off x="3354696" y="1602224"/>
              <a:ext cx="2917803" cy="1288089"/>
              <a:chOff x="5326813" y="842822"/>
              <a:chExt cx="1680888" cy="901277"/>
            </a:xfrm>
            <a:solidFill>
              <a:schemeClr val="bg1"/>
            </a:solidFill>
          </p:grpSpPr>
          <p:sp>
            <p:nvSpPr>
              <p:cNvPr id="335" name="Freeform 193">
                <a:extLst>
                  <a:ext uri="{FF2B5EF4-FFF2-40B4-BE49-F238E27FC236}">
                    <a16:creationId xmlns:a16="http://schemas.microsoft.com/office/drawing/2014/main" id="{A0F14445-FF78-4A6F-9BE8-96D0CC8FB80D}"/>
                  </a:ext>
                </a:extLst>
              </p:cNvPr>
              <p:cNvSpPr>
                <a:spLocks/>
              </p:cNvSpPr>
              <p:nvPr/>
            </p:nvSpPr>
            <p:spPr bwMode="auto">
              <a:xfrm flipH="1">
                <a:off x="5439771" y="842822"/>
                <a:ext cx="1567930" cy="901277"/>
              </a:xfrm>
              <a:custGeom>
                <a:avLst/>
                <a:gdLst>
                  <a:gd name="connsiteX0" fmla="*/ 733902 w 1210718"/>
                  <a:gd name="connsiteY0" fmla="*/ 0 h 599742"/>
                  <a:gd name="connsiteX1" fmla="*/ 882562 w 1210718"/>
                  <a:gd name="connsiteY1" fmla="*/ 0 h 599742"/>
                  <a:gd name="connsiteX2" fmla="*/ 1015293 w 1210718"/>
                  <a:gd name="connsiteY2" fmla="*/ 127622 h 599742"/>
                  <a:gd name="connsiteX3" fmla="*/ 1006776 w 1210718"/>
                  <a:gd name="connsiteY3" fmla="*/ 170827 h 599742"/>
                  <a:gd name="connsiteX4" fmla="*/ 1046952 w 1210718"/>
                  <a:gd name="connsiteY4" fmla="*/ 178771 h 599742"/>
                  <a:gd name="connsiteX5" fmla="*/ 1127605 w 1210718"/>
                  <a:gd name="connsiteY5" fmla="*/ 301408 h 599742"/>
                  <a:gd name="connsiteX6" fmla="*/ 1118155 w 1210718"/>
                  <a:gd name="connsiteY6" fmla="*/ 346509 h 599742"/>
                  <a:gd name="connsiteX7" fmla="*/ 1132310 w 1210718"/>
                  <a:gd name="connsiteY7" fmla="*/ 349483 h 599742"/>
                  <a:gd name="connsiteX8" fmla="*/ 1210718 w 1210718"/>
                  <a:gd name="connsiteY8" fmla="*/ 472120 h 599742"/>
                  <a:gd name="connsiteX9" fmla="*/ 1083274 w 1210718"/>
                  <a:gd name="connsiteY9" fmla="*/ 599742 h 599742"/>
                  <a:gd name="connsiteX10" fmla="*/ 127444 w 1210718"/>
                  <a:gd name="connsiteY10" fmla="*/ 599742 h 599742"/>
                  <a:gd name="connsiteX11" fmla="*/ 0 w 1210718"/>
                  <a:gd name="connsiteY11" fmla="*/ 472120 h 599742"/>
                  <a:gd name="connsiteX12" fmla="*/ 127444 w 1210718"/>
                  <a:gd name="connsiteY12" fmla="*/ 339180 h 599742"/>
                  <a:gd name="connsiteX13" fmla="*/ 275151 w 1210718"/>
                  <a:gd name="connsiteY13" fmla="*/ 339180 h 599742"/>
                  <a:gd name="connsiteX14" fmla="*/ 267300 w 1210718"/>
                  <a:gd name="connsiteY14" fmla="*/ 301408 h 599742"/>
                  <a:gd name="connsiteX15" fmla="*/ 394753 w 1210718"/>
                  <a:gd name="connsiteY15" fmla="*/ 168468 h 599742"/>
                  <a:gd name="connsiteX16" fmla="*/ 592829 w 1210718"/>
                  <a:gd name="connsiteY16" fmla="*/ 168468 h 599742"/>
                  <a:gd name="connsiteX17" fmla="*/ 614468 w 1210718"/>
                  <a:gd name="connsiteY17" fmla="*/ 168468 h 599742"/>
                  <a:gd name="connsiteX18" fmla="*/ 606480 w 1210718"/>
                  <a:gd name="connsiteY18" fmla="*/ 127622 h 599742"/>
                  <a:gd name="connsiteX19" fmla="*/ 733902 w 1210718"/>
                  <a:gd name="connsiteY19" fmla="*/ 0 h 59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0718" h="599742">
                    <a:moveTo>
                      <a:pt x="733902" y="0"/>
                    </a:moveTo>
                    <a:cubicBezTo>
                      <a:pt x="882562" y="0"/>
                      <a:pt x="882562" y="0"/>
                      <a:pt x="882562" y="0"/>
                    </a:cubicBezTo>
                    <a:cubicBezTo>
                      <a:pt x="956891" y="0"/>
                      <a:pt x="1015293" y="58493"/>
                      <a:pt x="1015293" y="127622"/>
                    </a:cubicBezTo>
                    <a:lnTo>
                      <a:pt x="1006776" y="170827"/>
                    </a:lnTo>
                    <a:lnTo>
                      <a:pt x="1046952" y="178771"/>
                    </a:lnTo>
                    <a:cubicBezTo>
                      <a:pt x="1094746" y="198712"/>
                      <a:pt x="1127605" y="245573"/>
                      <a:pt x="1127605" y="301408"/>
                    </a:cubicBezTo>
                    <a:lnTo>
                      <a:pt x="1118155" y="346509"/>
                    </a:lnTo>
                    <a:lnTo>
                      <a:pt x="1132310" y="349483"/>
                    </a:lnTo>
                    <a:cubicBezTo>
                      <a:pt x="1177862" y="369424"/>
                      <a:pt x="1210718" y="416285"/>
                      <a:pt x="1210718" y="472120"/>
                    </a:cubicBezTo>
                    <a:cubicBezTo>
                      <a:pt x="1210718" y="541249"/>
                      <a:pt x="1152306" y="599742"/>
                      <a:pt x="1083274" y="599742"/>
                    </a:cubicBezTo>
                    <a:cubicBezTo>
                      <a:pt x="127444" y="599742"/>
                      <a:pt x="127444" y="599742"/>
                      <a:pt x="127444" y="599742"/>
                    </a:cubicBezTo>
                    <a:cubicBezTo>
                      <a:pt x="58412" y="599742"/>
                      <a:pt x="0" y="541249"/>
                      <a:pt x="0" y="472120"/>
                    </a:cubicBezTo>
                    <a:cubicBezTo>
                      <a:pt x="0" y="397674"/>
                      <a:pt x="58412" y="339180"/>
                      <a:pt x="127444" y="339180"/>
                    </a:cubicBezTo>
                    <a:lnTo>
                      <a:pt x="275151" y="339180"/>
                    </a:lnTo>
                    <a:lnTo>
                      <a:pt x="267300" y="301408"/>
                    </a:lnTo>
                    <a:cubicBezTo>
                      <a:pt x="267300" y="226961"/>
                      <a:pt x="325716" y="168468"/>
                      <a:pt x="394753" y="168468"/>
                    </a:cubicBezTo>
                    <a:cubicBezTo>
                      <a:pt x="469764" y="168468"/>
                      <a:pt x="535399" y="168468"/>
                      <a:pt x="592829" y="168468"/>
                    </a:cubicBezTo>
                    <a:lnTo>
                      <a:pt x="614468" y="168468"/>
                    </a:lnTo>
                    <a:lnTo>
                      <a:pt x="606480" y="127622"/>
                    </a:lnTo>
                    <a:cubicBezTo>
                      <a:pt x="606480" y="58493"/>
                      <a:pt x="664882" y="0"/>
                      <a:pt x="733902" y="0"/>
                    </a:cubicBezTo>
                    <a:close/>
                  </a:path>
                </a:pathLst>
              </a:custGeom>
              <a:grpFill/>
              <a:ln w="19050">
                <a:solidFill>
                  <a:schemeClr val="accent5"/>
                </a:solidFill>
              </a:ln>
            </p:spPr>
            <p:txBody>
              <a:bodyPr vert="horz" wrap="square" lIns="0" tIns="60960" rIns="60960" bIns="12192" numCol="1" anchor="b" anchorCtr="0" compatLnSpc="1">
                <a:prstTxWarp prst="textNoShape">
                  <a:avLst/>
                </a:prstTxWarp>
                <a:noAutofit/>
              </a:bodyPr>
              <a:lstStyle/>
              <a:p>
                <a:pPr algn="ctr" defTabSz="609585" fontAlgn="base">
                  <a:spcBef>
                    <a:spcPct val="0"/>
                  </a:spcBef>
                  <a:spcAft>
                    <a:spcPct val="0"/>
                  </a:spcAft>
                  <a:defRPr/>
                </a:pPr>
                <a:endParaRPr lang="en-US" sz="400">
                  <a:solidFill>
                    <a:srgbClr val="FFFFFF"/>
                  </a:solidFill>
                  <a:latin typeface="CiscoSansTT ExtraLight"/>
                  <a:ea typeface="ＭＳ Ｐゴシック" charset="0"/>
                  <a:cs typeface="CiscoSansTT ExtraLight" panose="020B0303020201020303" pitchFamily="34" charset="0"/>
                  <a:sym typeface="Arial"/>
                </a:endParaRPr>
              </a:p>
            </p:txBody>
          </p:sp>
          <p:sp>
            <p:nvSpPr>
              <p:cNvPr id="336" name="TextBox 335">
                <a:extLst>
                  <a:ext uri="{FF2B5EF4-FFF2-40B4-BE49-F238E27FC236}">
                    <a16:creationId xmlns:a16="http://schemas.microsoft.com/office/drawing/2014/main" id="{0FA8738E-7A20-402D-B40A-249798F7ADF9}"/>
                  </a:ext>
                </a:extLst>
              </p:cNvPr>
              <p:cNvSpPr txBox="1"/>
              <p:nvPr/>
            </p:nvSpPr>
            <p:spPr>
              <a:xfrm>
                <a:off x="5326813" y="1122054"/>
                <a:ext cx="1594046" cy="618609"/>
              </a:xfrm>
              <a:prstGeom prst="rect">
                <a:avLst/>
              </a:prstGeom>
              <a:noFill/>
            </p:spPr>
            <p:txBody>
              <a:bodyPr wrap="square" rtlCol="0">
                <a:spAutoFit/>
              </a:bodyPr>
              <a:lstStyle/>
              <a:p>
                <a:pPr algn="ctr" defTabSz="609585" fontAlgn="base">
                  <a:spcBef>
                    <a:spcPct val="0"/>
                  </a:spcBef>
                  <a:spcAft>
                    <a:spcPct val="0"/>
                  </a:spcAft>
                  <a:defRPr/>
                </a:pPr>
                <a:r>
                  <a:rPr lang="en-US" sz="800">
                    <a:solidFill>
                      <a:srgbClr val="FFFFFF"/>
                    </a:solidFill>
                    <a:latin typeface="CiscoSansTT ExtraLight"/>
                    <a:ea typeface="ＭＳ Ｐゴシック" charset="0"/>
                    <a:cs typeface="CiscoSansTT ExtraLight" panose="020B0303020201020303" pitchFamily="34" charset="0"/>
                    <a:sym typeface="Arial"/>
                  </a:rPr>
                  <a:t>Cisco MDR </a:t>
                </a:r>
              </a:p>
              <a:p>
                <a:pPr algn="ctr" defTabSz="609585" fontAlgn="base">
                  <a:spcBef>
                    <a:spcPct val="0"/>
                  </a:spcBef>
                  <a:spcAft>
                    <a:spcPct val="0"/>
                  </a:spcAft>
                  <a:defRPr/>
                </a:pPr>
                <a:r>
                  <a:rPr lang="en-US" sz="800">
                    <a:solidFill>
                      <a:srgbClr val="FFFFFF"/>
                    </a:solidFill>
                    <a:latin typeface="CiscoSansTT ExtraLight"/>
                    <a:ea typeface="ＭＳ Ｐゴシック" charset="0"/>
                    <a:cs typeface="CiscoSansTT ExtraLight" panose="020B0303020201020303" pitchFamily="34" charset="0"/>
                    <a:sym typeface="Arial"/>
                  </a:rPr>
                  <a:t>Threat Intelligence </a:t>
                </a:r>
              </a:p>
              <a:p>
                <a:pPr algn="ctr" defTabSz="609585" fontAlgn="base">
                  <a:spcBef>
                    <a:spcPct val="0"/>
                  </a:spcBef>
                  <a:spcAft>
                    <a:spcPct val="0"/>
                  </a:spcAft>
                  <a:defRPr/>
                </a:pPr>
                <a:r>
                  <a:rPr lang="en-US" sz="800">
                    <a:solidFill>
                      <a:srgbClr val="FFFFFF"/>
                    </a:solidFill>
                    <a:latin typeface="CiscoSansTT ExtraLight"/>
                    <a:ea typeface="ＭＳ Ｐゴシック" charset="0"/>
                    <a:cs typeface="CiscoSansTT ExtraLight" panose="020B0303020201020303" pitchFamily="34" charset="0"/>
                    <a:sym typeface="Arial"/>
                  </a:rPr>
                  <a:t>  Platform</a:t>
                </a:r>
              </a:p>
              <a:p>
                <a:pPr defTabSz="609585" fontAlgn="base">
                  <a:spcBef>
                    <a:spcPct val="0"/>
                  </a:spcBef>
                  <a:spcAft>
                    <a:spcPct val="0"/>
                  </a:spcAft>
                  <a:defRPr/>
                </a:pPr>
                <a:endParaRPr lang="en-US" sz="800">
                  <a:solidFill>
                    <a:srgbClr val="282828"/>
                  </a:solidFill>
                  <a:latin typeface="CiscoSansTT ExtraLight"/>
                  <a:ea typeface="ＭＳ Ｐゴシック" charset="0"/>
                  <a:cs typeface="Arial"/>
                  <a:sym typeface="Arial"/>
                </a:endParaRPr>
              </a:p>
            </p:txBody>
          </p:sp>
        </p:grpSp>
        <p:sp>
          <p:nvSpPr>
            <p:cNvPr id="337" name="TextBox 336">
              <a:extLst>
                <a:ext uri="{FF2B5EF4-FFF2-40B4-BE49-F238E27FC236}">
                  <a16:creationId xmlns:a16="http://schemas.microsoft.com/office/drawing/2014/main" id="{C506A283-8BA3-4EE1-BDA3-53CD879410A4}"/>
                </a:ext>
              </a:extLst>
            </p:cNvPr>
            <p:cNvSpPr txBox="1"/>
            <p:nvPr/>
          </p:nvSpPr>
          <p:spPr>
            <a:xfrm>
              <a:off x="2712910" y="2877346"/>
              <a:ext cx="2198727" cy="325724"/>
            </a:xfrm>
            <a:prstGeom prst="rect">
              <a:avLst/>
            </a:prstGeom>
            <a:noFill/>
          </p:spPr>
          <p:txBody>
            <a:bodyPr wrap="square" rtlCol="0">
              <a:spAutoFit/>
            </a:bodyPr>
            <a:lstStyle/>
            <a:p>
              <a:pPr defTabSz="609585" fontAlgn="base">
                <a:spcBef>
                  <a:spcPct val="0"/>
                </a:spcBef>
                <a:spcAft>
                  <a:spcPct val="0"/>
                </a:spcAft>
                <a:defRPr/>
              </a:pPr>
              <a:r>
                <a:rPr lang="en-US" sz="800">
                  <a:solidFill>
                    <a:srgbClr val="282828"/>
                  </a:solidFill>
                  <a:latin typeface="CiscoSansTT ExtraLight"/>
                  <a:ea typeface="ＭＳ Ｐゴシック" charset="0"/>
                  <a:cs typeface="Arial"/>
                  <a:sym typeface="Arial"/>
                </a:rPr>
                <a:t>Threat intelligence </a:t>
              </a:r>
            </a:p>
          </p:txBody>
        </p:sp>
      </p:grpSp>
      <p:sp>
        <p:nvSpPr>
          <p:cNvPr id="317" name="Freeform 113">
            <a:extLst>
              <a:ext uri="{FF2B5EF4-FFF2-40B4-BE49-F238E27FC236}">
                <a16:creationId xmlns:a16="http://schemas.microsoft.com/office/drawing/2014/main" id="{381A9A06-B15C-46A9-A645-733A2EE21943}"/>
              </a:ext>
            </a:extLst>
          </p:cNvPr>
          <p:cNvSpPr>
            <a:spLocks noEditPoints="1"/>
          </p:cNvSpPr>
          <p:nvPr/>
        </p:nvSpPr>
        <p:spPr bwMode="auto">
          <a:xfrm>
            <a:off x="4890235" y="2510450"/>
            <a:ext cx="345349" cy="77631"/>
          </a:xfrm>
          <a:custGeom>
            <a:avLst/>
            <a:gdLst/>
            <a:ahLst/>
            <a:cxnLst>
              <a:cxn ang="0">
                <a:pos x="131" y="20"/>
              </a:cxn>
              <a:cxn ang="0">
                <a:pos x="107" y="0"/>
              </a:cxn>
              <a:cxn ang="0">
                <a:pos x="79" y="0"/>
              </a:cxn>
              <a:cxn ang="0">
                <a:pos x="85" y="11"/>
              </a:cxn>
              <a:cxn ang="0">
                <a:pos x="114" y="13"/>
              </a:cxn>
              <a:cxn ang="0">
                <a:pos x="121" y="69"/>
              </a:cxn>
              <a:cxn ang="0">
                <a:pos x="111" y="82"/>
              </a:cxn>
              <a:cxn ang="0">
                <a:pos x="81" y="74"/>
              </a:cxn>
              <a:cxn ang="0">
                <a:pos x="96" y="50"/>
              </a:cxn>
              <a:cxn ang="0">
                <a:pos x="119" y="38"/>
              </a:cxn>
              <a:cxn ang="0">
                <a:pos x="83" y="42"/>
              </a:cxn>
              <a:cxn ang="0">
                <a:pos x="74" y="87"/>
              </a:cxn>
              <a:cxn ang="0">
                <a:pos x="114" y="94"/>
              </a:cxn>
              <a:cxn ang="0">
                <a:pos x="131" y="93"/>
              </a:cxn>
              <a:cxn ang="0">
                <a:pos x="333" y="73"/>
              </a:cxn>
              <a:cxn ang="0">
                <a:pos x="320" y="40"/>
              </a:cxn>
              <a:cxn ang="0">
                <a:pos x="292" y="38"/>
              </a:cxn>
              <a:cxn ang="0">
                <a:pos x="294" y="13"/>
              </a:cxn>
              <a:cxn ang="0">
                <a:pos x="329" y="10"/>
              </a:cxn>
              <a:cxn ang="0">
                <a:pos x="332" y="1"/>
              </a:cxn>
              <a:cxn ang="0">
                <a:pos x="294" y="1"/>
              </a:cxn>
              <a:cxn ang="0">
                <a:pos x="281" y="34"/>
              </a:cxn>
              <a:cxn ang="0">
                <a:pos x="318" y="52"/>
              </a:cxn>
              <a:cxn ang="0">
                <a:pos x="323" y="69"/>
              </a:cxn>
              <a:cxn ang="0">
                <a:pos x="303" y="80"/>
              </a:cxn>
              <a:cxn ang="0">
                <a:pos x="275" y="92"/>
              </a:cxn>
              <a:cxn ang="0">
                <a:pos x="322" y="94"/>
              </a:cxn>
              <a:cxn ang="0">
                <a:pos x="0" y="1"/>
              </a:cxn>
              <a:cxn ang="0">
                <a:pos x="25" y="12"/>
              </a:cxn>
              <a:cxn ang="0">
                <a:pos x="28" y="80"/>
              </a:cxn>
              <a:cxn ang="0">
                <a:pos x="39" y="94"/>
              </a:cxn>
              <a:cxn ang="0">
                <a:pos x="40" y="16"/>
              </a:cxn>
              <a:cxn ang="0">
                <a:pos x="58" y="12"/>
              </a:cxn>
              <a:cxn ang="0">
                <a:pos x="0" y="0"/>
              </a:cxn>
              <a:cxn ang="0">
                <a:pos x="161" y="80"/>
              </a:cxn>
              <a:cxn ang="0">
                <a:pos x="157" y="14"/>
              </a:cxn>
              <a:cxn ang="0">
                <a:pos x="146" y="2"/>
              </a:cxn>
              <a:cxn ang="0">
                <a:pos x="155" y="94"/>
              </a:cxn>
              <a:cxn ang="0">
                <a:pos x="200" y="88"/>
              </a:cxn>
              <a:cxn ang="0">
                <a:pos x="257" y="23"/>
              </a:cxn>
              <a:cxn ang="0">
                <a:pos x="255" y="75"/>
              </a:cxn>
              <a:cxn ang="0">
                <a:pos x="218" y="77"/>
              </a:cxn>
              <a:cxn ang="0">
                <a:pos x="213" y="84"/>
              </a:cxn>
              <a:cxn ang="0">
                <a:pos x="242" y="93"/>
              </a:cxn>
              <a:cxn ang="0">
                <a:pos x="264" y="20"/>
              </a:cxn>
              <a:cxn ang="0">
                <a:pos x="212" y="63"/>
              </a:cxn>
              <a:cxn ang="0">
                <a:pos x="250" y="17"/>
              </a:cxn>
              <a:cxn ang="0">
                <a:pos x="256" y="10"/>
              </a:cxn>
              <a:cxn ang="0">
                <a:pos x="221" y="4"/>
              </a:cxn>
              <a:cxn ang="0">
                <a:pos x="206" y="75"/>
              </a:cxn>
              <a:cxn ang="0">
                <a:pos x="212" y="69"/>
              </a:cxn>
              <a:cxn ang="0">
                <a:pos x="257" y="20"/>
              </a:cxn>
              <a:cxn ang="0">
                <a:pos x="254" y="17"/>
              </a:cxn>
              <a:cxn ang="0">
                <a:pos x="213" y="73"/>
              </a:cxn>
              <a:cxn ang="0">
                <a:pos x="215" y="77"/>
              </a:cxn>
              <a:cxn ang="0">
                <a:pos x="331" y="91"/>
              </a:cxn>
              <a:cxn ang="0">
                <a:pos x="331" y="91"/>
              </a:cxn>
              <a:cxn ang="0">
                <a:pos x="330" y="90"/>
              </a:cxn>
              <a:cxn ang="0">
                <a:pos x="334" y="93"/>
              </a:cxn>
              <a:cxn ang="0">
                <a:pos x="333" y="94"/>
              </a:cxn>
              <a:cxn ang="0">
                <a:pos x="333" y="91"/>
              </a:cxn>
              <a:cxn ang="0">
                <a:pos x="335" y="91"/>
              </a:cxn>
              <a:cxn ang="0">
                <a:pos x="336" y="94"/>
              </a:cxn>
            </a:cxnLst>
            <a:rect l="0" t="0" r="r" b="b"/>
            <a:pathLst>
              <a:path w="336" h="95">
                <a:moveTo>
                  <a:pt x="131" y="59"/>
                </a:moveTo>
                <a:cubicBezTo>
                  <a:pt x="131" y="48"/>
                  <a:pt x="131" y="37"/>
                  <a:pt x="131" y="26"/>
                </a:cubicBezTo>
                <a:cubicBezTo>
                  <a:pt x="131" y="24"/>
                  <a:pt x="131" y="22"/>
                  <a:pt x="131" y="20"/>
                </a:cubicBezTo>
                <a:cubicBezTo>
                  <a:pt x="130" y="16"/>
                  <a:pt x="129" y="12"/>
                  <a:pt x="127" y="8"/>
                </a:cubicBezTo>
                <a:cubicBezTo>
                  <a:pt x="124" y="5"/>
                  <a:pt x="121" y="3"/>
                  <a:pt x="118" y="2"/>
                </a:cubicBezTo>
                <a:cubicBezTo>
                  <a:pt x="114" y="1"/>
                  <a:pt x="111" y="0"/>
                  <a:pt x="107" y="0"/>
                </a:cubicBezTo>
                <a:cubicBezTo>
                  <a:pt x="104" y="0"/>
                  <a:pt x="100" y="0"/>
                  <a:pt x="96" y="0"/>
                </a:cubicBezTo>
                <a:cubicBezTo>
                  <a:pt x="91" y="0"/>
                  <a:pt x="85" y="0"/>
                  <a:pt x="79" y="0"/>
                </a:cubicBezTo>
                <a:cubicBezTo>
                  <a:pt x="79" y="0"/>
                  <a:pt x="79" y="0"/>
                  <a:pt x="79" y="0"/>
                </a:cubicBezTo>
                <a:cubicBezTo>
                  <a:pt x="79" y="0"/>
                  <a:pt x="79" y="1"/>
                  <a:pt x="79" y="1"/>
                </a:cubicBezTo>
                <a:cubicBezTo>
                  <a:pt x="79" y="5"/>
                  <a:pt x="81" y="9"/>
                  <a:pt x="84" y="11"/>
                </a:cubicBezTo>
                <a:cubicBezTo>
                  <a:pt x="85" y="11"/>
                  <a:pt x="85" y="11"/>
                  <a:pt x="85" y="11"/>
                </a:cubicBezTo>
                <a:cubicBezTo>
                  <a:pt x="87" y="11"/>
                  <a:pt x="88" y="11"/>
                  <a:pt x="90" y="11"/>
                </a:cubicBezTo>
                <a:cubicBezTo>
                  <a:pt x="96" y="11"/>
                  <a:pt x="102" y="11"/>
                  <a:pt x="109" y="11"/>
                </a:cubicBezTo>
                <a:cubicBezTo>
                  <a:pt x="111" y="11"/>
                  <a:pt x="113" y="12"/>
                  <a:pt x="114" y="13"/>
                </a:cubicBezTo>
                <a:cubicBezTo>
                  <a:pt x="119" y="15"/>
                  <a:pt x="121" y="19"/>
                  <a:pt x="121" y="25"/>
                </a:cubicBezTo>
                <a:cubicBezTo>
                  <a:pt x="121" y="31"/>
                  <a:pt x="121" y="38"/>
                  <a:pt x="121" y="44"/>
                </a:cubicBezTo>
                <a:cubicBezTo>
                  <a:pt x="121" y="52"/>
                  <a:pt x="121" y="60"/>
                  <a:pt x="121" y="69"/>
                </a:cubicBezTo>
                <a:cubicBezTo>
                  <a:pt x="121" y="70"/>
                  <a:pt x="121" y="72"/>
                  <a:pt x="121" y="73"/>
                </a:cubicBezTo>
                <a:cubicBezTo>
                  <a:pt x="120" y="77"/>
                  <a:pt x="118" y="80"/>
                  <a:pt x="115" y="81"/>
                </a:cubicBezTo>
                <a:cubicBezTo>
                  <a:pt x="114" y="81"/>
                  <a:pt x="112" y="82"/>
                  <a:pt x="111" y="82"/>
                </a:cubicBezTo>
                <a:cubicBezTo>
                  <a:pt x="105" y="82"/>
                  <a:pt x="98" y="82"/>
                  <a:pt x="91" y="82"/>
                </a:cubicBezTo>
                <a:cubicBezTo>
                  <a:pt x="91" y="82"/>
                  <a:pt x="90" y="82"/>
                  <a:pt x="90" y="82"/>
                </a:cubicBezTo>
                <a:cubicBezTo>
                  <a:pt x="85" y="82"/>
                  <a:pt x="82" y="79"/>
                  <a:pt x="81" y="74"/>
                </a:cubicBezTo>
                <a:cubicBezTo>
                  <a:pt x="80" y="70"/>
                  <a:pt x="81" y="66"/>
                  <a:pt x="82" y="62"/>
                </a:cubicBezTo>
                <a:cubicBezTo>
                  <a:pt x="84" y="57"/>
                  <a:pt x="86" y="53"/>
                  <a:pt x="90" y="51"/>
                </a:cubicBezTo>
                <a:cubicBezTo>
                  <a:pt x="92" y="50"/>
                  <a:pt x="94" y="50"/>
                  <a:pt x="96" y="50"/>
                </a:cubicBezTo>
                <a:cubicBezTo>
                  <a:pt x="103" y="50"/>
                  <a:pt x="111" y="50"/>
                  <a:pt x="119" y="50"/>
                </a:cubicBezTo>
                <a:cubicBezTo>
                  <a:pt x="119" y="50"/>
                  <a:pt x="119" y="50"/>
                  <a:pt x="119" y="50"/>
                </a:cubicBezTo>
                <a:cubicBezTo>
                  <a:pt x="119" y="38"/>
                  <a:pt x="119" y="38"/>
                  <a:pt x="119" y="38"/>
                </a:cubicBezTo>
                <a:cubicBezTo>
                  <a:pt x="118" y="38"/>
                  <a:pt x="118" y="38"/>
                  <a:pt x="118" y="38"/>
                </a:cubicBezTo>
                <a:cubicBezTo>
                  <a:pt x="110" y="38"/>
                  <a:pt x="101" y="38"/>
                  <a:pt x="93" y="38"/>
                </a:cubicBezTo>
                <a:cubicBezTo>
                  <a:pt x="90" y="38"/>
                  <a:pt x="86" y="39"/>
                  <a:pt x="83" y="42"/>
                </a:cubicBezTo>
                <a:cubicBezTo>
                  <a:pt x="78" y="46"/>
                  <a:pt x="74" y="53"/>
                  <a:pt x="72" y="60"/>
                </a:cubicBezTo>
                <a:cubicBezTo>
                  <a:pt x="70" y="66"/>
                  <a:pt x="70" y="72"/>
                  <a:pt x="71" y="78"/>
                </a:cubicBezTo>
                <a:cubicBezTo>
                  <a:pt x="72" y="81"/>
                  <a:pt x="73" y="84"/>
                  <a:pt x="74" y="87"/>
                </a:cubicBezTo>
                <a:cubicBezTo>
                  <a:pt x="77" y="91"/>
                  <a:pt x="81" y="93"/>
                  <a:pt x="85" y="94"/>
                </a:cubicBezTo>
                <a:cubicBezTo>
                  <a:pt x="88" y="94"/>
                  <a:pt x="92" y="94"/>
                  <a:pt x="95" y="94"/>
                </a:cubicBezTo>
                <a:cubicBezTo>
                  <a:pt x="101" y="94"/>
                  <a:pt x="107" y="94"/>
                  <a:pt x="114" y="94"/>
                </a:cubicBezTo>
                <a:cubicBezTo>
                  <a:pt x="117" y="94"/>
                  <a:pt x="121" y="92"/>
                  <a:pt x="123" y="89"/>
                </a:cubicBezTo>
                <a:cubicBezTo>
                  <a:pt x="126" y="91"/>
                  <a:pt x="128" y="93"/>
                  <a:pt x="131" y="94"/>
                </a:cubicBezTo>
                <a:cubicBezTo>
                  <a:pt x="131" y="93"/>
                  <a:pt x="131" y="93"/>
                  <a:pt x="131" y="93"/>
                </a:cubicBezTo>
                <a:cubicBezTo>
                  <a:pt x="131" y="90"/>
                  <a:pt x="131" y="87"/>
                  <a:pt x="131" y="85"/>
                </a:cubicBezTo>
                <a:cubicBezTo>
                  <a:pt x="131" y="76"/>
                  <a:pt x="131" y="68"/>
                  <a:pt x="131" y="59"/>
                </a:cubicBezTo>
                <a:close/>
                <a:moveTo>
                  <a:pt x="333" y="73"/>
                </a:moveTo>
                <a:cubicBezTo>
                  <a:pt x="333" y="67"/>
                  <a:pt x="333" y="62"/>
                  <a:pt x="333" y="56"/>
                </a:cubicBezTo>
                <a:cubicBezTo>
                  <a:pt x="333" y="54"/>
                  <a:pt x="333" y="52"/>
                  <a:pt x="332" y="50"/>
                </a:cubicBezTo>
                <a:cubicBezTo>
                  <a:pt x="330" y="43"/>
                  <a:pt x="326" y="40"/>
                  <a:pt x="320" y="40"/>
                </a:cubicBezTo>
                <a:cubicBezTo>
                  <a:pt x="313" y="40"/>
                  <a:pt x="306" y="40"/>
                  <a:pt x="299" y="40"/>
                </a:cubicBezTo>
                <a:cubicBezTo>
                  <a:pt x="297" y="40"/>
                  <a:pt x="296" y="40"/>
                  <a:pt x="295" y="40"/>
                </a:cubicBezTo>
                <a:cubicBezTo>
                  <a:pt x="293" y="40"/>
                  <a:pt x="292" y="39"/>
                  <a:pt x="292" y="38"/>
                </a:cubicBezTo>
                <a:cubicBezTo>
                  <a:pt x="291" y="37"/>
                  <a:pt x="291" y="36"/>
                  <a:pt x="291" y="34"/>
                </a:cubicBezTo>
                <a:cubicBezTo>
                  <a:pt x="291" y="29"/>
                  <a:pt x="291" y="23"/>
                  <a:pt x="292" y="18"/>
                </a:cubicBezTo>
                <a:cubicBezTo>
                  <a:pt x="292" y="16"/>
                  <a:pt x="292" y="14"/>
                  <a:pt x="294" y="13"/>
                </a:cubicBezTo>
                <a:cubicBezTo>
                  <a:pt x="295" y="12"/>
                  <a:pt x="296" y="11"/>
                  <a:pt x="298" y="11"/>
                </a:cubicBezTo>
                <a:cubicBezTo>
                  <a:pt x="307" y="11"/>
                  <a:pt x="316" y="11"/>
                  <a:pt x="325" y="11"/>
                </a:cubicBezTo>
                <a:cubicBezTo>
                  <a:pt x="327" y="11"/>
                  <a:pt x="328" y="11"/>
                  <a:pt x="329" y="10"/>
                </a:cubicBezTo>
                <a:cubicBezTo>
                  <a:pt x="329" y="10"/>
                  <a:pt x="329" y="10"/>
                  <a:pt x="329" y="9"/>
                </a:cubicBezTo>
                <a:cubicBezTo>
                  <a:pt x="332" y="7"/>
                  <a:pt x="333" y="4"/>
                  <a:pt x="333" y="1"/>
                </a:cubicBezTo>
                <a:cubicBezTo>
                  <a:pt x="332" y="1"/>
                  <a:pt x="332" y="1"/>
                  <a:pt x="332" y="1"/>
                </a:cubicBezTo>
                <a:cubicBezTo>
                  <a:pt x="326" y="1"/>
                  <a:pt x="320" y="0"/>
                  <a:pt x="313" y="0"/>
                </a:cubicBezTo>
                <a:cubicBezTo>
                  <a:pt x="309" y="0"/>
                  <a:pt x="304" y="0"/>
                  <a:pt x="300" y="0"/>
                </a:cubicBezTo>
                <a:cubicBezTo>
                  <a:pt x="298" y="0"/>
                  <a:pt x="296" y="0"/>
                  <a:pt x="294" y="1"/>
                </a:cubicBezTo>
                <a:cubicBezTo>
                  <a:pt x="290" y="1"/>
                  <a:pt x="286" y="4"/>
                  <a:pt x="284" y="8"/>
                </a:cubicBezTo>
                <a:cubicBezTo>
                  <a:pt x="283" y="11"/>
                  <a:pt x="282" y="13"/>
                  <a:pt x="282" y="16"/>
                </a:cubicBezTo>
                <a:cubicBezTo>
                  <a:pt x="282" y="22"/>
                  <a:pt x="281" y="28"/>
                  <a:pt x="281" y="34"/>
                </a:cubicBezTo>
                <a:cubicBezTo>
                  <a:pt x="281" y="38"/>
                  <a:pt x="282" y="42"/>
                  <a:pt x="284" y="46"/>
                </a:cubicBezTo>
                <a:cubicBezTo>
                  <a:pt x="286" y="50"/>
                  <a:pt x="290" y="52"/>
                  <a:pt x="294" y="52"/>
                </a:cubicBezTo>
                <a:cubicBezTo>
                  <a:pt x="302" y="52"/>
                  <a:pt x="310" y="52"/>
                  <a:pt x="318" y="52"/>
                </a:cubicBezTo>
                <a:cubicBezTo>
                  <a:pt x="318" y="52"/>
                  <a:pt x="319" y="52"/>
                  <a:pt x="319" y="52"/>
                </a:cubicBezTo>
                <a:cubicBezTo>
                  <a:pt x="322" y="53"/>
                  <a:pt x="323" y="55"/>
                  <a:pt x="323" y="58"/>
                </a:cubicBezTo>
                <a:cubicBezTo>
                  <a:pt x="323" y="62"/>
                  <a:pt x="323" y="66"/>
                  <a:pt x="323" y="69"/>
                </a:cubicBezTo>
                <a:cubicBezTo>
                  <a:pt x="323" y="71"/>
                  <a:pt x="324" y="73"/>
                  <a:pt x="323" y="75"/>
                </a:cubicBezTo>
                <a:cubicBezTo>
                  <a:pt x="323" y="78"/>
                  <a:pt x="321" y="80"/>
                  <a:pt x="318" y="80"/>
                </a:cubicBezTo>
                <a:cubicBezTo>
                  <a:pt x="313" y="80"/>
                  <a:pt x="308" y="80"/>
                  <a:pt x="303" y="80"/>
                </a:cubicBezTo>
                <a:cubicBezTo>
                  <a:pt x="297" y="80"/>
                  <a:pt x="291" y="80"/>
                  <a:pt x="286" y="80"/>
                </a:cubicBezTo>
                <a:cubicBezTo>
                  <a:pt x="285" y="80"/>
                  <a:pt x="284" y="81"/>
                  <a:pt x="283" y="81"/>
                </a:cubicBezTo>
                <a:cubicBezTo>
                  <a:pt x="280" y="84"/>
                  <a:pt x="277" y="87"/>
                  <a:pt x="275" y="92"/>
                </a:cubicBezTo>
                <a:cubicBezTo>
                  <a:pt x="275" y="93"/>
                  <a:pt x="275" y="93"/>
                  <a:pt x="275" y="94"/>
                </a:cubicBezTo>
                <a:cubicBezTo>
                  <a:pt x="319" y="94"/>
                  <a:pt x="319" y="94"/>
                  <a:pt x="319" y="94"/>
                </a:cubicBezTo>
                <a:cubicBezTo>
                  <a:pt x="320" y="94"/>
                  <a:pt x="321" y="94"/>
                  <a:pt x="322" y="94"/>
                </a:cubicBezTo>
                <a:cubicBezTo>
                  <a:pt x="329" y="92"/>
                  <a:pt x="333" y="84"/>
                  <a:pt x="333" y="78"/>
                </a:cubicBezTo>
                <a:cubicBezTo>
                  <a:pt x="333" y="76"/>
                  <a:pt x="333" y="74"/>
                  <a:pt x="333" y="73"/>
                </a:cubicBezTo>
                <a:close/>
                <a:moveTo>
                  <a:pt x="0" y="1"/>
                </a:moveTo>
                <a:cubicBezTo>
                  <a:pt x="1" y="7"/>
                  <a:pt x="5" y="11"/>
                  <a:pt x="10" y="12"/>
                </a:cubicBezTo>
                <a:cubicBezTo>
                  <a:pt x="12" y="12"/>
                  <a:pt x="14" y="12"/>
                  <a:pt x="16" y="12"/>
                </a:cubicBezTo>
                <a:cubicBezTo>
                  <a:pt x="19" y="12"/>
                  <a:pt x="22" y="12"/>
                  <a:pt x="25" y="12"/>
                </a:cubicBezTo>
                <a:cubicBezTo>
                  <a:pt x="26" y="12"/>
                  <a:pt x="27" y="12"/>
                  <a:pt x="27" y="13"/>
                </a:cubicBezTo>
                <a:cubicBezTo>
                  <a:pt x="28" y="15"/>
                  <a:pt x="28" y="16"/>
                  <a:pt x="28" y="17"/>
                </a:cubicBezTo>
                <a:cubicBezTo>
                  <a:pt x="28" y="38"/>
                  <a:pt x="28" y="59"/>
                  <a:pt x="28" y="80"/>
                </a:cubicBezTo>
                <a:cubicBezTo>
                  <a:pt x="28" y="84"/>
                  <a:pt x="29" y="87"/>
                  <a:pt x="31" y="89"/>
                </a:cubicBezTo>
                <a:cubicBezTo>
                  <a:pt x="33" y="91"/>
                  <a:pt x="35" y="93"/>
                  <a:pt x="37" y="93"/>
                </a:cubicBezTo>
                <a:cubicBezTo>
                  <a:pt x="38" y="94"/>
                  <a:pt x="39" y="94"/>
                  <a:pt x="39" y="94"/>
                </a:cubicBezTo>
                <a:cubicBezTo>
                  <a:pt x="39" y="93"/>
                  <a:pt x="39" y="93"/>
                  <a:pt x="39" y="93"/>
                </a:cubicBezTo>
                <a:cubicBezTo>
                  <a:pt x="39" y="68"/>
                  <a:pt x="39" y="43"/>
                  <a:pt x="39" y="18"/>
                </a:cubicBezTo>
                <a:cubicBezTo>
                  <a:pt x="39" y="17"/>
                  <a:pt x="40" y="17"/>
                  <a:pt x="40" y="16"/>
                </a:cubicBezTo>
                <a:cubicBezTo>
                  <a:pt x="40" y="14"/>
                  <a:pt x="41" y="12"/>
                  <a:pt x="43" y="12"/>
                </a:cubicBezTo>
                <a:cubicBezTo>
                  <a:pt x="46" y="12"/>
                  <a:pt x="48" y="12"/>
                  <a:pt x="51" y="12"/>
                </a:cubicBezTo>
                <a:cubicBezTo>
                  <a:pt x="53" y="12"/>
                  <a:pt x="56" y="12"/>
                  <a:pt x="58" y="12"/>
                </a:cubicBezTo>
                <a:cubicBezTo>
                  <a:pt x="63" y="12"/>
                  <a:pt x="66" y="8"/>
                  <a:pt x="67" y="3"/>
                </a:cubicBezTo>
                <a:cubicBezTo>
                  <a:pt x="68" y="2"/>
                  <a:pt x="68" y="1"/>
                  <a:pt x="68" y="0"/>
                </a:cubicBezTo>
                <a:cubicBezTo>
                  <a:pt x="0" y="0"/>
                  <a:pt x="0" y="0"/>
                  <a:pt x="0" y="0"/>
                </a:cubicBezTo>
                <a:cubicBezTo>
                  <a:pt x="0" y="1"/>
                  <a:pt x="0" y="1"/>
                  <a:pt x="0" y="1"/>
                </a:cubicBezTo>
                <a:close/>
                <a:moveTo>
                  <a:pt x="191" y="80"/>
                </a:moveTo>
                <a:cubicBezTo>
                  <a:pt x="181" y="80"/>
                  <a:pt x="171" y="80"/>
                  <a:pt x="161" y="80"/>
                </a:cubicBezTo>
                <a:cubicBezTo>
                  <a:pt x="159" y="80"/>
                  <a:pt x="158" y="79"/>
                  <a:pt x="157" y="76"/>
                </a:cubicBezTo>
                <a:cubicBezTo>
                  <a:pt x="157" y="73"/>
                  <a:pt x="157" y="71"/>
                  <a:pt x="157" y="68"/>
                </a:cubicBezTo>
                <a:cubicBezTo>
                  <a:pt x="157" y="50"/>
                  <a:pt x="157" y="32"/>
                  <a:pt x="157" y="14"/>
                </a:cubicBezTo>
                <a:cubicBezTo>
                  <a:pt x="157" y="11"/>
                  <a:pt x="156" y="8"/>
                  <a:pt x="154" y="5"/>
                </a:cubicBezTo>
                <a:cubicBezTo>
                  <a:pt x="152" y="2"/>
                  <a:pt x="149" y="1"/>
                  <a:pt x="146" y="1"/>
                </a:cubicBezTo>
                <a:cubicBezTo>
                  <a:pt x="146" y="2"/>
                  <a:pt x="146" y="2"/>
                  <a:pt x="146" y="2"/>
                </a:cubicBezTo>
                <a:cubicBezTo>
                  <a:pt x="146" y="28"/>
                  <a:pt x="146" y="54"/>
                  <a:pt x="146" y="80"/>
                </a:cubicBezTo>
                <a:cubicBezTo>
                  <a:pt x="146" y="81"/>
                  <a:pt x="146" y="82"/>
                  <a:pt x="146" y="83"/>
                </a:cubicBezTo>
                <a:cubicBezTo>
                  <a:pt x="146" y="89"/>
                  <a:pt x="150" y="94"/>
                  <a:pt x="155" y="94"/>
                </a:cubicBezTo>
                <a:cubicBezTo>
                  <a:pt x="170" y="94"/>
                  <a:pt x="185" y="94"/>
                  <a:pt x="200" y="94"/>
                </a:cubicBezTo>
                <a:cubicBezTo>
                  <a:pt x="201" y="94"/>
                  <a:pt x="201" y="94"/>
                  <a:pt x="201" y="94"/>
                </a:cubicBezTo>
                <a:cubicBezTo>
                  <a:pt x="201" y="92"/>
                  <a:pt x="201" y="90"/>
                  <a:pt x="200" y="88"/>
                </a:cubicBezTo>
                <a:cubicBezTo>
                  <a:pt x="199" y="83"/>
                  <a:pt x="196" y="80"/>
                  <a:pt x="191" y="80"/>
                </a:cubicBezTo>
                <a:close/>
                <a:moveTo>
                  <a:pt x="262" y="17"/>
                </a:moveTo>
                <a:cubicBezTo>
                  <a:pt x="261" y="19"/>
                  <a:pt x="259" y="21"/>
                  <a:pt x="257" y="23"/>
                </a:cubicBezTo>
                <a:cubicBezTo>
                  <a:pt x="257" y="24"/>
                  <a:pt x="257" y="24"/>
                  <a:pt x="257" y="25"/>
                </a:cubicBezTo>
                <a:cubicBezTo>
                  <a:pt x="257" y="40"/>
                  <a:pt x="257" y="55"/>
                  <a:pt x="257" y="70"/>
                </a:cubicBezTo>
                <a:cubicBezTo>
                  <a:pt x="257" y="72"/>
                  <a:pt x="256" y="74"/>
                  <a:pt x="255" y="75"/>
                </a:cubicBezTo>
                <a:cubicBezTo>
                  <a:pt x="254" y="77"/>
                  <a:pt x="253" y="77"/>
                  <a:pt x="251" y="77"/>
                </a:cubicBezTo>
                <a:cubicBezTo>
                  <a:pt x="246" y="77"/>
                  <a:pt x="240" y="77"/>
                  <a:pt x="235" y="77"/>
                </a:cubicBezTo>
                <a:cubicBezTo>
                  <a:pt x="229" y="77"/>
                  <a:pt x="224" y="77"/>
                  <a:pt x="218" y="77"/>
                </a:cubicBezTo>
                <a:cubicBezTo>
                  <a:pt x="218" y="77"/>
                  <a:pt x="217" y="77"/>
                  <a:pt x="217" y="78"/>
                </a:cubicBezTo>
                <a:cubicBezTo>
                  <a:pt x="216" y="79"/>
                  <a:pt x="215" y="81"/>
                  <a:pt x="213" y="83"/>
                </a:cubicBezTo>
                <a:cubicBezTo>
                  <a:pt x="213" y="84"/>
                  <a:pt x="213" y="84"/>
                  <a:pt x="213" y="84"/>
                </a:cubicBezTo>
                <a:cubicBezTo>
                  <a:pt x="213" y="84"/>
                  <a:pt x="213" y="84"/>
                  <a:pt x="213" y="85"/>
                </a:cubicBezTo>
                <a:cubicBezTo>
                  <a:pt x="214" y="85"/>
                  <a:pt x="214" y="86"/>
                  <a:pt x="215" y="86"/>
                </a:cubicBezTo>
                <a:cubicBezTo>
                  <a:pt x="224" y="93"/>
                  <a:pt x="233" y="95"/>
                  <a:pt x="242" y="93"/>
                </a:cubicBezTo>
                <a:cubicBezTo>
                  <a:pt x="251" y="90"/>
                  <a:pt x="257" y="85"/>
                  <a:pt x="263" y="77"/>
                </a:cubicBezTo>
                <a:cubicBezTo>
                  <a:pt x="268" y="68"/>
                  <a:pt x="271" y="59"/>
                  <a:pt x="271" y="48"/>
                </a:cubicBezTo>
                <a:cubicBezTo>
                  <a:pt x="271" y="37"/>
                  <a:pt x="268" y="28"/>
                  <a:pt x="264" y="20"/>
                </a:cubicBezTo>
                <a:cubicBezTo>
                  <a:pt x="263" y="19"/>
                  <a:pt x="263" y="18"/>
                  <a:pt x="262" y="17"/>
                </a:cubicBezTo>
                <a:close/>
                <a:moveTo>
                  <a:pt x="212" y="69"/>
                </a:moveTo>
                <a:cubicBezTo>
                  <a:pt x="212" y="67"/>
                  <a:pt x="212" y="65"/>
                  <a:pt x="212" y="63"/>
                </a:cubicBezTo>
                <a:cubicBezTo>
                  <a:pt x="212" y="24"/>
                  <a:pt x="212" y="24"/>
                  <a:pt x="212" y="24"/>
                </a:cubicBezTo>
                <a:cubicBezTo>
                  <a:pt x="212" y="20"/>
                  <a:pt x="215" y="17"/>
                  <a:pt x="218" y="17"/>
                </a:cubicBezTo>
                <a:cubicBezTo>
                  <a:pt x="229" y="17"/>
                  <a:pt x="239" y="17"/>
                  <a:pt x="250" y="17"/>
                </a:cubicBezTo>
                <a:cubicBezTo>
                  <a:pt x="251" y="17"/>
                  <a:pt x="251" y="17"/>
                  <a:pt x="252" y="16"/>
                </a:cubicBezTo>
                <a:cubicBezTo>
                  <a:pt x="253" y="14"/>
                  <a:pt x="255" y="12"/>
                  <a:pt x="256" y="10"/>
                </a:cubicBezTo>
                <a:cubicBezTo>
                  <a:pt x="256" y="10"/>
                  <a:pt x="256" y="10"/>
                  <a:pt x="256" y="10"/>
                </a:cubicBezTo>
                <a:cubicBezTo>
                  <a:pt x="256" y="9"/>
                  <a:pt x="256" y="9"/>
                  <a:pt x="256" y="9"/>
                </a:cubicBezTo>
                <a:cubicBezTo>
                  <a:pt x="250" y="4"/>
                  <a:pt x="244" y="1"/>
                  <a:pt x="237" y="0"/>
                </a:cubicBezTo>
                <a:cubicBezTo>
                  <a:pt x="232" y="0"/>
                  <a:pt x="226" y="1"/>
                  <a:pt x="221" y="4"/>
                </a:cubicBezTo>
                <a:cubicBezTo>
                  <a:pt x="214" y="8"/>
                  <a:pt x="208" y="14"/>
                  <a:pt x="204" y="23"/>
                </a:cubicBezTo>
                <a:cubicBezTo>
                  <a:pt x="199" y="32"/>
                  <a:pt x="198" y="42"/>
                  <a:pt x="199" y="53"/>
                </a:cubicBezTo>
                <a:cubicBezTo>
                  <a:pt x="200" y="61"/>
                  <a:pt x="202" y="69"/>
                  <a:pt x="206" y="75"/>
                </a:cubicBezTo>
                <a:cubicBezTo>
                  <a:pt x="206" y="76"/>
                  <a:pt x="207" y="76"/>
                  <a:pt x="207" y="77"/>
                </a:cubicBezTo>
                <a:cubicBezTo>
                  <a:pt x="207" y="76"/>
                  <a:pt x="207" y="76"/>
                  <a:pt x="207" y="76"/>
                </a:cubicBezTo>
                <a:cubicBezTo>
                  <a:pt x="209" y="74"/>
                  <a:pt x="211" y="72"/>
                  <a:pt x="212" y="69"/>
                </a:cubicBezTo>
                <a:cubicBezTo>
                  <a:pt x="212" y="69"/>
                  <a:pt x="212" y="69"/>
                  <a:pt x="212" y="69"/>
                </a:cubicBezTo>
                <a:close/>
                <a:moveTo>
                  <a:pt x="255" y="19"/>
                </a:moveTo>
                <a:cubicBezTo>
                  <a:pt x="256" y="19"/>
                  <a:pt x="256" y="20"/>
                  <a:pt x="257" y="20"/>
                </a:cubicBezTo>
                <a:cubicBezTo>
                  <a:pt x="258" y="19"/>
                  <a:pt x="259" y="17"/>
                  <a:pt x="261" y="15"/>
                </a:cubicBezTo>
                <a:cubicBezTo>
                  <a:pt x="260" y="14"/>
                  <a:pt x="259" y="13"/>
                  <a:pt x="258" y="11"/>
                </a:cubicBezTo>
                <a:cubicBezTo>
                  <a:pt x="257" y="13"/>
                  <a:pt x="255" y="15"/>
                  <a:pt x="254" y="17"/>
                </a:cubicBezTo>
                <a:cubicBezTo>
                  <a:pt x="254" y="18"/>
                  <a:pt x="255" y="18"/>
                  <a:pt x="255" y="19"/>
                </a:cubicBezTo>
                <a:close/>
                <a:moveTo>
                  <a:pt x="214" y="75"/>
                </a:moveTo>
                <a:cubicBezTo>
                  <a:pt x="213" y="74"/>
                  <a:pt x="213" y="74"/>
                  <a:pt x="213" y="73"/>
                </a:cubicBezTo>
                <a:cubicBezTo>
                  <a:pt x="211" y="75"/>
                  <a:pt x="210" y="77"/>
                  <a:pt x="208" y="79"/>
                </a:cubicBezTo>
                <a:cubicBezTo>
                  <a:pt x="209" y="80"/>
                  <a:pt x="210" y="81"/>
                  <a:pt x="211" y="82"/>
                </a:cubicBezTo>
                <a:cubicBezTo>
                  <a:pt x="212" y="80"/>
                  <a:pt x="214" y="79"/>
                  <a:pt x="215" y="77"/>
                </a:cubicBezTo>
                <a:cubicBezTo>
                  <a:pt x="215" y="76"/>
                  <a:pt x="214" y="76"/>
                  <a:pt x="214" y="75"/>
                </a:cubicBezTo>
                <a:close/>
                <a:moveTo>
                  <a:pt x="330" y="91"/>
                </a:moveTo>
                <a:cubicBezTo>
                  <a:pt x="331" y="91"/>
                  <a:pt x="331" y="91"/>
                  <a:pt x="331" y="91"/>
                </a:cubicBezTo>
                <a:cubicBezTo>
                  <a:pt x="331" y="94"/>
                  <a:pt x="331" y="94"/>
                  <a:pt x="331" y="94"/>
                </a:cubicBezTo>
                <a:cubicBezTo>
                  <a:pt x="331" y="94"/>
                  <a:pt x="331" y="94"/>
                  <a:pt x="331" y="94"/>
                </a:cubicBezTo>
                <a:cubicBezTo>
                  <a:pt x="331" y="91"/>
                  <a:pt x="331" y="91"/>
                  <a:pt x="331" y="91"/>
                </a:cubicBezTo>
                <a:cubicBezTo>
                  <a:pt x="332" y="91"/>
                  <a:pt x="332" y="91"/>
                  <a:pt x="332" y="91"/>
                </a:cubicBezTo>
                <a:cubicBezTo>
                  <a:pt x="332" y="90"/>
                  <a:pt x="332" y="90"/>
                  <a:pt x="332" y="90"/>
                </a:cubicBezTo>
                <a:cubicBezTo>
                  <a:pt x="330" y="90"/>
                  <a:pt x="330" y="90"/>
                  <a:pt x="330" y="90"/>
                </a:cubicBezTo>
                <a:lnTo>
                  <a:pt x="330" y="91"/>
                </a:lnTo>
                <a:close/>
                <a:moveTo>
                  <a:pt x="335" y="90"/>
                </a:moveTo>
                <a:cubicBezTo>
                  <a:pt x="334" y="93"/>
                  <a:pt x="334" y="93"/>
                  <a:pt x="334" y="93"/>
                </a:cubicBezTo>
                <a:cubicBezTo>
                  <a:pt x="334" y="90"/>
                  <a:pt x="334" y="90"/>
                  <a:pt x="334" y="90"/>
                </a:cubicBezTo>
                <a:cubicBezTo>
                  <a:pt x="333" y="90"/>
                  <a:pt x="333" y="90"/>
                  <a:pt x="333" y="90"/>
                </a:cubicBezTo>
                <a:cubicBezTo>
                  <a:pt x="333" y="94"/>
                  <a:pt x="333" y="94"/>
                  <a:pt x="333" y="94"/>
                </a:cubicBezTo>
                <a:cubicBezTo>
                  <a:pt x="333" y="94"/>
                  <a:pt x="333" y="94"/>
                  <a:pt x="333" y="94"/>
                </a:cubicBezTo>
                <a:cubicBezTo>
                  <a:pt x="333" y="93"/>
                  <a:pt x="333" y="93"/>
                  <a:pt x="333" y="93"/>
                </a:cubicBezTo>
                <a:cubicBezTo>
                  <a:pt x="333" y="91"/>
                  <a:pt x="333" y="91"/>
                  <a:pt x="333" y="91"/>
                </a:cubicBezTo>
                <a:cubicBezTo>
                  <a:pt x="334" y="94"/>
                  <a:pt x="334" y="94"/>
                  <a:pt x="334" y="94"/>
                </a:cubicBezTo>
                <a:cubicBezTo>
                  <a:pt x="334" y="94"/>
                  <a:pt x="334" y="94"/>
                  <a:pt x="334" y="94"/>
                </a:cubicBezTo>
                <a:cubicBezTo>
                  <a:pt x="335" y="91"/>
                  <a:pt x="335" y="91"/>
                  <a:pt x="335" y="91"/>
                </a:cubicBezTo>
                <a:cubicBezTo>
                  <a:pt x="335" y="93"/>
                  <a:pt x="335" y="93"/>
                  <a:pt x="335" y="93"/>
                </a:cubicBezTo>
                <a:cubicBezTo>
                  <a:pt x="335" y="94"/>
                  <a:pt x="335" y="94"/>
                  <a:pt x="335" y="94"/>
                </a:cubicBezTo>
                <a:cubicBezTo>
                  <a:pt x="336" y="94"/>
                  <a:pt x="336" y="94"/>
                  <a:pt x="336" y="94"/>
                </a:cubicBezTo>
                <a:cubicBezTo>
                  <a:pt x="336" y="90"/>
                  <a:pt x="336" y="90"/>
                  <a:pt x="336" y="90"/>
                </a:cubicBezTo>
                <a:lnTo>
                  <a:pt x="335" y="90"/>
                </a:lnTo>
                <a:close/>
              </a:path>
            </a:pathLst>
          </a:custGeom>
          <a:solidFill>
            <a:schemeClr val="tx2"/>
          </a:solidFill>
          <a:ln w="9525">
            <a:no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ＭＳ Ｐゴシック" charset="0"/>
              <a:sym typeface="Arial"/>
            </a:endParaRPr>
          </a:p>
        </p:txBody>
      </p:sp>
      <p:sp>
        <p:nvSpPr>
          <p:cNvPr id="254" name="TextBox 253">
            <a:extLst>
              <a:ext uri="{FF2B5EF4-FFF2-40B4-BE49-F238E27FC236}">
                <a16:creationId xmlns:a16="http://schemas.microsoft.com/office/drawing/2014/main" id="{2222DAF7-6CAE-4386-A249-9FA3982C70E4}"/>
              </a:ext>
            </a:extLst>
          </p:cNvPr>
          <p:cNvSpPr txBox="1"/>
          <p:nvPr/>
        </p:nvSpPr>
        <p:spPr>
          <a:xfrm>
            <a:off x="6317925" y="1805663"/>
            <a:ext cx="646075" cy="461665"/>
          </a:xfrm>
          <a:prstGeom prst="rect">
            <a:avLst/>
          </a:prstGeom>
          <a:noFill/>
        </p:spPr>
        <p:txBody>
          <a:bodyPr wrap="square" rtlCol="0">
            <a:spAutoFit/>
          </a:bodyPr>
          <a:lstStyle/>
          <a:p>
            <a:pPr defTabSz="609585" fontAlgn="base">
              <a:spcBef>
                <a:spcPct val="0"/>
              </a:spcBef>
              <a:spcAft>
                <a:spcPct val="0"/>
              </a:spcAft>
              <a:defRPr/>
            </a:pPr>
            <a:r>
              <a:rPr lang="en-US" sz="800">
                <a:solidFill>
                  <a:srgbClr val="282828"/>
                </a:solidFill>
                <a:latin typeface="CiscoSansTT ExtraLight"/>
                <a:ea typeface="ＭＳ Ｐゴシック" charset="0"/>
                <a:cs typeface="Arial"/>
                <a:sym typeface="Arial"/>
              </a:rPr>
              <a:t>SOAR</a:t>
            </a:r>
          </a:p>
          <a:p>
            <a:pPr defTabSz="609585" fontAlgn="base">
              <a:spcBef>
                <a:spcPct val="0"/>
              </a:spcBef>
              <a:spcAft>
                <a:spcPct val="0"/>
              </a:spcAft>
              <a:defRPr/>
            </a:pPr>
            <a:r>
              <a:rPr lang="en-US" sz="800">
                <a:solidFill>
                  <a:srgbClr val="282828"/>
                </a:solidFill>
                <a:latin typeface="CiscoSansTT ExtraLight"/>
                <a:ea typeface="ＭＳ Ｐゴシック" charset="0"/>
                <a:cs typeface="Arial"/>
                <a:sym typeface="Arial"/>
              </a:rPr>
              <a:t>Platform </a:t>
            </a:r>
          </a:p>
          <a:p>
            <a:pPr defTabSz="609585" fontAlgn="base">
              <a:spcBef>
                <a:spcPct val="0"/>
              </a:spcBef>
              <a:spcAft>
                <a:spcPct val="0"/>
              </a:spcAft>
              <a:defRPr/>
            </a:pPr>
            <a:endParaRPr lang="en-US" sz="800">
              <a:solidFill>
                <a:srgbClr val="282828"/>
              </a:solidFill>
              <a:latin typeface="CiscoSansTT ExtraLight"/>
              <a:ea typeface="ＭＳ Ｐゴシック" charset="0"/>
              <a:cs typeface="Arial"/>
              <a:sym typeface="Arial"/>
            </a:endParaRPr>
          </a:p>
        </p:txBody>
      </p:sp>
    </p:spTree>
    <p:extLst>
      <p:ext uri="{BB962C8B-B14F-4D97-AF65-F5344CB8AC3E}">
        <p14:creationId xmlns:p14="http://schemas.microsoft.com/office/powerpoint/2010/main" val="7826863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B7C1AEA-2BBF-493B-8B73-F61D3C0555CD}"/>
              </a:ext>
            </a:extLst>
          </p:cNvPr>
          <p:cNvGrpSpPr/>
          <p:nvPr/>
        </p:nvGrpSpPr>
        <p:grpSpPr>
          <a:xfrm>
            <a:off x="8863872" y="2156835"/>
            <a:ext cx="2645769" cy="3001965"/>
            <a:chOff x="6647903" y="1483615"/>
            <a:chExt cx="1984327" cy="2251474"/>
          </a:xfrm>
        </p:grpSpPr>
        <p:sp>
          <p:nvSpPr>
            <p:cNvPr id="128" name="Rectangle 127">
              <a:extLst>
                <a:ext uri="{FF2B5EF4-FFF2-40B4-BE49-F238E27FC236}">
                  <a16:creationId xmlns:a16="http://schemas.microsoft.com/office/drawing/2014/main" id="{47DEBFBA-B697-44CD-B790-CE2E41CF10B2}"/>
                </a:ext>
              </a:extLst>
            </p:cNvPr>
            <p:cNvSpPr>
              <a:spLocks noChangeAspect="1"/>
            </p:cNvSpPr>
            <p:nvPr/>
          </p:nvSpPr>
          <p:spPr>
            <a:xfrm>
              <a:off x="6647903" y="1483615"/>
              <a:ext cx="1984327" cy="2251474"/>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21920" rtlCol="0" anchor="t"/>
            <a:lstStyle/>
            <a:p>
              <a:pPr algn="ctr" defTabSz="609585" fontAlgn="base">
                <a:spcBef>
                  <a:spcPct val="0"/>
                </a:spcBef>
                <a:spcAft>
                  <a:spcPct val="0"/>
                </a:spcAft>
                <a:defRPr/>
              </a:pPr>
              <a:r>
                <a:rPr lang="en-US" sz="1867" b="1" dirty="0">
                  <a:solidFill>
                    <a:srgbClr val="005073"/>
                  </a:solidFill>
                  <a:latin typeface="CiscoSansTT ExtraLight"/>
                  <a:sym typeface="Arial"/>
                </a:rPr>
                <a:t>Response</a:t>
              </a:r>
            </a:p>
          </p:txBody>
        </p:sp>
        <p:sp>
          <p:nvSpPr>
            <p:cNvPr id="264" name="TextBox 263">
              <a:extLst>
                <a:ext uri="{FF2B5EF4-FFF2-40B4-BE49-F238E27FC236}">
                  <a16:creationId xmlns:a16="http://schemas.microsoft.com/office/drawing/2014/main" id="{39E1D073-68C7-4993-AE21-6F946B812B4F}"/>
                </a:ext>
              </a:extLst>
            </p:cNvPr>
            <p:cNvSpPr txBox="1"/>
            <p:nvPr/>
          </p:nvSpPr>
          <p:spPr>
            <a:xfrm>
              <a:off x="6647903" y="3257090"/>
              <a:ext cx="1969915" cy="246173"/>
            </a:xfrm>
            <a:prstGeom prst="rect">
              <a:avLst/>
            </a:prstGeom>
            <a:noFill/>
          </p:spPr>
          <p:txBody>
            <a:bodyPr wrap="square" rtlCol="0">
              <a:spAutoFit/>
            </a:bodyPr>
            <a:lstStyle/>
            <a:p>
              <a:pPr algn="ctr" defTabSz="609585" fontAlgn="base">
                <a:spcBef>
                  <a:spcPct val="0"/>
                </a:spcBef>
                <a:spcAft>
                  <a:spcPct val="0"/>
                </a:spcAft>
                <a:defRPr/>
              </a:pPr>
              <a:r>
                <a:rPr lang="en-US" sz="1533">
                  <a:solidFill>
                    <a:srgbClr val="282828"/>
                  </a:solidFill>
                  <a:latin typeface="CiscoSansTT ExtraLight"/>
                  <a:ea typeface="ＭＳ Ｐゴシック" charset="0"/>
                  <a:cs typeface="Arial"/>
                  <a:sym typeface="Arial"/>
                </a:rPr>
                <a:t>Mitigation recommendation</a:t>
              </a:r>
            </a:p>
          </p:txBody>
        </p:sp>
        <p:grpSp>
          <p:nvGrpSpPr>
            <p:cNvPr id="311" name="Group 310">
              <a:extLst>
                <a:ext uri="{FF2B5EF4-FFF2-40B4-BE49-F238E27FC236}">
                  <a16:creationId xmlns:a16="http://schemas.microsoft.com/office/drawing/2014/main" id="{DAD3F5FF-70D4-4E25-AA78-15A2B12F73E4}"/>
                </a:ext>
              </a:extLst>
            </p:cNvPr>
            <p:cNvGrpSpPr/>
            <p:nvPr/>
          </p:nvGrpSpPr>
          <p:grpSpPr>
            <a:xfrm>
              <a:off x="6873061" y="2205930"/>
              <a:ext cx="1591618" cy="811966"/>
              <a:chOff x="6610736" y="2003565"/>
              <a:chExt cx="1591618" cy="811966"/>
            </a:xfrm>
          </p:grpSpPr>
          <p:sp>
            <p:nvSpPr>
              <p:cNvPr id="312" name="Oval 342">
                <a:extLst>
                  <a:ext uri="{FF2B5EF4-FFF2-40B4-BE49-F238E27FC236}">
                    <a16:creationId xmlns:a16="http://schemas.microsoft.com/office/drawing/2014/main" id="{3BCBAA89-60D2-43B1-963A-16019A33558C}"/>
                  </a:ext>
                </a:extLst>
              </p:cNvPr>
              <p:cNvSpPr>
                <a:spLocks noChangeAspect="1" noChangeArrowheads="1"/>
              </p:cNvSpPr>
              <p:nvPr/>
            </p:nvSpPr>
            <p:spPr bwMode="auto">
              <a:xfrm>
                <a:off x="6722287" y="2003565"/>
                <a:ext cx="307747" cy="304489"/>
              </a:xfrm>
              <a:prstGeom prst="ellipse">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nvGrpSpPr>
              <p:cNvPr id="313" name="Group 312">
                <a:extLst>
                  <a:ext uri="{FF2B5EF4-FFF2-40B4-BE49-F238E27FC236}">
                    <a16:creationId xmlns:a16="http://schemas.microsoft.com/office/drawing/2014/main" id="{CCA54A78-62D6-4913-B842-005B663252F0}"/>
                  </a:ext>
                </a:extLst>
              </p:cNvPr>
              <p:cNvGrpSpPr/>
              <p:nvPr/>
            </p:nvGrpSpPr>
            <p:grpSpPr>
              <a:xfrm>
                <a:off x="6610736" y="2102532"/>
                <a:ext cx="1591618" cy="712999"/>
                <a:chOff x="6610736" y="2102532"/>
                <a:chExt cx="1591618" cy="712999"/>
              </a:xfrm>
            </p:grpSpPr>
            <p:sp>
              <p:nvSpPr>
                <p:cNvPr id="314" name="Freeform 343">
                  <a:extLst>
                    <a:ext uri="{FF2B5EF4-FFF2-40B4-BE49-F238E27FC236}">
                      <a16:creationId xmlns:a16="http://schemas.microsoft.com/office/drawing/2014/main" id="{9CC3F18F-D478-4515-BEB3-24878F3FDFA3}"/>
                    </a:ext>
                  </a:extLst>
                </p:cNvPr>
                <p:cNvSpPr>
                  <a:spLocks noChangeAspect="1"/>
                </p:cNvSpPr>
                <p:nvPr/>
              </p:nvSpPr>
              <p:spPr bwMode="auto">
                <a:xfrm>
                  <a:off x="6610736" y="2372154"/>
                  <a:ext cx="529052" cy="443377"/>
                </a:xfrm>
                <a:custGeom>
                  <a:avLst/>
                  <a:gdLst>
                    <a:gd name="T0" fmla="*/ 28 w 28"/>
                    <a:gd name="T1" fmla="*/ 9 h 35"/>
                    <a:gd name="T2" fmla="*/ 19 w 28"/>
                    <a:gd name="T3" fmla="*/ 0 h 35"/>
                    <a:gd name="T4" fmla="*/ 9 w 28"/>
                    <a:gd name="T5" fmla="*/ 0 h 35"/>
                    <a:gd name="T6" fmla="*/ 0 w 28"/>
                    <a:gd name="T7" fmla="*/ 9 h 35"/>
                    <a:gd name="T8" fmla="*/ 0 w 28"/>
                    <a:gd name="T9" fmla="*/ 35 h 35"/>
                    <a:gd name="T10" fmla="*/ 28 w 28"/>
                    <a:gd name="T11" fmla="*/ 35 h 35"/>
                    <a:gd name="T12" fmla="*/ 28 w 28"/>
                    <a:gd name="T13" fmla="*/ 9 h 35"/>
                  </a:gdLst>
                  <a:ahLst/>
                  <a:cxnLst>
                    <a:cxn ang="0">
                      <a:pos x="T0" y="T1"/>
                    </a:cxn>
                    <a:cxn ang="0">
                      <a:pos x="T2" y="T3"/>
                    </a:cxn>
                    <a:cxn ang="0">
                      <a:pos x="T4" y="T5"/>
                    </a:cxn>
                    <a:cxn ang="0">
                      <a:pos x="T6" y="T7"/>
                    </a:cxn>
                    <a:cxn ang="0">
                      <a:pos x="T8" y="T9"/>
                    </a:cxn>
                    <a:cxn ang="0">
                      <a:pos x="T10" y="T11"/>
                    </a:cxn>
                    <a:cxn ang="0">
                      <a:pos x="T12" y="T13"/>
                    </a:cxn>
                  </a:cxnLst>
                  <a:rect l="0" t="0" r="r" b="b"/>
                  <a:pathLst>
                    <a:path w="28" h="35">
                      <a:moveTo>
                        <a:pt x="28" y="9"/>
                      </a:moveTo>
                      <a:cubicBezTo>
                        <a:pt x="28" y="4"/>
                        <a:pt x="24" y="0"/>
                        <a:pt x="19" y="0"/>
                      </a:cubicBezTo>
                      <a:cubicBezTo>
                        <a:pt x="9" y="0"/>
                        <a:pt x="9" y="0"/>
                        <a:pt x="9" y="0"/>
                      </a:cubicBezTo>
                      <a:cubicBezTo>
                        <a:pt x="4" y="0"/>
                        <a:pt x="0" y="4"/>
                        <a:pt x="0" y="9"/>
                      </a:cubicBezTo>
                      <a:cubicBezTo>
                        <a:pt x="0" y="35"/>
                        <a:pt x="0" y="35"/>
                        <a:pt x="0" y="35"/>
                      </a:cubicBezTo>
                      <a:cubicBezTo>
                        <a:pt x="28" y="35"/>
                        <a:pt x="28" y="35"/>
                        <a:pt x="28" y="35"/>
                      </a:cubicBezTo>
                      <a:lnTo>
                        <a:pt x="28" y="9"/>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315" name="Freeform: Shape 314">
                  <a:extLst>
                    <a:ext uri="{FF2B5EF4-FFF2-40B4-BE49-F238E27FC236}">
                      <a16:creationId xmlns:a16="http://schemas.microsoft.com/office/drawing/2014/main" id="{8E48E5CA-3866-4BEC-89A6-072D35FE0E4D}"/>
                    </a:ext>
                  </a:extLst>
                </p:cNvPr>
                <p:cNvSpPr/>
                <p:nvPr/>
              </p:nvSpPr>
              <p:spPr>
                <a:xfrm>
                  <a:off x="6937729" y="2102532"/>
                  <a:ext cx="214589" cy="622056"/>
                </a:xfrm>
                <a:custGeom>
                  <a:avLst/>
                  <a:gdLst>
                    <a:gd name="connsiteX0" fmla="*/ 0 w 235880"/>
                    <a:gd name="connsiteY0" fmla="*/ 454287 h 856158"/>
                    <a:gd name="connsiteX1" fmla="*/ 235880 w 235880"/>
                    <a:gd name="connsiteY1" fmla="*/ 0 h 856158"/>
                    <a:gd name="connsiteX2" fmla="*/ 227144 w 235880"/>
                    <a:gd name="connsiteY2" fmla="*/ 856158 h 856158"/>
                    <a:gd name="connsiteX3" fmla="*/ 0 w 235880"/>
                    <a:gd name="connsiteY3" fmla="*/ 454287 h 856158"/>
                    <a:gd name="connsiteX0" fmla="*/ 0 w 238792"/>
                    <a:gd name="connsiteY0" fmla="*/ 474672 h 856158"/>
                    <a:gd name="connsiteX1" fmla="*/ 238792 w 238792"/>
                    <a:gd name="connsiteY1" fmla="*/ 0 h 856158"/>
                    <a:gd name="connsiteX2" fmla="*/ 230056 w 238792"/>
                    <a:gd name="connsiteY2" fmla="*/ 856158 h 856158"/>
                    <a:gd name="connsiteX3" fmla="*/ 0 w 238792"/>
                    <a:gd name="connsiteY3" fmla="*/ 474672 h 856158"/>
                    <a:gd name="connsiteX0" fmla="*/ 0 w 230056"/>
                    <a:gd name="connsiteY0" fmla="*/ 474672 h 856158"/>
                    <a:gd name="connsiteX1" fmla="*/ 230056 w 230056"/>
                    <a:gd name="connsiteY1" fmla="*/ 0 h 856158"/>
                    <a:gd name="connsiteX2" fmla="*/ 230056 w 230056"/>
                    <a:gd name="connsiteY2" fmla="*/ 856158 h 856158"/>
                    <a:gd name="connsiteX3" fmla="*/ 0 w 230056"/>
                    <a:gd name="connsiteY3" fmla="*/ 474672 h 856158"/>
                  </a:gdLst>
                  <a:ahLst/>
                  <a:cxnLst>
                    <a:cxn ang="0">
                      <a:pos x="connsiteX0" y="connsiteY0"/>
                    </a:cxn>
                    <a:cxn ang="0">
                      <a:pos x="connsiteX1" y="connsiteY1"/>
                    </a:cxn>
                    <a:cxn ang="0">
                      <a:pos x="connsiteX2" y="connsiteY2"/>
                    </a:cxn>
                    <a:cxn ang="0">
                      <a:pos x="connsiteX3" y="connsiteY3"/>
                    </a:cxn>
                  </a:cxnLst>
                  <a:rect l="l" t="t" r="r" b="b"/>
                  <a:pathLst>
                    <a:path w="230056" h="856158">
                      <a:moveTo>
                        <a:pt x="0" y="474672"/>
                      </a:moveTo>
                      <a:lnTo>
                        <a:pt x="230056" y="0"/>
                      </a:lnTo>
                      <a:lnTo>
                        <a:pt x="230056" y="856158"/>
                      </a:lnTo>
                      <a:lnTo>
                        <a:pt x="0" y="474672"/>
                      </a:lnTo>
                      <a:close/>
                    </a:path>
                  </a:pathLst>
                </a:cu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grpSp>
              <p:nvGrpSpPr>
                <p:cNvPr id="317" name="Group 316">
                  <a:extLst>
                    <a:ext uri="{FF2B5EF4-FFF2-40B4-BE49-F238E27FC236}">
                      <a16:creationId xmlns:a16="http://schemas.microsoft.com/office/drawing/2014/main" id="{216F519D-D39C-4D1C-9D71-8BA472BCE167}"/>
                    </a:ext>
                  </a:extLst>
                </p:cNvPr>
                <p:cNvGrpSpPr/>
                <p:nvPr/>
              </p:nvGrpSpPr>
              <p:grpSpPr>
                <a:xfrm>
                  <a:off x="7048501" y="2116123"/>
                  <a:ext cx="1153853" cy="661525"/>
                  <a:chOff x="941418" y="3215019"/>
                  <a:chExt cx="1153853" cy="661525"/>
                </a:xfrm>
              </p:grpSpPr>
              <p:grpSp>
                <p:nvGrpSpPr>
                  <p:cNvPr id="318" name="Group 221">
                    <a:extLst>
                      <a:ext uri="{FF2B5EF4-FFF2-40B4-BE49-F238E27FC236}">
                        <a16:creationId xmlns:a16="http://schemas.microsoft.com/office/drawing/2014/main" id="{A3D732EA-912F-4CED-8B86-E05F205D1C99}"/>
                      </a:ext>
                    </a:extLst>
                  </p:cNvPr>
                  <p:cNvGrpSpPr>
                    <a:grpSpLocks noChangeAspect="1"/>
                  </p:cNvGrpSpPr>
                  <p:nvPr/>
                </p:nvGrpSpPr>
                <p:grpSpPr bwMode="auto">
                  <a:xfrm>
                    <a:off x="941418" y="3215019"/>
                    <a:ext cx="1153853" cy="661525"/>
                    <a:chOff x="2049" y="1143"/>
                    <a:chExt cx="1664" cy="954"/>
                  </a:xfrm>
                </p:grpSpPr>
                <p:sp>
                  <p:nvSpPr>
                    <p:cNvPr id="332" name="Freeform 222">
                      <a:extLst>
                        <a:ext uri="{FF2B5EF4-FFF2-40B4-BE49-F238E27FC236}">
                          <a16:creationId xmlns:a16="http://schemas.microsoft.com/office/drawing/2014/main" id="{3A4DA3F9-0F18-4F66-958C-7A674E957115}"/>
                        </a:ext>
                      </a:extLst>
                    </p:cNvPr>
                    <p:cNvSpPr>
                      <a:spLocks/>
                    </p:cNvSpPr>
                    <p:nvPr/>
                  </p:nvSpPr>
                  <p:spPr bwMode="auto">
                    <a:xfrm>
                      <a:off x="2049" y="2028"/>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333" name="Freeform 223">
                      <a:extLst>
                        <a:ext uri="{FF2B5EF4-FFF2-40B4-BE49-F238E27FC236}">
                          <a16:creationId xmlns:a16="http://schemas.microsoft.com/office/drawing/2014/main" id="{1CE79785-CFA7-46D8-A32E-41ABAB9EE575}"/>
                        </a:ext>
                      </a:extLst>
                    </p:cNvPr>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tx2"/>
                    </a:solidFill>
                    <a:ln w="9525">
                      <a:no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nvGrpSpPr>
                  <p:cNvPr id="319" name="Group 318">
                    <a:extLst>
                      <a:ext uri="{FF2B5EF4-FFF2-40B4-BE49-F238E27FC236}">
                        <a16:creationId xmlns:a16="http://schemas.microsoft.com/office/drawing/2014/main" id="{F53F12CC-81F9-4D8E-AB4B-470A0CEC9BC6}"/>
                      </a:ext>
                    </a:extLst>
                  </p:cNvPr>
                  <p:cNvGrpSpPr/>
                  <p:nvPr/>
                </p:nvGrpSpPr>
                <p:grpSpPr>
                  <a:xfrm>
                    <a:off x="1526844" y="3581264"/>
                    <a:ext cx="320982" cy="82100"/>
                    <a:chOff x="1526844" y="3544617"/>
                    <a:chExt cx="320982" cy="106532"/>
                  </a:xfrm>
                </p:grpSpPr>
                <p:sp>
                  <p:nvSpPr>
                    <p:cNvPr id="330" name="Freeform 54">
                      <a:extLst>
                        <a:ext uri="{FF2B5EF4-FFF2-40B4-BE49-F238E27FC236}">
                          <a16:creationId xmlns:a16="http://schemas.microsoft.com/office/drawing/2014/main" id="{E21916D6-2DEA-4270-85B2-FB8088F3F898}"/>
                        </a:ext>
                      </a:extLst>
                    </p:cNvPr>
                    <p:cNvSpPr>
                      <a:spLocks/>
                    </p:cNvSpPr>
                    <p:nvPr/>
                  </p:nvSpPr>
                  <p:spPr bwMode="auto">
                    <a:xfrm>
                      <a:off x="1526844" y="3544617"/>
                      <a:ext cx="320982" cy="31952"/>
                    </a:xfrm>
                    <a:prstGeom prst="roundRect">
                      <a:avLst>
                        <a:gd name="adj" fmla="val 50000"/>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331" name="Freeform 54">
                      <a:extLst>
                        <a:ext uri="{FF2B5EF4-FFF2-40B4-BE49-F238E27FC236}">
                          <a16:creationId xmlns:a16="http://schemas.microsoft.com/office/drawing/2014/main" id="{C9E96C14-8A5E-40BB-AD17-E5AE62AA906E}"/>
                        </a:ext>
                      </a:extLst>
                    </p:cNvPr>
                    <p:cNvSpPr>
                      <a:spLocks/>
                    </p:cNvSpPr>
                    <p:nvPr/>
                  </p:nvSpPr>
                  <p:spPr bwMode="auto">
                    <a:xfrm>
                      <a:off x="1526844" y="3619196"/>
                      <a:ext cx="267608" cy="31953"/>
                    </a:xfrm>
                    <a:prstGeom prst="roundRect">
                      <a:avLst>
                        <a:gd name="adj" fmla="val 50000"/>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nvGrpSpPr>
                  <p:cNvPr id="320" name="Group 319">
                    <a:extLst>
                      <a:ext uri="{FF2B5EF4-FFF2-40B4-BE49-F238E27FC236}">
                        <a16:creationId xmlns:a16="http://schemas.microsoft.com/office/drawing/2014/main" id="{C16B5F6B-DBF1-4271-90E0-107B9B7E1EF7}"/>
                      </a:ext>
                    </a:extLst>
                  </p:cNvPr>
                  <p:cNvGrpSpPr>
                    <a:grpSpLocks noChangeAspect="1"/>
                  </p:cNvGrpSpPr>
                  <p:nvPr/>
                </p:nvGrpSpPr>
                <p:grpSpPr>
                  <a:xfrm>
                    <a:off x="1178850" y="3332810"/>
                    <a:ext cx="267608" cy="334878"/>
                    <a:chOff x="3690937" y="1443038"/>
                    <a:chExt cx="2020888" cy="2528887"/>
                  </a:xfrm>
                  <a:solidFill>
                    <a:schemeClr val="accent5"/>
                  </a:solidFill>
                </p:grpSpPr>
                <p:sp>
                  <p:nvSpPr>
                    <p:cNvPr id="327" name="Freeform 19">
                      <a:extLst>
                        <a:ext uri="{FF2B5EF4-FFF2-40B4-BE49-F238E27FC236}">
                          <a16:creationId xmlns:a16="http://schemas.microsoft.com/office/drawing/2014/main" id="{3A2A771E-D717-42E1-B117-3A5BCE72070C}"/>
                        </a:ext>
                      </a:extLst>
                    </p:cNvPr>
                    <p:cNvSpPr>
                      <a:spLocks/>
                    </p:cNvSpPr>
                    <p:nvPr/>
                  </p:nvSpPr>
                  <p:spPr bwMode="auto">
                    <a:xfrm>
                      <a:off x="3690937" y="1443038"/>
                      <a:ext cx="2020888" cy="2005013"/>
                    </a:xfrm>
                    <a:custGeom>
                      <a:avLst/>
                      <a:gdLst>
                        <a:gd name="connsiteX0" fmla="*/ 1399705 w 2020888"/>
                        <a:gd name="connsiteY0" fmla="*/ 1944688 h 2005013"/>
                        <a:gd name="connsiteX1" fmla="*/ 1399945 w 2020888"/>
                        <a:gd name="connsiteY1" fmla="*/ 1944825 h 2005013"/>
                        <a:gd name="connsiteX2" fmla="*/ 1399945 w 2020888"/>
                        <a:gd name="connsiteY2" fmla="*/ 1944688 h 2005013"/>
                        <a:gd name="connsiteX3" fmla="*/ 620943 w 2020888"/>
                        <a:gd name="connsiteY3" fmla="*/ 1943298 h 2005013"/>
                        <a:gd name="connsiteX4" fmla="*/ 620943 w 2020888"/>
                        <a:gd name="connsiteY4" fmla="*/ 1943826 h 2005013"/>
                        <a:gd name="connsiteX5" fmla="*/ 620943 w 2020888"/>
                        <a:gd name="connsiteY5" fmla="*/ 1944825 h 2005013"/>
                        <a:gd name="connsiteX6" fmla="*/ 621584 w 2020888"/>
                        <a:gd name="connsiteY6" fmla="*/ 1944483 h 2005013"/>
                        <a:gd name="connsiteX7" fmla="*/ 621584 w 2020888"/>
                        <a:gd name="connsiteY7" fmla="*/ 1944483 h 2005013"/>
                        <a:gd name="connsiteX8" fmla="*/ 1012326 w 2020888"/>
                        <a:gd name="connsiteY8" fmla="*/ 0 h 2005013"/>
                        <a:gd name="connsiteX9" fmla="*/ 1727351 w 2020888"/>
                        <a:gd name="connsiteY9" fmla="*/ 293417 h 2005013"/>
                        <a:gd name="connsiteX10" fmla="*/ 2020888 w 2020888"/>
                        <a:gd name="connsiteY10" fmla="*/ 1008149 h 2005013"/>
                        <a:gd name="connsiteX11" fmla="*/ 1960676 w 2020888"/>
                        <a:gd name="connsiteY11" fmla="*/ 1309089 h 2005013"/>
                        <a:gd name="connsiteX12" fmla="*/ 1825197 w 2020888"/>
                        <a:gd name="connsiteY12" fmla="*/ 1546080 h 2005013"/>
                        <a:gd name="connsiteX13" fmla="*/ 1614453 w 2020888"/>
                        <a:gd name="connsiteY13" fmla="*/ 1768023 h 2005013"/>
                        <a:gd name="connsiteX14" fmla="*/ 1505317 w 2020888"/>
                        <a:gd name="connsiteY14" fmla="*/ 1895922 h 2005013"/>
                        <a:gd name="connsiteX15" fmla="*/ 1456394 w 2020888"/>
                        <a:gd name="connsiteY15" fmla="*/ 1971157 h 2005013"/>
                        <a:gd name="connsiteX16" fmla="*/ 1399945 w 2020888"/>
                        <a:gd name="connsiteY16" fmla="*/ 2005013 h 2005013"/>
                        <a:gd name="connsiteX17" fmla="*/ 620943 w 2020888"/>
                        <a:gd name="connsiteY17" fmla="*/ 2005013 h 2005013"/>
                        <a:gd name="connsiteX18" fmla="*/ 568257 w 2020888"/>
                        <a:gd name="connsiteY18" fmla="*/ 1974919 h 2005013"/>
                        <a:gd name="connsiteX19" fmla="*/ 568257 w 2020888"/>
                        <a:gd name="connsiteY19" fmla="*/ 1971157 h 2005013"/>
                        <a:gd name="connsiteX20" fmla="*/ 564494 w 2020888"/>
                        <a:gd name="connsiteY20" fmla="*/ 1971157 h 2005013"/>
                        <a:gd name="connsiteX21" fmla="*/ 560731 w 2020888"/>
                        <a:gd name="connsiteY21" fmla="*/ 1959872 h 2005013"/>
                        <a:gd name="connsiteX22" fmla="*/ 538151 w 2020888"/>
                        <a:gd name="connsiteY22" fmla="*/ 1926016 h 2005013"/>
                        <a:gd name="connsiteX23" fmla="*/ 466648 w 2020888"/>
                        <a:gd name="connsiteY23" fmla="*/ 1828211 h 2005013"/>
                        <a:gd name="connsiteX24" fmla="*/ 406436 w 2020888"/>
                        <a:gd name="connsiteY24" fmla="*/ 1768023 h 2005013"/>
                        <a:gd name="connsiteX25" fmla="*/ 270957 w 2020888"/>
                        <a:gd name="connsiteY25" fmla="*/ 1636362 h 2005013"/>
                        <a:gd name="connsiteX26" fmla="*/ 63976 w 2020888"/>
                        <a:gd name="connsiteY26" fmla="*/ 1309089 h 2005013"/>
                        <a:gd name="connsiteX27" fmla="*/ 0 w 2020888"/>
                        <a:gd name="connsiteY27" fmla="*/ 1008149 h 2005013"/>
                        <a:gd name="connsiteX28" fmla="*/ 297300 w 2020888"/>
                        <a:gd name="connsiteY28" fmla="*/ 293417 h 2005013"/>
                        <a:gd name="connsiteX29" fmla="*/ 1012326 w 2020888"/>
                        <a:gd name="connsiteY29" fmla="*/ 0 h 200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020888" h="2005013">
                          <a:moveTo>
                            <a:pt x="1399705" y="1944688"/>
                          </a:moveTo>
                          <a:lnTo>
                            <a:pt x="1399945" y="1944825"/>
                          </a:lnTo>
                          <a:lnTo>
                            <a:pt x="1399945" y="1944688"/>
                          </a:lnTo>
                          <a:close/>
                          <a:moveTo>
                            <a:pt x="620943" y="1943298"/>
                          </a:moveTo>
                          <a:lnTo>
                            <a:pt x="620943" y="1943826"/>
                          </a:lnTo>
                          <a:cubicBezTo>
                            <a:pt x="620943" y="1944825"/>
                            <a:pt x="620943" y="1944825"/>
                            <a:pt x="620943" y="1944825"/>
                          </a:cubicBezTo>
                          <a:lnTo>
                            <a:pt x="621584" y="1944483"/>
                          </a:lnTo>
                          <a:lnTo>
                            <a:pt x="621584" y="1944483"/>
                          </a:lnTo>
                          <a:close/>
                          <a:moveTo>
                            <a:pt x="1012326" y="0"/>
                          </a:moveTo>
                          <a:cubicBezTo>
                            <a:pt x="1290809" y="0"/>
                            <a:pt x="1542950" y="112853"/>
                            <a:pt x="1727351" y="293417"/>
                          </a:cubicBezTo>
                          <a:cubicBezTo>
                            <a:pt x="1907989" y="477742"/>
                            <a:pt x="2020888" y="729780"/>
                            <a:pt x="2020888" y="1008149"/>
                          </a:cubicBezTo>
                          <a:cubicBezTo>
                            <a:pt x="2020888" y="1117240"/>
                            <a:pt x="1998308" y="1218807"/>
                            <a:pt x="1960676" y="1309089"/>
                          </a:cubicBezTo>
                          <a:cubicBezTo>
                            <a:pt x="1923043" y="1399371"/>
                            <a:pt x="1874120" y="1482130"/>
                            <a:pt x="1825197" y="1546080"/>
                          </a:cubicBezTo>
                          <a:cubicBezTo>
                            <a:pt x="1727351" y="1677741"/>
                            <a:pt x="1625742" y="1760499"/>
                            <a:pt x="1614453" y="1768023"/>
                          </a:cubicBezTo>
                          <a:cubicBezTo>
                            <a:pt x="1573056" y="1801879"/>
                            <a:pt x="1531660" y="1850781"/>
                            <a:pt x="1505317" y="1895922"/>
                          </a:cubicBezTo>
                          <a:cubicBezTo>
                            <a:pt x="1475211" y="1937302"/>
                            <a:pt x="1456394" y="1971157"/>
                            <a:pt x="1456394" y="1971157"/>
                          </a:cubicBezTo>
                          <a:cubicBezTo>
                            <a:pt x="1445104" y="1993728"/>
                            <a:pt x="1426288" y="2005013"/>
                            <a:pt x="1399945" y="2005013"/>
                          </a:cubicBezTo>
                          <a:cubicBezTo>
                            <a:pt x="1399945" y="2005013"/>
                            <a:pt x="1399945" y="2005013"/>
                            <a:pt x="620943" y="2005013"/>
                          </a:cubicBezTo>
                          <a:cubicBezTo>
                            <a:pt x="598364" y="2005013"/>
                            <a:pt x="579547" y="1993728"/>
                            <a:pt x="568257" y="1974919"/>
                          </a:cubicBezTo>
                          <a:cubicBezTo>
                            <a:pt x="568257" y="1974919"/>
                            <a:pt x="568257" y="1974919"/>
                            <a:pt x="568257" y="1971157"/>
                          </a:cubicBezTo>
                          <a:cubicBezTo>
                            <a:pt x="568257" y="1971157"/>
                            <a:pt x="568257" y="1971157"/>
                            <a:pt x="564494" y="1971157"/>
                          </a:cubicBezTo>
                          <a:cubicBezTo>
                            <a:pt x="564494" y="1967396"/>
                            <a:pt x="560731" y="1963634"/>
                            <a:pt x="560731" y="1959872"/>
                          </a:cubicBezTo>
                          <a:cubicBezTo>
                            <a:pt x="553204" y="1952349"/>
                            <a:pt x="549441" y="1941063"/>
                            <a:pt x="538151" y="1926016"/>
                          </a:cubicBezTo>
                          <a:cubicBezTo>
                            <a:pt x="519335" y="1895922"/>
                            <a:pt x="496755" y="1862067"/>
                            <a:pt x="466648" y="1828211"/>
                          </a:cubicBezTo>
                          <a:cubicBezTo>
                            <a:pt x="447832" y="1805640"/>
                            <a:pt x="425252" y="1783070"/>
                            <a:pt x="406436" y="1768023"/>
                          </a:cubicBezTo>
                          <a:cubicBezTo>
                            <a:pt x="398909" y="1760499"/>
                            <a:pt x="342460" y="1715358"/>
                            <a:pt x="270957" y="1636362"/>
                          </a:cubicBezTo>
                          <a:cubicBezTo>
                            <a:pt x="203218" y="1557365"/>
                            <a:pt x="120425" y="1444512"/>
                            <a:pt x="63976" y="1309089"/>
                          </a:cubicBezTo>
                          <a:cubicBezTo>
                            <a:pt x="26343" y="1218807"/>
                            <a:pt x="0" y="1117240"/>
                            <a:pt x="0" y="1008149"/>
                          </a:cubicBezTo>
                          <a:cubicBezTo>
                            <a:pt x="0" y="729780"/>
                            <a:pt x="116662" y="477742"/>
                            <a:pt x="297300" y="293417"/>
                          </a:cubicBezTo>
                          <a:cubicBezTo>
                            <a:pt x="481702" y="112853"/>
                            <a:pt x="733842" y="0"/>
                            <a:pt x="1012326" y="0"/>
                          </a:cubicBezTo>
                          <a:close/>
                        </a:path>
                      </a:pathLst>
                    </a:custGeom>
                    <a:solidFill>
                      <a:schemeClr val="bg2"/>
                    </a:solidFill>
                    <a:ln>
                      <a:noFill/>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328" name="Freeform 8">
                      <a:extLst>
                        <a:ext uri="{FF2B5EF4-FFF2-40B4-BE49-F238E27FC236}">
                          <a16:creationId xmlns:a16="http://schemas.microsoft.com/office/drawing/2014/main" id="{6FBC2278-8E7D-4872-8C51-C0A3559633E8}"/>
                        </a:ext>
                      </a:extLst>
                    </p:cNvPr>
                    <p:cNvSpPr>
                      <a:spLocks/>
                    </p:cNvSpPr>
                    <p:nvPr/>
                  </p:nvSpPr>
                  <p:spPr bwMode="auto">
                    <a:xfrm>
                      <a:off x="4264025" y="3602038"/>
                      <a:ext cx="879475" cy="117475"/>
                    </a:xfrm>
                    <a:custGeom>
                      <a:avLst/>
                      <a:gdLst>
                        <a:gd name="T0" fmla="*/ 15 w 234"/>
                        <a:gd name="T1" fmla="*/ 31 h 31"/>
                        <a:gd name="T2" fmla="*/ 218 w 234"/>
                        <a:gd name="T3" fmla="*/ 31 h 31"/>
                        <a:gd name="T4" fmla="*/ 234 w 234"/>
                        <a:gd name="T5" fmla="*/ 15 h 31"/>
                        <a:gd name="T6" fmla="*/ 218 w 234"/>
                        <a:gd name="T7" fmla="*/ 0 h 31"/>
                        <a:gd name="T8" fmla="*/ 15 w 234"/>
                        <a:gd name="T9" fmla="*/ 0 h 31"/>
                        <a:gd name="T10" fmla="*/ 0 w 234"/>
                        <a:gd name="T11" fmla="*/ 15 h 31"/>
                        <a:gd name="T12" fmla="*/ 15 w 23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34" h="31">
                          <a:moveTo>
                            <a:pt x="15" y="31"/>
                          </a:moveTo>
                          <a:cubicBezTo>
                            <a:pt x="218" y="31"/>
                            <a:pt x="218" y="31"/>
                            <a:pt x="218" y="31"/>
                          </a:cubicBezTo>
                          <a:cubicBezTo>
                            <a:pt x="227" y="31"/>
                            <a:pt x="234" y="24"/>
                            <a:pt x="234" y="15"/>
                          </a:cubicBezTo>
                          <a:cubicBezTo>
                            <a:pt x="234" y="7"/>
                            <a:pt x="227" y="0"/>
                            <a:pt x="218" y="0"/>
                          </a:cubicBezTo>
                          <a:cubicBezTo>
                            <a:pt x="15" y="0"/>
                            <a:pt x="15" y="0"/>
                            <a:pt x="15" y="0"/>
                          </a:cubicBezTo>
                          <a:cubicBezTo>
                            <a:pt x="7" y="0"/>
                            <a:pt x="0" y="7"/>
                            <a:pt x="0" y="15"/>
                          </a:cubicBezTo>
                          <a:cubicBezTo>
                            <a:pt x="0" y="24"/>
                            <a:pt x="7" y="31"/>
                            <a:pt x="15"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329" name="Freeform 9">
                      <a:extLst>
                        <a:ext uri="{FF2B5EF4-FFF2-40B4-BE49-F238E27FC236}">
                          <a16:creationId xmlns:a16="http://schemas.microsoft.com/office/drawing/2014/main" id="{4204F424-904F-4D4F-8FD5-5B418B4A796E}"/>
                        </a:ext>
                      </a:extLst>
                    </p:cNvPr>
                    <p:cNvSpPr>
                      <a:spLocks/>
                    </p:cNvSpPr>
                    <p:nvPr/>
                  </p:nvSpPr>
                  <p:spPr bwMode="auto">
                    <a:xfrm>
                      <a:off x="4395788" y="3854450"/>
                      <a:ext cx="615950" cy="117475"/>
                    </a:xfrm>
                    <a:custGeom>
                      <a:avLst/>
                      <a:gdLst>
                        <a:gd name="T0" fmla="*/ 15 w 164"/>
                        <a:gd name="T1" fmla="*/ 31 h 31"/>
                        <a:gd name="T2" fmla="*/ 149 w 164"/>
                        <a:gd name="T3" fmla="*/ 31 h 31"/>
                        <a:gd name="T4" fmla="*/ 164 w 164"/>
                        <a:gd name="T5" fmla="*/ 15 h 31"/>
                        <a:gd name="T6" fmla="*/ 149 w 164"/>
                        <a:gd name="T7" fmla="*/ 0 h 31"/>
                        <a:gd name="T8" fmla="*/ 15 w 164"/>
                        <a:gd name="T9" fmla="*/ 0 h 31"/>
                        <a:gd name="T10" fmla="*/ 0 w 164"/>
                        <a:gd name="T11" fmla="*/ 15 h 31"/>
                        <a:gd name="T12" fmla="*/ 15 w 16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64" h="31">
                          <a:moveTo>
                            <a:pt x="15" y="31"/>
                          </a:moveTo>
                          <a:cubicBezTo>
                            <a:pt x="149" y="31"/>
                            <a:pt x="149" y="31"/>
                            <a:pt x="149" y="31"/>
                          </a:cubicBezTo>
                          <a:cubicBezTo>
                            <a:pt x="157" y="31"/>
                            <a:pt x="164" y="24"/>
                            <a:pt x="164" y="15"/>
                          </a:cubicBezTo>
                          <a:cubicBezTo>
                            <a:pt x="164" y="7"/>
                            <a:pt x="157" y="0"/>
                            <a:pt x="149" y="0"/>
                          </a:cubicBezTo>
                          <a:cubicBezTo>
                            <a:pt x="15" y="0"/>
                            <a:pt x="15" y="0"/>
                            <a:pt x="15" y="0"/>
                          </a:cubicBezTo>
                          <a:cubicBezTo>
                            <a:pt x="7" y="0"/>
                            <a:pt x="0" y="7"/>
                            <a:pt x="0" y="15"/>
                          </a:cubicBezTo>
                          <a:cubicBezTo>
                            <a:pt x="0" y="24"/>
                            <a:pt x="7" y="31"/>
                            <a:pt x="15"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nvGrpSpPr>
                  <p:cNvPr id="321" name="Group 320">
                    <a:extLst>
                      <a:ext uri="{FF2B5EF4-FFF2-40B4-BE49-F238E27FC236}">
                        <a16:creationId xmlns:a16="http://schemas.microsoft.com/office/drawing/2014/main" id="{C31222B5-CC6E-46C3-B1D4-A95B8A0F16CA}"/>
                      </a:ext>
                    </a:extLst>
                  </p:cNvPr>
                  <p:cNvGrpSpPr/>
                  <p:nvPr/>
                </p:nvGrpSpPr>
                <p:grpSpPr>
                  <a:xfrm>
                    <a:off x="1527968" y="3350395"/>
                    <a:ext cx="212562" cy="183567"/>
                    <a:chOff x="4135328" y="3656217"/>
                    <a:chExt cx="695711" cy="600811"/>
                  </a:xfrm>
                </p:grpSpPr>
                <p:sp>
                  <p:nvSpPr>
                    <p:cNvPr id="322" name="Freeform 45">
                      <a:extLst>
                        <a:ext uri="{FF2B5EF4-FFF2-40B4-BE49-F238E27FC236}">
                          <a16:creationId xmlns:a16="http://schemas.microsoft.com/office/drawing/2014/main" id="{07D2B3C0-027B-41B7-B097-63A0373D10FD}"/>
                        </a:ext>
                      </a:extLst>
                    </p:cNvPr>
                    <p:cNvSpPr>
                      <a:spLocks/>
                    </p:cNvSpPr>
                    <p:nvPr/>
                  </p:nvSpPr>
                  <p:spPr bwMode="auto">
                    <a:xfrm>
                      <a:off x="4135328" y="3656217"/>
                      <a:ext cx="695711" cy="600811"/>
                    </a:xfrm>
                    <a:custGeom>
                      <a:avLst/>
                      <a:gdLst>
                        <a:gd name="T0" fmla="*/ 218 w 449"/>
                        <a:gd name="T1" fmla="*/ 5 h 388"/>
                        <a:gd name="T2" fmla="*/ 3 w 449"/>
                        <a:gd name="T3" fmla="*/ 376 h 388"/>
                        <a:gd name="T4" fmla="*/ 10 w 449"/>
                        <a:gd name="T5" fmla="*/ 388 h 388"/>
                        <a:gd name="T6" fmla="*/ 439 w 449"/>
                        <a:gd name="T7" fmla="*/ 388 h 388"/>
                        <a:gd name="T8" fmla="*/ 446 w 449"/>
                        <a:gd name="T9" fmla="*/ 376 h 388"/>
                        <a:gd name="T10" fmla="*/ 231 w 449"/>
                        <a:gd name="T11" fmla="*/ 5 h 388"/>
                        <a:gd name="T12" fmla="*/ 218 w 449"/>
                        <a:gd name="T13" fmla="*/ 5 h 388"/>
                      </a:gdLst>
                      <a:ahLst/>
                      <a:cxnLst>
                        <a:cxn ang="0">
                          <a:pos x="T0" y="T1"/>
                        </a:cxn>
                        <a:cxn ang="0">
                          <a:pos x="T2" y="T3"/>
                        </a:cxn>
                        <a:cxn ang="0">
                          <a:pos x="T4" y="T5"/>
                        </a:cxn>
                        <a:cxn ang="0">
                          <a:pos x="T6" y="T7"/>
                        </a:cxn>
                        <a:cxn ang="0">
                          <a:pos x="T8" y="T9"/>
                        </a:cxn>
                        <a:cxn ang="0">
                          <a:pos x="T10" y="T11"/>
                        </a:cxn>
                        <a:cxn ang="0">
                          <a:pos x="T12" y="T13"/>
                        </a:cxn>
                      </a:cxnLst>
                      <a:rect l="0" t="0" r="r" b="b"/>
                      <a:pathLst>
                        <a:path w="449" h="388">
                          <a:moveTo>
                            <a:pt x="218" y="5"/>
                          </a:moveTo>
                          <a:cubicBezTo>
                            <a:pt x="3" y="376"/>
                            <a:pt x="3" y="376"/>
                            <a:pt x="3" y="376"/>
                          </a:cubicBezTo>
                          <a:cubicBezTo>
                            <a:pt x="0" y="381"/>
                            <a:pt x="4" y="388"/>
                            <a:pt x="10" y="388"/>
                          </a:cubicBezTo>
                          <a:cubicBezTo>
                            <a:pt x="439" y="388"/>
                            <a:pt x="439" y="388"/>
                            <a:pt x="439" y="388"/>
                          </a:cubicBezTo>
                          <a:cubicBezTo>
                            <a:pt x="445" y="388"/>
                            <a:pt x="449" y="381"/>
                            <a:pt x="446" y="376"/>
                          </a:cubicBezTo>
                          <a:cubicBezTo>
                            <a:pt x="231" y="5"/>
                            <a:pt x="231" y="5"/>
                            <a:pt x="231" y="5"/>
                          </a:cubicBezTo>
                          <a:cubicBezTo>
                            <a:pt x="228" y="0"/>
                            <a:pt x="221" y="0"/>
                            <a:pt x="218" y="5"/>
                          </a:cubicBezTo>
                          <a:close/>
                        </a:path>
                      </a:pathLst>
                    </a:custGeom>
                    <a:solidFill>
                      <a:srgbClr val="FAAC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323" name="Oval 47">
                      <a:extLst>
                        <a:ext uri="{FF2B5EF4-FFF2-40B4-BE49-F238E27FC236}">
                          <a16:creationId xmlns:a16="http://schemas.microsoft.com/office/drawing/2014/main" id="{F8ECBE73-8360-44BE-A12E-55AD24FB7253}"/>
                        </a:ext>
                      </a:extLst>
                    </p:cNvPr>
                    <p:cNvSpPr>
                      <a:spLocks noChangeArrowheads="1"/>
                    </p:cNvSpPr>
                    <p:nvPr/>
                  </p:nvSpPr>
                  <p:spPr bwMode="auto">
                    <a:xfrm>
                      <a:off x="4336613" y="3888919"/>
                      <a:ext cx="297720" cy="2977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324" name="Freeform 46">
                      <a:extLst>
                        <a:ext uri="{FF2B5EF4-FFF2-40B4-BE49-F238E27FC236}">
                          <a16:creationId xmlns:a16="http://schemas.microsoft.com/office/drawing/2014/main" id="{4F08E271-537A-4640-AAF6-60B1C8A39CBC}"/>
                        </a:ext>
                      </a:extLst>
                    </p:cNvPr>
                    <p:cNvSpPr>
                      <a:spLocks noEditPoints="1"/>
                    </p:cNvSpPr>
                    <p:nvPr/>
                  </p:nvSpPr>
                  <p:spPr bwMode="auto">
                    <a:xfrm>
                      <a:off x="4321200" y="3874813"/>
                      <a:ext cx="328548" cy="325931"/>
                    </a:xfrm>
                    <a:custGeom>
                      <a:avLst/>
                      <a:gdLst>
                        <a:gd name="T0" fmla="*/ 0 w 212"/>
                        <a:gd name="T1" fmla="*/ 106 h 211"/>
                        <a:gd name="T2" fmla="*/ 106 w 212"/>
                        <a:gd name="T3" fmla="*/ 0 h 211"/>
                        <a:gd name="T4" fmla="*/ 212 w 212"/>
                        <a:gd name="T5" fmla="*/ 106 h 211"/>
                        <a:gd name="T6" fmla="*/ 106 w 212"/>
                        <a:gd name="T7" fmla="*/ 211 h 211"/>
                        <a:gd name="T8" fmla="*/ 0 w 212"/>
                        <a:gd name="T9" fmla="*/ 106 h 211"/>
                        <a:gd name="T10" fmla="*/ 20 w 212"/>
                        <a:gd name="T11" fmla="*/ 106 h 211"/>
                        <a:gd name="T12" fmla="*/ 106 w 212"/>
                        <a:gd name="T13" fmla="*/ 192 h 211"/>
                        <a:gd name="T14" fmla="*/ 192 w 212"/>
                        <a:gd name="T15" fmla="*/ 106 h 211"/>
                        <a:gd name="T16" fmla="*/ 106 w 212"/>
                        <a:gd name="T17" fmla="*/ 19 h 211"/>
                        <a:gd name="T18" fmla="*/ 20 w 212"/>
                        <a:gd name="T1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1">
                          <a:moveTo>
                            <a:pt x="0" y="106"/>
                          </a:moveTo>
                          <a:cubicBezTo>
                            <a:pt x="0" y="47"/>
                            <a:pt x="48" y="0"/>
                            <a:pt x="106" y="0"/>
                          </a:cubicBezTo>
                          <a:cubicBezTo>
                            <a:pt x="165" y="0"/>
                            <a:pt x="212" y="47"/>
                            <a:pt x="212" y="106"/>
                          </a:cubicBezTo>
                          <a:cubicBezTo>
                            <a:pt x="212" y="164"/>
                            <a:pt x="165" y="211"/>
                            <a:pt x="106" y="211"/>
                          </a:cubicBezTo>
                          <a:cubicBezTo>
                            <a:pt x="48" y="211"/>
                            <a:pt x="0" y="164"/>
                            <a:pt x="0" y="106"/>
                          </a:cubicBezTo>
                          <a:close/>
                          <a:moveTo>
                            <a:pt x="20" y="106"/>
                          </a:moveTo>
                          <a:cubicBezTo>
                            <a:pt x="20" y="153"/>
                            <a:pt x="59" y="192"/>
                            <a:pt x="106" y="192"/>
                          </a:cubicBezTo>
                          <a:cubicBezTo>
                            <a:pt x="154" y="192"/>
                            <a:pt x="192" y="153"/>
                            <a:pt x="192" y="106"/>
                          </a:cubicBezTo>
                          <a:cubicBezTo>
                            <a:pt x="192" y="58"/>
                            <a:pt x="154" y="19"/>
                            <a:pt x="106" y="19"/>
                          </a:cubicBezTo>
                          <a:cubicBezTo>
                            <a:pt x="59" y="19"/>
                            <a:pt x="20" y="58"/>
                            <a:pt x="20" y="106"/>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325" name="Freeform 48">
                      <a:extLst>
                        <a:ext uri="{FF2B5EF4-FFF2-40B4-BE49-F238E27FC236}">
                          <a16:creationId xmlns:a16="http://schemas.microsoft.com/office/drawing/2014/main" id="{A56DD5E9-ACA7-4670-B730-5B2613D86179}"/>
                        </a:ext>
                      </a:extLst>
                    </p:cNvPr>
                    <p:cNvSpPr>
                      <a:spLocks/>
                    </p:cNvSpPr>
                    <p:nvPr/>
                  </p:nvSpPr>
                  <p:spPr bwMode="auto">
                    <a:xfrm>
                      <a:off x="4467558" y="3933050"/>
                      <a:ext cx="31250" cy="132723"/>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E3241B"/>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326" name="Oval 49">
                      <a:extLst>
                        <a:ext uri="{FF2B5EF4-FFF2-40B4-BE49-F238E27FC236}">
                          <a16:creationId xmlns:a16="http://schemas.microsoft.com/office/drawing/2014/main" id="{976D39B7-95C0-40F0-BC96-87CE166A497E}"/>
                        </a:ext>
                      </a:extLst>
                    </p:cNvPr>
                    <p:cNvSpPr>
                      <a:spLocks noChangeArrowheads="1"/>
                    </p:cNvSpPr>
                    <p:nvPr/>
                  </p:nvSpPr>
                  <p:spPr bwMode="auto">
                    <a:xfrm>
                      <a:off x="4466084" y="4095827"/>
                      <a:ext cx="32724" cy="32070"/>
                    </a:xfrm>
                    <a:prstGeom prst="ellipse">
                      <a:avLst/>
                    </a:prstGeom>
                    <a:solidFill>
                      <a:srgbClr val="E3241B"/>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grpSp>
        </p:grpSp>
        <p:sp>
          <p:nvSpPr>
            <p:cNvPr id="343" name="Freeform 224">
              <a:extLst>
                <a:ext uri="{FF2B5EF4-FFF2-40B4-BE49-F238E27FC236}">
                  <a16:creationId xmlns:a16="http://schemas.microsoft.com/office/drawing/2014/main" id="{990C4E6D-0B78-4691-A2AC-FEADB7E93B3C}"/>
                </a:ext>
              </a:extLst>
            </p:cNvPr>
            <p:cNvSpPr>
              <a:spLocks noEditPoints="1"/>
            </p:cNvSpPr>
            <p:nvPr/>
          </p:nvSpPr>
          <p:spPr bwMode="auto">
            <a:xfrm>
              <a:off x="7410257" y="2275212"/>
              <a:ext cx="951457" cy="623240"/>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sp>
        <p:nvSpPr>
          <p:cNvPr id="2" name="Title 1"/>
          <p:cNvSpPr>
            <a:spLocks noGrp="1"/>
          </p:cNvSpPr>
          <p:nvPr>
            <p:ph type="title"/>
          </p:nvPr>
        </p:nvSpPr>
        <p:spPr>
          <a:xfrm>
            <a:off x="583687" y="455085"/>
            <a:ext cx="11494012" cy="975783"/>
          </a:xfrm>
        </p:spPr>
        <p:txBody>
          <a:bodyPr/>
          <a:lstStyle/>
          <a:p>
            <a:r>
              <a:rPr lang="en-US"/>
              <a:t>Detection and Response for Advanced Threats </a:t>
            </a:r>
          </a:p>
        </p:txBody>
      </p:sp>
      <p:grpSp>
        <p:nvGrpSpPr>
          <p:cNvPr id="20" name="Group 19">
            <a:extLst>
              <a:ext uri="{FF2B5EF4-FFF2-40B4-BE49-F238E27FC236}">
                <a16:creationId xmlns:a16="http://schemas.microsoft.com/office/drawing/2014/main" id="{203B8639-925B-4ED1-A64F-8895B618327D}"/>
              </a:ext>
            </a:extLst>
          </p:cNvPr>
          <p:cNvGrpSpPr/>
          <p:nvPr/>
        </p:nvGrpSpPr>
        <p:grpSpPr>
          <a:xfrm>
            <a:off x="701576" y="2156835"/>
            <a:ext cx="2645769" cy="3001965"/>
            <a:chOff x="526181" y="1617626"/>
            <a:chExt cx="1984327" cy="2251474"/>
          </a:xfrm>
        </p:grpSpPr>
        <p:sp>
          <p:nvSpPr>
            <p:cNvPr id="132" name="Rectangle 131">
              <a:extLst>
                <a:ext uri="{FF2B5EF4-FFF2-40B4-BE49-F238E27FC236}">
                  <a16:creationId xmlns:a16="http://schemas.microsoft.com/office/drawing/2014/main" id="{98562C0E-EF72-4419-B8BF-08CACEF44DB4}"/>
                </a:ext>
              </a:extLst>
            </p:cNvPr>
            <p:cNvSpPr>
              <a:spLocks noChangeAspect="1"/>
            </p:cNvSpPr>
            <p:nvPr/>
          </p:nvSpPr>
          <p:spPr>
            <a:xfrm>
              <a:off x="526181" y="1617626"/>
              <a:ext cx="1984327" cy="2251474"/>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21920" rtlCol="0" anchor="t"/>
            <a:lstStyle/>
            <a:p>
              <a:pPr algn="ctr" defTabSz="609585" fontAlgn="base">
                <a:spcBef>
                  <a:spcPct val="0"/>
                </a:spcBef>
                <a:spcAft>
                  <a:spcPct val="0"/>
                </a:spcAft>
                <a:defRPr/>
              </a:pPr>
              <a:r>
                <a:rPr lang="en-US" sz="1867" b="1" dirty="0">
                  <a:solidFill>
                    <a:srgbClr val="005073"/>
                  </a:solidFill>
                  <a:latin typeface="CiscoSansTT ExtraLight"/>
                  <a:sym typeface="Arial"/>
                </a:rPr>
                <a:t>Detection</a:t>
              </a:r>
            </a:p>
          </p:txBody>
        </p:sp>
        <p:grpSp>
          <p:nvGrpSpPr>
            <p:cNvPr id="13" name="Group 12">
              <a:extLst>
                <a:ext uri="{FF2B5EF4-FFF2-40B4-BE49-F238E27FC236}">
                  <a16:creationId xmlns:a16="http://schemas.microsoft.com/office/drawing/2014/main" id="{B83C41E6-F4AB-439C-8AF4-AB058FD83E24}"/>
                </a:ext>
              </a:extLst>
            </p:cNvPr>
            <p:cNvGrpSpPr/>
            <p:nvPr/>
          </p:nvGrpSpPr>
          <p:grpSpPr>
            <a:xfrm>
              <a:off x="623771" y="2253213"/>
              <a:ext cx="1738299" cy="935261"/>
              <a:chOff x="623771" y="2029262"/>
              <a:chExt cx="1738299" cy="935261"/>
            </a:xfrm>
          </p:grpSpPr>
          <p:grpSp>
            <p:nvGrpSpPr>
              <p:cNvPr id="227" name="Group 226">
                <a:extLst>
                  <a:ext uri="{FF2B5EF4-FFF2-40B4-BE49-F238E27FC236}">
                    <a16:creationId xmlns:a16="http://schemas.microsoft.com/office/drawing/2014/main" id="{E80BE431-6BB9-4DDB-A3FB-FF867B2FF460}"/>
                  </a:ext>
                </a:extLst>
              </p:cNvPr>
              <p:cNvGrpSpPr/>
              <p:nvPr/>
            </p:nvGrpSpPr>
            <p:grpSpPr>
              <a:xfrm>
                <a:off x="623771" y="2180532"/>
                <a:ext cx="1142297" cy="712061"/>
                <a:chOff x="1180743" y="1804285"/>
                <a:chExt cx="1048957" cy="601386"/>
              </a:xfrm>
            </p:grpSpPr>
            <p:grpSp>
              <p:nvGrpSpPr>
                <p:cNvPr id="228" name="Group 227">
                  <a:extLst>
                    <a:ext uri="{FF2B5EF4-FFF2-40B4-BE49-F238E27FC236}">
                      <a16:creationId xmlns:a16="http://schemas.microsoft.com/office/drawing/2014/main" id="{1A6E29A8-95FF-46A9-A1D0-34CD209C84D0}"/>
                    </a:ext>
                  </a:extLst>
                </p:cNvPr>
                <p:cNvGrpSpPr/>
                <p:nvPr/>
              </p:nvGrpSpPr>
              <p:grpSpPr>
                <a:xfrm>
                  <a:off x="1180743" y="1804285"/>
                  <a:ext cx="1048957" cy="601386"/>
                  <a:chOff x="1180743" y="1804285"/>
                  <a:chExt cx="1048957" cy="601386"/>
                </a:xfrm>
              </p:grpSpPr>
              <p:grpSp>
                <p:nvGrpSpPr>
                  <p:cNvPr id="240" name="Group 221">
                    <a:extLst>
                      <a:ext uri="{FF2B5EF4-FFF2-40B4-BE49-F238E27FC236}">
                        <a16:creationId xmlns:a16="http://schemas.microsoft.com/office/drawing/2014/main" id="{857C822E-25FB-49BF-B2B5-98BFF3B29C7E}"/>
                      </a:ext>
                    </a:extLst>
                  </p:cNvPr>
                  <p:cNvGrpSpPr>
                    <a:grpSpLocks noChangeAspect="1"/>
                  </p:cNvGrpSpPr>
                  <p:nvPr/>
                </p:nvGrpSpPr>
                <p:grpSpPr bwMode="auto">
                  <a:xfrm>
                    <a:off x="1180743" y="1804285"/>
                    <a:ext cx="1048957" cy="601386"/>
                    <a:chOff x="2049" y="1143"/>
                    <a:chExt cx="1664" cy="954"/>
                  </a:xfrm>
                </p:grpSpPr>
                <p:sp>
                  <p:nvSpPr>
                    <p:cNvPr id="259" name="Freeform 222">
                      <a:extLst>
                        <a:ext uri="{FF2B5EF4-FFF2-40B4-BE49-F238E27FC236}">
                          <a16:creationId xmlns:a16="http://schemas.microsoft.com/office/drawing/2014/main" id="{9B024F93-7800-4584-9F70-D500C9355F20}"/>
                        </a:ext>
                      </a:extLst>
                    </p:cNvPr>
                    <p:cNvSpPr>
                      <a:spLocks/>
                    </p:cNvSpPr>
                    <p:nvPr/>
                  </p:nvSpPr>
                  <p:spPr bwMode="auto">
                    <a:xfrm>
                      <a:off x="2049" y="2028"/>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260" name="Freeform 223">
                      <a:extLst>
                        <a:ext uri="{FF2B5EF4-FFF2-40B4-BE49-F238E27FC236}">
                          <a16:creationId xmlns:a16="http://schemas.microsoft.com/office/drawing/2014/main" id="{B2CFB3F4-CC28-487C-AA71-5BCDC67EC535}"/>
                        </a:ext>
                      </a:extLst>
                    </p:cNvPr>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tx2"/>
                    </a:solidFill>
                    <a:ln w="9525">
                      <a:no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261" name="Freeform 224">
                      <a:extLst>
                        <a:ext uri="{FF2B5EF4-FFF2-40B4-BE49-F238E27FC236}">
                          <a16:creationId xmlns:a16="http://schemas.microsoft.com/office/drawing/2014/main" id="{AEE51365-E573-4CEE-BE9C-3709F7213F3A}"/>
                        </a:ext>
                      </a:extLst>
                    </p:cNvPr>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nvGrpSpPr>
                  <p:cNvPr id="241" name="Group 240">
                    <a:extLst>
                      <a:ext uri="{FF2B5EF4-FFF2-40B4-BE49-F238E27FC236}">
                        <a16:creationId xmlns:a16="http://schemas.microsoft.com/office/drawing/2014/main" id="{2A1786B2-CD94-40AA-A2BD-91C7B0D44E7D}"/>
                      </a:ext>
                    </a:extLst>
                  </p:cNvPr>
                  <p:cNvGrpSpPr/>
                  <p:nvPr/>
                </p:nvGrpSpPr>
                <p:grpSpPr>
                  <a:xfrm>
                    <a:off x="1374140" y="1916576"/>
                    <a:ext cx="334104" cy="288530"/>
                    <a:chOff x="4135328" y="3656217"/>
                    <a:chExt cx="695711" cy="600811"/>
                  </a:xfrm>
                </p:grpSpPr>
                <p:sp>
                  <p:nvSpPr>
                    <p:cNvPr id="252" name="Freeform 45">
                      <a:extLst>
                        <a:ext uri="{FF2B5EF4-FFF2-40B4-BE49-F238E27FC236}">
                          <a16:creationId xmlns:a16="http://schemas.microsoft.com/office/drawing/2014/main" id="{467E3F9E-CD25-43CE-BA3C-56E55A6948EF}"/>
                        </a:ext>
                      </a:extLst>
                    </p:cNvPr>
                    <p:cNvSpPr>
                      <a:spLocks/>
                    </p:cNvSpPr>
                    <p:nvPr/>
                  </p:nvSpPr>
                  <p:spPr bwMode="auto">
                    <a:xfrm>
                      <a:off x="4135328" y="3656217"/>
                      <a:ext cx="695711" cy="600811"/>
                    </a:xfrm>
                    <a:custGeom>
                      <a:avLst/>
                      <a:gdLst>
                        <a:gd name="T0" fmla="*/ 218 w 449"/>
                        <a:gd name="T1" fmla="*/ 5 h 388"/>
                        <a:gd name="T2" fmla="*/ 3 w 449"/>
                        <a:gd name="T3" fmla="*/ 376 h 388"/>
                        <a:gd name="T4" fmla="*/ 10 w 449"/>
                        <a:gd name="T5" fmla="*/ 388 h 388"/>
                        <a:gd name="T6" fmla="*/ 439 w 449"/>
                        <a:gd name="T7" fmla="*/ 388 h 388"/>
                        <a:gd name="T8" fmla="*/ 446 w 449"/>
                        <a:gd name="T9" fmla="*/ 376 h 388"/>
                        <a:gd name="T10" fmla="*/ 231 w 449"/>
                        <a:gd name="T11" fmla="*/ 5 h 388"/>
                        <a:gd name="T12" fmla="*/ 218 w 449"/>
                        <a:gd name="T13" fmla="*/ 5 h 388"/>
                      </a:gdLst>
                      <a:ahLst/>
                      <a:cxnLst>
                        <a:cxn ang="0">
                          <a:pos x="T0" y="T1"/>
                        </a:cxn>
                        <a:cxn ang="0">
                          <a:pos x="T2" y="T3"/>
                        </a:cxn>
                        <a:cxn ang="0">
                          <a:pos x="T4" y="T5"/>
                        </a:cxn>
                        <a:cxn ang="0">
                          <a:pos x="T6" y="T7"/>
                        </a:cxn>
                        <a:cxn ang="0">
                          <a:pos x="T8" y="T9"/>
                        </a:cxn>
                        <a:cxn ang="0">
                          <a:pos x="T10" y="T11"/>
                        </a:cxn>
                        <a:cxn ang="0">
                          <a:pos x="T12" y="T13"/>
                        </a:cxn>
                      </a:cxnLst>
                      <a:rect l="0" t="0" r="r" b="b"/>
                      <a:pathLst>
                        <a:path w="449" h="388">
                          <a:moveTo>
                            <a:pt x="218" y="5"/>
                          </a:moveTo>
                          <a:cubicBezTo>
                            <a:pt x="3" y="376"/>
                            <a:pt x="3" y="376"/>
                            <a:pt x="3" y="376"/>
                          </a:cubicBezTo>
                          <a:cubicBezTo>
                            <a:pt x="0" y="381"/>
                            <a:pt x="4" y="388"/>
                            <a:pt x="10" y="388"/>
                          </a:cubicBezTo>
                          <a:cubicBezTo>
                            <a:pt x="439" y="388"/>
                            <a:pt x="439" y="388"/>
                            <a:pt x="439" y="388"/>
                          </a:cubicBezTo>
                          <a:cubicBezTo>
                            <a:pt x="445" y="388"/>
                            <a:pt x="449" y="381"/>
                            <a:pt x="446" y="376"/>
                          </a:cubicBezTo>
                          <a:cubicBezTo>
                            <a:pt x="231" y="5"/>
                            <a:pt x="231" y="5"/>
                            <a:pt x="231" y="5"/>
                          </a:cubicBezTo>
                          <a:cubicBezTo>
                            <a:pt x="228" y="0"/>
                            <a:pt x="221" y="0"/>
                            <a:pt x="218" y="5"/>
                          </a:cubicBezTo>
                          <a:close/>
                        </a:path>
                      </a:pathLst>
                    </a:custGeom>
                    <a:solidFill>
                      <a:srgbClr val="FAAC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53" name="Oval 47">
                      <a:extLst>
                        <a:ext uri="{FF2B5EF4-FFF2-40B4-BE49-F238E27FC236}">
                          <a16:creationId xmlns:a16="http://schemas.microsoft.com/office/drawing/2014/main" id="{E399103F-F228-4089-AE26-FF49E43A6878}"/>
                        </a:ext>
                      </a:extLst>
                    </p:cNvPr>
                    <p:cNvSpPr>
                      <a:spLocks noChangeArrowheads="1"/>
                    </p:cNvSpPr>
                    <p:nvPr/>
                  </p:nvSpPr>
                  <p:spPr bwMode="auto">
                    <a:xfrm>
                      <a:off x="4336613" y="3888919"/>
                      <a:ext cx="297720" cy="2977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54" name="Freeform 46">
                      <a:extLst>
                        <a:ext uri="{FF2B5EF4-FFF2-40B4-BE49-F238E27FC236}">
                          <a16:creationId xmlns:a16="http://schemas.microsoft.com/office/drawing/2014/main" id="{D76BE48C-8F08-4408-951C-51DFA44C5074}"/>
                        </a:ext>
                      </a:extLst>
                    </p:cNvPr>
                    <p:cNvSpPr>
                      <a:spLocks noEditPoints="1"/>
                    </p:cNvSpPr>
                    <p:nvPr/>
                  </p:nvSpPr>
                  <p:spPr bwMode="auto">
                    <a:xfrm>
                      <a:off x="4321200" y="3874813"/>
                      <a:ext cx="328548" cy="325931"/>
                    </a:xfrm>
                    <a:custGeom>
                      <a:avLst/>
                      <a:gdLst>
                        <a:gd name="T0" fmla="*/ 0 w 212"/>
                        <a:gd name="T1" fmla="*/ 106 h 211"/>
                        <a:gd name="T2" fmla="*/ 106 w 212"/>
                        <a:gd name="T3" fmla="*/ 0 h 211"/>
                        <a:gd name="T4" fmla="*/ 212 w 212"/>
                        <a:gd name="T5" fmla="*/ 106 h 211"/>
                        <a:gd name="T6" fmla="*/ 106 w 212"/>
                        <a:gd name="T7" fmla="*/ 211 h 211"/>
                        <a:gd name="T8" fmla="*/ 0 w 212"/>
                        <a:gd name="T9" fmla="*/ 106 h 211"/>
                        <a:gd name="T10" fmla="*/ 20 w 212"/>
                        <a:gd name="T11" fmla="*/ 106 h 211"/>
                        <a:gd name="T12" fmla="*/ 106 w 212"/>
                        <a:gd name="T13" fmla="*/ 192 h 211"/>
                        <a:gd name="T14" fmla="*/ 192 w 212"/>
                        <a:gd name="T15" fmla="*/ 106 h 211"/>
                        <a:gd name="T16" fmla="*/ 106 w 212"/>
                        <a:gd name="T17" fmla="*/ 19 h 211"/>
                        <a:gd name="T18" fmla="*/ 20 w 212"/>
                        <a:gd name="T1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1">
                          <a:moveTo>
                            <a:pt x="0" y="106"/>
                          </a:moveTo>
                          <a:cubicBezTo>
                            <a:pt x="0" y="47"/>
                            <a:pt x="48" y="0"/>
                            <a:pt x="106" y="0"/>
                          </a:cubicBezTo>
                          <a:cubicBezTo>
                            <a:pt x="165" y="0"/>
                            <a:pt x="212" y="47"/>
                            <a:pt x="212" y="106"/>
                          </a:cubicBezTo>
                          <a:cubicBezTo>
                            <a:pt x="212" y="164"/>
                            <a:pt x="165" y="211"/>
                            <a:pt x="106" y="211"/>
                          </a:cubicBezTo>
                          <a:cubicBezTo>
                            <a:pt x="48" y="211"/>
                            <a:pt x="0" y="164"/>
                            <a:pt x="0" y="106"/>
                          </a:cubicBezTo>
                          <a:close/>
                          <a:moveTo>
                            <a:pt x="20" y="106"/>
                          </a:moveTo>
                          <a:cubicBezTo>
                            <a:pt x="20" y="153"/>
                            <a:pt x="59" y="192"/>
                            <a:pt x="106" y="192"/>
                          </a:cubicBezTo>
                          <a:cubicBezTo>
                            <a:pt x="154" y="192"/>
                            <a:pt x="192" y="153"/>
                            <a:pt x="192" y="106"/>
                          </a:cubicBezTo>
                          <a:cubicBezTo>
                            <a:pt x="192" y="58"/>
                            <a:pt x="154" y="19"/>
                            <a:pt x="106" y="19"/>
                          </a:cubicBezTo>
                          <a:cubicBezTo>
                            <a:pt x="59" y="19"/>
                            <a:pt x="20" y="58"/>
                            <a:pt x="20" y="106"/>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55" name="Freeform 48">
                      <a:extLst>
                        <a:ext uri="{FF2B5EF4-FFF2-40B4-BE49-F238E27FC236}">
                          <a16:creationId xmlns:a16="http://schemas.microsoft.com/office/drawing/2014/main" id="{AC83F9B6-1FB5-47A7-9F1F-F145FF2DBAF6}"/>
                        </a:ext>
                      </a:extLst>
                    </p:cNvPr>
                    <p:cNvSpPr>
                      <a:spLocks/>
                    </p:cNvSpPr>
                    <p:nvPr/>
                  </p:nvSpPr>
                  <p:spPr bwMode="auto">
                    <a:xfrm>
                      <a:off x="4467558" y="3933050"/>
                      <a:ext cx="31250" cy="132723"/>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E3241B"/>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58" name="Oval 49">
                      <a:extLst>
                        <a:ext uri="{FF2B5EF4-FFF2-40B4-BE49-F238E27FC236}">
                          <a16:creationId xmlns:a16="http://schemas.microsoft.com/office/drawing/2014/main" id="{DF52281E-94D0-49CE-A007-3AB8E9DFDAAE}"/>
                        </a:ext>
                      </a:extLst>
                    </p:cNvPr>
                    <p:cNvSpPr>
                      <a:spLocks noChangeArrowheads="1"/>
                    </p:cNvSpPr>
                    <p:nvPr/>
                  </p:nvSpPr>
                  <p:spPr bwMode="auto">
                    <a:xfrm>
                      <a:off x="4466084" y="4095827"/>
                      <a:ext cx="32724" cy="32070"/>
                    </a:xfrm>
                    <a:prstGeom prst="ellipse">
                      <a:avLst/>
                    </a:prstGeom>
                    <a:solidFill>
                      <a:srgbClr val="E3241B"/>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grpSp>
              <p:nvGrpSpPr>
                <p:cNvPr id="230" name="Group 229">
                  <a:extLst>
                    <a:ext uri="{FF2B5EF4-FFF2-40B4-BE49-F238E27FC236}">
                      <a16:creationId xmlns:a16="http://schemas.microsoft.com/office/drawing/2014/main" id="{E34E748F-8753-41D6-833D-2FBC4BE33472}"/>
                    </a:ext>
                  </a:extLst>
                </p:cNvPr>
                <p:cNvGrpSpPr/>
                <p:nvPr/>
              </p:nvGrpSpPr>
              <p:grpSpPr>
                <a:xfrm>
                  <a:off x="1720387" y="2004601"/>
                  <a:ext cx="291802" cy="107263"/>
                  <a:chOff x="1753391" y="2016187"/>
                  <a:chExt cx="353062" cy="105101"/>
                </a:xfrm>
                <a:solidFill>
                  <a:schemeClr val="accent6"/>
                </a:solidFill>
              </p:grpSpPr>
              <p:sp>
                <p:nvSpPr>
                  <p:cNvPr id="238" name="Freeform 53">
                    <a:extLst>
                      <a:ext uri="{FF2B5EF4-FFF2-40B4-BE49-F238E27FC236}">
                        <a16:creationId xmlns:a16="http://schemas.microsoft.com/office/drawing/2014/main" id="{D737B66D-993B-46E1-A2FF-02BE03DB3347}"/>
                      </a:ext>
                    </a:extLst>
                  </p:cNvPr>
                  <p:cNvSpPr>
                    <a:spLocks/>
                  </p:cNvSpPr>
                  <p:nvPr/>
                </p:nvSpPr>
                <p:spPr bwMode="auto">
                  <a:xfrm>
                    <a:off x="1753391" y="2016187"/>
                    <a:ext cx="353062" cy="25807"/>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39" name="Freeform 54">
                    <a:extLst>
                      <a:ext uri="{FF2B5EF4-FFF2-40B4-BE49-F238E27FC236}">
                        <a16:creationId xmlns:a16="http://schemas.microsoft.com/office/drawing/2014/main" id="{F900F75C-0EA5-4138-89D2-44364105E263}"/>
                      </a:ext>
                    </a:extLst>
                  </p:cNvPr>
                  <p:cNvSpPr>
                    <a:spLocks/>
                  </p:cNvSpPr>
                  <p:nvPr/>
                </p:nvSpPr>
                <p:spPr bwMode="auto">
                  <a:xfrm>
                    <a:off x="1753391" y="2095479"/>
                    <a:ext cx="353062" cy="25809"/>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grpSp>
            <p:nvGrpSpPr>
              <p:cNvPr id="57" name="Group 56">
                <a:extLst>
                  <a:ext uri="{FF2B5EF4-FFF2-40B4-BE49-F238E27FC236}">
                    <a16:creationId xmlns:a16="http://schemas.microsoft.com/office/drawing/2014/main" id="{5B7552B3-4C18-4BAD-9689-506E4B329F0E}"/>
                  </a:ext>
                </a:extLst>
              </p:cNvPr>
              <p:cNvGrpSpPr/>
              <p:nvPr/>
            </p:nvGrpSpPr>
            <p:grpSpPr>
              <a:xfrm>
                <a:off x="1386633" y="2029262"/>
                <a:ext cx="975437" cy="935261"/>
                <a:chOff x="5273817" y="1755177"/>
                <a:chExt cx="1038760" cy="935261"/>
              </a:xfrm>
            </p:grpSpPr>
            <p:grpSp>
              <p:nvGrpSpPr>
                <p:cNvPr id="250" name="Group 21">
                  <a:extLst>
                    <a:ext uri="{FF2B5EF4-FFF2-40B4-BE49-F238E27FC236}">
                      <a16:creationId xmlns:a16="http://schemas.microsoft.com/office/drawing/2014/main" id="{90BEBCAA-E7BE-4E81-863C-480FB76E7650}"/>
                    </a:ext>
                  </a:extLst>
                </p:cNvPr>
                <p:cNvGrpSpPr>
                  <a:grpSpLocks noChangeAspect="1"/>
                </p:cNvGrpSpPr>
                <p:nvPr/>
              </p:nvGrpSpPr>
              <p:grpSpPr bwMode="auto">
                <a:xfrm>
                  <a:off x="5498066" y="1755177"/>
                  <a:ext cx="754527" cy="935261"/>
                  <a:chOff x="1556" y="444"/>
                  <a:chExt cx="1027" cy="1273"/>
                </a:xfrm>
              </p:grpSpPr>
              <p:sp>
                <p:nvSpPr>
                  <p:cNvPr id="251" name="Freeform 22">
                    <a:extLst>
                      <a:ext uri="{FF2B5EF4-FFF2-40B4-BE49-F238E27FC236}">
                        <a16:creationId xmlns:a16="http://schemas.microsoft.com/office/drawing/2014/main" id="{B6629C44-9C42-4162-BE79-4822D55903B1}"/>
                      </a:ext>
                    </a:extLst>
                  </p:cNvPr>
                  <p:cNvSpPr>
                    <a:spLocks/>
                  </p:cNvSpPr>
                  <p:nvPr/>
                </p:nvSpPr>
                <p:spPr bwMode="auto">
                  <a:xfrm>
                    <a:off x="1556" y="444"/>
                    <a:ext cx="1027" cy="1273"/>
                  </a:xfrm>
                  <a:custGeom>
                    <a:avLst/>
                    <a:gdLst>
                      <a:gd name="T0" fmla="*/ 36 w 432"/>
                      <a:gd name="T1" fmla="*/ 0 h 536"/>
                      <a:gd name="T2" fmla="*/ 0 w 432"/>
                      <a:gd name="T3" fmla="*/ 36 h 536"/>
                      <a:gd name="T4" fmla="*/ 0 w 432"/>
                      <a:gd name="T5" fmla="*/ 500 h 536"/>
                      <a:gd name="T6" fmla="*/ 36 w 432"/>
                      <a:gd name="T7" fmla="*/ 536 h 536"/>
                      <a:gd name="T8" fmla="*/ 396 w 432"/>
                      <a:gd name="T9" fmla="*/ 536 h 536"/>
                      <a:gd name="T10" fmla="*/ 432 w 432"/>
                      <a:gd name="T11" fmla="*/ 500 h 536"/>
                      <a:gd name="T12" fmla="*/ 432 w 432"/>
                      <a:gd name="T13" fmla="*/ 135 h 536"/>
                      <a:gd name="T14" fmla="*/ 299 w 432"/>
                      <a:gd name="T15" fmla="*/ 0 h 536"/>
                      <a:gd name="T16" fmla="*/ 36 w 432"/>
                      <a:gd name="T1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536">
                        <a:moveTo>
                          <a:pt x="36" y="0"/>
                        </a:moveTo>
                        <a:cubicBezTo>
                          <a:pt x="16" y="0"/>
                          <a:pt x="0" y="16"/>
                          <a:pt x="0" y="36"/>
                        </a:cubicBezTo>
                        <a:cubicBezTo>
                          <a:pt x="0" y="500"/>
                          <a:pt x="0" y="500"/>
                          <a:pt x="0" y="500"/>
                        </a:cubicBezTo>
                        <a:cubicBezTo>
                          <a:pt x="0" y="520"/>
                          <a:pt x="16" y="536"/>
                          <a:pt x="36" y="536"/>
                        </a:cubicBezTo>
                        <a:cubicBezTo>
                          <a:pt x="396" y="536"/>
                          <a:pt x="396" y="536"/>
                          <a:pt x="396" y="536"/>
                        </a:cubicBezTo>
                        <a:cubicBezTo>
                          <a:pt x="415" y="536"/>
                          <a:pt x="432" y="520"/>
                          <a:pt x="432" y="500"/>
                        </a:cubicBezTo>
                        <a:cubicBezTo>
                          <a:pt x="432" y="135"/>
                          <a:pt x="432" y="135"/>
                          <a:pt x="432" y="135"/>
                        </a:cubicBezTo>
                        <a:cubicBezTo>
                          <a:pt x="299" y="0"/>
                          <a:pt x="299" y="0"/>
                          <a:pt x="299" y="0"/>
                        </a:cubicBezTo>
                        <a:lnTo>
                          <a:pt x="36"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256" name="Freeform 27">
                    <a:extLst>
                      <a:ext uri="{FF2B5EF4-FFF2-40B4-BE49-F238E27FC236}">
                        <a16:creationId xmlns:a16="http://schemas.microsoft.com/office/drawing/2014/main" id="{47F5954A-7D61-44E6-9E26-A430A81B8F82}"/>
                      </a:ext>
                    </a:extLst>
                  </p:cNvPr>
                  <p:cNvSpPr>
                    <a:spLocks/>
                  </p:cNvSpPr>
                  <p:nvPr/>
                </p:nvSpPr>
                <p:spPr bwMode="auto">
                  <a:xfrm>
                    <a:off x="2267" y="444"/>
                    <a:ext cx="316" cy="320"/>
                  </a:xfrm>
                  <a:custGeom>
                    <a:avLst/>
                    <a:gdLst>
                      <a:gd name="T0" fmla="*/ 133 w 133"/>
                      <a:gd name="T1" fmla="*/ 135 h 135"/>
                      <a:gd name="T2" fmla="*/ 0 w 133"/>
                      <a:gd name="T3" fmla="*/ 0 h 135"/>
                      <a:gd name="T4" fmla="*/ 0 w 133"/>
                      <a:gd name="T5" fmla="*/ 0 h 135"/>
                      <a:gd name="T6" fmla="*/ 0 w 133"/>
                      <a:gd name="T7" fmla="*/ 99 h 135"/>
                      <a:gd name="T8" fmla="*/ 36 w 133"/>
                      <a:gd name="T9" fmla="*/ 135 h 135"/>
                      <a:gd name="T10" fmla="*/ 133 w 133"/>
                      <a:gd name="T11" fmla="*/ 135 h 135"/>
                    </a:gdLst>
                    <a:ahLst/>
                    <a:cxnLst>
                      <a:cxn ang="0">
                        <a:pos x="T0" y="T1"/>
                      </a:cxn>
                      <a:cxn ang="0">
                        <a:pos x="T2" y="T3"/>
                      </a:cxn>
                      <a:cxn ang="0">
                        <a:pos x="T4" y="T5"/>
                      </a:cxn>
                      <a:cxn ang="0">
                        <a:pos x="T6" y="T7"/>
                      </a:cxn>
                      <a:cxn ang="0">
                        <a:pos x="T8" y="T9"/>
                      </a:cxn>
                      <a:cxn ang="0">
                        <a:pos x="T10" y="T11"/>
                      </a:cxn>
                    </a:cxnLst>
                    <a:rect l="0" t="0" r="r" b="b"/>
                    <a:pathLst>
                      <a:path w="133" h="135">
                        <a:moveTo>
                          <a:pt x="133" y="135"/>
                        </a:moveTo>
                        <a:cubicBezTo>
                          <a:pt x="0" y="0"/>
                          <a:pt x="0" y="0"/>
                          <a:pt x="0" y="0"/>
                        </a:cubicBezTo>
                        <a:cubicBezTo>
                          <a:pt x="0" y="0"/>
                          <a:pt x="0" y="0"/>
                          <a:pt x="0" y="0"/>
                        </a:cubicBezTo>
                        <a:cubicBezTo>
                          <a:pt x="0" y="99"/>
                          <a:pt x="0" y="99"/>
                          <a:pt x="0" y="99"/>
                        </a:cubicBezTo>
                        <a:cubicBezTo>
                          <a:pt x="0" y="119"/>
                          <a:pt x="17" y="135"/>
                          <a:pt x="36" y="135"/>
                        </a:cubicBezTo>
                        <a:cubicBezTo>
                          <a:pt x="133" y="135"/>
                          <a:pt x="133" y="135"/>
                          <a:pt x="133" y="13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nvGrpSpPr>
                <p:cNvPr id="56" name="Group 55">
                  <a:extLst>
                    <a:ext uri="{FF2B5EF4-FFF2-40B4-BE49-F238E27FC236}">
                      <a16:creationId xmlns:a16="http://schemas.microsoft.com/office/drawing/2014/main" id="{2F714422-0794-4C7B-9635-3D24B1FB5622}"/>
                    </a:ext>
                  </a:extLst>
                </p:cNvPr>
                <p:cNvGrpSpPr/>
                <p:nvPr/>
              </p:nvGrpSpPr>
              <p:grpSpPr>
                <a:xfrm>
                  <a:off x="5273817" y="1770840"/>
                  <a:ext cx="1038760" cy="873349"/>
                  <a:chOff x="5273817" y="1770840"/>
                  <a:chExt cx="1038760" cy="873349"/>
                </a:xfrm>
              </p:grpSpPr>
              <p:sp>
                <p:nvSpPr>
                  <p:cNvPr id="55" name="Freeform: Shape 54">
                    <a:extLst>
                      <a:ext uri="{FF2B5EF4-FFF2-40B4-BE49-F238E27FC236}">
                        <a16:creationId xmlns:a16="http://schemas.microsoft.com/office/drawing/2014/main" id="{ACEFCE5A-F1C8-4FE6-9E6C-5CD18D22CEA3}"/>
                      </a:ext>
                    </a:extLst>
                  </p:cNvPr>
                  <p:cNvSpPr/>
                  <p:nvPr/>
                </p:nvSpPr>
                <p:spPr>
                  <a:xfrm>
                    <a:off x="5273817" y="1788031"/>
                    <a:ext cx="230056" cy="856158"/>
                  </a:xfrm>
                  <a:custGeom>
                    <a:avLst/>
                    <a:gdLst>
                      <a:gd name="connsiteX0" fmla="*/ 0 w 235880"/>
                      <a:gd name="connsiteY0" fmla="*/ 454287 h 856158"/>
                      <a:gd name="connsiteX1" fmla="*/ 235880 w 235880"/>
                      <a:gd name="connsiteY1" fmla="*/ 0 h 856158"/>
                      <a:gd name="connsiteX2" fmla="*/ 227144 w 235880"/>
                      <a:gd name="connsiteY2" fmla="*/ 856158 h 856158"/>
                      <a:gd name="connsiteX3" fmla="*/ 0 w 235880"/>
                      <a:gd name="connsiteY3" fmla="*/ 454287 h 856158"/>
                      <a:gd name="connsiteX0" fmla="*/ 0 w 238792"/>
                      <a:gd name="connsiteY0" fmla="*/ 474672 h 856158"/>
                      <a:gd name="connsiteX1" fmla="*/ 238792 w 238792"/>
                      <a:gd name="connsiteY1" fmla="*/ 0 h 856158"/>
                      <a:gd name="connsiteX2" fmla="*/ 230056 w 238792"/>
                      <a:gd name="connsiteY2" fmla="*/ 856158 h 856158"/>
                      <a:gd name="connsiteX3" fmla="*/ 0 w 238792"/>
                      <a:gd name="connsiteY3" fmla="*/ 474672 h 856158"/>
                      <a:gd name="connsiteX0" fmla="*/ 0 w 230056"/>
                      <a:gd name="connsiteY0" fmla="*/ 474672 h 856158"/>
                      <a:gd name="connsiteX1" fmla="*/ 230056 w 230056"/>
                      <a:gd name="connsiteY1" fmla="*/ 0 h 856158"/>
                      <a:gd name="connsiteX2" fmla="*/ 230056 w 230056"/>
                      <a:gd name="connsiteY2" fmla="*/ 856158 h 856158"/>
                      <a:gd name="connsiteX3" fmla="*/ 0 w 230056"/>
                      <a:gd name="connsiteY3" fmla="*/ 474672 h 856158"/>
                    </a:gdLst>
                    <a:ahLst/>
                    <a:cxnLst>
                      <a:cxn ang="0">
                        <a:pos x="connsiteX0" y="connsiteY0"/>
                      </a:cxn>
                      <a:cxn ang="0">
                        <a:pos x="connsiteX1" y="connsiteY1"/>
                      </a:cxn>
                      <a:cxn ang="0">
                        <a:pos x="connsiteX2" y="connsiteY2"/>
                      </a:cxn>
                      <a:cxn ang="0">
                        <a:pos x="connsiteX3" y="connsiteY3"/>
                      </a:cxn>
                    </a:cxnLst>
                    <a:rect l="l" t="t" r="r" b="b"/>
                    <a:pathLst>
                      <a:path w="230056" h="856158">
                        <a:moveTo>
                          <a:pt x="0" y="474672"/>
                        </a:moveTo>
                        <a:lnTo>
                          <a:pt x="230056" y="0"/>
                        </a:lnTo>
                        <a:lnTo>
                          <a:pt x="230056" y="856158"/>
                        </a:lnTo>
                        <a:lnTo>
                          <a:pt x="0" y="474672"/>
                        </a:lnTo>
                        <a:close/>
                      </a:path>
                    </a:pathLst>
                  </a:cu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7" name="Rectangle 6"/>
                  <p:cNvSpPr/>
                  <p:nvPr/>
                </p:nvSpPr>
                <p:spPr>
                  <a:xfrm>
                    <a:off x="5474393" y="1770840"/>
                    <a:ext cx="838184" cy="192409"/>
                  </a:xfrm>
                  <a:prstGeom prst="rect">
                    <a:avLst/>
                  </a:prstGeom>
                </p:spPr>
                <p:txBody>
                  <a:bodyPr wrap="square">
                    <a:spAutoFit/>
                  </a:bodyPr>
                  <a:lstStyle/>
                  <a:p>
                    <a:pPr defTabSz="609585" fontAlgn="base">
                      <a:spcBef>
                        <a:spcPct val="0"/>
                      </a:spcBef>
                      <a:spcAft>
                        <a:spcPts val="133"/>
                      </a:spcAft>
                      <a:defRPr/>
                    </a:pPr>
                    <a:endParaRPr lang="en-US" sz="1067">
                      <a:solidFill>
                        <a:srgbClr val="282828"/>
                      </a:solidFill>
                      <a:latin typeface="CiscoSansTT ExtraLight"/>
                      <a:ea typeface="ＭＳ Ｐゴシック" charset="0"/>
                      <a:cs typeface="Arial"/>
                      <a:sym typeface="Arial"/>
                    </a:endParaRPr>
                  </a:p>
                </p:txBody>
              </p:sp>
            </p:grpSp>
          </p:grpSp>
          <p:grpSp>
            <p:nvGrpSpPr>
              <p:cNvPr id="200" name="Group 199">
                <a:extLst>
                  <a:ext uri="{FF2B5EF4-FFF2-40B4-BE49-F238E27FC236}">
                    <a16:creationId xmlns:a16="http://schemas.microsoft.com/office/drawing/2014/main" id="{9A805B2A-47E8-4013-836A-ABE3467175B9}"/>
                  </a:ext>
                </a:extLst>
              </p:cNvPr>
              <p:cNvGrpSpPr/>
              <p:nvPr/>
            </p:nvGrpSpPr>
            <p:grpSpPr>
              <a:xfrm>
                <a:off x="1685160" y="2243946"/>
                <a:ext cx="291802" cy="107263"/>
                <a:chOff x="1753391" y="2016187"/>
                <a:chExt cx="353062" cy="105101"/>
              </a:xfrm>
              <a:solidFill>
                <a:schemeClr val="accent6"/>
              </a:solidFill>
            </p:grpSpPr>
            <p:sp>
              <p:nvSpPr>
                <p:cNvPr id="201" name="Freeform 53">
                  <a:extLst>
                    <a:ext uri="{FF2B5EF4-FFF2-40B4-BE49-F238E27FC236}">
                      <a16:creationId xmlns:a16="http://schemas.microsoft.com/office/drawing/2014/main" id="{411A111E-A2F9-493B-A668-7881848B9406}"/>
                    </a:ext>
                  </a:extLst>
                </p:cNvPr>
                <p:cNvSpPr>
                  <a:spLocks/>
                </p:cNvSpPr>
                <p:nvPr/>
              </p:nvSpPr>
              <p:spPr bwMode="auto">
                <a:xfrm>
                  <a:off x="1753391" y="2016187"/>
                  <a:ext cx="353062" cy="25807"/>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02" name="Freeform 54">
                  <a:extLst>
                    <a:ext uri="{FF2B5EF4-FFF2-40B4-BE49-F238E27FC236}">
                      <a16:creationId xmlns:a16="http://schemas.microsoft.com/office/drawing/2014/main" id="{E9FB2F11-67EA-4014-A88D-866F8CF8C3F2}"/>
                    </a:ext>
                  </a:extLst>
                </p:cNvPr>
                <p:cNvSpPr>
                  <a:spLocks/>
                </p:cNvSpPr>
                <p:nvPr/>
              </p:nvSpPr>
              <p:spPr bwMode="auto">
                <a:xfrm>
                  <a:off x="1753391" y="2095479"/>
                  <a:ext cx="353062" cy="25809"/>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nvGrpSpPr>
              <p:cNvPr id="203" name="Group 202">
                <a:extLst>
                  <a:ext uri="{FF2B5EF4-FFF2-40B4-BE49-F238E27FC236}">
                    <a16:creationId xmlns:a16="http://schemas.microsoft.com/office/drawing/2014/main" id="{F9527572-B7BD-402C-9EFD-B670DDD3F5E3}"/>
                  </a:ext>
                </a:extLst>
              </p:cNvPr>
              <p:cNvGrpSpPr/>
              <p:nvPr/>
            </p:nvGrpSpPr>
            <p:grpSpPr>
              <a:xfrm>
                <a:off x="1685160" y="2451240"/>
                <a:ext cx="417012" cy="135886"/>
                <a:chOff x="1753391" y="2016187"/>
                <a:chExt cx="353062" cy="105101"/>
              </a:xfrm>
              <a:solidFill>
                <a:schemeClr val="accent6"/>
              </a:solidFill>
            </p:grpSpPr>
            <p:sp>
              <p:nvSpPr>
                <p:cNvPr id="204" name="Freeform 53">
                  <a:extLst>
                    <a:ext uri="{FF2B5EF4-FFF2-40B4-BE49-F238E27FC236}">
                      <a16:creationId xmlns:a16="http://schemas.microsoft.com/office/drawing/2014/main" id="{6B21C4B7-8EF8-4F98-AE83-C222145F7581}"/>
                    </a:ext>
                  </a:extLst>
                </p:cNvPr>
                <p:cNvSpPr>
                  <a:spLocks/>
                </p:cNvSpPr>
                <p:nvPr/>
              </p:nvSpPr>
              <p:spPr bwMode="auto">
                <a:xfrm>
                  <a:off x="1753391" y="2016187"/>
                  <a:ext cx="353062" cy="25807"/>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11" name="Freeform 54">
                  <a:extLst>
                    <a:ext uri="{FF2B5EF4-FFF2-40B4-BE49-F238E27FC236}">
                      <a16:creationId xmlns:a16="http://schemas.microsoft.com/office/drawing/2014/main" id="{9228C7C4-67E0-4881-9EFC-8B6005868ACF}"/>
                    </a:ext>
                  </a:extLst>
                </p:cNvPr>
                <p:cNvSpPr>
                  <a:spLocks/>
                </p:cNvSpPr>
                <p:nvPr/>
              </p:nvSpPr>
              <p:spPr bwMode="auto">
                <a:xfrm>
                  <a:off x="1753391" y="2095479"/>
                  <a:ext cx="353062" cy="25809"/>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nvGrpSpPr>
              <p:cNvPr id="223" name="Group 222">
                <a:extLst>
                  <a:ext uri="{FF2B5EF4-FFF2-40B4-BE49-F238E27FC236}">
                    <a16:creationId xmlns:a16="http://schemas.microsoft.com/office/drawing/2014/main" id="{08D29570-0B3F-4097-A533-41E9F2F9B185}"/>
                  </a:ext>
                </a:extLst>
              </p:cNvPr>
              <p:cNvGrpSpPr/>
              <p:nvPr/>
            </p:nvGrpSpPr>
            <p:grpSpPr>
              <a:xfrm>
                <a:off x="1683494" y="2710056"/>
                <a:ext cx="473170" cy="107263"/>
                <a:chOff x="1753391" y="2016187"/>
                <a:chExt cx="353062" cy="105101"/>
              </a:xfrm>
              <a:solidFill>
                <a:schemeClr val="accent6"/>
              </a:solidFill>
            </p:grpSpPr>
            <p:sp>
              <p:nvSpPr>
                <p:cNvPr id="224" name="Freeform 53">
                  <a:extLst>
                    <a:ext uri="{FF2B5EF4-FFF2-40B4-BE49-F238E27FC236}">
                      <a16:creationId xmlns:a16="http://schemas.microsoft.com/office/drawing/2014/main" id="{CCDB568D-0CBF-4008-B78C-326E4CDF6817}"/>
                    </a:ext>
                  </a:extLst>
                </p:cNvPr>
                <p:cNvSpPr>
                  <a:spLocks/>
                </p:cNvSpPr>
                <p:nvPr/>
              </p:nvSpPr>
              <p:spPr bwMode="auto">
                <a:xfrm>
                  <a:off x="1753391" y="2016187"/>
                  <a:ext cx="353062" cy="25807"/>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25" name="Freeform 54">
                  <a:extLst>
                    <a:ext uri="{FF2B5EF4-FFF2-40B4-BE49-F238E27FC236}">
                      <a16:creationId xmlns:a16="http://schemas.microsoft.com/office/drawing/2014/main" id="{420EA91D-BA92-4A08-B449-1AF8AE8BC17F}"/>
                    </a:ext>
                  </a:extLst>
                </p:cNvPr>
                <p:cNvSpPr>
                  <a:spLocks/>
                </p:cNvSpPr>
                <p:nvPr/>
              </p:nvSpPr>
              <p:spPr bwMode="auto">
                <a:xfrm>
                  <a:off x="1753391" y="2095479"/>
                  <a:ext cx="353062" cy="25809"/>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sp>
          <p:nvSpPr>
            <p:cNvPr id="12" name="TextBox 11">
              <a:extLst>
                <a:ext uri="{FF2B5EF4-FFF2-40B4-BE49-F238E27FC236}">
                  <a16:creationId xmlns:a16="http://schemas.microsoft.com/office/drawing/2014/main" id="{2D0A9CE6-F144-4F17-8FA2-FE4F52EF5736}"/>
                </a:ext>
              </a:extLst>
            </p:cNvPr>
            <p:cNvSpPr txBox="1"/>
            <p:nvPr/>
          </p:nvSpPr>
          <p:spPr>
            <a:xfrm>
              <a:off x="526182" y="3391101"/>
              <a:ext cx="1984326" cy="246173"/>
            </a:xfrm>
            <a:prstGeom prst="rect">
              <a:avLst/>
            </a:prstGeom>
            <a:noFill/>
          </p:spPr>
          <p:txBody>
            <a:bodyPr wrap="square" rtlCol="0">
              <a:spAutoFit/>
            </a:bodyPr>
            <a:lstStyle/>
            <a:p>
              <a:pPr algn="ctr" defTabSz="609585" fontAlgn="base">
                <a:spcBef>
                  <a:spcPct val="0"/>
                </a:spcBef>
                <a:spcAft>
                  <a:spcPct val="0"/>
                </a:spcAft>
                <a:defRPr/>
              </a:pPr>
              <a:r>
                <a:rPr lang="en-US" sz="1533">
                  <a:solidFill>
                    <a:srgbClr val="282828"/>
                  </a:solidFill>
                  <a:latin typeface="CiscoSansTT ExtraLight"/>
                  <a:ea typeface="ＭＳ Ｐゴシック" charset="0"/>
                  <a:cs typeface="Arial"/>
                  <a:sym typeface="Arial"/>
                </a:rPr>
                <a:t>Alarm triggered  </a:t>
              </a:r>
            </a:p>
          </p:txBody>
        </p:sp>
      </p:grpSp>
      <p:grpSp>
        <p:nvGrpSpPr>
          <p:cNvPr id="17" name="Group 16">
            <a:extLst>
              <a:ext uri="{FF2B5EF4-FFF2-40B4-BE49-F238E27FC236}">
                <a16:creationId xmlns:a16="http://schemas.microsoft.com/office/drawing/2014/main" id="{1224AC5A-359C-4775-8C54-7683DF74041D}"/>
              </a:ext>
            </a:extLst>
          </p:cNvPr>
          <p:cNvGrpSpPr/>
          <p:nvPr/>
        </p:nvGrpSpPr>
        <p:grpSpPr>
          <a:xfrm>
            <a:off x="6143106" y="2156835"/>
            <a:ext cx="2912081" cy="3001965"/>
            <a:chOff x="4607329" y="1483615"/>
            <a:chExt cx="2184061" cy="2251474"/>
          </a:xfrm>
        </p:grpSpPr>
        <p:grpSp>
          <p:nvGrpSpPr>
            <p:cNvPr id="15" name="Group 14">
              <a:extLst>
                <a:ext uri="{FF2B5EF4-FFF2-40B4-BE49-F238E27FC236}">
                  <a16:creationId xmlns:a16="http://schemas.microsoft.com/office/drawing/2014/main" id="{0EE12A56-6C89-460D-A11D-368D48717425}"/>
                </a:ext>
              </a:extLst>
            </p:cNvPr>
            <p:cNvGrpSpPr/>
            <p:nvPr/>
          </p:nvGrpSpPr>
          <p:grpSpPr>
            <a:xfrm>
              <a:off x="4607329" y="1483615"/>
              <a:ext cx="2184061" cy="2251474"/>
              <a:chOff x="4607329" y="1483615"/>
              <a:chExt cx="2184061" cy="2251474"/>
            </a:xfrm>
          </p:grpSpPr>
          <p:grpSp>
            <p:nvGrpSpPr>
              <p:cNvPr id="4" name="Group 3">
                <a:extLst>
                  <a:ext uri="{FF2B5EF4-FFF2-40B4-BE49-F238E27FC236}">
                    <a16:creationId xmlns:a16="http://schemas.microsoft.com/office/drawing/2014/main" id="{DA7368D4-3394-45A0-AAB3-404A3DB070B1}"/>
                  </a:ext>
                </a:extLst>
              </p:cNvPr>
              <p:cNvGrpSpPr/>
              <p:nvPr/>
            </p:nvGrpSpPr>
            <p:grpSpPr>
              <a:xfrm>
                <a:off x="4607329" y="1483615"/>
                <a:ext cx="1984327" cy="2251474"/>
                <a:chOff x="4607329" y="1483615"/>
                <a:chExt cx="1984327" cy="2251474"/>
              </a:xfrm>
            </p:grpSpPr>
            <p:sp>
              <p:nvSpPr>
                <p:cNvPr id="126" name="Rectangle 125">
                  <a:extLst>
                    <a:ext uri="{FF2B5EF4-FFF2-40B4-BE49-F238E27FC236}">
                      <a16:creationId xmlns:a16="http://schemas.microsoft.com/office/drawing/2014/main" id="{47FD0BA6-C832-499D-A9D2-D23431C9AE51}"/>
                    </a:ext>
                  </a:extLst>
                </p:cNvPr>
                <p:cNvSpPr>
                  <a:spLocks noChangeAspect="1"/>
                </p:cNvSpPr>
                <p:nvPr/>
              </p:nvSpPr>
              <p:spPr>
                <a:xfrm>
                  <a:off x="4607329" y="1483615"/>
                  <a:ext cx="1984327" cy="2251474"/>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21920" rtlCol="0" anchor="t"/>
                <a:lstStyle/>
                <a:p>
                  <a:pPr algn="ctr" defTabSz="609585" fontAlgn="base">
                    <a:spcBef>
                      <a:spcPct val="0"/>
                    </a:spcBef>
                    <a:spcAft>
                      <a:spcPct val="0"/>
                    </a:spcAft>
                    <a:defRPr/>
                  </a:pPr>
                  <a:r>
                    <a:rPr lang="en-US" sz="1867" b="1" dirty="0">
                      <a:solidFill>
                        <a:srgbClr val="005073"/>
                      </a:solidFill>
                      <a:latin typeface="CiscoSansTT ExtraLight"/>
                      <a:sym typeface="Arial"/>
                    </a:rPr>
                    <a:t>Investigation</a:t>
                  </a:r>
                </a:p>
              </p:txBody>
            </p:sp>
            <p:grpSp>
              <p:nvGrpSpPr>
                <p:cNvPr id="5" name="Group 4">
                  <a:extLst>
                    <a:ext uri="{FF2B5EF4-FFF2-40B4-BE49-F238E27FC236}">
                      <a16:creationId xmlns:a16="http://schemas.microsoft.com/office/drawing/2014/main" id="{E7B6E504-6814-44F1-95C2-0F6E5FDC23CB}"/>
                    </a:ext>
                  </a:extLst>
                </p:cNvPr>
                <p:cNvGrpSpPr/>
                <p:nvPr/>
              </p:nvGrpSpPr>
              <p:grpSpPr>
                <a:xfrm>
                  <a:off x="4839926" y="2201805"/>
                  <a:ext cx="1510454" cy="811966"/>
                  <a:chOff x="4869906" y="1999440"/>
                  <a:chExt cx="1510454" cy="811966"/>
                </a:xfrm>
              </p:grpSpPr>
              <p:grpSp>
                <p:nvGrpSpPr>
                  <p:cNvPr id="272" name="Group 271">
                    <a:extLst>
                      <a:ext uri="{FF2B5EF4-FFF2-40B4-BE49-F238E27FC236}">
                        <a16:creationId xmlns:a16="http://schemas.microsoft.com/office/drawing/2014/main" id="{D56C7A66-D7C2-4ADB-A906-7E660234A0C2}"/>
                      </a:ext>
                    </a:extLst>
                  </p:cNvPr>
                  <p:cNvGrpSpPr/>
                  <p:nvPr/>
                </p:nvGrpSpPr>
                <p:grpSpPr>
                  <a:xfrm>
                    <a:off x="4869906" y="1999440"/>
                    <a:ext cx="529052" cy="811966"/>
                    <a:chOff x="7504946" y="1369403"/>
                    <a:chExt cx="390689" cy="616853"/>
                  </a:xfrm>
                  <a:solidFill>
                    <a:schemeClr val="tx2"/>
                  </a:solidFill>
                </p:grpSpPr>
                <p:sp>
                  <p:nvSpPr>
                    <p:cNvPr id="273" name="Oval 342">
                      <a:extLst>
                        <a:ext uri="{FF2B5EF4-FFF2-40B4-BE49-F238E27FC236}">
                          <a16:creationId xmlns:a16="http://schemas.microsoft.com/office/drawing/2014/main" id="{22225A7A-B78F-4958-8D25-C2E94AF65858}"/>
                        </a:ext>
                      </a:extLst>
                    </p:cNvPr>
                    <p:cNvSpPr>
                      <a:spLocks noChangeAspect="1" noChangeArrowheads="1"/>
                    </p:cNvSpPr>
                    <p:nvPr/>
                  </p:nvSpPr>
                  <p:spPr bwMode="auto">
                    <a:xfrm>
                      <a:off x="7587323" y="1369403"/>
                      <a:ext cx="227262" cy="231321"/>
                    </a:xfrm>
                    <a:prstGeom prst="ellipse">
                      <a:avLst/>
                    </a:pr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274" name="Freeform 343">
                      <a:extLst>
                        <a:ext uri="{FF2B5EF4-FFF2-40B4-BE49-F238E27FC236}">
                          <a16:creationId xmlns:a16="http://schemas.microsoft.com/office/drawing/2014/main" id="{107A7556-C4AF-426C-A9B4-72F3F23B5562}"/>
                        </a:ext>
                      </a:extLst>
                    </p:cNvPr>
                    <p:cNvSpPr>
                      <a:spLocks noChangeAspect="1"/>
                    </p:cNvSpPr>
                    <p:nvPr/>
                  </p:nvSpPr>
                  <p:spPr bwMode="auto">
                    <a:xfrm>
                      <a:off x="7504946" y="1649421"/>
                      <a:ext cx="390689" cy="336835"/>
                    </a:xfrm>
                    <a:custGeom>
                      <a:avLst/>
                      <a:gdLst>
                        <a:gd name="T0" fmla="*/ 28 w 28"/>
                        <a:gd name="T1" fmla="*/ 9 h 35"/>
                        <a:gd name="T2" fmla="*/ 19 w 28"/>
                        <a:gd name="T3" fmla="*/ 0 h 35"/>
                        <a:gd name="T4" fmla="*/ 9 w 28"/>
                        <a:gd name="T5" fmla="*/ 0 h 35"/>
                        <a:gd name="T6" fmla="*/ 0 w 28"/>
                        <a:gd name="T7" fmla="*/ 9 h 35"/>
                        <a:gd name="T8" fmla="*/ 0 w 28"/>
                        <a:gd name="T9" fmla="*/ 35 h 35"/>
                        <a:gd name="T10" fmla="*/ 28 w 28"/>
                        <a:gd name="T11" fmla="*/ 35 h 35"/>
                        <a:gd name="T12" fmla="*/ 28 w 28"/>
                        <a:gd name="T13" fmla="*/ 9 h 35"/>
                      </a:gdLst>
                      <a:ahLst/>
                      <a:cxnLst>
                        <a:cxn ang="0">
                          <a:pos x="T0" y="T1"/>
                        </a:cxn>
                        <a:cxn ang="0">
                          <a:pos x="T2" y="T3"/>
                        </a:cxn>
                        <a:cxn ang="0">
                          <a:pos x="T4" y="T5"/>
                        </a:cxn>
                        <a:cxn ang="0">
                          <a:pos x="T6" y="T7"/>
                        </a:cxn>
                        <a:cxn ang="0">
                          <a:pos x="T8" y="T9"/>
                        </a:cxn>
                        <a:cxn ang="0">
                          <a:pos x="T10" y="T11"/>
                        </a:cxn>
                        <a:cxn ang="0">
                          <a:pos x="T12" y="T13"/>
                        </a:cxn>
                      </a:cxnLst>
                      <a:rect l="0" t="0" r="r" b="b"/>
                      <a:pathLst>
                        <a:path w="28" h="35">
                          <a:moveTo>
                            <a:pt x="28" y="9"/>
                          </a:moveTo>
                          <a:cubicBezTo>
                            <a:pt x="28" y="4"/>
                            <a:pt x="24" y="0"/>
                            <a:pt x="19" y="0"/>
                          </a:cubicBezTo>
                          <a:cubicBezTo>
                            <a:pt x="9" y="0"/>
                            <a:pt x="9" y="0"/>
                            <a:pt x="9" y="0"/>
                          </a:cubicBezTo>
                          <a:cubicBezTo>
                            <a:pt x="4" y="0"/>
                            <a:pt x="0" y="4"/>
                            <a:pt x="0" y="9"/>
                          </a:cubicBezTo>
                          <a:cubicBezTo>
                            <a:pt x="0" y="35"/>
                            <a:pt x="0" y="35"/>
                            <a:pt x="0" y="35"/>
                          </a:cubicBezTo>
                          <a:cubicBezTo>
                            <a:pt x="28" y="35"/>
                            <a:pt x="28" y="35"/>
                            <a:pt x="28" y="35"/>
                          </a:cubicBezTo>
                          <a:lnTo>
                            <a:pt x="28" y="9"/>
                          </a:ln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nvGrpSpPr>
                  <p:cNvPr id="282" name="Group 281">
                    <a:extLst>
                      <a:ext uri="{FF2B5EF4-FFF2-40B4-BE49-F238E27FC236}">
                        <a16:creationId xmlns:a16="http://schemas.microsoft.com/office/drawing/2014/main" id="{BCC4DCF5-E5D4-4757-AADF-B3EB1550DD25}"/>
                      </a:ext>
                    </a:extLst>
                  </p:cNvPr>
                  <p:cNvGrpSpPr/>
                  <p:nvPr/>
                </p:nvGrpSpPr>
                <p:grpSpPr>
                  <a:xfrm>
                    <a:off x="5211782" y="2065589"/>
                    <a:ext cx="1168578" cy="654622"/>
                    <a:chOff x="5143999" y="1770840"/>
                    <a:chExt cx="1168578" cy="865258"/>
                  </a:xfrm>
                </p:grpSpPr>
                <p:sp>
                  <p:nvSpPr>
                    <p:cNvPr id="283" name="Freeform: Shape 282">
                      <a:extLst>
                        <a:ext uri="{FF2B5EF4-FFF2-40B4-BE49-F238E27FC236}">
                          <a16:creationId xmlns:a16="http://schemas.microsoft.com/office/drawing/2014/main" id="{DC4D8361-44FF-4F41-BD8D-3A1E42B87987}"/>
                        </a:ext>
                      </a:extLst>
                    </p:cNvPr>
                    <p:cNvSpPr/>
                    <p:nvPr/>
                  </p:nvSpPr>
                  <p:spPr>
                    <a:xfrm>
                      <a:off x="5143999" y="1813885"/>
                      <a:ext cx="214589" cy="822213"/>
                    </a:xfrm>
                    <a:custGeom>
                      <a:avLst/>
                      <a:gdLst>
                        <a:gd name="connsiteX0" fmla="*/ 0 w 235880"/>
                        <a:gd name="connsiteY0" fmla="*/ 454287 h 856158"/>
                        <a:gd name="connsiteX1" fmla="*/ 235880 w 235880"/>
                        <a:gd name="connsiteY1" fmla="*/ 0 h 856158"/>
                        <a:gd name="connsiteX2" fmla="*/ 227144 w 235880"/>
                        <a:gd name="connsiteY2" fmla="*/ 856158 h 856158"/>
                        <a:gd name="connsiteX3" fmla="*/ 0 w 235880"/>
                        <a:gd name="connsiteY3" fmla="*/ 454287 h 856158"/>
                        <a:gd name="connsiteX0" fmla="*/ 0 w 238792"/>
                        <a:gd name="connsiteY0" fmla="*/ 474672 h 856158"/>
                        <a:gd name="connsiteX1" fmla="*/ 238792 w 238792"/>
                        <a:gd name="connsiteY1" fmla="*/ 0 h 856158"/>
                        <a:gd name="connsiteX2" fmla="*/ 230056 w 238792"/>
                        <a:gd name="connsiteY2" fmla="*/ 856158 h 856158"/>
                        <a:gd name="connsiteX3" fmla="*/ 0 w 238792"/>
                        <a:gd name="connsiteY3" fmla="*/ 474672 h 856158"/>
                        <a:gd name="connsiteX0" fmla="*/ 0 w 230056"/>
                        <a:gd name="connsiteY0" fmla="*/ 474672 h 856158"/>
                        <a:gd name="connsiteX1" fmla="*/ 230056 w 230056"/>
                        <a:gd name="connsiteY1" fmla="*/ 0 h 856158"/>
                        <a:gd name="connsiteX2" fmla="*/ 230056 w 230056"/>
                        <a:gd name="connsiteY2" fmla="*/ 856158 h 856158"/>
                        <a:gd name="connsiteX3" fmla="*/ 0 w 230056"/>
                        <a:gd name="connsiteY3" fmla="*/ 474672 h 856158"/>
                      </a:gdLst>
                      <a:ahLst/>
                      <a:cxnLst>
                        <a:cxn ang="0">
                          <a:pos x="connsiteX0" y="connsiteY0"/>
                        </a:cxn>
                        <a:cxn ang="0">
                          <a:pos x="connsiteX1" y="connsiteY1"/>
                        </a:cxn>
                        <a:cxn ang="0">
                          <a:pos x="connsiteX2" y="connsiteY2"/>
                        </a:cxn>
                        <a:cxn ang="0">
                          <a:pos x="connsiteX3" y="connsiteY3"/>
                        </a:cxn>
                      </a:cxnLst>
                      <a:rect l="l" t="t" r="r" b="b"/>
                      <a:pathLst>
                        <a:path w="230056" h="856158">
                          <a:moveTo>
                            <a:pt x="0" y="474672"/>
                          </a:moveTo>
                          <a:lnTo>
                            <a:pt x="230056" y="0"/>
                          </a:lnTo>
                          <a:lnTo>
                            <a:pt x="230056" y="856158"/>
                          </a:lnTo>
                          <a:lnTo>
                            <a:pt x="0" y="474672"/>
                          </a:lnTo>
                          <a:close/>
                        </a:path>
                      </a:pathLst>
                    </a:cu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284" name="Rectangle 283">
                      <a:extLst>
                        <a:ext uri="{FF2B5EF4-FFF2-40B4-BE49-F238E27FC236}">
                          <a16:creationId xmlns:a16="http://schemas.microsoft.com/office/drawing/2014/main" id="{33595CA7-B588-47FB-9999-D1CB421496D8}"/>
                        </a:ext>
                      </a:extLst>
                    </p:cNvPr>
                    <p:cNvSpPr/>
                    <p:nvPr/>
                  </p:nvSpPr>
                  <p:spPr>
                    <a:xfrm>
                      <a:off x="5474393" y="1770840"/>
                      <a:ext cx="838184" cy="254320"/>
                    </a:xfrm>
                    <a:prstGeom prst="rect">
                      <a:avLst/>
                    </a:prstGeom>
                  </p:spPr>
                  <p:txBody>
                    <a:bodyPr wrap="square">
                      <a:spAutoFit/>
                    </a:bodyPr>
                    <a:lstStyle/>
                    <a:p>
                      <a:pPr defTabSz="609585" fontAlgn="base">
                        <a:spcBef>
                          <a:spcPct val="0"/>
                        </a:spcBef>
                        <a:spcAft>
                          <a:spcPts val="133"/>
                        </a:spcAft>
                        <a:defRPr/>
                      </a:pPr>
                      <a:endParaRPr lang="en-US" sz="1067">
                        <a:solidFill>
                          <a:srgbClr val="282828"/>
                        </a:solidFill>
                        <a:latin typeface="CiscoSansTT ExtraLight"/>
                        <a:ea typeface="ＭＳ Ｐゴシック" charset="0"/>
                        <a:cs typeface="Arial"/>
                        <a:sym typeface="Arial"/>
                      </a:endParaRPr>
                    </a:p>
                  </p:txBody>
                </p:sp>
              </p:grpSp>
            </p:grpSp>
            <p:grpSp>
              <p:nvGrpSpPr>
                <p:cNvPr id="16" name="Group 15">
                  <a:extLst>
                    <a:ext uri="{FF2B5EF4-FFF2-40B4-BE49-F238E27FC236}">
                      <a16:creationId xmlns:a16="http://schemas.microsoft.com/office/drawing/2014/main" id="{5F335108-0AD4-463A-BCC6-9ED29D579B21}"/>
                    </a:ext>
                  </a:extLst>
                </p:cNvPr>
                <p:cNvGrpSpPr/>
                <p:nvPr/>
              </p:nvGrpSpPr>
              <p:grpSpPr>
                <a:xfrm>
                  <a:off x="5283298" y="2267952"/>
                  <a:ext cx="1142297" cy="712061"/>
                  <a:chOff x="7209651" y="252132"/>
                  <a:chExt cx="1142297" cy="712061"/>
                </a:xfrm>
              </p:grpSpPr>
              <p:grpSp>
                <p:nvGrpSpPr>
                  <p:cNvPr id="316" name="Group 221">
                    <a:extLst>
                      <a:ext uri="{FF2B5EF4-FFF2-40B4-BE49-F238E27FC236}">
                        <a16:creationId xmlns:a16="http://schemas.microsoft.com/office/drawing/2014/main" id="{ED05114E-3B19-49EA-88D4-3C09AC92A8E5}"/>
                      </a:ext>
                    </a:extLst>
                  </p:cNvPr>
                  <p:cNvGrpSpPr>
                    <a:grpSpLocks noChangeAspect="1"/>
                  </p:cNvGrpSpPr>
                  <p:nvPr/>
                </p:nvGrpSpPr>
                <p:grpSpPr bwMode="auto">
                  <a:xfrm>
                    <a:off x="7209651" y="252132"/>
                    <a:ext cx="1142297" cy="712061"/>
                    <a:chOff x="2049" y="1143"/>
                    <a:chExt cx="1664" cy="954"/>
                  </a:xfrm>
                </p:grpSpPr>
                <p:sp>
                  <p:nvSpPr>
                    <p:cNvPr id="345" name="Freeform 222">
                      <a:extLst>
                        <a:ext uri="{FF2B5EF4-FFF2-40B4-BE49-F238E27FC236}">
                          <a16:creationId xmlns:a16="http://schemas.microsoft.com/office/drawing/2014/main" id="{667370E7-6249-4A2F-9831-814C4360DE6C}"/>
                        </a:ext>
                      </a:extLst>
                    </p:cNvPr>
                    <p:cNvSpPr>
                      <a:spLocks/>
                    </p:cNvSpPr>
                    <p:nvPr/>
                  </p:nvSpPr>
                  <p:spPr bwMode="auto">
                    <a:xfrm>
                      <a:off x="2049" y="2028"/>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347" name="Freeform 224">
                      <a:extLst>
                        <a:ext uri="{FF2B5EF4-FFF2-40B4-BE49-F238E27FC236}">
                          <a16:creationId xmlns:a16="http://schemas.microsoft.com/office/drawing/2014/main" id="{A427651C-74FC-4F6C-BD20-31CA03FCE1AB}"/>
                        </a:ext>
                      </a:extLst>
                    </p:cNvPr>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nvGrpSpPr>
                  <p:cNvPr id="359" name="Group 358">
                    <a:extLst>
                      <a:ext uri="{FF2B5EF4-FFF2-40B4-BE49-F238E27FC236}">
                        <a16:creationId xmlns:a16="http://schemas.microsoft.com/office/drawing/2014/main" id="{3E1D84F6-6C36-40C6-B9B8-0D76452E73C4}"/>
                      </a:ext>
                    </a:extLst>
                  </p:cNvPr>
                  <p:cNvGrpSpPr/>
                  <p:nvPr/>
                </p:nvGrpSpPr>
                <p:grpSpPr>
                  <a:xfrm>
                    <a:off x="7479803" y="363393"/>
                    <a:ext cx="601992" cy="511979"/>
                    <a:chOff x="5550698" y="3283634"/>
                    <a:chExt cx="626486" cy="589651"/>
                  </a:xfrm>
                </p:grpSpPr>
                <p:sp>
                  <p:nvSpPr>
                    <p:cNvPr id="360" name="Freeform 22">
                      <a:extLst>
                        <a:ext uri="{FF2B5EF4-FFF2-40B4-BE49-F238E27FC236}">
                          <a16:creationId xmlns:a16="http://schemas.microsoft.com/office/drawing/2014/main" id="{0123562C-4A72-4D47-8C45-885BC391B94B}"/>
                        </a:ext>
                      </a:extLst>
                    </p:cNvPr>
                    <p:cNvSpPr>
                      <a:spLocks noEditPoints="1"/>
                    </p:cNvSpPr>
                    <p:nvPr/>
                  </p:nvSpPr>
                  <p:spPr bwMode="auto">
                    <a:xfrm>
                      <a:off x="5550698" y="3283634"/>
                      <a:ext cx="626486" cy="568624"/>
                    </a:xfrm>
                    <a:custGeom>
                      <a:avLst/>
                      <a:gdLst>
                        <a:gd name="T0" fmla="*/ 28 w 399"/>
                        <a:gd name="T1" fmla="*/ 1 h 362"/>
                        <a:gd name="T2" fmla="*/ 33 w 399"/>
                        <a:gd name="T3" fmla="*/ 69 h 362"/>
                        <a:gd name="T4" fmla="*/ 21 w 399"/>
                        <a:gd name="T5" fmla="*/ 15 h 362"/>
                        <a:gd name="T6" fmla="*/ 6 w 399"/>
                        <a:gd name="T7" fmla="*/ 13 h 362"/>
                        <a:gd name="T8" fmla="*/ 83 w 399"/>
                        <a:gd name="T9" fmla="*/ 70 h 362"/>
                        <a:gd name="T10" fmla="*/ 93 w 399"/>
                        <a:gd name="T11" fmla="*/ 35 h 362"/>
                        <a:gd name="T12" fmla="*/ 128 w 399"/>
                        <a:gd name="T13" fmla="*/ 20 h 362"/>
                        <a:gd name="T14" fmla="*/ 137 w 399"/>
                        <a:gd name="T15" fmla="*/ 55 h 362"/>
                        <a:gd name="T16" fmla="*/ 144 w 399"/>
                        <a:gd name="T17" fmla="*/ 1 h 362"/>
                        <a:gd name="T18" fmla="*/ 123 w 399"/>
                        <a:gd name="T19" fmla="*/ 18 h 362"/>
                        <a:gd name="T20" fmla="*/ 195 w 399"/>
                        <a:gd name="T21" fmla="*/ 15 h 362"/>
                        <a:gd name="T22" fmla="*/ 211 w 399"/>
                        <a:gd name="T23" fmla="*/ 5 h 362"/>
                        <a:gd name="T24" fmla="*/ 183 w 399"/>
                        <a:gd name="T25" fmla="*/ 8 h 362"/>
                        <a:gd name="T26" fmla="*/ 267 w 399"/>
                        <a:gd name="T27" fmla="*/ 25 h 362"/>
                        <a:gd name="T28" fmla="*/ 249 w 399"/>
                        <a:gd name="T29" fmla="*/ 21 h 362"/>
                        <a:gd name="T30" fmla="*/ 399 w 399"/>
                        <a:gd name="T31" fmla="*/ 35 h 362"/>
                        <a:gd name="T32" fmla="*/ 374 w 399"/>
                        <a:gd name="T33" fmla="*/ 58 h 362"/>
                        <a:gd name="T34" fmla="*/ 7 w 399"/>
                        <a:gd name="T35" fmla="*/ 143 h 362"/>
                        <a:gd name="T36" fmla="*/ 21 w 399"/>
                        <a:gd name="T37" fmla="*/ 145 h 362"/>
                        <a:gd name="T38" fmla="*/ 37 w 399"/>
                        <a:gd name="T39" fmla="*/ 191 h 362"/>
                        <a:gd name="T40" fmla="*/ 20 w 399"/>
                        <a:gd name="T41" fmla="*/ 128 h 362"/>
                        <a:gd name="T42" fmla="*/ 83 w 399"/>
                        <a:gd name="T43" fmla="*/ 196 h 362"/>
                        <a:gd name="T44" fmla="*/ 74 w 399"/>
                        <a:gd name="T45" fmla="*/ 161 h 362"/>
                        <a:gd name="T46" fmla="*/ 94 w 399"/>
                        <a:gd name="T47" fmla="*/ 128 h 362"/>
                        <a:gd name="T48" fmla="*/ 165 w 399"/>
                        <a:gd name="T49" fmla="*/ 178 h 362"/>
                        <a:gd name="T50" fmla="*/ 207 w 399"/>
                        <a:gd name="T51" fmla="*/ 127 h 362"/>
                        <a:gd name="T52" fmla="*/ 180 w 399"/>
                        <a:gd name="T53" fmla="*/ 139 h 362"/>
                        <a:gd name="T54" fmla="*/ 195 w 399"/>
                        <a:gd name="T55" fmla="*/ 141 h 362"/>
                        <a:gd name="T56" fmla="*/ 207 w 399"/>
                        <a:gd name="T57" fmla="*/ 195 h 362"/>
                        <a:gd name="T58" fmla="*/ 283 w 399"/>
                        <a:gd name="T59" fmla="*/ 160 h 362"/>
                        <a:gd name="T60" fmla="*/ 283 w 399"/>
                        <a:gd name="T61" fmla="*/ 160 h 362"/>
                        <a:gd name="T62" fmla="*/ 258 w 399"/>
                        <a:gd name="T63" fmla="*/ 184 h 362"/>
                        <a:gd name="T64" fmla="*/ 366 w 399"/>
                        <a:gd name="T65" fmla="*/ 144 h 362"/>
                        <a:gd name="T66" fmla="*/ 366 w 399"/>
                        <a:gd name="T67" fmla="*/ 176 h 362"/>
                        <a:gd name="T68" fmla="*/ 374 w 399"/>
                        <a:gd name="T69" fmla="*/ 125 h 362"/>
                        <a:gd name="T70" fmla="*/ 26 w 399"/>
                        <a:gd name="T71" fmla="*/ 251 h 362"/>
                        <a:gd name="T72" fmla="*/ 16 w 399"/>
                        <a:gd name="T73" fmla="*/ 286 h 362"/>
                        <a:gd name="T74" fmla="*/ 141 w 399"/>
                        <a:gd name="T75" fmla="*/ 320 h 362"/>
                        <a:gd name="T76" fmla="*/ 137 w 399"/>
                        <a:gd name="T77" fmla="*/ 311 h 362"/>
                        <a:gd name="T78" fmla="*/ 174 w 399"/>
                        <a:gd name="T79" fmla="*/ 285 h 362"/>
                        <a:gd name="T80" fmla="*/ 209 w 399"/>
                        <a:gd name="T81" fmla="*/ 295 h 362"/>
                        <a:gd name="T82" fmla="*/ 265 w 399"/>
                        <a:gd name="T83" fmla="*/ 320 h 362"/>
                        <a:gd name="T84" fmla="*/ 253 w 399"/>
                        <a:gd name="T85" fmla="*/ 316 h 362"/>
                        <a:gd name="T86" fmla="*/ 311 w 399"/>
                        <a:gd name="T87" fmla="*/ 316 h 362"/>
                        <a:gd name="T88" fmla="*/ 327 w 399"/>
                        <a:gd name="T89" fmla="*/ 256 h 362"/>
                        <a:gd name="T90" fmla="*/ 373 w 399"/>
                        <a:gd name="T91" fmla="*/ 321 h 362"/>
                        <a:gd name="T92" fmla="*/ 383 w 399"/>
                        <a:gd name="T93" fmla="*/ 286 h 362"/>
                        <a:gd name="T94" fmla="*/ 383 w 399"/>
                        <a:gd name="T95" fmla="*/ 286 h 362"/>
                        <a:gd name="T96" fmla="*/ 71 w 399"/>
                        <a:gd name="T97" fmla="*/ 354 h 362"/>
                        <a:gd name="T98" fmla="*/ 125 w 399"/>
                        <a:gd name="T99" fmla="*/ 223 h 362"/>
                        <a:gd name="T100" fmla="*/ 315 w 399"/>
                        <a:gd name="T101" fmla="*/ 245 h 362"/>
                        <a:gd name="T102" fmla="*/ 170 w 399"/>
                        <a:gd name="T103" fmla="*/ 100 h 362"/>
                        <a:gd name="T104" fmla="*/ 312 w 399"/>
                        <a:gd name="T105" fmla="*/ 158 h 362"/>
                        <a:gd name="T106" fmla="*/ 311 w 399"/>
                        <a:gd name="T107" fmla="*/ 15 h 362"/>
                        <a:gd name="T108" fmla="*/ 327 w 399"/>
                        <a:gd name="T109" fmla="*/ 61 h 362"/>
                        <a:gd name="T110" fmla="*/ 310 w 399"/>
                        <a:gd name="T111" fmla="*/ 3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9" h="362">
                          <a:moveTo>
                            <a:pt x="6" y="13"/>
                          </a:moveTo>
                          <a:cubicBezTo>
                            <a:pt x="6" y="11"/>
                            <a:pt x="7" y="9"/>
                            <a:pt x="9" y="8"/>
                          </a:cubicBezTo>
                          <a:cubicBezTo>
                            <a:pt x="20" y="3"/>
                            <a:pt x="20" y="3"/>
                            <a:pt x="20" y="3"/>
                          </a:cubicBezTo>
                          <a:cubicBezTo>
                            <a:pt x="22" y="2"/>
                            <a:pt x="25" y="1"/>
                            <a:pt x="28" y="1"/>
                          </a:cubicBezTo>
                          <a:cubicBezTo>
                            <a:pt x="33" y="1"/>
                            <a:pt x="33" y="1"/>
                            <a:pt x="33" y="1"/>
                          </a:cubicBezTo>
                          <a:cubicBezTo>
                            <a:pt x="35" y="1"/>
                            <a:pt x="37" y="3"/>
                            <a:pt x="37" y="5"/>
                          </a:cubicBezTo>
                          <a:cubicBezTo>
                            <a:pt x="37" y="65"/>
                            <a:pt x="37" y="65"/>
                            <a:pt x="37" y="65"/>
                          </a:cubicBezTo>
                          <a:cubicBezTo>
                            <a:pt x="37" y="67"/>
                            <a:pt x="35" y="69"/>
                            <a:pt x="33" y="69"/>
                          </a:cubicBezTo>
                          <a:cubicBezTo>
                            <a:pt x="25" y="69"/>
                            <a:pt x="25" y="69"/>
                            <a:pt x="25" y="69"/>
                          </a:cubicBezTo>
                          <a:cubicBezTo>
                            <a:pt x="23" y="69"/>
                            <a:pt x="21" y="67"/>
                            <a:pt x="21" y="65"/>
                          </a:cubicBezTo>
                          <a:cubicBezTo>
                            <a:pt x="21" y="19"/>
                            <a:pt x="21" y="19"/>
                            <a:pt x="21" y="19"/>
                          </a:cubicBezTo>
                          <a:cubicBezTo>
                            <a:pt x="21" y="17"/>
                            <a:pt x="21" y="15"/>
                            <a:pt x="21" y="15"/>
                          </a:cubicBezTo>
                          <a:cubicBezTo>
                            <a:pt x="21" y="15"/>
                            <a:pt x="19" y="16"/>
                            <a:pt x="18" y="17"/>
                          </a:cubicBezTo>
                          <a:cubicBezTo>
                            <a:pt x="12" y="20"/>
                            <a:pt x="12" y="20"/>
                            <a:pt x="12" y="20"/>
                          </a:cubicBezTo>
                          <a:cubicBezTo>
                            <a:pt x="10" y="21"/>
                            <a:pt x="8" y="20"/>
                            <a:pt x="7" y="18"/>
                          </a:cubicBezTo>
                          <a:lnTo>
                            <a:pt x="6" y="13"/>
                          </a:lnTo>
                          <a:close/>
                          <a:moveTo>
                            <a:pt x="58" y="35"/>
                          </a:moveTo>
                          <a:cubicBezTo>
                            <a:pt x="58" y="16"/>
                            <a:pt x="66" y="0"/>
                            <a:pt x="84" y="0"/>
                          </a:cubicBezTo>
                          <a:cubicBezTo>
                            <a:pt x="102" y="0"/>
                            <a:pt x="109" y="16"/>
                            <a:pt x="109" y="35"/>
                          </a:cubicBezTo>
                          <a:cubicBezTo>
                            <a:pt x="109" y="56"/>
                            <a:pt x="101" y="70"/>
                            <a:pt x="83" y="70"/>
                          </a:cubicBezTo>
                          <a:cubicBezTo>
                            <a:pt x="66" y="70"/>
                            <a:pt x="58" y="55"/>
                            <a:pt x="58" y="35"/>
                          </a:cubicBezTo>
                          <a:close/>
                          <a:moveTo>
                            <a:pt x="74" y="35"/>
                          </a:moveTo>
                          <a:cubicBezTo>
                            <a:pt x="74" y="51"/>
                            <a:pt x="78" y="58"/>
                            <a:pt x="84" y="58"/>
                          </a:cubicBezTo>
                          <a:cubicBezTo>
                            <a:pt x="90" y="58"/>
                            <a:pt x="93" y="51"/>
                            <a:pt x="93" y="35"/>
                          </a:cubicBezTo>
                          <a:cubicBezTo>
                            <a:pt x="93" y="20"/>
                            <a:pt x="90" y="12"/>
                            <a:pt x="84" y="12"/>
                          </a:cubicBezTo>
                          <a:cubicBezTo>
                            <a:pt x="78" y="12"/>
                            <a:pt x="74" y="20"/>
                            <a:pt x="74" y="35"/>
                          </a:cubicBezTo>
                          <a:close/>
                          <a:moveTo>
                            <a:pt x="123" y="18"/>
                          </a:moveTo>
                          <a:cubicBezTo>
                            <a:pt x="124" y="20"/>
                            <a:pt x="126" y="21"/>
                            <a:pt x="128" y="20"/>
                          </a:cubicBezTo>
                          <a:cubicBezTo>
                            <a:pt x="134" y="17"/>
                            <a:pt x="134" y="17"/>
                            <a:pt x="134" y="17"/>
                          </a:cubicBezTo>
                          <a:cubicBezTo>
                            <a:pt x="135" y="16"/>
                            <a:pt x="137" y="15"/>
                            <a:pt x="137" y="15"/>
                          </a:cubicBezTo>
                          <a:cubicBezTo>
                            <a:pt x="137" y="15"/>
                            <a:pt x="137" y="17"/>
                            <a:pt x="137" y="19"/>
                          </a:cubicBezTo>
                          <a:cubicBezTo>
                            <a:pt x="137" y="55"/>
                            <a:pt x="137" y="55"/>
                            <a:pt x="137" y="55"/>
                          </a:cubicBezTo>
                          <a:cubicBezTo>
                            <a:pt x="142" y="50"/>
                            <a:pt x="147" y="46"/>
                            <a:pt x="153" y="43"/>
                          </a:cubicBezTo>
                          <a:cubicBezTo>
                            <a:pt x="153" y="5"/>
                            <a:pt x="153" y="5"/>
                            <a:pt x="153" y="5"/>
                          </a:cubicBezTo>
                          <a:cubicBezTo>
                            <a:pt x="153" y="3"/>
                            <a:pt x="151" y="1"/>
                            <a:pt x="149" y="1"/>
                          </a:cubicBezTo>
                          <a:cubicBezTo>
                            <a:pt x="144" y="1"/>
                            <a:pt x="144" y="1"/>
                            <a:pt x="144" y="1"/>
                          </a:cubicBezTo>
                          <a:cubicBezTo>
                            <a:pt x="141" y="1"/>
                            <a:pt x="138" y="2"/>
                            <a:pt x="136" y="3"/>
                          </a:cubicBezTo>
                          <a:cubicBezTo>
                            <a:pt x="125" y="8"/>
                            <a:pt x="125" y="8"/>
                            <a:pt x="125" y="8"/>
                          </a:cubicBezTo>
                          <a:cubicBezTo>
                            <a:pt x="123" y="9"/>
                            <a:pt x="122" y="11"/>
                            <a:pt x="122" y="13"/>
                          </a:cubicBezTo>
                          <a:lnTo>
                            <a:pt x="123" y="18"/>
                          </a:lnTo>
                          <a:close/>
                          <a:moveTo>
                            <a:pt x="181" y="18"/>
                          </a:moveTo>
                          <a:cubicBezTo>
                            <a:pt x="182" y="20"/>
                            <a:pt x="184" y="21"/>
                            <a:pt x="186" y="20"/>
                          </a:cubicBezTo>
                          <a:cubicBezTo>
                            <a:pt x="192" y="17"/>
                            <a:pt x="192" y="17"/>
                            <a:pt x="192" y="17"/>
                          </a:cubicBezTo>
                          <a:cubicBezTo>
                            <a:pt x="194" y="16"/>
                            <a:pt x="195" y="15"/>
                            <a:pt x="195" y="15"/>
                          </a:cubicBezTo>
                          <a:cubicBezTo>
                            <a:pt x="195" y="15"/>
                            <a:pt x="195" y="17"/>
                            <a:pt x="195" y="19"/>
                          </a:cubicBezTo>
                          <a:cubicBezTo>
                            <a:pt x="195" y="24"/>
                            <a:pt x="195" y="24"/>
                            <a:pt x="195" y="24"/>
                          </a:cubicBezTo>
                          <a:cubicBezTo>
                            <a:pt x="200" y="23"/>
                            <a:pt x="206" y="22"/>
                            <a:pt x="211" y="21"/>
                          </a:cubicBezTo>
                          <a:cubicBezTo>
                            <a:pt x="211" y="5"/>
                            <a:pt x="211" y="5"/>
                            <a:pt x="211" y="5"/>
                          </a:cubicBezTo>
                          <a:cubicBezTo>
                            <a:pt x="211" y="3"/>
                            <a:pt x="209" y="1"/>
                            <a:pt x="207" y="1"/>
                          </a:cubicBezTo>
                          <a:cubicBezTo>
                            <a:pt x="202" y="1"/>
                            <a:pt x="202" y="1"/>
                            <a:pt x="202" y="1"/>
                          </a:cubicBezTo>
                          <a:cubicBezTo>
                            <a:pt x="199" y="1"/>
                            <a:pt x="196" y="2"/>
                            <a:pt x="194" y="3"/>
                          </a:cubicBezTo>
                          <a:cubicBezTo>
                            <a:pt x="183" y="8"/>
                            <a:pt x="183" y="8"/>
                            <a:pt x="183" y="8"/>
                          </a:cubicBezTo>
                          <a:cubicBezTo>
                            <a:pt x="181" y="9"/>
                            <a:pt x="180" y="11"/>
                            <a:pt x="180" y="13"/>
                          </a:cubicBezTo>
                          <a:lnTo>
                            <a:pt x="181" y="18"/>
                          </a:lnTo>
                          <a:close/>
                          <a:moveTo>
                            <a:pt x="258" y="12"/>
                          </a:moveTo>
                          <a:cubicBezTo>
                            <a:pt x="263" y="12"/>
                            <a:pt x="266" y="17"/>
                            <a:pt x="267" y="25"/>
                          </a:cubicBezTo>
                          <a:cubicBezTo>
                            <a:pt x="272" y="27"/>
                            <a:pt x="278" y="29"/>
                            <a:pt x="283" y="31"/>
                          </a:cubicBezTo>
                          <a:cubicBezTo>
                            <a:pt x="282" y="14"/>
                            <a:pt x="275" y="0"/>
                            <a:pt x="258" y="0"/>
                          </a:cubicBezTo>
                          <a:cubicBezTo>
                            <a:pt x="245" y="0"/>
                            <a:pt x="237" y="8"/>
                            <a:pt x="234" y="20"/>
                          </a:cubicBezTo>
                          <a:cubicBezTo>
                            <a:pt x="239" y="20"/>
                            <a:pt x="244" y="21"/>
                            <a:pt x="249" y="21"/>
                          </a:cubicBezTo>
                          <a:cubicBezTo>
                            <a:pt x="251" y="15"/>
                            <a:pt x="254" y="12"/>
                            <a:pt x="258" y="12"/>
                          </a:cubicBezTo>
                          <a:close/>
                          <a:moveTo>
                            <a:pt x="348" y="35"/>
                          </a:moveTo>
                          <a:cubicBezTo>
                            <a:pt x="348" y="16"/>
                            <a:pt x="356" y="0"/>
                            <a:pt x="374" y="0"/>
                          </a:cubicBezTo>
                          <a:cubicBezTo>
                            <a:pt x="392" y="0"/>
                            <a:pt x="399" y="16"/>
                            <a:pt x="399" y="35"/>
                          </a:cubicBezTo>
                          <a:cubicBezTo>
                            <a:pt x="399" y="56"/>
                            <a:pt x="391" y="70"/>
                            <a:pt x="373" y="70"/>
                          </a:cubicBezTo>
                          <a:cubicBezTo>
                            <a:pt x="356" y="70"/>
                            <a:pt x="348" y="55"/>
                            <a:pt x="348" y="35"/>
                          </a:cubicBezTo>
                          <a:close/>
                          <a:moveTo>
                            <a:pt x="364" y="35"/>
                          </a:moveTo>
                          <a:cubicBezTo>
                            <a:pt x="364" y="51"/>
                            <a:pt x="368" y="58"/>
                            <a:pt x="374" y="58"/>
                          </a:cubicBezTo>
                          <a:cubicBezTo>
                            <a:pt x="380" y="58"/>
                            <a:pt x="383" y="51"/>
                            <a:pt x="383" y="35"/>
                          </a:cubicBezTo>
                          <a:cubicBezTo>
                            <a:pt x="383" y="20"/>
                            <a:pt x="380" y="12"/>
                            <a:pt x="374" y="12"/>
                          </a:cubicBezTo>
                          <a:cubicBezTo>
                            <a:pt x="368" y="12"/>
                            <a:pt x="364" y="20"/>
                            <a:pt x="364" y="35"/>
                          </a:cubicBezTo>
                          <a:close/>
                          <a:moveTo>
                            <a:pt x="7" y="143"/>
                          </a:moveTo>
                          <a:cubicBezTo>
                            <a:pt x="8" y="145"/>
                            <a:pt x="10" y="146"/>
                            <a:pt x="12" y="145"/>
                          </a:cubicBezTo>
                          <a:cubicBezTo>
                            <a:pt x="18" y="142"/>
                            <a:pt x="18" y="142"/>
                            <a:pt x="18" y="142"/>
                          </a:cubicBezTo>
                          <a:cubicBezTo>
                            <a:pt x="19" y="142"/>
                            <a:pt x="21" y="141"/>
                            <a:pt x="21" y="141"/>
                          </a:cubicBezTo>
                          <a:cubicBezTo>
                            <a:pt x="21" y="141"/>
                            <a:pt x="21" y="143"/>
                            <a:pt x="21" y="145"/>
                          </a:cubicBezTo>
                          <a:cubicBezTo>
                            <a:pt x="21" y="191"/>
                            <a:pt x="21" y="191"/>
                            <a:pt x="21" y="191"/>
                          </a:cubicBezTo>
                          <a:cubicBezTo>
                            <a:pt x="21" y="193"/>
                            <a:pt x="23" y="195"/>
                            <a:pt x="25" y="195"/>
                          </a:cubicBezTo>
                          <a:cubicBezTo>
                            <a:pt x="33" y="195"/>
                            <a:pt x="33" y="195"/>
                            <a:pt x="33" y="195"/>
                          </a:cubicBezTo>
                          <a:cubicBezTo>
                            <a:pt x="35" y="195"/>
                            <a:pt x="37" y="193"/>
                            <a:pt x="37" y="191"/>
                          </a:cubicBezTo>
                          <a:cubicBezTo>
                            <a:pt x="37" y="131"/>
                            <a:pt x="37" y="131"/>
                            <a:pt x="37" y="131"/>
                          </a:cubicBezTo>
                          <a:cubicBezTo>
                            <a:pt x="37" y="128"/>
                            <a:pt x="35" y="127"/>
                            <a:pt x="33" y="127"/>
                          </a:cubicBezTo>
                          <a:cubicBezTo>
                            <a:pt x="28" y="127"/>
                            <a:pt x="28" y="127"/>
                            <a:pt x="28" y="127"/>
                          </a:cubicBezTo>
                          <a:cubicBezTo>
                            <a:pt x="25" y="127"/>
                            <a:pt x="22" y="127"/>
                            <a:pt x="20" y="128"/>
                          </a:cubicBezTo>
                          <a:cubicBezTo>
                            <a:pt x="9" y="133"/>
                            <a:pt x="9" y="133"/>
                            <a:pt x="9" y="133"/>
                          </a:cubicBezTo>
                          <a:cubicBezTo>
                            <a:pt x="7" y="134"/>
                            <a:pt x="6" y="137"/>
                            <a:pt x="6" y="139"/>
                          </a:cubicBezTo>
                          <a:lnTo>
                            <a:pt x="7" y="143"/>
                          </a:lnTo>
                          <a:close/>
                          <a:moveTo>
                            <a:pt x="83" y="196"/>
                          </a:moveTo>
                          <a:cubicBezTo>
                            <a:pt x="88" y="196"/>
                            <a:pt x="92" y="195"/>
                            <a:pt x="95" y="193"/>
                          </a:cubicBezTo>
                          <a:cubicBezTo>
                            <a:pt x="94" y="187"/>
                            <a:pt x="92" y="181"/>
                            <a:pt x="92" y="175"/>
                          </a:cubicBezTo>
                          <a:cubicBezTo>
                            <a:pt x="90" y="181"/>
                            <a:pt x="88" y="184"/>
                            <a:pt x="84" y="184"/>
                          </a:cubicBezTo>
                          <a:cubicBezTo>
                            <a:pt x="78" y="184"/>
                            <a:pt x="74" y="176"/>
                            <a:pt x="74" y="161"/>
                          </a:cubicBezTo>
                          <a:cubicBezTo>
                            <a:pt x="74" y="145"/>
                            <a:pt x="78" y="138"/>
                            <a:pt x="84" y="138"/>
                          </a:cubicBezTo>
                          <a:cubicBezTo>
                            <a:pt x="87" y="138"/>
                            <a:pt x="90" y="140"/>
                            <a:pt x="91" y="144"/>
                          </a:cubicBezTo>
                          <a:cubicBezTo>
                            <a:pt x="91" y="144"/>
                            <a:pt x="91" y="144"/>
                            <a:pt x="91" y="143"/>
                          </a:cubicBezTo>
                          <a:cubicBezTo>
                            <a:pt x="92" y="138"/>
                            <a:pt x="93" y="133"/>
                            <a:pt x="94" y="128"/>
                          </a:cubicBezTo>
                          <a:cubicBezTo>
                            <a:pt x="91" y="126"/>
                            <a:pt x="88" y="125"/>
                            <a:pt x="84" y="125"/>
                          </a:cubicBezTo>
                          <a:cubicBezTo>
                            <a:pt x="66" y="125"/>
                            <a:pt x="58" y="141"/>
                            <a:pt x="58" y="161"/>
                          </a:cubicBezTo>
                          <a:cubicBezTo>
                            <a:pt x="58" y="180"/>
                            <a:pt x="66" y="196"/>
                            <a:pt x="83" y="196"/>
                          </a:cubicBezTo>
                          <a:close/>
                          <a:moveTo>
                            <a:pt x="165" y="178"/>
                          </a:moveTo>
                          <a:cubicBezTo>
                            <a:pt x="166" y="173"/>
                            <a:pt x="167" y="167"/>
                            <a:pt x="167" y="160"/>
                          </a:cubicBezTo>
                          <a:cubicBezTo>
                            <a:pt x="167" y="153"/>
                            <a:pt x="166" y="147"/>
                            <a:pt x="164" y="141"/>
                          </a:cubicBezTo>
                          <a:cubicBezTo>
                            <a:pt x="161" y="153"/>
                            <a:pt x="161" y="166"/>
                            <a:pt x="165" y="178"/>
                          </a:cubicBezTo>
                          <a:close/>
                          <a:moveTo>
                            <a:pt x="207" y="127"/>
                          </a:moveTo>
                          <a:cubicBezTo>
                            <a:pt x="202" y="127"/>
                            <a:pt x="202" y="127"/>
                            <a:pt x="202" y="127"/>
                          </a:cubicBezTo>
                          <a:cubicBezTo>
                            <a:pt x="199" y="127"/>
                            <a:pt x="196" y="127"/>
                            <a:pt x="194" y="128"/>
                          </a:cubicBezTo>
                          <a:cubicBezTo>
                            <a:pt x="183" y="133"/>
                            <a:pt x="183" y="133"/>
                            <a:pt x="183" y="133"/>
                          </a:cubicBezTo>
                          <a:cubicBezTo>
                            <a:pt x="181" y="134"/>
                            <a:pt x="180" y="137"/>
                            <a:pt x="180" y="139"/>
                          </a:cubicBezTo>
                          <a:cubicBezTo>
                            <a:pt x="181" y="143"/>
                            <a:pt x="181" y="143"/>
                            <a:pt x="181" y="143"/>
                          </a:cubicBezTo>
                          <a:cubicBezTo>
                            <a:pt x="182" y="145"/>
                            <a:pt x="184" y="146"/>
                            <a:pt x="186" y="145"/>
                          </a:cubicBezTo>
                          <a:cubicBezTo>
                            <a:pt x="192" y="142"/>
                            <a:pt x="192" y="142"/>
                            <a:pt x="192" y="142"/>
                          </a:cubicBezTo>
                          <a:cubicBezTo>
                            <a:pt x="194" y="142"/>
                            <a:pt x="195" y="141"/>
                            <a:pt x="195" y="141"/>
                          </a:cubicBezTo>
                          <a:cubicBezTo>
                            <a:pt x="195" y="141"/>
                            <a:pt x="195" y="143"/>
                            <a:pt x="195" y="145"/>
                          </a:cubicBezTo>
                          <a:cubicBezTo>
                            <a:pt x="195" y="191"/>
                            <a:pt x="195" y="191"/>
                            <a:pt x="195" y="191"/>
                          </a:cubicBezTo>
                          <a:cubicBezTo>
                            <a:pt x="195" y="193"/>
                            <a:pt x="197" y="195"/>
                            <a:pt x="199" y="195"/>
                          </a:cubicBezTo>
                          <a:cubicBezTo>
                            <a:pt x="207" y="195"/>
                            <a:pt x="207" y="195"/>
                            <a:pt x="207" y="195"/>
                          </a:cubicBezTo>
                          <a:cubicBezTo>
                            <a:pt x="209" y="195"/>
                            <a:pt x="211" y="193"/>
                            <a:pt x="211" y="191"/>
                          </a:cubicBezTo>
                          <a:cubicBezTo>
                            <a:pt x="211" y="131"/>
                            <a:pt x="211" y="131"/>
                            <a:pt x="211" y="131"/>
                          </a:cubicBezTo>
                          <a:cubicBezTo>
                            <a:pt x="211" y="128"/>
                            <a:pt x="209" y="127"/>
                            <a:pt x="207" y="127"/>
                          </a:cubicBezTo>
                          <a:close/>
                          <a:moveTo>
                            <a:pt x="283" y="160"/>
                          </a:moveTo>
                          <a:cubicBezTo>
                            <a:pt x="283" y="181"/>
                            <a:pt x="275" y="196"/>
                            <a:pt x="257" y="196"/>
                          </a:cubicBezTo>
                          <a:cubicBezTo>
                            <a:pt x="240" y="196"/>
                            <a:pt x="232" y="180"/>
                            <a:pt x="232" y="161"/>
                          </a:cubicBezTo>
                          <a:cubicBezTo>
                            <a:pt x="232" y="141"/>
                            <a:pt x="240" y="125"/>
                            <a:pt x="258" y="125"/>
                          </a:cubicBezTo>
                          <a:cubicBezTo>
                            <a:pt x="276" y="125"/>
                            <a:pt x="283" y="142"/>
                            <a:pt x="283" y="160"/>
                          </a:cubicBezTo>
                          <a:close/>
                          <a:moveTo>
                            <a:pt x="267" y="160"/>
                          </a:moveTo>
                          <a:cubicBezTo>
                            <a:pt x="267" y="145"/>
                            <a:pt x="264" y="138"/>
                            <a:pt x="258" y="138"/>
                          </a:cubicBezTo>
                          <a:cubicBezTo>
                            <a:pt x="252" y="138"/>
                            <a:pt x="248" y="145"/>
                            <a:pt x="248" y="161"/>
                          </a:cubicBezTo>
                          <a:cubicBezTo>
                            <a:pt x="248" y="176"/>
                            <a:pt x="252" y="184"/>
                            <a:pt x="258" y="184"/>
                          </a:cubicBezTo>
                          <a:cubicBezTo>
                            <a:pt x="264" y="184"/>
                            <a:pt x="267" y="176"/>
                            <a:pt x="267" y="160"/>
                          </a:cubicBezTo>
                          <a:close/>
                          <a:moveTo>
                            <a:pt x="374" y="125"/>
                          </a:moveTo>
                          <a:cubicBezTo>
                            <a:pt x="370" y="125"/>
                            <a:pt x="367" y="126"/>
                            <a:pt x="364" y="128"/>
                          </a:cubicBezTo>
                          <a:cubicBezTo>
                            <a:pt x="365" y="133"/>
                            <a:pt x="366" y="139"/>
                            <a:pt x="366" y="144"/>
                          </a:cubicBezTo>
                          <a:cubicBezTo>
                            <a:pt x="368" y="140"/>
                            <a:pt x="371" y="138"/>
                            <a:pt x="374" y="138"/>
                          </a:cubicBezTo>
                          <a:cubicBezTo>
                            <a:pt x="380" y="138"/>
                            <a:pt x="383" y="145"/>
                            <a:pt x="383" y="160"/>
                          </a:cubicBezTo>
                          <a:cubicBezTo>
                            <a:pt x="383" y="176"/>
                            <a:pt x="380" y="184"/>
                            <a:pt x="374" y="184"/>
                          </a:cubicBezTo>
                          <a:cubicBezTo>
                            <a:pt x="370" y="184"/>
                            <a:pt x="368" y="181"/>
                            <a:pt x="366" y="176"/>
                          </a:cubicBezTo>
                          <a:cubicBezTo>
                            <a:pt x="365" y="182"/>
                            <a:pt x="364" y="188"/>
                            <a:pt x="363" y="193"/>
                          </a:cubicBezTo>
                          <a:cubicBezTo>
                            <a:pt x="366" y="195"/>
                            <a:pt x="369" y="196"/>
                            <a:pt x="373" y="196"/>
                          </a:cubicBezTo>
                          <a:cubicBezTo>
                            <a:pt x="391" y="196"/>
                            <a:pt x="399" y="181"/>
                            <a:pt x="399" y="160"/>
                          </a:cubicBezTo>
                          <a:cubicBezTo>
                            <a:pt x="399" y="142"/>
                            <a:pt x="392" y="125"/>
                            <a:pt x="374" y="125"/>
                          </a:cubicBezTo>
                          <a:close/>
                          <a:moveTo>
                            <a:pt x="35" y="286"/>
                          </a:moveTo>
                          <a:cubicBezTo>
                            <a:pt x="35" y="288"/>
                            <a:pt x="35" y="289"/>
                            <a:pt x="35" y="291"/>
                          </a:cubicBezTo>
                          <a:cubicBezTo>
                            <a:pt x="50" y="275"/>
                            <a:pt x="50" y="275"/>
                            <a:pt x="50" y="275"/>
                          </a:cubicBezTo>
                          <a:cubicBezTo>
                            <a:pt x="48" y="261"/>
                            <a:pt x="41" y="251"/>
                            <a:pt x="26" y="251"/>
                          </a:cubicBezTo>
                          <a:cubicBezTo>
                            <a:pt x="8" y="251"/>
                            <a:pt x="0" y="266"/>
                            <a:pt x="0" y="286"/>
                          </a:cubicBezTo>
                          <a:cubicBezTo>
                            <a:pt x="0" y="300"/>
                            <a:pt x="4" y="312"/>
                            <a:pt x="13" y="318"/>
                          </a:cubicBezTo>
                          <a:cubicBezTo>
                            <a:pt x="14" y="313"/>
                            <a:pt x="17" y="309"/>
                            <a:pt x="20" y="306"/>
                          </a:cubicBezTo>
                          <a:cubicBezTo>
                            <a:pt x="17" y="302"/>
                            <a:pt x="16" y="296"/>
                            <a:pt x="16" y="286"/>
                          </a:cubicBezTo>
                          <a:cubicBezTo>
                            <a:pt x="16" y="270"/>
                            <a:pt x="20" y="263"/>
                            <a:pt x="26" y="263"/>
                          </a:cubicBezTo>
                          <a:cubicBezTo>
                            <a:pt x="32" y="263"/>
                            <a:pt x="35" y="271"/>
                            <a:pt x="35" y="286"/>
                          </a:cubicBezTo>
                          <a:close/>
                          <a:moveTo>
                            <a:pt x="137" y="316"/>
                          </a:moveTo>
                          <a:cubicBezTo>
                            <a:pt x="137" y="318"/>
                            <a:pt x="139" y="320"/>
                            <a:pt x="141" y="320"/>
                          </a:cubicBezTo>
                          <a:cubicBezTo>
                            <a:pt x="149" y="320"/>
                            <a:pt x="149" y="320"/>
                            <a:pt x="149" y="320"/>
                          </a:cubicBezTo>
                          <a:cubicBezTo>
                            <a:pt x="151" y="320"/>
                            <a:pt x="153" y="318"/>
                            <a:pt x="153" y="316"/>
                          </a:cubicBezTo>
                          <a:cubicBezTo>
                            <a:pt x="153" y="296"/>
                            <a:pt x="153" y="296"/>
                            <a:pt x="153" y="296"/>
                          </a:cubicBezTo>
                          <a:cubicBezTo>
                            <a:pt x="137" y="311"/>
                            <a:pt x="137" y="311"/>
                            <a:pt x="137" y="311"/>
                          </a:cubicBezTo>
                          <a:lnTo>
                            <a:pt x="137" y="316"/>
                          </a:lnTo>
                          <a:close/>
                          <a:moveTo>
                            <a:pt x="200" y="309"/>
                          </a:moveTo>
                          <a:cubicBezTo>
                            <a:pt x="194" y="309"/>
                            <a:pt x="191" y="303"/>
                            <a:pt x="190" y="291"/>
                          </a:cubicBezTo>
                          <a:cubicBezTo>
                            <a:pt x="185" y="289"/>
                            <a:pt x="179" y="287"/>
                            <a:pt x="174" y="285"/>
                          </a:cubicBezTo>
                          <a:cubicBezTo>
                            <a:pt x="174" y="285"/>
                            <a:pt x="174" y="286"/>
                            <a:pt x="174" y="286"/>
                          </a:cubicBezTo>
                          <a:cubicBezTo>
                            <a:pt x="174" y="305"/>
                            <a:pt x="182" y="321"/>
                            <a:pt x="199" y="321"/>
                          </a:cubicBezTo>
                          <a:cubicBezTo>
                            <a:pt x="214" y="321"/>
                            <a:pt x="222" y="311"/>
                            <a:pt x="224" y="296"/>
                          </a:cubicBezTo>
                          <a:cubicBezTo>
                            <a:pt x="219" y="296"/>
                            <a:pt x="214" y="296"/>
                            <a:pt x="209" y="295"/>
                          </a:cubicBezTo>
                          <a:cubicBezTo>
                            <a:pt x="208" y="304"/>
                            <a:pt x="205" y="309"/>
                            <a:pt x="200" y="309"/>
                          </a:cubicBezTo>
                          <a:close/>
                          <a:moveTo>
                            <a:pt x="253" y="316"/>
                          </a:moveTo>
                          <a:cubicBezTo>
                            <a:pt x="253" y="318"/>
                            <a:pt x="255" y="320"/>
                            <a:pt x="257" y="320"/>
                          </a:cubicBezTo>
                          <a:cubicBezTo>
                            <a:pt x="265" y="320"/>
                            <a:pt x="265" y="320"/>
                            <a:pt x="265" y="320"/>
                          </a:cubicBezTo>
                          <a:cubicBezTo>
                            <a:pt x="267" y="320"/>
                            <a:pt x="269" y="318"/>
                            <a:pt x="269" y="316"/>
                          </a:cubicBezTo>
                          <a:cubicBezTo>
                            <a:pt x="269" y="291"/>
                            <a:pt x="269" y="291"/>
                            <a:pt x="269" y="291"/>
                          </a:cubicBezTo>
                          <a:cubicBezTo>
                            <a:pt x="264" y="292"/>
                            <a:pt x="259" y="293"/>
                            <a:pt x="253" y="294"/>
                          </a:cubicBezTo>
                          <a:lnTo>
                            <a:pt x="253" y="316"/>
                          </a:lnTo>
                          <a:close/>
                          <a:moveTo>
                            <a:pt x="327" y="256"/>
                          </a:moveTo>
                          <a:cubicBezTo>
                            <a:pt x="322" y="261"/>
                            <a:pt x="317" y="265"/>
                            <a:pt x="311" y="269"/>
                          </a:cubicBezTo>
                          <a:cubicBezTo>
                            <a:pt x="311" y="269"/>
                            <a:pt x="311" y="270"/>
                            <a:pt x="311" y="270"/>
                          </a:cubicBezTo>
                          <a:cubicBezTo>
                            <a:pt x="311" y="316"/>
                            <a:pt x="311" y="316"/>
                            <a:pt x="311" y="316"/>
                          </a:cubicBezTo>
                          <a:cubicBezTo>
                            <a:pt x="311" y="318"/>
                            <a:pt x="313" y="320"/>
                            <a:pt x="315" y="320"/>
                          </a:cubicBezTo>
                          <a:cubicBezTo>
                            <a:pt x="323" y="320"/>
                            <a:pt x="323" y="320"/>
                            <a:pt x="323" y="320"/>
                          </a:cubicBezTo>
                          <a:cubicBezTo>
                            <a:pt x="325" y="320"/>
                            <a:pt x="327" y="318"/>
                            <a:pt x="327" y="316"/>
                          </a:cubicBezTo>
                          <a:cubicBezTo>
                            <a:pt x="327" y="256"/>
                            <a:pt x="327" y="256"/>
                            <a:pt x="327" y="256"/>
                          </a:cubicBezTo>
                          <a:cubicBezTo>
                            <a:pt x="327" y="256"/>
                            <a:pt x="327" y="256"/>
                            <a:pt x="327" y="256"/>
                          </a:cubicBezTo>
                          <a:cubicBezTo>
                            <a:pt x="327" y="256"/>
                            <a:pt x="327" y="256"/>
                            <a:pt x="327" y="256"/>
                          </a:cubicBezTo>
                          <a:close/>
                          <a:moveTo>
                            <a:pt x="399" y="286"/>
                          </a:moveTo>
                          <a:cubicBezTo>
                            <a:pt x="399" y="307"/>
                            <a:pt x="391" y="321"/>
                            <a:pt x="373" y="321"/>
                          </a:cubicBezTo>
                          <a:cubicBezTo>
                            <a:pt x="356" y="321"/>
                            <a:pt x="348" y="305"/>
                            <a:pt x="348" y="286"/>
                          </a:cubicBezTo>
                          <a:cubicBezTo>
                            <a:pt x="348" y="266"/>
                            <a:pt x="356" y="251"/>
                            <a:pt x="374" y="251"/>
                          </a:cubicBezTo>
                          <a:cubicBezTo>
                            <a:pt x="392" y="251"/>
                            <a:pt x="399" y="267"/>
                            <a:pt x="399" y="286"/>
                          </a:cubicBezTo>
                          <a:close/>
                          <a:moveTo>
                            <a:pt x="383" y="286"/>
                          </a:moveTo>
                          <a:cubicBezTo>
                            <a:pt x="383" y="271"/>
                            <a:pt x="380" y="263"/>
                            <a:pt x="374" y="263"/>
                          </a:cubicBezTo>
                          <a:cubicBezTo>
                            <a:pt x="368" y="263"/>
                            <a:pt x="364" y="270"/>
                            <a:pt x="364" y="286"/>
                          </a:cubicBezTo>
                          <a:cubicBezTo>
                            <a:pt x="364" y="302"/>
                            <a:pt x="368" y="309"/>
                            <a:pt x="374" y="309"/>
                          </a:cubicBezTo>
                          <a:cubicBezTo>
                            <a:pt x="380" y="309"/>
                            <a:pt x="383" y="301"/>
                            <a:pt x="383" y="286"/>
                          </a:cubicBezTo>
                          <a:close/>
                          <a:moveTo>
                            <a:pt x="315" y="245"/>
                          </a:moveTo>
                          <a:cubicBezTo>
                            <a:pt x="291" y="268"/>
                            <a:pt x="260" y="280"/>
                            <a:pt x="229" y="280"/>
                          </a:cubicBezTo>
                          <a:cubicBezTo>
                            <a:pt x="206" y="280"/>
                            <a:pt x="184" y="274"/>
                            <a:pt x="164" y="262"/>
                          </a:cubicBezTo>
                          <a:cubicBezTo>
                            <a:pt x="71" y="354"/>
                            <a:pt x="71" y="354"/>
                            <a:pt x="71" y="354"/>
                          </a:cubicBezTo>
                          <a:cubicBezTo>
                            <a:pt x="64" y="362"/>
                            <a:pt x="51" y="362"/>
                            <a:pt x="43" y="354"/>
                          </a:cubicBezTo>
                          <a:cubicBezTo>
                            <a:pt x="33" y="344"/>
                            <a:pt x="33" y="344"/>
                            <a:pt x="33" y="344"/>
                          </a:cubicBezTo>
                          <a:cubicBezTo>
                            <a:pt x="25" y="336"/>
                            <a:pt x="25" y="323"/>
                            <a:pt x="33" y="316"/>
                          </a:cubicBezTo>
                          <a:cubicBezTo>
                            <a:pt x="125" y="223"/>
                            <a:pt x="125" y="223"/>
                            <a:pt x="125" y="223"/>
                          </a:cubicBezTo>
                          <a:cubicBezTo>
                            <a:pt x="96" y="176"/>
                            <a:pt x="101" y="113"/>
                            <a:pt x="142" y="72"/>
                          </a:cubicBezTo>
                          <a:cubicBezTo>
                            <a:pt x="166" y="48"/>
                            <a:pt x="198" y="36"/>
                            <a:pt x="229" y="36"/>
                          </a:cubicBezTo>
                          <a:cubicBezTo>
                            <a:pt x="260" y="36"/>
                            <a:pt x="291" y="48"/>
                            <a:pt x="315" y="72"/>
                          </a:cubicBezTo>
                          <a:cubicBezTo>
                            <a:pt x="363" y="119"/>
                            <a:pt x="363" y="197"/>
                            <a:pt x="315" y="245"/>
                          </a:cubicBezTo>
                          <a:close/>
                          <a:moveTo>
                            <a:pt x="312" y="158"/>
                          </a:moveTo>
                          <a:cubicBezTo>
                            <a:pt x="312" y="136"/>
                            <a:pt x="303" y="115"/>
                            <a:pt x="287" y="100"/>
                          </a:cubicBezTo>
                          <a:cubicBezTo>
                            <a:pt x="272" y="84"/>
                            <a:pt x="251" y="75"/>
                            <a:pt x="229" y="75"/>
                          </a:cubicBezTo>
                          <a:cubicBezTo>
                            <a:pt x="207" y="75"/>
                            <a:pt x="186" y="84"/>
                            <a:pt x="170" y="100"/>
                          </a:cubicBezTo>
                          <a:cubicBezTo>
                            <a:pt x="138" y="132"/>
                            <a:pt x="138" y="184"/>
                            <a:pt x="170" y="217"/>
                          </a:cubicBezTo>
                          <a:cubicBezTo>
                            <a:pt x="186" y="232"/>
                            <a:pt x="207" y="241"/>
                            <a:pt x="229" y="241"/>
                          </a:cubicBezTo>
                          <a:cubicBezTo>
                            <a:pt x="251" y="241"/>
                            <a:pt x="272" y="232"/>
                            <a:pt x="287" y="217"/>
                          </a:cubicBezTo>
                          <a:cubicBezTo>
                            <a:pt x="303" y="201"/>
                            <a:pt x="312" y="180"/>
                            <a:pt x="312" y="158"/>
                          </a:cubicBezTo>
                          <a:close/>
                          <a:moveTo>
                            <a:pt x="297" y="18"/>
                          </a:moveTo>
                          <a:cubicBezTo>
                            <a:pt x="298" y="20"/>
                            <a:pt x="300" y="21"/>
                            <a:pt x="302" y="20"/>
                          </a:cubicBezTo>
                          <a:cubicBezTo>
                            <a:pt x="308" y="17"/>
                            <a:pt x="308" y="17"/>
                            <a:pt x="308" y="17"/>
                          </a:cubicBezTo>
                          <a:cubicBezTo>
                            <a:pt x="310" y="16"/>
                            <a:pt x="311" y="15"/>
                            <a:pt x="311" y="15"/>
                          </a:cubicBezTo>
                          <a:cubicBezTo>
                            <a:pt x="311" y="15"/>
                            <a:pt x="311" y="17"/>
                            <a:pt x="311" y="19"/>
                          </a:cubicBezTo>
                          <a:cubicBezTo>
                            <a:pt x="311" y="47"/>
                            <a:pt x="311" y="47"/>
                            <a:pt x="311" y="47"/>
                          </a:cubicBezTo>
                          <a:cubicBezTo>
                            <a:pt x="317" y="51"/>
                            <a:pt x="322" y="56"/>
                            <a:pt x="327" y="60"/>
                          </a:cubicBezTo>
                          <a:cubicBezTo>
                            <a:pt x="327" y="60"/>
                            <a:pt x="327" y="60"/>
                            <a:pt x="327" y="61"/>
                          </a:cubicBezTo>
                          <a:cubicBezTo>
                            <a:pt x="327" y="5"/>
                            <a:pt x="327" y="5"/>
                            <a:pt x="327" y="5"/>
                          </a:cubicBezTo>
                          <a:cubicBezTo>
                            <a:pt x="327" y="3"/>
                            <a:pt x="325" y="1"/>
                            <a:pt x="323" y="1"/>
                          </a:cubicBezTo>
                          <a:cubicBezTo>
                            <a:pt x="318" y="1"/>
                            <a:pt x="318" y="1"/>
                            <a:pt x="318" y="1"/>
                          </a:cubicBezTo>
                          <a:cubicBezTo>
                            <a:pt x="315" y="1"/>
                            <a:pt x="312" y="2"/>
                            <a:pt x="310" y="3"/>
                          </a:cubicBezTo>
                          <a:cubicBezTo>
                            <a:pt x="299" y="8"/>
                            <a:pt x="299" y="8"/>
                            <a:pt x="299" y="8"/>
                          </a:cubicBezTo>
                          <a:cubicBezTo>
                            <a:pt x="297" y="9"/>
                            <a:pt x="296" y="11"/>
                            <a:pt x="296" y="13"/>
                          </a:cubicBezTo>
                          <a:lnTo>
                            <a:pt x="297" y="18"/>
                          </a:lnTo>
                          <a:close/>
                        </a:path>
                      </a:pathLst>
                    </a:custGeom>
                    <a:solidFill>
                      <a:schemeClr val="tx2"/>
                    </a:solidFill>
                    <a:ln w="25400" cap="flat" cmpd="sng" algn="ctr">
                      <a:noFill/>
                      <a:prstDash val="solid"/>
                    </a:ln>
                    <a:effectLst/>
                  </p:spPr>
                  <p:txBody>
                    <a:bodyPr lIns="91432" tIns="45716" rIns="91432" bIns="45716" anchor="ctr"/>
                    <a:lstStyle/>
                    <a:p>
                      <a:pPr algn="ctr" defTabSz="902744" fontAlgn="base">
                        <a:spcBef>
                          <a:spcPct val="0"/>
                        </a:spcBef>
                        <a:spcAft>
                          <a:spcPct val="0"/>
                        </a:spcAft>
                        <a:defRPr/>
                      </a:pPr>
                      <a:endParaRPr lang="en-US" sz="2400">
                        <a:solidFill>
                          <a:srgbClr val="0096D6"/>
                        </a:solidFill>
                        <a:latin typeface="CiscoSansTT Light"/>
                        <a:ea typeface="ＭＳ Ｐゴシック" charset="0"/>
                        <a:cs typeface="CiscoSansTT Light"/>
                        <a:sym typeface="Arial"/>
                      </a:endParaRPr>
                    </a:p>
                  </p:txBody>
                </p:sp>
                <p:sp>
                  <p:nvSpPr>
                    <p:cNvPr id="365" name="Circle: Hollow 364">
                      <a:extLst>
                        <a:ext uri="{FF2B5EF4-FFF2-40B4-BE49-F238E27FC236}">
                          <a16:creationId xmlns:a16="http://schemas.microsoft.com/office/drawing/2014/main" id="{08D4B8F8-4430-4B03-B79A-216BD41F56A3}"/>
                        </a:ext>
                      </a:extLst>
                    </p:cNvPr>
                    <p:cNvSpPr/>
                    <p:nvPr/>
                  </p:nvSpPr>
                  <p:spPr>
                    <a:xfrm>
                      <a:off x="5711606" y="3334840"/>
                      <a:ext cx="391537" cy="391537"/>
                    </a:xfrm>
                    <a:prstGeom prst="donut">
                      <a:avLst>
                        <a:gd name="adj" fmla="val 17813"/>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282828"/>
                        </a:solidFill>
                        <a:latin typeface="CiscoSansTT ExtraLight"/>
                        <a:sym typeface="Arial"/>
                      </a:endParaRPr>
                    </a:p>
                  </p:txBody>
                </p:sp>
                <p:sp>
                  <p:nvSpPr>
                    <p:cNvPr id="366" name="Rectangle: Rounded Corners 365">
                      <a:extLst>
                        <a:ext uri="{FF2B5EF4-FFF2-40B4-BE49-F238E27FC236}">
                          <a16:creationId xmlns:a16="http://schemas.microsoft.com/office/drawing/2014/main" id="{7E08082E-79DD-4CF7-84B0-1E96F0639CDA}"/>
                        </a:ext>
                      </a:extLst>
                    </p:cNvPr>
                    <p:cNvSpPr/>
                    <p:nvPr/>
                  </p:nvSpPr>
                  <p:spPr>
                    <a:xfrm rot="2656805">
                      <a:off x="5655140" y="3615540"/>
                      <a:ext cx="84809" cy="257745"/>
                    </a:xfrm>
                    <a:prstGeom prst="roundRect">
                      <a:avLst>
                        <a:gd name="adj" fmla="val 28235"/>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grpSp>
            </p:grpSp>
          </p:grpSp>
          <p:grpSp>
            <p:nvGrpSpPr>
              <p:cNvPr id="170" name="Group 169">
                <a:extLst>
                  <a:ext uri="{FF2B5EF4-FFF2-40B4-BE49-F238E27FC236}">
                    <a16:creationId xmlns:a16="http://schemas.microsoft.com/office/drawing/2014/main" id="{A1C7EFF0-20F4-467C-9D75-E29A19C1DE31}"/>
                  </a:ext>
                </a:extLst>
              </p:cNvPr>
              <p:cNvGrpSpPr/>
              <p:nvPr/>
            </p:nvGrpSpPr>
            <p:grpSpPr>
              <a:xfrm>
                <a:off x="6438268" y="2493124"/>
                <a:ext cx="353122" cy="353122"/>
                <a:chOff x="513404" y="1200395"/>
                <a:chExt cx="470005" cy="470005"/>
              </a:xfrm>
            </p:grpSpPr>
            <p:sp>
              <p:nvSpPr>
                <p:cNvPr id="171" name="Oval 170">
                  <a:extLst>
                    <a:ext uri="{FF2B5EF4-FFF2-40B4-BE49-F238E27FC236}">
                      <a16:creationId xmlns:a16="http://schemas.microsoft.com/office/drawing/2014/main" id="{AD4149D1-5001-4BC3-8567-F272B0A465E7}"/>
                    </a:ext>
                  </a:extLst>
                </p:cNvPr>
                <p:cNvSpPr/>
                <p:nvPr/>
              </p:nvSpPr>
              <p:spPr>
                <a:xfrm>
                  <a:off x="513404" y="1200395"/>
                  <a:ext cx="470005" cy="470005"/>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172" name="Freeform: Shape 171">
                  <a:extLst>
                    <a:ext uri="{FF2B5EF4-FFF2-40B4-BE49-F238E27FC236}">
                      <a16:creationId xmlns:a16="http://schemas.microsoft.com/office/drawing/2014/main" id="{B92EE050-10FC-4D9E-BA7C-FF5E29D1198E}"/>
                    </a:ext>
                  </a:extLst>
                </p:cNvPr>
                <p:cNvSpPr/>
                <p:nvPr/>
              </p:nvSpPr>
              <p:spPr>
                <a:xfrm>
                  <a:off x="513404" y="1394443"/>
                  <a:ext cx="361341" cy="80316"/>
                </a:xfrm>
                <a:custGeom>
                  <a:avLst/>
                  <a:gdLst>
                    <a:gd name="connsiteX0" fmla="*/ 4128 w 361341"/>
                    <a:gd name="connsiteY0" fmla="*/ 0 h 80316"/>
                    <a:gd name="connsiteX1" fmla="*/ 321183 w 361341"/>
                    <a:gd name="connsiteY1" fmla="*/ 0 h 80316"/>
                    <a:gd name="connsiteX2" fmla="*/ 361341 w 361341"/>
                    <a:gd name="connsiteY2" fmla="*/ 40158 h 80316"/>
                    <a:gd name="connsiteX3" fmla="*/ 361340 w 361341"/>
                    <a:gd name="connsiteY3" fmla="*/ 40158 h 80316"/>
                    <a:gd name="connsiteX4" fmla="*/ 321182 w 361341"/>
                    <a:gd name="connsiteY4" fmla="*/ 80316 h 80316"/>
                    <a:gd name="connsiteX5" fmla="*/ 3968 w 361341"/>
                    <a:gd name="connsiteY5" fmla="*/ 80315 h 80316"/>
                    <a:gd name="connsiteX6" fmla="*/ 0 w 361341"/>
                    <a:gd name="connsiteY6" fmla="*/ 40954 h 80316"/>
                    <a:gd name="connsiteX7" fmla="*/ 4128 w 361341"/>
                    <a:gd name="connsiteY7" fmla="*/ 0 h 8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1341" h="80316">
                      <a:moveTo>
                        <a:pt x="4128" y="0"/>
                      </a:moveTo>
                      <a:lnTo>
                        <a:pt x="321183" y="0"/>
                      </a:lnTo>
                      <a:cubicBezTo>
                        <a:pt x="343362" y="0"/>
                        <a:pt x="361341" y="17979"/>
                        <a:pt x="361341" y="40158"/>
                      </a:cubicBezTo>
                      <a:lnTo>
                        <a:pt x="361340" y="40158"/>
                      </a:lnTo>
                      <a:cubicBezTo>
                        <a:pt x="361340" y="62337"/>
                        <a:pt x="343361" y="80316"/>
                        <a:pt x="321182" y="80316"/>
                      </a:cubicBezTo>
                      <a:lnTo>
                        <a:pt x="3968" y="80315"/>
                      </a:lnTo>
                      <a:lnTo>
                        <a:pt x="0" y="40954"/>
                      </a:lnTo>
                      <a:lnTo>
                        <a:pt x="4128" y="0"/>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173" name="Freeform 62">
                  <a:extLst>
                    <a:ext uri="{FF2B5EF4-FFF2-40B4-BE49-F238E27FC236}">
                      <a16:creationId xmlns:a16="http://schemas.microsoft.com/office/drawing/2014/main" id="{5D729604-B161-45F2-A668-A2170C92BFC0}"/>
                    </a:ext>
                  </a:extLst>
                </p:cNvPr>
                <p:cNvSpPr>
                  <a:spLocks/>
                </p:cNvSpPr>
                <p:nvPr/>
              </p:nvSpPr>
              <p:spPr bwMode="auto">
                <a:xfrm>
                  <a:off x="688230" y="1291434"/>
                  <a:ext cx="172200" cy="118503"/>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4" name="Freeform 63">
                  <a:extLst>
                    <a:ext uri="{FF2B5EF4-FFF2-40B4-BE49-F238E27FC236}">
                      <a16:creationId xmlns:a16="http://schemas.microsoft.com/office/drawing/2014/main" id="{9A027890-CF1A-4A80-8074-5F299F993CEE}"/>
                    </a:ext>
                  </a:extLst>
                </p:cNvPr>
                <p:cNvSpPr>
                  <a:spLocks noEditPoints="1"/>
                </p:cNvSpPr>
                <p:nvPr/>
              </p:nvSpPr>
              <p:spPr bwMode="auto">
                <a:xfrm>
                  <a:off x="748407" y="1399753"/>
                  <a:ext cx="112023" cy="35181"/>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5" name="Freeform 64">
                  <a:extLst>
                    <a:ext uri="{FF2B5EF4-FFF2-40B4-BE49-F238E27FC236}">
                      <a16:creationId xmlns:a16="http://schemas.microsoft.com/office/drawing/2014/main" id="{283334CA-766A-4655-9C44-AEDDB4F256AE}"/>
                    </a:ext>
                  </a:extLst>
                </p:cNvPr>
                <p:cNvSpPr>
                  <a:spLocks/>
                </p:cNvSpPr>
                <p:nvPr/>
              </p:nvSpPr>
              <p:spPr bwMode="auto">
                <a:xfrm>
                  <a:off x="688230" y="1460857"/>
                  <a:ext cx="172200" cy="118503"/>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6" name="Freeform 65">
                  <a:extLst>
                    <a:ext uri="{FF2B5EF4-FFF2-40B4-BE49-F238E27FC236}">
                      <a16:creationId xmlns:a16="http://schemas.microsoft.com/office/drawing/2014/main" id="{1691E6D5-A275-4C61-A596-9FB25CFA78BB}"/>
                    </a:ext>
                  </a:extLst>
                </p:cNvPr>
                <p:cNvSpPr>
                  <a:spLocks noEditPoints="1"/>
                </p:cNvSpPr>
                <p:nvPr/>
              </p:nvSpPr>
              <p:spPr bwMode="auto">
                <a:xfrm>
                  <a:off x="748407" y="1434934"/>
                  <a:ext cx="112023" cy="36106"/>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7" name="Freeform 66">
                  <a:extLst>
                    <a:ext uri="{FF2B5EF4-FFF2-40B4-BE49-F238E27FC236}">
                      <a16:creationId xmlns:a16="http://schemas.microsoft.com/office/drawing/2014/main" id="{D064F8EA-E3E8-4136-AD99-0819FAF8AACF}"/>
                    </a:ext>
                  </a:extLst>
                </p:cNvPr>
                <p:cNvSpPr>
                  <a:spLocks noEditPoints="1"/>
                </p:cNvSpPr>
                <p:nvPr/>
              </p:nvSpPr>
              <p:spPr bwMode="auto">
                <a:xfrm>
                  <a:off x="834507" y="1399753"/>
                  <a:ext cx="34255" cy="7128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8" name="Freeform 67">
                  <a:extLst>
                    <a:ext uri="{FF2B5EF4-FFF2-40B4-BE49-F238E27FC236}">
                      <a16:creationId xmlns:a16="http://schemas.microsoft.com/office/drawing/2014/main" id="{6036232A-16DE-458C-87BA-3F2B5D9DF8FC}"/>
                    </a:ext>
                  </a:extLst>
                </p:cNvPr>
                <p:cNvSpPr>
                  <a:spLocks/>
                </p:cNvSpPr>
                <p:nvPr/>
              </p:nvSpPr>
              <p:spPr bwMode="auto">
                <a:xfrm>
                  <a:off x="784976" y="1399753"/>
                  <a:ext cx="87952" cy="7128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0066C5"/>
                </a:solidFill>
                <a:ln>
                  <a:solidFill>
                    <a:srgbClr val="0066C5"/>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sp>
          <p:nvSpPr>
            <p:cNvPr id="263" name="TextBox 262">
              <a:extLst>
                <a:ext uri="{FF2B5EF4-FFF2-40B4-BE49-F238E27FC236}">
                  <a16:creationId xmlns:a16="http://schemas.microsoft.com/office/drawing/2014/main" id="{3CEC48F3-BFD3-4B81-B0AD-80AE233FCCC6}"/>
                </a:ext>
              </a:extLst>
            </p:cNvPr>
            <p:cNvSpPr txBox="1"/>
            <p:nvPr/>
          </p:nvSpPr>
          <p:spPr>
            <a:xfrm>
              <a:off x="4643893" y="3257090"/>
              <a:ext cx="1925723" cy="246173"/>
            </a:xfrm>
            <a:prstGeom prst="rect">
              <a:avLst/>
            </a:prstGeom>
            <a:noFill/>
          </p:spPr>
          <p:txBody>
            <a:bodyPr wrap="square" rtlCol="0">
              <a:spAutoFit/>
            </a:bodyPr>
            <a:lstStyle/>
            <a:p>
              <a:pPr algn="ctr" defTabSz="609585" fontAlgn="base">
                <a:spcBef>
                  <a:spcPct val="0"/>
                </a:spcBef>
                <a:spcAft>
                  <a:spcPct val="0"/>
                </a:spcAft>
                <a:defRPr/>
              </a:pPr>
              <a:r>
                <a:rPr lang="en-US" sz="1533">
                  <a:solidFill>
                    <a:srgbClr val="282828"/>
                  </a:solidFill>
                  <a:latin typeface="CiscoSansTT ExtraLight"/>
                  <a:ea typeface="ＭＳ Ｐゴシック" charset="0"/>
                  <a:cs typeface="Arial"/>
                  <a:sym typeface="Arial"/>
                </a:rPr>
                <a:t>Investigation and research</a:t>
              </a:r>
            </a:p>
          </p:txBody>
        </p:sp>
      </p:grpSp>
      <p:grpSp>
        <p:nvGrpSpPr>
          <p:cNvPr id="14" name="Group 13">
            <a:extLst>
              <a:ext uri="{FF2B5EF4-FFF2-40B4-BE49-F238E27FC236}">
                <a16:creationId xmlns:a16="http://schemas.microsoft.com/office/drawing/2014/main" id="{DD95D10C-543E-43C7-A44F-9671315B15AB}"/>
              </a:ext>
            </a:extLst>
          </p:cNvPr>
          <p:cNvGrpSpPr/>
          <p:nvPr/>
        </p:nvGrpSpPr>
        <p:grpSpPr>
          <a:xfrm>
            <a:off x="3422341" y="2156835"/>
            <a:ext cx="2918681" cy="3001965"/>
            <a:chOff x="2566755" y="1483615"/>
            <a:chExt cx="2189011" cy="2251474"/>
          </a:xfrm>
        </p:grpSpPr>
        <p:grpSp>
          <p:nvGrpSpPr>
            <p:cNvPr id="11" name="Group 10">
              <a:extLst>
                <a:ext uri="{FF2B5EF4-FFF2-40B4-BE49-F238E27FC236}">
                  <a16:creationId xmlns:a16="http://schemas.microsoft.com/office/drawing/2014/main" id="{F4C55125-83F4-43E4-9D08-114939375A10}"/>
                </a:ext>
              </a:extLst>
            </p:cNvPr>
            <p:cNvGrpSpPr/>
            <p:nvPr/>
          </p:nvGrpSpPr>
          <p:grpSpPr>
            <a:xfrm>
              <a:off x="2566755" y="1483615"/>
              <a:ext cx="1984327" cy="2251474"/>
              <a:chOff x="2566755" y="1483615"/>
              <a:chExt cx="1984327" cy="2251474"/>
            </a:xfrm>
          </p:grpSpPr>
          <p:sp>
            <p:nvSpPr>
              <p:cNvPr id="130" name="Rectangle 129">
                <a:extLst>
                  <a:ext uri="{FF2B5EF4-FFF2-40B4-BE49-F238E27FC236}">
                    <a16:creationId xmlns:a16="http://schemas.microsoft.com/office/drawing/2014/main" id="{FDFE83A3-BD1D-4BD4-B7E3-E85D49A30F69}"/>
                  </a:ext>
                </a:extLst>
              </p:cNvPr>
              <p:cNvSpPr>
                <a:spLocks noChangeAspect="1"/>
              </p:cNvSpPr>
              <p:nvPr/>
            </p:nvSpPr>
            <p:spPr>
              <a:xfrm>
                <a:off x="2566755" y="1483615"/>
                <a:ext cx="1984327" cy="2251474"/>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21920" rtlCol="0" anchor="t"/>
              <a:lstStyle/>
              <a:p>
                <a:pPr algn="ctr" defTabSz="609585" fontAlgn="base">
                  <a:spcBef>
                    <a:spcPct val="0"/>
                  </a:spcBef>
                  <a:spcAft>
                    <a:spcPct val="0"/>
                  </a:spcAft>
                  <a:defRPr/>
                </a:pPr>
                <a:r>
                  <a:rPr lang="en-US" sz="1867" b="1">
                    <a:solidFill>
                      <a:srgbClr val="005073"/>
                    </a:solidFill>
                    <a:latin typeface="CiscoSansTT ExtraLight"/>
                    <a:sym typeface="Arial"/>
                  </a:rPr>
                  <a:t>Analysis</a:t>
                </a:r>
              </a:p>
            </p:txBody>
          </p:sp>
          <p:sp>
            <p:nvSpPr>
              <p:cNvPr id="262" name="TextBox 261">
                <a:extLst>
                  <a:ext uri="{FF2B5EF4-FFF2-40B4-BE49-F238E27FC236}">
                    <a16:creationId xmlns:a16="http://schemas.microsoft.com/office/drawing/2014/main" id="{3977A867-5868-43CF-98AB-2C98ED766282}"/>
                  </a:ext>
                </a:extLst>
              </p:cNvPr>
              <p:cNvSpPr txBox="1"/>
              <p:nvPr/>
            </p:nvSpPr>
            <p:spPr>
              <a:xfrm>
                <a:off x="2566756" y="3257090"/>
                <a:ext cx="1984326" cy="246173"/>
              </a:xfrm>
              <a:prstGeom prst="rect">
                <a:avLst/>
              </a:prstGeom>
              <a:noFill/>
            </p:spPr>
            <p:txBody>
              <a:bodyPr wrap="square" rtlCol="0">
                <a:spAutoFit/>
              </a:bodyPr>
              <a:lstStyle/>
              <a:p>
                <a:pPr algn="ctr" defTabSz="609585" fontAlgn="base">
                  <a:spcBef>
                    <a:spcPct val="0"/>
                  </a:spcBef>
                  <a:spcAft>
                    <a:spcPct val="0"/>
                  </a:spcAft>
                  <a:defRPr/>
                </a:pPr>
                <a:r>
                  <a:rPr lang="en-US" sz="1533">
                    <a:solidFill>
                      <a:srgbClr val="282828"/>
                    </a:solidFill>
                    <a:latin typeface="CiscoSansTT ExtraLight"/>
                    <a:ea typeface="ＭＳ Ｐゴシック" charset="0"/>
                    <a:cs typeface="Arial"/>
                    <a:sym typeface="Arial"/>
                  </a:rPr>
                  <a:t>Threat verified</a:t>
                </a:r>
              </a:p>
            </p:txBody>
          </p:sp>
          <p:grpSp>
            <p:nvGrpSpPr>
              <p:cNvPr id="8" name="Group 7">
                <a:extLst>
                  <a:ext uri="{FF2B5EF4-FFF2-40B4-BE49-F238E27FC236}">
                    <a16:creationId xmlns:a16="http://schemas.microsoft.com/office/drawing/2014/main" id="{ADCA4C13-69CB-4DE4-99FD-E73E8EBFC90E}"/>
                  </a:ext>
                </a:extLst>
              </p:cNvPr>
              <p:cNvGrpSpPr/>
              <p:nvPr/>
            </p:nvGrpSpPr>
            <p:grpSpPr>
              <a:xfrm>
                <a:off x="2743336" y="2204570"/>
                <a:ext cx="1584842" cy="811966"/>
                <a:chOff x="2743336" y="2002205"/>
                <a:chExt cx="1584842" cy="811966"/>
              </a:xfrm>
            </p:grpSpPr>
            <p:grpSp>
              <p:nvGrpSpPr>
                <p:cNvPr id="186" name="Group 185">
                  <a:extLst>
                    <a:ext uri="{FF2B5EF4-FFF2-40B4-BE49-F238E27FC236}">
                      <a16:creationId xmlns:a16="http://schemas.microsoft.com/office/drawing/2014/main" id="{4A446C41-D04B-40AA-A969-170D7D373CD3}"/>
                    </a:ext>
                  </a:extLst>
                </p:cNvPr>
                <p:cNvGrpSpPr/>
                <p:nvPr/>
              </p:nvGrpSpPr>
              <p:grpSpPr>
                <a:xfrm>
                  <a:off x="2743336" y="2002205"/>
                  <a:ext cx="1584842" cy="811966"/>
                  <a:chOff x="2743336" y="2002205"/>
                  <a:chExt cx="1584842" cy="811966"/>
                </a:xfrm>
              </p:grpSpPr>
              <p:sp>
                <p:nvSpPr>
                  <p:cNvPr id="187" name="Oval 342">
                    <a:extLst>
                      <a:ext uri="{FF2B5EF4-FFF2-40B4-BE49-F238E27FC236}">
                        <a16:creationId xmlns:a16="http://schemas.microsoft.com/office/drawing/2014/main" id="{3D1775A3-C497-490B-AD88-10E89CC7F4A9}"/>
                      </a:ext>
                    </a:extLst>
                  </p:cNvPr>
                  <p:cNvSpPr>
                    <a:spLocks noChangeAspect="1" noChangeArrowheads="1"/>
                  </p:cNvSpPr>
                  <p:nvPr/>
                </p:nvSpPr>
                <p:spPr bwMode="auto">
                  <a:xfrm>
                    <a:off x="2854887" y="2002205"/>
                    <a:ext cx="307747" cy="304489"/>
                  </a:xfrm>
                  <a:prstGeom prst="ellipse">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88" name="Freeform 343">
                    <a:extLst>
                      <a:ext uri="{FF2B5EF4-FFF2-40B4-BE49-F238E27FC236}">
                        <a16:creationId xmlns:a16="http://schemas.microsoft.com/office/drawing/2014/main" id="{60F28793-0D90-4A88-9D90-54FB868DDF1B}"/>
                      </a:ext>
                    </a:extLst>
                  </p:cNvPr>
                  <p:cNvSpPr>
                    <a:spLocks noChangeAspect="1"/>
                  </p:cNvSpPr>
                  <p:nvPr/>
                </p:nvSpPr>
                <p:spPr bwMode="auto">
                  <a:xfrm>
                    <a:off x="2743336" y="2370794"/>
                    <a:ext cx="529052" cy="443377"/>
                  </a:xfrm>
                  <a:custGeom>
                    <a:avLst/>
                    <a:gdLst>
                      <a:gd name="T0" fmla="*/ 28 w 28"/>
                      <a:gd name="T1" fmla="*/ 9 h 35"/>
                      <a:gd name="T2" fmla="*/ 19 w 28"/>
                      <a:gd name="T3" fmla="*/ 0 h 35"/>
                      <a:gd name="T4" fmla="*/ 9 w 28"/>
                      <a:gd name="T5" fmla="*/ 0 h 35"/>
                      <a:gd name="T6" fmla="*/ 0 w 28"/>
                      <a:gd name="T7" fmla="*/ 9 h 35"/>
                      <a:gd name="T8" fmla="*/ 0 w 28"/>
                      <a:gd name="T9" fmla="*/ 35 h 35"/>
                      <a:gd name="T10" fmla="*/ 28 w 28"/>
                      <a:gd name="T11" fmla="*/ 35 h 35"/>
                      <a:gd name="T12" fmla="*/ 28 w 28"/>
                      <a:gd name="T13" fmla="*/ 9 h 35"/>
                    </a:gdLst>
                    <a:ahLst/>
                    <a:cxnLst>
                      <a:cxn ang="0">
                        <a:pos x="T0" y="T1"/>
                      </a:cxn>
                      <a:cxn ang="0">
                        <a:pos x="T2" y="T3"/>
                      </a:cxn>
                      <a:cxn ang="0">
                        <a:pos x="T4" y="T5"/>
                      </a:cxn>
                      <a:cxn ang="0">
                        <a:pos x="T6" y="T7"/>
                      </a:cxn>
                      <a:cxn ang="0">
                        <a:pos x="T8" y="T9"/>
                      </a:cxn>
                      <a:cxn ang="0">
                        <a:pos x="T10" y="T11"/>
                      </a:cxn>
                      <a:cxn ang="0">
                        <a:pos x="T12" y="T13"/>
                      </a:cxn>
                    </a:cxnLst>
                    <a:rect l="0" t="0" r="r" b="b"/>
                    <a:pathLst>
                      <a:path w="28" h="35">
                        <a:moveTo>
                          <a:pt x="28" y="9"/>
                        </a:moveTo>
                        <a:cubicBezTo>
                          <a:pt x="28" y="4"/>
                          <a:pt x="24" y="0"/>
                          <a:pt x="19" y="0"/>
                        </a:cubicBezTo>
                        <a:cubicBezTo>
                          <a:pt x="9" y="0"/>
                          <a:pt x="9" y="0"/>
                          <a:pt x="9" y="0"/>
                        </a:cubicBezTo>
                        <a:cubicBezTo>
                          <a:pt x="4" y="0"/>
                          <a:pt x="0" y="4"/>
                          <a:pt x="0" y="9"/>
                        </a:cubicBezTo>
                        <a:cubicBezTo>
                          <a:pt x="0" y="35"/>
                          <a:pt x="0" y="35"/>
                          <a:pt x="0" y="35"/>
                        </a:cubicBezTo>
                        <a:cubicBezTo>
                          <a:pt x="28" y="35"/>
                          <a:pt x="28" y="35"/>
                          <a:pt x="28" y="35"/>
                        </a:cubicBezTo>
                        <a:lnTo>
                          <a:pt x="28" y="9"/>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nvGrpSpPr>
                  <p:cNvPr id="189" name="Group 188">
                    <a:extLst>
                      <a:ext uri="{FF2B5EF4-FFF2-40B4-BE49-F238E27FC236}">
                        <a16:creationId xmlns:a16="http://schemas.microsoft.com/office/drawing/2014/main" id="{BA671DFC-29FE-4037-B63F-403D8611FE61}"/>
                      </a:ext>
                    </a:extLst>
                  </p:cNvPr>
                  <p:cNvGrpSpPr/>
                  <p:nvPr/>
                </p:nvGrpSpPr>
                <p:grpSpPr>
                  <a:xfrm>
                    <a:off x="3171554" y="2076433"/>
                    <a:ext cx="1156624" cy="712061"/>
                    <a:chOff x="2829078" y="2173868"/>
                    <a:chExt cx="1156624" cy="712061"/>
                  </a:xfrm>
                </p:grpSpPr>
                <p:grpSp>
                  <p:nvGrpSpPr>
                    <p:cNvPr id="190" name="Group 189">
                      <a:extLst>
                        <a:ext uri="{FF2B5EF4-FFF2-40B4-BE49-F238E27FC236}">
                          <a16:creationId xmlns:a16="http://schemas.microsoft.com/office/drawing/2014/main" id="{712808F9-F709-4E8C-AC2E-4C59C966CB17}"/>
                        </a:ext>
                      </a:extLst>
                    </p:cNvPr>
                    <p:cNvGrpSpPr/>
                    <p:nvPr/>
                  </p:nvGrpSpPr>
                  <p:grpSpPr>
                    <a:xfrm>
                      <a:off x="2829078" y="2173868"/>
                      <a:ext cx="1142297" cy="712061"/>
                      <a:chOff x="1180743" y="1804285"/>
                      <a:chExt cx="1048957" cy="601386"/>
                    </a:xfrm>
                  </p:grpSpPr>
                  <p:grpSp>
                    <p:nvGrpSpPr>
                      <p:cNvPr id="192" name="Group 191">
                        <a:extLst>
                          <a:ext uri="{FF2B5EF4-FFF2-40B4-BE49-F238E27FC236}">
                            <a16:creationId xmlns:a16="http://schemas.microsoft.com/office/drawing/2014/main" id="{7ADD2855-93CB-4AE6-8E87-950ED5D84843}"/>
                          </a:ext>
                        </a:extLst>
                      </p:cNvPr>
                      <p:cNvGrpSpPr/>
                      <p:nvPr/>
                    </p:nvGrpSpPr>
                    <p:grpSpPr>
                      <a:xfrm>
                        <a:off x="1180743" y="1804285"/>
                        <a:ext cx="1048957" cy="601386"/>
                        <a:chOff x="1180743" y="1804285"/>
                        <a:chExt cx="1048957" cy="601386"/>
                      </a:xfrm>
                    </p:grpSpPr>
                    <p:grpSp>
                      <p:nvGrpSpPr>
                        <p:cNvPr id="196" name="Group 221">
                          <a:extLst>
                            <a:ext uri="{FF2B5EF4-FFF2-40B4-BE49-F238E27FC236}">
                              <a16:creationId xmlns:a16="http://schemas.microsoft.com/office/drawing/2014/main" id="{D6EDB495-2AFA-4C26-8F74-A348DC6EC8E0}"/>
                            </a:ext>
                          </a:extLst>
                        </p:cNvPr>
                        <p:cNvGrpSpPr>
                          <a:grpSpLocks noChangeAspect="1"/>
                        </p:cNvGrpSpPr>
                        <p:nvPr/>
                      </p:nvGrpSpPr>
                      <p:grpSpPr bwMode="auto">
                        <a:xfrm>
                          <a:off x="1180743" y="1804285"/>
                          <a:ext cx="1048957" cy="601386"/>
                          <a:chOff x="2049" y="1143"/>
                          <a:chExt cx="1664" cy="954"/>
                        </a:xfrm>
                      </p:grpSpPr>
                      <p:sp>
                        <p:nvSpPr>
                          <p:cNvPr id="229" name="Freeform 222">
                            <a:extLst>
                              <a:ext uri="{FF2B5EF4-FFF2-40B4-BE49-F238E27FC236}">
                                <a16:creationId xmlns:a16="http://schemas.microsoft.com/office/drawing/2014/main" id="{1AADB504-942F-41CA-995F-DFE0546A34BB}"/>
                              </a:ext>
                            </a:extLst>
                          </p:cNvPr>
                          <p:cNvSpPr>
                            <a:spLocks/>
                          </p:cNvSpPr>
                          <p:nvPr/>
                        </p:nvSpPr>
                        <p:spPr bwMode="auto">
                          <a:xfrm>
                            <a:off x="2049" y="2028"/>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231" name="Freeform 223">
                            <a:extLst>
                              <a:ext uri="{FF2B5EF4-FFF2-40B4-BE49-F238E27FC236}">
                                <a16:creationId xmlns:a16="http://schemas.microsoft.com/office/drawing/2014/main" id="{1077BFB1-A69F-459D-AFD5-3BED9015FC7C}"/>
                              </a:ext>
                            </a:extLst>
                          </p:cNvPr>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tx2"/>
                          </a:solidFill>
                          <a:ln w="9525">
                            <a:no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232" name="Freeform 224">
                            <a:extLst>
                              <a:ext uri="{FF2B5EF4-FFF2-40B4-BE49-F238E27FC236}">
                                <a16:creationId xmlns:a16="http://schemas.microsoft.com/office/drawing/2014/main" id="{6E27A999-62D6-4684-A465-DC6BE2744F77}"/>
                              </a:ext>
                            </a:extLst>
                          </p:cNvPr>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nvGrpSpPr>
                        <p:cNvPr id="205" name="Group 204">
                          <a:extLst>
                            <a:ext uri="{FF2B5EF4-FFF2-40B4-BE49-F238E27FC236}">
                              <a16:creationId xmlns:a16="http://schemas.microsoft.com/office/drawing/2014/main" id="{B3EDDF28-CA8C-4C88-BFA1-8BB467946FF4}"/>
                            </a:ext>
                          </a:extLst>
                        </p:cNvPr>
                        <p:cNvGrpSpPr/>
                        <p:nvPr/>
                      </p:nvGrpSpPr>
                      <p:grpSpPr>
                        <a:xfrm>
                          <a:off x="1374140" y="1916576"/>
                          <a:ext cx="334104" cy="288530"/>
                          <a:chOff x="4135328" y="3656217"/>
                          <a:chExt cx="695711" cy="600811"/>
                        </a:xfrm>
                      </p:grpSpPr>
                      <p:sp>
                        <p:nvSpPr>
                          <p:cNvPr id="206" name="Freeform 45">
                            <a:extLst>
                              <a:ext uri="{FF2B5EF4-FFF2-40B4-BE49-F238E27FC236}">
                                <a16:creationId xmlns:a16="http://schemas.microsoft.com/office/drawing/2014/main" id="{52F482A3-7AA7-4102-813E-C77EF3C18435}"/>
                              </a:ext>
                            </a:extLst>
                          </p:cNvPr>
                          <p:cNvSpPr>
                            <a:spLocks/>
                          </p:cNvSpPr>
                          <p:nvPr/>
                        </p:nvSpPr>
                        <p:spPr bwMode="auto">
                          <a:xfrm>
                            <a:off x="4135328" y="3656217"/>
                            <a:ext cx="695711" cy="600811"/>
                          </a:xfrm>
                          <a:custGeom>
                            <a:avLst/>
                            <a:gdLst>
                              <a:gd name="T0" fmla="*/ 218 w 449"/>
                              <a:gd name="T1" fmla="*/ 5 h 388"/>
                              <a:gd name="T2" fmla="*/ 3 w 449"/>
                              <a:gd name="T3" fmla="*/ 376 h 388"/>
                              <a:gd name="T4" fmla="*/ 10 w 449"/>
                              <a:gd name="T5" fmla="*/ 388 h 388"/>
                              <a:gd name="T6" fmla="*/ 439 w 449"/>
                              <a:gd name="T7" fmla="*/ 388 h 388"/>
                              <a:gd name="T8" fmla="*/ 446 w 449"/>
                              <a:gd name="T9" fmla="*/ 376 h 388"/>
                              <a:gd name="T10" fmla="*/ 231 w 449"/>
                              <a:gd name="T11" fmla="*/ 5 h 388"/>
                              <a:gd name="T12" fmla="*/ 218 w 449"/>
                              <a:gd name="T13" fmla="*/ 5 h 388"/>
                            </a:gdLst>
                            <a:ahLst/>
                            <a:cxnLst>
                              <a:cxn ang="0">
                                <a:pos x="T0" y="T1"/>
                              </a:cxn>
                              <a:cxn ang="0">
                                <a:pos x="T2" y="T3"/>
                              </a:cxn>
                              <a:cxn ang="0">
                                <a:pos x="T4" y="T5"/>
                              </a:cxn>
                              <a:cxn ang="0">
                                <a:pos x="T6" y="T7"/>
                              </a:cxn>
                              <a:cxn ang="0">
                                <a:pos x="T8" y="T9"/>
                              </a:cxn>
                              <a:cxn ang="0">
                                <a:pos x="T10" y="T11"/>
                              </a:cxn>
                              <a:cxn ang="0">
                                <a:pos x="T12" y="T13"/>
                              </a:cxn>
                            </a:cxnLst>
                            <a:rect l="0" t="0" r="r" b="b"/>
                            <a:pathLst>
                              <a:path w="449" h="388">
                                <a:moveTo>
                                  <a:pt x="218" y="5"/>
                                </a:moveTo>
                                <a:cubicBezTo>
                                  <a:pt x="3" y="376"/>
                                  <a:pt x="3" y="376"/>
                                  <a:pt x="3" y="376"/>
                                </a:cubicBezTo>
                                <a:cubicBezTo>
                                  <a:pt x="0" y="381"/>
                                  <a:pt x="4" y="388"/>
                                  <a:pt x="10" y="388"/>
                                </a:cubicBezTo>
                                <a:cubicBezTo>
                                  <a:pt x="439" y="388"/>
                                  <a:pt x="439" y="388"/>
                                  <a:pt x="439" y="388"/>
                                </a:cubicBezTo>
                                <a:cubicBezTo>
                                  <a:pt x="445" y="388"/>
                                  <a:pt x="449" y="381"/>
                                  <a:pt x="446" y="376"/>
                                </a:cubicBezTo>
                                <a:cubicBezTo>
                                  <a:pt x="231" y="5"/>
                                  <a:pt x="231" y="5"/>
                                  <a:pt x="231" y="5"/>
                                </a:cubicBezTo>
                                <a:cubicBezTo>
                                  <a:pt x="228" y="0"/>
                                  <a:pt x="221" y="0"/>
                                  <a:pt x="218" y="5"/>
                                </a:cubicBezTo>
                                <a:close/>
                              </a:path>
                            </a:pathLst>
                          </a:custGeom>
                          <a:solidFill>
                            <a:srgbClr val="FAAC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12" name="Oval 47">
                            <a:extLst>
                              <a:ext uri="{FF2B5EF4-FFF2-40B4-BE49-F238E27FC236}">
                                <a16:creationId xmlns:a16="http://schemas.microsoft.com/office/drawing/2014/main" id="{D7199CA0-98AF-4D02-A5E7-0AAF4AE9B2B0}"/>
                              </a:ext>
                            </a:extLst>
                          </p:cNvPr>
                          <p:cNvSpPr>
                            <a:spLocks noChangeArrowheads="1"/>
                          </p:cNvSpPr>
                          <p:nvPr/>
                        </p:nvSpPr>
                        <p:spPr bwMode="auto">
                          <a:xfrm>
                            <a:off x="4336613" y="3888919"/>
                            <a:ext cx="297720" cy="2977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13" name="Freeform 46">
                            <a:extLst>
                              <a:ext uri="{FF2B5EF4-FFF2-40B4-BE49-F238E27FC236}">
                                <a16:creationId xmlns:a16="http://schemas.microsoft.com/office/drawing/2014/main" id="{8A8C9443-CB85-4E82-8CE6-355343A64535}"/>
                              </a:ext>
                            </a:extLst>
                          </p:cNvPr>
                          <p:cNvSpPr>
                            <a:spLocks noEditPoints="1"/>
                          </p:cNvSpPr>
                          <p:nvPr/>
                        </p:nvSpPr>
                        <p:spPr bwMode="auto">
                          <a:xfrm>
                            <a:off x="4321200" y="3874813"/>
                            <a:ext cx="328548" cy="325931"/>
                          </a:xfrm>
                          <a:custGeom>
                            <a:avLst/>
                            <a:gdLst>
                              <a:gd name="T0" fmla="*/ 0 w 212"/>
                              <a:gd name="T1" fmla="*/ 106 h 211"/>
                              <a:gd name="T2" fmla="*/ 106 w 212"/>
                              <a:gd name="T3" fmla="*/ 0 h 211"/>
                              <a:gd name="T4" fmla="*/ 212 w 212"/>
                              <a:gd name="T5" fmla="*/ 106 h 211"/>
                              <a:gd name="T6" fmla="*/ 106 w 212"/>
                              <a:gd name="T7" fmla="*/ 211 h 211"/>
                              <a:gd name="T8" fmla="*/ 0 w 212"/>
                              <a:gd name="T9" fmla="*/ 106 h 211"/>
                              <a:gd name="T10" fmla="*/ 20 w 212"/>
                              <a:gd name="T11" fmla="*/ 106 h 211"/>
                              <a:gd name="T12" fmla="*/ 106 w 212"/>
                              <a:gd name="T13" fmla="*/ 192 h 211"/>
                              <a:gd name="T14" fmla="*/ 192 w 212"/>
                              <a:gd name="T15" fmla="*/ 106 h 211"/>
                              <a:gd name="T16" fmla="*/ 106 w 212"/>
                              <a:gd name="T17" fmla="*/ 19 h 211"/>
                              <a:gd name="T18" fmla="*/ 20 w 212"/>
                              <a:gd name="T1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1">
                                <a:moveTo>
                                  <a:pt x="0" y="106"/>
                                </a:moveTo>
                                <a:cubicBezTo>
                                  <a:pt x="0" y="47"/>
                                  <a:pt x="48" y="0"/>
                                  <a:pt x="106" y="0"/>
                                </a:cubicBezTo>
                                <a:cubicBezTo>
                                  <a:pt x="165" y="0"/>
                                  <a:pt x="212" y="47"/>
                                  <a:pt x="212" y="106"/>
                                </a:cubicBezTo>
                                <a:cubicBezTo>
                                  <a:pt x="212" y="164"/>
                                  <a:pt x="165" y="211"/>
                                  <a:pt x="106" y="211"/>
                                </a:cubicBezTo>
                                <a:cubicBezTo>
                                  <a:pt x="48" y="211"/>
                                  <a:pt x="0" y="164"/>
                                  <a:pt x="0" y="106"/>
                                </a:cubicBezTo>
                                <a:close/>
                                <a:moveTo>
                                  <a:pt x="20" y="106"/>
                                </a:moveTo>
                                <a:cubicBezTo>
                                  <a:pt x="20" y="153"/>
                                  <a:pt x="59" y="192"/>
                                  <a:pt x="106" y="192"/>
                                </a:cubicBezTo>
                                <a:cubicBezTo>
                                  <a:pt x="154" y="192"/>
                                  <a:pt x="192" y="153"/>
                                  <a:pt x="192" y="106"/>
                                </a:cubicBezTo>
                                <a:cubicBezTo>
                                  <a:pt x="192" y="58"/>
                                  <a:pt x="154" y="19"/>
                                  <a:pt x="106" y="19"/>
                                </a:cubicBezTo>
                                <a:cubicBezTo>
                                  <a:pt x="59" y="19"/>
                                  <a:pt x="20" y="58"/>
                                  <a:pt x="20" y="106"/>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22" name="Freeform 48">
                            <a:extLst>
                              <a:ext uri="{FF2B5EF4-FFF2-40B4-BE49-F238E27FC236}">
                                <a16:creationId xmlns:a16="http://schemas.microsoft.com/office/drawing/2014/main" id="{7FB17253-9458-4188-ABDF-C17005F1B17F}"/>
                              </a:ext>
                            </a:extLst>
                          </p:cNvPr>
                          <p:cNvSpPr>
                            <a:spLocks/>
                          </p:cNvSpPr>
                          <p:nvPr/>
                        </p:nvSpPr>
                        <p:spPr bwMode="auto">
                          <a:xfrm>
                            <a:off x="4467558" y="3933050"/>
                            <a:ext cx="31250" cy="132723"/>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E3241B"/>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26" name="Oval 49">
                            <a:extLst>
                              <a:ext uri="{FF2B5EF4-FFF2-40B4-BE49-F238E27FC236}">
                                <a16:creationId xmlns:a16="http://schemas.microsoft.com/office/drawing/2014/main" id="{94C59899-E537-4723-9877-8C16AA601ACD}"/>
                              </a:ext>
                            </a:extLst>
                          </p:cNvPr>
                          <p:cNvSpPr>
                            <a:spLocks noChangeArrowheads="1"/>
                          </p:cNvSpPr>
                          <p:nvPr/>
                        </p:nvSpPr>
                        <p:spPr bwMode="auto">
                          <a:xfrm>
                            <a:off x="4466084" y="4095827"/>
                            <a:ext cx="32724" cy="32070"/>
                          </a:xfrm>
                          <a:prstGeom prst="ellipse">
                            <a:avLst/>
                          </a:prstGeom>
                          <a:solidFill>
                            <a:srgbClr val="E3241B"/>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grpSp>
                    <p:nvGrpSpPr>
                      <p:cNvPr id="193" name="Group 192">
                        <a:extLst>
                          <a:ext uri="{FF2B5EF4-FFF2-40B4-BE49-F238E27FC236}">
                            <a16:creationId xmlns:a16="http://schemas.microsoft.com/office/drawing/2014/main" id="{38DA2FAF-6166-4DF8-8FCA-E1CA50488E0A}"/>
                          </a:ext>
                        </a:extLst>
                      </p:cNvPr>
                      <p:cNvGrpSpPr/>
                      <p:nvPr/>
                    </p:nvGrpSpPr>
                    <p:grpSpPr>
                      <a:xfrm>
                        <a:off x="1720387" y="2004601"/>
                        <a:ext cx="291802" cy="107263"/>
                        <a:chOff x="1753391" y="2016187"/>
                        <a:chExt cx="353062" cy="105101"/>
                      </a:xfrm>
                      <a:solidFill>
                        <a:schemeClr val="accent6"/>
                      </a:solidFill>
                    </p:grpSpPr>
                    <p:sp>
                      <p:nvSpPr>
                        <p:cNvPr id="194" name="Freeform 53">
                          <a:extLst>
                            <a:ext uri="{FF2B5EF4-FFF2-40B4-BE49-F238E27FC236}">
                              <a16:creationId xmlns:a16="http://schemas.microsoft.com/office/drawing/2014/main" id="{9FB8BBD5-6617-4AF2-BB81-1E9D5CD7DAC0}"/>
                            </a:ext>
                          </a:extLst>
                        </p:cNvPr>
                        <p:cNvSpPr>
                          <a:spLocks/>
                        </p:cNvSpPr>
                        <p:nvPr/>
                      </p:nvSpPr>
                      <p:spPr bwMode="auto">
                        <a:xfrm>
                          <a:off x="1753391" y="2016187"/>
                          <a:ext cx="353062" cy="25807"/>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195" name="Freeform 54">
                          <a:extLst>
                            <a:ext uri="{FF2B5EF4-FFF2-40B4-BE49-F238E27FC236}">
                              <a16:creationId xmlns:a16="http://schemas.microsoft.com/office/drawing/2014/main" id="{B1842721-8029-488A-B2A5-BECF20572E34}"/>
                            </a:ext>
                          </a:extLst>
                        </p:cNvPr>
                        <p:cNvSpPr>
                          <a:spLocks/>
                        </p:cNvSpPr>
                        <p:nvPr/>
                      </p:nvSpPr>
                      <p:spPr bwMode="auto">
                        <a:xfrm>
                          <a:off x="1753391" y="2095479"/>
                          <a:ext cx="353062" cy="25809"/>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sp>
                  <p:nvSpPr>
                    <p:cNvPr id="191" name="Freeform 690">
                      <a:extLst>
                        <a:ext uri="{FF2B5EF4-FFF2-40B4-BE49-F238E27FC236}">
                          <a16:creationId xmlns:a16="http://schemas.microsoft.com/office/drawing/2014/main" id="{6A3BEAB1-D627-4F01-80D4-A343FB72B880}"/>
                        </a:ext>
                      </a:extLst>
                    </p:cNvPr>
                    <p:cNvSpPr>
                      <a:spLocks noChangeAspect="1"/>
                    </p:cNvSpPr>
                    <p:nvPr/>
                  </p:nvSpPr>
                  <p:spPr bwMode="auto">
                    <a:xfrm>
                      <a:off x="3520484" y="2282814"/>
                      <a:ext cx="465218" cy="443378"/>
                    </a:xfrm>
                    <a:custGeom>
                      <a:avLst/>
                      <a:gdLst>
                        <a:gd name="T0" fmla="*/ 83 w 90"/>
                        <a:gd name="T1" fmla="*/ 4 h 86"/>
                        <a:gd name="T2" fmla="*/ 83 w 90"/>
                        <a:gd name="T3" fmla="*/ 4 h 86"/>
                        <a:gd name="T4" fmla="*/ 66 w 90"/>
                        <a:gd name="T5" fmla="*/ 7 h 86"/>
                        <a:gd name="T6" fmla="*/ 37 w 90"/>
                        <a:gd name="T7" fmla="*/ 52 h 86"/>
                        <a:gd name="T8" fmla="*/ 25 w 90"/>
                        <a:gd name="T9" fmla="*/ 34 h 86"/>
                        <a:gd name="T10" fmla="*/ 8 w 90"/>
                        <a:gd name="T11" fmla="*/ 30 h 86"/>
                        <a:gd name="T12" fmla="*/ 4 w 90"/>
                        <a:gd name="T13" fmla="*/ 48 h 86"/>
                        <a:gd name="T14" fmla="*/ 26 w 90"/>
                        <a:gd name="T15" fmla="*/ 81 h 86"/>
                        <a:gd name="T16" fmla="*/ 31 w 90"/>
                        <a:gd name="T17" fmla="*/ 85 h 86"/>
                        <a:gd name="T18" fmla="*/ 36 w 90"/>
                        <a:gd name="T19" fmla="*/ 86 h 86"/>
                        <a:gd name="T20" fmla="*/ 36 w 90"/>
                        <a:gd name="T21" fmla="*/ 86 h 86"/>
                        <a:gd name="T22" fmla="*/ 36 w 90"/>
                        <a:gd name="T23" fmla="*/ 86 h 86"/>
                        <a:gd name="T24" fmla="*/ 37 w 90"/>
                        <a:gd name="T25" fmla="*/ 86 h 86"/>
                        <a:gd name="T26" fmla="*/ 37 w 90"/>
                        <a:gd name="T27" fmla="*/ 86 h 86"/>
                        <a:gd name="T28" fmla="*/ 37 w 90"/>
                        <a:gd name="T29" fmla="*/ 86 h 86"/>
                        <a:gd name="T30" fmla="*/ 37 w 90"/>
                        <a:gd name="T31" fmla="*/ 86 h 86"/>
                        <a:gd name="T32" fmla="*/ 42 w 90"/>
                        <a:gd name="T33" fmla="*/ 85 h 86"/>
                        <a:gd name="T34" fmla="*/ 47 w 90"/>
                        <a:gd name="T35" fmla="*/ 81 h 86"/>
                        <a:gd name="T36" fmla="*/ 87 w 90"/>
                        <a:gd name="T37" fmla="*/ 21 h 86"/>
                        <a:gd name="T38" fmla="*/ 83 w 90"/>
                        <a:gd name="T39"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6">
                          <a:moveTo>
                            <a:pt x="83" y="4"/>
                          </a:moveTo>
                          <a:cubicBezTo>
                            <a:pt x="83" y="4"/>
                            <a:pt x="83" y="4"/>
                            <a:pt x="83" y="4"/>
                          </a:cubicBezTo>
                          <a:cubicBezTo>
                            <a:pt x="78" y="0"/>
                            <a:pt x="70" y="2"/>
                            <a:pt x="66" y="7"/>
                          </a:cubicBezTo>
                          <a:cubicBezTo>
                            <a:pt x="37" y="52"/>
                            <a:pt x="37" y="52"/>
                            <a:pt x="37" y="52"/>
                          </a:cubicBezTo>
                          <a:cubicBezTo>
                            <a:pt x="25" y="34"/>
                            <a:pt x="25" y="34"/>
                            <a:pt x="25" y="34"/>
                          </a:cubicBezTo>
                          <a:cubicBezTo>
                            <a:pt x="21" y="28"/>
                            <a:pt x="13" y="27"/>
                            <a:pt x="8" y="30"/>
                          </a:cubicBezTo>
                          <a:cubicBezTo>
                            <a:pt x="2" y="34"/>
                            <a:pt x="0" y="42"/>
                            <a:pt x="4" y="48"/>
                          </a:cubicBezTo>
                          <a:cubicBezTo>
                            <a:pt x="26" y="81"/>
                            <a:pt x="26" y="81"/>
                            <a:pt x="26" y="81"/>
                          </a:cubicBezTo>
                          <a:cubicBezTo>
                            <a:pt x="27" y="83"/>
                            <a:pt x="29" y="84"/>
                            <a:pt x="31" y="85"/>
                          </a:cubicBezTo>
                          <a:cubicBezTo>
                            <a:pt x="33" y="86"/>
                            <a:pt x="34" y="86"/>
                            <a:pt x="36" y="86"/>
                          </a:cubicBezTo>
                          <a:cubicBezTo>
                            <a:pt x="36" y="86"/>
                            <a:pt x="36" y="86"/>
                            <a:pt x="36" y="86"/>
                          </a:cubicBezTo>
                          <a:cubicBezTo>
                            <a:pt x="36" y="86"/>
                            <a:pt x="36" y="86"/>
                            <a:pt x="36" y="86"/>
                          </a:cubicBezTo>
                          <a:cubicBezTo>
                            <a:pt x="37" y="86"/>
                            <a:pt x="37" y="86"/>
                            <a:pt x="37" y="86"/>
                          </a:cubicBezTo>
                          <a:cubicBezTo>
                            <a:pt x="37" y="86"/>
                            <a:pt x="37" y="86"/>
                            <a:pt x="37" y="86"/>
                          </a:cubicBezTo>
                          <a:cubicBezTo>
                            <a:pt x="37" y="86"/>
                            <a:pt x="37" y="86"/>
                            <a:pt x="37" y="86"/>
                          </a:cubicBezTo>
                          <a:cubicBezTo>
                            <a:pt x="37" y="86"/>
                            <a:pt x="37" y="86"/>
                            <a:pt x="37" y="86"/>
                          </a:cubicBezTo>
                          <a:cubicBezTo>
                            <a:pt x="39" y="86"/>
                            <a:pt x="40" y="86"/>
                            <a:pt x="42" y="85"/>
                          </a:cubicBezTo>
                          <a:cubicBezTo>
                            <a:pt x="44" y="84"/>
                            <a:pt x="46" y="83"/>
                            <a:pt x="47" y="81"/>
                          </a:cubicBezTo>
                          <a:cubicBezTo>
                            <a:pt x="87" y="21"/>
                            <a:pt x="87" y="21"/>
                            <a:pt x="87" y="21"/>
                          </a:cubicBezTo>
                          <a:cubicBezTo>
                            <a:pt x="90" y="15"/>
                            <a:pt x="89" y="8"/>
                            <a:pt x="83" y="4"/>
                          </a:cubicBezTo>
                        </a:path>
                      </a:pathLst>
                    </a:custGeom>
                    <a:solidFill>
                      <a:schemeClr val="accent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sp>
              <p:nvSpPr>
                <p:cNvPr id="233" name="Freeform: Shape 232">
                  <a:extLst>
                    <a:ext uri="{FF2B5EF4-FFF2-40B4-BE49-F238E27FC236}">
                      <a16:creationId xmlns:a16="http://schemas.microsoft.com/office/drawing/2014/main" id="{8F527D87-0D97-4450-BDD7-FE0C33760740}"/>
                    </a:ext>
                  </a:extLst>
                </p:cNvPr>
                <p:cNvSpPr/>
                <p:nvPr/>
              </p:nvSpPr>
              <p:spPr>
                <a:xfrm>
                  <a:off x="3055339" y="2071192"/>
                  <a:ext cx="214589" cy="622056"/>
                </a:xfrm>
                <a:custGeom>
                  <a:avLst/>
                  <a:gdLst>
                    <a:gd name="connsiteX0" fmla="*/ 0 w 235880"/>
                    <a:gd name="connsiteY0" fmla="*/ 454287 h 856158"/>
                    <a:gd name="connsiteX1" fmla="*/ 235880 w 235880"/>
                    <a:gd name="connsiteY1" fmla="*/ 0 h 856158"/>
                    <a:gd name="connsiteX2" fmla="*/ 227144 w 235880"/>
                    <a:gd name="connsiteY2" fmla="*/ 856158 h 856158"/>
                    <a:gd name="connsiteX3" fmla="*/ 0 w 235880"/>
                    <a:gd name="connsiteY3" fmla="*/ 454287 h 856158"/>
                    <a:gd name="connsiteX0" fmla="*/ 0 w 238792"/>
                    <a:gd name="connsiteY0" fmla="*/ 474672 h 856158"/>
                    <a:gd name="connsiteX1" fmla="*/ 238792 w 238792"/>
                    <a:gd name="connsiteY1" fmla="*/ 0 h 856158"/>
                    <a:gd name="connsiteX2" fmla="*/ 230056 w 238792"/>
                    <a:gd name="connsiteY2" fmla="*/ 856158 h 856158"/>
                    <a:gd name="connsiteX3" fmla="*/ 0 w 238792"/>
                    <a:gd name="connsiteY3" fmla="*/ 474672 h 856158"/>
                    <a:gd name="connsiteX0" fmla="*/ 0 w 230056"/>
                    <a:gd name="connsiteY0" fmla="*/ 474672 h 856158"/>
                    <a:gd name="connsiteX1" fmla="*/ 230056 w 230056"/>
                    <a:gd name="connsiteY1" fmla="*/ 0 h 856158"/>
                    <a:gd name="connsiteX2" fmla="*/ 230056 w 230056"/>
                    <a:gd name="connsiteY2" fmla="*/ 856158 h 856158"/>
                    <a:gd name="connsiteX3" fmla="*/ 0 w 230056"/>
                    <a:gd name="connsiteY3" fmla="*/ 474672 h 856158"/>
                  </a:gdLst>
                  <a:ahLst/>
                  <a:cxnLst>
                    <a:cxn ang="0">
                      <a:pos x="connsiteX0" y="connsiteY0"/>
                    </a:cxn>
                    <a:cxn ang="0">
                      <a:pos x="connsiteX1" y="connsiteY1"/>
                    </a:cxn>
                    <a:cxn ang="0">
                      <a:pos x="connsiteX2" y="connsiteY2"/>
                    </a:cxn>
                    <a:cxn ang="0">
                      <a:pos x="connsiteX3" y="connsiteY3"/>
                    </a:cxn>
                  </a:cxnLst>
                  <a:rect l="l" t="t" r="r" b="b"/>
                  <a:pathLst>
                    <a:path w="230056" h="856158">
                      <a:moveTo>
                        <a:pt x="0" y="474672"/>
                      </a:moveTo>
                      <a:lnTo>
                        <a:pt x="230056" y="0"/>
                      </a:lnTo>
                      <a:lnTo>
                        <a:pt x="230056" y="856158"/>
                      </a:lnTo>
                      <a:lnTo>
                        <a:pt x="0" y="474672"/>
                      </a:lnTo>
                      <a:close/>
                    </a:path>
                  </a:pathLst>
                </a:cu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grpSp>
        </p:grpSp>
        <p:grpSp>
          <p:nvGrpSpPr>
            <p:cNvPr id="152" name="Group 151">
              <a:extLst>
                <a:ext uri="{FF2B5EF4-FFF2-40B4-BE49-F238E27FC236}">
                  <a16:creationId xmlns:a16="http://schemas.microsoft.com/office/drawing/2014/main" id="{0A947F32-CB8E-467C-B6E7-9897BDC55E0D}"/>
                </a:ext>
              </a:extLst>
            </p:cNvPr>
            <p:cNvGrpSpPr/>
            <p:nvPr/>
          </p:nvGrpSpPr>
          <p:grpSpPr>
            <a:xfrm>
              <a:off x="4402644" y="2493124"/>
              <a:ext cx="353122" cy="353122"/>
              <a:chOff x="513404" y="1200395"/>
              <a:chExt cx="470005" cy="470005"/>
            </a:xfrm>
          </p:grpSpPr>
          <p:sp>
            <p:nvSpPr>
              <p:cNvPr id="153" name="Oval 152">
                <a:extLst>
                  <a:ext uri="{FF2B5EF4-FFF2-40B4-BE49-F238E27FC236}">
                    <a16:creationId xmlns:a16="http://schemas.microsoft.com/office/drawing/2014/main" id="{595966C5-D6F2-4258-A809-A6D4BE92104C}"/>
                  </a:ext>
                </a:extLst>
              </p:cNvPr>
              <p:cNvSpPr/>
              <p:nvPr/>
            </p:nvSpPr>
            <p:spPr>
              <a:xfrm>
                <a:off x="513404" y="1200395"/>
                <a:ext cx="470005" cy="470005"/>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154" name="Freeform: Shape 153">
                <a:extLst>
                  <a:ext uri="{FF2B5EF4-FFF2-40B4-BE49-F238E27FC236}">
                    <a16:creationId xmlns:a16="http://schemas.microsoft.com/office/drawing/2014/main" id="{723A1C1B-DF33-4EDB-AB0A-9A39BA844B41}"/>
                  </a:ext>
                </a:extLst>
              </p:cNvPr>
              <p:cNvSpPr/>
              <p:nvPr/>
            </p:nvSpPr>
            <p:spPr>
              <a:xfrm>
                <a:off x="513404" y="1394443"/>
                <a:ext cx="361341" cy="80316"/>
              </a:xfrm>
              <a:custGeom>
                <a:avLst/>
                <a:gdLst>
                  <a:gd name="connsiteX0" fmla="*/ 4128 w 361341"/>
                  <a:gd name="connsiteY0" fmla="*/ 0 h 80316"/>
                  <a:gd name="connsiteX1" fmla="*/ 321183 w 361341"/>
                  <a:gd name="connsiteY1" fmla="*/ 0 h 80316"/>
                  <a:gd name="connsiteX2" fmla="*/ 361341 w 361341"/>
                  <a:gd name="connsiteY2" fmla="*/ 40158 h 80316"/>
                  <a:gd name="connsiteX3" fmla="*/ 361340 w 361341"/>
                  <a:gd name="connsiteY3" fmla="*/ 40158 h 80316"/>
                  <a:gd name="connsiteX4" fmla="*/ 321182 w 361341"/>
                  <a:gd name="connsiteY4" fmla="*/ 80316 h 80316"/>
                  <a:gd name="connsiteX5" fmla="*/ 3968 w 361341"/>
                  <a:gd name="connsiteY5" fmla="*/ 80315 h 80316"/>
                  <a:gd name="connsiteX6" fmla="*/ 0 w 361341"/>
                  <a:gd name="connsiteY6" fmla="*/ 40954 h 80316"/>
                  <a:gd name="connsiteX7" fmla="*/ 4128 w 361341"/>
                  <a:gd name="connsiteY7" fmla="*/ 0 h 8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1341" h="80316">
                    <a:moveTo>
                      <a:pt x="4128" y="0"/>
                    </a:moveTo>
                    <a:lnTo>
                      <a:pt x="321183" y="0"/>
                    </a:lnTo>
                    <a:cubicBezTo>
                      <a:pt x="343362" y="0"/>
                      <a:pt x="361341" y="17979"/>
                      <a:pt x="361341" y="40158"/>
                    </a:cubicBezTo>
                    <a:lnTo>
                      <a:pt x="361340" y="40158"/>
                    </a:lnTo>
                    <a:cubicBezTo>
                      <a:pt x="361340" y="62337"/>
                      <a:pt x="343361" y="80316"/>
                      <a:pt x="321182" y="80316"/>
                    </a:cubicBezTo>
                    <a:lnTo>
                      <a:pt x="3968" y="80315"/>
                    </a:lnTo>
                    <a:lnTo>
                      <a:pt x="0" y="40954"/>
                    </a:lnTo>
                    <a:lnTo>
                      <a:pt x="4128" y="0"/>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155" name="Freeform 62">
                <a:extLst>
                  <a:ext uri="{FF2B5EF4-FFF2-40B4-BE49-F238E27FC236}">
                    <a16:creationId xmlns:a16="http://schemas.microsoft.com/office/drawing/2014/main" id="{EEFD9ABB-8730-4000-AAFA-D2F94903B3F3}"/>
                  </a:ext>
                </a:extLst>
              </p:cNvPr>
              <p:cNvSpPr>
                <a:spLocks/>
              </p:cNvSpPr>
              <p:nvPr/>
            </p:nvSpPr>
            <p:spPr bwMode="auto">
              <a:xfrm>
                <a:off x="688230" y="1291434"/>
                <a:ext cx="172200" cy="118503"/>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6" name="Freeform 63">
                <a:extLst>
                  <a:ext uri="{FF2B5EF4-FFF2-40B4-BE49-F238E27FC236}">
                    <a16:creationId xmlns:a16="http://schemas.microsoft.com/office/drawing/2014/main" id="{2D2D9A2C-BF4D-4B70-A827-9217ABD074A0}"/>
                  </a:ext>
                </a:extLst>
              </p:cNvPr>
              <p:cNvSpPr>
                <a:spLocks noEditPoints="1"/>
              </p:cNvSpPr>
              <p:nvPr/>
            </p:nvSpPr>
            <p:spPr bwMode="auto">
              <a:xfrm>
                <a:off x="748407" y="1399753"/>
                <a:ext cx="112023" cy="35181"/>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7" name="Freeform 64">
                <a:extLst>
                  <a:ext uri="{FF2B5EF4-FFF2-40B4-BE49-F238E27FC236}">
                    <a16:creationId xmlns:a16="http://schemas.microsoft.com/office/drawing/2014/main" id="{A709F8E9-11A0-4F54-B2D1-F0F0864787F6}"/>
                  </a:ext>
                </a:extLst>
              </p:cNvPr>
              <p:cNvSpPr>
                <a:spLocks/>
              </p:cNvSpPr>
              <p:nvPr/>
            </p:nvSpPr>
            <p:spPr bwMode="auto">
              <a:xfrm>
                <a:off x="688230" y="1460857"/>
                <a:ext cx="172200" cy="118503"/>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8" name="Freeform 65">
                <a:extLst>
                  <a:ext uri="{FF2B5EF4-FFF2-40B4-BE49-F238E27FC236}">
                    <a16:creationId xmlns:a16="http://schemas.microsoft.com/office/drawing/2014/main" id="{B11F7CF0-D95B-4621-B79D-BD158595B7CB}"/>
                  </a:ext>
                </a:extLst>
              </p:cNvPr>
              <p:cNvSpPr>
                <a:spLocks noEditPoints="1"/>
              </p:cNvSpPr>
              <p:nvPr/>
            </p:nvSpPr>
            <p:spPr bwMode="auto">
              <a:xfrm>
                <a:off x="748407" y="1434934"/>
                <a:ext cx="112023" cy="36106"/>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9" name="Freeform 66">
                <a:extLst>
                  <a:ext uri="{FF2B5EF4-FFF2-40B4-BE49-F238E27FC236}">
                    <a16:creationId xmlns:a16="http://schemas.microsoft.com/office/drawing/2014/main" id="{972F715C-4303-4DB2-A945-B108679AECE2}"/>
                  </a:ext>
                </a:extLst>
              </p:cNvPr>
              <p:cNvSpPr>
                <a:spLocks noEditPoints="1"/>
              </p:cNvSpPr>
              <p:nvPr/>
            </p:nvSpPr>
            <p:spPr bwMode="auto">
              <a:xfrm>
                <a:off x="834507" y="1399753"/>
                <a:ext cx="34255" cy="7128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0" name="Freeform 67">
                <a:extLst>
                  <a:ext uri="{FF2B5EF4-FFF2-40B4-BE49-F238E27FC236}">
                    <a16:creationId xmlns:a16="http://schemas.microsoft.com/office/drawing/2014/main" id="{FA1B1478-1FD6-4A39-93E9-EF5DADD698FD}"/>
                  </a:ext>
                </a:extLst>
              </p:cNvPr>
              <p:cNvSpPr>
                <a:spLocks/>
              </p:cNvSpPr>
              <p:nvPr/>
            </p:nvSpPr>
            <p:spPr bwMode="auto">
              <a:xfrm>
                <a:off x="784976" y="1399753"/>
                <a:ext cx="87952" cy="7128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0066C5"/>
              </a:solidFill>
              <a:ln>
                <a:solidFill>
                  <a:srgbClr val="0066C5"/>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grpSp>
        <p:nvGrpSpPr>
          <p:cNvPr id="134" name="Group 133">
            <a:extLst>
              <a:ext uri="{FF2B5EF4-FFF2-40B4-BE49-F238E27FC236}">
                <a16:creationId xmlns:a16="http://schemas.microsoft.com/office/drawing/2014/main" id="{AD3BDCBC-B33A-4E6A-B136-1DDBC3D374C0}"/>
              </a:ext>
            </a:extLst>
          </p:cNvPr>
          <p:cNvGrpSpPr/>
          <p:nvPr/>
        </p:nvGrpSpPr>
        <p:grpSpPr>
          <a:xfrm>
            <a:off x="3149427" y="3502847"/>
            <a:ext cx="470829" cy="470829"/>
            <a:chOff x="513404" y="1200395"/>
            <a:chExt cx="470005" cy="470005"/>
          </a:xfrm>
        </p:grpSpPr>
        <p:sp>
          <p:nvSpPr>
            <p:cNvPr id="135" name="Oval 134">
              <a:extLst>
                <a:ext uri="{FF2B5EF4-FFF2-40B4-BE49-F238E27FC236}">
                  <a16:creationId xmlns:a16="http://schemas.microsoft.com/office/drawing/2014/main" id="{6001D077-B556-4571-9EBA-76343F3D22F0}"/>
                </a:ext>
              </a:extLst>
            </p:cNvPr>
            <p:cNvSpPr/>
            <p:nvPr/>
          </p:nvSpPr>
          <p:spPr>
            <a:xfrm>
              <a:off x="513404" y="1200395"/>
              <a:ext cx="470005" cy="470005"/>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136" name="Freeform: Shape 135">
              <a:extLst>
                <a:ext uri="{FF2B5EF4-FFF2-40B4-BE49-F238E27FC236}">
                  <a16:creationId xmlns:a16="http://schemas.microsoft.com/office/drawing/2014/main" id="{2349D423-B691-4B98-9FBC-7C06B8E85A30}"/>
                </a:ext>
              </a:extLst>
            </p:cNvPr>
            <p:cNvSpPr/>
            <p:nvPr/>
          </p:nvSpPr>
          <p:spPr>
            <a:xfrm>
              <a:off x="513404" y="1394443"/>
              <a:ext cx="361341" cy="80316"/>
            </a:xfrm>
            <a:custGeom>
              <a:avLst/>
              <a:gdLst>
                <a:gd name="connsiteX0" fmla="*/ 4128 w 361341"/>
                <a:gd name="connsiteY0" fmla="*/ 0 h 80316"/>
                <a:gd name="connsiteX1" fmla="*/ 321183 w 361341"/>
                <a:gd name="connsiteY1" fmla="*/ 0 h 80316"/>
                <a:gd name="connsiteX2" fmla="*/ 361341 w 361341"/>
                <a:gd name="connsiteY2" fmla="*/ 40158 h 80316"/>
                <a:gd name="connsiteX3" fmla="*/ 361340 w 361341"/>
                <a:gd name="connsiteY3" fmla="*/ 40158 h 80316"/>
                <a:gd name="connsiteX4" fmla="*/ 321182 w 361341"/>
                <a:gd name="connsiteY4" fmla="*/ 80316 h 80316"/>
                <a:gd name="connsiteX5" fmla="*/ 3968 w 361341"/>
                <a:gd name="connsiteY5" fmla="*/ 80315 h 80316"/>
                <a:gd name="connsiteX6" fmla="*/ 0 w 361341"/>
                <a:gd name="connsiteY6" fmla="*/ 40954 h 80316"/>
                <a:gd name="connsiteX7" fmla="*/ 4128 w 361341"/>
                <a:gd name="connsiteY7" fmla="*/ 0 h 8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1341" h="80316">
                  <a:moveTo>
                    <a:pt x="4128" y="0"/>
                  </a:moveTo>
                  <a:lnTo>
                    <a:pt x="321183" y="0"/>
                  </a:lnTo>
                  <a:cubicBezTo>
                    <a:pt x="343362" y="0"/>
                    <a:pt x="361341" y="17979"/>
                    <a:pt x="361341" y="40158"/>
                  </a:cubicBezTo>
                  <a:lnTo>
                    <a:pt x="361340" y="40158"/>
                  </a:lnTo>
                  <a:cubicBezTo>
                    <a:pt x="361340" y="62337"/>
                    <a:pt x="343361" y="80316"/>
                    <a:pt x="321182" y="80316"/>
                  </a:cubicBezTo>
                  <a:lnTo>
                    <a:pt x="3968" y="80315"/>
                  </a:lnTo>
                  <a:lnTo>
                    <a:pt x="0" y="40954"/>
                  </a:lnTo>
                  <a:lnTo>
                    <a:pt x="4128" y="0"/>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137" name="Freeform 62">
              <a:extLst>
                <a:ext uri="{FF2B5EF4-FFF2-40B4-BE49-F238E27FC236}">
                  <a16:creationId xmlns:a16="http://schemas.microsoft.com/office/drawing/2014/main" id="{945A2CF6-790A-4029-8C1F-DDF7D5B8C8B4}"/>
                </a:ext>
              </a:extLst>
            </p:cNvPr>
            <p:cNvSpPr>
              <a:spLocks/>
            </p:cNvSpPr>
            <p:nvPr/>
          </p:nvSpPr>
          <p:spPr bwMode="auto">
            <a:xfrm>
              <a:off x="688230" y="1291434"/>
              <a:ext cx="172200" cy="118503"/>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8" name="Freeform 63">
              <a:extLst>
                <a:ext uri="{FF2B5EF4-FFF2-40B4-BE49-F238E27FC236}">
                  <a16:creationId xmlns:a16="http://schemas.microsoft.com/office/drawing/2014/main" id="{727F666D-6F23-4325-8A38-FD5F56B75101}"/>
                </a:ext>
              </a:extLst>
            </p:cNvPr>
            <p:cNvSpPr>
              <a:spLocks noEditPoints="1"/>
            </p:cNvSpPr>
            <p:nvPr/>
          </p:nvSpPr>
          <p:spPr bwMode="auto">
            <a:xfrm>
              <a:off x="748407" y="1399753"/>
              <a:ext cx="112023" cy="35181"/>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9" name="Freeform 64">
              <a:extLst>
                <a:ext uri="{FF2B5EF4-FFF2-40B4-BE49-F238E27FC236}">
                  <a16:creationId xmlns:a16="http://schemas.microsoft.com/office/drawing/2014/main" id="{2032C276-8417-4417-90A0-0C3851AD31E8}"/>
                </a:ext>
              </a:extLst>
            </p:cNvPr>
            <p:cNvSpPr>
              <a:spLocks/>
            </p:cNvSpPr>
            <p:nvPr/>
          </p:nvSpPr>
          <p:spPr bwMode="auto">
            <a:xfrm>
              <a:off x="688230" y="1460857"/>
              <a:ext cx="172200" cy="118503"/>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0" name="Freeform 65">
              <a:extLst>
                <a:ext uri="{FF2B5EF4-FFF2-40B4-BE49-F238E27FC236}">
                  <a16:creationId xmlns:a16="http://schemas.microsoft.com/office/drawing/2014/main" id="{F179938F-F873-4B43-A168-0CD22CF2CF08}"/>
                </a:ext>
              </a:extLst>
            </p:cNvPr>
            <p:cNvSpPr>
              <a:spLocks noEditPoints="1"/>
            </p:cNvSpPr>
            <p:nvPr/>
          </p:nvSpPr>
          <p:spPr bwMode="auto">
            <a:xfrm>
              <a:off x="748407" y="1434934"/>
              <a:ext cx="112023" cy="36106"/>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1" name="Freeform 66">
              <a:extLst>
                <a:ext uri="{FF2B5EF4-FFF2-40B4-BE49-F238E27FC236}">
                  <a16:creationId xmlns:a16="http://schemas.microsoft.com/office/drawing/2014/main" id="{CD4637A4-A96D-4268-8B5F-41AF8FD8B101}"/>
                </a:ext>
              </a:extLst>
            </p:cNvPr>
            <p:cNvSpPr>
              <a:spLocks noEditPoints="1"/>
            </p:cNvSpPr>
            <p:nvPr/>
          </p:nvSpPr>
          <p:spPr bwMode="auto">
            <a:xfrm>
              <a:off x="834507" y="1399753"/>
              <a:ext cx="34255" cy="7128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2" name="Freeform 67">
              <a:extLst>
                <a:ext uri="{FF2B5EF4-FFF2-40B4-BE49-F238E27FC236}">
                  <a16:creationId xmlns:a16="http://schemas.microsoft.com/office/drawing/2014/main" id="{12C1B29D-18E1-4152-93F5-8DF122B3F3EA}"/>
                </a:ext>
              </a:extLst>
            </p:cNvPr>
            <p:cNvSpPr>
              <a:spLocks/>
            </p:cNvSpPr>
            <p:nvPr/>
          </p:nvSpPr>
          <p:spPr bwMode="auto">
            <a:xfrm>
              <a:off x="784976" y="1399753"/>
              <a:ext cx="87952" cy="7128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0066C5"/>
            </a:solidFill>
            <a:ln>
              <a:solidFill>
                <a:srgbClr val="0066C5"/>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spTree>
    <p:extLst>
      <p:ext uri="{BB962C8B-B14F-4D97-AF65-F5344CB8AC3E}">
        <p14:creationId xmlns:p14="http://schemas.microsoft.com/office/powerpoint/2010/main" val="65680398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left)">
                                      <p:cBhvr>
                                        <p:cTn id="17" dur="5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left)">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malware_samples_dk.eps">
            <a:extLst>
              <a:ext uri="{FF2B5EF4-FFF2-40B4-BE49-F238E27FC236}">
                <a16:creationId xmlns:a16="http://schemas.microsoft.com/office/drawing/2014/main" id="{E72E6314-6B98-1F47-A169-AFD283B784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2044" y="1978831"/>
            <a:ext cx="8586045" cy="8586045"/>
          </a:xfrm>
          <a:prstGeom prst="rect">
            <a:avLst/>
          </a:prstGeom>
        </p:spPr>
      </p:pic>
      <p:sp>
        <p:nvSpPr>
          <p:cNvPr id="13" name="Title 1">
            <a:extLst>
              <a:ext uri="{FF2B5EF4-FFF2-40B4-BE49-F238E27FC236}">
                <a16:creationId xmlns:a16="http://schemas.microsoft.com/office/drawing/2014/main" id="{1B35117F-4704-6341-B16B-8924D8743D70}"/>
              </a:ext>
            </a:extLst>
          </p:cNvPr>
          <p:cNvSpPr txBox="1">
            <a:spLocks/>
          </p:cNvSpPr>
          <p:nvPr/>
        </p:nvSpPr>
        <p:spPr bwMode="auto">
          <a:xfrm>
            <a:off x="583689" y="608025"/>
            <a:ext cx="10868084"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9" tIns="60949" rIns="121899" bIns="60949"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kern="120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defTabSz="912261">
              <a:defRPr/>
            </a:pPr>
            <a:r>
              <a:rPr lang="en-US" sz="3733">
                <a:solidFill>
                  <a:srgbClr val="005073"/>
                </a:solidFill>
                <a:latin typeface="CiscoSansTT ExtraLight"/>
                <a:sym typeface="Arial"/>
              </a:rPr>
              <a:t>Integrate reliable external threat intelligence</a:t>
            </a:r>
          </a:p>
          <a:p>
            <a:pPr algn="ctr" defTabSz="912261">
              <a:defRPr/>
            </a:pPr>
            <a:r>
              <a:rPr lang="en-US" sz="2400">
                <a:solidFill>
                  <a:srgbClr val="00BCEB"/>
                </a:solidFill>
                <a:latin typeface="CiscoSansTT ExtraLight"/>
                <a:sym typeface="Arial"/>
              </a:rPr>
              <a:t>Analyze and research global threat activity</a:t>
            </a:r>
          </a:p>
        </p:txBody>
      </p:sp>
      <p:pic>
        <p:nvPicPr>
          <p:cNvPr id="26" name="Picture 25">
            <a:extLst>
              <a:ext uri="{FF2B5EF4-FFF2-40B4-BE49-F238E27FC236}">
                <a16:creationId xmlns:a16="http://schemas.microsoft.com/office/drawing/2014/main" id="{76C24FC9-03AA-0F4B-A452-5C802F9D112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8843" y="4699717"/>
            <a:ext cx="3144272" cy="3144272"/>
          </a:xfrm>
          <a:prstGeom prst="rect">
            <a:avLst/>
          </a:prstGeom>
        </p:spPr>
      </p:pic>
      <p:pic>
        <p:nvPicPr>
          <p:cNvPr id="27" name="Picture 26">
            <a:extLst>
              <a:ext uri="{FF2B5EF4-FFF2-40B4-BE49-F238E27FC236}">
                <a16:creationId xmlns:a16="http://schemas.microsoft.com/office/drawing/2014/main" id="{EC60D1D8-9432-DD49-B6E5-CBF3664F91FE}"/>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77167" y="2342528"/>
            <a:ext cx="460485" cy="460485"/>
          </a:xfrm>
          <a:prstGeom prst="rect">
            <a:avLst/>
          </a:prstGeom>
        </p:spPr>
      </p:pic>
      <p:pic>
        <p:nvPicPr>
          <p:cNvPr id="28" name="Picture 27">
            <a:extLst>
              <a:ext uri="{FF2B5EF4-FFF2-40B4-BE49-F238E27FC236}">
                <a16:creationId xmlns:a16="http://schemas.microsoft.com/office/drawing/2014/main" id="{794D92E3-98F6-4D49-8C38-C4E51B2C7A4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73168" y="2100884"/>
            <a:ext cx="460485" cy="460485"/>
          </a:xfrm>
          <a:prstGeom prst="rect">
            <a:avLst/>
          </a:prstGeom>
        </p:spPr>
      </p:pic>
      <p:pic>
        <p:nvPicPr>
          <p:cNvPr id="29" name="Picture 28">
            <a:extLst>
              <a:ext uri="{FF2B5EF4-FFF2-40B4-BE49-F238E27FC236}">
                <a16:creationId xmlns:a16="http://schemas.microsoft.com/office/drawing/2014/main" id="{A65B3636-8837-E943-BE2C-7C8F27EE34EF}"/>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78423" y="1958095"/>
            <a:ext cx="460485" cy="460485"/>
          </a:xfrm>
          <a:prstGeom prst="rect">
            <a:avLst/>
          </a:prstGeom>
        </p:spPr>
      </p:pic>
      <p:pic>
        <p:nvPicPr>
          <p:cNvPr id="30" name="Picture 29">
            <a:extLst>
              <a:ext uri="{FF2B5EF4-FFF2-40B4-BE49-F238E27FC236}">
                <a16:creationId xmlns:a16="http://schemas.microsoft.com/office/drawing/2014/main" id="{F01346D6-75D2-E24A-9554-3B60BDF9521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405644" y="1881208"/>
            <a:ext cx="460485" cy="460485"/>
          </a:xfrm>
          <a:prstGeom prst="rect">
            <a:avLst/>
          </a:prstGeom>
        </p:spPr>
      </p:pic>
      <p:pic>
        <p:nvPicPr>
          <p:cNvPr id="31" name="Picture 30">
            <a:extLst>
              <a:ext uri="{FF2B5EF4-FFF2-40B4-BE49-F238E27FC236}">
                <a16:creationId xmlns:a16="http://schemas.microsoft.com/office/drawing/2014/main" id="{075F1981-7108-C149-B32B-D7634F5F6692}"/>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932867" y="1881208"/>
            <a:ext cx="460485" cy="460485"/>
          </a:xfrm>
          <a:prstGeom prst="rect">
            <a:avLst/>
          </a:prstGeom>
        </p:spPr>
      </p:pic>
      <p:pic>
        <p:nvPicPr>
          <p:cNvPr id="32" name="Picture 31">
            <a:extLst>
              <a:ext uri="{FF2B5EF4-FFF2-40B4-BE49-F238E27FC236}">
                <a16:creationId xmlns:a16="http://schemas.microsoft.com/office/drawing/2014/main" id="{C3ADFDA6-3BBC-284B-B688-E40AF7F8972E}"/>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460088" y="1936127"/>
            <a:ext cx="460485" cy="460485"/>
          </a:xfrm>
          <a:prstGeom prst="rect">
            <a:avLst/>
          </a:prstGeom>
        </p:spPr>
      </p:pic>
      <p:pic>
        <p:nvPicPr>
          <p:cNvPr id="33" name="Picture 32">
            <a:extLst>
              <a:ext uri="{FF2B5EF4-FFF2-40B4-BE49-F238E27FC236}">
                <a16:creationId xmlns:a16="http://schemas.microsoft.com/office/drawing/2014/main" id="{E33BBAF7-6722-E246-8568-668800D3173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976326" y="2067932"/>
            <a:ext cx="460485" cy="460485"/>
          </a:xfrm>
          <a:prstGeom prst="rect">
            <a:avLst/>
          </a:prstGeom>
        </p:spPr>
      </p:pic>
      <p:pic>
        <p:nvPicPr>
          <p:cNvPr id="34" name="Picture 33">
            <a:extLst>
              <a:ext uri="{FF2B5EF4-FFF2-40B4-BE49-F238E27FC236}">
                <a16:creationId xmlns:a16="http://schemas.microsoft.com/office/drawing/2014/main" id="{D4A2D3DF-E15E-CF47-A7C3-DC214672D66F}"/>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448628" y="2276624"/>
            <a:ext cx="460485" cy="460485"/>
          </a:xfrm>
          <a:prstGeom prst="rect">
            <a:avLst/>
          </a:prstGeom>
        </p:spPr>
      </p:pic>
      <p:pic>
        <p:nvPicPr>
          <p:cNvPr id="35" name="Picture 34">
            <a:extLst>
              <a:ext uri="{FF2B5EF4-FFF2-40B4-BE49-F238E27FC236}">
                <a16:creationId xmlns:a16="http://schemas.microsoft.com/office/drawing/2014/main" id="{8580CCE4-F025-DC45-B460-B88DB4DD6C8D}"/>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920931" y="2529251"/>
            <a:ext cx="460485" cy="460485"/>
          </a:xfrm>
          <a:prstGeom prst="rect">
            <a:avLst/>
          </a:prstGeom>
        </p:spPr>
      </p:pic>
      <p:pic>
        <p:nvPicPr>
          <p:cNvPr id="36" name="Picture 35">
            <a:extLst>
              <a:ext uri="{FF2B5EF4-FFF2-40B4-BE49-F238E27FC236}">
                <a16:creationId xmlns:a16="http://schemas.microsoft.com/office/drawing/2014/main" id="{28BD102B-7A5C-854F-9F8C-5EA78F69C55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316347" y="2825814"/>
            <a:ext cx="460485" cy="460485"/>
          </a:xfrm>
          <a:prstGeom prst="rect">
            <a:avLst/>
          </a:prstGeom>
        </p:spPr>
      </p:pic>
      <p:pic>
        <p:nvPicPr>
          <p:cNvPr id="37" name="Picture 36">
            <a:extLst>
              <a:ext uri="{FF2B5EF4-FFF2-40B4-BE49-F238E27FC236}">
                <a16:creationId xmlns:a16="http://schemas.microsoft.com/office/drawing/2014/main" id="{DB182984-8228-6B4D-8573-D6549ED7E57B}"/>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711763" y="3155327"/>
            <a:ext cx="460485" cy="460485"/>
          </a:xfrm>
          <a:prstGeom prst="rect">
            <a:avLst/>
          </a:prstGeom>
        </p:spPr>
      </p:pic>
      <p:pic>
        <p:nvPicPr>
          <p:cNvPr id="38" name="Picture 37">
            <a:extLst>
              <a:ext uri="{FF2B5EF4-FFF2-40B4-BE49-F238E27FC236}">
                <a16:creationId xmlns:a16="http://schemas.microsoft.com/office/drawing/2014/main" id="{ACA8F9DA-A2D0-1846-BBC6-322A713C0B9B}"/>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041278" y="3561727"/>
            <a:ext cx="460485" cy="460485"/>
          </a:xfrm>
          <a:prstGeom prst="rect">
            <a:avLst/>
          </a:prstGeom>
        </p:spPr>
      </p:pic>
      <p:pic>
        <p:nvPicPr>
          <p:cNvPr id="39" name="Picture 38">
            <a:extLst>
              <a:ext uri="{FF2B5EF4-FFF2-40B4-BE49-F238E27FC236}">
                <a16:creationId xmlns:a16="http://schemas.microsoft.com/office/drawing/2014/main" id="{882D7796-5694-654F-8A04-23BA9BBB2B3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315871" y="4001078"/>
            <a:ext cx="460485" cy="460485"/>
          </a:xfrm>
          <a:prstGeom prst="rect">
            <a:avLst/>
          </a:prstGeom>
        </p:spPr>
      </p:pic>
      <p:pic>
        <p:nvPicPr>
          <p:cNvPr id="40" name="Picture 39">
            <a:extLst>
              <a:ext uri="{FF2B5EF4-FFF2-40B4-BE49-F238E27FC236}">
                <a16:creationId xmlns:a16="http://schemas.microsoft.com/office/drawing/2014/main" id="{47867022-48BE-C441-9B96-F57C78EAACE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579482" y="4495348"/>
            <a:ext cx="460485" cy="460485"/>
          </a:xfrm>
          <a:prstGeom prst="rect">
            <a:avLst/>
          </a:prstGeom>
        </p:spPr>
      </p:pic>
      <p:pic>
        <p:nvPicPr>
          <p:cNvPr id="41" name="Picture 40">
            <a:extLst>
              <a:ext uri="{FF2B5EF4-FFF2-40B4-BE49-F238E27FC236}">
                <a16:creationId xmlns:a16="http://schemas.microsoft.com/office/drawing/2014/main" id="{C1743024-1DFD-DE4E-875A-AEEF41B123B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722271" y="4967651"/>
            <a:ext cx="460485" cy="460485"/>
          </a:xfrm>
          <a:prstGeom prst="rect">
            <a:avLst/>
          </a:prstGeom>
        </p:spPr>
      </p:pic>
      <p:pic>
        <p:nvPicPr>
          <p:cNvPr id="42" name="Picture 41">
            <a:extLst>
              <a:ext uri="{FF2B5EF4-FFF2-40B4-BE49-F238E27FC236}">
                <a16:creationId xmlns:a16="http://schemas.microsoft.com/office/drawing/2014/main" id="{CE33F660-9673-5F4F-995B-DD49E926B04C}"/>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821124" y="5472904"/>
            <a:ext cx="460485" cy="460485"/>
          </a:xfrm>
          <a:prstGeom prst="rect">
            <a:avLst/>
          </a:prstGeom>
        </p:spPr>
      </p:pic>
      <p:pic>
        <p:nvPicPr>
          <p:cNvPr id="43" name="Picture 42">
            <a:extLst>
              <a:ext uri="{FF2B5EF4-FFF2-40B4-BE49-F238E27FC236}">
                <a16:creationId xmlns:a16="http://schemas.microsoft.com/office/drawing/2014/main" id="{922A7121-0314-8B4E-B9C0-2BC7851C355B}"/>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876043" y="6022094"/>
            <a:ext cx="460485" cy="460485"/>
          </a:xfrm>
          <a:prstGeom prst="rect">
            <a:avLst/>
          </a:prstGeom>
        </p:spPr>
      </p:pic>
      <p:pic>
        <p:nvPicPr>
          <p:cNvPr id="44" name="Picture 43">
            <a:extLst>
              <a:ext uri="{FF2B5EF4-FFF2-40B4-BE49-F238E27FC236}">
                <a16:creationId xmlns:a16="http://schemas.microsoft.com/office/drawing/2014/main" id="{D78EFBA2-104B-8D4E-9613-4A8A9B2CADA2}"/>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821124" y="6527348"/>
            <a:ext cx="460485" cy="460485"/>
          </a:xfrm>
          <a:prstGeom prst="rect">
            <a:avLst/>
          </a:prstGeom>
        </p:spPr>
      </p:pic>
      <p:pic>
        <p:nvPicPr>
          <p:cNvPr id="45" name="Picture 44">
            <a:extLst>
              <a:ext uri="{FF2B5EF4-FFF2-40B4-BE49-F238E27FC236}">
                <a16:creationId xmlns:a16="http://schemas.microsoft.com/office/drawing/2014/main" id="{5A7FB566-0F75-B146-A640-1181FDF1563C}"/>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173080" y="6703088"/>
            <a:ext cx="460485" cy="460485"/>
          </a:xfrm>
          <a:prstGeom prst="rect">
            <a:avLst/>
          </a:prstGeom>
        </p:spPr>
      </p:pic>
      <p:pic>
        <p:nvPicPr>
          <p:cNvPr id="46" name="Picture 45">
            <a:extLst>
              <a:ext uri="{FF2B5EF4-FFF2-40B4-BE49-F238E27FC236}">
                <a16:creationId xmlns:a16="http://schemas.microsoft.com/office/drawing/2014/main" id="{2FA8D3D5-45C5-1143-BA1C-990F2CF5B02F}"/>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227999" y="6263736"/>
            <a:ext cx="460485" cy="460485"/>
          </a:xfrm>
          <a:prstGeom prst="rect">
            <a:avLst/>
          </a:prstGeom>
        </p:spPr>
      </p:pic>
      <p:pic>
        <p:nvPicPr>
          <p:cNvPr id="47" name="Picture 46">
            <a:extLst>
              <a:ext uri="{FF2B5EF4-FFF2-40B4-BE49-F238E27FC236}">
                <a16:creationId xmlns:a16="http://schemas.microsoft.com/office/drawing/2014/main" id="{6B41A83B-BD45-F348-BE40-68DED5D50422}"/>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227999" y="5813400"/>
            <a:ext cx="460485" cy="460485"/>
          </a:xfrm>
          <a:prstGeom prst="rect">
            <a:avLst/>
          </a:prstGeom>
        </p:spPr>
      </p:pic>
      <p:pic>
        <p:nvPicPr>
          <p:cNvPr id="48" name="Picture 47">
            <a:extLst>
              <a:ext uri="{FF2B5EF4-FFF2-40B4-BE49-F238E27FC236}">
                <a16:creationId xmlns:a16="http://schemas.microsoft.com/office/drawing/2014/main" id="{CC172A0E-48D6-CB46-8FB8-5B4BC31C9392}"/>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184063" y="5374050"/>
            <a:ext cx="460485" cy="460485"/>
          </a:xfrm>
          <a:prstGeom prst="rect">
            <a:avLst/>
          </a:prstGeom>
        </p:spPr>
      </p:pic>
      <p:pic>
        <p:nvPicPr>
          <p:cNvPr id="49" name="Picture 48">
            <a:extLst>
              <a:ext uri="{FF2B5EF4-FFF2-40B4-BE49-F238E27FC236}">
                <a16:creationId xmlns:a16="http://schemas.microsoft.com/office/drawing/2014/main" id="{EA132BF9-7A4B-8D4B-96AC-59468592EBBF}"/>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052258" y="4945682"/>
            <a:ext cx="460485" cy="460485"/>
          </a:xfrm>
          <a:prstGeom prst="rect">
            <a:avLst/>
          </a:prstGeom>
        </p:spPr>
      </p:pic>
      <p:pic>
        <p:nvPicPr>
          <p:cNvPr id="50" name="Picture 49">
            <a:extLst>
              <a:ext uri="{FF2B5EF4-FFF2-40B4-BE49-F238E27FC236}">
                <a16:creationId xmlns:a16="http://schemas.microsoft.com/office/drawing/2014/main" id="{FF303F1A-ADE1-4144-80C7-4885997C4DCC}"/>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898484" y="4528298"/>
            <a:ext cx="460485" cy="460485"/>
          </a:xfrm>
          <a:prstGeom prst="rect">
            <a:avLst/>
          </a:prstGeom>
        </p:spPr>
      </p:pic>
      <p:pic>
        <p:nvPicPr>
          <p:cNvPr id="51" name="Picture 50">
            <a:extLst>
              <a:ext uri="{FF2B5EF4-FFF2-40B4-BE49-F238E27FC236}">
                <a16:creationId xmlns:a16="http://schemas.microsoft.com/office/drawing/2014/main" id="{1E859191-6B74-FC46-9B93-788ACB441902}"/>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667824" y="4154848"/>
            <a:ext cx="460485" cy="460485"/>
          </a:xfrm>
          <a:prstGeom prst="rect">
            <a:avLst/>
          </a:prstGeom>
        </p:spPr>
      </p:pic>
      <p:pic>
        <p:nvPicPr>
          <p:cNvPr id="52" name="Picture 51">
            <a:extLst>
              <a:ext uri="{FF2B5EF4-FFF2-40B4-BE49-F238E27FC236}">
                <a16:creationId xmlns:a16="http://schemas.microsoft.com/office/drawing/2014/main" id="{351FD145-55F6-5F45-9808-ECE36B9B68EF}"/>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437164" y="3770416"/>
            <a:ext cx="460485" cy="460485"/>
          </a:xfrm>
          <a:prstGeom prst="rect">
            <a:avLst/>
          </a:prstGeom>
        </p:spPr>
      </p:pic>
      <p:pic>
        <p:nvPicPr>
          <p:cNvPr id="53" name="Picture 52">
            <a:extLst>
              <a:ext uri="{FF2B5EF4-FFF2-40B4-BE49-F238E27FC236}">
                <a16:creationId xmlns:a16="http://schemas.microsoft.com/office/drawing/2014/main" id="{ADE3A706-7D44-9A4B-BCAF-C899A70AD84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118635" y="3451886"/>
            <a:ext cx="460485" cy="460485"/>
          </a:xfrm>
          <a:prstGeom prst="rect">
            <a:avLst/>
          </a:prstGeom>
        </p:spPr>
      </p:pic>
      <p:pic>
        <p:nvPicPr>
          <p:cNvPr id="54" name="Picture 53">
            <a:extLst>
              <a:ext uri="{FF2B5EF4-FFF2-40B4-BE49-F238E27FC236}">
                <a16:creationId xmlns:a16="http://schemas.microsoft.com/office/drawing/2014/main" id="{9053682C-16BD-D34E-98C9-AAD5E08EC3F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756170" y="3177291"/>
            <a:ext cx="460485" cy="460485"/>
          </a:xfrm>
          <a:prstGeom prst="rect">
            <a:avLst/>
          </a:prstGeom>
        </p:spPr>
      </p:pic>
      <p:pic>
        <p:nvPicPr>
          <p:cNvPr id="55" name="Picture 54">
            <a:extLst>
              <a:ext uri="{FF2B5EF4-FFF2-40B4-BE49-F238E27FC236}">
                <a16:creationId xmlns:a16="http://schemas.microsoft.com/office/drawing/2014/main" id="{7415CCFC-93C2-844A-BD99-27CF6D1398DE}"/>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382722" y="2946632"/>
            <a:ext cx="460485" cy="460485"/>
          </a:xfrm>
          <a:prstGeom prst="rect">
            <a:avLst/>
          </a:prstGeom>
        </p:spPr>
      </p:pic>
      <p:pic>
        <p:nvPicPr>
          <p:cNvPr id="56" name="Picture 55">
            <a:extLst>
              <a:ext uri="{FF2B5EF4-FFF2-40B4-BE49-F238E27FC236}">
                <a16:creationId xmlns:a16="http://schemas.microsoft.com/office/drawing/2014/main" id="{7540B812-DA6E-7F47-8436-48A7A946701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987306" y="2759907"/>
            <a:ext cx="460485" cy="460485"/>
          </a:xfrm>
          <a:prstGeom prst="rect">
            <a:avLst/>
          </a:prstGeom>
        </p:spPr>
      </p:pic>
      <p:pic>
        <p:nvPicPr>
          <p:cNvPr id="57" name="Picture 56">
            <a:extLst>
              <a:ext uri="{FF2B5EF4-FFF2-40B4-BE49-F238E27FC236}">
                <a16:creationId xmlns:a16="http://schemas.microsoft.com/office/drawing/2014/main" id="{169ADD66-9B12-F94B-8188-1154576B53C7}"/>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569922" y="2617118"/>
            <a:ext cx="460485" cy="460485"/>
          </a:xfrm>
          <a:prstGeom prst="rect">
            <a:avLst/>
          </a:prstGeom>
        </p:spPr>
      </p:pic>
      <p:pic>
        <p:nvPicPr>
          <p:cNvPr id="58" name="Picture 57">
            <a:extLst>
              <a:ext uri="{FF2B5EF4-FFF2-40B4-BE49-F238E27FC236}">
                <a16:creationId xmlns:a16="http://schemas.microsoft.com/office/drawing/2014/main" id="{6493EF05-FDCE-CF4D-A975-B5A76E20D30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130571" y="2540231"/>
            <a:ext cx="460485" cy="460485"/>
          </a:xfrm>
          <a:prstGeom prst="rect">
            <a:avLst/>
          </a:prstGeom>
        </p:spPr>
      </p:pic>
      <p:pic>
        <p:nvPicPr>
          <p:cNvPr id="59" name="Picture 58">
            <a:extLst>
              <a:ext uri="{FF2B5EF4-FFF2-40B4-BE49-F238E27FC236}">
                <a16:creationId xmlns:a16="http://schemas.microsoft.com/office/drawing/2014/main" id="{EA9D1B59-A874-0842-A1FB-E1D069B3F3FE}"/>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691219" y="2518263"/>
            <a:ext cx="460485" cy="460485"/>
          </a:xfrm>
          <a:prstGeom prst="rect">
            <a:avLst/>
          </a:prstGeom>
        </p:spPr>
      </p:pic>
      <p:pic>
        <p:nvPicPr>
          <p:cNvPr id="60" name="Picture 59">
            <a:extLst>
              <a:ext uri="{FF2B5EF4-FFF2-40B4-BE49-F238E27FC236}">
                <a16:creationId xmlns:a16="http://schemas.microsoft.com/office/drawing/2014/main" id="{BEBA7384-8A4E-A24F-842D-342884CBAE79}"/>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240884" y="2540230"/>
            <a:ext cx="460485" cy="460485"/>
          </a:xfrm>
          <a:prstGeom prst="rect">
            <a:avLst/>
          </a:prstGeom>
        </p:spPr>
      </p:pic>
      <p:pic>
        <p:nvPicPr>
          <p:cNvPr id="61" name="Picture 60">
            <a:extLst>
              <a:ext uri="{FF2B5EF4-FFF2-40B4-BE49-F238E27FC236}">
                <a16:creationId xmlns:a16="http://schemas.microsoft.com/office/drawing/2014/main" id="{22A23082-542A-5E41-8DE5-37A36BCD5DF2}"/>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532" y="2606132"/>
            <a:ext cx="460485" cy="460485"/>
          </a:xfrm>
          <a:prstGeom prst="rect">
            <a:avLst/>
          </a:prstGeom>
        </p:spPr>
      </p:pic>
      <p:pic>
        <p:nvPicPr>
          <p:cNvPr id="62" name="Picture 61">
            <a:extLst>
              <a:ext uri="{FF2B5EF4-FFF2-40B4-BE49-F238E27FC236}">
                <a16:creationId xmlns:a16="http://schemas.microsoft.com/office/drawing/2014/main" id="{198BC179-84A8-164A-8E41-9F4D8BFB505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84148" y="2759906"/>
            <a:ext cx="460485" cy="460485"/>
          </a:xfrm>
          <a:prstGeom prst="rect">
            <a:avLst/>
          </a:prstGeom>
        </p:spPr>
      </p:pic>
      <p:pic>
        <p:nvPicPr>
          <p:cNvPr id="63" name="Picture 62">
            <a:extLst>
              <a:ext uri="{FF2B5EF4-FFF2-40B4-BE49-F238E27FC236}">
                <a16:creationId xmlns:a16="http://schemas.microsoft.com/office/drawing/2014/main" id="{208CE893-073F-7D45-AAC0-DB9DBBC3C39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2252" y="2935647"/>
            <a:ext cx="460485" cy="460485"/>
          </a:xfrm>
          <a:prstGeom prst="rect">
            <a:avLst/>
          </a:prstGeom>
        </p:spPr>
      </p:pic>
      <p:pic>
        <p:nvPicPr>
          <p:cNvPr id="64" name="Picture 63">
            <a:extLst>
              <a:ext uri="{FF2B5EF4-FFF2-40B4-BE49-F238E27FC236}">
                <a16:creationId xmlns:a16="http://schemas.microsoft.com/office/drawing/2014/main" id="{BB70C372-510D-DB46-B1BF-0A14F680947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84716" y="3210242"/>
            <a:ext cx="460485" cy="460485"/>
          </a:xfrm>
          <a:prstGeom prst="rect">
            <a:avLst/>
          </a:prstGeom>
        </p:spPr>
      </p:pic>
      <p:pic>
        <p:nvPicPr>
          <p:cNvPr id="65" name="Picture 64">
            <a:extLst>
              <a:ext uri="{FF2B5EF4-FFF2-40B4-BE49-F238E27FC236}">
                <a16:creationId xmlns:a16="http://schemas.microsoft.com/office/drawing/2014/main" id="{85C55DDD-1C26-7447-8ED6-F6D0511A615E}"/>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41927" y="4165831"/>
            <a:ext cx="460485" cy="460485"/>
          </a:xfrm>
          <a:prstGeom prst="rect">
            <a:avLst/>
          </a:prstGeom>
        </p:spPr>
      </p:pic>
      <p:pic>
        <p:nvPicPr>
          <p:cNvPr id="69" name="Picture 68">
            <a:extLst>
              <a:ext uri="{FF2B5EF4-FFF2-40B4-BE49-F238E27FC236}">
                <a16:creationId xmlns:a16="http://schemas.microsoft.com/office/drawing/2014/main" id="{73236835-EFB9-5347-86A2-83C5391A9EEB}"/>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76604" y="3891236"/>
            <a:ext cx="460485" cy="460485"/>
          </a:xfrm>
          <a:prstGeom prst="rect">
            <a:avLst/>
          </a:prstGeom>
        </p:spPr>
      </p:pic>
      <p:pic>
        <p:nvPicPr>
          <p:cNvPr id="70" name="Picture 69">
            <a:extLst>
              <a:ext uri="{FF2B5EF4-FFF2-40B4-BE49-F238E27FC236}">
                <a16:creationId xmlns:a16="http://schemas.microsoft.com/office/drawing/2014/main" id="{025DD46B-F7E6-DB47-A11B-5C9E5755D3B7}"/>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17938" y="3660994"/>
            <a:ext cx="460485" cy="460485"/>
          </a:xfrm>
          <a:prstGeom prst="rect">
            <a:avLst/>
          </a:prstGeom>
        </p:spPr>
      </p:pic>
      <p:pic>
        <p:nvPicPr>
          <p:cNvPr id="71" name="Picture 70">
            <a:extLst>
              <a:ext uri="{FF2B5EF4-FFF2-40B4-BE49-F238E27FC236}">
                <a16:creationId xmlns:a16="http://schemas.microsoft.com/office/drawing/2014/main" id="{6D323450-7BCB-024A-BCF2-9C2D5CF66707}"/>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736371" y="3494143"/>
            <a:ext cx="460485" cy="460485"/>
          </a:xfrm>
          <a:prstGeom prst="rect">
            <a:avLst/>
          </a:prstGeom>
        </p:spPr>
      </p:pic>
      <p:pic>
        <p:nvPicPr>
          <p:cNvPr id="72" name="Picture 71">
            <a:extLst>
              <a:ext uri="{FF2B5EF4-FFF2-40B4-BE49-F238E27FC236}">
                <a16:creationId xmlns:a16="http://schemas.microsoft.com/office/drawing/2014/main" id="{0BD38FE7-A3DC-E448-9D83-1329982F3DEE}"/>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87852" y="3373322"/>
            <a:ext cx="460485" cy="460485"/>
          </a:xfrm>
          <a:prstGeom prst="rect">
            <a:avLst/>
          </a:prstGeom>
        </p:spPr>
      </p:pic>
      <p:pic>
        <p:nvPicPr>
          <p:cNvPr id="73" name="Picture 72">
            <a:extLst>
              <a:ext uri="{FF2B5EF4-FFF2-40B4-BE49-F238E27FC236}">
                <a16:creationId xmlns:a16="http://schemas.microsoft.com/office/drawing/2014/main" id="{86D811AB-BBA5-3B4D-936A-D704F93ABCAE}"/>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471127" y="3340788"/>
            <a:ext cx="460485" cy="460485"/>
          </a:xfrm>
          <a:prstGeom prst="rect">
            <a:avLst/>
          </a:prstGeom>
        </p:spPr>
      </p:pic>
      <p:pic>
        <p:nvPicPr>
          <p:cNvPr id="74" name="Picture 73">
            <a:extLst>
              <a:ext uri="{FF2B5EF4-FFF2-40B4-BE49-F238E27FC236}">
                <a16:creationId xmlns:a16="http://schemas.microsoft.com/office/drawing/2014/main" id="{495A9426-2F78-014C-9F0D-D2283FEC3EE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856716" y="3340788"/>
            <a:ext cx="460485" cy="460485"/>
          </a:xfrm>
          <a:prstGeom prst="rect">
            <a:avLst/>
          </a:prstGeom>
        </p:spPr>
      </p:pic>
      <p:pic>
        <p:nvPicPr>
          <p:cNvPr id="75" name="Picture 74">
            <a:extLst>
              <a:ext uri="{FF2B5EF4-FFF2-40B4-BE49-F238E27FC236}">
                <a16:creationId xmlns:a16="http://schemas.microsoft.com/office/drawing/2014/main" id="{BE3A474F-2FBE-ED4E-A8B6-FDB51DA67062}"/>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229846" y="3373322"/>
            <a:ext cx="460485" cy="460485"/>
          </a:xfrm>
          <a:prstGeom prst="rect">
            <a:avLst/>
          </a:prstGeom>
        </p:spPr>
      </p:pic>
      <p:pic>
        <p:nvPicPr>
          <p:cNvPr id="76" name="Picture 75">
            <a:extLst>
              <a:ext uri="{FF2B5EF4-FFF2-40B4-BE49-F238E27FC236}">
                <a16:creationId xmlns:a16="http://schemas.microsoft.com/office/drawing/2014/main" id="{0B400A9D-ED99-D546-8D02-2C02BBF8BBA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625262" y="3471259"/>
            <a:ext cx="460485" cy="460485"/>
          </a:xfrm>
          <a:prstGeom prst="rect">
            <a:avLst/>
          </a:prstGeom>
        </p:spPr>
      </p:pic>
      <p:pic>
        <p:nvPicPr>
          <p:cNvPr id="77" name="Picture 76">
            <a:extLst>
              <a:ext uri="{FF2B5EF4-FFF2-40B4-BE49-F238E27FC236}">
                <a16:creationId xmlns:a16="http://schemas.microsoft.com/office/drawing/2014/main" id="{9F5219E1-EE2D-D44A-B8A6-5F6F71EAC56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019846" y="3637776"/>
            <a:ext cx="460485" cy="460485"/>
          </a:xfrm>
          <a:prstGeom prst="rect">
            <a:avLst/>
          </a:prstGeom>
        </p:spPr>
      </p:pic>
      <p:pic>
        <p:nvPicPr>
          <p:cNvPr id="78" name="Picture 77">
            <a:extLst>
              <a:ext uri="{FF2B5EF4-FFF2-40B4-BE49-F238E27FC236}">
                <a16:creationId xmlns:a16="http://schemas.microsoft.com/office/drawing/2014/main" id="{72592C65-8B04-5940-BCE8-9B4479CAF624}"/>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333503" y="3877738"/>
            <a:ext cx="460485" cy="460485"/>
          </a:xfrm>
          <a:prstGeom prst="rect">
            <a:avLst/>
          </a:prstGeom>
        </p:spPr>
      </p:pic>
      <p:pic>
        <p:nvPicPr>
          <p:cNvPr id="79" name="Picture 78">
            <a:extLst>
              <a:ext uri="{FF2B5EF4-FFF2-40B4-BE49-F238E27FC236}">
                <a16:creationId xmlns:a16="http://schemas.microsoft.com/office/drawing/2014/main" id="{316A32E9-0B1C-6C4F-878A-1806D7ABD73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625116" y="4107980"/>
            <a:ext cx="460485" cy="460485"/>
          </a:xfrm>
          <a:prstGeom prst="rect">
            <a:avLst/>
          </a:prstGeom>
        </p:spPr>
      </p:pic>
      <p:pic>
        <p:nvPicPr>
          <p:cNvPr id="80" name="Picture 79">
            <a:extLst>
              <a:ext uri="{FF2B5EF4-FFF2-40B4-BE49-F238E27FC236}">
                <a16:creationId xmlns:a16="http://schemas.microsoft.com/office/drawing/2014/main" id="{082AB509-C009-824D-9492-2EDDC8B76AF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891507" y="4420768"/>
            <a:ext cx="460485" cy="460485"/>
          </a:xfrm>
          <a:prstGeom prst="rect">
            <a:avLst/>
          </a:prstGeom>
        </p:spPr>
      </p:pic>
      <p:pic>
        <p:nvPicPr>
          <p:cNvPr id="81" name="Picture 80">
            <a:extLst>
              <a:ext uri="{FF2B5EF4-FFF2-40B4-BE49-F238E27FC236}">
                <a16:creationId xmlns:a16="http://schemas.microsoft.com/office/drawing/2014/main" id="{95469F78-3032-234A-8F62-46A2E4055ABC}"/>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121750" y="4748634"/>
            <a:ext cx="460485" cy="460485"/>
          </a:xfrm>
          <a:prstGeom prst="rect">
            <a:avLst/>
          </a:prstGeom>
        </p:spPr>
      </p:pic>
      <p:pic>
        <p:nvPicPr>
          <p:cNvPr id="82" name="Picture 81">
            <a:extLst>
              <a:ext uri="{FF2B5EF4-FFF2-40B4-BE49-F238E27FC236}">
                <a16:creationId xmlns:a16="http://schemas.microsoft.com/office/drawing/2014/main" id="{EA2DD5B1-54E4-BB40-BBC0-40F3AA3A5EF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310146" y="5091078"/>
            <a:ext cx="460485" cy="460485"/>
          </a:xfrm>
          <a:prstGeom prst="rect">
            <a:avLst/>
          </a:prstGeom>
        </p:spPr>
      </p:pic>
      <p:pic>
        <p:nvPicPr>
          <p:cNvPr id="83" name="Picture 82">
            <a:extLst>
              <a:ext uri="{FF2B5EF4-FFF2-40B4-BE49-F238E27FC236}">
                <a16:creationId xmlns:a16="http://schemas.microsoft.com/office/drawing/2014/main" id="{5163221D-0BEA-4448-BA98-5DA60FA96BFB}"/>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381416" y="5496608"/>
            <a:ext cx="460485" cy="460485"/>
          </a:xfrm>
          <a:prstGeom prst="rect">
            <a:avLst/>
          </a:prstGeom>
        </p:spPr>
      </p:pic>
      <p:pic>
        <p:nvPicPr>
          <p:cNvPr id="84" name="Picture 83">
            <a:extLst>
              <a:ext uri="{FF2B5EF4-FFF2-40B4-BE49-F238E27FC236}">
                <a16:creationId xmlns:a16="http://schemas.microsoft.com/office/drawing/2014/main" id="{61B03926-1AA1-F84A-9466-AD6CE011FEAC}"/>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425352" y="5881040"/>
            <a:ext cx="460485" cy="460485"/>
          </a:xfrm>
          <a:prstGeom prst="rect">
            <a:avLst/>
          </a:prstGeom>
        </p:spPr>
      </p:pic>
      <p:pic>
        <p:nvPicPr>
          <p:cNvPr id="85" name="Picture 84">
            <a:extLst>
              <a:ext uri="{FF2B5EF4-FFF2-40B4-BE49-F238E27FC236}">
                <a16:creationId xmlns:a16="http://schemas.microsoft.com/office/drawing/2014/main" id="{C07CCC00-38AB-9749-B922-05659E090744}"/>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401884" y="6259654"/>
            <a:ext cx="460485" cy="460485"/>
          </a:xfrm>
          <a:prstGeom prst="rect">
            <a:avLst/>
          </a:prstGeom>
        </p:spPr>
      </p:pic>
      <p:pic>
        <p:nvPicPr>
          <p:cNvPr id="86" name="Picture 85">
            <a:extLst>
              <a:ext uri="{FF2B5EF4-FFF2-40B4-BE49-F238E27FC236}">
                <a16:creationId xmlns:a16="http://schemas.microsoft.com/office/drawing/2014/main" id="{67840925-AB11-094D-B4F0-06E2E895217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366191" y="6667998"/>
            <a:ext cx="460485" cy="460485"/>
          </a:xfrm>
          <a:prstGeom prst="rect">
            <a:avLst/>
          </a:prstGeom>
        </p:spPr>
      </p:pic>
      <p:grpSp>
        <p:nvGrpSpPr>
          <p:cNvPr id="88" name="Group 87">
            <a:extLst>
              <a:ext uri="{FF2B5EF4-FFF2-40B4-BE49-F238E27FC236}">
                <a16:creationId xmlns:a16="http://schemas.microsoft.com/office/drawing/2014/main" id="{33589ECC-A605-584E-82C0-746714BBB09B}"/>
              </a:ext>
            </a:extLst>
          </p:cNvPr>
          <p:cNvGrpSpPr>
            <a:grpSpLocks noChangeAspect="1"/>
          </p:cNvGrpSpPr>
          <p:nvPr/>
        </p:nvGrpSpPr>
        <p:grpSpPr>
          <a:xfrm>
            <a:off x="7651680" y="1988640"/>
            <a:ext cx="914400" cy="925272"/>
            <a:chOff x="2055121" y="1362666"/>
            <a:chExt cx="585216" cy="592174"/>
          </a:xfrm>
        </p:grpSpPr>
        <p:sp>
          <p:nvSpPr>
            <p:cNvPr id="90" name="Oval 89">
              <a:extLst>
                <a:ext uri="{FF2B5EF4-FFF2-40B4-BE49-F238E27FC236}">
                  <a16:creationId xmlns:a16="http://schemas.microsoft.com/office/drawing/2014/main" id="{D4ADBC20-D03E-1347-912D-C4ECB580AA60}"/>
                </a:ext>
              </a:extLst>
            </p:cNvPr>
            <p:cNvSpPr/>
            <p:nvPr/>
          </p:nvSpPr>
          <p:spPr>
            <a:xfrm>
              <a:off x="2055121" y="1362666"/>
              <a:ext cx="585216" cy="592174"/>
            </a:xfrm>
            <a:prstGeom prst="ellipse">
              <a:avLst/>
            </a:prstGeom>
            <a:solidFill>
              <a:schemeClr val="tx2"/>
            </a:solidFill>
            <a:ln w="9525" cap="flat" cmpd="sng" algn="ctr">
              <a:noFill/>
              <a:prstDash val="solid"/>
            </a:ln>
            <a:effectLst/>
          </p:spPr>
          <p:txBody>
            <a:bodyPr rtlCol="0" anchor="ctr"/>
            <a:lstStyle/>
            <a:p>
              <a:pPr algn="ctr" defTabSz="1625519">
                <a:defRPr/>
              </a:pPr>
              <a:endParaRPr lang="en-US" sz="4267" kern="0">
                <a:solidFill>
                  <a:prstClr val="white"/>
                </a:solidFill>
                <a:latin typeface="CiscoSansTT ExtraLight"/>
                <a:ea typeface="ＭＳ Ｐゴシック" charset="0"/>
                <a:cs typeface="Arial"/>
                <a:sym typeface="Arial"/>
              </a:endParaRPr>
            </a:p>
          </p:txBody>
        </p:sp>
        <p:sp>
          <p:nvSpPr>
            <p:cNvPr id="91" name="Freeform 594">
              <a:extLst>
                <a:ext uri="{FF2B5EF4-FFF2-40B4-BE49-F238E27FC236}">
                  <a16:creationId xmlns:a16="http://schemas.microsoft.com/office/drawing/2014/main" id="{55B69BD6-5003-5443-B1D6-410FFF973077}"/>
                </a:ext>
              </a:extLst>
            </p:cNvPr>
            <p:cNvSpPr>
              <a:spLocks noChangeAspect="1" noEditPoints="1"/>
            </p:cNvSpPr>
            <p:nvPr/>
          </p:nvSpPr>
          <p:spPr bwMode="auto">
            <a:xfrm>
              <a:off x="2153186" y="1470186"/>
              <a:ext cx="383338" cy="381986"/>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sp>
        <p:nvSpPr>
          <p:cNvPr id="89" name="TextBox 88">
            <a:extLst>
              <a:ext uri="{FF2B5EF4-FFF2-40B4-BE49-F238E27FC236}">
                <a16:creationId xmlns:a16="http://schemas.microsoft.com/office/drawing/2014/main" id="{7F419050-EB10-C043-8093-2729045FC137}"/>
              </a:ext>
            </a:extLst>
          </p:cNvPr>
          <p:cNvSpPr txBox="1"/>
          <p:nvPr/>
        </p:nvSpPr>
        <p:spPr>
          <a:xfrm>
            <a:off x="8780625" y="2285438"/>
            <a:ext cx="4675779" cy="328295"/>
          </a:xfrm>
          <a:prstGeom prst="rect">
            <a:avLst/>
          </a:prstGeom>
          <a:noFill/>
        </p:spPr>
        <p:txBody>
          <a:bodyPr wrap="square" lIns="0" tIns="0" rIns="0" bIns="0" rtlCol="0" anchor="ctr">
            <a:noAutofit/>
          </a:bodyPr>
          <a:lstStyle/>
          <a:p>
            <a:pPr defTabSz="609585" fontAlgn="base">
              <a:spcBef>
                <a:spcPct val="0"/>
              </a:spcBef>
              <a:spcAft>
                <a:spcPct val="0"/>
              </a:spcAft>
              <a:defRPr/>
            </a:pPr>
            <a:r>
              <a:rPr lang="en-US" sz="1867">
                <a:solidFill>
                  <a:srgbClr val="282828"/>
                </a:solidFill>
                <a:latin typeface="CiscoSansTT ExtraLight"/>
                <a:ea typeface="ＭＳ Ｐゴシック" charset="0"/>
                <a:cs typeface="Arial"/>
                <a:sym typeface="Arial"/>
              </a:rPr>
              <a:t>Vast threat telemetry</a:t>
            </a:r>
          </a:p>
        </p:txBody>
      </p:sp>
      <p:pic>
        <p:nvPicPr>
          <p:cNvPr id="93" name="Picture 92">
            <a:extLst>
              <a:ext uri="{FF2B5EF4-FFF2-40B4-BE49-F238E27FC236}">
                <a16:creationId xmlns:a16="http://schemas.microsoft.com/office/drawing/2014/main" id="{F5CCCF09-4AFB-2D4A-92FB-B6678BBE68C1}"/>
              </a:ext>
            </a:extLst>
          </p:cNvPr>
          <p:cNvPicPr>
            <a:picLocks noChangeAspect="1"/>
          </p:cNvPicPr>
          <p:nvPr/>
        </p:nvPicPr>
        <p:blipFill>
          <a:blip r:embed="rId6"/>
          <a:stretch>
            <a:fillRect/>
          </a:stretch>
        </p:blipFill>
        <p:spPr>
          <a:xfrm>
            <a:off x="7646727" y="5154681"/>
            <a:ext cx="914400" cy="914400"/>
          </a:xfrm>
          <a:prstGeom prst="rect">
            <a:avLst/>
          </a:prstGeom>
        </p:spPr>
      </p:pic>
      <p:sp>
        <p:nvSpPr>
          <p:cNvPr id="94" name="TextBox 93">
            <a:extLst>
              <a:ext uri="{FF2B5EF4-FFF2-40B4-BE49-F238E27FC236}">
                <a16:creationId xmlns:a16="http://schemas.microsoft.com/office/drawing/2014/main" id="{41E938BC-8E41-9A4E-AC45-882E6AD1D5EC}"/>
              </a:ext>
            </a:extLst>
          </p:cNvPr>
          <p:cNvSpPr txBox="1"/>
          <p:nvPr/>
        </p:nvSpPr>
        <p:spPr>
          <a:xfrm>
            <a:off x="8780626" y="5460287"/>
            <a:ext cx="4285361" cy="328295"/>
          </a:xfrm>
          <a:prstGeom prst="rect">
            <a:avLst/>
          </a:prstGeom>
          <a:noFill/>
        </p:spPr>
        <p:txBody>
          <a:bodyPr wrap="square" lIns="0" tIns="0" rIns="0" bIns="0" rtlCol="0" anchor="ctr">
            <a:noAutofit/>
          </a:bodyPr>
          <a:lstStyle/>
          <a:p>
            <a:pPr defTabSz="609585" fontAlgn="base">
              <a:spcBef>
                <a:spcPct val="0"/>
              </a:spcBef>
              <a:spcAft>
                <a:spcPct val="0"/>
              </a:spcAft>
              <a:defRPr/>
            </a:pPr>
            <a:r>
              <a:rPr lang="en-US" sz="1867">
                <a:solidFill>
                  <a:srgbClr val="282828"/>
                </a:solidFill>
                <a:latin typeface="CiscoSansTT ExtraLight"/>
                <a:ea typeface="ＭＳ Ｐゴシック" charset="0"/>
                <a:cs typeface="Arial"/>
                <a:sym typeface="Arial"/>
              </a:rPr>
              <a:t>Experienced researchers</a:t>
            </a:r>
          </a:p>
        </p:txBody>
      </p:sp>
      <p:sp>
        <p:nvSpPr>
          <p:cNvPr id="96" name="TextBox 95">
            <a:extLst>
              <a:ext uri="{FF2B5EF4-FFF2-40B4-BE49-F238E27FC236}">
                <a16:creationId xmlns:a16="http://schemas.microsoft.com/office/drawing/2014/main" id="{6EC17743-3428-7F4F-AF67-43FA26417CC2}"/>
              </a:ext>
            </a:extLst>
          </p:cNvPr>
          <p:cNvSpPr txBox="1"/>
          <p:nvPr/>
        </p:nvSpPr>
        <p:spPr>
          <a:xfrm>
            <a:off x="8781713" y="3718994"/>
            <a:ext cx="4267200" cy="656591"/>
          </a:xfrm>
          <a:prstGeom prst="rect">
            <a:avLst/>
          </a:prstGeom>
          <a:noFill/>
        </p:spPr>
        <p:txBody>
          <a:bodyPr wrap="square" lIns="0" tIns="0" rIns="0" bIns="0" rtlCol="0" anchor="ctr">
            <a:noAutofit/>
          </a:bodyPr>
          <a:lstStyle/>
          <a:p>
            <a:pPr defTabSz="609585" fontAlgn="base">
              <a:spcBef>
                <a:spcPct val="0"/>
              </a:spcBef>
              <a:spcAft>
                <a:spcPct val="0"/>
              </a:spcAft>
              <a:defRPr/>
            </a:pPr>
            <a:r>
              <a:rPr lang="en-US" sz="1867">
                <a:solidFill>
                  <a:srgbClr val="282828"/>
                </a:solidFill>
                <a:latin typeface="CiscoSansTT ExtraLight"/>
                <a:ea typeface="ＭＳ Ｐゴシック" charset="0"/>
                <a:cs typeface="Arial"/>
                <a:sym typeface="Arial"/>
              </a:rPr>
              <a:t>Automated intel sharing</a:t>
            </a:r>
          </a:p>
        </p:txBody>
      </p:sp>
      <p:grpSp>
        <p:nvGrpSpPr>
          <p:cNvPr id="97" name="Group 96">
            <a:extLst>
              <a:ext uri="{FF2B5EF4-FFF2-40B4-BE49-F238E27FC236}">
                <a16:creationId xmlns:a16="http://schemas.microsoft.com/office/drawing/2014/main" id="{F761A536-B1CE-1740-88FE-AAD2DE56F328}"/>
              </a:ext>
            </a:extLst>
          </p:cNvPr>
          <p:cNvGrpSpPr>
            <a:grpSpLocks noChangeAspect="1"/>
          </p:cNvGrpSpPr>
          <p:nvPr/>
        </p:nvGrpSpPr>
        <p:grpSpPr>
          <a:xfrm>
            <a:off x="7589791" y="3529009"/>
            <a:ext cx="1016000" cy="1016000"/>
            <a:chOff x="3873248" y="1787238"/>
            <a:chExt cx="1428745" cy="1428741"/>
          </a:xfrm>
        </p:grpSpPr>
        <p:sp>
          <p:nvSpPr>
            <p:cNvPr id="98" name="Freeform 5">
              <a:extLst>
                <a:ext uri="{FF2B5EF4-FFF2-40B4-BE49-F238E27FC236}">
                  <a16:creationId xmlns:a16="http://schemas.microsoft.com/office/drawing/2014/main" id="{F94868B1-135B-1442-81F0-9EBF4E21DBFF}"/>
                </a:ext>
              </a:extLst>
            </p:cNvPr>
            <p:cNvSpPr>
              <a:spLocks/>
            </p:cNvSpPr>
            <p:nvPr/>
          </p:nvSpPr>
          <p:spPr bwMode="auto">
            <a:xfrm>
              <a:off x="3873248" y="1787238"/>
              <a:ext cx="1428745" cy="1428741"/>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99" name="Freeform 6">
              <a:extLst>
                <a:ext uri="{FF2B5EF4-FFF2-40B4-BE49-F238E27FC236}">
                  <a16:creationId xmlns:a16="http://schemas.microsoft.com/office/drawing/2014/main" id="{1707BBA9-F30A-524A-B00B-B0825BA5EDCD}"/>
                </a:ext>
              </a:extLst>
            </p:cNvPr>
            <p:cNvSpPr>
              <a:spLocks noEditPoints="1"/>
            </p:cNvSpPr>
            <p:nvPr/>
          </p:nvSpPr>
          <p:spPr bwMode="auto">
            <a:xfrm>
              <a:off x="4098909" y="2049174"/>
              <a:ext cx="976309" cy="511171"/>
            </a:xfrm>
            <a:custGeom>
              <a:avLst/>
              <a:gdLst>
                <a:gd name="T0" fmla="*/ 237 w 864"/>
                <a:gd name="T1" fmla="*/ 452 h 452"/>
                <a:gd name="T2" fmla="*/ 628 w 864"/>
                <a:gd name="T3" fmla="*/ 452 h 452"/>
                <a:gd name="T4" fmla="*/ 835 w 864"/>
                <a:gd name="T5" fmla="*/ 452 h 452"/>
                <a:gd name="T6" fmla="*/ 864 w 864"/>
                <a:gd name="T7" fmla="*/ 412 h 452"/>
                <a:gd name="T8" fmla="*/ 788 w 864"/>
                <a:gd name="T9" fmla="*/ 188 h 452"/>
                <a:gd name="T10" fmla="*/ 749 w 864"/>
                <a:gd name="T11" fmla="*/ 139 h 452"/>
                <a:gd name="T12" fmla="*/ 721 w 864"/>
                <a:gd name="T13" fmla="*/ 111 h 452"/>
                <a:gd name="T14" fmla="*/ 701 w 864"/>
                <a:gd name="T15" fmla="*/ 94 h 452"/>
                <a:gd name="T16" fmla="*/ 680 w 864"/>
                <a:gd name="T17" fmla="*/ 79 h 452"/>
                <a:gd name="T18" fmla="*/ 660 w 864"/>
                <a:gd name="T19" fmla="*/ 65 h 452"/>
                <a:gd name="T20" fmla="*/ 636 w 864"/>
                <a:gd name="T21" fmla="*/ 51 h 452"/>
                <a:gd name="T22" fmla="*/ 615 w 864"/>
                <a:gd name="T23" fmla="*/ 41 h 452"/>
                <a:gd name="T24" fmla="*/ 601 w 864"/>
                <a:gd name="T25" fmla="*/ 35 h 452"/>
                <a:gd name="T26" fmla="*/ 578 w 864"/>
                <a:gd name="T27" fmla="*/ 26 h 452"/>
                <a:gd name="T28" fmla="*/ 563 w 864"/>
                <a:gd name="T29" fmla="*/ 21 h 452"/>
                <a:gd name="T30" fmla="*/ 540 w 864"/>
                <a:gd name="T31" fmla="*/ 14 h 452"/>
                <a:gd name="T32" fmla="*/ 524 w 864"/>
                <a:gd name="T33" fmla="*/ 10 h 452"/>
                <a:gd name="T34" fmla="*/ 503 w 864"/>
                <a:gd name="T35" fmla="*/ 6 h 452"/>
                <a:gd name="T36" fmla="*/ 486 w 864"/>
                <a:gd name="T37" fmla="*/ 4 h 452"/>
                <a:gd name="T38" fmla="*/ 462 w 864"/>
                <a:gd name="T39" fmla="*/ 1 h 452"/>
                <a:gd name="T40" fmla="*/ 452 w 864"/>
                <a:gd name="T41" fmla="*/ 0 h 452"/>
                <a:gd name="T42" fmla="*/ 407 w 864"/>
                <a:gd name="T43" fmla="*/ 1 h 452"/>
                <a:gd name="T44" fmla="*/ 390 w 864"/>
                <a:gd name="T45" fmla="*/ 2 h 452"/>
                <a:gd name="T46" fmla="*/ 365 w 864"/>
                <a:gd name="T47" fmla="*/ 5 h 452"/>
                <a:gd name="T48" fmla="*/ 349 w 864"/>
                <a:gd name="T49" fmla="*/ 8 h 452"/>
                <a:gd name="T50" fmla="*/ 327 w 864"/>
                <a:gd name="T51" fmla="*/ 13 h 452"/>
                <a:gd name="T52" fmla="*/ 311 w 864"/>
                <a:gd name="T53" fmla="*/ 18 h 452"/>
                <a:gd name="T54" fmla="*/ 289 w 864"/>
                <a:gd name="T55" fmla="*/ 25 h 452"/>
                <a:gd name="T56" fmla="*/ 275 w 864"/>
                <a:gd name="T57" fmla="*/ 30 h 452"/>
                <a:gd name="T58" fmla="*/ 252 w 864"/>
                <a:gd name="T59" fmla="*/ 40 h 452"/>
                <a:gd name="T60" fmla="*/ 238 w 864"/>
                <a:gd name="T61" fmla="*/ 46 h 452"/>
                <a:gd name="T62" fmla="*/ 206 w 864"/>
                <a:gd name="T63" fmla="*/ 64 h 452"/>
                <a:gd name="T64" fmla="*/ 194 w 864"/>
                <a:gd name="T65" fmla="*/ 72 h 452"/>
                <a:gd name="T66" fmla="*/ 164 w 864"/>
                <a:gd name="T67" fmla="*/ 94 h 452"/>
                <a:gd name="T68" fmla="*/ 153 w 864"/>
                <a:gd name="T69" fmla="*/ 103 h 452"/>
                <a:gd name="T70" fmla="*/ 117 w 864"/>
                <a:gd name="T71" fmla="*/ 138 h 452"/>
                <a:gd name="T72" fmla="*/ 83 w 864"/>
                <a:gd name="T73" fmla="*/ 178 h 452"/>
                <a:gd name="T74" fmla="*/ 76 w 864"/>
                <a:gd name="T75" fmla="*/ 188 h 452"/>
                <a:gd name="T76" fmla="*/ 0 w 864"/>
                <a:gd name="T77" fmla="*/ 423 h 452"/>
                <a:gd name="T78" fmla="*/ 757 w 864"/>
                <a:gd name="T79" fmla="*/ 214 h 452"/>
                <a:gd name="T80" fmla="*/ 648 w 864"/>
                <a:gd name="T81" fmla="*/ 258 h 452"/>
                <a:gd name="T82" fmla="*/ 580 w 864"/>
                <a:gd name="T83" fmla="*/ 69 h 452"/>
                <a:gd name="T84" fmla="*/ 597 w 864"/>
                <a:gd name="T85" fmla="*/ 77 h 452"/>
                <a:gd name="T86" fmla="*/ 610 w 864"/>
                <a:gd name="T87" fmla="*/ 83 h 452"/>
                <a:gd name="T88" fmla="*/ 638 w 864"/>
                <a:gd name="T89" fmla="*/ 220 h 452"/>
                <a:gd name="T90" fmla="*/ 452 w 864"/>
                <a:gd name="T91" fmla="*/ 43 h 452"/>
                <a:gd name="T92" fmla="*/ 452 w 864"/>
                <a:gd name="T93" fmla="*/ 244 h 452"/>
                <a:gd name="T94" fmla="*/ 609 w 864"/>
                <a:gd name="T95" fmla="*/ 267 h 452"/>
                <a:gd name="T96" fmla="*/ 452 w 864"/>
                <a:gd name="T97" fmla="*/ 284 h 452"/>
                <a:gd name="T98" fmla="*/ 255 w 864"/>
                <a:gd name="T99" fmla="*/ 267 h 452"/>
                <a:gd name="T100" fmla="*/ 412 w 864"/>
                <a:gd name="T101" fmla="*/ 43 h 452"/>
                <a:gd name="T102" fmla="*/ 300 w 864"/>
                <a:gd name="T103" fmla="*/ 146 h 452"/>
                <a:gd name="T104" fmla="*/ 254 w 864"/>
                <a:gd name="T105" fmla="*/ 83 h 452"/>
                <a:gd name="T106" fmla="*/ 268 w 864"/>
                <a:gd name="T107" fmla="*/ 77 h 452"/>
                <a:gd name="T108" fmla="*/ 285 w 864"/>
                <a:gd name="T109" fmla="*/ 69 h 452"/>
                <a:gd name="T110" fmla="*/ 227 w 864"/>
                <a:gd name="T111" fmla="*/ 220 h 452"/>
                <a:gd name="T112" fmla="*/ 107 w 864"/>
                <a:gd name="T113" fmla="*/ 214 h 452"/>
                <a:gd name="T114" fmla="*/ 41 w 864"/>
                <a:gd name="T115" fmla="*/ 41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4" h="452">
                  <a:moveTo>
                    <a:pt x="41" y="452"/>
                  </a:moveTo>
                  <a:cubicBezTo>
                    <a:pt x="197" y="452"/>
                    <a:pt x="197" y="452"/>
                    <a:pt x="197" y="452"/>
                  </a:cubicBezTo>
                  <a:cubicBezTo>
                    <a:pt x="237" y="452"/>
                    <a:pt x="237" y="452"/>
                    <a:pt x="237" y="452"/>
                  </a:cubicBezTo>
                  <a:cubicBezTo>
                    <a:pt x="412" y="452"/>
                    <a:pt x="412" y="452"/>
                    <a:pt x="412" y="452"/>
                  </a:cubicBezTo>
                  <a:cubicBezTo>
                    <a:pt x="452" y="452"/>
                    <a:pt x="452" y="452"/>
                    <a:pt x="452" y="452"/>
                  </a:cubicBezTo>
                  <a:cubicBezTo>
                    <a:pt x="628" y="452"/>
                    <a:pt x="628" y="452"/>
                    <a:pt x="628" y="452"/>
                  </a:cubicBezTo>
                  <a:cubicBezTo>
                    <a:pt x="668" y="452"/>
                    <a:pt x="668" y="452"/>
                    <a:pt x="668" y="452"/>
                  </a:cubicBezTo>
                  <a:cubicBezTo>
                    <a:pt x="823" y="452"/>
                    <a:pt x="823" y="452"/>
                    <a:pt x="823" y="452"/>
                  </a:cubicBezTo>
                  <a:cubicBezTo>
                    <a:pt x="835" y="452"/>
                    <a:pt x="835" y="452"/>
                    <a:pt x="835" y="452"/>
                  </a:cubicBezTo>
                  <a:cubicBezTo>
                    <a:pt x="851" y="452"/>
                    <a:pt x="864" y="439"/>
                    <a:pt x="864" y="423"/>
                  </a:cubicBezTo>
                  <a:cubicBezTo>
                    <a:pt x="864" y="412"/>
                    <a:pt x="864" y="412"/>
                    <a:pt x="864" y="412"/>
                  </a:cubicBezTo>
                  <a:cubicBezTo>
                    <a:pt x="864" y="412"/>
                    <a:pt x="864" y="412"/>
                    <a:pt x="864" y="412"/>
                  </a:cubicBezTo>
                  <a:cubicBezTo>
                    <a:pt x="860" y="329"/>
                    <a:pt x="833" y="252"/>
                    <a:pt x="788" y="188"/>
                  </a:cubicBezTo>
                  <a:cubicBezTo>
                    <a:pt x="788" y="188"/>
                    <a:pt x="788" y="188"/>
                    <a:pt x="788" y="188"/>
                  </a:cubicBezTo>
                  <a:cubicBezTo>
                    <a:pt x="788" y="188"/>
                    <a:pt x="788" y="188"/>
                    <a:pt x="788" y="188"/>
                  </a:cubicBezTo>
                  <a:cubicBezTo>
                    <a:pt x="786" y="184"/>
                    <a:pt x="783" y="181"/>
                    <a:pt x="781" y="178"/>
                  </a:cubicBezTo>
                  <a:cubicBezTo>
                    <a:pt x="778" y="173"/>
                    <a:pt x="778" y="173"/>
                    <a:pt x="778" y="173"/>
                  </a:cubicBezTo>
                  <a:cubicBezTo>
                    <a:pt x="769" y="161"/>
                    <a:pt x="759" y="150"/>
                    <a:pt x="749" y="139"/>
                  </a:cubicBezTo>
                  <a:cubicBezTo>
                    <a:pt x="749" y="138"/>
                    <a:pt x="748" y="138"/>
                    <a:pt x="748" y="138"/>
                  </a:cubicBezTo>
                  <a:cubicBezTo>
                    <a:pt x="739" y="128"/>
                    <a:pt x="730" y="119"/>
                    <a:pt x="721" y="111"/>
                  </a:cubicBezTo>
                  <a:cubicBezTo>
                    <a:pt x="721" y="111"/>
                    <a:pt x="721" y="111"/>
                    <a:pt x="721" y="111"/>
                  </a:cubicBezTo>
                  <a:cubicBezTo>
                    <a:pt x="718" y="108"/>
                    <a:pt x="715" y="105"/>
                    <a:pt x="711" y="103"/>
                  </a:cubicBezTo>
                  <a:cubicBezTo>
                    <a:pt x="711" y="102"/>
                    <a:pt x="711" y="102"/>
                    <a:pt x="710" y="102"/>
                  </a:cubicBezTo>
                  <a:cubicBezTo>
                    <a:pt x="707" y="99"/>
                    <a:pt x="704" y="97"/>
                    <a:pt x="701" y="94"/>
                  </a:cubicBezTo>
                  <a:cubicBezTo>
                    <a:pt x="701" y="94"/>
                    <a:pt x="701" y="94"/>
                    <a:pt x="701" y="94"/>
                  </a:cubicBezTo>
                  <a:cubicBezTo>
                    <a:pt x="694" y="89"/>
                    <a:pt x="687" y="84"/>
                    <a:pt x="681" y="79"/>
                  </a:cubicBezTo>
                  <a:cubicBezTo>
                    <a:pt x="680" y="79"/>
                    <a:pt x="680" y="79"/>
                    <a:pt x="680" y="79"/>
                  </a:cubicBezTo>
                  <a:cubicBezTo>
                    <a:pt x="677" y="76"/>
                    <a:pt x="674" y="74"/>
                    <a:pt x="671" y="72"/>
                  </a:cubicBezTo>
                  <a:cubicBezTo>
                    <a:pt x="669" y="71"/>
                    <a:pt x="668" y="71"/>
                    <a:pt x="667" y="70"/>
                  </a:cubicBezTo>
                  <a:cubicBezTo>
                    <a:pt x="665" y="68"/>
                    <a:pt x="663" y="67"/>
                    <a:pt x="660" y="65"/>
                  </a:cubicBezTo>
                  <a:cubicBezTo>
                    <a:pt x="659" y="65"/>
                    <a:pt x="659" y="65"/>
                    <a:pt x="658" y="64"/>
                  </a:cubicBezTo>
                  <a:cubicBezTo>
                    <a:pt x="651" y="60"/>
                    <a:pt x="644" y="56"/>
                    <a:pt x="637" y="52"/>
                  </a:cubicBezTo>
                  <a:cubicBezTo>
                    <a:pt x="636" y="52"/>
                    <a:pt x="636" y="51"/>
                    <a:pt x="636" y="51"/>
                  </a:cubicBezTo>
                  <a:cubicBezTo>
                    <a:pt x="633" y="50"/>
                    <a:pt x="629" y="48"/>
                    <a:pt x="626" y="46"/>
                  </a:cubicBezTo>
                  <a:cubicBezTo>
                    <a:pt x="625" y="46"/>
                    <a:pt x="624" y="45"/>
                    <a:pt x="624" y="45"/>
                  </a:cubicBezTo>
                  <a:cubicBezTo>
                    <a:pt x="621" y="44"/>
                    <a:pt x="618" y="42"/>
                    <a:pt x="615" y="41"/>
                  </a:cubicBezTo>
                  <a:cubicBezTo>
                    <a:pt x="614" y="40"/>
                    <a:pt x="613" y="40"/>
                    <a:pt x="612" y="40"/>
                  </a:cubicBezTo>
                  <a:cubicBezTo>
                    <a:pt x="609" y="38"/>
                    <a:pt x="606" y="36"/>
                    <a:pt x="602" y="35"/>
                  </a:cubicBezTo>
                  <a:cubicBezTo>
                    <a:pt x="602" y="35"/>
                    <a:pt x="602" y="35"/>
                    <a:pt x="601" y="35"/>
                  </a:cubicBezTo>
                  <a:cubicBezTo>
                    <a:pt x="597" y="33"/>
                    <a:pt x="594" y="31"/>
                    <a:pt x="590" y="30"/>
                  </a:cubicBezTo>
                  <a:cubicBezTo>
                    <a:pt x="589" y="30"/>
                    <a:pt x="589" y="30"/>
                    <a:pt x="588" y="29"/>
                  </a:cubicBezTo>
                  <a:cubicBezTo>
                    <a:pt x="585" y="28"/>
                    <a:pt x="582" y="27"/>
                    <a:pt x="578" y="26"/>
                  </a:cubicBezTo>
                  <a:cubicBezTo>
                    <a:pt x="577" y="25"/>
                    <a:pt x="576" y="25"/>
                    <a:pt x="575" y="25"/>
                  </a:cubicBezTo>
                  <a:cubicBezTo>
                    <a:pt x="572" y="24"/>
                    <a:pt x="569" y="23"/>
                    <a:pt x="567" y="22"/>
                  </a:cubicBezTo>
                  <a:cubicBezTo>
                    <a:pt x="565" y="21"/>
                    <a:pt x="564" y="21"/>
                    <a:pt x="563" y="21"/>
                  </a:cubicBezTo>
                  <a:cubicBezTo>
                    <a:pt x="560" y="20"/>
                    <a:pt x="557" y="19"/>
                    <a:pt x="554" y="18"/>
                  </a:cubicBezTo>
                  <a:cubicBezTo>
                    <a:pt x="553" y="17"/>
                    <a:pt x="552" y="17"/>
                    <a:pt x="552" y="17"/>
                  </a:cubicBezTo>
                  <a:cubicBezTo>
                    <a:pt x="548" y="16"/>
                    <a:pt x="544" y="15"/>
                    <a:pt x="540" y="14"/>
                  </a:cubicBezTo>
                  <a:cubicBezTo>
                    <a:pt x="539" y="14"/>
                    <a:pt x="538" y="13"/>
                    <a:pt x="538" y="13"/>
                  </a:cubicBezTo>
                  <a:cubicBezTo>
                    <a:pt x="535" y="12"/>
                    <a:pt x="531" y="12"/>
                    <a:pt x="528" y="11"/>
                  </a:cubicBezTo>
                  <a:cubicBezTo>
                    <a:pt x="526" y="11"/>
                    <a:pt x="525" y="10"/>
                    <a:pt x="524" y="10"/>
                  </a:cubicBezTo>
                  <a:cubicBezTo>
                    <a:pt x="521" y="9"/>
                    <a:pt x="518" y="9"/>
                    <a:pt x="516" y="8"/>
                  </a:cubicBezTo>
                  <a:cubicBezTo>
                    <a:pt x="514" y="8"/>
                    <a:pt x="513" y="8"/>
                    <a:pt x="511" y="8"/>
                  </a:cubicBezTo>
                  <a:cubicBezTo>
                    <a:pt x="509" y="7"/>
                    <a:pt x="506" y="7"/>
                    <a:pt x="503" y="6"/>
                  </a:cubicBezTo>
                  <a:cubicBezTo>
                    <a:pt x="502" y="6"/>
                    <a:pt x="500" y="6"/>
                    <a:pt x="499" y="5"/>
                  </a:cubicBezTo>
                  <a:cubicBezTo>
                    <a:pt x="495" y="5"/>
                    <a:pt x="491" y="4"/>
                    <a:pt x="487" y="4"/>
                  </a:cubicBezTo>
                  <a:cubicBezTo>
                    <a:pt x="487" y="4"/>
                    <a:pt x="486" y="4"/>
                    <a:pt x="486" y="4"/>
                  </a:cubicBezTo>
                  <a:cubicBezTo>
                    <a:pt x="482" y="3"/>
                    <a:pt x="478" y="3"/>
                    <a:pt x="475" y="2"/>
                  </a:cubicBezTo>
                  <a:cubicBezTo>
                    <a:pt x="473" y="2"/>
                    <a:pt x="472" y="2"/>
                    <a:pt x="471" y="2"/>
                  </a:cubicBezTo>
                  <a:cubicBezTo>
                    <a:pt x="468" y="2"/>
                    <a:pt x="465" y="2"/>
                    <a:pt x="462" y="1"/>
                  </a:cubicBezTo>
                  <a:cubicBezTo>
                    <a:pt x="461" y="1"/>
                    <a:pt x="459" y="1"/>
                    <a:pt x="458" y="1"/>
                  </a:cubicBezTo>
                  <a:cubicBezTo>
                    <a:pt x="456" y="1"/>
                    <a:pt x="454" y="1"/>
                    <a:pt x="452" y="1"/>
                  </a:cubicBezTo>
                  <a:cubicBezTo>
                    <a:pt x="452" y="0"/>
                    <a:pt x="452" y="0"/>
                    <a:pt x="452" y="0"/>
                  </a:cubicBezTo>
                  <a:cubicBezTo>
                    <a:pt x="412" y="0"/>
                    <a:pt x="412" y="0"/>
                    <a:pt x="412" y="0"/>
                  </a:cubicBezTo>
                  <a:cubicBezTo>
                    <a:pt x="412" y="1"/>
                    <a:pt x="412" y="1"/>
                    <a:pt x="412" y="1"/>
                  </a:cubicBezTo>
                  <a:cubicBezTo>
                    <a:pt x="410" y="1"/>
                    <a:pt x="409" y="1"/>
                    <a:pt x="407" y="1"/>
                  </a:cubicBezTo>
                  <a:cubicBezTo>
                    <a:pt x="405" y="1"/>
                    <a:pt x="404" y="1"/>
                    <a:pt x="402" y="1"/>
                  </a:cubicBezTo>
                  <a:cubicBezTo>
                    <a:pt x="400" y="2"/>
                    <a:pt x="397" y="2"/>
                    <a:pt x="394" y="2"/>
                  </a:cubicBezTo>
                  <a:cubicBezTo>
                    <a:pt x="393" y="2"/>
                    <a:pt x="391" y="2"/>
                    <a:pt x="390" y="2"/>
                  </a:cubicBezTo>
                  <a:cubicBezTo>
                    <a:pt x="386" y="3"/>
                    <a:pt x="383" y="3"/>
                    <a:pt x="379" y="4"/>
                  </a:cubicBezTo>
                  <a:cubicBezTo>
                    <a:pt x="378" y="4"/>
                    <a:pt x="378" y="4"/>
                    <a:pt x="378" y="4"/>
                  </a:cubicBezTo>
                  <a:cubicBezTo>
                    <a:pt x="373" y="4"/>
                    <a:pt x="369" y="5"/>
                    <a:pt x="365" y="5"/>
                  </a:cubicBezTo>
                  <a:cubicBezTo>
                    <a:pt x="364" y="6"/>
                    <a:pt x="363" y="6"/>
                    <a:pt x="362" y="6"/>
                  </a:cubicBezTo>
                  <a:cubicBezTo>
                    <a:pt x="359" y="7"/>
                    <a:pt x="356" y="7"/>
                    <a:pt x="353" y="8"/>
                  </a:cubicBezTo>
                  <a:cubicBezTo>
                    <a:pt x="352" y="8"/>
                    <a:pt x="350" y="8"/>
                    <a:pt x="349" y="8"/>
                  </a:cubicBezTo>
                  <a:cubicBezTo>
                    <a:pt x="346" y="9"/>
                    <a:pt x="343" y="9"/>
                    <a:pt x="340" y="10"/>
                  </a:cubicBezTo>
                  <a:cubicBezTo>
                    <a:pt x="339" y="10"/>
                    <a:pt x="338" y="11"/>
                    <a:pt x="337" y="11"/>
                  </a:cubicBezTo>
                  <a:cubicBezTo>
                    <a:pt x="333" y="12"/>
                    <a:pt x="330" y="12"/>
                    <a:pt x="327" y="13"/>
                  </a:cubicBezTo>
                  <a:cubicBezTo>
                    <a:pt x="326" y="13"/>
                    <a:pt x="325" y="14"/>
                    <a:pt x="325" y="14"/>
                  </a:cubicBezTo>
                  <a:cubicBezTo>
                    <a:pt x="321" y="15"/>
                    <a:pt x="317" y="16"/>
                    <a:pt x="313" y="17"/>
                  </a:cubicBezTo>
                  <a:cubicBezTo>
                    <a:pt x="312" y="17"/>
                    <a:pt x="311" y="17"/>
                    <a:pt x="311" y="18"/>
                  </a:cubicBezTo>
                  <a:cubicBezTo>
                    <a:pt x="307" y="19"/>
                    <a:pt x="304" y="20"/>
                    <a:pt x="301" y="21"/>
                  </a:cubicBezTo>
                  <a:cubicBezTo>
                    <a:pt x="300" y="21"/>
                    <a:pt x="299" y="21"/>
                    <a:pt x="298" y="22"/>
                  </a:cubicBezTo>
                  <a:cubicBezTo>
                    <a:pt x="295" y="23"/>
                    <a:pt x="292" y="24"/>
                    <a:pt x="289" y="25"/>
                  </a:cubicBezTo>
                  <a:cubicBezTo>
                    <a:pt x="288" y="25"/>
                    <a:pt x="287" y="25"/>
                    <a:pt x="286" y="26"/>
                  </a:cubicBezTo>
                  <a:cubicBezTo>
                    <a:pt x="283" y="27"/>
                    <a:pt x="280" y="28"/>
                    <a:pt x="276" y="29"/>
                  </a:cubicBezTo>
                  <a:cubicBezTo>
                    <a:pt x="276" y="30"/>
                    <a:pt x="275" y="30"/>
                    <a:pt x="275" y="30"/>
                  </a:cubicBezTo>
                  <a:cubicBezTo>
                    <a:pt x="271" y="31"/>
                    <a:pt x="267" y="33"/>
                    <a:pt x="263" y="35"/>
                  </a:cubicBezTo>
                  <a:cubicBezTo>
                    <a:pt x="263" y="35"/>
                    <a:pt x="263" y="35"/>
                    <a:pt x="262" y="35"/>
                  </a:cubicBezTo>
                  <a:cubicBezTo>
                    <a:pt x="259" y="36"/>
                    <a:pt x="256" y="38"/>
                    <a:pt x="252" y="40"/>
                  </a:cubicBezTo>
                  <a:cubicBezTo>
                    <a:pt x="251" y="40"/>
                    <a:pt x="251" y="40"/>
                    <a:pt x="250" y="41"/>
                  </a:cubicBezTo>
                  <a:cubicBezTo>
                    <a:pt x="247" y="42"/>
                    <a:pt x="243" y="44"/>
                    <a:pt x="240" y="45"/>
                  </a:cubicBezTo>
                  <a:cubicBezTo>
                    <a:pt x="240" y="46"/>
                    <a:pt x="239" y="46"/>
                    <a:pt x="238" y="46"/>
                  </a:cubicBezTo>
                  <a:cubicBezTo>
                    <a:pt x="235" y="48"/>
                    <a:pt x="232" y="50"/>
                    <a:pt x="229" y="51"/>
                  </a:cubicBezTo>
                  <a:cubicBezTo>
                    <a:pt x="228" y="51"/>
                    <a:pt x="228" y="52"/>
                    <a:pt x="228" y="52"/>
                  </a:cubicBezTo>
                  <a:cubicBezTo>
                    <a:pt x="220" y="56"/>
                    <a:pt x="213" y="60"/>
                    <a:pt x="206" y="64"/>
                  </a:cubicBezTo>
                  <a:cubicBezTo>
                    <a:pt x="206" y="65"/>
                    <a:pt x="205" y="65"/>
                    <a:pt x="205" y="65"/>
                  </a:cubicBezTo>
                  <a:cubicBezTo>
                    <a:pt x="202" y="67"/>
                    <a:pt x="200" y="68"/>
                    <a:pt x="197" y="70"/>
                  </a:cubicBezTo>
                  <a:cubicBezTo>
                    <a:pt x="196" y="70"/>
                    <a:pt x="195" y="71"/>
                    <a:pt x="194" y="72"/>
                  </a:cubicBezTo>
                  <a:cubicBezTo>
                    <a:pt x="191" y="74"/>
                    <a:pt x="188" y="76"/>
                    <a:pt x="184" y="79"/>
                  </a:cubicBezTo>
                  <a:cubicBezTo>
                    <a:pt x="184" y="79"/>
                    <a:pt x="184" y="79"/>
                    <a:pt x="184" y="79"/>
                  </a:cubicBezTo>
                  <a:cubicBezTo>
                    <a:pt x="177" y="84"/>
                    <a:pt x="170" y="89"/>
                    <a:pt x="164" y="94"/>
                  </a:cubicBezTo>
                  <a:cubicBezTo>
                    <a:pt x="163" y="94"/>
                    <a:pt x="163" y="94"/>
                    <a:pt x="163" y="94"/>
                  </a:cubicBezTo>
                  <a:cubicBezTo>
                    <a:pt x="160" y="97"/>
                    <a:pt x="157" y="99"/>
                    <a:pt x="154" y="102"/>
                  </a:cubicBezTo>
                  <a:cubicBezTo>
                    <a:pt x="154" y="102"/>
                    <a:pt x="153" y="102"/>
                    <a:pt x="153" y="103"/>
                  </a:cubicBezTo>
                  <a:cubicBezTo>
                    <a:pt x="150" y="105"/>
                    <a:pt x="147" y="108"/>
                    <a:pt x="144" y="111"/>
                  </a:cubicBezTo>
                  <a:cubicBezTo>
                    <a:pt x="144" y="111"/>
                    <a:pt x="144" y="111"/>
                    <a:pt x="144" y="111"/>
                  </a:cubicBezTo>
                  <a:cubicBezTo>
                    <a:pt x="134" y="119"/>
                    <a:pt x="125" y="128"/>
                    <a:pt x="117" y="138"/>
                  </a:cubicBezTo>
                  <a:cubicBezTo>
                    <a:pt x="116" y="138"/>
                    <a:pt x="116" y="138"/>
                    <a:pt x="116" y="139"/>
                  </a:cubicBezTo>
                  <a:cubicBezTo>
                    <a:pt x="104" y="151"/>
                    <a:pt x="94" y="164"/>
                    <a:pt x="84" y="177"/>
                  </a:cubicBezTo>
                  <a:cubicBezTo>
                    <a:pt x="83" y="178"/>
                    <a:pt x="83" y="178"/>
                    <a:pt x="83" y="178"/>
                  </a:cubicBezTo>
                  <a:cubicBezTo>
                    <a:pt x="81" y="181"/>
                    <a:pt x="79" y="184"/>
                    <a:pt x="76" y="188"/>
                  </a:cubicBezTo>
                  <a:cubicBezTo>
                    <a:pt x="76" y="188"/>
                    <a:pt x="76" y="188"/>
                    <a:pt x="76" y="188"/>
                  </a:cubicBezTo>
                  <a:cubicBezTo>
                    <a:pt x="76" y="188"/>
                    <a:pt x="76" y="188"/>
                    <a:pt x="76" y="188"/>
                  </a:cubicBezTo>
                  <a:cubicBezTo>
                    <a:pt x="32" y="252"/>
                    <a:pt x="5" y="329"/>
                    <a:pt x="1" y="412"/>
                  </a:cubicBezTo>
                  <a:cubicBezTo>
                    <a:pt x="0" y="412"/>
                    <a:pt x="0" y="412"/>
                    <a:pt x="0" y="412"/>
                  </a:cubicBezTo>
                  <a:cubicBezTo>
                    <a:pt x="0" y="423"/>
                    <a:pt x="0" y="423"/>
                    <a:pt x="0" y="423"/>
                  </a:cubicBezTo>
                  <a:cubicBezTo>
                    <a:pt x="0" y="439"/>
                    <a:pt x="13" y="452"/>
                    <a:pt x="29" y="452"/>
                  </a:cubicBezTo>
                  <a:lnTo>
                    <a:pt x="41" y="452"/>
                  </a:lnTo>
                  <a:close/>
                  <a:moveTo>
                    <a:pt x="757" y="214"/>
                  </a:moveTo>
                  <a:cubicBezTo>
                    <a:pt x="796" y="271"/>
                    <a:pt x="820" y="339"/>
                    <a:pt x="823" y="412"/>
                  </a:cubicBezTo>
                  <a:cubicBezTo>
                    <a:pt x="668" y="412"/>
                    <a:pt x="668" y="412"/>
                    <a:pt x="668" y="412"/>
                  </a:cubicBezTo>
                  <a:cubicBezTo>
                    <a:pt x="667" y="358"/>
                    <a:pt x="660" y="306"/>
                    <a:pt x="648" y="258"/>
                  </a:cubicBezTo>
                  <a:cubicBezTo>
                    <a:pt x="693" y="247"/>
                    <a:pt x="730" y="231"/>
                    <a:pt x="757" y="214"/>
                  </a:cubicBezTo>
                  <a:close/>
                  <a:moveTo>
                    <a:pt x="579" y="69"/>
                  </a:moveTo>
                  <a:cubicBezTo>
                    <a:pt x="579" y="69"/>
                    <a:pt x="579" y="69"/>
                    <a:pt x="580" y="69"/>
                  </a:cubicBezTo>
                  <a:cubicBezTo>
                    <a:pt x="582" y="70"/>
                    <a:pt x="585" y="71"/>
                    <a:pt x="588" y="73"/>
                  </a:cubicBezTo>
                  <a:cubicBezTo>
                    <a:pt x="589" y="73"/>
                    <a:pt x="589" y="73"/>
                    <a:pt x="590" y="74"/>
                  </a:cubicBezTo>
                  <a:cubicBezTo>
                    <a:pt x="592" y="75"/>
                    <a:pt x="595" y="76"/>
                    <a:pt x="597" y="77"/>
                  </a:cubicBezTo>
                  <a:cubicBezTo>
                    <a:pt x="598" y="77"/>
                    <a:pt x="599" y="78"/>
                    <a:pt x="600" y="78"/>
                  </a:cubicBezTo>
                  <a:cubicBezTo>
                    <a:pt x="602" y="79"/>
                    <a:pt x="603" y="80"/>
                    <a:pt x="605" y="80"/>
                  </a:cubicBezTo>
                  <a:cubicBezTo>
                    <a:pt x="607" y="81"/>
                    <a:pt x="608" y="82"/>
                    <a:pt x="610" y="83"/>
                  </a:cubicBezTo>
                  <a:cubicBezTo>
                    <a:pt x="611" y="83"/>
                    <a:pt x="611" y="84"/>
                    <a:pt x="612" y="84"/>
                  </a:cubicBezTo>
                  <a:cubicBezTo>
                    <a:pt x="658" y="108"/>
                    <a:pt x="700" y="141"/>
                    <a:pt x="733" y="181"/>
                  </a:cubicBezTo>
                  <a:cubicBezTo>
                    <a:pt x="710" y="196"/>
                    <a:pt x="678" y="209"/>
                    <a:pt x="638" y="220"/>
                  </a:cubicBezTo>
                  <a:cubicBezTo>
                    <a:pt x="617" y="153"/>
                    <a:pt x="587" y="97"/>
                    <a:pt x="551" y="59"/>
                  </a:cubicBezTo>
                  <a:cubicBezTo>
                    <a:pt x="560" y="62"/>
                    <a:pt x="570" y="65"/>
                    <a:pt x="579" y="69"/>
                  </a:cubicBezTo>
                  <a:close/>
                  <a:moveTo>
                    <a:pt x="452" y="43"/>
                  </a:moveTo>
                  <a:cubicBezTo>
                    <a:pt x="493" y="52"/>
                    <a:pt x="533" y="88"/>
                    <a:pt x="564" y="146"/>
                  </a:cubicBezTo>
                  <a:cubicBezTo>
                    <a:pt x="578" y="171"/>
                    <a:pt x="589" y="199"/>
                    <a:pt x="599" y="229"/>
                  </a:cubicBezTo>
                  <a:cubicBezTo>
                    <a:pt x="556" y="237"/>
                    <a:pt x="506" y="243"/>
                    <a:pt x="452" y="244"/>
                  </a:cubicBezTo>
                  <a:lnTo>
                    <a:pt x="452" y="43"/>
                  </a:lnTo>
                  <a:close/>
                  <a:moveTo>
                    <a:pt x="452" y="284"/>
                  </a:moveTo>
                  <a:cubicBezTo>
                    <a:pt x="509" y="283"/>
                    <a:pt x="562" y="277"/>
                    <a:pt x="609" y="267"/>
                  </a:cubicBezTo>
                  <a:cubicBezTo>
                    <a:pt x="620" y="312"/>
                    <a:pt x="627" y="361"/>
                    <a:pt x="628" y="412"/>
                  </a:cubicBezTo>
                  <a:cubicBezTo>
                    <a:pt x="452" y="412"/>
                    <a:pt x="452" y="412"/>
                    <a:pt x="452" y="412"/>
                  </a:cubicBezTo>
                  <a:lnTo>
                    <a:pt x="452" y="284"/>
                  </a:lnTo>
                  <a:close/>
                  <a:moveTo>
                    <a:pt x="412" y="412"/>
                  </a:moveTo>
                  <a:cubicBezTo>
                    <a:pt x="237" y="412"/>
                    <a:pt x="237" y="412"/>
                    <a:pt x="237" y="412"/>
                  </a:cubicBezTo>
                  <a:cubicBezTo>
                    <a:pt x="238" y="361"/>
                    <a:pt x="244" y="312"/>
                    <a:pt x="255" y="267"/>
                  </a:cubicBezTo>
                  <a:cubicBezTo>
                    <a:pt x="302" y="277"/>
                    <a:pt x="356" y="283"/>
                    <a:pt x="412" y="284"/>
                  </a:cubicBezTo>
                  <a:lnTo>
                    <a:pt x="412" y="412"/>
                  </a:lnTo>
                  <a:close/>
                  <a:moveTo>
                    <a:pt x="412" y="43"/>
                  </a:moveTo>
                  <a:cubicBezTo>
                    <a:pt x="412" y="244"/>
                    <a:pt x="412" y="244"/>
                    <a:pt x="412" y="244"/>
                  </a:cubicBezTo>
                  <a:cubicBezTo>
                    <a:pt x="358" y="243"/>
                    <a:pt x="309" y="237"/>
                    <a:pt x="266" y="229"/>
                  </a:cubicBezTo>
                  <a:cubicBezTo>
                    <a:pt x="275" y="199"/>
                    <a:pt x="287" y="171"/>
                    <a:pt x="300" y="146"/>
                  </a:cubicBezTo>
                  <a:cubicBezTo>
                    <a:pt x="332" y="88"/>
                    <a:pt x="372" y="52"/>
                    <a:pt x="412" y="43"/>
                  </a:cubicBezTo>
                  <a:close/>
                  <a:moveTo>
                    <a:pt x="253" y="84"/>
                  </a:moveTo>
                  <a:cubicBezTo>
                    <a:pt x="253" y="84"/>
                    <a:pt x="254" y="83"/>
                    <a:pt x="254" y="83"/>
                  </a:cubicBezTo>
                  <a:cubicBezTo>
                    <a:pt x="256" y="82"/>
                    <a:pt x="258" y="81"/>
                    <a:pt x="260" y="80"/>
                  </a:cubicBezTo>
                  <a:cubicBezTo>
                    <a:pt x="261" y="80"/>
                    <a:pt x="263" y="79"/>
                    <a:pt x="264" y="78"/>
                  </a:cubicBezTo>
                  <a:cubicBezTo>
                    <a:pt x="265" y="78"/>
                    <a:pt x="267" y="77"/>
                    <a:pt x="268" y="77"/>
                  </a:cubicBezTo>
                  <a:cubicBezTo>
                    <a:pt x="270" y="76"/>
                    <a:pt x="272" y="75"/>
                    <a:pt x="274" y="74"/>
                  </a:cubicBezTo>
                  <a:cubicBezTo>
                    <a:pt x="275" y="73"/>
                    <a:pt x="276" y="73"/>
                    <a:pt x="276" y="73"/>
                  </a:cubicBezTo>
                  <a:cubicBezTo>
                    <a:pt x="279" y="71"/>
                    <a:pt x="282" y="70"/>
                    <a:pt x="285" y="69"/>
                  </a:cubicBezTo>
                  <a:cubicBezTo>
                    <a:pt x="285" y="69"/>
                    <a:pt x="285" y="69"/>
                    <a:pt x="285" y="69"/>
                  </a:cubicBezTo>
                  <a:cubicBezTo>
                    <a:pt x="295" y="65"/>
                    <a:pt x="304" y="62"/>
                    <a:pt x="314" y="59"/>
                  </a:cubicBezTo>
                  <a:cubicBezTo>
                    <a:pt x="277" y="97"/>
                    <a:pt x="247" y="153"/>
                    <a:pt x="227" y="220"/>
                  </a:cubicBezTo>
                  <a:cubicBezTo>
                    <a:pt x="187" y="209"/>
                    <a:pt x="154" y="196"/>
                    <a:pt x="131" y="181"/>
                  </a:cubicBezTo>
                  <a:cubicBezTo>
                    <a:pt x="165" y="141"/>
                    <a:pt x="206" y="108"/>
                    <a:pt x="253" y="84"/>
                  </a:cubicBezTo>
                  <a:close/>
                  <a:moveTo>
                    <a:pt x="107" y="214"/>
                  </a:moveTo>
                  <a:cubicBezTo>
                    <a:pt x="135" y="231"/>
                    <a:pt x="172" y="247"/>
                    <a:pt x="216" y="258"/>
                  </a:cubicBezTo>
                  <a:cubicBezTo>
                    <a:pt x="205" y="306"/>
                    <a:pt x="198" y="358"/>
                    <a:pt x="197" y="412"/>
                  </a:cubicBezTo>
                  <a:cubicBezTo>
                    <a:pt x="41" y="412"/>
                    <a:pt x="41" y="412"/>
                    <a:pt x="41" y="412"/>
                  </a:cubicBezTo>
                  <a:cubicBezTo>
                    <a:pt x="45" y="339"/>
                    <a:pt x="69" y="271"/>
                    <a:pt x="107" y="2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00" name="Freeform 7">
              <a:extLst>
                <a:ext uri="{FF2B5EF4-FFF2-40B4-BE49-F238E27FC236}">
                  <a16:creationId xmlns:a16="http://schemas.microsoft.com/office/drawing/2014/main" id="{2BC3B81E-C648-2643-B471-62D85C4DE366}"/>
                </a:ext>
              </a:extLst>
            </p:cNvPr>
            <p:cNvSpPr>
              <a:spLocks/>
            </p:cNvSpPr>
            <p:nvPr/>
          </p:nvSpPr>
          <p:spPr bwMode="auto">
            <a:xfrm>
              <a:off x="4114783" y="2585746"/>
              <a:ext cx="117475" cy="119062"/>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01" name="Freeform 8">
              <a:extLst>
                <a:ext uri="{FF2B5EF4-FFF2-40B4-BE49-F238E27FC236}">
                  <a16:creationId xmlns:a16="http://schemas.microsoft.com/office/drawing/2014/main" id="{8E18E98E-F5AD-9E4B-8799-CF2FB22AB765}"/>
                </a:ext>
              </a:extLst>
            </p:cNvPr>
            <p:cNvSpPr>
              <a:spLocks/>
            </p:cNvSpPr>
            <p:nvPr/>
          </p:nvSpPr>
          <p:spPr bwMode="auto">
            <a:xfrm>
              <a:off x="4279883" y="2585741"/>
              <a:ext cx="117475" cy="119062"/>
            </a:xfrm>
            <a:custGeom>
              <a:avLst/>
              <a:gdLst>
                <a:gd name="T0" fmla="*/ 75 w 104"/>
                <a:gd name="T1" fmla="*/ 105 h 105"/>
                <a:gd name="T2" fmla="*/ 28 w 104"/>
                <a:gd name="T3" fmla="*/ 105 h 105"/>
                <a:gd name="T4" fmla="*/ 0 w 104"/>
                <a:gd name="T5" fmla="*/ 76 h 105"/>
                <a:gd name="T6" fmla="*/ 0 w 104"/>
                <a:gd name="T7" fmla="*/ 29 h 105"/>
                <a:gd name="T8" fmla="*/ 28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8" y="105"/>
                    <a:pt x="28" y="105"/>
                    <a:pt x="28" y="105"/>
                  </a:cubicBezTo>
                  <a:cubicBezTo>
                    <a:pt x="12" y="105"/>
                    <a:pt x="0" y="92"/>
                    <a:pt x="0" y="76"/>
                  </a:cubicBezTo>
                  <a:cubicBezTo>
                    <a:pt x="0" y="29"/>
                    <a:pt x="0" y="29"/>
                    <a:pt x="0" y="29"/>
                  </a:cubicBezTo>
                  <a:cubicBezTo>
                    <a:pt x="0" y="13"/>
                    <a:pt x="12" y="0"/>
                    <a:pt x="28"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02" name="Freeform 9">
              <a:extLst>
                <a:ext uri="{FF2B5EF4-FFF2-40B4-BE49-F238E27FC236}">
                  <a16:creationId xmlns:a16="http://schemas.microsoft.com/office/drawing/2014/main" id="{2BF65213-58D3-E84A-87B2-FF1EE853850C}"/>
                </a:ext>
              </a:extLst>
            </p:cNvPr>
            <p:cNvSpPr>
              <a:spLocks/>
            </p:cNvSpPr>
            <p:nvPr/>
          </p:nvSpPr>
          <p:spPr bwMode="auto">
            <a:xfrm>
              <a:off x="4444982" y="2587328"/>
              <a:ext cx="117475" cy="119062"/>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03" name="Freeform 10">
              <a:extLst>
                <a:ext uri="{FF2B5EF4-FFF2-40B4-BE49-F238E27FC236}">
                  <a16:creationId xmlns:a16="http://schemas.microsoft.com/office/drawing/2014/main" id="{A25265D8-7351-8A4B-9EA8-C4E769C62F57}"/>
                </a:ext>
              </a:extLst>
            </p:cNvPr>
            <p:cNvSpPr>
              <a:spLocks/>
            </p:cNvSpPr>
            <p:nvPr/>
          </p:nvSpPr>
          <p:spPr bwMode="auto">
            <a:xfrm>
              <a:off x="4610082" y="2587328"/>
              <a:ext cx="117475" cy="119062"/>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04" name="Freeform 11">
              <a:extLst>
                <a:ext uri="{FF2B5EF4-FFF2-40B4-BE49-F238E27FC236}">
                  <a16:creationId xmlns:a16="http://schemas.microsoft.com/office/drawing/2014/main" id="{2337934C-972F-FD48-AF1B-26361A978752}"/>
                </a:ext>
              </a:extLst>
            </p:cNvPr>
            <p:cNvSpPr>
              <a:spLocks/>
            </p:cNvSpPr>
            <p:nvPr/>
          </p:nvSpPr>
          <p:spPr bwMode="auto">
            <a:xfrm>
              <a:off x="4775182" y="2585745"/>
              <a:ext cx="117475" cy="119062"/>
            </a:xfrm>
            <a:custGeom>
              <a:avLst/>
              <a:gdLst>
                <a:gd name="T0" fmla="*/ 76 w 104"/>
                <a:gd name="T1" fmla="*/ 105 h 105"/>
                <a:gd name="T2" fmla="*/ 29 w 104"/>
                <a:gd name="T3" fmla="*/ 105 h 105"/>
                <a:gd name="T4" fmla="*/ 0 w 104"/>
                <a:gd name="T5" fmla="*/ 76 h 105"/>
                <a:gd name="T6" fmla="*/ 0 w 104"/>
                <a:gd name="T7" fmla="*/ 29 h 105"/>
                <a:gd name="T8" fmla="*/ 29 w 104"/>
                <a:gd name="T9" fmla="*/ 0 h 105"/>
                <a:gd name="T10" fmla="*/ 76 w 104"/>
                <a:gd name="T11" fmla="*/ 0 h 105"/>
                <a:gd name="T12" fmla="*/ 104 w 104"/>
                <a:gd name="T13" fmla="*/ 29 h 105"/>
                <a:gd name="T14" fmla="*/ 104 w 104"/>
                <a:gd name="T15" fmla="*/ 76 h 105"/>
                <a:gd name="T16" fmla="*/ 76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4" y="13"/>
                    <a:pt x="104" y="29"/>
                  </a:cubicBezTo>
                  <a:cubicBezTo>
                    <a:pt x="104" y="76"/>
                    <a:pt x="104" y="76"/>
                    <a:pt x="104" y="76"/>
                  </a:cubicBezTo>
                  <a:cubicBezTo>
                    <a:pt x="104" y="92"/>
                    <a:pt x="92" y="105"/>
                    <a:pt x="76" y="105"/>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05" name="Freeform 12">
              <a:extLst>
                <a:ext uri="{FF2B5EF4-FFF2-40B4-BE49-F238E27FC236}">
                  <a16:creationId xmlns:a16="http://schemas.microsoft.com/office/drawing/2014/main" id="{F68D50D5-0C7A-8B45-92F8-7FE32FD488A1}"/>
                </a:ext>
              </a:extLst>
            </p:cNvPr>
            <p:cNvSpPr>
              <a:spLocks/>
            </p:cNvSpPr>
            <p:nvPr/>
          </p:nvSpPr>
          <p:spPr bwMode="auto">
            <a:xfrm>
              <a:off x="4940286" y="2587328"/>
              <a:ext cx="119062" cy="119062"/>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06" name="Freeform 13">
              <a:extLst>
                <a:ext uri="{FF2B5EF4-FFF2-40B4-BE49-F238E27FC236}">
                  <a16:creationId xmlns:a16="http://schemas.microsoft.com/office/drawing/2014/main" id="{83A83557-5D40-494E-AB9E-04DA91109DDC}"/>
                </a:ext>
              </a:extLst>
            </p:cNvPr>
            <p:cNvSpPr>
              <a:spLocks/>
            </p:cNvSpPr>
            <p:nvPr/>
          </p:nvSpPr>
          <p:spPr bwMode="auto">
            <a:xfrm>
              <a:off x="4192572" y="2742904"/>
              <a:ext cx="98425" cy="98424"/>
            </a:xfrm>
            <a:custGeom>
              <a:avLst/>
              <a:gdLst>
                <a:gd name="T0" fmla="*/ 58 w 87"/>
                <a:gd name="T1" fmla="*/ 87 h 87"/>
                <a:gd name="T2" fmla="*/ 28 w 87"/>
                <a:gd name="T3" fmla="*/ 87 h 87"/>
                <a:gd name="T4" fmla="*/ 0 w 87"/>
                <a:gd name="T5" fmla="*/ 58 h 87"/>
                <a:gd name="T6" fmla="*/ 0 w 87"/>
                <a:gd name="T7" fmla="*/ 29 h 87"/>
                <a:gd name="T8" fmla="*/ 28 w 87"/>
                <a:gd name="T9" fmla="*/ 0 h 87"/>
                <a:gd name="T10" fmla="*/ 58 w 87"/>
                <a:gd name="T11" fmla="*/ 0 h 87"/>
                <a:gd name="T12" fmla="*/ 87 w 87"/>
                <a:gd name="T13" fmla="*/ 29 h 87"/>
                <a:gd name="T14" fmla="*/ 87 w 87"/>
                <a:gd name="T15" fmla="*/ 58 h 87"/>
                <a:gd name="T16" fmla="*/ 58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8" y="87"/>
                  </a:moveTo>
                  <a:cubicBezTo>
                    <a:pt x="28" y="87"/>
                    <a:pt x="28" y="87"/>
                    <a:pt x="28" y="87"/>
                  </a:cubicBezTo>
                  <a:cubicBezTo>
                    <a:pt x="12" y="87"/>
                    <a:pt x="0" y="74"/>
                    <a:pt x="0" y="58"/>
                  </a:cubicBezTo>
                  <a:cubicBezTo>
                    <a:pt x="0" y="29"/>
                    <a:pt x="0" y="29"/>
                    <a:pt x="0" y="29"/>
                  </a:cubicBezTo>
                  <a:cubicBezTo>
                    <a:pt x="0" y="13"/>
                    <a:pt x="12" y="0"/>
                    <a:pt x="28" y="0"/>
                  </a:cubicBezTo>
                  <a:cubicBezTo>
                    <a:pt x="58" y="0"/>
                    <a:pt x="58" y="0"/>
                    <a:pt x="58" y="0"/>
                  </a:cubicBezTo>
                  <a:cubicBezTo>
                    <a:pt x="74" y="0"/>
                    <a:pt x="87" y="13"/>
                    <a:pt x="87" y="29"/>
                  </a:cubicBezTo>
                  <a:cubicBezTo>
                    <a:pt x="87" y="58"/>
                    <a:pt x="87" y="58"/>
                    <a:pt x="87" y="58"/>
                  </a:cubicBezTo>
                  <a:cubicBezTo>
                    <a:pt x="87" y="74"/>
                    <a:pt x="74" y="87"/>
                    <a:pt x="58" y="8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07" name="Freeform 14">
              <a:extLst>
                <a:ext uri="{FF2B5EF4-FFF2-40B4-BE49-F238E27FC236}">
                  <a16:creationId xmlns:a16="http://schemas.microsoft.com/office/drawing/2014/main" id="{914F48F1-BD50-E34F-B47D-02FDC9A6CC0D}"/>
                </a:ext>
              </a:extLst>
            </p:cNvPr>
            <p:cNvSpPr>
              <a:spLocks/>
            </p:cNvSpPr>
            <p:nvPr/>
          </p:nvSpPr>
          <p:spPr bwMode="auto">
            <a:xfrm>
              <a:off x="4364021" y="2742904"/>
              <a:ext cx="100013" cy="98424"/>
            </a:xfrm>
            <a:custGeom>
              <a:avLst/>
              <a:gdLst>
                <a:gd name="T0" fmla="*/ 59 w 88"/>
                <a:gd name="T1" fmla="*/ 87 h 87"/>
                <a:gd name="T2" fmla="*/ 29 w 88"/>
                <a:gd name="T3" fmla="*/ 87 h 87"/>
                <a:gd name="T4" fmla="*/ 0 w 88"/>
                <a:gd name="T5" fmla="*/ 58 h 87"/>
                <a:gd name="T6" fmla="*/ 0 w 88"/>
                <a:gd name="T7" fmla="*/ 29 h 87"/>
                <a:gd name="T8" fmla="*/ 29 w 88"/>
                <a:gd name="T9" fmla="*/ 0 h 87"/>
                <a:gd name="T10" fmla="*/ 59 w 88"/>
                <a:gd name="T11" fmla="*/ 0 h 87"/>
                <a:gd name="T12" fmla="*/ 88 w 88"/>
                <a:gd name="T13" fmla="*/ 29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9"/>
                    <a:pt x="0" y="29"/>
                    <a:pt x="0" y="29"/>
                  </a:cubicBezTo>
                  <a:cubicBezTo>
                    <a:pt x="0" y="13"/>
                    <a:pt x="13" y="0"/>
                    <a:pt x="29" y="0"/>
                  </a:cubicBezTo>
                  <a:cubicBezTo>
                    <a:pt x="59" y="0"/>
                    <a:pt x="59" y="0"/>
                    <a:pt x="59" y="0"/>
                  </a:cubicBezTo>
                  <a:cubicBezTo>
                    <a:pt x="75" y="0"/>
                    <a:pt x="88" y="13"/>
                    <a:pt x="88" y="29"/>
                  </a:cubicBezTo>
                  <a:cubicBezTo>
                    <a:pt x="88" y="58"/>
                    <a:pt x="88" y="58"/>
                    <a:pt x="88" y="58"/>
                  </a:cubicBezTo>
                  <a:cubicBezTo>
                    <a:pt x="88" y="74"/>
                    <a:pt x="75" y="87"/>
                    <a:pt x="59" y="87"/>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08" name="Freeform 15">
              <a:extLst>
                <a:ext uri="{FF2B5EF4-FFF2-40B4-BE49-F238E27FC236}">
                  <a16:creationId xmlns:a16="http://schemas.microsoft.com/office/drawing/2014/main" id="{57560A2B-9789-224B-A161-01F008EC3C77}"/>
                </a:ext>
              </a:extLst>
            </p:cNvPr>
            <p:cNvSpPr>
              <a:spLocks/>
            </p:cNvSpPr>
            <p:nvPr/>
          </p:nvSpPr>
          <p:spPr bwMode="auto">
            <a:xfrm>
              <a:off x="4537060" y="2742904"/>
              <a:ext cx="100013" cy="98424"/>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09" name="Freeform 16">
              <a:extLst>
                <a:ext uri="{FF2B5EF4-FFF2-40B4-BE49-F238E27FC236}">
                  <a16:creationId xmlns:a16="http://schemas.microsoft.com/office/drawing/2014/main" id="{8F566DB1-D5C3-584A-A937-E7764C6499B8}"/>
                </a:ext>
              </a:extLst>
            </p:cNvPr>
            <p:cNvSpPr>
              <a:spLocks/>
            </p:cNvSpPr>
            <p:nvPr/>
          </p:nvSpPr>
          <p:spPr bwMode="auto">
            <a:xfrm>
              <a:off x="4710095" y="2742899"/>
              <a:ext cx="98425" cy="98424"/>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10" name="Freeform 17">
              <a:extLst>
                <a:ext uri="{FF2B5EF4-FFF2-40B4-BE49-F238E27FC236}">
                  <a16:creationId xmlns:a16="http://schemas.microsoft.com/office/drawing/2014/main" id="{43E1F42A-E2A7-5748-B3F8-F8C5351CC528}"/>
                </a:ext>
              </a:extLst>
            </p:cNvPr>
            <p:cNvSpPr>
              <a:spLocks/>
            </p:cNvSpPr>
            <p:nvPr/>
          </p:nvSpPr>
          <p:spPr bwMode="auto">
            <a:xfrm>
              <a:off x="4883129" y="2742897"/>
              <a:ext cx="98425" cy="98424"/>
            </a:xfrm>
            <a:custGeom>
              <a:avLst/>
              <a:gdLst>
                <a:gd name="T0" fmla="*/ 59 w 87"/>
                <a:gd name="T1" fmla="*/ 87 h 87"/>
                <a:gd name="T2" fmla="*/ 29 w 87"/>
                <a:gd name="T3" fmla="*/ 87 h 87"/>
                <a:gd name="T4" fmla="*/ 0 w 87"/>
                <a:gd name="T5" fmla="*/ 58 h 87"/>
                <a:gd name="T6" fmla="*/ 0 w 87"/>
                <a:gd name="T7" fmla="*/ 28 h 87"/>
                <a:gd name="T8" fmla="*/ 29 w 87"/>
                <a:gd name="T9" fmla="*/ 0 h 87"/>
                <a:gd name="T10" fmla="*/ 59 w 87"/>
                <a:gd name="T11" fmla="*/ 0 h 87"/>
                <a:gd name="T12" fmla="*/ 87 w 87"/>
                <a:gd name="T13" fmla="*/ 28 h 87"/>
                <a:gd name="T14" fmla="*/ 87 w 87"/>
                <a:gd name="T15" fmla="*/ 58 h 87"/>
                <a:gd name="T16" fmla="*/ 59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7" y="13"/>
                    <a:pt x="87" y="28"/>
                  </a:cubicBezTo>
                  <a:cubicBezTo>
                    <a:pt x="87" y="58"/>
                    <a:pt x="87" y="58"/>
                    <a:pt x="87" y="58"/>
                  </a:cubicBezTo>
                  <a:cubicBezTo>
                    <a:pt x="87" y="74"/>
                    <a:pt x="75" y="87"/>
                    <a:pt x="59" y="87"/>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11" name="Freeform 18">
              <a:extLst>
                <a:ext uri="{FF2B5EF4-FFF2-40B4-BE49-F238E27FC236}">
                  <a16:creationId xmlns:a16="http://schemas.microsoft.com/office/drawing/2014/main" id="{14CB5352-AFEA-2E42-8DE8-2AA78D765020}"/>
                </a:ext>
              </a:extLst>
            </p:cNvPr>
            <p:cNvSpPr>
              <a:spLocks/>
            </p:cNvSpPr>
            <p:nvPr/>
          </p:nvSpPr>
          <p:spPr bwMode="auto">
            <a:xfrm>
              <a:off x="4271941" y="2873076"/>
              <a:ext cx="77787" cy="79374"/>
            </a:xfrm>
            <a:custGeom>
              <a:avLst/>
              <a:gdLst>
                <a:gd name="T0" fmla="*/ 41 w 70"/>
                <a:gd name="T1" fmla="*/ 70 h 70"/>
                <a:gd name="T2" fmla="*/ 28 w 70"/>
                <a:gd name="T3" fmla="*/ 70 h 70"/>
                <a:gd name="T4" fmla="*/ 0 w 70"/>
                <a:gd name="T5" fmla="*/ 41 h 70"/>
                <a:gd name="T6" fmla="*/ 0 w 70"/>
                <a:gd name="T7" fmla="*/ 29 h 70"/>
                <a:gd name="T8" fmla="*/ 28 w 70"/>
                <a:gd name="T9" fmla="*/ 0 h 70"/>
                <a:gd name="T10" fmla="*/ 41 w 70"/>
                <a:gd name="T11" fmla="*/ 0 h 70"/>
                <a:gd name="T12" fmla="*/ 70 w 70"/>
                <a:gd name="T13" fmla="*/ 29 h 70"/>
                <a:gd name="T14" fmla="*/ 70 w 70"/>
                <a:gd name="T15" fmla="*/ 41 h 70"/>
                <a:gd name="T16" fmla="*/ 41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70" y="13"/>
                    <a:pt x="70" y="29"/>
                  </a:cubicBezTo>
                  <a:cubicBezTo>
                    <a:pt x="70" y="41"/>
                    <a:pt x="70" y="41"/>
                    <a:pt x="70" y="41"/>
                  </a:cubicBezTo>
                  <a:cubicBezTo>
                    <a:pt x="70" y="57"/>
                    <a:pt x="57" y="70"/>
                    <a:pt x="41" y="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12" name="Freeform 19">
              <a:extLst>
                <a:ext uri="{FF2B5EF4-FFF2-40B4-BE49-F238E27FC236}">
                  <a16:creationId xmlns:a16="http://schemas.microsoft.com/office/drawing/2014/main" id="{6565F148-BF65-9847-91F3-DDC6F3625BC8}"/>
                </a:ext>
              </a:extLst>
            </p:cNvPr>
            <p:cNvSpPr>
              <a:spLocks/>
            </p:cNvSpPr>
            <p:nvPr/>
          </p:nvSpPr>
          <p:spPr bwMode="auto">
            <a:xfrm>
              <a:off x="4456094" y="2873097"/>
              <a:ext cx="77787" cy="79374"/>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69" y="13"/>
                    <a:pt x="69" y="29"/>
                  </a:cubicBezTo>
                  <a:cubicBezTo>
                    <a:pt x="69" y="41"/>
                    <a:pt x="69" y="41"/>
                    <a:pt x="69" y="41"/>
                  </a:cubicBezTo>
                  <a:cubicBezTo>
                    <a:pt x="69" y="57"/>
                    <a:pt x="57" y="70"/>
                    <a:pt x="41" y="7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13" name="Freeform 20">
              <a:extLst>
                <a:ext uri="{FF2B5EF4-FFF2-40B4-BE49-F238E27FC236}">
                  <a16:creationId xmlns:a16="http://schemas.microsoft.com/office/drawing/2014/main" id="{4B937AD9-2560-934C-B727-EAFBFBC9A955}"/>
                </a:ext>
              </a:extLst>
            </p:cNvPr>
            <p:cNvSpPr>
              <a:spLocks/>
            </p:cNvSpPr>
            <p:nvPr/>
          </p:nvSpPr>
          <p:spPr bwMode="auto">
            <a:xfrm>
              <a:off x="4640231" y="2874678"/>
              <a:ext cx="77787" cy="79374"/>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2" y="70"/>
                    <a:pt x="0" y="57"/>
                    <a:pt x="0" y="41"/>
                  </a:cubicBezTo>
                  <a:cubicBezTo>
                    <a:pt x="0" y="29"/>
                    <a:pt x="0" y="29"/>
                    <a:pt x="0" y="29"/>
                  </a:cubicBezTo>
                  <a:cubicBezTo>
                    <a:pt x="0" y="13"/>
                    <a:pt x="12" y="0"/>
                    <a:pt x="28" y="0"/>
                  </a:cubicBezTo>
                  <a:cubicBezTo>
                    <a:pt x="41" y="0"/>
                    <a:pt x="41" y="0"/>
                    <a:pt x="41" y="0"/>
                  </a:cubicBezTo>
                  <a:cubicBezTo>
                    <a:pt x="56" y="0"/>
                    <a:pt x="69" y="13"/>
                    <a:pt x="69" y="29"/>
                  </a:cubicBezTo>
                  <a:cubicBezTo>
                    <a:pt x="69" y="41"/>
                    <a:pt x="69" y="41"/>
                    <a:pt x="69" y="41"/>
                  </a:cubicBezTo>
                  <a:cubicBezTo>
                    <a:pt x="69" y="57"/>
                    <a:pt x="56" y="70"/>
                    <a:pt x="41" y="7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14" name="Freeform 21">
              <a:extLst>
                <a:ext uri="{FF2B5EF4-FFF2-40B4-BE49-F238E27FC236}">
                  <a16:creationId xmlns:a16="http://schemas.microsoft.com/office/drawing/2014/main" id="{8E2B8621-6A51-2649-90A8-3F5FD645A6C2}"/>
                </a:ext>
              </a:extLst>
            </p:cNvPr>
            <p:cNvSpPr>
              <a:spLocks/>
            </p:cNvSpPr>
            <p:nvPr/>
          </p:nvSpPr>
          <p:spPr bwMode="auto">
            <a:xfrm>
              <a:off x="4822827" y="2874687"/>
              <a:ext cx="79374" cy="79374"/>
            </a:xfrm>
            <a:custGeom>
              <a:avLst/>
              <a:gdLst>
                <a:gd name="T0" fmla="*/ 42 w 70"/>
                <a:gd name="T1" fmla="*/ 70 h 70"/>
                <a:gd name="T2" fmla="*/ 29 w 70"/>
                <a:gd name="T3" fmla="*/ 70 h 70"/>
                <a:gd name="T4" fmla="*/ 0 w 70"/>
                <a:gd name="T5" fmla="*/ 41 h 70"/>
                <a:gd name="T6" fmla="*/ 0 w 70"/>
                <a:gd name="T7" fmla="*/ 29 h 70"/>
                <a:gd name="T8" fmla="*/ 29 w 70"/>
                <a:gd name="T9" fmla="*/ 0 h 70"/>
                <a:gd name="T10" fmla="*/ 42 w 70"/>
                <a:gd name="T11" fmla="*/ 0 h 70"/>
                <a:gd name="T12" fmla="*/ 70 w 70"/>
                <a:gd name="T13" fmla="*/ 29 h 70"/>
                <a:gd name="T14" fmla="*/ 70 w 70"/>
                <a:gd name="T15" fmla="*/ 41 h 70"/>
                <a:gd name="T16" fmla="*/ 42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2" y="70"/>
                  </a:moveTo>
                  <a:cubicBezTo>
                    <a:pt x="29" y="70"/>
                    <a:pt x="29" y="70"/>
                    <a:pt x="29" y="70"/>
                  </a:cubicBezTo>
                  <a:cubicBezTo>
                    <a:pt x="13" y="70"/>
                    <a:pt x="0" y="57"/>
                    <a:pt x="0" y="41"/>
                  </a:cubicBezTo>
                  <a:cubicBezTo>
                    <a:pt x="0" y="29"/>
                    <a:pt x="0" y="29"/>
                    <a:pt x="0" y="29"/>
                  </a:cubicBezTo>
                  <a:cubicBezTo>
                    <a:pt x="0" y="13"/>
                    <a:pt x="13" y="0"/>
                    <a:pt x="29" y="0"/>
                  </a:cubicBezTo>
                  <a:cubicBezTo>
                    <a:pt x="42" y="0"/>
                    <a:pt x="42" y="0"/>
                    <a:pt x="42" y="0"/>
                  </a:cubicBezTo>
                  <a:cubicBezTo>
                    <a:pt x="57" y="0"/>
                    <a:pt x="70" y="13"/>
                    <a:pt x="70" y="29"/>
                  </a:cubicBezTo>
                  <a:cubicBezTo>
                    <a:pt x="70" y="41"/>
                    <a:pt x="70" y="41"/>
                    <a:pt x="70" y="41"/>
                  </a:cubicBezTo>
                  <a:cubicBezTo>
                    <a:pt x="70" y="57"/>
                    <a:pt x="57" y="70"/>
                    <a:pt x="42" y="7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spTree>
    <p:extLst>
      <p:ext uri="{BB962C8B-B14F-4D97-AF65-F5344CB8AC3E}">
        <p14:creationId xmlns:p14="http://schemas.microsoft.com/office/powerpoint/2010/main" val="22893904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3"/>
          <p:cNvSpPr>
            <a:spLocks noGrp="1"/>
          </p:cNvSpPr>
          <p:nvPr>
            <p:ph type="title"/>
          </p:nvPr>
        </p:nvSpPr>
        <p:spPr/>
        <p:txBody>
          <a:bodyPr/>
          <a:lstStyle/>
          <a:p>
            <a:pPr algn="ctr"/>
            <a:r>
              <a:rPr lang="en-US"/>
              <a:t>Cut the noise to get to the critical alerts fast</a:t>
            </a:r>
          </a:p>
        </p:txBody>
      </p:sp>
      <p:sp>
        <p:nvSpPr>
          <p:cNvPr id="367" name="Rectangle 5">
            <a:extLst>
              <a:ext uri="{FF2B5EF4-FFF2-40B4-BE49-F238E27FC236}">
                <a16:creationId xmlns:a16="http://schemas.microsoft.com/office/drawing/2014/main" id="{51DCF032-9037-4709-8B24-8679D33A4147}"/>
              </a:ext>
            </a:extLst>
          </p:cNvPr>
          <p:cNvSpPr>
            <a:spLocks noChangeArrowheads="1"/>
          </p:cNvSpPr>
          <p:nvPr/>
        </p:nvSpPr>
        <p:spPr bwMode="auto">
          <a:xfrm>
            <a:off x="904775" y="1903972"/>
            <a:ext cx="10834812" cy="631469"/>
          </a:xfrm>
          <a:prstGeom prst="roundRect">
            <a:avLst>
              <a:gd name="adj" fmla="val 50000"/>
            </a:avLst>
          </a:prstGeom>
          <a:solidFill>
            <a:srgbClr val="282828">
              <a:lumMod val="10000"/>
              <a:lumOff val="90000"/>
            </a:srgbClr>
          </a:solidFill>
          <a:ln w="9525" algn="ctr">
            <a:noFill/>
            <a:miter lim="800000"/>
            <a:headEnd/>
            <a:tailEnd/>
          </a:ln>
          <a:effectLst/>
        </p:spPr>
        <p:txBody>
          <a:bodyPr lIns="274356" tIns="365809" rIns="91452" bIns="45727" anchor="ctr">
            <a:noAutofit/>
          </a:bodyPr>
          <a:lstStyle/>
          <a:p>
            <a:pPr defTabSz="609585" fontAlgn="base">
              <a:spcBef>
                <a:spcPct val="50000"/>
              </a:spcBef>
              <a:spcAft>
                <a:spcPct val="0"/>
              </a:spcAft>
              <a:buSzPct val="80000"/>
              <a:defRPr/>
            </a:pPr>
            <a:endParaRPr lang="en-US" sz="2400">
              <a:solidFill>
                <a:srgbClr val="005073"/>
              </a:solidFill>
              <a:latin typeface="CiscoSansTT ExtraLight"/>
              <a:ea typeface="ＭＳ Ｐゴシック" charset="0"/>
              <a:cs typeface="Arial" charset="0"/>
              <a:sym typeface="Arial"/>
            </a:endParaRPr>
          </a:p>
        </p:txBody>
      </p:sp>
      <p:sp>
        <p:nvSpPr>
          <p:cNvPr id="368" name="TextBox 367">
            <a:extLst>
              <a:ext uri="{FF2B5EF4-FFF2-40B4-BE49-F238E27FC236}">
                <a16:creationId xmlns:a16="http://schemas.microsoft.com/office/drawing/2014/main" id="{F6C9A999-E54E-4382-AEFE-97BB6FD4E359}"/>
              </a:ext>
            </a:extLst>
          </p:cNvPr>
          <p:cNvSpPr txBox="1"/>
          <p:nvPr/>
        </p:nvSpPr>
        <p:spPr>
          <a:xfrm>
            <a:off x="1128619" y="1988875"/>
            <a:ext cx="10409811" cy="461665"/>
          </a:xfrm>
          <a:prstGeom prst="rect">
            <a:avLst/>
          </a:prstGeom>
          <a:noFill/>
        </p:spPr>
        <p:txBody>
          <a:bodyPr wrap="square" rtlCol="0" anchor="ctr">
            <a:spAutoFit/>
          </a:bodyPr>
          <a:lstStyle/>
          <a:p>
            <a:pPr algn="ctr" defTabSz="609585" fontAlgn="base">
              <a:spcBef>
                <a:spcPct val="0"/>
              </a:spcBef>
              <a:spcAft>
                <a:spcPct val="0"/>
              </a:spcAft>
            </a:pPr>
            <a:r>
              <a:rPr lang="en-US" sz="2400">
                <a:solidFill>
                  <a:srgbClr val="005073"/>
                </a:solidFill>
                <a:latin typeface="CiscoSansTT ExtraLight"/>
                <a:ea typeface="ＭＳ Ｐゴシック" charset="0"/>
                <a:cs typeface="Arial"/>
                <a:sym typeface="Arial"/>
              </a:rPr>
              <a:t>Increase fidelity of detection using best-in-class security analytics</a:t>
            </a:r>
          </a:p>
        </p:txBody>
      </p:sp>
      <p:sp>
        <p:nvSpPr>
          <p:cNvPr id="369" name="Rectangle 368">
            <a:extLst>
              <a:ext uri="{FF2B5EF4-FFF2-40B4-BE49-F238E27FC236}">
                <a16:creationId xmlns:a16="http://schemas.microsoft.com/office/drawing/2014/main" id="{1E617239-B733-4A0D-A92E-8A665C181F5D}"/>
              </a:ext>
            </a:extLst>
          </p:cNvPr>
          <p:cNvSpPr>
            <a:spLocks noChangeArrowheads="1"/>
          </p:cNvSpPr>
          <p:nvPr/>
        </p:nvSpPr>
        <p:spPr bwMode="auto">
          <a:xfrm>
            <a:off x="1172297" y="2882163"/>
            <a:ext cx="2078904" cy="745739"/>
          </a:xfrm>
          <a:prstGeom prst="rect">
            <a:avLst/>
          </a:prstGeom>
          <a:noFill/>
          <a:ln w="19050" algn="ctr">
            <a:noFill/>
            <a:miter lim="800000"/>
            <a:headEnd/>
            <a:tailEnd/>
          </a:ln>
        </p:spPr>
        <p:txBody>
          <a:bodyPr lIns="243840" tIns="91452" rIns="91452" bIns="91452" anchor="ctr"/>
          <a:lstStyle/>
          <a:p>
            <a:pPr defTabSz="609585" fontAlgn="base">
              <a:spcBef>
                <a:spcPct val="35000"/>
              </a:spcBef>
              <a:spcAft>
                <a:spcPct val="0"/>
              </a:spcAft>
              <a:buSzPct val="80000"/>
            </a:pPr>
            <a:r>
              <a:rPr kumimoji="1" lang="en-US" sz="1600">
                <a:solidFill>
                  <a:srgbClr val="282828"/>
                </a:solidFill>
                <a:latin typeface="CiscoSansTT ExtraLight"/>
                <a:ea typeface="ＭＳ Ｐゴシック" charset="0"/>
                <a:cs typeface="Arial"/>
                <a:sym typeface="Arial"/>
              </a:rPr>
              <a:t>Network telemetry</a:t>
            </a:r>
          </a:p>
        </p:txBody>
      </p:sp>
      <p:sp>
        <p:nvSpPr>
          <p:cNvPr id="370" name="Rectangle 369">
            <a:extLst>
              <a:ext uri="{FF2B5EF4-FFF2-40B4-BE49-F238E27FC236}">
                <a16:creationId xmlns:a16="http://schemas.microsoft.com/office/drawing/2014/main" id="{3E798F38-6647-4670-83A4-7122309376B6}"/>
              </a:ext>
            </a:extLst>
          </p:cNvPr>
          <p:cNvSpPr>
            <a:spLocks noChangeArrowheads="1"/>
          </p:cNvSpPr>
          <p:nvPr/>
        </p:nvSpPr>
        <p:spPr bwMode="auto">
          <a:xfrm>
            <a:off x="2429659" y="5611555"/>
            <a:ext cx="1847043" cy="745739"/>
          </a:xfrm>
          <a:prstGeom prst="rect">
            <a:avLst/>
          </a:prstGeom>
          <a:noFill/>
          <a:ln w="19050" algn="ctr">
            <a:noFill/>
            <a:miter lim="800000"/>
            <a:headEnd/>
            <a:tailEnd/>
          </a:ln>
        </p:spPr>
        <p:txBody>
          <a:bodyPr lIns="243840" tIns="91452" rIns="91452" bIns="91452" anchor="ctr"/>
          <a:lstStyle/>
          <a:p>
            <a:pPr defTabSz="609585" fontAlgn="base">
              <a:spcBef>
                <a:spcPct val="35000"/>
              </a:spcBef>
              <a:spcAft>
                <a:spcPct val="0"/>
              </a:spcAft>
              <a:buSzPct val="80000"/>
            </a:pPr>
            <a:r>
              <a:rPr kumimoji="1" lang="en-US" sz="1600">
                <a:solidFill>
                  <a:srgbClr val="282828"/>
                </a:solidFill>
                <a:latin typeface="CiscoSansTT ExtraLight"/>
                <a:ea typeface="ＭＳ Ｐゴシック" charset="0"/>
                <a:cs typeface="Arial"/>
                <a:sym typeface="Arial"/>
              </a:rPr>
              <a:t>Prioritized high fidelity incidents</a:t>
            </a:r>
          </a:p>
        </p:txBody>
      </p:sp>
      <p:sp>
        <p:nvSpPr>
          <p:cNvPr id="371" name="Freeform 7">
            <a:extLst>
              <a:ext uri="{FF2B5EF4-FFF2-40B4-BE49-F238E27FC236}">
                <a16:creationId xmlns:a16="http://schemas.microsoft.com/office/drawing/2014/main" id="{35605D0A-9B03-4380-B4C0-573576BE76D2}"/>
              </a:ext>
            </a:extLst>
          </p:cNvPr>
          <p:cNvSpPr>
            <a:spLocks/>
          </p:cNvSpPr>
          <p:nvPr/>
        </p:nvSpPr>
        <p:spPr bwMode="auto">
          <a:xfrm>
            <a:off x="4486029" y="4287482"/>
            <a:ext cx="3618832" cy="606631"/>
          </a:xfrm>
          <a:prstGeom prst="roundRect">
            <a:avLst>
              <a:gd name="adj" fmla="val 50000"/>
            </a:avLst>
          </a:prstGeom>
          <a:solidFill>
            <a:srgbClr val="00BCEB"/>
          </a:solidFill>
          <a:ln>
            <a:noFill/>
          </a:ln>
        </p:spPr>
        <p:txBody>
          <a:bodyPr vert="horz" wrap="square" lIns="609600" tIns="60960" rIns="121920" bIns="60960" numCol="1" anchor="ctr" anchorCtr="0" compatLnSpc="1">
            <a:prstTxWarp prst="textNoShape">
              <a:avLst/>
            </a:prstTxWarp>
          </a:bodyPr>
          <a:lstStyle/>
          <a:p>
            <a:pPr defTabSz="914340" fontAlgn="base">
              <a:spcBef>
                <a:spcPct val="0"/>
              </a:spcBef>
              <a:spcAft>
                <a:spcPct val="0"/>
              </a:spcAft>
              <a:defRPr/>
            </a:pPr>
            <a:r>
              <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rPr>
              <a:t>Malicious Events</a:t>
            </a:r>
          </a:p>
        </p:txBody>
      </p:sp>
      <p:sp>
        <p:nvSpPr>
          <p:cNvPr id="372" name="Oval 371">
            <a:extLst>
              <a:ext uri="{FF2B5EF4-FFF2-40B4-BE49-F238E27FC236}">
                <a16:creationId xmlns:a16="http://schemas.microsoft.com/office/drawing/2014/main" id="{ECBD4C27-D287-43D6-9BDC-D19430D64C33}"/>
              </a:ext>
            </a:extLst>
          </p:cNvPr>
          <p:cNvSpPr/>
          <p:nvPr/>
        </p:nvSpPr>
        <p:spPr>
          <a:xfrm rot="3685780">
            <a:off x="4310549" y="4286452"/>
            <a:ext cx="609600" cy="609600"/>
          </a:xfrm>
          <a:prstGeom prst="ellipse">
            <a:avLst/>
          </a:prstGeom>
          <a:solidFill>
            <a:srgbClr val="005073"/>
          </a:solidFill>
          <a:ln w="25400" cap="flat" cmpd="sng" algn="ctr">
            <a:noFill/>
            <a:prstDash val="solid"/>
          </a:ln>
          <a:effectLst/>
        </p:spPr>
        <p:txBody>
          <a:bodyPr rtlCol="0" anchor="ctr"/>
          <a:lstStyle/>
          <a:p>
            <a:pPr algn="ctr" defTabSz="609585" fontAlgn="base">
              <a:spcBef>
                <a:spcPct val="0"/>
              </a:spcBef>
              <a:spcAft>
                <a:spcPct val="0"/>
              </a:spcAft>
              <a:defRPr/>
            </a:pPr>
            <a:endParaRPr lang="en-US" sz="2400">
              <a:solidFill>
                <a:srgbClr val="005073"/>
              </a:solidFill>
              <a:latin typeface="CiscoSansTT ExtraLight"/>
              <a:cs typeface="Arial"/>
              <a:sym typeface="Arial"/>
            </a:endParaRPr>
          </a:p>
        </p:txBody>
      </p:sp>
      <p:grpSp>
        <p:nvGrpSpPr>
          <p:cNvPr id="373" name="Group 372">
            <a:extLst>
              <a:ext uri="{FF2B5EF4-FFF2-40B4-BE49-F238E27FC236}">
                <a16:creationId xmlns:a16="http://schemas.microsoft.com/office/drawing/2014/main" id="{A73CDDFC-72A9-41C3-9C2E-A8B1A06B954A}"/>
              </a:ext>
            </a:extLst>
          </p:cNvPr>
          <p:cNvGrpSpPr>
            <a:grpSpLocks noChangeAspect="1"/>
          </p:cNvGrpSpPr>
          <p:nvPr/>
        </p:nvGrpSpPr>
        <p:grpSpPr>
          <a:xfrm rot="3600000">
            <a:off x="2498527" y="4573155"/>
            <a:ext cx="3111131" cy="407391"/>
            <a:chOff x="4437063" y="2500312"/>
            <a:chExt cx="4144459" cy="495300"/>
          </a:xfrm>
        </p:grpSpPr>
        <p:sp>
          <p:nvSpPr>
            <p:cNvPr id="374" name="Freeform 5">
              <a:extLst>
                <a:ext uri="{FF2B5EF4-FFF2-40B4-BE49-F238E27FC236}">
                  <a16:creationId xmlns:a16="http://schemas.microsoft.com/office/drawing/2014/main" id="{5824C698-C230-4598-B3C1-480B9C5CCDCC}"/>
                </a:ext>
              </a:extLst>
            </p:cNvPr>
            <p:cNvSpPr>
              <a:spLocks noEditPoints="1"/>
            </p:cNvSpPr>
            <p:nvPr/>
          </p:nvSpPr>
          <p:spPr bwMode="auto">
            <a:xfrm>
              <a:off x="4437063" y="2686050"/>
              <a:ext cx="4137025" cy="123825"/>
            </a:xfrm>
            <a:custGeom>
              <a:avLst/>
              <a:gdLst>
                <a:gd name="T0" fmla="*/ 2356 w 2366"/>
                <a:gd name="T1" fmla="*/ 60 h 71"/>
                <a:gd name="T2" fmla="*/ 2355 w 2366"/>
                <a:gd name="T3" fmla="*/ 60 h 71"/>
                <a:gd name="T4" fmla="*/ 2355 w 2366"/>
                <a:gd name="T5" fmla="*/ 60 h 71"/>
                <a:gd name="T6" fmla="*/ 2356 w 2366"/>
                <a:gd name="T7" fmla="*/ 60 h 71"/>
                <a:gd name="T8" fmla="*/ 2356 w 2366"/>
                <a:gd name="T9" fmla="*/ 60 h 71"/>
                <a:gd name="T10" fmla="*/ 2356 w 2366"/>
                <a:gd name="T11" fmla="*/ 60 h 71"/>
                <a:gd name="T12" fmla="*/ 2356 w 2366"/>
                <a:gd name="T13" fmla="*/ 60 h 71"/>
                <a:gd name="T14" fmla="*/ 2356 w 2366"/>
                <a:gd name="T15" fmla="*/ 60 h 71"/>
                <a:gd name="T16" fmla="*/ 2356 w 2366"/>
                <a:gd name="T17" fmla="*/ 60 h 71"/>
                <a:gd name="T18" fmla="*/ 2356 w 2366"/>
                <a:gd name="T19" fmla="*/ 60 h 71"/>
                <a:gd name="T20" fmla="*/ 2356 w 2366"/>
                <a:gd name="T21" fmla="*/ 60 h 71"/>
                <a:gd name="T22" fmla="*/ 2356 w 2366"/>
                <a:gd name="T23" fmla="*/ 60 h 71"/>
                <a:gd name="T24" fmla="*/ 2356 w 2366"/>
                <a:gd name="T25" fmla="*/ 60 h 71"/>
                <a:gd name="T26" fmla="*/ 2356 w 2366"/>
                <a:gd name="T27" fmla="*/ 60 h 71"/>
                <a:gd name="T28" fmla="*/ 2356 w 2366"/>
                <a:gd name="T29" fmla="*/ 60 h 71"/>
                <a:gd name="T30" fmla="*/ 2356 w 2366"/>
                <a:gd name="T31" fmla="*/ 60 h 71"/>
                <a:gd name="T32" fmla="*/ 2356 w 2366"/>
                <a:gd name="T33" fmla="*/ 59 h 71"/>
                <a:gd name="T34" fmla="*/ 2356 w 2366"/>
                <a:gd name="T35" fmla="*/ 59 h 71"/>
                <a:gd name="T36" fmla="*/ 2356 w 2366"/>
                <a:gd name="T37" fmla="*/ 59 h 71"/>
                <a:gd name="T38" fmla="*/ 2363 w 2366"/>
                <a:gd name="T39" fmla="*/ 50 h 71"/>
                <a:gd name="T40" fmla="*/ 2362 w 2366"/>
                <a:gd name="T41" fmla="*/ 50 h 71"/>
                <a:gd name="T42" fmla="*/ 2363 w 2366"/>
                <a:gd name="T43" fmla="*/ 50 h 71"/>
                <a:gd name="T44" fmla="*/ 2363 w 2366"/>
                <a:gd name="T45" fmla="*/ 21 h 71"/>
                <a:gd name="T46" fmla="*/ 2366 w 2366"/>
                <a:gd name="T47" fmla="*/ 35 h 71"/>
                <a:gd name="T48" fmla="*/ 2363 w 2366"/>
                <a:gd name="T49" fmla="*/ 50 h 71"/>
                <a:gd name="T50" fmla="*/ 2366 w 2366"/>
                <a:gd name="T51" fmla="*/ 35 h 71"/>
                <a:gd name="T52" fmla="*/ 2363 w 2366"/>
                <a:gd name="T53" fmla="*/ 21 h 71"/>
                <a:gd name="T54" fmla="*/ 2362 w 2366"/>
                <a:gd name="T55" fmla="*/ 21 h 71"/>
                <a:gd name="T56" fmla="*/ 2363 w 2366"/>
                <a:gd name="T57" fmla="*/ 21 h 71"/>
                <a:gd name="T58" fmla="*/ 2362 w 2366"/>
                <a:gd name="T59" fmla="*/ 21 h 71"/>
                <a:gd name="T60" fmla="*/ 2356 w 2366"/>
                <a:gd name="T61" fmla="*/ 11 h 71"/>
                <a:gd name="T62" fmla="*/ 2356 w 2366"/>
                <a:gd name="T63" fmla="*/ 11 h 71"/>
                <a:gd name="T64" fmla="*/ 2356 w 2366"/>
                <a:gd name="T65" fmla="*/ 11 h 71"/>
                <a:gd name="T66" fmla="*/ 2356 w 2366"/>
                <a:gd name="T67" fmla="*/ 11 h 71"/>
                <a:gd name="T68" fmla="*/ 2356 w 2366"/>
                <a:gd name="T69" fmla="*/ 11 h 71"/>
                <a:gd name="T70" fmla="*/ 2356 w 2366"/>
                <a:gd name="T71" fmla="*/ 11 h 71"/>
                <a:gd name="T72" fmla="*/ 2356 w 2366"/>
                <a:gd name="T73" fmla="*/ 11 h 71"/>
                <a:gd name="T74" fmla="*/ 2356 w 2366"/>
                <a:gd name="T75" fmla="*/ 11 h 71"/>
                <a:gd name="T76" fmla="*/ 2356 w 2366"/>
                <a:gd name="T77" fmla="*/ 11 h 71"/>
                <a:gd name="T78" fmla="*/ 2356 w 2366"/>
                <a:gd name="T79" fmla="*/ 11 h 71"/>
                <a:gd name="T80" fmla="*/ 2356 w 2366"/>
                <a:gd name="T81" fmla="*/ 11 h 71"/>
                <a:gd name="T82" fmla="*/ 2356 w 2366"/>
                <a:gd name="T83" fmla="*/ 11 h 71"/>
                <a:gd name="T84" fmla="*/ 2356 w 2366"/>
                <a:gd name="T85" fmla="*/ 11 h 71"/>
                <a:gd name="T86" fmla="*/ 2356 w 2366"/>
                <a:gd name="T87" fmla="*/ 11 h 71"/>
                <a:gd name="T88" fmla="*/ 2356 w 2366"/>
                <a:gd name="T89" fmla="*/ 11 h 71"/>
                <a:gd name="T90" fmla="*/ 2355 w 2366"/>
                <a:gd name="T91" fmla="*/ 10 h 71"/>
                <a:gd name="T92" fmla="*/ 2356 w 2366"/>
                <a:gd name="T93" fmla="*/ 11 h 71"/>
                <a:gd name="T94" fmla="*/ 2355 w 2366"/>
                <a:gd name="T95" fmla="*/ 10 h 71"/>
                <a:gd name="T96" fmla="*/ 2245 w 2366"/>
                <a:gd name="T97" fmla="*/ 0 h 71"/>
                <a:gd name="T98" fmla="*/ 36 w 2366"/>
                <a:gd name="T99" fmla="*/ 0 h 71"/>
                <a:gd name="T100" fmla="*/ 0 w 2366"/>
                <a:gd name="T101" fmla="*/ 35 h 71"/>
                <a:gd name="T102" fmla="*/ 36 w 2366"/>
                <a:gd name="T103" fmla="*/ 71 h 71"/>
                <a:gd name="T104" fmla="*/ 2245 w 2366"/>
                <a:gd name="T105" fmla="*/ 71 h 71"/>
                <a:gd name="T106" fmla="*/ 2280 w 2366"/>
                <a:gd name="T107" fmla="*/ 35 h 71"/>
                <a:gd name="T108" fmla="*/ 2245 w 2366"/>
                <a:gd name="T10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66" h="71">
                  <a:moveTo>
                    <a:pt x="2356" y="60"/>
                  </a:moveTo>
                  <a:cubicBezTo>
                    <a:pt x="2355" y="60"/>
                    <a:pt x="2355" y="60"/>
                    <a:pt x="2355" y="60"/>
                  </a:cubicBezTo>
                  <a:cubicBezTo>
                    <a:pt x="2355" y="60"/>
                    <a:pt x="2355" y="60"/>
                    <a:pt x="2355" y="60"/>
                  </a:cubicBezTo>
                  <a:cubicBezTo>
                    <a:pt x="2355" y="60"/>
                    <a:pt x="2355" y="60"/>
                    <a:pt x="2356" y="60"/>
                  </a:cubicBezTo>
                  <a:moveTo>
                    <a:pt x="2356" y="60"/>
                  </a:moveTo>
                  <a:cubicBezTo>
                    <a:pt x="2356" y="60"/>
                    <a:pt x="2356" y="60"/>
                    <a:pt x="2356" y="60"/>
                  </a:cubicBezTo>
                  <a:cubicBezTo>
                    <a:pt x="2356" y="60"/>
                    <a:pt x="2356" y="60"/>
                    <a:pt x="2356" y="60"/>
                  </a:cubicBezTo>
                  <a:moveTo>
                    <a:pt x="2356" y="60"/>
                  </a:moveTo>
                  <a:cubicBezTo>
                    <a:pt x="2356" y="60"/>
                    <a:pt x="2356" y="60"/>
                    <a:pt x="2356" y="60"/>
                  </a:cubicBezTo>
                  <a:cubicBezTo>
                    <a:pt x="2356" y="60"/>
                    <a:pt x="2356" y="60"/>
                    <a:pt x="2356" y="60"/>
                  </a:cubicBezTo>
                  <a:moveTo>
                    <a:pt x="2356" y="60"/>
                  </a:moveTo>
                  <a:cubicBezTo>
                    <a:pt x="2356" y="60"/>
                    <a:pt x="2356" y="60"/>
                    <a:pt x="2356" y="60"/>
                  </a:cubicBezTo>
                  <a:cubicBezTo>
                    <a:pt x="2356" y="60"/>
                    <a:pt x="2356" y="60"/>
                    <a:pt x="2356" y="60"/>
                  </a:cubicBezTo>
                  <a:moveTo>
                    <a:pt x="2356" y="60"/>
                  </a:moveTo>
                  <a:cubicBezTo>
                    <a:pt x="2356" y="60"/>
                    <a:pt x="2356" y="60"/>
                    <a:pt x="2356" y="60"/>
                  </a:cubicBezTo>
                  <a:cubicBezTo>
                    <a:pt x="2356" y="60"/>
                    <a:pt x="2356" y="60"/>
                    <a:pt x="2356" y="60"/>
                  </a:cubicBezTo>
                  <a:moveTo>
                    <a:pt x="2356" y="59"/>
                  </a:moveTo>
                  <a:cubicBezTo>
                    <a:pt x="2356" y="59"/>
                    <a:pt x="2356" y="59"/>
                    <a:pt x="2356" y="59"/>
                  </a:cubicBezTo>
                  <a:cubicBezTo>
                    <a:pt x="2356" y="59"/>
                    <a:pt x="2356" y="59"/>
                    <a:pt x="2356" y="59"/>
                  </a:cubicBezTo>
                  <a:moveTo>
                    <a:pt x="2363" y="50"/>
                  </a:moveTo>
                  <a:cubicBezTo>
                    <a:pt x="2362" y="50"/>
                    <a:pt x="2362" y="50"/>
                    <a:pt x="2362" y="50"/>
                  </a:cubicBezTo>
                  <a:cubicBezTo>
                    <a:pt x="2362" y="50"/>
                    <a:pt x="2362" y="50"/>
                    <a:pt x="2363" y="50"/>
                  </a:cubicBezTo>
                  <a:moveTo>
                    <a:pt x="2363" y="21"/>
                  </a:moveTo>
                  <a:cubicBezTo>
                    <a:pt x="2365" y="25"/>
                    <a:pt x="2366" y="30"/>
                    <a:pt x="2366" y="35"/>
                  </a:cubicBezTo>
                  <a:cubicBezTo>
                    <a:pt x="2366" y="40"/>
                    <a:pt x="2365" y="45"/>
                    <a:pt x="2363" y="50"/>
                  </a:cubicBezTo>
                  <a:cubicBezTo>
                    <a:pt x="2365" y="46"/>
                    <a:pt x="2366" y="41"/>
                    <a:pt x="2366" y="35"/>
                  </a:cubicBezTo>
                  <a:cubicBezTo>
                    <a:pt x="2366" y="30"/>
                    <a:pt x="2365" y="25"/>
                    <a:pt x="2363" y="21"/>
                  </a:cubicBezTo>
                  <a:moveTo>
                    <a:pt x="2362" y="21"/>
                  </a:moveTo>
                  <a:cubicBezTo>
                    <a:pt x="2362" y="21"/>
                    <a:pt x="2362" y="21"/>
                    <a:pt x="2363" y="21"/>
                  </a:cubicBezTo>
                  <a:cubicBezTo>
                    <a:pt x="2362" y="21"/>
                    <a:pt x="2362" y="21"/>
                    <a:pt x="2362" y="21"/>
                  </a:cubicBezTo>
                  <a:moveTo>
                    <a:pt x="2356" y="11"/>
                  </a:moveTo>
                  <a:cubicBezTo>
                    <a:pt x="2356" y="11"/>
                    <a:pt x="2356" y="11"/>
                    <a:pt x="2356" y="11"/>
                  </a:cubicBezTo>
                  <a:cubicBezTo>
                    <a:pt x="2356" y="11"/>
                    <a:pt x="2356" y="11"/>
                    <a:pt x="2356" y="11"/>
                  </a:cubicBezTo>
                  <a:moveTo>
                    <a:pt x="2356" y="11"/>
                  </a:moveTo>
                  <a:cubicBezTo>
                    <a:pt x="2356" y="11"/>
                    <a:pt x="2356" y="11"/>
                    <a:pt x="2356" y="11"/>
                  </a:cubicBezTo>
                  <a:cubicBezTo>
                    <a:pt x="2356" y="11"/>
                    <a:pt x="2356" y="11"/>
                    <a:pt x="2356" y="11"/>
                  </a:cubicBezTo>
                  <a:moveTo>
                    <a:pt x="2356" y="11"/>
                  </a:moveTo>
                  <a:cubicBezTo>
                    <a:pt x="2356" y="11"/>
                    <a:pt x="2356" y="11"/>
                    <a:pt x="2356" y="11"/>
                  </a:cubicBezTo>
                  <a:cubicBezTo>
                    <a:pt x="2356" y="11"/>
                    <a:pt x="2356" y="11"/>
                    <a:pt x="2356" y="11"/>
                  </a:cubicBezTo>
                  <a:moveTo>
                    <a:pt x="2356" y="11"/>
                  </a:moveTo>
                  <a:cubicBezTo>
                    <a:pt x="2356" y="11"/>
                    <a:pt x="2356" y="11"/>
                    <a:pt x="2356" y="11"/>
                  </a:cubicBezTo>
                  <a:cubicBezTo>
                    <a:pt x="2356" y="11"/>
                    <a:pt x="2356" y="11"/>
                    <a:pt x="2356" y="11"/>
                  </a:cubicBezTo>
                  <a:moveTo>
                    <a:pt x="2356" y="11"/>
                  </a:moveTo>
                  <a:cubicBezTo>
                    <a:pt x="2356" y="11"/>
                    <a:pt x="2356" y="11"/>
                    <a:pt x="2356" y="11"/>
                  </a:cubicBezTo>
                  <a:cubicBezTo>
                    <a:pt x="2356" y="11"/>
                    <a:pt x="2356" y="11"/>
                    <a:pt x="2356" y="11"/>
                  </a:cubicBezTo>
                  <a:moveTo>
                    <a:pt x="2355" y="10"/>
                  </a:moveTo>
                  <a:cubicBezTo>
                    <a:pt x="2355" y="10"/>
                    <a:pt x="2355" y="11"/>
                    <a:pt x="2356" y="11"/>
                  </a:cubicBezTo>
                  <a:cubicBezTo>
                    <a:pt x="2355" y="11"/>
                    <a:pt x="2355" y="10"/>
                    <a:pt x="2355" y="10"/>
                  </a:cubicBezTo>
                  <a:moveTo>
                    <a:pt x="2245" y="0"/>
                  </a:moveTo>
                  <a:cubicBezTo>
                    <a:pt x="36" y="0"/>
                    <a:pt x="36" y="0"/>
                    <a:pt x="36" y="0"/>
                  </a:cubicBezTo>
                  <a:cubicBezTo>
                    <a:pt x="16" y="0"/>
                    <a:pt x="0" y="16"/>
                    <a:pt x="0" y="35"/>
                  </a:cubicBezTo>
                  <a:cubicBezTo>
                    <a:pt x="0" y="55"/>
                    <a:pt x="16" y="71"/>
                    <a:pt x="36" y="71"/>
                  </a:cubicBezTo>
                  <a:cubicBezTo>
                    <a:pt x="2245" y="71"/>
                    <a:pt x="2245" y="71"/>
                    <a:pt x="2245" y="71"/>
                  </a:cubicBezTo>
                  <a:cubicBezTo>
                    <a:pt x="2280" y="35"/>
                    <a:pt x="2280" y="35"/>
                    <a:pt x="2280" y="35"/>
                  </a:cubicBezTo>
                  <a:cubicBezTo>
                    <a:pt x="2245" y="0"/>
                    <a:pt x="2245" y="0"/>
                    <a:pt x="2245" y="0"/>
                  </a:cubicBezTo>
                </a:path>
              </a:pathLst>
            </a:custGeom>
            <a:solidFill>
              <a:srgbClr val="FBAB18"/>
            </a:solidFill>
            <a:ln w="12700">
              <a:solidFill>
                <a:srgbClr val="FBAB18"/>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375" name="Freeform 6">
              <a:extLst>
                <a:ext uri="{FF2B5EF4-FFF2-40B4-BE49-F238E27FC236}">
                  <a16:creationId xmlns:a16="http://schemas.microsoft.com/office/drawing/2014/main" id="{51244863-01B4-4F36-ABC5-FB048C59CE30}"/>
                </a:ext>
              </a:extLst>
            </p:cNvPr>
            <p:cNvSpPr>
              <a:spLocks/>
            </p:cNvSpPr>
            <p:nvPr/>
          </p:nvSpPr>
          <p:spPr bwMode="auto">
            <a:xfrm>
              <a:off x="8259763" y="2500312"/>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59 w 169"/>
                <a:gd name="T11" fmla="*/ 109 h 116"/>
                <a:gd name="T12" fmla="*/ 159 w 169"/>
                <a:gd name="T13" fmla="*/ 109 h 116"/>
                <a:gd name="T14" fmla="*/ 159 w 169"/>
                <a:gd name="T15" fmla="*/ 109 h 116"/>
                <a:gd name="T16" fmla="*/ 168 w 169"/>
                <a:gd name="T17" fmla="*/ 116 h 116"/>
                <a:gd name="T18" fmla="*/ 168 w 169"/>
                <a:gd name="T19" fmla="*/ 116 h 116"/>
                <a:gd name="T20" fmla="*/ 169 w 169"/>
                <a:gd name="T21" fmla="*/ 116 h 116"/>
                <a:gd name="T22" fmla="*/ 169 w 169"/>
                <a:gd name="T23" fmla="*/ 116 h 116"/>
                <a:gd name="T24" fmla="*/ 169 w 169"/>
                <a:gd name="T25" fmla="*/ 116 h 116"/>
                <a:gd name="T26" fmla="*/ 169 w 169"/>
                <a:gd name="T27" fmla="*/ 116 h 116"/>
                <a:gd name="T28" fmla="*/ 169 w 169"/>
                <a:gd name="T29" fmla="*/ 116 h 116"/>
                <a:gd name="T30" fmla="*/ 169 w 169"/>
                <a:gd name="T31" fmla="*/ 116 h 116"/>
                <a:gd name="T32" fmla="*/ 169 w 169"/>
                <a:gd name="T33" fmla="*/ 116 h 116"/>
                <a:gd name="T34" fmla="*/ 169 w 169"/>
                <a:gd name="T35" fmla="*/ 116 h 116"/>
                <a:gd name="T36" fmla="*/ 169 w 169"/>
                <a:gd name="T37" fmla="*/ 116 h 116"/>
                <a:gd name="T38" fmla="*/ 169 w 169"/>
                <a:gd name="T39" fmla="*/ 116 h 116"/>
                <a:gd name="T40" fmla="*/ 169 w 169"/>
                <a:gd name="T41" fmla="*/ 116 h 116"/>
                <a:gd name="T42" fmla="*/ 63 w 169"/>
                <a:gd name="T43" fmla="*/ 10 h 116"/>
                <a:gd name="T44" fmla="*/ 38 w 169"/>
                <a:gd name="T4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 h="116">
                  <a:moveTo>
                    <a:pt x="38" y="0"/>
                  </a:moveTo>
                  <a:cubicBezTo>
                    <a:pt x="29" y="0"/>
                    <a:pt x="20" y="4"/>
                    <a:pt x="13" y="10"/>
                  </a:cubicBezTo>
                  <a:cubicBezTo>
                    <a:pt x="0" y="24"/>
                    <a:pt x="0" y="47"/>
                    <a:pt x="13" y="60"/>
                  </a:cubicBezTo>
                  <a:cubicBezTo>
                    <a:pt x="59" y="106"/>
                    <a:pt x="59" y="106"/>
                    <a:pt x="59" y="106"/>
                  </a:cubicBezTo>
                  <a:cubicBezTo>
                    <a:pt x="144" y="106"/>
                    <a:pt x="144" y="106"/>
                    <a:pt x="144" y="106"/>
                  </a:cubicBezTo>
                  <a:cubicBezTo>
                    <a:pt x="150" y="106"/>
                    <a:pt x="155" y="107"/>
                    <a:pt x="159" y="109"/>
                  </a:cubicBezTo>
                  <a:cubicBezTo>
                    <a:pt x="159" y="109"/>
                    <a:pt x="159" y="109"/>
                    <a:pt x="159" y="109"/>
                  </a:cubicBezTo>
                  <a:cubicBezTo>
                    <a:pt x="159" y="109"/>
                    <a:pt x="159" y="109"/>
                    <a:pt x="159" y="109"/>
                  </a:cubicBezTo>
                  <a:cubicBezTo>
                    <a:pt x="162" y="111"/>
                    <a:pt x="166" y="113"/>
                    <a:pt x="168" y="116"/>
                  </a:cubicBezTo>
                  <a:cubicBezTo>
                    <a:pt x="168" y="116"/>
                    <a:pt x="168" y="116"/>
                    <a:pt x="168" y="116"/>
                  </a:cubicBezTo>
                  <a:cubicBezTo>
                    <a:pt x="168" y="116"/>
                    <a:pt x="169" y="116"/>
                    <a:pt x="169" y="116"/>
                  </a:cubicBezTo>
                  <a:cubicBezTo>
                    <a:pt x="169" y="116"/>
                    <a:pt x="169" y="116"/>
                    <a:pt x="169" y="116"/>
                  </a:cubicBezTo>
                  <a:cubicBezTo>
                    <a:pt x="169" y="116"/>
                    <a:pt x="169" y="116"/>
                    <a:pt x="169" y="116"/>
                  </a:cubicBezTo>
                  <a:cubicBezTo>
                    <a:pt x="169" y="116"/>
                    <a:pt x="169" y="116"/>
                    <a:pt x="169" y="116"/>
                  </a:cubicBezTo>
                  <a:cubicBezTo>
                    <a:pt x="169" y="116"/>
                    <a:pt x="169" y="116"/>
                    <a:pt x="169" y="116"/>
                  </a:cubicBezTo>
                  <a:cubicBezTo>
                    <a:pt x="169" y="116"/>
                    <a:pt x="169" y="116"/>
                    <a:pt x="169" y="116"/>
                  </a:cubicBezTo>
                  <a:cubicBezTo>
                    <a:pt x="169" y="116"/>
                    <a:pt x="169" y="116"/>
                    <a:pt x="169" y="116"/>
                  </a:cubicBezTo>
                  <a:cubicBezTo>
                    <a:pt x="169" y="116"/>
                    <a:pt x="169" y="116"/>
                    <a:pt x="169" y="116"/>
                  </a:cubicBezTo>
                  <a:cubicBezTo>
                    <a:pt x="169" y="116"/>
                    <a:pt x="169" y="116"/>
                    <a:pt x="169" y="116"/>
                  </a:cubicBezTo>
                  <a:cubicBezTo>
                    <a:pt x="169" y="116"/>
                    <a:pt x="169" y="116"/>
                    <a:pt x="169" y="116"/>
                  </a:cubicBezTo>
                  <a:cubicBezTo>
                    <a:pt x="169" y="116"/>
                    <a:pt x="169" y="116"/>
                    <a:pt x="169" y="116"/>
                  </a:cubicBezTo>
                  <a:cubicBezTo>
                    <a:pt x="63" y="10"/>
                    <a:pt x="63" y="10"/>
                    <a:pt x="63" y="10"/>
                  </a:cubicBezTo>
                  <a:cubicBezTo>
                    <a:pt x="57" y="4"/>
                    <a:pt x="48" y="0"/>
                    <a:pt x="38" y="0"/>
                  </a:cubicBezTo>
                </a:path>
              </a:pathLst>
            </a:custGeom>
            <a:solidFill>
              <a:srgbClr val="FBAB18"/>
            </a:solidFill>
            <a:ln w="12700">
              <a:solidFill>
                <a:srgbClr val="FBAB18"/>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376" name="Freeform 7">
              <a:extLst>
                <a:ext uri="{FF2B5EF4-FFF2-40B4-BE49-F238E27FC236}">
                  <a16:creationId xmlns:a16="http://schemas.microsoft.com/office/drawing/2014/main" id="{006F5B17-3184-4F23-A753-8B6E48FC698F}"/>
                </a:ext>
              </a:extLst>
            </p:cNvPr>
            <p:cNvSpPr>
              <a:spLocks noEditPoints="1"/>
            </p:cNvSpPr>
            <p:nvPr/>
          </p:nvSpPr>
          <p:spPr bwMode="auto">
            <a:xfrm>
              <a:off x="8362950" y="2686050"/>
              <a:ext cx="192088" cy="60325"/>
            </a:xfrm>
            <a:custGeom>
              <a:avLst/>
              <a:gdLst>
                <a:gd name="T0" fmla="*/ 110 w 110"/>
                <a:gd name="T1" fmla="*/ 10 h 35"/>
                <a:gd name="T2" fmla="*/ 110 w 110"/>
                <a:gd name="T3" fmla="*/ 10 h 35"/>
                <a:gd name="T4" fmla="*/ 110 w 110"/>
                <a:gd name="T5" fmla="*/ 10 h 35"/>
                <a:gd name="T6" fmla="*/ 110 w 110"/>
                <a:gd name="T7" fmla="*/ 10 h 35"/>
                <a:gd name="T8" fmla="*/ 110 w 110"/>
                <a:gd name="T9" fmla="*/ 10 h 35"/>
                <a:gd name="T10" fmla="*/ 110 w 110"/>
                <a:gd name="T11" fmla="*/ 10 h 35"/>
                <a:gd name="T12" fmla="*/ 110 w 110"/>
                <a:gd name="T13" fmla="*/ 10 h 35"/>
                <a:gd name="T14" fmla="*/ 110 w 110"/>
                <a:gd name="T15" fmla="*/ 10 h 35"/>
                <a:gd name="T16" fmla="*/ 110 w 110"/>
                <a:gd name="T17" fmla="*/ 10 h 35"/>
                <a:gd name="T18" fmla="*/ 110 w 110"/>
                <a:gd name="T19" fmla="*/ 10 h 35"/>
                <a:gd name="T20" fmla="*/ 110 w 110"/>
                <a:gd name="T21" fmla="*/ 10 h 35"/>
                <a:gd name="T22" fmla="*/ 110 w 110"/>
                <a:gd name="T23" fmla="*/ 10 h 35"/>
                <a:gd name="T24" fmla="*/ 110 w 110"/>
                <a:gd name="T25" fmla="*/ 10 h 35"/>
                <a:gd name="T26" fmla="*/ 110 w 110"/>
                <a:gd name="T27" fmla="*/ 10 h 35"/>
                <a:gd name="T28" fmla="*/ 110 w 110"/>
                <a:gd name="T29" fmla="*/ 10 h 35"/>
                <a:gd name="T30" fmla="*/ 109 w 110"/>
                <a:gd name="T31" fmla="*/ 10 h 35"/>
                <a:gd name="T32" fmla="*/ 109 w 110"/>
                <a:gd name="T33" fmla="*/ 10 h 35"/>
                <a:gd name="T34" fmla="*/ 109 w 110"/>
                <a:gd name="T35" fmla="*/ 10 h 35"/>
                <a:gd name="T36" fmla="*/ 100 w 110"/>
                <a:gd name="T37" fmla="*/ 3 h 35"/>
                <a:gd name="T38" fmla="*/ 100 w 110"/>
                <a:gd name="T39" fmla="*/ 3 h 35"/>
                <a:gd name="T40" fmla="*/ 100 w 110"/>
                <a:gd name="T41" fmla="*/ 3 h 35"/>
                <a:gd name="T42" fmla="*/ 85 w 110"/>
                <a:gd name="T43" fmla="*/ 0 h 35"/>
                <a:gd name="T44" fmla="*/ 0 w 110"/>
                <a:gd name="T45" fmla="*/ 0 h 35"/>
                <a:gd name="T46" fmla="*/ 35 w 110"/>
                <a:gd name="T47" fmla="*/ 35 h 35"/>
                <a:gd name="T48" fmla="*/ 60 w 110"/>
                <a:gd name="T49" fmla="*/ 10 h 35"/>
                <a:gd name="T50" fmla="*/ 85 w 110"/>
                <a:gd name="T51" fmla="*/ 0 h 35"/>
                <a:gd name="T52" fmla="*/ 100 w 110"/>
                <a:gd name="T53" fmla="*/ 3 h 35"/>
                <a:gd name="T54" fmla="*/ 85 w 110"/>
                <a:gd name="T5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0" h="35">
                  <a:moveTo>
                    <a:pt x="110" y="10"/>
                  </a:moveTo>
                  <a:cubicBezTo>
                    <a:pt x="110" y="10"/>
                    <a:pt x="110" y="10"/>
                    <a:pt x="110" y="10"/>
                  </a:cubicBezTo>
                  <a:cubicBezTo>
                    <a:pt x="110" y="10"/>
                    <a:pt x="110" y="10"/>
                    <a:pt x="110" y="10"/>
                  </a:cubicBezTo>
                  <a:moveTo>
                    <a:pt x="110" y="10"/>
                  </a:moveTo>
                  <a:cubicBezTo>
                    <a:pt x="110" y="10"/>
                    <a:pt x="110" y="10"/>
                    <a:pt x="110" y="10"/>
                  </a:cubicBezTo>
                  <a:cubicBezTo>
                    <a:pt x="110" y="10"/>
                    <a:pt x="110" y="10"/>
                    <a:pt x="110" y="10"/>
                  </a:cubicBezTo>
                  <a:moveTo>
                    <a:pt x="110" y="10"/>
                  </a:moveTo>
                  <a:cubicBezTo>
                    <a:pt x="110" y="10"/>
                    <a:pt x="110" y="10"/>
                    <a:pt x="110" y="10"/>
                  </a:cubicBezTo>
                  <a:cubicBezTo>
                    <a:pt x="110" y="10"/>
                    <a:pt x="110" y="10"/>
                    <a:pt x="110" y="10"/>
                  </a:cubicBezTo>
                  <a:moveTo>
                    <a:pt x="110" y="10"/>
                  </a:moveTo>
                  <a:cubicBezTo>
                    <a:pt x="110" y="10"/>
                    <a:pt x="110" y="10"/>
                    <a:pt x="110" y="10"/>
                  </a:cubicBezTo>
                  <a:cubicBezTo>
                    <a:pt x="110" y="10"/>
                    <a:pt x="110" y="10"/>
                    <a:pt x="110" y="10"/>
                  </a:cubicBezTo>
                  <a:moveTo>
                    <a:pt x="110" y="10"/>
                  </a:moveTo>
                  <a:cubicBezTo>
                    <a:pt x="110" y="10"/>
                    <a:pt x="110" y="10"/>
                    <a:pt x="110" y="10"/>
                  </a:cubicBezTo>
                  <a:cubicBezTo>
                    <a:pt x="110" y="10"/>
                    <a:pt x="110" y="10"/>
                    <a:pt x="110" y="10"/>
                  </a:cubicBezTo>
                  <a:moveTo>
                    <a:pt x="109" y="10"/>
                  </a:moveTo>
                  <a:cubicBezTo>
                    <a:pt x="109" y="10"/>
                    <a:pt x="109" y="10"/>
                    <a:pt x="109" y="10"/>
                  </a:cubicBezTo>
                  <a:cubicBezTo>
                    <a:pt x="109" y="10"/>
                    <a:pt x="109" y="10"/>
                    <a:pt x="109" y="10"/>
                  </a:cubicBezTo>
                  <a:moveTo>
                    <a:pt x="100" y="3"/>
                  </a:moveTo>
                  <a:cubicBezTo>
                    <a:pt x="100" y="3"/>
                    <a:pt x="100" y="3"/>
                    <a:pt x="100" y="3"/>
                  </a:cubicBezTo>
                  <a:cubicBezTo>
                    <a:pt x="100" y="3"/>
                    <a:pt x="100" y="3"/>
                    <a:pt x="100" y="3"/>
                  </a:cubicBezTo>
                  <a:moveTo>
                    <a:pt x="85" y="0"/>
                  </a:moveTo>
                  <a:cubicBezTo>
                    <a:pt x="0" y="0"/>
                    <a:pt x="0" y="0"/>
                    <a:pt x="0" y="0"/>
                  </a:cubicBezTo>
                  <a:cubicBezTo>
                    <a:pt x="35" y="35"/>
                    <a:pt x="35" y="35"/>
                    <a:pt x="35" y="35"/>
                  </a:cubicBezTo>
                  <a:cubicBezTo>
                    <a:pt x="60" y="10"/>
                    <a:pt x="60" y="10"/>
                    <a:pt x="60" y="10"/>
                  </a:cubicBezTo>
                  <a:cubicBezTo>
                    <a:pt x="67" y="3"/>
                    <a:pt x="76" y="0"/>
                    <a:pt x="85" y="0"/>
                  </a:cubicBezTo>
                  <a:cubicBezTo>
                    <a:pt x="90" y="0"/>
                    <a:pt x="95" y="1"/>
                    <a:pt x="100" y="3"/>
                  </a:cubicBezTo>
                  <a:cubicBezTo>
                    <a:pt x="96" y="1"/>
                    <a:pt x="91" y="0"/>
                    <a:pt x="85" y="0"/>
                  </a:cubicBezTo>
                </a:path>
              </a:pathLst>
            </a:custGeom>
            <a:solidFill>
              <a:srgbClr val="F77303"/>
            </a:solidFill>
            <a:ln w="12700">
              <a:solidFill>
                <a:srgbClr val="F77303"/>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377" name="Freeform 8">
              <a:extLst>
                <a:ext uri="{FF2B5EF4-FFF2-40B4-BE49-F238E27FC236}">
                  <a16:creationId xmlns:a16="http://schemas.microsoft.com/office/drawing/2014/main" id="{EA07AD75-813E-4166-9D19-2DD62AEA7B1D}"/>
                </a:ext>
              </a:extLst>
            </p:cNvPr>
            <p:cNvSpPr>
              <a:spLocks/>
            </p:cNvSpPr>
            <p:nvPr/>
          </p:nvSpPr>
          <p:spPr bwMode="auto">
            <a:xfrm>
              <a:off x="8259763" y="2790825"/>
              <a:ext cx="295275" cy="204787"/>
            </a:xfrm>
            <a:custGeom>
              <a:avLst/>
              <a:gdLst>
                <a:gd name="T0" fmla="*/ 169 w 169"/>
                <a:gd name="T1" fmla="*/ 0 h 117"/>
                <a:gd name="T2" fmla="*/ 169 w 169"/>
                <a:gd name="T3" fmla="*/ 1 h 117"/>
                <a:gd name="T4" fmla="*/ 169 w 169"/>
                <a:gd name="T5" fmla="*/ 1 h 117"/>
                <a:gd name="T6" fmla="*/ 169 w 169"/>
                <a:gd name="T7" fmla="*/ 1 h 117"/>
                <a:gd name="T8" fmla="*/ 169 w 169"/>
                <a:gd name="T9" fmla="*/ 1 h 117"/>
                <a:gd name="T10" fmla="*/ 169 w 169"/>
                <a:gd name="T11" fmla="*/ 1 h 117"/>
                <a:gd name="T12" fmla="*/ 169 w 169"/>
                <a:gd name="T13" fmla="*/ 1 h 117"/>
                <a:gd name="T14" fmla="*/ 169 w 169"/>
                <a:gd name="T15" fmla="*/ 1 h 117"/>
                <a:gd name="T16" fmla="*/ 169 w 169"/>
                <a:gd name="T17" fmla="*/ 1 h 117"/>
                <a:gd name="T18" fmla="*/ 169 w 169"/>
                <a:gd name="T19" fmla="*/ 1 h 117"/>
                <a:gd name="T20" fmla="*/ 168 w 169"/>
                <a:gd name="T21" fmla="*/ 1 h 117"/>
                <a:gd name="T22" fmla="*/ 168 w 169"/>
                <a:gd name="T23" fmla="*/ 1 h 117"/>
                <a:gd name="T24" fmla="*/ 159 w 169"/>
                <a:gd name="T25" fmla="*/ 7 h 117"/>
                <a:gd name="T26" fmla="*/ 159 w 169"/>
                <a:gd name="T27" fmla="*/ 8 h 117"/>
                <a:gd name="T28" fmla="*/ 159 w 169"/>
                <a:gd name="T29" fmla="*/ 8 h 117"/>
                <a:gd name="T30" fmla="*/ 144 w 169"/>
                <a:gd name="T31" fmla="*/ 11 h 117"/>
                <a:gd name="T32" fmla="*/ 59 w 169"/>
                <a:gd name="T33" fmla="*/ 11 h 117"/>
                <a:gd name="T34" fmla="*/ 13 w 169"/>
                <a:gd name="T35" fmla="*/ 56 h 117"/>
                <a:gd name="T36" fmla="*/ 13 w 169"/>
                <a:gd name="T37" fmla="*/ 106 h 117"/>
                <a:gd name="T38" fmla="*/ 38 w 169"/>
                <a:gd name="T39" fmla="*/ 117 h 117"/>
                <a:gd name="T40" fmla="*/ 63 w 169"/>
                <a:gd name="T41" fmla="*/ 106 h 117"/>
                <a:gd name="T42" fmla="*/ 169 w 169"/>
                <a:gd name="T4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7">
                  <a:moveTo>
                    <a:pt x="169" y="0"/>
                  </a:moveTo>
                  <a:cubicBezTo>
                    <a:pt x="169" y="0"/>
                    <a:pt x="169" y="0"/>
                    <a:pt x="169" y="1"/>
                  </a:cubicBezTo>
                  <a:cubicBezTo>
                    <a:pt x="169" y="1"/>
                    <a:pt x="169" y="1"/>
                    <a:pt x="169" y="1"/>
                  </a:cubicBezTo>
                  <a:cubicBezTo>
                    <a:pt x="169" y="1"/>
                    <a:pt x="169" y="1"/>
                    <a:pt x="169" y="1"/>
                  </a:cubicBezTo>
                  <a:cubicBezTo>
                    <a:pt x="169" y="1"/>
                    <a:pt x="169" y="1"/>
                    <a:pt x="169" y="1"/>
                  </a:cubicBezTo>
                  <a:cubicBezTo>
                    <a:pt x="169" y="1"/>
                    <a:pt x="169" y="1"/>
                    <a:pt x="169" y="1"/>
                  </a:cubicBezTo>
                  <a:cubicBezTo>
                    <a:pt x="169" y="1"/>
                    <a:pt x="169" y="1"/>
                    <a:pt x="169" y="1"/>
                  </a:cubicBezTo>
                  <a:cubicBezTo>
                    <a:pt x="169" y="1"/>
                    <a:pt x="169" y="1"/>
                    <a:pt x="169" y="1"/>
                  </a:cubicBezTo>
                  <a:cubicBezTo>
                    <a:pt x="169" y="1"/>
                    <a:pt x="169" y="1"/>
                    <a:pt x="169" y="1"/>
                  </a:cubicBezTo>
                  <a:cubicBezTo>
                    <a:pt x="169" y="1"/>
                    <a:pt x="169" y="1"/>
                    <a:pt x="169" y="1"/>
                  </a:cubicBezTo>
                  <a:cubicBezTo>
                    <a:pt x="169" y="1"/>
                    <a:pt x="168" y="1"/>
                    <a:pt x="168" y="1"/>
                  </a:cubicBezTo>
                  <a:cubicBezTo>
                    <a:pt x="168" y="1"/>
                    <a:pt x="168" y="1"/>
                    <a:pt x="168" y="1"/>
                  </a:cubicBezTo>
                  <a:cubicBezTo>
                    <a:pt x="166" y="4"/>
                    <a:pt x="162" y="6"/>
                    <a:pt x="159" y="7"/>
                  </a:cubicBezTo>
                  <a:cubicBezTo>
                    <a:pt x="159" y="7"/>
                    <a:pt x="159" y="7"/>
                    <a:pt x="159" y="8"/>
                  </a:cubicBezTo>
                  <a:cubicBezTo>
                    <a:pt x="159" y="8"/>
                    <a:pt x="159" y="8"/>
                    <a:pt x="159" y="8"/>
                  </a:cubicBezTo>
                  <a:cubicBezTo>
                    <a:pt x="155" y="10"/>
                    <a:pt x="150" y="11"/>
                    <a:pt x="144" y="11"/>
                  </a:cubicBezTo>
                  <a:cubicBezTo>
                    <a:pt x="59" y="11"/>
                    <a:pt x="59" y="11"/>
                    <a:pt x="59" y="11"/>
                  </a:cubicBezTo>
                  <a:cubicBezTo>
                    <a:pt x="13" y="56"/>
                    <a:pt x="13" y="56"/>
                    <a:pt x="13" y="56"/>
                  </a:cubicBezTo>
                  <a:cubicBezTo>
                    <a:pt x="0" y="70"/>
                    <a:pt x="0" y="92"/>
                    <a:pt x="13" y="106"/>
                  </a:cubicBezTo>
                  <a:cubicBezTo>
                    <a:pt x="20" y="113"/>
                    <a:pt x="29" y="117"/>
                    <a:pt x="38" y="117"/>
                  </a:cubicBezTo>
                  <a:cubicBezTo>
                    <a:pt x="48" y="117"/>
                    <a:pt x="57" y="113"/>
                    <a:pt x="63" y="106"/>
                  </a:cubicBezTo>
                  <a:cubicBezTo>
                    <a:pt x="169" y="0"/>
                    <a:pt x="169" y="0"/>
                    <a:pt x="169" y="0"/>
                  </a:cubicBezTo>
                </a:path>
              </a:pathLst>
            </a:custGeom>
            <a:solidFill>
              <a:srgbClr val="FBAB18"/>
            </a:solidFill>
            <a:ln w="12700">
              <a:solidFill>
                <a:srgbClr val="FBAB18"/>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378" name="Freeform 9">
              <a:extLst>
                <a:ext uri="{FF2B5EF4-FFF2-40B4-BE49-F238E27FC236}">
                  <a16:creationId xmlns:a16="http://schemas.microsoft.com/office/drawing/2014/main" id="{4AAEB852-734E-4989-831B-07EDD83E93F9}"/>
                </a:ext>
              </a:extLst>
            </p:cNvPr>
            <p:cNvSpPr>
              <a:spLocks noEditPoints="1"/>
            </p:cNvSpPr>
            <p:nvPr/>
          </p:nvSpPr>
          <p:spPr bwMode="auto">
            <a:xfrm>
              <a:off x="8362950" y="2746375"/>
              <a:ext cx="192088" cy="63500"/>
            </a:xfrm>
            <a:custGeom>
              <a:avLst/>
              <a:gdLst>
                <a:gd name="T0" fmla="*/ 100 w 110"/>
                <a:gd name="T1" fmla="*/ 32 h 36"/>
                <a:gd name="T2" fmla="*/ 100 w 110"/>
                <a:gd name="T3" fmla="*/ 33 h 36"/>
                <a:gd name="T4" fmla="*/ 100 w 110"/>
                <a:gd name="T5" fmla="*/ 32 h 36"/>
                <a:gd name="T6" fmla="*/ 109 w 110"/>
                <a:gd name="T7" fmla="*/ 26 h 36"/>
                <a:gd name="T8" fmla="*/ 109 w 110"/>
                <a:gd name="T9" fmla="*/ 26 h 36"/>
                <a:gd name="T10" fmla="*/ 109 w 110"/>
                <a:gd name="T11" fmla="*/ 26 h 36"/>
                <a:gd name="T12" fmla="*/ 110 w 110"/>
                <a:gd name="T13" fmla="*/ 26 h 36"/>
                <a:gd name="T14" fmla="*/ 110 w 110"/>
                <a:gd name="T15" fmla="*/ 26 h 36"/>
                <a:gd name="T16" fmla="*/ 110 w 110"/>
                <a:gd name="T17" fmla="*/ 26 h 36"/>
                <a:gd name="T18" fmla="*/ 110 w 110"/>
                <a:gd name="T19" fmla="*/ 26 h 36"/>
                <a:gd name="T20" fmla="*/ 110 w 110"/>
                <a:gd name="T21" fmla="*/ 26 h 36"/>
                <a:gd name="T22" fmla="*/ 110 w 110"/>
                <a:gd name="T23" fmla="*/ 26 h 36"/>
                <a:gd name="T24" fmla="*/ 110 w 110"/>
                <a:gd name="T25" fmla="*/ 26 h 36"/>
                <a:gd name="T26" fmla="*/ 110 w 110"/>
                <a:gd name="T27" fmla="*/ 26 h 36"/>
                <a:gd name="T28" fmla="*/ 110 w 110"/>
                <a:gd name="T29" fmla="*/ 26 h 36"/>
                <a:gd name="T30" fmla="*/ 110 w 110"/>
                <a:gd name="T31" fmla="*/ 26 h 36"/>
                <a:gd name="T32" fmla="*/ 110 w 110"/>
                <a:gd name="T33" fmla="*/ 26 h 36"/>
                <a:gd name="T34" fmla="*/ 110 w 110"/>
                <a:gd name="T35" fmla="*/ 26 h 36"/>
                <a:gd name="T36" fmla="*/ 110 w 110"/>
                <a:gd name="T37" fmla="*/ 25 h 36"/>
                <a:gd name="T38" fmla="*/ 110 w 110"/>
                <a:gd name="T39" fmla="*/ 26 h 36"/>
                <a:gd name="T40" fmla="*/ 110 w 110"/>
                <a:gd name="T41" fmla="*/ 25 h 36"/>
                <a:gd name="T42" fmla="*/ 110 w 110"/>
                <a:gd name="T43" fmla="*/ 25 h 36"/>
                <a:gd name="T44" fmla="*/ 35 w 110"/>
                <a:gd name="T45" fmla="*/ 0 h 36"/>
                <a:gd name="T46" fmla="*/ 0 w 110"/>
                <a:gd name="T47" fmla="*/ 36 h 36"/>
                <a:gd name="T48" fmla="*/ 85 w 110"/>
                <a:gd name="T49" fmla="*/ 36 h 36"/>
                <a:gd name="T50" fmla="*/ 100 w 110"/>
                <a:gd name="T51" fmla="*/ 33 h 36"/>
                <a:gd name="T52" fmla="*/ 85 w 110"/>
                <a:gd name="T53" fmla="*/ 36 h 36"/>
                <a:gd name="T54" fmla="*/ 60 w 110"/>
                <a:gd name="T55" fmla="*/ 25 h 36"/>
                <a:gd name="T56" fmla="*/ 35 w 110"/>
                <a:gd name="T5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6">
                  <a:moveTo>
                    <a:pt x="100" y="32"/>
                  </a:moveTo>
                  <a:cubicBezTo>
                    <a:pt x="100" y="32"/>
                    <a:pt x="100" y="32"/>
                    <a:pt x="100" y="33"/>
                  </a:cubicBezTo>
                  <a:cubicBezTo>
                    <a:pt x="100" y="32"/>
                    <a:pt x="100" y="32"/>
                    <a:pt x="100" y="32"/>
                  </a:cubicBezTo>
                  <a:moveTo>
                    <a:pt x="109" y="26"/>
                  </a:moveTo>
                  <a:cubicBezTo>
                    <a:pt x="109" y="26"/>
                    <a:pt x="109" y="26"/>
                    <a:pt x="109" y="26"/>
                  </a:cubicBezTo>
                  <a:cubicBezTo>
                    <a:pt x="109" y="26"/>
                    <a:pt x="109" y="26"/>
                    <a:pt x="109" y="26"/>
                  </a:cubicBezTo>
                  <a:moveTo>
                    <a:pt x="110" y="26"/>
                  </a:moveTo>
                  <a:cubicBezTo>
                    <a:pt x="110" y="26"/>
                    <a:pt x="110" y="26"/>
                    <a:pt x="110" y="26"/>
                  </a:cubicBezTo>
                  <a:cubicBezTo>
                    <a:pt x="110" y="26"/>
                    <a:pt x="110" y="26"/>
                    <a:pt x="110" y="26"/>
                  </a:cubicBezTo>
                  <a:moveTo>
                    <a:pt x="110" y="26"/>
                  </a:moveTo>
                  <a:cubicBezTo>
                    <a:pt x="110" y="26"/>
                    <a:pt x="110" y="26"/>
                    <a:pt x="110" y="26"/>
                  </a:cubicBezTo>
                  <a:cubicBezTo>
                    <a:pt x="110" y="26"/>
                    <a:pt x="110" y="26"/>
                    <a:pt x="110" y="26"/>
                  </a:cubicBezTo>
                  <a:moveTo>
                    <a:pt x="110" y="26"/>
                  </a:moveTo>
                  <a:cubicBezTo>
                    <a:pt x="110" y="26"/>
                    <a:pt x="110" y="26"/>
                    <a:pt x="110" y="26"/>
                  </a:cubicBezTo>
                  <a:cubicBezTo>
                    <a:pt x="110" y="26"/>
                    <a:pt x="110" y="26"/>
                    <a:pt x="110" y="26"/>
                  </a:cubicBezTo>
                  <a:moveTo>
                    <a:pt x="110" y="26"/>
                  </a:moveTo>
                  <a:cubicBezTo>
                    <a:pt x="110" y="26"/>
                    <a:pt x="110" y="26"/>
                    <a:pt x="110" y="26"/>
                  </a:cubicBezTo>
                  <a:cubicBezTo>
                    <a:pt x="110" y="26"/>
                    <a:pt x="110" y="26"/>
                    <a:pt x="110" y="26"/>
                  </a:cubicBezTo>
                  <a:moveTo>
                    <a:pt x="110" y="25"/>
                  </a:moveTo>
                  <a:cubicBezTo>
                    <a:pt x="110" y="25"/>
                    <a:pt x="110" y="25"/>
                    <a:pt x="110" y="26"/>
                  </a:cubicBezTo>
                  <a:cubicBezTo>
                    <a:pt x="110" y="25"/>
                    <a:pt x="110" y="25"/>
                    <a:pt x="110" y="25"/>
                  </a:cubicBezTo>
                  <a:cubicBezTo>
                    <a:pt x="110" y="25"/>
                    <a:pt x="110" y="25"/>
                    <a:pt x="110" y="25"/>
                  </a:cubicBezTo>
                  <a:moveTo>
                    <a:pt x="35" y="0"/>
                  </a:moveTo>
                  <a:cubicBezTo>
                    <a:pt x="0" y="36"/>
                    <a:pt x="0" y="36"/>
                    <a:pt x="0" y="36"/>
                  </a:cubicBezTo>
                  <a:cubicBezTo>
                    <a:pt x="85" y="36"/>
                    <a:pt x="85" y="36"/>
                    <a:pt x="85" y="36"/>
                  </a:cubicBezTo>
                  <a:cubicBezTo>
                    <a:pt x="91" y="36"/>
                    <a:pt x="96" y="35"/>
                    <a:pt x="100" y="33"/>
                  </a:cubicBezTo>
                  <a:cubicBezTo>
                    <a:pt x="95" y="35"/>
                    <a:pt x="90" y="36"/>
                    <a:pt x="85" y="36"/>
                  </a:cubicBezTo>
                  <a:cubicBezTo>
                    <a:pt x="76" y="36"/>
                    <a:pt x="67" y="32"/>
                    <a:pt x="60" y="25"/>
                  </a:cubicBezTo>
                  <a:cubicBezTo>
                    <a:pt x="35" y="0"/>
                    <a:pt x="35" y="0"/>
                    <a:pt x="35" y="0"/>
                  </a:cubicBezTo>
                </a:path>
              </a:pathLst>
            </a:custGeom>
            <a:solidFill>
              <a:srgbClr val="F77303"/>
            </a:solidFill>
            <a:ln w="12700">
              <a:solidFill>
                <a:srgbClr val="F77303"/>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379" name="Freeform 10">
              <a:extLst>
                <a:ext uri="{FF2B5EF4-FFF2-40B4-BE49-F238E27FC236}">
                  <a16:creationId xmlns:a16="http://schemas.microsoft.com/office/drawing/2014/main" id="{C40236B8-7CD0-49BC-976A-2E1BC55902AD}"/>
                </a:ext>
              </a:extLst>
            </p:cNvPr>
            <p:cNvSpPr>
              <a:spLocks noEditPoints="1"/>
            </p:cNvSpPr>
            <p:nvPr/>
          </p:nvSpPr>
          <p:spPr bwMode="auto">
            <a:xfrm>
              <a:off x="8537575" y="2690812"/>
              <a:ext cx="31750" cy="114300"/>
            </a:xfrm>
            <a:custGeom>
              <a:avLst/>
              <a:gdLst>
                <a:gd name="T0" fmla="*/ 0 w 18"/>
                <a:gd name="T1" fmla="*/ 65 h 65"/>
                <a:gd name="T2" fmla="*/ 9 w 18"/>
                <a:gd name="T3" fmla="*/ 58 h 65"/>
                <a:gd name="T4" fmla="*/ 9 w 18"/>
                <a:gd name="T5" fmla="*/ 58 h 65"/>
                <a:gd name="T6" fmla="*/ 9 w 18"/>
                <a:gd name="T7" fmla="*/ 58 h 65"/>
                <a:gd name="T8" fmla="*/ 10 w 18"/>
                <a:gd name="T9" fmla="*/ 58 h 65"/>
                <a:gd name="T10" fmla="*/ 10 w 18"/>
                <a:gd name="T11" fmla="*/ 58 h 65"/>
                <a:gd name="T12" fmla="*/ 10 w 18"/>
                <a:gd name="T13" fmla="*/ 58 h 65"/>
                <a:gd name="T14" fmla="*/ 10 w 18"/>
                <a:gd name="T15" fmla="*/ 58 h 65"/>
                <a:gd name="T16" fmla="*/ 10 w 18"/>
                <a:gd name="T17" fmla="*/ 58 h 65"/>
                <a:gd name="T18" fmla="*/ 10 w 18"/>
                <a:gd name="T19" fmla="*/ 58 h 65"/>
                <a:gd name="T20" fmla="*/ 11 w 18"/>
                <a:gd name="T21" fmla="*/ 57 h 65"/>
                <a:gd name="T22" fmla="*/ 11 w 18"/>
                <a:gd name="T23" fmla="*/ 57 h 65"/>
                <a:gd name="T24" fmla="*/ 11 w 18"/>
                <a:gd name="T25" fmla="*/ 57 h 65"/>
                <a:gd name="T26" fmla="*/ 11 w 18"/>
                <a:gd name="T27" fmla="*/ 57 h 65"/>
                <a:gd name="T28" fmla="*/ 11 w 18"/>
                <a:gd name="T29" fmla="*/ 57 h 65"/>
                <a:gd name="T30" fmla="*/ 11 w 18"/>
                <a:gd name="T31" fmla="*/ 57 h 65"/>
                <a:gd name="T32" fmla="*/ 11 w 18"/>
                <a:gd name="T33" fmla="*/ 56 h 65"/>
                <a:gd name="T34" fmla="*/ 11 w 18"/>
                <a:gd name="T35" fmla="*/ 56 h 65"/>
                <a:gd name="T36" fmla="*/ 11 w 18"/>
                <a:gd name="T37" fmla="*/ 56 h 65"/>
                <a:gd name="T38" fmla="*/ 18 w 18"/>
                <a:gd name="T39" fmla="*/ 47 h 65"/>
                <a:gd name="T40" fmla="*/ 18 w 18"/>
                <a:gd name="T41" fmla="*/ 47 h 65"/>
                <a:gd name="T42" fmla="*/ 18 w 18"/>
                <a:gd name="T43" fmla="*/ 18 h 65"/>
                <a:gd name="T44" fmla="*/ 11 w 18"/>
                <a:gd name="T45" fmla="*/ 8 h 65"/>
                <a:gd name="T46" fmla="*/ 11 w 18"/>
                <a:gd name="T47" fmla="*/ 8 h 65"/>
                <a:gd name="T48" fmla="*/ 11 w 18"/>
                <a:gd name="T49" fmla="*/ 8 h 65"/>
                <a:gd name="T50" fmla="*/ 11 w 18"/>
                <a:gd name="T51" fmla="*/ 8 h 65"/>
                <a:gd name="T52" fmla="*/ 11 w 18"/>
                <a:gd name="T53" fmla="*/ 8 h 65"/>
                <a:gd name="T54" fmla="*/ 11 w 18"/>
                <a:gd name="T55" fmla="*/ 8 h 65"/>
                <a:gd name="T56" fmla="*/ 11 w 18"/>
                <a:gd name="T57" fmla="*/ 8 h 65"/>
                <a:gd name="T58" fmla="*/ 11 w 18"/>
                <a:gd name="T59" fmla="*/ 8 h 65"/>
                <a:gd name="T60" fmla="*/ 11 w 18"/>
                <a:gd name="T61" fmla="*/ 8 h 65"/>
                <a:gd name="T62" fmla="*/ 10 w 18"/>
                <a:gd name="T63" fmla="*/ 7 h 65"/>
                <a:gd name="T64" fmla="*/ 10 w 18"/>
                <a:gd name="T65" fmla="*/ 7 h 65"/>
                <a:gd name="T66" fmla="*/ 10 w 18"/>
                <a:gd name="T67" fmla="*/ 7 h 65"/>
                <a:gd name="T68" fmla="*/ 10 w 18"/>
                <a:gd name="T69" fmla="*/ 7 h 65"/>
                <a:gd name="T70" fmla="*/ 10 w 18"/>
                <a:gd name="T71" fmla="*/ 7 h 65"/>
                <a:gd name="T72" fmla="*/ 10 w 18"/>
                <a:gd name="T73" fmla="*/ 7 h 65"/>
                <a:gd name="T74" fmla="*/ 9 w 18"/>
                <a:gd name="T75" fmla="*/ 7 h 65"/>
                <a:gd name="T76" fmla="*/ 9 w 18"/>
                <a:gd name="T77" fmla="*/ 7 h 65"/>
                <a:gd name="T78" fmla="*/ 9 w 18"/>
                <a:gd name="T79" fmla="*/ 7 h 65"/>
                <a:gd name="T80" fmla="*/ 0 w 18"/>
                <a:gd name="T81" fmla="*/ 0 h 65"/>
                <a:gd name="T82" fmla="*/ 0 w 18"/>
                <a:gd name="T8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65">
                  <a:moveTo>
                    <a:pt x="0" y="65"/>
                  </a:moveTo>
                  <a:cubicBezTo>
                    <a:pt x="0" y="65"/>
                    <a:pt x="0" y="65"/>
                    <a:pt x="0" y="65"/>
                  </a:cubicBezTo>
                  <a:cubicBezTo>
                    <a:pt x="0" y="65"/>
                    <a:pt x="0" y="65"/>
                    <a:pt x="0" y="65"/>
                  </a:cubicBezTo>
                  <a:moveTo>
                    <a:pt x="9" y="58"/>
                  </a:moveTo>
                  <a:cubicBezTo>
                    <a:pt x="7" y="61"/>
                    <a:pt x="4" y="63"/>
                    <a:pt x="0" y="64"/>
                  </a:cubicBezTo>
                  <a:cubicBezTo>
                    <a:pt x="3" y="63"/>
                    <a:pt x="7" y="61"/>
                    <a:pt x="9" y="58"/>
                  </a:cubicBezTo>
                  <a:moveTo>
                    <a:pt x="10" y="58"/>
                  </a:moveTo>
                  <a:cubicBezTo>
                    <a:pt x="10" y="58"/>
                    <a:pt x="9" y="58"/>
                    <a:pt x="9" y="58"/>
                  </a:cubicBezTo>
                  <a:cubicBezTo>
                    <a:pt x="9" y="58"/>
                    <a:pt x="10" y="58"/>
                    <a:pt x="10" y="58"/>
                  </a:cubicBezTo>
                  <a:moveTo>
                    <a:pt x="10" y="58"/>
                  </a:moveTo>
                  <a:cubicBezTo>
                    <a:pt x="10" y="58"/>
                    <a:pt x="10" y="58"/>
                    <a:pt x="10" y="58"/>
                  </a:cubicBezTo>
                  <a:cubicBezTo>
                    <a:pt x="10" y="58"/>
                    <a:pt x="10" y="58"/>
                    <a:pt x="10" y="58"/>
                  </a:cubicBezTo>
                  <a:moveTo>
                    <a:pt x="10" y="58"/>
                  </a:moveTo>
                  <a:cubicBezTo>
                    <a:pt x="10" y="58"/>
                    <a:pt x="10" y="58"/>
                    <a:pt x="10" y="58"/>
                  </a:cubicBezTo>
                  <a:cubicBezTo>
                    <a:pt x="10" y="58"/>
                    <a:pt x="10" y="58"/>
                    <a:pt x="10" y="58"/>
                  </a:cubicBezTo>
                  <a:moveTo>
                    <a:pt x="10" y="58"/>
                  </a:moveTo>
                  <a:cubicBezTo>
                    <a:pt x="10" y="58"/>
                    <a:pt x="10" y="58"/>
                    <a:pt x="10" y="58"/>
                  </a:cubicBezTo>
                  <a:cubicBezTo>
                    <a:pt x="10" y="58"/>
                    <a:pt x="10" y="58"/>
                    <a:pt x="10" y="58"/>
                  </a:cubicBezTo>
                  <a:moveTo>
                    <a:pt x="10" y="58"/>
                  </a:moveTo>
                  <a:cubicBezTo>
                    <a:pt x="10" y="58"/>
                    <a:pt x="10" y="58"/>
                    <a:pt x="10" y="58"/>
                  </a:cubicBezTo>
                  <a:cubicBezTo>
                    <a:pt x="10" y="58"/>
                    <a:pt x="10" y="58"/>
                    <a:pt x="10" y="58"/>
                  </a:cubicBezTo>
                  <a:moveTo>
                    <a:pt x="11" y="57"/>
                  </a:moveTo>
                  <a:cubicBezTo>
                    <a:pt x="11" y="57"/>
                    <a:pt x="11" y="57"/>
                    <a:pt x="11" y="57"/>
                  </a:cubicBezTo>
                  <a:cubicBezTo>
                    <a:pt x="11" y="57"/>
                    <a:pt x="11" y="57"/>
                    <a:pt x="11" y="57"/>
                  </a:cubicBezTo>
                  <a:moveTo>
                    <a:pt x="11" y="57"/>
                  </a:moveTo>
                  <a:cubicBezTo>
                    <a:pt x="11" y="57"/>
                    <a:pt x="11" y="57"/>
                    <a:pt x="11" y="57"/>
                  </a:cubicBezTo>
                  <a:cubicBezTo>
                    <a:pt x="11" y="57"/>
                    <a:pt x="11" y="57"/>
                    <a:pt x="11" y="57"/>
                  </a:cubicBezTo>
                  <a:moveTo>
                    <a:pt x="11" y="57"/>
                  </a:moveTo>
                  <a:cubicBezTo>
                    <a:pt x="11" y="57"/>
                    <a:pt x="11" y="57"/>
                    <a:pt x="11" y="57"/>
                  </a:cubicBezTo>
                  <a:cubicBezTo>
                    <a:pt x="11" y="57"/>
                    <a:pt x="11" y="57"/>
                    <a:pt x="11" y="57"/>
                  </a:cubicBezTo>
                  <a:moveTo>
                    <a:pt x="11" y="57"/>
                  </a:moveTo>
                  <a:cubicBezTo>
                    <a:pt x="11" y="57"/>
                    <a:pt x="11" y="57"/>
                    <a:pt x="11" y="57"/>
                  </a:cubicBezTo>
                  <a:cubicBezTo>
                    <a:pt x="11" y="57"/>
                    <a:pt x="11" y="57"/>
                    <a:pt x="11" y="57"/>
                  </a:cubicBezTo>
                  <a:moveTo>
                    <a:pt x="11" y="56"/>
                  </a:moveTo>
                  <a:cubicBezTo>
                    <a:pt x="11" y="56"/>
                    <a:pt x="11" y="57"/>
                    <a:pt x="11" y="57"/>
                  </a:cubicBezTo>
                  <a:cubicBezTo>
                    <a:pt x="11" y="57"/>
                    <a:pt x="11" y="56"/>
                    <a:pt x="11" y="56"/>
                  </a:cubicBezTo>
                  <a:moveTo>
                    <a:pt x="17" y="47"/>
                  </a:moveTo>
                  <a:cubicBezTo>
                    <a:pt x="16" y="51"/>
                    <a:pt x="14" y="54"/>
                    <a:pt x="11" y="56"/>
                  </a:cubicBezTo>
                  <a:cubicBezTo>
                    <a:pt x="14" y="54"/>
                    <a:pt x="16" y="50"/>
                    <a:pt x="17" y="47"/>
                  </a:cubicBezTo>
                  <a:moveTo>
                    <a:pt x="18" y="47"/>
                  </a:moveTo>
                  <a:cubicBezTo>
                    <a:pt x="18" y="47"/>
                    <a:pt x="18" y="47"/>
                    <a:pt x="18" y="47"/>
                  </a:cubicBezTo>
                  <a:cubicBezTo>
                    <a:pt x="18" y="47"/>
                    <a:pt x="18" y="47"/>
                    <a:pt x="18" y="47"/>
                  </a:cubicBezTo>
                  <a:moveTo>
                    <a:pt x="18" y="18"/>
                  </a:moveTo>
                  <a:cubicBezTo>
                    <a:pt x="18" y="18"/>
                    <a:pt x="18" y="18"/>
                    <a:pt x="18" y="18"/>
                  </a:cubicBezTo>
                  <a:cubicBezTo>
                    <a:pt x="18" y="18"/>
                    <a:pt x="18" y="18"/>
                    <a:pt x="18" y="18"/>
                  </a:cubicBezTo>
                  <a:moveTo>
                    <a:pt x="11" y="8"/>
                  </a:moveTo>
                  <a:cubicBezTo>
                    <a:pt x="14" y="11"/>
                    <a:pt x="16" y="14"/>
                    <a:pt x="17" y="18"/>
                  </a:cubicBezTo>
                  <a:cubicBezTo>
                    <a:pt x="16" y="14"/>
                    <a:pt x="14" y="11"/>
                    <a:pt x="11" y="8"/>
                  </a:cubicBezTo>
                  <a:moveTo>
                    <a:pt x="11" y="8"/>
                  </a:moveTo>
                  <a:cubicBezTo>
                    <a:pt x="11" y="8"/>
                    <a:pt x="11" y="8"/>
                    <a:pt x="11" y="8"/>
                  </a:cubicBezTo>
                  <a:cubicBezTo>
                    <a:pt x="11" y="8"/>
                    <a:pt x="11" y="8"/>
                    <a:pt x="11" y="8"/>
                  </a:cubicBezTo>
                  <a:moveTo>
                    <a:pt x="11" y="8"/>
                  </a:moveTo>
                  <a:cubicBezTo>
                    <a:pt x="11" y="8"/>
                    <a:pt x="11" y="8"/>
                    <a:pt x="11" y="8"/>
                  </a:cubicBezTo>
                  <a:cubicBezTo>
                    <a:pt x="11" y="8"/>
                    <a:pt x="11" y="8"/>
                    <a:pt x="11" y="8"/>
                  </a:cubicBezTo>
                  <a:moveTo>
                    <a:pt x="11" y="8"/>
                  </a:moveTo>
                  <a:cubicBezTo>
                    <a:pt x="11" y="8"/>
                    <a:pt x="11" y="8"/>
                    <a:pt x="11" y="8"/>
                  </a:cubicBezTo>
                  <a:cubicBezTo>
                    <a:pt x="11" y="8"/>
                    <a:pt x="11" y="8"/>
                    <a:pt x="11" y="8"/>
                  </a:cubicBezTo>
                  <a:moveTo>
                    <a:pt x="11" y="8"/>
                  </a:moveTo>
                  <a:cubicBezTo>
                    <a:pt x="11" y="8"/>
                    <a:pt x="11" y="8"/>
                    <a:pt x="11" y="8"/>
                  </a:cubicBezTo>
                  <a:cubicBezTo>
                    <a:pt x="11" y="8"/>
                    <a:pt x="11" y="8"/>
                    <a:pt x="11" y="8"/>
                  </a:cubicBezTo>
                  <a:moveTo>
                    <a:pt x="11" y="8"/>
                  </a:moveTo>
                  <a:cubicBezTo>
                    <a:pt x="11" y="8"/>
                    <a:pt x="11" y="8"/>
                    <a:pt x="11" y="8"/>
                  </a:cubicBezTo>
                  <a:cubicBezTo>
                    <a:pt x="11" y="8"/>
                    <a:pt x="11" y="8"/>
                    <a:pt x="11" y="8"/>
                  </a:cubicBezTo>
                  <a:moveTo>
                    <a:pt x="10" y="7"/>
                  </a:moveTo>
                  <a:cubicBezTo>
                    <a:pt x="10" y="7"/>
                    <a:pt x="10" y="7"/>
                    <a:pt x="10" y="7"/>
                  </a:cubicBezTo>
                  <a:cubicBezTo>
                    <a:pt x="10" y="7"/>
                    <a:pt x="10" y="7"/>
                    <a:pt x="10" y="7"/>
                  </a:cubicBezTo>
                  <a:moveTo>
                    <a:pt x="10" y="7"/>
                  </a:moveTo>
                  <a:cubicBezTo>
                    <a:pt x="10" y="7"/>
                    <a:pt x="10" y="7"/>
                    <a:pt x="10" y="7"/>
                  </a:cubicBezTo>
                  <a:cubicBezTo>
                    <a:pt x="10" y="7"/>
                    <a:pt x="10" y="7"/>
                    <a:pt x="10" y="7"/>
                  </a:cubicBezTo>
                  <a:moveTo>
                    <a:pt x="10" y="7"/>
                  </a:moveTo>
                  <a:cubicBezTo>
                    <a:pt x="10" y="7"/>
                    <a:pt x="10" y="7"/>
                    <a:pt x="10" y="7"/>
                  </a:cubicBezTo>
                  <a:cubicBezTo>
                    <a:pt x="10" y="7"/>
                    <a:pt x="10" y="7"/>
                    <a:pt x="10" y="7"/>
                  </a:cubicBezTo>
                  <a:moveTo>
                    <a:pt x="10" y="7"/>
                  </a:moveTo>
                  <a:cubicBezTo>
                    <a:pt x="10" y="7"/>
                    <a:pt x="10" y="7"/>
                    <a:pt x="10" y="7"/>
                  </a:cubicBezTo>
                  <a:cubicBezTo>
                    <a:pt x="10" y="7"/>
                    <a:pt x="10" y="7"/>
                    <a:pt x="10" y="7"/>
                  </a:cubicBezTo>
                  <a:moveTo>
                    <a:pt x="9" y="7"/>
                  </a:moveTo>
                  <a:cubicBezTo>
                    <a:pt x="9" y="7"/>
                    <a:pt x="10" y="7"/>
                    <a:pt x="10" y="7"/>
                  </a:cubicBezTo>
                  <a:cubicBezTo>
                    <a:pt x="10" y="7"/>
                    <a:pt x="9" y="7"/>
                    <a:pt x="9" y="7"/>
                  </a:cubicBezTo>
                  <a:moveTo>
                    <a:pt x="0" y="0"/>
                  </a:moveTo>
                  <a:cubicBezTo>
                    <a:pt x="4" y="2"/>
                    <a:pt x="7" y="4"/>
                    <a:pt x="9" y="7"/>
                  </a:cubicBezTo>
                  <a:cubicBezTo>
                    <a:pt x="7" y="4"/>
                    <a:pt x="3" y="2"/>
                    <a:pt x="0" y="0"/>
                  </a:cubicBezTo>
                  <a:moveTo>
                    <a:pt x="0" y="0"/>
                  </a:moveTo>
                  <a:cubicBezTo>
                    <a:pt x="0" y="0"/>
                    <a:pt x="0" y="0"/>
                    <a:pt x="0" y="0"/>
                  </a:cubicBezTo>
                  <a:cubicBezTo>
                    <a:pt x="0" y="0"/>
                    <a:pt x="0"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380" name="Freeform 11">
              <a:extLst>
                <a:ext uri="{FF2B5EF4-FFF2-40B4-BE49-F238E27FC236}">
                  <a16:creationId xmlns:a16="http://schemas.microsoft.com/office/drawing/2014/main" id="{5B389FF7-1A1F-49AC-8B94-65FBC5781739}"/>
                </a:ext>
              </a:extLst>
            </p:cNvPr>
            <p:cNvSpPr>
              <a:spLocks/>
            </p:cNvSpPr>
            <p:nvPr/>
          </p:nvSpPr>
          <p:spPr bwMode="auto">
            <a:xfrm>
              <a:off x="8430709" y="2686050"/>
              <a:ext cx="150813" cy="123825"/>
            </a:xfrm>
            <a:custGeom>
              <a:avLst/>
              <a:gdLst>
                <a:gd name="T0" fmla="*/ 25 w 86"/>
                <a:gd name="T1" fmla="*/ 10 h 71"/>
                <a:gd name="T2" fmla="*/ 25 w 86"/>
                <a:gd name="T3" fmla="*/ 60 h 71"/>
                <a:gd name="T4" fmla="*/ 65 w 86"/>
                <a:gd name="T5" fmla="*/ 68 h 71"/>
                <a:gd name="T6" fmla="*/ 65 w 86"/>
                <a:gd name="T7" fmla="*/ 67 h 71"/>
                <a:gd name="T8" fmla="*/ 74 w 86"/>
                <a:gd name="T9" fmla="*/ 61 h 71"/>
                <a:gd name="T10" fmla="*/ 75 w 86"/>
                <a:gd name="T11" fmla="*/ 61 h 71"/>
                <a:gd name="T12" fmla="*/ 75 w 86"/>
                <a:gd name="T13" fmla="*/ 61 h 71"/>
                <a:gd name="T14" fmla="*/ 75 w 86"/>
                <a:gd name="T15" fmla="*/ 61 h 71"/>
                <a:gd name="T16" fmla="*/ 75 w 86"/>
                <a:gd name="T17" fmla="*/ 61 h 71"/>
                <a:gd name="T18" fmla="*/ 75 w 86"/>
                <a:gd name="T19" fmla="*/ 60 h 71"/>
                <a:gd name="T20" fmla="*/ 76 w 86"/>
                <a:gd name="T21" fmla="*/ 60 h 71"/>
                <a:gd name="T22" fmla="*/ 76 w 86"/>
                <a:gd name="T23" fmla="*/ 60 h 71"/>
                <a:gd name="T24" fmla="*/ 76 w 86"/>
                <a:gd name="T25" fmla="*/ 60 h 71"/>
                <a:gd name="T26" fmla="*/ 76 w 86"/>
                <a:gd name="T27" fmla="*/ 60 h 71"/>
                <a:gd name="T28" fmla="*/ 76 w 86"/>
                <a:gd name="T29" fmla="*/ 60 h 71"/>
                <a:gd name="T30" fmla="*/ 76 w 86"/>
                <a:gd name="T31" fmla="*/ 59 h 71"/>
                <a:gd name="T32" fmla="*/ 83 w 86"/>
                <a:gd name="T33" fmla="*/ 50 h 71"/>
                <a:gd name="T34" fmla="*/ 86 w 86"/>
                <a:gd name="T35" fmla="*/ 35 h 71"/>
                <a:gd name="T36" fmla="*/ 83 w 86"/>
                <a:gd name="T37" fmla="*/ 21 h 71"/>
                <a:gd name="T38" fmla="*/ 76 w 86"/>
                <a:gd name="T39" fmla="*/ 11 h 71"/>
                <a:gd name="T40" fmla="*/ 76 w 86"/>
                <a:gd name="T41" fmla="*/ 11 h 71"/>
                <a:gd name="T42" fmla="*/ 76 w 86"/>
                <a:gd name="T43" fmla="*/ 11 h 71"/>
                <a:gd name="T44" fmla="*/ 76 w 86"/>
                <a:gd name="T45" fmla="*/ 11 h 71"/>
                <a:gd name="T46" fmla="*/ 76 w 86"/>
                <a:gd name="T47" fmla="*/ 11 h 71"/>
                <a:gd name="T48" fmla="*/ 76 w 86"/>
                <a:gd name="T49" fmla="*/ 11 h 71"/>
                <a:gd name="T50" fmla="*/ 75 w 86"/>
                <a:gd name="T51" fmla="*/ 10 h 71"/>
                <a:gd name="T52" fmla="*/ 75 w 86"/>
                <a:gd name="T53" fmla="*/ 10 h 71"/>
                <a:gd name="T54" fmla="*/ 75 w 86"/>
                <a:gd name="T55" fmla="*/ 10 h 71"/>
                <a:gd name="T56" fmla="*/ 75 w 86"/>
                <a:gd name="T57" fmla="*/ 10 h 71"/>
                <a:gd name="T58" fmla="*/ 75 w 86"/>
                <a:gd name="T59" fmla="*/ 10 h 71"/>
                <a:gd name="T60" fmla="*/ 74 w 86"/>
                <a:gd name="T61" fmla="*/ 10 h 71"/>
                <a:gd name="T62" fmla="*/ 65 w 86"/>
                <a:gd name="T63" fmla="*/ 3 h 71"/>
                <a:gd name="T64" fmla="*/ 65 w 86"/>
                <a:gd name="T65" fmla="*/ 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 h="71">
                  <a:moveTo>
                    <a:pt x="50" y="0"/>
                  </a:moveTo>
                  <a:cubicBezTo>
                    <a:pt x="41" y="0"/>
                    <a:pt x="32" y="3"/>
                    <a:pt x="25" y="10"/>
                  </a:cubicBezTo>
                  <a:cubicBezTo>
                    <a:pt x="0" y="35"/>
                    <a:pt x="0" y="35"/>
                    <a:pt x="0" y="35"/>
                  </a:cubicBezTo>
                  <a:cubicBezTo>
                    <a:pt x="25" y="60"/>
                    <a:pt x="25" y="60"/>
                    <a:pt x="25" y="60"/>
                  </a:cubicBezTo>
                  <a:cubicBezTo>
                    <a:pt x="32" y="67"/>
                    <a:pt x="41" y="71"/>
                    <a:pt x="50" y="71"/>
                  </a:cubicBezTo>
                  <a:cubicBezTo>
                    <a:pt x="55" y="71"/>
                    <a:pt x="60" y="70"/>
                    <a:pt x="65" y="68"/>
                  </a:cubicBezTo>
                  <a:cubicBezTo>
                    <a:pt x="65" y="68"/>
                    <a:pt x="65" y="68"/>
                    <a:pt x="65" y="68"/>
                  </a:cubicBezTo>
                  <a:cubicBezTo>
                    <a:pt x="65" y="67"/>
                    <a:pt x="65" y="67"/>
                    <a:pt x="65" y="67"/>
                  </a:cubicBezTo>
                  <a:cubicBezTo>
                    <a:pt x="69" y="66"/>
                    <a:pt x="72" y="64"/>
                    <a:pt x="74" y="61"/>
                  </a:cubicBezTo>
                  <a:cubicBezTo>
                    <a:pt x="74" y="61"/>
                    <a:pt x="74" y="61"/>
                    <a:pt x="74" y="61"/>
                  </a:cubicBezTo>
                  <a:cubicBezTo>
                    <a:pt x="74"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59"/>
                    <a:pt x="76" y="59"/>
                  </a:cubicBezTo>
                  <a:cubicBezTo>
                    <a:pt x="76" y="59"/>
                    <a:pt x="76" y="59"/>
                    <a:pt x="76" y="59"/>
                  </a:cubicBezTo>
                  <a:cubicBezTo>
                    <a:pt x="79" y="57"/>
                    <a:pt x="81" y="54"/>
                    <a:pt x="82" y="50"/>
                  </a:cubicBezTo>
                  <a:cubicBezTo>
                    <a:pt x="82" y="50"/>
                    <a:pt x="82" y="50"/>
                    <a:pt x="83" y="50"/>
                  </a:cubicBezTo>
                  <a:cubicBezTo>
                    <a:pt x="83" y="50"/>
                    <a:pt x="83" y="50"/>
                    <a:pt x="83" y="50"/>
                  </a:cubicBezTo>
                  <a:cubicBezTo>
                    <a:pt x="85" y="45"/>
                    <a:pt x="86" y="40"/>
                    <a:pt x="86" y="35"/>
                  </a:cubicBezTo>
                  <a:cubicBezTo>
                    <a:pt x="86" y="30"/>
                    <a:pt x="85" y="25"/>
                    <a:pt x="83" y="21"/>
                  </a:cubicBezTo>
                  <a:cubicBezTo>
                    <a:pt x="83" y="21"/>
                    <a:pt x="83" y="21"/>
                    <a:pt x="83" y="21"/>
                  </a:cubicBezTo>
                  <a:cubicBezTo>
                    <a:pt x="82" y="21"/>
                    <a:pt x="82" y="21"/>
                    <a:pt x="82" y="21"/>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5" y="11"/>
                    <a:pt x="75" y="10"/>
                    <a:pt x="75" y="10"/>
                  </a:cubicBezTo>
                  <a:cubicBezTo>
                    <a:pt x="75" y="10"/>
                    <a:pt x="75" y="10"/>
                    <a:pt x="75" y="10"/>
                  </a:cubicBezTo>
                  <a:cubicBezTo>
                    <a:pt x="75" y="10"/>
                    <a:pt x="75" y="10"/>
                    <a:pt x="75" y="10"/>
                  </a:cubicBezTo>
                  <a:cubicBezTo>
                    <a:pt x="75" y="10"/>
                    <a:pt x="75" y="10"/>
                    <a:pt x="75" y="10"/>
                  </a:cubicBezTo>
                  <a:cubicBezTo>
                    <a:pt x="75" y="10"/>
                    <a:pt x="75" y="10"/>
                    <a:pt x="75" y="10"/>
                  </a:cubicBezTo>
                  <a:cubicBezTo>
                    <a:pt x="75" y="10"/>
                    <a:pt x="75" y="10"/>
                    <a:pt x="75" y="10"/>
                  </a:cubicBezTo>
                  <a:cubicBezTo>
                    <a:pt x="75" y="10"/>
                    <a:pt x="75" y="10"/>
                    <a:pt x="75" y="10"/>
                  </a:cubicBezTo>
                  <a:cubicBezTo>
                    <a:pt x="75" y="10"/>
                    <a:pt x="75" y="10"/>
                    <a:pt x="75" y="10"/>
                  </a:cubicBezTo>
                  <a:cubicBezTo>
                    <a:pt x="75" y="10"/>
                    <a:pt x="75" y="10"/>
                    <a:pt x="75" y="10"/>
                  </a:cubicBezTo>
                  <a:cubicBezTo>
                    <a:pt x="75" y="10"/>
                    <a:pt x="75" y="10"/>
                    <a:pt x="75" y="10"/>
                  </a:cubicBezTo>
                  <a:cubicBezTo>
                    <a:pt x="75" y="10"/>
                    <a:pt x="75" y="10"/>
                    <a:pt x="75" y="10"/>
                  </a:cubicBezTo>
                  <a:cubicBezTo>
                    <a:pt x="75" y="10"/>
                    <a:pt x="74" y="10"/>
                    <a:pt x="74" y="10"/>
                  </a:cubicBezTo>
                  <a:cubicBezTo>
                    <a:pt x="74" y="10"/>
                    <a:pt x="74" y="10"/>
                    <a:pt x="74" y="10"/>
                  </a:cubicBezTo>
                  <a:cubicBezTo>
                    <a:pt x="72" y="7"/>
                    <a:pt x="69" y="5"/>
                    <a:pt x="65" y="3"/>
                  </a:cubicBezTo>
                  <a:cubicBezTo>
                    <a:pt x="65" y="3"/>
                    <a:pt x="65" y="3"/>
                    <a:pt x="65" y="3"/>
                  </a:cubicBezTo>
                  <a:cubicBezTo>
                    <a:pt x="65" y="3"/>
                    <a:pt x="65" y="3"/>
                    <a:pt x="65" y="3"/>
                  </a:cubicBezTo>
                  <a:cubicBezTo>
                    <a:pt x="60" y="1"/>
                    <a:pt x="55" y="0"/>
                    <a:pt x="50" y="0"/>
                  </a:cubicBezTo>
                </a:path>
              </a:pathLst>
            </a:custGeom>
            <a:solidFill>
              <a:srgbClr val="F34D00"/>
            </a:solidFill>
            <a:ln w="12700">
              <a:solidFill>
                <a:srgbClr val="F34D00"/>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nvGrpSpPr>
          <p:cNvPr id="381" name="Group 380">
            <a:extLst>
              <a:ext uri="{FF2B5EF4-FFF2-40B4-BE49-F238E27FC236}">
                <a16:creationId xmlns:a16="http://schemas.microsoft.com/office/drawing/2014/main" id="{FA82E74B-845E-4E77-AC54-9BBD4D7FECBF}"/>
              </a:ext>
            </a:extLst>
          </p:cNvPr>
          <p:cNvGrpSpPr/>
          <p:nvPr/>
        </p:nvGrpSpPr>
        <p:grpSpPr>
          <a:xfrm>
            <a:off x="3634972" y="2913554"/>
            <a:ext cx="5320947" cy="611273"/>
            <a:chOff x="2573829" y="4101134"/>
            <a:chExt cx="3990710" cy="458455"/>
          </a:xfrm>
        </p:grpSpPr>
        <p:sp>
          <p:nvSpPr>
            <p:cNvPr id="382" name="Freeform 6">
              <a:extLst>
                <a:ext uri="{FF2B5EF4-FFF2-40B4-BE49-F238E27FC236}">
                  <a16:creationId xmlns:a16="http://schemas.microsoft.com/office/drawing/2014/main" id="{15EBC3DB-EF7D-4FDA-883E-5117E74A382C}"/>
                </a:ext>
              </a:extLst>
            </p:cNvPr>
            <p:cNvSpPr>
              <a:spLocks/>
            </p:cNvSpPr>
            <p:nvPr/>
          </p:nvSpPr>
          <p:spPr bwMode="auto">
            <a:xfrm>
              <a:off x="2579462" y="4101134"/>
              <a:ext cx="3985077" cy="454973"/>
            </a:xfrm>
            <a:prstGeom prst="roundRect">
              <a:avLst>
                <a:gd name="adj" fmla="val 50000"/>
              </a:avLst>
            </a:prstGeom>
            <a:solidFill>
              <a:srgbClr val="00BCEB"/>
            </a:solidFill>
            <a:ln>
              <a:noFill/>
            </a:ln>
          </p:spPr>
          <p:txBody>
            <a:bodyPr vert="horz" wrap="square" lIns="609600" tIns="60960" rIns="121920" bIns="60960" numCol="1" anchor="ctr" anchorCtr="0" compatLnSpc="1">
              <a:prstTxWarp prst="textNoShape">
                <a:avLst/>
              </a:prstTxWarp>
            </a:bodyPr>
            <a:lstStyle/>
            <a:p>
              <a:pPr defTabSz="914340" fontAlgn="base">
                <a:spcBef>
                  <a:spcPct val="0"/>
                </a:spcBef>
                <a:spcAft>
                  <a:spcPct val="0"/>
                </a:spcAft>
                <a:defRPr/>
              </a:pPr>
              <a:r>
                <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rPr>
                <a:t>Anomalous Traffic</a:t>
              </a:r>
            </a:p>
          </p:txBody>
        </p:sp>
        <p:sp>
          <p:nvSpPr>
            <p:cNvPr id="383" name="Oval 382">
              <a:extLst>
                <a:ext uri="{FF2B5EF4-FFF2-40B4-BE49-F238E27FC236}">
                  <a16:creationId xmlns:a16="http://schemas.microsoft.com/office/drawing/2014/main" id="{25906CC6-5767-4C76-9CDE-BF8902834C2B}"/>
                </a:ext>
              </a:extLst>
            </p:cNvPr>
            <p:cNvSpPr/>
            <p:nvPr/>
          </p:nvSpPr>
          <p:spPr>
            <a:xfrm rot="3685780">
              <a:off x="2573829" y="4102389"/>
              <a:ext cx="457200" cy="457200"/>
            </a:xfrm>
            <a:prstGeom prst="ellipse">
              <a:avLst/>
            </a:prstGeom>
            <a:solidFill>
              <a:srgbClr val="005073"/>
            </a:solidFill>
            <a:ln w="25400" cap="flat" cmpd="sng" algn="ctr">
              <a:noFill/>
              <a:prstDash val="solid"/>
            </a:ln>
            <a:effectLst/>
          </p:spPr>
          <p:txBody>
            <a:bodyPr rtlCol="0" anchor="ctr"/>
            <a:lstStyle/>
            <a:p>
              <a:pPr algn="ctr" defTabSz="609585" fontAlgn="base">
                <a:spcBef>
                  <a:spcPct val="0"/>
                </a:spcBef>
                <a:spcAft>
                  <a:spcPct val="0"/>
                </a:spcAft>
                <a:defRPr/>
              </a:pPr>
              <a:endParaRPr lang="en-US" sz="1600">
                <a:solidFill>
                  <a:srgbClr val="FFFFFF"/>
                </a:solidFill>
                <a:latin typeface="CiscoSansTT ExtraLight" panose="020B0303020201020303" pitchFamily="34" charset="0"/>
                <a:cs typeface="CiscoSansTT ExtraLight" panose="020B0303020201020303" pitchFamily="34" charset="0"/>
                <a:sym typeface="Arial"/>
              </a:endParaRPr>
            </a:p>
          </p:txBody>
        </p:sp>
        <p:grpSp>
          <p:nvGrpSpPr>
            <p:cNvPr id="384" name="Group 383">
              <a:extLst>
                <a:ext uri="{FF2B5EF4-FFF2-40B4-BE49-F238E27FC236}">
                  <a16:creationId xmlns:a16="http://schemas.microsoft.com/office/drawing/2014/main" id="{C536FA40-7C32-4505-9B13-12BDEF8498C2}"/>
                </a:ext>
              </a:extLst>
            </p:cNvPr>
            <p:cNvGrpSpPr/>
            <p:nvPr/>
          </p:nvGrpSpPr>
          <p:grpSpPr>
            <a:xfrm rot="2727916">
              <a:off x="2653919" y="4181126"/>
              <a:ext cx="297203" cy="299726"/>
              <a:chOff x="2639059" y="1950043"/>
              <a:chExt cx="326923" cy="329699"/>
            </a:xfrm>
            <a:solidFill>
              <a:srgbClr val="FFFFFF"/>
            </a:solidFill>
          </p:grpSpPr>
          <p:sp>
            <p:nvSpPr>
              <p:cNvPr id="385" name="Freeform 36">
                <a:extLst>
                  <a:ext uri="{FF2B5EF4-FFF2-40B4-BE49-F238E27FC236}">
                    <a16:creationId xmlns:a16="http://schemas.microsoft.com/office/drawing/2014/main" id="{62FEB5DE-0F11-4944-8187-B2AFBB9BD489}"/>
                  </a:ext>
                </a:extLst>
              </p:cNvPr>
              <p:cNvSpPr>
                <a:spLocks noChangeAspect="1"/>
              </p:cNvSpPr>
              <p:nvPr/>
            </p:nvSpPr>
            <p:spPr bwMode="auto">
              <a:xfrm>
                <a:off x="2772647" y="2018255"/>
                <a:ext cx="59685" cy="65370"/>
              </a:xfrm>
              <a:custGeom>
                <a:avLst/>
                <a:gdLst>
                  <a:gd name="T0" fmla="*/ 9 w 9"/>
                  <a:gd name="T1" fmla="*/ 0 h 10"/>
                  <a:gd name="T2" fmla="*/ 7 w 9"/>
                  <a:gd name="T3" fmla="*/ 0 h 10"/>
                  <a:gd name="T4" fmla="*/ 0 w 9"/>
                  <a:gd name="T5" fmla="*/ 0 h 10"/>
                  <a:gd name="T6" fmla="*/ 0 w 9"/>
                  <a:gd name="T7" fmla="*/ 10 h 10"/>
                  <a:gd name="T8" fmla="*/ 9 w 9"/>
                  <a:gd name="T9" fmla="*/ 1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cubicBezTo>
                      <a:pt x="9" y="0"/>
                      <a:pt x="8" y="0"/>
                      <a:pt x="7" y="0"/>
                    </a:cubicBezTo>
                    <a:cubicBezTo>
                      <a:pt x="0" y="0"/>
                      <a:pt x="0" y="0"/>
                      <a:pt x="0" y="0"/>
                    </a:cubicBezTo>
                    <a:cubicBezTo>
                      <a:pt x="0" y="10"/>
                      <a:pt x="0" y="10"/>
                      <a:pt x="0" y="10"/>
                    </a:cubicBezTo>
                    <a:cubicBezTo>
                      <a:pt x="9" y="10"/>
                      <a:pt x="9" y="10"/>
                      <a:pt x="9" y="1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86" name="Freeform 37">
                <a:extLst>
                  <a:ext uri="{FF2B5EF4-FFF2-40B4-BE49-F238E27FC236}">
                    <a16:creationId xmlns:a16="http://schemas.microsoft.com/office/drawing/2014/main" id="{8E4709D8-D2DC-412D-9153-2AAA792EF0FD}"/>
                  </a:ext>
                </a:extLst>
              </p:cNvPr>
              <p:cNvSpPr>
                <a:spLocks noChangeAspect="1"/>
              </p:cNvSpPr>
              <p:nvPr/>
            </p:nvSpPr>
            <p:spPr bwMode="auto">
              <a:xfrm>
                <a:off x="2772647" y="1950043"/>
                <a:ext cx="59685" cy="68212"/>
              </a:xfrm>
              <a:custGeom>
                <a:avLst/>
                <a:gdLst>
                  <a:gd name="T0" fmla="*/ 4 w 9"/>
                  <a:gd name="T1" fmla="*/ 0 h 10"/>
                  <a:gd name="T2" fmla="*/ 0 w 9"/>
                  <a:gd name="T3" fmla="*/ 5 h 10"/>
                  <a:gd name="T4" fmla="*/ 0 w 9"/>
                  <a:gd name="T5" fmla="*/ 10 h 10"/>
                  <a:gd name="T6" fmla="*/ 7 w 9"/>
                  <a:gd name="T7" fmla="*/ 10 h 10"/>
                  <a:gd name="T8" fmla="*/ 9 w 9"/>
                  <a:gd name="T9" fmla="*/ 10 h 10"/>
                  <a:gd name="T10" fmla="*/ 9 w 9"/>
                  <a:gd name="T11" fmla="*/ 5 h 10"/>
                  <a:gd name="T12" fmla="*/ 4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4" y="0"/>
                    </a:moveTo>
                    <a:cubicBezTo>
                      <a:pt x="2" y="0"/>
                      <a:pt x="0" y="2"/>
                      <a:pt x="0" y="5"/>
                    </a:cubicBezTo>
                    <a:cubicBezTo>
                      <a:pt x="0" y="10"/>
                      <a:pt x="0" y="10"/>
                      <a:pt x="0" y="10"/>
                    </a:cubicBezTo>
                    <a:cubicBezTo>
                      <a:pt x="7" y="10"/>
                      <a:pt x="7" y="10"/>
                      <a:pt x="7" y="10"/>
                    </a:cubicBezTo>
                    <a:cubicBezTo>
                      <a:pt x="8" y="10"/>
                      <a:pt x="9" y="10"/>
                      <a:pt x="9" y="10"/>
                    </a:cubicBezTo>
                    <a:cubicBezTo>
                      <a:pt x="9" y="5"/>
                      <a:pt x="9" y="5"/>
                      <a:pt x="9" y="5"/>
                    </a:cubicBezTo>
                    <a:cubicBezTo>
                      <a:pt x="9"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87" name="Freeform 38">
                <a:extLst>
                  <a:ext uri="{FF2B5EF4-FFF2-40B4-BE49-F238E27FC236}">
                    <a16:creationId xmlns:a16="http://schemas.microsoft.com/office/drawing/2014/main" id="{8A899427-4052-4B77-8233-FFB8094DD6EF}"/>
                  </a:ext>
                </a:extLst>
              </p:cNvPr>
              <p:cNvSpPr>
                <a:spLocks noChangeAspect="1"/>
              </p:cNvSpPr>
              <p:nvPr/>
            </p:nvSpPr>
            <p:spPr bwMode="auto">
              <a:xfrm>
                <a:off x="2772647" y="2166051"/>
                <a:ext cx="59685" cy="113688"/>
              </a:xfrm>
              <a:custGeom>
                <a:avLst/>
                <a:gdLst>
                  <a:gd name="T0" fmla="*/ 9 w 9"/>
                  <a:gd name="T1" fmla="*/ 0 h 17"/>
                  <a:gd name="T2" fmla="*/ 0 w 9"/>
                  <a:gd name="T3" fmla="*/ 0 h 17"/>
                  <a:gd name="T4" fmla="*/ 0 w 9"/>
                  <a:gd name="T5" fmla="*/ 13 h 17"/>
                  <a:gd name="T6" fmla="*/ 4 w 9"/>
                  <a:gd name="T7" fmla="*/ 17 h 17"/>
                  <a:gd name="T8" fmla="*/ 9 w 9"/>
                  <a:gd name="T9" fmla="*/ 13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0" y="0"/>
                      <a:pt x="0" y="0"/>
                      <a:pt x="0" y="0"/>
                    </a:cubicBezTo>
                    <a:cubicBezTo>
                      <a:pt x="0" y="13"/>
                      <a:pt x="0" y="13"/>
                      <a:pt x="0" y="13"/>
                    </a:cubicBezTo>
                    <a:cubicBezTo>
                      <a:pt x="0" y="15"/>
                      <a:pt x="2" y="17"/>
                      <a:pt x="4" y="17"/>
                    </a:cubicBezTo>
                    <a:cubicBezTo>
                      <a:pt x="7" y="17"/>
                      <a:pt x="9" y="15"/>
                      <a:pt x="9" y="13"/>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88" name="Rectangle 39">
                <a:extLst>
                  <a:ext uri="{FF2B5EF4-FFF2-40B4-BE49-F238E27FC236}">
                    <a16:creationId xmlns:a16="http://schemas.microsoft.com/office/drawing/2014/main" id="{AFE13C74-D0B9-406F-8D64-A3B8E06824E7}"/>
                  </a:ext>
                </a:extLst>
              </p:cNvPr>
              <p:cNvSpPr>
                <a:spLocks noChangeAspect="1" noChangeArrowheads="1"/>
              </p:cNvSpPr>
              <p:nvPr/>
            </p:nvSpPr>
            <p:spPr bwMode="auto">
              <a:xfrm>
                <a:off x="2772647" y="2146155"/>
                <a:ext cx="59685" cy="1989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89" name="Rectangle 40">
                <a:extLst>
                  <a:ext uri="{FF2B5EF4-FFF2-40B4-BE49-F238E27FC236}">
                    <a16:creationId xmlns:a16="http://schemas.microsoft.com/office/drawing/2014/main" id="{C4037AEE-C83C-45A0-91BC-3BFE79EBCCCB}"/>
                  </a:ext>
                </a:extLst>
              </p:cNvPr>
              <p:cNvSpPr>
                <a:spLocks noChangeAspect="1" noChangeArrowheads="1"/>
              </p:cNvSpPr>
              <p:nvPr/>
            </p:nvSpPr>
            <p:spPr bwMode="auto">
              <a:xfrm>
                <a:off x="2772647" y="2146155"/>
                <a:ext cx="59685" cy="1989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90" name="Freeform 41">
                <a:extLst>
                  <a:ext uri="{FF2B5EF4-FFF2-40B4-BE49-F238E27FC236}">
                    <a16:creationId xmlns:a16="http://schemas.microsoft.com/office/drawing/2014/main" id="{0091A8DF-238B-4C53-86C9-2F6713642F3C}"/>
                  </a:ext>
                </a:extLst>
              </p:cNvPr>
              <p:cNvSpPr>
                <a:spLocks noChangeAspect="1" noEditPoints="1"/>
              </p:cNvSpPr>
              <p:nvPr/>
            </p:nvSpPr>
            <p:spPr bwMode="auto">
              <a:xfrm>
                <a:off x="2639059" y="2083627"/>
                <a:ext cx="326852" cy="62527"/>
              </a:xfrm>
              <a:custGeom>
                <a:avLst/>
                <a:gdLst>
                  <a:gd name="T0" fmla="*/ 20 w 49"/>
                  <a:gd name="T1" fmla="*/ 0 h 9"/>
                  <a:gd name="T2" fmla="*/ 4 w 49"/>
                  <a:gd name="T3" fmla="*/ 0 h 9"/>
                  <a:gd name="T4" fmla="*/ 0 w 49"/>
                  <a:gd name="T5" fmla="*/ 5 h 9"/>
                  <a:gd name="T6" fmla="*/ 4 w 49"/>
                  <a:gd name="T7" fmla="*/ 9 h 9"/>
                  <a:gd name="T8" fmla="*/ 20 w 49"/>
                  <a:gd name="T9" fmla="*/ 9 h 9"/>
                  <a:gd name="T10" fmla="*/ 20 w 49"/>
                  <a:gd name="T11" fmla="*/ 0 h 9"/>
                  <a:gd name="T12" fmla="*/ 44 w 49"/>
                  <a:gd name="T13" fmla="*/ 0 h 9"/>
                  <a:gd name="T14" fmla="*/ 29 w 49"/>
                  <a:gd name="T15" fmla="*/ 0 h 9"/>
                  <a:gd name="T16" fmla="*/ 29 w 49"/>
                  <a:gd name="T17" fmla="*/ 9 h 9"/>
                  <a:gd name="T18" fmla="*/ 44 w 49"/>
                  <a:gd name="T19" fmla="*/ 9 h 9"/>
                  <a:gd name="T20" fmla="*/ 49 w 49"/>
                  <a:gd name="T21" fmla="*/ 5 h 9"/>
                  <a:gd name="T22" fmla="*/ 44 w 4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
                    <a:moveTo>
                      <a:pt x="20" y="0"/>
                    </a:moveTo>
                    <a:cubicBezTo>
                      <a:pt x="4" y="0"/>
                      <a:pt x="4" y="0"/>
                      <a:pt x="4" y="0"/>
                    </a:cubicBezTo>
                    <a:cubicBezTo>
                      <a:pt x="2" y="0"/>
                      <a:pt x="0" y="2"/>
                      <a:pt x="0" y="5"/>
                    </a:cubicBezTo>
                    <a:cubicBezTo>
                      <a:pt x="0" y="7"/>
                      <a:pt x="2" y="9"/>
                      <a:pt x="4" y="9"/>
                    </a:cubicBezTo>
                    <a:cubicBezTo>
                      <a:pt x="20" y="9"/>
                      <a:pt x="20" y="9"/>
                      <a:pt x="20" y="9"/>
                    </a:cubicBezTo>
                    <a:cubicBezTo>
                      <a:pt x="20" y="0"/>
                      <a:pt x="20" y="0"/>
                      <a:pt x="20" y="0"/>
                    </a:cubicBezTo>
                    <a:moveTo>
                      <a:pt x="44" y="0"/>
                    </a:moveTo>
                    <a:cubicBezTo>
                      <a:pt x="29" y="0"/>
                      <a:pt x="29" y="0"/>
                      <a:pt x="29" y="0"/>
                    </a:cubicBezTo>
                    <a:cubicBezTo>
                      <a:pt x="29" y="9"/>
                      <a:pt x="29" y="9"/>
                      <a:pt x="29" y="9"/>
                    </a:cubicBezTo>
                    <a:cubicBezTo>
                      <a:pt x="44" y="9"/>
                      <a:pt x="44" y="9"/>
                      <a:pt x="44" y="9"/>
                    </a:cubicBezTo>
                    <a:cubicBezTo>
                      <a:pt x="47" y="9"/>
                      <a:pt x="49" y="7"/>
                      <a:pt x="49" y="5"/>
                    </a:cubicBezTo>
                    <a:cubicBezTo>
                      <a:pt x="49" y="2"/>
                      <a:pt x="47"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91" name="Rectangle 42">
                <a:extLst>
                  <a:ext uri="{FF2B5EF4-FFF2-40B4-BE49-F238E27FC236}">
                    <a16:creationId xmlns:a16="http://schemas.microsoft.com/office/drawing/2014/main" id="{FCD1C168-484F-4FBC-9D1A-1074F5FC1DEE}"/>
                  </a:ext>
                </a:extLst>
              </p:cNvPr>
              <p:cNvSpPr>
                <a:spLocks noChangeAspect="1" noChangeArrowheads="1"/>
              </p:cNvSpPr>
              <p:nvPr/>
            </p:nvSpPr>
            <p:spPr bwMode="auto">
              <a:xfrm>
                <a:off x="2772644" y="2083627"/>
                <a:ext cx="59685" cy="625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92" name="Rectangle 43">
                <a:extLst>
                  <a:ext uri="{FF2B5EF4-FFF2-40B4-BE49-F238E27FC236}">
                    <a16:creationId xmlns:a16="http://schemas.microsoft.com/office/drawing/2014/main" id="{8F01E319-5912-45D6-90F6-B4FE9F834802}"/>
                  </a:ext>
                </a:extLst>
              </p:cNvPr>
              <p:cNvSpPr>
                <a:spLocks noChangeAspect="1" noChangeArrowheads="1"/>
              </p:cNvSpPr>
              <p:nvPr/>
            </p:nvSpPr>
            <p:spPr bwMode="auto">
              <a:xfrm>
                <a:off x="2772644" y="2083627"/>
                <a:ext cx="59685" cy="625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93" name="Freeform 44">
                <a:extLst>
                  <a:ext uri="{FF2B5EF4-FFF2-40B4-BE49-F238E27FC236}">
                    <a16:creationId xmlns:a16="http://schemas.microsoft.com/office/drawing/2014/main" id="{E892E766-3560-43AA-9C90-980C78E6A32C}"/>
                  </a:ext>
                </a:extLst>
              </p:cNvPr>
              <p:cNvSpPr>
                <a:spLocks noChangeAspect="1"/>
              </p:cNvSpPr>
              <p:nvPr/>
            </p:nvSpPr>
            <p:spPr bwMode="auto">
              <a:xfrm>
                <a:off x="2772644" y="1950049"/>
                <a:ext cx="59685" cy="329693"/>
              </a:xfrm>
              <a:custGeom>
                <a:avLst/>
                <a:gdLst>
                  <a:gd name="T0" fmla="*/ 0 w 9"/>
                  <a:gd name="T1" fmla="*/ 45 h 49"/>
                  <a:gd name="T2" fmla="*/ 0 w 9"/>
                  <a:gd name="T3" fmla="*/ 5 h 49"/>
                  <a:gd name="T4" fmla="*/ 4 w 9"/>
                  <a:gd name="T5" fmla="*/ 0 h 49"/>
                  <a:gd name="T6" fmla="*/ 9 w 9"/>
                  <a:gd name="T7" fmla="*/ 5 h 49"/>
                  <a:gd name="T8" fmla="*/ 9 w 9"/>
                  <a:gd name="T9" fmla="*/ 45 h 49"/>
                  <a:gd name="T10" fmla="*/ 4 w 9"/>
                  <a:gd name="T11" fmla="*/ 49 h 49"/>
                  <a:gd name="T12" fmla="*/ 0 w 9"/>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9" h="49">
                    <a:moveTo>
                      <a:pt x="0" y="45"/>
                    </a:moveTo>
                    <a:cubicBezTo>
                      <a:pt x="0" y="5"/>
                      <a:pt x="0" y="5"/>
                      <a:pt x="0" y="5"/>
                    </a:cubicBezTo>
                    <a:cubicBezTo>
                      <a:pt x="0" y="2"/>
                      <a:pt x="2" y="0"/>
                      <a:pt x="4" y="0"/>
                    </a:cubicBezTo>
                    <a:cubicBezTo>
                      <a:pt x="7" y="0"/>
                      <a:pt x="9" y="2"/>
                      <a:pt x="9" y="5"/>
                    </a:cubicBezTo>
                    <a:cubicBezTo>
                      <a:pt x="9" y="45"/>
                      <a:pt x="9" y="45"/>
                      <a:pt x="9" y="45"/>
                    </a:cubicBezTo>
                    <a:cubicBezTo>
                      <a:pt x="9" y="47"/>
                      <a:pt x="7" y="49"/>
                      <a:pt x="4" y="49"/>
                    </a:cubicBezTo>
                    <a:cubicBezTo>
                      <a:pt x="2" y="49"/>
                      <a:pt x="0" y="47"/>
                      <a:pt x="0" y="45"/>
                    </a:cubicBezTo>
                    <a:close/>
                  </a:path>
                </a:pathLst>
              </a:custGeom>
              <a:solidFill>
                <a:srgbClr val="FBAB18"/>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94" name="Freeform 45">
                <a:extLst>
                  <a:ext uri="{FF2B5EF4-FFF2-40B4-BE49-F238E27FC236}">
                    <a16:creationId xmlns:a16="http://schemas.microsoft.com/office/drawing/2014/main" id="{7F8FBD35-1105-48EA-BD1C-8A99E81973DC}"/>
                  </a:ext>
                </a:extLst>
              </p:cNvPr>
              <p:cNvSpPr>
                <a:spLocks noChangeAspect="1"/>
              </p:cNvSpPr>
              <p:nvPr/>
            </p:nvSpPr>
            <p:spPr bwMode="auto">
              <a:xfrm>
                <a:off x="2639130" y="2083633"/>
                <a:ext cx="326852" cy="62527"/>
              </a:xfrm>
              <a:custGeom>
                <a:avLst/>
                <a:gdLst>
                  <a:gd name="T0" fmla="*/ 4 w 49"/>
                  <a:gd name="T1" fmla="*/ 0 h 9"/>
                  <a:gd name="T2" fmla="*/ 44 w 49"/>
                  <a:gd name="T3" fmla="*/ 0 h 9"/>
                  <a:gd name="T4" fmla="*/ 49 w 49"/>
                  <a:gd name="T5" fmla="*/ 5 h 9"/>
                  <a:gd name="T6" fmla="*/ 44 w 49"/>
                  <a:gd name="T7" fmla="*/ 9 h 9"/>
                  <a:gd name="T8" fmla="*/ 4 w 49"/>
                  <a:gd name="T9" fmla="*/ 9 h 9"/>
                  <a:gd name="T10" fmla="*/ 0 w 49"/>
                  <a:gd name="T11" fmla="*/ 5 h 9"/>
                  <a:gd name="T12" fmla="*/ 4 w 4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 y="0"/>
                    </a:moveTo>
                    <a:cubicBezTo>
                      <a:pt x="44" y="0"/>
                      <a:pt x="44" y="0"/>
                      <a:pt x="44" y="0"/>
                    </a:cubicBezTo>
                    <a:cubicBezTo>
                      <a:pt x="47" y="0"/>
                      <a:pt x="49" y="2"/>
                      <a:pt x="49" y="5"/>
                    </a:cubicBezTo>
                    <a:cubicBezTo>
                      <a:pt x="49" y="7"/>
                      <a:pt x="47" y="9"/>
                      <a:pt x="44" y="9"/>
                    </a:cubicBezTo>
                    <a:cubicBezTo>
                      <a:pt x="4" y="9"/>
                      <a:pt x="4" y="9"/>
                      <a:pt x="4" y="9"/>
                    </a:cubicBezTo>
                    <a:cubicBezTo>
                      <a:pt x="2" y="9"/>
                      <a:pt x="0" y="7"/>
                      <a:pt x="0" y="5"/>
                    </a:cubicBezTo>
                    <a:cubicBezTo>
                      <a:pt x="0" y="2"/>
                      <a:pt x="2"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95" name="Freeform 46">
                <a:extLst>
                  <a:ext uri="{FF2B5EF4-FFF2-40B4-BE49-F238E27FC236}">
                    <a16:creationId xmlns:a16="http://schemas.microsoft.com/office/drawing/2014/main" id="{D1F0D898-7593-4831-BAB4-CD87DEE54D4B}"/>
                  </a:ext>
                </a:extLst>
              </p:cNvPr>
              <p:cNvSpPr>
                <a:spLocks noChangeAspect="1"/>
              </p:cNvSpPr>
              <p:nvPr/>
            </p:nvSpPr>
            <p:spPr bwMode="auto">
              <a:xfrm>
                <a:off x="2670418" y="1984156"/>
                <a:ext cx="264324" cy="261481"/>
              </a:xfrm>
              <a:custGeom>
                <a:avLst/>
                <a:gdLst>
                  <a:gd name="T0" fmla="*/ 2 w 39"/>
                  <a:gd name="T1" fmla="*/ 30 h 39"/>
                  <a:gd name="T2" fmla="*/ 30 w 39"/>
                  <a:gd name="T3" fmla="*/ 2 h 39"/>
                  <a:gd name="T4" fmla="*/ 37 w 39"/>
                  <a:gd name="T5" fmla="*/ 2 h 39"/>
                  <a:gd name="T6" fmla="*/ 37 w 39"/>
                  <a:gd name="T7" fmla="*/ 9 h 39"/>
                  <a:gd name="T8" fmla="*/ 9 w 39"/>
                  <a:gd name="T9" fmla="*/ 37 h 39"/>
                  <a:gd name="T10" fmla="*/ 2 w 39"/>
                  <a:gd name="T11" fmla="*/ 37 h 39"/>
                  <a:gd name="T12" fmla="*/ 2 w 39"/>
                  <a:gd name="T13" fmla="*/ 30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 y="30"/>
                    </a:moveTo>
                    <a:cubicBezTo>
                      <a:pt x="30" y="2"/>
                      <a:pt x="30" y="2"/>
                      <a:pt x="30" y="2"/>
                    </a:cubicBezTo>
                    <a:cubicBezTo>
                      <a:pt x="32" y="0"/>
                      <a:pt x="35" y="0"/>
                      <a:pt x="37" y="2"/>
                    </a:cubicBezTo>
                    <a:cubicBezTo>
                      <a:pt x="39" y="4"/>
                      <a:pt x="39" y="7"/>
                      <a:pt x="37" y="9"/>
                    </a:cubicBezTo>
                    <a:cubicBezTo>
                      <a:pt x="9" y="37"/>
                      <a:pt x="9" y="37"/>
                      <a:pt x="9" y="37"/>
                    </a:cubicBezTo>
                    <a:cubicBezTo>
                      <a:pt x="7" y="39"/>
                      <a:pt x="4" y="39"/>
                      <a:pt x="2" y="37"/>
                    </a:cubicBezTo>
                    <a:cubicBezTo>
                      <a:pt x="0" y="35"/>
                      <a:pt x="0" y="32"/>
                      <a:pt x="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96" name="Freeform 47">
                <a:extLst>
                  <a:ext uri="{FF2B5EF4-FFF2-40B4-BE49-F238E27FC236}">
                    <a16:creationId xmlns:a16="http://schemas.microsoft.com/office/drawing/2014/main" id="{026060C9-2089-4902-9365-885B0F0F67AD}"/>
                  </a:ext>
                </a:extLst>
              </p:cNvPr>
              <p:cNvSpPr>
                <a:spLocks noChangeAspect="1"/>
              </p:cNvSpPr>
              <p:nvPr/>
            </p:nvSpPr>
            <p:spPr bwMode="auto">
              <a:xfrm>
                <a:off x="2670395" y="1984156"/>
                <a:ext cx="264324" cy="261481"/>
              </a:xfrm>
              <a:custGeom>
                <a:avLst/>
                <a:gdLst>
                  <a:gd name="T0" fmla="*/ 9 w 39"/>
                  <a:gd name="T1" fmla="*/ 2 h 39"/>
                  <a:gd name="T2" fmla="*/ 37 w 39"/>
                  <a:gd name="T3" fmla="*/ 30 h 39"/>
                  <a:gd name="T4" fmla="*/ 37 w 39"/>
                  <a:gd name="T5" fmla="*/ 37 h 39"/>
                  <a:gd name="T6" fmla="*/ 30 w 39"/>
                  <a:gd name="T7" fmla="*/ 37 h 39"/>
                  <a:gd name="T8" fmla="*/ 2 w 39"/>
                  <a:gd name="T9" fmla="*/ 9 h 39"/>
                  <a:gd name="T10" fmla="*/ 2 w 39"/>
                  <a:gd name="T11" fmla="*/ 2 h 39"/>
                  <a:gd name="T12" fmla="*/ 9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9" y="2"/>
                    </a:moveTo>
                    <a:cubicBezTo>
                      <a:pt x="37" y="30"/>
                      <a:pt x="37" y="30"/>
                      <a:pt x="37" y="30"/>
                    </a:cubicBezTo>
                    <a:cubicBezTo>
                      <a:pt x="39" y="32"/>
                      <a:pt x="39" y="35"/>
                      <a:pt x="37" y="37"/>
                    </a:cubicBezTo>
                    <a:cubicBezTo>
                      <a:pt x="35" y="39"/>
                      <a:pt x="32" y="39"/>
                      <a:pt x="30" y="37"/>
                    </a:cubicBezTo>
                    <a:cubicBezTo>
                      <a:pt x="2" y="9"/>
                      <a:pt x="2" y="9"/>
                      <a:pt x="2" y="9"/>
                    </a:cubicBezTo>
                    <a:cubicBezTo>
                      <a:pt x="0" y="7"/>
                      <a:pt x="0" y="4"/>
                      <a:pt x="2" y="2"/>
                    </a:cubicBezTo>
                    <a:cubicBezTo>
                      <a:pt x="4" y="0"/>
                      <a:pt x="7" y="0"/>
                      <a:pt x="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97" name="Oval 48">
                <a:extLst>
                  <a:ext uri="{FF2B5EF4-FFF2-40B4-BE49-F238E27FC236}">
                    <a16:creationId xmlns:a16="http://schemas.microsoft.com/office/drawing/2014/main" id="{A3F4CACF-51FF-4672-9467-19279E8ADE8C}"/>
                  </a:ext>
                </a:extLst>
              </p:cNvPr>
              <p:cNvSpPr>
                <a:spLocks noChangeAspect="1" noChangeArrowheads="1"/>
              </p:cNvSpPr>
              <p:nvPr/>
            </p:nvSpPr>
            <p:spPr bwMode="auto">
              <a:xfrm>
                <a:off x="2752819" y="2063737"/>
                <a:ext cx="99477" cy="102319"/>
              </a:xfrm>
              <a:prstGeom prst="ellipse">
                <a:avLst/>
              </a:pr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98" name="Freeform 49">
                <a:extLst>
                  <a:ext uri="{FF2B5EF4-FFF2-40B4-BE49-F238E27FC236}">
                    <a16:creationId xmlns:a16="http://schemas.microsoft.com/office/drawing/2014/main" id="{9E8678E1-7756-4FE6-A4B2-AF233F9FB5E8}"/>
                  </a:ext>
                </a:extLst>
              </p:cNvPr>
              <p:cNvSpPr>
                <a:spLocks noChangeAspect="1" noEditPoints="1"/>
              </p:cNvSpPr>
              <p:nvPr/>
            </p:nvSpPr>
            <p:spPr bwMode="auto">
              <a:xfrm>
                <a:off x="2698818" y="2018266"/>
                <a:ext cx="201797" cy="201796"/>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99" name="Freeform: Shape 398">
                <a:extLst>
                  <a:ext uri="{FF2B5EF4-FFF2-40B4-BE49-F238E27FC236}">
                    <a16:creationId xmlns:a16="http://schemas.microsoft.com/office/drawing/2014/main" id="{0BE17E86-C454-4A43-86FB-A9F0D3A230BA}"/>
                  </a:ext>
                </a:extLst>
              </p:cNvPr>
              <p:cNvSpPr>
                <a:spLocks noChangeAspect="1"/>
              </p:cNvSpPr>
              <p:nvPr/>
            </p:nvSpPr>
            <p:spPr bwMode="auto">
              <a:xfrm>
                <a:off x="2772644" y="2175087"/>
                <a:ext cx="59685" cy="104655"/>
              </a:xfrm>
              <a:custGeom>
                <a:avLst/>
                <a:gdLst>
                  <a:gd name="connsiteX0" fmla="*/ 0 w 59685"/>
                  <a:gd name="connsiteY0" fmla="*/ 0 h 104655"/>
                  <a:gd name="connsiteX1" fmla="*/ 59685 w 59685"/>
                  <a:gd name="connsiteY1" fmla="*/ 0 h 104655"/>
                  <a:gd name="connsiteX2" fmla="*/ 59685 w 59685"/>
                  <a:gd name="connsiteY2" fmla="*/ 12034 h 104655"/>
                  <a:gd name="connsiteX3" fmla="*/ 59685 w 59685"/>
                  <a:gd name="connsiteY3" fmla="*/ 77741 h 104655"/>
                  <a:gd name="connsiteX4" fmla="*/ 26527 w 59685"/>
                  <a:gd name="connsiteY4" fmla="*/ 104655 h 104655"/>
                  <a:gd name="connsiteX5" fmla="*/ 0 w 59685"/>
                  <a:gd name="connsiteY5" fmla="*/ 77741 h 104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685" h="104655">
                    <a:moveTo>
                      <a:pt x="0" y="0"/>
                    </a:moveTo>
                    <a:lnTo>
                      <a:pt x="59685" y="0"/>
                    </a:lnTo>
                    <a:lnTo>
                      <a:pt x="59685" y="12034"/>
                    </a:lnTo>
                    <a:cubicBezTo>
                      <a:pt x="59685" y="77741"/>
                      <a:pt x="59685" y="77741"/>
                      <a:pt x="59685" y="77741"/>
                    </a:cubicBezTo>
                    <a:cubicBezTo>
                      <a:pt x="59685" y="91198"/>
                      <a:pt x="46422" y="104655"/>
                      <a:pt x="26527" y="104655"/>
                    </a:cubicBezTo>
                    <a:cubicBezTo>
                      <a:pt x="13263" y="104655"/>
                      <a:pt x="0" y="91198"/>
                      <a:pt x="0" y="77741"/>
                    </a:cubicBezTo>
                    <a:close/>
                  </a:path>
                </a:pathLst>
              </a:custGeom>
              <a:grpFill/>
              <a:ln>
                <a:noFill/>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grpSp>
      </p:grpSp>
      <p:grpSp>
        <p:nvGrpSpPr>
          <p:cNvPr id="400" name="Group 399">
            <a:extLst>
              <a:ext uri="{FF2B5EF4-FFF2-40B4-BE49-F238E27FC236}">
                <a16:creationId xmlns:a16="http://schemas.microsoft.com/office/drawing/2014/main" id="{55031A9C-C8C5-4119-AD47-B9BFC1A105F6}"/>
              </a:ext>
            </a:extLst>
          </p:cNvPr>
          <p:cNvGrpSpPr/>
          <p:nvPr/>
        </p:nvGrpSpPr>
        <p:grpSpPr>
          <a:xfrm>
            <a:off x="4408241" y="4389759"/>
            <a:ext cx="414216" cy="402988"/>
            <a:chOff x="-1026020" y="3392251"/>
            <a:chExt cx="422438" cy="410987"/>
          </a:xfrm>
        </p:grpSpPr>
        <p:sp>
          <p:nvSpPr>
            <p:cNvPr id="401" name="Rectangle: Rounded Corners 400">
              <a:extLst>
                <a:ext uri="{FF2B5EF4-FFF2-40B4-BE49-F238E27FC236}">
                  <a16:creationId xmlns:a16="http://schemas.microsoft.com/office/drawing/2014/main" id="{ED724CDB-3C4C-4992-BD94-3AE6279B9317}"/>
                </a:ext>
              </a:extLst>
            </p:cNvPr>
            <p:cNvSpPr/>
            <p:nvPr/>
          </p:nvSpPr>
          <p:spPr>
            <a:xfrm>
              <a:off x="-1026020" y="3555492"/>
              <a:ext cx="84504" cy="84504"/>
            </a:xfrm>
            <a:prstGeom prst="roundRect">
              <a:avLst/>
            </a:prstGeom>
            <a:solidFill>
              <a:srgbClr val="00BCEB"/>
            </a:solidFill>
            <a:ln w="25400" cap="flat" cmpd="sng" algn="ctr">
              <a:noFill/>
              <a:prstDash val="solid"/>
            </a:ln>
            <a:effectLst/>
          </p:spPr>
          <p:txBody>
            <a:bodyPr rtlCol="0" anchor="ctr"/>
            <a:lstStyle/>
            <a:p>
              <a:pPr algn="ctr" defTabSz="609585" fontAlgn="base">
                <a:spcBef>
                  <a:spcPct val="0"/>
                </a:spcBef>
                <a:spcAft>
                  <a:spcPct val="0"/>
                </a:spcAft>
                <a:defRPr/>
              </a:pPr>
              <a:endParaRPr lang="en-US" sz="2400">
                <a:solidFill>
                  <a:srgbClr val="005073"/>
                </a:solidFill>
                <a:latin typeface="CiscoSansTT ExtraLight"/>
                <a:cs typeface="Arial"/>
                <a:sym typeface="Arial"/>
              </a:endParaRPr>
            </a:p>
          </p:txBody>
        </p:sp>
        <p:sp>
          <p:nvSpPr>
            <p:cNvPr id="402" name="Rectangle: Rounded Corners 401">
              <a:extLst>
                <a:ext uri="{FF2B5EF4-FFF2-40B4-BE49-F238E27FC236}">
                  <a16:creationId xmlns:a16="http://schemas.microsoft.com/office/drawing/2014/main" id="{93A4CB33-0692-46F2-8180-31A8AF909B8D}"/>
                </a:ext>
              </a:extLst>
            </p:cNvPr>
            <p:cNvSpPr/>
            <p:nvPr/>
          </p:nvSpPr>
          <p:spPr>
            <a:xfrm>
              <a:off x="-688086" y="3553865"/>
              <a:ext cx="84504" cy="84504"/>
            </a:xfrm>
            <a:prstGeom prst="roundRect">
              <a:avLst/>
            </a:prstGeom>
            <a:solidFill>
              <a:srgbClr val="6EBE4A"/>
            </a:solidFill>
            <a:ln w="25400" cap="flat" cmpd="sng" algn="ctr">
              <a:noFill/>
              <a:prstDash val="solid"/>
            </a:ln>
            <a:effectLst/>
          </p:spPr>
          <p:txBody>
            <a:bodyPr rtlCol="0" anchor="ctr"/>
            <a:lstStyle/>
            <a:p>
              <a:pPr algn="ctr" defTabSz="609585" fontAlgn="base">
                <a:spcBef>
                  <a:spcPct val="0"/>
                </a:spcBef>
                <a:spcAft>
                  <a:spcPct val="0"/>
                </a:spcAft>
                <a:defRPr/>
              </a:pPr>
              <a:endParaRPr lang="en-US" sz="2400">
                <a:solidFill>
                  <a:srgbClr val="005073"/>
                </a:solidFill>
                <a:latin typeface="CiscoSansTT ExtraLight"/>
                <a:cs typeface="Arial"/>
                <a:sym typeface="Arial"/>
              </a:endParaRPr>
            </a:p>
          </p:txBody>
        </p:sp>
        <p:sp>
          <p:nvSpPr>
            <p:cNvPr id="403" name="Rectangle: Rounded Corners 402">
              <a:extLst>
                <a:ext uri="{FF2B5EF4-FFF2-40B4-BE49-F238E27FC236}">
                  <a16:creationId xmlns:a16="http://schemas.microsoft.com/office/drawing/2014/main" id="{9ECC1D9A-9D87-4D08-914B-7158781977F3}"/>
                </a:ext>
              </a:extLst>
            </p:cNvPr>
            <p:cNvSpPr/>
            <p:nvPr/>
          </p:nvSpPr>
          <p:spPr>
            <a:xfrm>
              <a:off x="-857930" y="3392251"/>
              <a:ext cx="84504" cy="84504"/>
            </a:xfrm>
            <a:prstGeom prst="roundRect">
              <a:avLst/>
            </a:prstGeom>
            <a:solidFill>
              <a:srgbClr val="FBAB18"/>
            </a:solidFill>
            <a:ln w="25400" cap="flat" cmpd="sng" algn="ctr">
              <a:noFill/>
              <a:prstDash val="solid"/>
            </a:ln>
            <a:effectLst/>
          </p:spPr>
          <p:txBody>
            <a:bodyPr rtlCol="0" anchor="ctr"/>
            <a:lstStyle/>
            <a:p>
              <a:pPr algn="ctr" defTabSz="609585" fontAlgn="base">
                <a:spcBef>
                  <a:spcPct val="0"/>
                </a:spcBef>
                <a:spcAft>
                  <a:spcPct val="0"/>
                </a:spcAft>
                <a:defRPr/>
              </a:pPr>
              <a:endParaRPr lang="en-US" sz="2400">
                <a:solidFill>
                  <a:srgbClr val="005073"/>
                </a:solidFill>
                <a:latin typeface="CiscoSansTT ExtraLight"/>
                <a:cs typeface="Arial"/>
                <a:sym typeface="Arial"/>
              </a:endParaRPr>
            </a:p>
          </p:txBody>
        </p:sp>
        <p:sp>
          <p:nvSpPr>
            <p:cNvPr id="404" name="Rectangle: Rounded Corners 403">
              <a:extLst>
                <a:ext uri="{FF2B5EF4-FFF2-40B4-BE49-F238E27FC236}">
                  <a16:creationId xmlns:a16="http://schemas.microsoft.com/office/drawing/2014/main" id="{EC9EC497-BCFA-4D88-B561-59F6A2703ACA}"/>
                </a:ext>
              </a:extLst>
            </p:cNvPr>
            <p:cNvSpPr/>
            <p:nvPr/>
          </p:nvSpPr>
          <p:spPr>
            <a:xfrm>
              <a:off x="-857930" y="3718734"/>
              <a:ext cx="84504" cy="84504"/>
            </a:xfrm>
            <a:prstGeom prst="roundRect">
              <a:avLst/>
            </a:prstGeom>
            <a:solidFill>
              <a:srgbClr val="E3241B"/>
            </a:solidFill>
            <a:ln w="25400" cap="flat" cmpd="sng" algn="ctr">
              <a:noFill/>
              <a:prstDash val="solid"/>
            </a:ln>
            <a:effectLst/>
          </p:spPr>
          <p:txBody>
            <a:bodyPr rtlCol="0" anchor="ctr"/>
            <a:lstStyle/>
            <a:p>
              <a:pPr algn="ctr" defTabSz="609585" fontAlgn="base">
                <a:spcBef>
                  <a:spcPct val="0"/>
                </a:spcBef>
                <a:spcAft>
                  <a:spcPct val="0"/>
                </a:spcAft>
                <a:defRPr/>
              </a:pPr>
              <a:endParaRPr lang="en-US" sz="2400">
                <a:solidFill>
                  <a:srgbClr val="005073"/>
                </a:solidFill>
                <a:latin typeface="CiscoSansTT ExtraLight"/>
                <a:cs typeface="Arial"/>
                <a:sym typeface="Arial"/>
              </a:endParaRPr>
            </a:p>
          </p:txBody>
        </p:sp>
        <p:grpSp>
          <p:nvGrpSpPr>
            <p:cNvPr id="405" name="Group 404">
              <a:extLst>
                <a:ext uri="{FF2B5EF4-FFF2-40B4-BE49-F238E27FC236}">
                  <a16:creationId xmlns:a16="http://schemas.microsoft.com/office/drawing/2014/main" id="{3EC04371-DA2B-4AE5-8441-788E4618A191}"/>
                </a:ext>
              </a:extLst>
            </p:cNvPr>
            <p:cNvGrpSpPr/>
            <p:nvPr/>
          </p:nvGrpSpPr>
          <p:grpSpPr>
            <a:xfrm rot="18905179">
              <a:off x="-896905" y="3515694"/>
              <a:ext cx="163693" cy="165695"/>
              <a:chOff x="5482116" y="3063735"/>
              <a:chExt cx="991781" cy="1003914"/>
            </a:xfrm>
            <a:solidFill>
              <a:srgbClr val="FFFFFF"/>
            </a:solidFill>
          </p:grpSpPr>
          <p:sp>
            <p:nvSpPr>
              <p:cNvPr id="406" name="Freeform 167">
                <a:extLst>
                  <a:ext uri="{FF2B5EF4-FFF2-40B4-BE49-F238E27FC236}">
                    <a16:creationId xmlns:a16="http://schemas.microsoft.com/office/drawing/2014/main" id="{109322B7-0471-490E-9AC0-FE021F5CA383}"/>
                  </a:ext>
                </a:extLst>
              </p:cNvPr>
              <p:cNvSpPr>
                <a:spLocks/>
              </p:cNvSpPr>
              <p:nvPr/>
            </p:nvSpPr>
            <p:spPr bwMode="auto">
              <a:xfrm rot="18900000">
                <a:off x="5982238" y="3103216"/>
                <a:ext cx="491659" cy="412696"/>
              </a:xfrm>
              <a:custGeom>
                <a:avLst/>
                <a:gdLst>
                  <a:gd name="T0" fmla="*/ 2296 w 3574"/>
                  <a:gd name="T1" fmla="*/ 88 h 3000"/>
                  <a:gd name="T2" fmla="*/ 2274 w 3574"/>
                  <a:gd name="T3" fmla="*/ 66 h 3000"/>
                  <a:gd name="T4" fmla="*/ 2224 w 3574"/>
                  <a:gd name="T5" fmla="*/ 34 h 3000"/>
                  <a:gd name="T6" fmla="*/ 2170 w 3574"/>
                  <a:gd name="T7" fmla="*/ 12 h 3000"/>
                  <a:gd name="T8" fmla="*/ 2114 w 3574"/>
                  <a:gd name="T9" fmla="*/ 0 h 3000"/>
                  <a:gd name="T10" fmla="*/ 2056 w 3574"/>
                  <a:gd name="T11" fmla="*/ 0 h 3000"/>
                  <a:gd name="T12" fmla="*/ 2000 w 3574"/>
                  <a:gd name="T13" fmla="*/ 12 h 3000"/>
                  <a:gd name="T14" fmla="*/ 1946 w 3574"/>
                  <a:gd name="T15" fmla="*/ 34 h 3000"/>
                  <a:gd name="T16" fmla="*/ 1896 w 3574"/>
                  <a:gd name="T17" fmla="*/ 66 h 3000"/>
                  <a:gd name="T18" fmla="*/ 1874 w 3574"/>
                  <a:gd name="T19" fmla="*/ 88 h 3000"/>
                  <a:gd name="T20" fmla="*/ 1836 w 3574"/>
                  <a:gd name="T21" fmla="*/ 134 h 3000"/>
                  <a:gd name="T22" fmla="*/ 1808 w 3574"/>
                  <a:gd name="T23" fmla="*/ 186 h 3000"/>
                  <a:gd name="T24" fmla="*/ 1792 w 3574"/>
                  <a:gd name="T25" fmla="*/ 242 h 3000"/>
                  <a:gd name="T26" fmla="*/ 1786 w 3574"/>
                  <a:gd name="T27" fmla="*/ 300 h 3000"/>
                  <a:gd name="T28" fmla="*/ 1792 w 3574"/>
                  <a:gd name="T29" fmla="*/ 356 h 3000"/>
                  <a:gd name="T30" fmla="*/ 1808 w 3574"/>
                  <a:gd name="T31" fmla="*/ 412 h 3000"/>
                  <a:gd name="T32" fmla="*/ 1836 w 3574"/>
                  <a:gd name="T33" fmla="*/ 464 h 3000"/>
                  <a:gd name="T34" fmla="*/ 1874 w 3574"/>
                  <a:gd name="T35" fmla="*/ 512 h 3000"/>
                  <a:gd name="T36" fmla="*/ 282 w 3574"/>
                  <a:gd name="T37" fmla="*/ 1206 h 3000"/>
                  <a:gd name="T38" fmla="*/ 252 w 3574"/>
                  <a:gd name="T39" fmla="*/ 1208 h 3000"/>
                  <a:gd name="T40" fmla="*/ 194 w 3574"/>
                  <a:gd name="T41" fmla="*/ 1218 h 3000"/>
                  <a:gd name="T42" fmla="*/ 144 w 3574"/>
                  <a:gd name="T43" fmla="*/ 1240 h 3000"/>
                  <a:gd name="T44" fmla="*/ 98 w 3574"/>
                  <a:gd name="T45" fmla="*/ 1270 h 3000"/>
                  <a:gd name="T46" fmla="*/ 60 w 3574"/>
                  <a:gd name="T47" fmla="*/ 1308 h 3000"/>
                  <a:gd name="T48" fmla="*/ 32 w 3574"/>
                  <a:gd name="T49" fmla="*/ 1354 h 3000"/>
                  <a:gd name="T50" fmla="*/ 12 w 3574"/>
                  <a:gd name="T51" fmla="*/ 1406 h 3000"/>
                  <a:gd name="T52" fmla="*/ 0 w 3574"/>
                  <a:gd name="T53" fmla="*/ 1462 h 3000"/>
                  <a:gd name="T54" fmla="*/ 0 w 3574"/>
                  <a:gd name="T55" fmla="*/ 1494 h 3000"/>
                  <a:gd name="T56" fmla="*/ 6 w 3574"/>
                  <a:gd name="T57" fmla="*/ 1554 h 3000"/>
                  <a:gd name="T58" fmla="*/ 22 w 3574"/>
                  <a:gd name="T59" fmla="*/ 1610 h 3000"/>
                  <a:gd name="T60" fmla="*/ 50 w 3574"/>
                  <a:gd name="T61" fmla="*/ 1662 h 3000"/>
                  <a:gd name="T62" fmla="*/ 86 w 3574"/>
                  <a:gd name="T63" fmla="*/ 1706 h 3000"/>
                  <a:gd name="T64" fmla="*/ 130 w 3574"/>
                  <a:gd name="T65" fmla="*/ 1744 h 3000"/>
                  <a:gd name="T66" fmla="*/ 180 w 3574"/>
                  <a:gd name="T67" fmla="*/ 1772 h 3000"/>
                  <a:gd name="T68" fmla="*/ 236 w 3574"/>
                  <a:gd name="T69" fmla="*/ 1790 h 3000"/>
                  <a:gd name="T70" fmla="*/ 296 w 3574"/>
                  <a:gd name="T71" fmla="*/ 1796 h 3000"/>
                  <a:gd name="T72" fmla="*/ 1876 w 3574"/>
                  <a:gd name="T73" fmla="*/ 2488 h 3000"/>
                  <a:gd name="T74" fmla="*/ 1856 w 3574"/>
                  <a:gd name="T75" fmla="*/ 2512 h 3000"/>
                  <a:gd name="T76" fmla="*/ 1822 w 3574"/>
                  <a:gd name="T77" fmla="*/ 2560 h 3000"/>
                  <a:gd name="T78" fmla="*/ 1802 w 3574"/>
                  <a:gd name="T79" fmla="*/ 2614 h 3000"/>
                  <a:gd name="T80" fmla="*/ 1790 w 3574"/>
                  <a:gd name="T81" fmla="*/ 2672 h 3000"/>
                  <a:gd name="T82" fmla="*/ 1790 w 3574"/>
                  <a:gd name="T83" fmla="*/ 2730 h 3000"/>
                  <a:gd name="T84" fmla="*/ 1802 w 3574"/>
                  <a:gd name="T85" fmla="*/ 2786 h 3000"/>
                  <a:gd name="T86" fmla="*/ 1822 w 3574"/>
                  <a:gd name="T87" fmla="*/ 2840 h 3000"/>
                  <a:gd name="T88" fmla="*/ 1856 w 3574"/>
                  <a:gd name="T89" fmla="*/ 2890 h 3000"/>
                  <a:gd name="T90" fmla="*/ 1876 w 3574"/>
                  <a:gd name="T91" fmla="*/ 2912 h 3000"/>
                  <a:gd name="T92" fmla="*/ 1922 w 3574"/>
                  <a:gd name="T93" fmla="*/ 2952 h 3000"/>
                  <a:gd name="T94" fmla="*/ 1974 w 3574"/>
                  <a:gd name="T95" fmla="*/ 2978 h 3000"/>
                  <a:gd name="T96" fmla="*/ 2030 w 3574"/>
                  <a:gd name="T97" fmla="*/ 2996 h 3000"/>
                  <a:gd name="T98" fmla="*/ 2086 w 3574"/>
                  <a:gd name="T99" fmla="*/ 3000 h 3000"/>
                  <a:gd name="T100" fmla="*/ 2144 w 3574"/>
                  <a:gd name="T101" fmla="*/ 2996 h 3000"/>
                  <a:gd name="T102" fmla="*/ 2198 w 3574"/>
                  <a:gd name="T103" fmla="*/ 2978 h 3000"/>
                  <a:gd name="T104" fmla="*/ 2250 w 3574"/>
                  <a:gd name="T105" fmla="*/ 2952 h 3000"/>
                  <a:gd name="T106" fmla="*/ 2298 w 3574"/>
                  <a:gd name="T107" fmla="*/ 2912 h 3000"/>
                  <a:gd name="T108" fmla="*/ 3484 w 3574"/>
                  <a:gd name="T109" fmla="*/ 1712 h 3000"/>
                  <a:gd name="T110" fmla="*/ 3524 w 3574"/>
                  <a:gd name="T111" fmla="*/ 1662 h 3000"/>
                  <a:gd name="T112" fmla="*/ 3554 w 3574"/>
                  <a:gd name="T113" fmla="*/ 1610 h 3000"/>
                  <a:gd name="T114" fmla="*/ 3570 w 3574"/>
                  <a:gd name="T115" fmla="*/ 1554 h 3000"/>
                  <a:gd name="T116" fmla="*/ 3574 w 3574"/>
                  <a:gd name="T117" fmla="*/ 1496 h 3000"/>
                  <a:gd name="T118" fmla="*/ 3568 w 3574"/>
                  <a:gd name="T119" fmla="*/ 1440 h 3000"/>
                  <a:gd name="T120" fmla="*/ 3548 w 3574"/>
                  <a:gd name="T121" fmla="*/ 1384 h 3000"/>
                  <a:gd name="T122" fmla="*/ 3516 w 3574"/>
                  <a:gd name="T123" fmla="*/ 1328 h 3000"/>
                  <a:gd name="T124" fmla="*/ 3474 w 3574"/>
                  <a:gd name="T125" fmla="*/ 1278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74" h="3000">
                    <a:moveTo>
                      <a:pt x="3474" y="1278"/>
                    </a:moveTo>
                    <a:lnTo>
                      <a:pt x="2296" y="88"/>
                    </a:lnTo>
                    <a:lnTo>
                      <a:pt x="2296" y="88"/>
                    </a:lnTo>
                    <a:lnTo>
                      <a:pt x="2274" y="66"/>
                    </a:lnTo>
                    <a:lnTo>
                      <a:pt x="2248" y="48"/>
                    </a:lnTo>
                    <a:lnTo>
                      <a:pt x="2224" y="34"/>
                    </a:lnTo>
                    <a:lnTo>
                      <a:pt x="2198" y="22"/>
                    </a:lnTo>
                    <a:lnTo>
                      <a:pt x="2170" y="12"/>
                    </a:lnTo>
                    <a:lnTo>
                      <a:pt x="2142" y="4"/>
                    </a:lnTo>
                    <a:lnTo>
                      <a:pt x="2114" y="0"/>
                    </a:lnTo>
                    <a:lnTo>
                      <a:pt x="2084" y="0"/>
                    </a:lnTo>
                    <a:lnTo>
                      <a:pt x="2056" y="0"/>
                    </a:lnTo>
                    <a:lnTo>
                      <a:pt x="2028" y="4"/>
                    </a:lnTo>
                    <a:lnTo>
                      <a:pt x="2000" y="12"/>
                    </a:lnTo>
                    <a:lnTo>
                      <a:pt x="1972" y="22"/>
                    </a:lnTo>
                    <a:lnTo>
                      <a:pt x="1946" y="34"/>
                    </a:lnTo>
                    <a:lnTo>
                      <a:pt x="1920" y="48"/>
                    </a:lnTo>
                    <a:lnTo>
                      <a:pt x="1896" y="66"/>
                    </a:lnTo>
                    <a:lnTo>
                      <a:pt x="1874" y="88"/>
                    </a:lnTo>
                    <a:lnTo>
                      <a:pt x="1874" y="88"/>
                    </a:lnTo>
                    <a:lnTo>
                      <a:pt x="1854" y="110"/>
                    </a:lnTo>
                    <a:lnTo>
                      <a:pt x="1836" y="134"/>
                    </a:lnTo>
                    <a:lnTo>
                      <a:pt x="1820" y="160"/>
                    </a:lnTo>
                    <a:lnTo>
                      <a:pt x="1808" y="186"/>
                    </a:lnTo>
                    <a:lnTo>
                      <a:pt x="1800" y="214"/>
                    </a:lnTo>
                    <a:lnTo>
                      <a:pt x="1792" y="242"/>
                    </a:lnTo>
                    <a:lnTo>
                      <a:pt x="1788" y="270"/>
                    </a:lnTo>
                    <a:lnTo>
                      <a:pt x="1786" y="300"/>
                    </a:lnTo>
                    <a:lnTo>
                      <a:pt x="1788" y="328"/>
                    </a:lnTo>
                    <a:lnTo>
                      <a:pt x="1792" y="356"/>
                    </a:lnTo>
                    <a:lnTo>
                      <a:pt x="1800" y="386"/>
                    </a:lnTo>
                    <a:lnTo>
                      <a:pt x="1808" y="412"/>
                    </a:lnTo>
                    <a:lnTo>
                      <a:pt x="1820" y="440"/>
                    </a:lnTo>
                    <a:lnTo>
                      <a:pt x="1836" y="464"/>
                    </a:lnTo>
                    <a:lnTo>
                      <a:pt x="1854" y="488"/>
                    </a:lnTo>
                    <a:lnTo>
                      <a:pt x="1874" y="512"/>
                    </a:lnTo>
                    <a:lnTo>
                      <a:pt x="2542" y="1206"/>
                    </a:lnTo>
                    <a:lnTo>
                      <a:pt x="282" y="1206"/>
                    </a:lnTo>
                    <a:lnTo>
                      <a:pt x="282" y="1206"/>
                    </a:lnTo>
                    <a:lnTo>
                      <a:pt x="252" y="1208"/>
                    </a:lnTo>
                    <a:lnTo>
                      <a:pt x="222" y="1212"/>
                    </a:lnTo>
                    <a:lnTo>
                      <a:pt x="194" y="1218"/>
                    </a:lnTo>
                    <a:lnTo>
                      <a:pt x="168" y="1228"/>
                    </a:lnTo>
                    <a:lnTo>
                      <a:pt x="144" y="1240"/>
                    </a:lnTo>
                    <a:lnTo>
                      <a:pt x="120" y="1254"/>
                    </a:lnTo>
                    <a:lnTo>
                      <a:pt x="98" y="1270"/>
                    </a:lnTo>
                    <a:lnTo>
                      <a:pt x="78" y="1288"/>
                    </a:lnTo>
                    <a:lnTo>
                      <a:pt x="60" y="1308"/>
                    </a:lnTo>
                    <a:lnTo>
                      <a:pt x="46" y="1330"/>
                    </a:lnTo>
                    <a:lnTo>
                      <a:pt x="32" y="1354"/>
                    </a:lnTo>
                    <a:lnTo>
                      <a:pt x="20" y="1378"/>
                    </a:lnTo>
                    <a:lnTo>
                      <a:pt x="12" y="1406"/>
                    </a:lnTo>
                    <a:lnTo>
                      <a:pt x="4" y="1434"/>
                    </a:lnTo>
                    <a:lnTo>
                      <a:pt x="0" y="1462"/>
                    </a:lnTo>
                    <a:lnTo>
                      <a:pt x="0" y="1494"/>
                    </a:lnTo>
                    <a:lnTo>
                      <a:pt x="0" y="1494"/>
                    </a:lnTo>
                    <a:lnTo>
                      <a:pt x="0" y="1524"/>
                    </a:lnTo>
                    <a:lnTo>
                      <a:pt x="6" y="1554"/>
                    </a:lnTo>
                    <a:lnTo>
                      <a:pt x="12" y="1582"/>
                    </a:lnTo>
                    <a:lnTo>
                      <a:pt x="22" y="1610"/>
                    </a:lnTo>
                    <a:lnTo>
                      <a:pt x="34" y="1636"/>
                    </a:lnTo>
                    <a:lnTo>
                      <a:pt x="50" y="1662"/>
                    </a:lnTo>
                    <a:lnTo>
                      <a:pt x="66" y="1686"/>
                    </a:lnTo>
                    <a:lnTo>
                      <a:pt x="86" y="1706"/>
                    </a:lnTo>
                    <a:lnTo>
                      <a:pt x="106" y="1726"/>
                    </a:lnTo>
                    <a:lnTo>
                      <a:pt x="130" y="1744"/>
                    </a:lnTo>
                    <a:lnTo>
                      <a:pt x="154" y="1758"/>
                    </a:lnTo>
                    <a:lnTo>
                      <a:pt x="180" y="1772"/>
                    </a:lnTo>
                    <a:lnTo>
                      <a:pt x="208" y="1782"/>
                    </a:lnTo>
                    <a:lnTo>
                      <a:pt x="236" y="1790"/>
                    </a:lnTo>
                    <a:lnTo>
                      <a:pt x="266" y="1794"/>
                    </a:lnTo>
                    <a:lnTo>
                      <a:pt x="296" y="1796"/>
                    </a:lnTo>
                    <a:lnTo>
                      <a:pt x="2564" y="1796"/>
                    </a:lnTo>
                    <a:lnTo>
                      <a:pt x="1876" y="2488"/>
                    </a:lnTo>
                    <a:lnTo>
                      <a:pt x="1876" y="2488"/>
                    </a:lnTo>
                    <a:lnTo>
                      <a:pt x="1856" y="2512"/>
                    </a:lnTo>
                    <a:lnTo>
                      <a:pt x="1838" y="2536"/>
                    </a:lnTo>
                    <a:lnTo>
                      <a:pt x="1822" y="2560"/>
                    </a:lnTo>
                    <a:lnTo>
                      <a:pt x="1810" y="2588"/>
                    </a:lnTo>
                    <a:lnTo>
                      <a:pt x="1802" y="2614"/>
                    </a:lnTo>
                    <a:lnTo>
                      <a:pt x="1794" y="2644"/>
                    </a:lnTo>
                    <a:lnTo>
                      <a:pt x="1790" y="2672"/>
                    </a:lnTo>
                    <a:lnTo>
                      <a:pt x="1788" y="2700"/>
                    </a:lnTo>
                    <a:lnTo>
                      <a:pt x="1790" y="2730"/>
                    </a:lnTo>
                    <a:lnTo>
                      <a:pt x="1794" y="2758"/>
                    </a:lnTo>
                    <a:lnTo>
                      <a:pt x="1802" y="2786"/>
                    </a:lnTo>
                    <a:lnTo>
                      <a:pt x="1810" y="2814"/>
                    </a:lnTo>
                    <a:lnTo>
                      <a:pt x="1822" y="2840"/>
                    </a:lnTo>
                    <a:lnTo>
                      <a:pt x="1838" y="2866"/>
                    </a:lnTo>
                    <a:lnTo>
                      <a:pt x="1856" y="2890"/>
                    </a:lnTo>
                    <a:lnTo>
                      <a:pt x="1876" y="2912"/>
                    </a:lnTo>
                    <a:lnTo>
                      <a:pt x="1876" y="2912"/>
                    </a:lnTo>
                    <a:lnTo>
                      <a:pt x="1898" y="2934"/>
                    </a:lnTo>
                    <a:lnTo>
                      <a:pt x="1922" y="2952"/>
                    </a:lnTo>
                    <a:lnTo>
                      <a:pt x="1948" y="2966"/>
                    </a:lnTo>
                    <a:lnTo>
                      <a:pt x="1974" y="2978"/>
                    </a:lnTo>
                    <a:lnTo>
                      <a:pt x="2002" y="2988"/>
                    </a:lnTo>
                    <a:lnTo>
                      <a:pt x="2030" y="2996"/>
                    </a:lnTo>
                    <a:lnTo>
                      <a:pt x="2058" y="3000"/>
                    </a:lnTo>
                    <a:lnTo>
                      <a:pt x="2086" y="3000"/>
                    </a:lnTo>
                    <a:lnTo>
                      <a:pt x="2116" y="3000"/>
                    </a:lnTo>
                    <a:lnTo>
                      <a:pt x="2144" y="2996"/>
                    </a:lnTo>
                    <a:lnTo>
                      <a:pt x="2172" y="2988"/>
                    </a:lnTo>
                    <a:lnTo>
                      <a:pt x="2198" y="2978"/>
                    </a:lnTo>
                    <a:lnTo>
                      <a:pt x="2226" y="2966"/>
                    </a:lnTo>
                    <a:lnTo>
                      <a:pt x="2250" y="2952"/>
                    </a:lnTo>
                    <a:lnTo>
                      <a:pt x="2274" y="2934"/>
                    </a:lnTo>
                    <a:lnTo>
                      <a:pt x="2298" y="2912"/>
                    </a:lnTo>
                    <a:lnTo>
                      <a:pt x="3484" y="1712"/>
                    </a:lnTo>
                    <a:lnTo>
                      <a:pt x="3484" y="1712"/>
                    </a:lnTo>
                    <a:lnTo>
                      <a:pt x="3506" y="1688"/>
                    </a:lnTo>
                    <a:lnTo>
                      <a:pt x="3524" y="1662"/>
                    </a:lnTo>
                    <a:lnTo>
                      <a:pt x="3540" y="1636"/>
                    </a:lnTo>
                    <a:lnTo>
                      <a:pt x="3554" y="1610"/>
                    </a:lnTo>
                    <a:lnTo>
                      <a:pt x="3564" y="1582"/>
                    </a:lnTo>
                    <a:lnTo>
                      <a:pt x="3570" y="1554"/>
                    </a:lnTo>
                    <a:lnTo>
                      <a:pt x="3574" y="1526"/>
                    </a:lnTo>
                    <a:lnTo>
                      <a:pt x="3574" y="1496"/>
                    </a:lnTo>
                    <a:lnTo>
                      <a:pt x="3572" y="1468"/>
                    </a:lnTo>
                    <a:lnTo>
                      <a:pt x="3568" y="1440"/>
                    </a:lnTo>
                    <a:lnTo>
                      <a:pt x="3560" y="1412"/>
                    </a:lnTo>
                    <a:lnTo>
                      <a:pt x="3548" y="1384"/>
                    </a:lnTo>
                    <a:lnTo>
                      <a:pt x="3534" y="1356"/>
                    </a:lnTo>
                    <a:lnTo>
                      <a:pt x="3516" y="1328"/>
                    </a:lnTo>
                    <a:lnTo>
                      <a:pt x="3496" y="1302"/>
                    </a:lnTo>
                    <a:lnTo>
                      <a:pt x="3474" y="1278"/>
                    </a:ln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407" name="Freeform 168">
                <a:extLst>
                  <a:ext uri="{FF2B5EF4-FFF2-40B4-BE49-F238E27FC236}">
                    <a16:creationId xmlns:a16="http://schemas.microsoft.com/office/drawing/2014/main" id="{C3FDD1E9-9664-4838-BAEF-59716FF3E77F}"/>
                  </a:ext>
                </a:extLst>
              </p:cNvPr>
              <p:cNvSpPr>
                <a:spLocks/>
              </p:cNvSpPr>
              <p:nvPr/>
            </p:nvSpPr>
            <p:spPr bwMode="auto">
              <a:xfrm rot="2700000" flipH="1">
                <a:off x="5482116" y="3103217"/>
                <a:ext cx="491659" cy="412696"/>
              </a:xfrm>
              <a:custGeom>
                <a:avLst/>
                <a:gdLst>
                  <a:gd name="T0" fmla="*/ 2296 w 3574"/>
                  <a:gd name="T1" fmla="*/ 88 h 3000"/>
                  <a:gd name="T2" fmla="*/ 2274 w 3574"/>
                  <a:gd name="T3" fmla="*/ 66 h 3000"/>
                  <a:gd name="T4" fmla="*/ 2224 w 3574"/>
                  <a:gd name="T5" fmla="*/ 34 h 3000"/>
                  <a:gd name="T6" fmla="*/ 2170 w 3574"/>
                  <a:gd name="T7" fmla="*/ 12 h 3000"/>
                  <a:gd name="T8" fmla="*/ 2114 w 3574"/>
                  <a:gd name="T9" fmla="*/ 0 h 3000"/>
                  <a:gd name="T10" fmla="*/ 2056 w 3574"/>
                  <a:gd name="T11" fmla="*/ 0 h 3000"/>
                  <a:gd name="T12" fmla="*/ 2000 w 3574"/>
                  <a:gd name="T13" fmla="*/ 12 h 3000"/>
                  <a:gd name="T14" fmla="*/ 1946 w 3574"/>
                  <a:gd name="T15" fmla="*/ 34 h 3000"/>
                  <a:gd name="T16" fmla="*/ 1896 w 3574"/>
                  <a:gd name="T17" fmla="*/ 66 h 3000"/>
                  <a:gd name="T18" fmla="*/ 1874 w 3574"/>
                  <a:gd name="T19" fmla="*/ 88 h 3000"/>
                  <a:gd name="T20" fmla="*/ 1836 w 3574"/>
                  <a:gd name="T21" fmla="*/ 134 h 3000"/>
                  <a:gd name="T22" fmla="*/ 1808 w 3574"/>
                  <a:gd name="T23" fmla="*/ 186 h 3000"/>
                  <a:gd name="T24" fmla="*/ 1792 w 3574"/>
                  <a:gd name="T25" fmla="*/ 242 h 3000"/>
                  <a:gd name="T26" fmla="*/ 1786 w 3574"/>
                  <a:gd name="T27" fmla="*/ 300 h 3000"/>
                  <a:gd name="T28" fmla="*/ 1792 w 3574"/>
                  <a:gd name="T29" fmla="*/ 356 h 3000"/>
                  <a:gd name="T30" fmla="*/ 1808 w 3574"/>
                  <a:gd name="T31" fmla="*/ 412 h 3000"/>
                  <a:gd name="T32" fmla="*/ 1836 w 3574"/>
                  <a:gd name="T33" fmla="*/ 464 h 3000"/>
                  <a:gd name="T34" fmla="*/ 1874 w 3574"/>
                  <a:gd name="T35" fmla="*/ 512 h 3000"/>
                  <a:gd name="T36" fmla="*/ 282 w 3574"/>
                  <a:gd name="T37" fmla="*/ 1206 h 3000"/>
                  <a:gd name="T38" fmla="*/ 252 w 3574"/>
                  <a:gd name="T39" fmla="*/ 1208 h 3000"/>
                  <a:gd name="T40" fmla="*/ 194 w 3574"/>
                  <a:gd name="T41" fmla="*/ 1218 h 3000"/>
                  <a:gd name="T42" fmla="*/ 144 w 3574"/>
                  <a:gd name="T43" fmla="*/ 1240 h 3000"/>
                  <a:gd name="T44" fmla="*/ 98 w 3574"/>
                  <a:gd name="T45" fmla="*/ 1270 h 3000"/>
                  <a:gd name="T46" fmla="*/ 60 w 3574"/>
                  <a:gd name="T47" fmla="*/ 1308 h 3000"/>
                  <a:gd name="T48" fmla="*/ 32 w 3574"/>
                  <a:gd name="T49" fmla="*/ 1354 h 3000"/>
                  <a:gd name="T50" fmla="*/ 12 w 3574"/>
                  <a:gd name="T51" fmla="*/ 1406 h 3000"/>
                  <a:gd name="T52" fmla="*/ 0 w 3574"/>
                  <a:gd name="T53" fmla="*/ 1462 h 3000"/>
                  <a:gd name="T54" fmla="*/ 0 w 3574"/>
                  <a:gd name="T55" fmla="*/ 1494 h 3000"/>
                  <a:gd name="T56" fmla="*/ 6 w 3574"/>
                  <a:gd name="T57" fmla="*/ 1554 h 3000"/>
                  <a:gd name="T58" fmla="*/ 22 w 3574"/>
                  <a:gd name="T59" fmla="*/ 1610 h 3000"/>
                  <a:gd name="T60" fmla="*/ 50 w 3574"/>
                  <a:gd name="T61" fmla="*/ 1662 h 3000"/>
                  <a:gd name="T62" fmla="*/ 86 w 3574"/>
                  <a:gd name="T63" fmla="*/ 1706 h 3000"/>
                  <a:gd name="T64" fmla="*/ 130 w 3574"/>
                  <a:gd name="T65" fmla="*/ 1744 h 3000"/>
                  <a:gd name="T66" fmla="*/ 180 w 3574"/>
                  <a:gd name="T67" fmla="*/ 1772 h 3000"/>
                  <a:gd name="T68" fmla="*/ 236 w 3574"/>
                  <a:gd name="T69" fmla="*/ 1790 h 3000"/>
                  <a:gd name="T70" fmla="*/ 296 w 3574"/>
                  <a:gd name="T71" fmla="*/ 1796 h 3000"/>
                  <a:gd name="T72" fmla="*/ 1876 w 3574"/>
                  <a:gd name="T73" fmla="*/ 2488 h 3000"/>
                  <a:gd name="T74" fmla="*/ 1856 w 3574"/>
                  <a:gd name="T75" fmla="*/ 2512 h 3000"/>
                  <a:gd name="T76" fmla="*/ 1822 w 3574"/>
                  <a:gd name="T77" fmla="*/ 2560 h 3000"/>
                  <a:gd name="T78" fmla="*/ 1802 w 3574"/>
                  <a:gd name="T79" fmla="*/ 2614 h 3000"/>
                  <a:gd name="T80" fmla="*/ 1790 w 3574"/>
                  <a:gd name="T81" fmla="*/ 2672 h 3000"/>
                  <a:gd name="T82" fmla="*/ 1790 w 3574"/>
                  <a:gd name="T83" fmla="*/ 2730 h 3000"/>
                  <a:gd name="T84" fmla="*/ 1802 w 3574"/>
                  <a:gd name="T85" fmla="*/ 2786 h 3000"/>
                  <a:gd name="T86" fmla="*/ 1822 w 3574"/>
                  <a:gd name="T87" fmla="*/ 2840 h 3000"/>
                  <a:gd name="T88" fmla="*/ 1856 w 3574"/>
                  <a:gd name="T89" fmla="*/ 2890 h 3000"/>
                  <a:gd name="T90" fmla="*/ 1876 w 3574"/>
                  <a:gd name="T91" fmla="*/ 2912 h 3000"/>
                  <a:gd name="T92" fmla="*/ 1922 w 3574"/>
                  <a:gd name="T93" fmla="*/ 2952 h 3000"/>
                  <a:gd name="T94" fmla="*/ 1974 w 3574"/>
                  <a:gd name="T95" fmla="*/ 2978 h 3000"/>
                  <a:gd name="T96" fmla="*/ 2030 w 3574"/>
                  <a:gd name="T97" fmla="*/ 2996 h 3000"/>
                  <a:gd name="T98" fmla="*/ 2086 w 3574"/>
                  <a:gd name="T99" fmla="*/ 3000 h 3000"/>
                  <a:gd name="T100" fmla="*/ 2144 w 3574"/>
                  <a:gd name="T101" fmla="*/ 2996 h 3000"/>
                  <a:gd name="T102" fmla="*/ 2198 w 3574"/>
                  <a:gd name="T103" fmla="*/ 2978 h 3000"/>
                  <a:gd name="T104" fmla="*/ 2250 w 3574"/>
                  <a:gd name="T105" fmla="*/ 2952 h 3000"/>
                  <a:gd name="T106" fmla="*/ 2298 w 3574"/>
                  <a:gd name="T107" fmla="*/ 2912 h 3000"/>
                  <a:gd name="T108" fmla="*/ 3484 w 3574"/>
                  <a:gd name="T109" fmla="*/ 1712 h 3000"/>
                  <a:gd name="T110" fmla="*/ 3524 w 3574"/>
                  <a:gd name="T111" fmla="*/ 1662 h 3000"/>
                  <a:gd name="T112" fmla="*/ 3554 w 3574"/>
                  <a:gd name="T113" fmla="*/ 1610 h 3000"/>
                  <a:gd name="T114" fmla="*/ 3570 w 3574"/>
                  <a:gd name="T115" fmla="*/ 1554 h 3000"/>
                  <a:gd name="T116" fmla="*/ 3574 w 3574"/>
                  <a:gd name="T117" fmla="*/ 1496 h 3000"/>
                  <a:gd name="T118" fmla="*/ 3568 w 3574"/>
                  <a:gd name="T119" fmla="*/ 1440 h 3000"/>
                  <a:gd name="T120" fmla="*/ 3548 w 3574"/>
                  <a:gd name="T121" fmla="*/ 1384 h 3000"/>
                  <a:gd name="T122" fmla="*/ 3516 w 3574"/>
                  <a:gd name="T123" fmla="*/ 1328 h 3000"/>
                  <a:gd name="T124" fmla="*/ 3474 w 3574"/>
                  <a:gd name="T125" fmla="*/ 1278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74" h="3000">
                    <a:moveTo>
                      <a:pt x="3474" y="1278"/>
                    </a:moveTo>
                    <a:lnTo>
                      <a:pt x="2296" y="88"/>
                    </a:lnTo>
                    <a:lnTo>
                      <a:pt x="2296" y="88"/>
                    </a:lnTo>
                    <a:lnTo>
                      <a:pt x="2274" y="66"/>
                    </a:lnTo>
                    <a:lnTo>
                      <a:pt x="2248" y="48"/>
                    </a:lnTo>
                    <a:lnTo>
                      <a:pt x="2224" y="34"/>
                    </a:lnTo>
                    <a:lnTo>
                      <a:pt x="2198" y="22"/>
                    </a:lnTo>
                    <a:lnTo>
                      <a:pt x="2170" y="12"/>
                    </a:lnTo>
                    <a:lnTo>
                      <a:pt x="2142" y="4"/>
                    </a:lnTo>
                    <a:lnTo>
                      <a:pt x="2114" y="0"/>
                    </a:lnTo>
                    <a:lnTo>
                      <a:pt x="2084" y="0"/>
                    </a:lnTo>
                    <a:lnTo>
                      <a:pt x="2056" y="0"/>
                    </a:lnTo>
                    <a:lnTo>
                      <a:pt x="2028" y="4"/>
                    </a:lnTo>
                    <a:lnTo>
                      <a:pt x="2000" y="12"/>
                    </a:lnTo>
                    <a:lnTo>
                      <a:pt x="1972" y="22"/>
                    </a:lnTo>
                    <a:lnTo>
                      <a:pt x="1946" y="34"/>
                    </a:lnTo>
                    <a:lnTo>
                      <a:pt x="1920" y="48"/>
                    </a:lnTo>
                    <a:lnTo>
                      <a:pt x="1896" y="66"/>
                    </a:lnTo>
                    <a:lnTo>
                      <a:pt x="1874" y="88"/>
                    </a:lnTo>
                    <a:lnTo>
                      <a:pt x="1874" y="88"/>
                    </a:lnTo>
                    <a:lnTo>
                      <a:pt x="1854" y="110"/>
                    </a:lnTo>
                    <a:lnTo>
                      <a:pt x="1836" y="134"/>
                    </a:lnTo>
                    <a:lnTo>
                      <a:pt x="1820" y="160"/>
                    </a:lnTo>
                    <a:lnTo>
                      <a:pt x="1808" y="186"/>
                    </a:lnTo>
                    <a:lnTo>
                      <a:pt x="1800" y="214"/>
                    </a:lnTo>
                    <a:lnTo>
                      <a:pt x="1792" y="242"/>
                    </a:lnTo>
                    <a:lnTo>
                      <a:pt x="1788" y="270"/>
                    </a:lnTo>
                    <a:lnTo>
                      <a:pt x="1786" y="300"/>
                    </a:lnTo>
                    <a:lnTo>
                      <a:pt x="1788" y="328"/>
                    </a:lnTo>
                    <a:lnTo>
                      <a:pt x="1792" y="356"/>
                    </a:lnTo>
                    <a:lnTo>
                      <a:pt x="1800" y="386"/>
                    </a:lnTo>
                    <a:lnTo>
                      <a:pt x="1808" y="412"/>
                    </a:lnTo>
                    <a:lnTo>
                      <a:pt x="1820" y="440"/>
                    </a:lnTo>
                    <a:lnTo>
                      <a:pt x="1836" y="464"/>
                    </a:lnTo>
                    <a:lnTo>
                      <a:pt x="1854" y="488"/>
                    </a:lnTo>
                    <a:lnTo>
                      <a:pt x="1874" y="512"/>
                    </a:lnTo>
                    <a:lnTo>
                      <a:pt x="2542" y="1206"/>
                    </a:lnTo>
                    <a:lnTo>
                      <a:pt x="282" y="1206"/>
                    </a:lnTo>
                    <a:lnTo>
                      <a:pt x="282" y="1206"/>
                    </a:lnTo>
                    <a:lnTo>
                      <a:pt x="252" y="1208"/>
                    </a:lnTo>
                    <a:lnTo>
                      <a:pt x="222" y="1212"/>
                    </a:lnTo>
                    <a:lnTo>
                      <a:pt x="194" y="1218"/>
                    </a:lnTo>
                    <a:lnTo>
                      <a:pt x="168" y="1228"/>
                    </a:lnTo>
                    <a:lnTo>
                      <a:pt x="144" y="1240"/>
                    </a:lnTo>
                    <a:lnTo>
                      <a:pt x="120" y="1254"/>
                    </a:lnTo>
                    <a:lnTo>
                      <a:pt x="98" y="1270"/>
                    </a:lnTo>
                    <a:lnTo>
                      <a:pt x="78" y="1288"/>
                    </a:lnTo>
                    <a:lnTo>
                      <a:pt x="60" y="1308"/>
                    </a:lnTo>
                    <a:lnTo>
                      <a:pt x="46" y="1330"/>
                    </a:lnTo>
                    <a:lnTo>
                      <a:pt x="32" y="1354"/>
                    </a:lnTo>
                    <a:lnTo>
                      <a:pt x="20" y="1378"/>
                    </a:lnTo>
                    <a:lnTo>
                      <a:pt x="12" y="1406"/>
                    </a:lnTo>
                    <a:lnTo>
                      <a:pt x="4" y="1434"/>
                    </a:lnTo>
                    <a:lnTo>
                      <a:pt x="0" y="1462"/>
                    </a:lnTo>
                    <a:lnTo>
                      <a:pt x="0" y="1494"/>
                    </a:lnTo>
                    <a:lnTo>
                      <a:pt x="0" y="1494"/>
                    </a:lnTo>
                    <a:lnTo>
                      <a:pt x="0" y="1524"/>
                    </a:lnTo>
                    <a:lnTo>
                      <a:pt x="6" y="1554"/>
                    </a:lnTo>
                    <a:lnTo>
                      <a:pt x="12" y="1582"/>
                    </a:lnTo>
                    <a:lnTo>
                      <a:pt x="22" y="1610"/>
                    </a:lnTo>
                    <a:lnTo>
                      <a:pt x="34" y="1636"/>
                    </a:lnTo>
                    <a:lnTo>
                      <a:pt x="50" y="1662"/>
                    </a:lnTo>
                    <a:lnTo>
                      <a:pt x="66" y="1686"/>
                    </a:lnTo>
                    <a:lnTo>
                      <a:pt x="86" y="1706"/>
                    </a:lnTo>
                    <a:lnTo>
                      <a:pt x="106" y="1726"/>
                    </a:lnTo>
                    <a:lnTo>
                      <a:pt x="130" y="1744"/>
                    </a:lnTo>
                    <a:lnTo>
                      <a:pt x="154" y="1758"/>
                    </a:lnTo>
                    <a:lnTo>
                      <a:pt x="180" y="1772"/>
                    </a:lnTo>
                    <a:lnTo>
                      <a:pt x="208" y="1782"/>
                    </a:lnTo>
                    <a:lnTo>
                      <a:pt x="236" y="1790"/>
                    </a:lnTo>
                    <a:lnTo>
                      <a:pt x="266" y="1794"/>
                    </a:lnTo>
                    <a:lnTo>
                      <a:pt x="296" y="1796"/>
                    </a:lnTo>
                    <a:lnTo>
                      <a:pt x="2564" y="1796"/>
                    </a:lnTo>
                    <a:lnTo>
                      <a:pt x="1876" y="2488"/>
                    </a:lnTo>
                    <a:lnTo>
                      <a:pt x="1876" y="2488"/>
                    </a:lnTo>
                    <a:lnTo>
                      <a:pt x="1856" y="2512"/>
                    </a:lnTo>
                    <a:lnTo>
                      <a:pt x="1838" y="2536"/>
                    </a:lnTo>
                    <a:lnTo>
                      <a:pt x="1822" y="2560"/>
                    </a:lnTo>
                    <a:lnTo>
                      <a:pt x="1810" y="2588"/>
                    </a:lnTo>
                    <a:lnTo>
                      <a:pt x="1802" y="2614"/>
                    </a:lnTo>
                    <a:lnTo>
                      <a:pt x="1794" y="2644"/>
                    </a:lnTo>
                    <a:lnTo>
                      <a:pt x="1790" y="2672"/>
                    </a:lnTo>
                    <a:lnTo>
                      <a:pt x="1788" y="2700"/>
                    </a:lnTo>
                    <a:lnTo>
                      <a:pt x="1790" y="2730"/>
                    </a:lnTo>
                    <a:lnTo>
                      <a:pt x="1794" y="2758"/>
                    </a:lnTo>
                    <a:lnTo>
                      <a:pt x="1802" y="2786"/>
                    </a:lnTo>
                    <a:lnTo>
                      <a:pt x="1810" y="2814"/>
                    </a:lnTo>
                    <a:lnTo>
                      <a:pt x="1822" y="2840"/>
                    </a:lnTo>
                    <a:lnTo>
                      <a:pt x="1838" y="2866"/>
                    </a:lnTo>
                    <a:lnTo>
                      <a:pt x="1856" y="2890"/>
                    </a:lnTo>
                    <a:lnTo>
                      <a:pt x="1876" y="2912"/>
                    </a:lnTo>
                    <a:lnTo>
                      <a:pt x="1876" y="2912"/>
                    </a:lnTo>
                    <a:lnTo>
                      <a:pt x="1898" y="2934"/>
                    </a:lnTo>
                    <a:lnTo>
                      <a:pt x="1922" y="2952"/>
                    </a:lnTo>
                    <a:lnTo>
                      <a:pt x="1948" y="2966"/>
                    </a:lnTo>
                    <a:lnTo>
                      <a:pt x="1974" y="2978"/>
                    </a:lnTo>
                    <a:lnTo>
                      <a:pt x="2002" y="2988"/>
                    </a:lnTo>
                    <a:lnTo>
                      <a:pt x="2030" y="2996"/>
                    </a:lnTo>
                    <a:lnTo>
                      <a:pt x="2058" y="3000"/>
                    </a:lnTo>
                    <a:lnTo>
                      <a:pt x="2086" y="3000"/>
                    </a:lnTo>
                    <a:lnTo>
                      <a:pt x="2116" y="3000"/>
                    </a:lnTo>
                    <a:lnTo>
                      <a:pt x="2144" y="2996"/>
                    </a:lnTo>
                    <a:lnTo>
                      <a:pt x="2172" y="2988"/>
                    </a:lnTo>
                    <a:lnTo>
                      <a:pt x="2198" y="2978"/>
                    </a:lnTo>
                    <a:lnTo>
                      <a:pt x="2226" y="2966"/>
                    </a:lnTo>
                    <a:lnTo>
                      <a:pt x="2250" y="2952"/>
                    </a:lnTo>
                    <a:lnTo>
                      <a:pt x="2274" y="2934"/>
                    </a:lnTo>
                    <a:lnTo>
                      <a:pt x="2298" y="2912"/>
                    </a:lnTo>
                    <a:lnTo>
                      <a:pt x="3484" y="1712"/>
                    </a:lnTo>
                    <a:lnTo>
                      <a:pt x="3484" y="1712"/>
                    </a:lnTo>
                    <a:lnTo>
                      <a:pt x="3506" y="1688"/>
                    </a:lnTo>
                    <a:lnTo>
                      <a:pt x="3524" y="1662"/>
                    </a:lnTo>
                    <a:lnTo>
                      <a:pt x="3540" y="1636"/>
                    </a:lnTo>
                    <a:lnTo>
                      <a:pt x="3554" y="1610"/>
                    </a:lnTo>
                    <a:lnTo>
                      <a:pt x="3564" y="1582"/>
                    </a:lnTo>
                    <a:lnTo>
                      <a:pt x="3570" y="1554"/>
                    </a:lnTo>
                    <a:lnTo>
                      <a:pt x="3574" y="1526"/>
                    </a:lnTo>
                    <a:lnTo>
                      <a:pt x="3574" y="1496"/>
                    </a:lnTo>
                    <a:lnTo>
                      <a:pt x="3572" y="1468"/>
                    </a:lnTo>
                    <a:lnTo>
                      <a:pt x="3568" y="1440"/>
                    </a:lnTo>
                    <a:lnTo>
                      <a:pt x="3560" y="1412"/>
                    </a:lnTo>
                    <a:lnTo>
                      <a:pt x="3548" y="1384"/>
                    </a:lnTo>
                    <a:lnTo>
                      <a:pt x="3534" y="1356"/>
                    </a:lnTo>
                    <a:lnTo>
                      <a:pt x="3516" y="1328"/>
                    </a:lnTo>
                    <a:lnTo>
                      <a:pt x="3496" y="1302"/>
                    </a:lnTo>
                    <a:lnTo>
                      <a:pt x="3474" y="1278"/>
                    </a:ln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408" name="Freeform 169">
                <a:extLst>
                  <a:ext uri="{FF2B5EF4-FFF2-40B4-BE49-F238E27FC236}">
                    <a16:creationId xmlns:a16="http://schemas.microsoft.com/office/drawing/2014/main" id="{D1B33ACB-0A41-4A1B-B988-FA67769EFB83}"/>
                  </a:ext>
                </a:extLst>
              </p:cNvPr>
              <p:cNvSpPr>
                <a:spLocks/>
              </p:cNvSpPr>
              <p:nvPr/>
            </p:nvSpPr>
            <p:spPr bwMode="auto">
              <a:xfrm rot="2700000" flipV="1">
                <a:off x="5982238" y="3615472"/>
                <a:ext cx="491659" cy="412696"/>
              </a:xfrm>
              <a:custGeom>
                <a:avLst/>
                <a:gdLst>
                  <a:gd name="T0" fmla="*/ 2296 w 3574"/>
                  <a:gd name="T1" fmla="*/ 88 h 3000"/>
                  <a:gd name="T2" fmla="*/ 2274 w 3574"/>
                  <a:gd name="T3" fmla="*/ 66 h 3000"/>
                  <a:gd name="T4" fmla="*/ 2224 w 3574"/>
                  <a:gd name="T5" fmla="*/ 34 h 3000"/>
                  <a:gd name="T6" fmla="*/ 2170 w 3574"/>
                  <a:gd name="T7" fmla="*/ 12 h 3000"/>
                  <a:gd name="T8" fmla="*/ 2114 w 3574"/>
                  <a:gd name="T9" fmla="*/ 0 h 3000"/>
                  <a:gd name="T10" fmla="*/ 2056 w 3574"/>
                  <a:gd name="T11" fmla="*/ 0 h 3000"/>
                  <a:gd name="T12" fmla="*/ 2000 w 3574"/>
                  <a:gd name="T13" fmla="*/ 12 h 3000"/>
                  <a:gd name="T14" fmla="*/ 1946 w 3574"/>
                  <a:gd name="T15" fmla="*/ 34 h 3000"/>
                  <a:gd name="T16" fmla="*/ 1896 w 3574"/>
                  <a:gd name="T17" fmla="*/ 66 h 3000"/>
                  <a:gd name="T18" fmla="*/ 1874 w 3574"/>
                  <a:gd name="T19" fmla="*/ 88 h 3000"/>
                  <a:gd name="T20" fmla="*/ 1836 w 3574"/>
                  <a:gd name="T21" fmla="*/ 134 h 3000"/>
                  <a:gd name="T22" fmla="*/ 1808 w 3574"/>
                  <a:gd name="T23" fmla="*/ 186 h 3000"/>
                  <a:gd name="T24" fmla="*/ 1792 w 3574"/>
                  <a:gd name="T25" fmla="*/ 242 h 3000"/>
                  <a:gd name="T26" fmla="*/ 1786 w 3574"/>
                  <a:gd name="T27" fmla="*/ 300 h 3000"/>
                  <a:gd name="T28" fmla="*/ 1792 w 3574"/>
                  <a:gd name="T29" fmla="*/ 356 h 3000"/>
                  <a:gd name="T30" fmla="*/ 1808 w 3574"/>
                  <a:gd name="T31" fmla="*/ 412 h 3000"/>
                  <a:gd name="T32" fmla="*/ 1836 w 3574"/>
                  <a:gd name="T33" fmla="*/ 464 h 3000"/>
                  <a:gd name="T34" fmla="*/ 1874 w 3574"/>
                  <a:gd name="T35" fmla="*/ 512 h 3000"/>
                  <a:gd name="T36" fmla="*/ 282 w 3574"/>
                  <a:gd name="T37" fmla="*/ 1206 h 3000"/>
                  <a:gd name="T38" fmla="*/ 252 w 3574"/>
                  <a:gd name="T39" fmla="*/ 1208 h 3000"/>
                  <a:gd name="T40" fmla="*/ 194 w 3574"/>
                  <a:gd name="T41" fmla="*/ 1218 h 3000"/>
                  <a:gd name="T42" fmla="*/ 144 w 3574"/>
                  <a:gd name="T43" fmla="*/ 1240 h 3000"/>
                  <a:gd name="T44" fmla="*/ 98 w 3574"/>
                  <a:gd name="T45" fmla="*/ 1270 h 3000"/>
                  <a:gd name="T46" fmla="*/ 60 w 3574"/>
                  <a:gd name="T47" fmla="*/ 1308 h 3000"/>
                  <a:gd name="T48" fmla="*/ 32 w 3574"/>
                  <a:gd name="T49" fmla="*/ 1354 h 3000"/>
                  <a:gd name="T50" fmla="*/ 12 w 3574"/>
                  <a:gd name="T51" fmla="*/ 1406 h 3000"/>
                  <a:gd name="T52" fmla="*/ 0 w 3574"/>
                  <a:gd name="T53" fmla="*/ 1462 h 3000"/>
                  <a:gd name="T54" fmla="*/ 0 w 3574"/>
                  <a:gd name="T55" fmla="*/ 1494 h 3000"/>
                  <a:gd name="T56" fmla="*/ 6 w 3574"/>
                  <a:gd name="T57" fmla="*/ 1554 h 3000"/>
                  <a:gd name="T58" fmla="*/ 22 w 3574"/>
                  <a:gd name="T59" fmla="*/ 1610 h 3000"/>
                  <a:gd name="T60" fmla="*/ 50 w 3574"/>
                  <a:gd name="T61" fmla="*/ 1662 h 3000"/>
                  <a:gd name="T62" fmla="*/ 86 w 3574"/>
                  <a:gd name="T63" fmla="*/ 1706 h 3000"/>
                  <a:gd name="T64" fmla="*/ 130 w 3574"/>
                  <a:gd name="T65" fmla="*/ 1744 h 3000"/>
                  <a:gd name="T66" fmla="*/ 180 w 3574"/>
                  <a:gd name="T67" fmla="*/ 1772 h 3000"/>
                  <a:gd name="T68" fmla="*/ 236 w 3574"/>
                  <a:gd name="T69" fmla="*/ 1790 h 3000"/>
                  <a:gd name="T70" fmla="*/ 296 w 3574"/>
                  <a:gd name="T71" fmla="*/ 1796 h 3000"/>
                  <a:gd name="T72" fmla="*/ 1876 w 3574"/>
                  <a:gd name="T73" fmla="*/ 2488 h 3000"/>
                  <a:gd name="T74" fmla="*/ 1856 w 3574"/>
                  <a:gd name="T75" fmla="*/ 2512 h 3000"/>
                  <a:gd name="T76" fmla="*/ 1822 w 3574"/>
                  <a:gd name="T77" fmla="*/ 2560 h 3000"/>
                  <a:gd name="T78" fmla="*/ 1802 w 3574"/>
                  <a:gd name="T79" fmla="*/ 2614 h 3000"/>
                  <a:gd name="T80" fmla="*/ 1790 w 3574"/>
                  <a:gd name="T81" fmla="*/ 2672 h 3000"/>
                  <a:gd name="T82" fmla="*/ 1790 w 3574"/>
                  <a:gd name="T83" fmla="*/ 2730 h 3000"/>
                  <a:gd name="T84" fmla="*/ 1802 w 3574"/>
                  <a:gd name="T85" fmla="*/ 2786 h 3000"/>
                  <a:gd name="T86" fmla="*/ 1822 w 3574"/>
                  <a:gd name="T87" fmla="*/ 2840 h 3000"/>
                  <a:gd name="T88" fmla="*/ 1856 w 3574"/>
                  <a:gd name="T89" fmla="*/ 2890 h 3000"/>
                  <a:gd name="T90" fmla="*/ 1876 w 3574"/>
                  <a:gd name="T91" fmla="*/ 2912 h 3000"/>
                  <a:gd name="T92" fmla="*/ 1922 w 3574"/>
                  <a:gd name="T93" fmla="*/ 2952 h 3000"/>
                  <a:gd name="T94" fmla="*/ 1974 w 3574"/>
                  <a:gd name="T95" fmla="*/ 2978 h 3000"/>
                  <a:gd name="T96" fmla="*/ 2030 w 3574"/>
                  <a:gd name="T97" fmla="*/ 2996 h 3000"/>
                  <a:gd name="T98" fmla="*/ 2086 w 3574"/>
                  <a:gd name="T99" fmla="*/ 3000 h 3000"/>
                  <a:gd name="T100" fmla="*/ 2144 w 3574"/>
                  <a:gd name="T101" fmla="*/ 2996 h 3000"/>
                  <a:gd name="T102" fmla="*/ 2198 w 3574"/>
                  <a:gd name="T103" fmla="*/ 2978 h 3000"/>
                  <a:gd name="T104" fmla="*/ 2250 w 3574"/>
                  <a:gd name="T105" fmla="*/ 2952 h 3000"/>
                  <a:gd name="T106" fmla="*/ 2298 w 3574"/>
                  <a:gd name="T107" fmla="*/ 2912 h 3000"/>
                  <a:gd name="T108" fmla="*/ 3484 w 3574"/>
                  <a:gd name="T109" fmla="*/ 1712 h 3000"/>
                  <a:gd name="T110" fmla="*/ 3524 w 3574"/>
                  <a:gd name="T111" fmla="*/ 1662 h 3000"/>
                  <a:gd name="T112" fmla="*/ 3554 w 3574"/>
                  <a:gd name="T113" fmla="*/ 1610 h 3000"/>
                  <a:gd name="T114" fmla="*/ 3570 w 3574"/>
                  <a:gd name="T115" fmla="*/ 1554 h 3000"/>
                  <a:gd name="T116" fmla="*/ 3574 w 3574"/>
                  <a:gd name="T117" fmla="*/ 1496 h 3000"/>
                  <a:gd name="T118" fmla="*/ 3568 w 3574"/>
                  <a:gd name="T119" fmla="*/ 1440 h 3000"/>
                  <a:gd name="T120" fmla="*/ 3548 w 3574"/>
                  <a:gd name="T121" fmla="*/ 1384 h 3000"/>
                  <a:gd name="T122" fmla="*/ 3516 w 3574"/>
                  <a:gd name="T123" fmla="*/ 1328 h 3000"/>
                  <a:gd name="T124" fmla="*/ 3474 w 3574"/>
                  <a:gd name="T125" fmla="*/ 1278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74" h="3000">
                    <a:moveTo>
                      <a:pt x="3474" y="1278"/>
                    </a:moveTo>
                    <a:lnTo>
                      <a:pt x="2296" y="88"/>
                    </a:lnTo>
                    <a:lnTo>
                      <a:pt x="2296" y="88"/>
                    </a:lnTo>
                    <a:lnTo>
                      <a:pt x="2274" y="66"/>
                    </a:lnTo>
                    <a:lnTo>
                      <a:pt x="2248" y="48"/>
                    </a:lnTo>
                    <a:lnTo>
                      <a:pt x="2224" y="34"/>
                    </a:lnTo>
                    <a:lnTo>
                      <a:pt x="2198" y="22"/>
                    </a:lnTo>
                    <a:lnTo>
                      <a:pt x="2170" y="12"/>
                    </a:lnTo>
                    <a:lnTo>
                      <a:pt x="2142" y="4"/>
                    </a:lnTo>
                    <a:lnTo>
                      <a:pt x="2114" y="0"/>
                    </a:lnTo>
                    <a:lnTo>
                      <a:pt x="2084" y="0"/>
                    </a:lnTo>
                    <a:lnTo>
                      <a:pt x="2056" y="0"/>
                    </a:lnTo>
                    <a:lnTo>
                      <a:pt x="2028" y="4"/>
                    </a:lnTo>
                    <a:lnTo>
                      <a:pt x="2000" y="12"/>
                    </a:lnTo>
                    <a:lnTo>
                      <a:pt x="1972" y="22"/>
                    </a:lnTo>
                    <a:lnTo>
                      <a:pt x="1946" y="34"/>
                    </a:lnTo>
                    <a:lnTo>
                      <a:pt x="1920" y="48"/>
                    </a:lnTo>
                    <a:lnTo>
                      <a:pt x="1896" y="66"/>
                    </a:lnTo>
                    <a:lnTo>
                      <a:pt x="1874" y="88"/>
                    </a:lnTo>
                    <a:lnTo>
                      <a:pt x="1874" y="88"/>
                    </a:lnTo>
                    <a:lnTo>
                      <a:pt x="1854" y="110"/>
                    </a:lnTo>
                    <a:lnTo>
                      <a:pt x="1836" y="134"/>
                    </a:lnTo>
                    <a:lnTo>
                      <a:pt x="1820" y="160"/>
                    </a:lnTo>
                    <a:lnTo>
                      <a:pt x="1808" y="186"/>
                    </a:lnTo>
                    <a:lnTo>
                      <a:pt x="1800" y="214"/>
                    </a:lnTo>
                    <a:lnTo>
                      <a:pt x="1792" y="242"/>
                    </a:lnTo>
                    <a:lnTo>
                      <a:pt x="1788" y="270"/>
                    </a:lnTo>
                    <a:lnTo>
                      <a:pt x="1786" y="300"/>
                    </a:lnTo>
                    <a:lnTo>
                      <a:pt x="1788" y="328"/>
                    </a:lnTo>
                    <a:lnTo>
                      <a:pt x="1792" y="356"/>
                    </a:lnTo>
                    <a:lnTo>
                      <a:pt x="1800" y="386"/>
                    </a:lnTo>
                    <a:lnTo>
                      <a:pt x="1808" y="412"/>
                    </a:lnTo>
                    <a:lnTo>
                      <a:pt x="1820" y="440"/>
                    </a:lnTo>
                    <a:lnTo>
                      <a:pt x="1836" y="464"/>
                    </a:lnTo>
                    <a:lnTo>
                      <a:pt x="1854" y="488"/>
                    </a:lnTo>
                    <a:lnTo>
                      <a:pt x="1874" y="512"/>
                    </a:lnTo>
                    <a:lnTo>
                      <a:pt x="2542" y="1206"/>
                    </a:lnTo>
                    <a:lnTo>
                      <a:pt x="282" y="1206"/>
                    </a:lnTo>
                    <a:lnTo>
                      <a:pt x="282" y="1206"/>
                    </a:lnTo>
                    <a:lnTo>
                      <a:pt x="252" y="1208"/>
                    </a:lnTo>
                    <a:lnTo>
                      <a:pt x="222" y="1212"/>
                    </a:lnTo>
                    <a:lnTo>
                      <a:pt x="194" y="1218"/>
                    </a:lnTo>
                    <a:lnTo>
                      <a:pt x="168" y="1228"/>
                    </a:lnTo>
                    <a:lnTo>
                      <a:pt x="144" y="1240"/>
                    </a:lnTo>
                    <a:lnTo>
                      <a:pt x="120" y="1254"/>
                    </a:lnTo>
                    <a:lnTo>
                      <a:pt x="98" y="1270"/>
                    </a:lnTo>
                    <a:lnTo>
                      <a:pt x="78" y="1288"/>
                    </a:lnTo>
                    <a:lnTo>
                      <a:pt x="60" y="1308"/>
                    </a:lnTo>
                    <a:lnTo>
                      <a:pt x="46" y="1330"/>
                    </a:lnTo>
                    <a:lnTo>
                      <a:pt x="32" y="1354"/>
                    </a:lnTo>
                    <a:lnTo>
                      <a:pt x="20" y="1378"/>
                    </a:lnTo>
                    <a:lnTo>
                      <a:pt x="12" y="1406"/>
                    </a:lnTo>
                    <a:lnTo>
                      <a:pt x="4" y="1434"/>
                    </a:lnTo>
                    <a:lnTo>
                      <a:pt x="0" y="1462"/>
                    </a:lnTo>
                    <a:lnTo>
                      <a:pt x="0" y="1494"/>
                    </a:lnTo>
                    <a:lnTo>
                      <a:pt x="0" y="1494"/>
                    </a:lnTo>
                    <a:lnTo>
                      <a:pt x="0" y="1524"/>
                    </a:lnTo>
                    <a:lnTo>
                      <a:pt x="6" y="1554"/>
                    </a:lnTo>
                    <a:lnTo>
                      <a:pt x="12" y="1582"/>
                    </a:lnTo>
                    <a:lnTo>
                      <a:pt x="22" y="1610"/>
                    </a:lnTo>
                    <a:lnTo>
                      <a:pt x="34" y="1636"/>
                    </a:lnTo>
                    <a:lnTo>
                      <a:pt x="50" y="1662"/>
                    </a:lnTo>
                    <a:lnTo>
                      <a:pt x="66" y="1686"/>
                    </a:lnTo>
                    <a:lnTo>
                      <a:pt x="86" y="1706"/>
                    </a:lnTo>
                    <a:lnTo>
                      <a:pt x="106" y="1726"/>
                    </a:lnTo>
                    <a:lnTo>
                      <a:pt x="130" y="1744"/>
                    </a:lnTo>
                    <a:lnTo>
                      <a:pt x="154" y="1758"/>
                    </a:lnTo>
                    <a:lnTo>
                      <a:pt x="180" y="1772"/>
                    </a:lnTo>
                    <a:lnTo>
                      <a:pt x="208" y="1782"/>
                    </a:lnTo>
                    <a:lnTo>
                      <a:pt x="236" y="1790"/>
                    </a:lnTo>
                    <a:lnTo>
                      <a:pt x="266" y="1794"/>
                    </a:lnTo>
                    <a:lnTo>
                      <a:pt x="296" y="1796"/>
                    </a:lnTo>
                    <a:lnTo>
                      <a:pt x="2564" y="1796"/>
                    </a:lnTo>
                    <a:lnTo>
                      <a:pt x="1876" y="2488"/>
                    </a:lnTo>
                    <a:lnTo>
                      <a:pt x="1876" y="2488"/>
                    </a:lnTo>
                    <a:lnTo>
                      <a:pt x="1856" y="2512"/>
                    </a:lnTo>
                    <a:lnTo>
                      <a:pt x="1838" y="2536"/>
                    </a:lnTo>
                    <a:lnTo>
                      <a:pt x="1822" y="2560"/>
                    </a:lnTo>
                    <a:lnTo>
                      <a:pt x="1810" y="2588"/>
                    </a:lnTo>
                    <a:lnTo>
                      <a:pt x="1802" y="2614"/>
                    </a:lnTo>
                    <a:lnTo>
                      <a:pt x="1794" y="2644"/>
                    </a:lnTo>
                    <a:lnTo>
                      <a:pt x="1790" y="2672"/>
                    </a:lnTo>
                    <a:lnTo>
                      <a:pt x="1788" y="2700"/>
                    </a:lnTo>
                    <a:lnTo>
                      <a:pt x="1790" y="2730"/>
                    </a:lnTo>
                    <a:lnTo>
                      <a:pt x="1794" y="2758"/>
                    </a:lnTo>
                    <a:lnTo>
                      <a:pt x="1802" y="2786"/>
                    </a:lnTo>
                    <a:lnTo>
                      <a:pt x="1810" y="2814"/>
                    </a:lnTo>
                    <a:lnTo>
                      <a:pt x="1822" y="2840"/>
                    </a:lnTo>
                    <a:lnTo>
                      <a:pt x="1838" y="2866"/>
                    </a:lnTo>
                    <a:lnTo>
                      <a:pt x="1856" y="2890"/>
                    </a:lnTo>
                    <a:lnTo>
                      <a:pt x="1876" y="2912"/>
                    </a:lnTo>
                    <a:lnTo>
                      <a:pt x="1876" y="2912"/>
                    </a:lnTo>
                    <a:lnTo>
                      <a:pt x="1898" y="2934"/>
                    </a:lnTo>
                    <a:lnTo>
                      <a:pt x="1922" y="2952"/>
                    </a:lnTo>
                    <a:lnTo>
                      <a:pt x="1948" y="2966"/>
                    </a:lnTo>
                    <a:lnTo>
                      <a:pt x="1974" y="2978"/>
                    </a:lnTo>
                    <a:lnTo>
                      <a:pt x="2002" y="2988"/>
                    </a:lnTo>
                    <a:lnTo>
                      <a:pt x="2030" y="2996"/>
                    </a:lnTo>
                    <a:lnTo>
                      <a:pt x="2058" y="3000"/>
                    </a:lnTo>
                    <a:lnTo>
                      <a:pt x="2086" y="3000"/>
                    </a:lnTo>
                    <a:lnTo>
                      <a:pt x="2116" y="3000"/>
                    </a:lnTo>
                    <a:lnTo>
                      <a:pt x="2144" y="2996"/>
                    </a:lnTo>
                    <a:lnTo>
                      <a:pt x="2172" y="2988"/>
                    </a:lnTo>
                    <a:lnTo>
                      <a:pt x="2198" y="2978"/>
                    </a:lnTo>
                    <a:lnTo>
                      <a:pt x="2226" y="2966"/>
                    </a:lnTo>
                    <a:lnTo>
                      <a:pt x="2250" y="2952"/>
                    </a:lnTo>
                    <a:lnTo>
                      <a:pt x="2274" y="2934"/>
                    </a:lnTo>
                    <a:lnTo>
                      <a:pt x="2298" y="2912"/>
                    </a:lnTo>
                    <a:lnTo>
                      <a:pt x="3484" y="1712"/>
                    </a:lnTo>
                    <a:lnTo>
                      <a:pt x="3484" y="1712"/>
                    </a:lnTo>
                    <a:lnTo>
                      <a:pt x="3506" y="1688"/>
                    </a:lnTo>
                    <a:lnTo>
                      <a:pt x="3524" y="1662"/>
                    </a:lnTo>
                    <a:lnTo>
                      <a:pt x="3540" y="1636"/>
                    </a:lnTo>
                    <a:lnTo>
                      <a:pt x="3554" y="1610"/>
                    </a:lnTo>
                    <a:lnTo>
                      <a:pt x="3564" y="1582"/>
                    </a:lnTo>
                    <a:lnTo>
                      <a:pt x="3570" y="1554"/>
                    </a:lnTo>
                    <a:lnTo>
                      <a:pt x="3574" y="1526"/>
                    </a:lnTo>
                    <a:lnTo>
                      <a:pt x="3574" y="1496"/>
                    </a:lnTo>
                    <a:lnTo>
                      <a:pt x="3572" y="1468"/>
                    </a:lnTo>
                    <a:lnTo>
                      <a:pt x="3568" y="1440"/>
                    </a:lnTo>
                    <a:lnTo>
                      <a:pt x="3560" y="1412"/>
                    </a:lnTo>
                    <a:lnTo>
                      <a:pt x="3548" y="1384"/>
                    </a:lnTo>
                    <a:lnTo>
                      <a:pt x="3534" y="1356"/>
                    </a:lnTo>
                    <a:lnTo>
                      <a:pt x="3516" y="1328"/>
                    </a:lnTo>
                    <a:lnTo>
                      <a:pt x="3496" y="1302"/>
                    </a:lnTo>
                    <a:lnTo>
                      <a:pt x="3474" y="1278"/>
                    </a:ln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409" name="Freeform 170">
                <a:extLst>
                  <a:ext uri="{FF2B5EF4-FFF2-40B4-BE49-F238E27FC236}">
                    <a16:creationId xmlns:a16="http://schemas.microsoft.com/office/drawing/2014/main" id="{F9DE39A9-95EE-4E1D-BCB3-6B92A98B91EA}"/>
                  </a:ext>
                </a:extLst>
              </p:cNvPr>
              <p:cNvSpPr>
                <a:spLocks/>
              </p:cNvSpPr>
              <p:nvPr/>
            </p:nvSpPr>
            <p:spPr bwMode="auto">
              <a:xfrm rot="18900000" flipH="1" flipV="1">
                <a:off x="5482116" y="3615471"/>
                <a:ext cx="491659" cy="412696"/>
              </a:xfrm>
              <a:custGeom>
                <a:avLst/>
                <a:gdLst>
                  <a:gd name="T0" fmla="*/ 2296 w 3574"/>
                  <a:gd name="T1" fmla="*/ 88 h 3000"/>
                  <a:gd name="T2" fmla="*/ 2274 w 3574"/>
                  <a:gd name="T3" fmla="*/ 66 h 3000"/>
                  <a:gd name="T4" fmla="*/ 2224 w 3574"/>
                  <a:gd name="T5" fmla="*/ 34 h 3000"/>
                  <a:gd name="T6" fmla="*/ 2170 w 3574"/>
                  <a:gd name="T7" fmla="*/ 12 h 3000"/>
                  <a:gd name="T8" fmla="*/ 2114 w 3574"/>
                  <a:gd name="T9" fmla="*/ 0 h 3000"/>
                  <a:gd name="T10" fmla="*/ 2056 w 3574"/>
                  <a:gd name="T11" fmla="*/ 0 h 3000"/>
                  <a:gd name="T12" fmla="*/ 2000 w 3574"/>
                  <a:gd name="T13" fmla="*/ 12 h 3000"/>
                  <a:gd name="T14" fmla="*/ 1946 w 3574"/>
                  <a:gd name="T15" fmla="*/ 34 h 3000"/>
                  <a:gd name="T16" fmla="*/ 1896 w 3574"/>
                  <a:gd name="T17" fmla="*/ 66 h 3000"/>
                  <a:gd name="T18" fmla="*/ 1874 w 3574"/>
                  <a:gd name="T19" fmla="*/ 88 h 3000"/>
                  <a:gd name="T20" fmla="*/ 1836 w 3574"/>
                  <a:gd name="T21" fmla="*/ 134 h 3000"/>
                  <a:gd name="T22" fmla="*/ 1808 w 3574"/>
                  <a:gd name="T23" fmla="*/ 186 h 3000"/>
                  <a:gd name="T24" fmla="*/ 1792 w 3574"/>
                  <a:gd name="T25" fmla="*/ 242 h 3000"/>
                  <a:gd name="T26" fmla="*/ 1786 w 3574"/>
                  <a:gd name="T27" fmla="*/ 300 h 3000"/>
                  <a:gd name="T28" fmla="*/ 1792 w 3574"/>
                  <a:gd name="T29" fmla="*/ 356 h 3000"/>
                  <a:gd name="T30" fmla="*/ 1808 w 3574"/>
                  <a:gd name="T31" fmla="*/ 412 h 3000"/>
                  <a:gd name="T32" fmla="*/ 1836 w 3574"/>
                  <a:gd name="T33" fmla="*/ 464 h 3000"/>
                  <a:gd name="T34" fmla="*/ 1874 w 3574"/>
                  <a:gd name="T35" fmla="*/ 512 h 3000"/>
                  <a:gd name="T36" fmla="*/ 282 w 3574"/>
                  <a:gd name="T37" fmla="*/ 1206 h 3000"/>
                  <a:gd name="T38" fmla="*/ 252 w 3574"/>
                  <a:gd name="T39" fmla="*/ 1208 h 3000"/>
                  <a:gd name="T40" fmla="*/ 194 w 3574"/>
                  <a:gd name="T41" fmla="*/ 1218 h 3000"/>
                  <a:gd name="T42" fmla="*/ 144 w 3574"/>
                  <a:gd name="T43" fmla="*/ 1240 h 3000"/>
                  <a:gd name="T44" fmla="*/ 98 w 3574"/>
                  <a:gd name="T45" fmla="*/ 1270 h 3000"/>
                  <a:gd name="T46" fmla="*/ 60 w 3574"/>
                  <a:gd name="T47" fmla="*/ 1308 h 3000"/>
                  <a:gd name="T48" fmla="*/ 32 w 3574"/>
                  <a:gd name="T49" fmla="*/ 1354 h 3000"/>
                  <a:gd name="T50" fmla="*/ 12 w 3574"/>
                  <a:gd name="T51" fmla="*/ 1406 h 3000"/>
                  <a:gd name="T52" fmla="*/ 0 w 3574"/>
                  <a:gd name="T53" fmla="*/ 1462 h 3000"/>
                  <a:gd name="T54" fmla="*/ 0 w 3574"/>
                  <a:gd name="T55" fmla="*/ 1494 h 3000"/>
                  <a:gd name="T56" fmla="*/ 6 w 3574"/>
                  <a:gd name="T57" fmla="*/ 1554 h 3000"/>
                  <a:gd name="T58" fmla="*/ 22 w 3574"/>
                  <a:gd name="T59" fmla="*/ 1610 h 3000"/>
                  <a:gd name="T60" fmla="*/ 50 w 3574"/>
                  <a:gd name="T61" fmla="*/ 1662 h 3000"/>
                  <a:gd name="T62" fmla="*/ 86 w 3574"/>
                  <a:gd name="T63" fmla="*/ 1706 h 3000"/>
                  <a:gd name="T64" fmla="*/ 130 w 3574"/>
                  <a:gd name="T65" fmla="*/ 1744 h 3000"/>
                  <a:gd name="T66" fmla="*/ 180 w 3574"/>
                  <a:gd name="T67" fmla="*/ 1772 h 3000"/>
                  <a:gd name="T68" fmla="*/ 236 w 3574"/>
                  <a:gd name="T69" fmla="*/ 1790 h 3000"/>
                  <a:gd name="T70" fmla="*/ 296 w 3574"/>
                  <a:gd name="T71" fmla="*/ 1796 h 3000"/>
                  <a:gd name="T72" fmla="*/ 1876 w 3574"/>
                  <a:gd name="T73" fmla="*/ 2488 h 3000"/>
                  <a:gd name="T74" fmla="*/ 1856 w 3574"/>
                  <a:gd name="T75" fmla="*/ 2512 h 3000"/>
                  <a:gd name="T76" fmla="*/ 1822 w 3574"/>
                  <a:gd name="T77" fmla="*/ 2560 h 3000"/>
                  <a:gd name="T78" fmla="*/ 1802 w 3574"/>
                  <a:gd name="T79" fmla="*/ 2614 h 3000"/>
                  <a:gd name="T80" fmla="*/ 1790 w 3574"/>
                  <a:gd name="T81" fmla="*/ 2672 h 3000"/>
                  <a:gd name="T82" fmla="*/ 1790 w 3574"/>
                  <a:gd name="T83" fmla="*/ 2730 h 3000"/>
                  <a:gd name="T84" fmla="*/ 1802 w 3574"/>
                  <a:gd name="T85" fmla="*/ 2786 h 3000"/>
                  <a:gd name="T86" fmla="*/ 1822 w 3574"/>
                  <a:gd name="T87" fmla="*/ 2840 h 3000"/>
                  <a:gd name="T88" fmla="*/ 1856 w 3574"/>
                  <a:gd name="T89" fmla="*/ 2890 h 3000"/>
                  <a:gd name="T90" fmla="*/ 1876 w 3574"/>
                  <a:gd name="T91" fmla="*/ 2912 h 3000"/>
                  <a:gd name="T92" fmla="*/ 1922 w 3574"/>
                  <a:gd name="T93" fmla="*/ 2952 h 3000"/>
                  <a:gd name="T94" fmla="*/ 1974 w 3574"/>
                  <a:gd name="T95" fmla="*/ 2978 h 3000"/>
                  <a:gd name="T96" fmla="*/ 2030 w 3574"/>
                  <a:gd name="T97" fmla="*/ 2996 h 3000"/>
                  <a:gd name="T98" fmla="*/ 2086 w 3574"/>
                  <a:gd name="T99" fmla="*/ 3000 h 3000"/>
                  <a:gd name="T100" fmla="*/ 2144 w 3574"/>
                  <a:gd name="T101" fmla="*/ 2996 h 3000"/>
                  <a:gd name="T102" fmla="*/ 2198 w 3574"/>
                  <a:gd name="T103" fmla="*/ 2978 h 3000"/>
                  <a:gd name="T104" fmla="*/ 2250 w 3574"/>
                  <a:gd name="T105" fmla="*/ 2952 h 3000"/>
                  <a:gd name="T106" fmla="*/ 2298 w 3574"/>
                  <a:gd name="T107" fmla="*/ 2912 h 3000"/>
                  <a:gd name="T108" fmla="*/ 3484 w 3574"/>
                  <a:gd name="T109" fmla="*/ 1712 h 3000"/>
                  <a:gd name="T110" fmla="*/ 3524 w 3574"/>
                  <a:gd name="T111" fmla="*/ 1662 h 3000"/>
                  <a:gd name="T112" fmla="*/ 3554 w 3574"/>
                  <a:gd name="T113" fmla="*/ 1610 h 3000"/>
                  <a:gd name="T114" fmla="*/ 3570 w 3574"/>
                  <a:gd name="T115" fmla="*/ 1554 h 3000"/>
                  <a:gd name="T116" fmla="*/ 3574 w 3574"/>
                  <a:gd name="T117" fmla="*/ 1496 h 3000"/>
                  <a:gd name="T118" fmla="*/ 3568 w 3574"/>
                  <a:gd name="T119" fmla="*/ 1440 h 3000"/>
                  <a:gd name="T120" fmla="*/ 3548 w 3574"/>
                  <a:gd name="T121" fmla="*/ 1384 h 3000"/>
                  <a:gd name="T122" fmla="*/ 3516 w 3574"/>
                  <a:gd name="T123" fmla="*/ 1328 h 3000"/>
                  <a:gd name="T124" fmla="*/ 3474 w 3574"/>
                  <a:gd name="T125" fmla="*/ 1278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74" h="3000">
                    <a:moveTo>
                      <a:pt x="3474" y="1278"/>
                    </a:moveTo>
                    <a:lnTo>
                      <a:pt x="2296" y="88"/>
                    </a:lnTo>
                    <a:lnTo>
                      <a:pt x="2296" y="88"/>
                    </a:lnTo>
                    <a:lnTo>
                      <a:pt x="2274" y="66"/>
                    </a:lnTo>
                    <a:lnTo>
                      <a:pt x="2248" y="48"/>
                    </a:lnTo>
                    <a:lnTo>
                      <a:pt x="2224" y="34"/>
                    </a:lnTo>
                    <a:lnTo>
                      <a:pt x="2198" y="22"/>
                    </a:lnTo>
                    <a:lnTo>
                      <a:pt x="2170" y="12"/>
                    </a:lnTo>
                    <a:lnTo>
                      <a:pt x="2142" y="4"/>
                    </a:lnTo>
                    <a:lnTo>
                      <a:pt x="2114" y="0"/>
                    </a:lnTo>
                    <a:lnTo>
                      <a:pt x="2084" y="0"/>
                    </a:lnTo>
                    <a:lnTo>
                      <a:pt x="2056" y="0"/>
                    </a:lnTo>
                    <a:lnTo>
                      <a:pt x="2028" y="4"/>
                    </a:lnTo>
                    <a:lnTo>
                      <a:pt x="2000" y="12"/>
                    </a:lnTo>
                    <a:lnTo>
                      <a:pt x="1972" y="22"/>
                    </a:lnTo>
                    <a:lnTo>
                      <a:pt x="1946" y="34"/>
                    </a:lnTo>
                    <a:lnTo>
                      <a:pt x="1920" y="48"/>
                    </a:lnTo>
                    <a:lnTo>
                      <a:pt x="1896" y="66"/>
                    </a:lnTo>
                    <a:lnTo>
                      <a:pt x="1874" y="88"/>
                    </a:lnTo>
                    <a:lnTo>
                      <a:pt x="1874" y="88"/>
                    </a:lnTo>
                    <a:lnTo>
                      <a:pt x="1854" y="110"/>
                    </a:lnTo>
                    <a:lnTo>
                      <a:pt x="1836" y="134"/>
                    </a:lnTo>
                    <a:lnTo>
                      <a:pt x="1820" y="160"/>
                    </a:lnTo>
                    <a:lnTo>
                      <a:pt x="1808" y="186"/>
                    </a:lnTo>
                    <a:lnTo>
                      <a:pt x="1800" y="214"/>
                    </a:lnTo>
                    <a:lnTo>
                      <a:pt x="1792" y="242"/>
                    </a:lnTo>
                    <a:lnTo>
                      <a:pt x="1788" y="270"/>
                    </a:lnTo>
                    <a:lnTo>
                      <a:pt x="1786" y="300"/>
                    </a:lnTo>
                    <a:lnTo>
                      <a:pt x="1788" y="328"/>
                    </a:lnTo>
                    <a:lnTo>
                      <a:pt x="1792" y="356"/>
                    </a:lnTo>
                    <a:lnTo>
                      <a:pt x="1800" y="386"/>
                    </a:lnTo>
                    <a:lnTo>
                      <a:pt x="1808" y="412"/>
                    </a:lnTo>
                    <a:lnTo>
                      <a:pt x="1820" y="440"/>
                    </a:lnTo>
                    <a:lnTo>
                      <a:pt x="1836" y="464"/>
                    </a:lnTo>
                    <a:lnTo>
                      <a:pt x="1854" y="488"/>
                    </a:lnTo>
                    <a:lnTo>
                      <a:pt x="1874" y="512"/>
                    </a:lnTo>
                    <a:lnTo>
                      <a:pt x="2542" y="1206"/>
                    </a:lnTo>
                    <a:lnTo>
                      <a:pt x="282" y="1206"/>
                    </a:lnTo>
                    <a:lnTo>
                      <a:pt x="282" y="1206"/>
                    </a:lnTo>
                    <a:lnTo>
                      <a:pt x="252" y="1208"/>
                    </a:lnTo>
                    <a:lnTo>
                      <a:pt x="222" y="1212"/>
                    </a:lnTo>
                    <a:lnTo>
                      <a:pt x="194" y="1218"/>
                    </a:lnTo>
                    <a:lnTo>
                      <a:pt x="168" y="1228"/>
                    </a:lnTo>
                    <a:lnTo>
                      <a:pt x="144" y="1240"/>
                    </a:lnTo>
                    <a:lnTo>
                      <a:pt x="120" y="1254"/>
                    </a:lnTo>
                    <a:lnTo>
                      <a:pt x="98" y="1270"/>
                    </a:lnTo>
                    <a:lnTo>
                      <a:pt x="78" y="1288"/>
                    </a:lnTo>
                    <a:lnTo>
                      <a:pt x="60" y="1308"/>
                    </a:lnTo>
                    <a:lnTo>
                      <a:pt x="46" y="1330"/>
                    </a:lnTo>
                    <a:lnTo>
                      <a:pt x="32" y="1354"/>
                    </a:lnTo>
                    <a:lnTo>
                      <a:pt x="20" y="1378"/>
                    </a:lnTo>
                    <a:lnTo>
                      <a:pt x="12" y="1406"/>
                    </a:lnTo>
                    <a:lnTo>
                      <a:pt x="4" y="1434"/>
                    </a:lnTo>
                    <a:lnTo>
                      <a:pt x="0" y="1462"/>
                    </a:lnTo>
                    <a:lnTo>
                      <a:pt x="0" y="1494"/>
                    </a:lnTo>
                    <a:lnTo>
                      <a:pt x="0" y="1494"/>
                    </a:lnTo>
                    <a:lnTo>
                      <a:pt x="0" y="1524"/>
                    </a:lnTo>
                    <a:lnTo>
                      <a:pt x="6" y="1554"/>
                    </a:lnTo>
                    <a:lnTo>
                      <a:pt x="12" y="1582"/>
                    </a:lnTo>
                    <a:lnTo>
                      <a:pt x="22" y="1610"/>
                    </a:lnTo>
                    <a:lnTo>
                      <a:pt x="34" y="1636"/>
                    </a:lnTo>
                    <a:lnTo>
                      <a:pt x="50" y="1662"/>
                    </a:lnTo>
                    <a:lnTo>
                      <a:pt x="66" y="1686"/>
                    </a:lnTo>
                    <a:lnTo>
                      <a:pt x="86" y="1706"/>
                    </a:lnTo>
                    <a:lnTo>
                      <a:pt x="106" y="1726"/>
                    </a:lnTo>
                    <a:lnTo>
                      <a:pt x="130" y="1744"/>
                    </a:lnTo>
                    <a:lnTo>
                      <a:pt x="154" y="1758"/>
                    </a:lnTo>
                    <a:lnTo>
                      <a:pt x="180" y="1772"/>
                    </a:lnTo>
                    <a:lnTo>
                      <a:pt x="208" y="1782"/>
                    </a:lnTo>
                    <a:lnTo>
                      <a:pt x="236" y="1790"/>
                    </a:lnTo>
                    <a:lnTo>
                      <a:pt x="266" y="1794"/>
                    </a:lnTo>
                    <a:lnTo>
                      <a:pt x="296" y="1796"/>
                    </a:lnTo>
                    <a:lnTo>
                      <a:pt x="2564" y="1796"/>
                    </a:lnTo>
                    <a:lnTo>
                      <a:pt x="1876" y="2488"/>
                    </a:lnTo>
                    <a:lnTo>
                      <a:pt x="1876" y="2488"/>
                    </a:lnTo>
                    <a:lnTo>
                      <a:pt x="1856" y="2512"/>
                    </a:lnTo>
                    <a:lnTo>
                      <a:pt x="1838" y="2536"/>
                    </a:lnTo>
                    <a:lnTo>
                      <a:pt x="1822" y="2560"/>
                    </a:lnTo>
                    <a:lnTo>
                      <a:pt x="1810" y="2588"/>
                    </a:lnTo>
                    <a:lnTo>
                      <a:pt x="1802" y="2614"/>
                    </a:lnTo>
                    <a:lnTo>
                      <a:pt x="1794" y="2644"/>
                    </a:lnTo>
                    <a:lnTo>
                      <a:pt x="1790" y="2672"/>
                    </a:lnTo>
                    <a:lnTo>
                      <a:pt x="1788" y="2700"/>
                    </a:lnTo>
                    <a:lnTo>
                      <a:pt x="1790" y="2730"/>
                    </a:lnTo>
                    <a:lnTo>
                      <a:pt x="1794" y="2758"/>
                    </a:lnTo>
                    <a:lnTo>
                      <a:pt x="1802" y="2786"/>
                    </a:lnTo>
                    <a:lnTo>
                      <a:pt x="1810" y="2814"/>
                    </a:lnTo>
                    <a:lnTo>
                      <a:pt x="1822" y="2840"/>
                    </a:lnTo>
                    <a:lnTo>
                      <a:pt x="1838" y="2866"/>
                    </a:lnTo>
                    <a:lnTo>
                      <a:pt x="1856" y="2890"/>
                    </a:lnTo>
                    <a:lnTo>
                      <a:pt x="1876" y="2912"/>
                    </a:lnTo>
                    <a:lnTo>
                      <a:pt x="1876" y="2912"/>
                    </a:lnTo>
                    <a:lnTo>
                      <a:pt x="1898" y="2934"/>
                    </a:lnTo>
                    <a:lnTo>
                      <a:pt x="1922" y="2952"/>
                    </a:lnTo>
                    <a:lnTo>
                      <a:pt x="1948" y="2966"/>
                    </a:lnTo>
                    <a:lnTo>
                      <a:pt x="1974" y="2978"/>
                    </a:lnTo>
                    <a:lnTo>
                      <a:pt x="2002" y="2988"/>
                    </a:lnTo>
                    <a:lnTo>
                      <a:pt x="2030" y="2996"/>
                    </a:lnTo>
                    <a:lnTo>
                      <a:pt x="2058" y="3000"/>
                    </a:lnTo>
                    <a:lnTo>
                      <a:pt x="2086" y="3000"/>
                    </a:lnTo>
                    <a:lnTo>
                      <a:pt x="2116" y="3000"/>
                    </a:lnTo>
                    <a:lnTo>
                      <a:pt x="2144" y="2996"/>
                    </a:lnTo>
                    <a:lnTo>
                      <a:pt x="2172" y="2988"/>
                    </a:lnTo>
                    <a:lnTo>
                      <a:pt x="2198" y="2978"/>
                    </a:lnTo>
                    <a:lnTo>
                      <a:pt x="2226" y="2966"/>
                    </a:lnTo>
                    <a:lnTo>
                      <a:pt x="2250" y="2952"/>
                    </a:lnTo>
                    <a:lnTo>
                      <a:pt x="2274" y="2934"/>
                    </a:lnTo>
                    <a:lnTo>
                      <a:pt x="2298" y="2912"/>
                    </a:lnTo>
                    <a:lnTo>
                      <a:pt x="3484" y="1712"/>
                    </a:lnTo>
                    <a:lnTo>
                      <a:pt x="3484" y="1712"/>
                    </a:lnTo>
                    <a:lnTo>
                      <a:pt x="3506" y="1688"/>
                    </a:lnTo>
                    <a:lnTo>
                      <a:pt x="3524" y="1662"/>
                    </a:lnTo>
                    <a:lnTo>
                      <a:pt x="3540" y="1636"/>
                    </a:lnTo>
                    <a:lnTo>
                      <a:pt x="3554" y="1610"/>
                    </a:lnTo>
                    <a:lnTo>
                      <a:pt x="3564" y="1582"/>
                    </a:lnTo>
                    <a:lnTo>
                      <a:pt x="3570" y="1554"/>
                    </a:lnTo>
                    <a:lnTo>
                      <a:pt x="3574" y="1526"/>
                    </a:lnTo>
                    <a:lnTo>
                      <a:pt x="3574" y="1496"/>
                    </a:lnTo>
                    <a:lnTo>
                      <a:pt x="3572" y="1468"/>
                    </a:lnTo>
                    <a:lnTo>
                      <a:pt x="3568" y="1440"/>
                    </a:lnTo>
                    <a:lnTo>
                      <a:pt x="3560" y="1412"/>
                    </a:lnTo>
                    <a:lnTo>
                      <a:pt x="3548" y="1384"/>
                    </a:lnTo>
                    <a:lnTo>
                      <a:pt x="3534" y="1356"/>
                    </a:lnTo>
                    <a:lnTo>
                      <a:pt x="3516" y="1328"/>
                    </a:lnTo>
                    <a:lnTo>
                      <a:pt x="3496" y="1302"/>
                    </a:lnTo>
                    <a:lnTo>
                      <a:pt x="3474" y="1278"/>
                    </a:ln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grpSp>
        <p:nvGrpSpPr>
          <p:cNvPr id="410" name="Group 409">
            <a:extLst>
              <a:ext uri="{FF2B5EF4-FFF2-40B4-BE49-F238E27FC236}">
                <a16:creationId xmlns:a16="http://schemas.microsoft.com/office/drawing/2014/main" id="{CB324B66-5969-414A-BC11-4499B9D3DC83}"/>
              </a:ext>
            </a:extLst>
          </p:cNvPr>
          <p:cNvGrpSpPr/>
          <p:nvPr/>
        </p:nvGrpSpPr>
        <p:grpSpPr>
          <a:xfrm>
            <a:off x="5333287" y="5671379"/>
            <a:ext cx="1924317" cy="609600"/>
            <a:chOff x="3645863" y="2070863"/>
            <a:chExt cx="1443238" cy="457200"/>
          </a:xfrm>
        </p:grpSpPr>
        <p:sp>
          <p:nvSpPr>
            <p:cNvPr id="411" name="Freeform 8">
              <a:extLst>
                <a:ext uri="{FF2B5EF4-FFF2-40B4-BE49-F238E27FC236}">
                  <a16:creationId xmlns:a16="http://schemas.microsoft.com/office/drawing/2014/main" id="{7F1662A5-0150-4C34-8C7C-613E3B661836}"/>
                </a:ext>
              </a:extLst>
            </p:cNvPr>
            <p:cNvSpPr>
              <a:spLocks/>
            </p:cNvSpPr>
            <p:nvPr/>
          </p:nvSpPr>
          <p:spPr bwMode="auto">
            <a:xfrm>
              <a:off x="3645863" y="2071977"/>
              <a:ext cx="1443238" cy="454973"/>
            </a:xfrm>
            <a:prstGeom prst="roundRect">
              <a:avLst>
                <a:gd name="adj" fmla="val 50000"/>
              </a:avLst>
            </a:prstGeom>
            <a:solidFill>
              <a:srgbClr val="00BCEB"/>
            </a:solidFill>
            <a:ln>
              <a:noFill/>
            </a:ln>
          </p:spPr>
          <p:txBody>
            <a:bodyPr vert="horz" wrap="square" lIns="609600" tIns="60960" rIns="0" bIns="60960" numCol="1" anchor="ctr" anchorCtr="0" compatLnSpc="1">
              <a:prstTxWarp prst="textNoShape">
                <a:avLst/>
              </a:prstTxWarp>
            </a:bodyPr>
            <a:lstStyle/>
            <a:p>
              <a:pPr defTabSz="914340" fontAlgn="base">
                <a:lnSpc>
                  <a:spcPct val="90000"/>
                </a:lnSpc>
                <a:spcBef>
                  <a:spcPct val="0"/>
                </a:spcBef>
                <a:spcAft>
                  <a:spcPct val="0"/>
                </a:spcAft>
                <a:defRPr/>
              </a:pPr>
              <a:r>
                <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rPr>
                <a:t>Confirmed Incidents</a:t>
              </a:r>
            </a:p>
          </p:txBody>
        </p:sp>
        <p:sp>
          <p:nvSpPr>
            <p:cNvPr id="412" name="Oval 411">
              <a:extLst>
                <a:ext uri="{FF2B5EF4-FFF2-40B4-BE49-F238E27FC236}">
                  <a16:creationId xmlns:a16="http://schemas.microsoft.com/office/drawing/2014/main" id="{BADB370A-5A3E-4DF2-B308-79C9776CEC37}"/>
                </a:ext>
              </a:extLst>
            </p:cNvPr>
            <p:cNvSpPr/>
            <p:nvPr/>
          </p:nvSpPr>
          <p:spPr>
            <a:xfrm rot="3685780">
              <a:off x="3646486" y="2070863"/>
              <a:ext cx="457200" cy="457200"/>
            </a:xfrm>
            <a:prstGeom prst="ellipse">
              <a:avLst/>
            </a:prstGeom>
            <a:solidFill>
              <a:srgbClr val="005073"/>
            </a:solidFill>
            <a:ln w="25400" cap="flat" cmpd="sng" algn="ctr">
              <a:noFill/>
              <a:prstDash val="solid"/>
            </a:ln>
            <a:effectLst/>
          </p:spPr>
          <p:txBody>
            <a:bodyPr rtlCol="0" anchor="ctr"/>
            <a:lstStyle/>
            <a:p>
              <a:pPr algn="ctr" defTabSz="609585" fontAlgn="base">
                <a:spcBef>
                  <a:spcPct val="0"/>
                </a:spcBef>
                <a:spcAft>
                  <a:spcPct val="0"/>
                </a:spcAft>
                <a:defRPr/>
              </a:pPr>
              <a:endParaRPr lang="en-US" sz="1600">
                <a:solidFill>
                  <a:srgbClr val="FFFFFF"/>
                </a:solidFill>
                <a:latin typeface="CiscoSansTT ExtraLight" panose="020B0303020201020303" pitchFamily="34" charset="0"/>
                <a:cs typeface="CiscoSansTT ExtraLight" panose="020B0303020201020303" pitchFamily="34" charset="0"/>
                <a:sym typeface="Arial"/>
              </a:endParaRPr>
            </a:p>
          </p:txBody>
        </p:sp>
        <p:sp>
          <p:nvSpPr>
            <p:cNvPr id="413" name="Freeform 7">
              <a:extLst>
                <a:ext uri="{FF2B5EF4-FFF2-40B4-BE49-F238E27FC236}">
                  <a16:creationId xmlns:a16="http://schemas.microsoft.com/office/drawing/2014/main" id="{F3AFC8FF-C65A-4EB9-B300-357059851303}"/>
                </a:ext>
              </a:extLst>
            </p:cNvPr>
            <p:cNvSpPr>
              <a:spLocks noEditPoints="1"/>
            </p:cNvSpPr>
            <p:nvPr/>
          </p:nvSpPr>
          <p:spPr bwMode="auto">
            <a:xfrm>
              <a:off x="3878827" y="2138244"/>
              <a:ext cx="123649" cy="133480"/>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rgbClr val="FFFFFF"/>
            </a:solidFill>
            <a:ln w="19050" cap="flat" cmpd="sng">
              <a:noFill/>
              <a:prstDash val="solid"/>
              <a:round/>
              <a:headEnd type="none" w="med" len="med"/>
              <a:tailEnd type="none" w="med" len="med"/>
            </a:ln>
            <a:effectLst/>
          </p:spPr>
          <p:txBody>
            <a:bodyPr lIns="121909" tIns="60955" rIns="121909" bIns="60955"/>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grpSp>
          <p:nvGrpSpPr>
            <p:cNvPr id="414" name="Group 413">
              <a:extLst>
                <a:ext uri="{FF2B5EF4-FFF2-40B4-BE49-F238E27FC236}">
                  <a16:creationId xmlns:a16="http://schemas.microsoft.com/office/drawing/2014/main" id="{DB85619B-BE66-4849-B183-F73694E6D6E4}"/>
                </a:ext>
              </a:extLst>
            </p:cNvPr>
            <p:cNvGrpSpPr/>
            <p:nvPr/>
          </p:nvGrpSpPr>
          <p:grpSpPr>
            <a:xfrm>
              <a:off x="3769631" y="2255474"/>
              <a:ext cx="201167" cy="173726"/>
              <a:chOff x="3859466" y="1735167"/>
              <a:chExt cx="1421332" cy="1227452"/>
            </a:xfrm>
          </p:grpSpPr>
          <p:sp>
            <p:nvSpPr>
              <p:cNvPr id="429" name="Freeform 45">
                <a:extLst>
                  <a:ext uri="{FF2B5EF4-FFF2-40B4-BE49-F238E27FC236}">
                    <a16:creationId xmlns:a16="http://schemas.microsoft.com/office/drawing/2014/main" id="{CF1042E9-C887-49B8-983A-1B53F74CF8D1}"/>
                  </a:ext>
                </a:extLst>
              </p:cNvPr>
              <p:cNvSpPr>
                <a:spLocks/>
              </p:cNvSpPr>
              <p:nvPr/>
            </p:nvSpPr>
            <p:spPr bwMode="auto">
              <a:xfrm>
                <a:off x="3859466" y="1735167"/>
                <a:ext cx="1421332" cy="1227452"/>
              </a:xfrm>
              <a:custGeom>
                <a:avLst/>
                <a:gdLst>
                  <a:gd name="T0" fmla="*/ 218 w 449"/>
                  <a:gd name="T1" fmla="*/ 5 h 388"/>
                  <a:gd name="T2" fmla="*/ 3 w 449"/>
                  <a:gd name="T3" fmla="*/ 376 h 388"/>
                  <a:gd name="T4" fmla="*/ 10 w 449"/>
                  <a:gd name="T5" fmla="*/ 388 h 388"/>
                  <a:gd name="T6" fmla="*/ 439 w 449"/>
                  <a:gd name="T7" fmla="*/ 388 h 388"/>
                  <a:gd name="T8" fmla="*/ 446 w 449"/>
                  <a:gd name="T9" fmla="*/ 376 h 388"/>
                  <a:gd name="T10" fmla="*/ 231 w 449"/>
                  <a:gd name="T11" fmla="*/ 5 h 388"/>
                  <a:gd name="T12" fmla="*/ 218 w 449"/>
                  <a:gd name="T13" fmla="*/ 5 h 388"/>
                </a:gdLst>
                <a:ahLst/>
                <a:cxnLst>
                  <a:cxn ang="0">
                    <a:pos x="T0" y="T1"/>
                  </a:cxn>
                  <a:cxn ang="0">
                    <a:pos x="T2" y="T3"/>
                  </a:cxn>
                  <a:cxn ang="0">
                    <a:pos x="T4" y="T5"/>
                  </a:cxn>
                  <a:cxn ang="0">
                    <a:pos x="T6" y="T7"/>
                  </a:cxn>
                  <a:cxn ang="0">
                    <a:pos x="T8" y="T9"/>
                  </a:cxn>
                  <a:cxn ang="0">
                    <a:pos x="T10" y="T11"/>
                  </a:cxn>
                  <a:cxn ang="0">
                    <a:pos x="T12" y="T13"/>
                  </a:cxn>
                </a:cxnLst>
                <a:rect l="0" t="0" r="r" b="b"/>
                <a:pathLst>
                  <a:path w="449" h="388">
                    <a:moveTo>
                      <a:pt x="218" y="5"/>
                    </a:moveTo>
                    <a:cubicBezTo>
                      <a:pt x="3" y="376"/>
                      <a:pt x="3" y="376"/>
                      <a:pt x="3" y="376"/>
                    </a:cubicBezTo>
                    <a:cubicBezTo>
                      <a:pt x="0" y="381"/>
                      <a:pt x="4" y="388"/>
                      <a:pt x="10" y="388"/>
                    </a:cubicBezTo>
                    <a:cubicBezTo>
                      <a:pt x="439" y="388"/>
                      <a:pt x="439" y="388"/>
                      <a:pt x="439" y="388"/>
                    </a:cubicBezTo>
                    <a:cubicBezTo>
                      <a:pt x="445" y="388"/>
                      <a:pt x="449" y="381"/>
                      <a:pt x="446" y="376"/>
                    </a:cubicBezTo>
                    <a:cubicBezTo>
                      <a:pt x="231" y="5"/>
                      <a:pt x="231" y="5"/>
                      <a:pt x="231" y="5"/>
                    </a:cubicBezTo>
                    <a:cubicBezTo>
                      <a:pt x="228" y="0"/>
                      <a:pt x="221" y="0"/>
                      <a:pt x="218" y="5"/>
                    </a:cubicBezTo>
                    <a:close/>
                  </a:path>
                </a:pathLst>
              </a:custGeom>
              <a:solidFill>
                <a:srgbClr val="FAAC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30" name="Oval 47">
                <a:extLst>
                  <a:ext uri="{FF2B5EF4-FFF2-40B4-BE49-F238E27FC236}">
                    <a16:creationId xmlns:a16="http://schemas.microsoft.com/office/drawing/2014/main" id="{C1AA363B-9862-4D23-A3D4-998CAF687820}"/>
                  </a:ext>
                </a:extLst>
              </p:cNvPr>
              <p:cNvSpPr>
                <a:spLocks noChangeArrowheads="1"/>
              </p:cNvSpPr>
              <p:nvPr/>
            </p:nvSpPr>
            <p:spPr bwMode="auto">
              <a:xfrm>
                <a:off x="4270691" y="2210574"/>
                <a:ext cx="608240" cy="6082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31" name="Freeform 46">
                <a:extLst>
                  <a:ext uri="{FF2B5EF4-FFF2-40B4-BE49-F238E27FC236}">
                    <a16:creationId xmlns:a16="http://schemas.microsoft.com/office/drawing/2014/main" id="{A84AB699-9A15-44E9-AEB2-96FAF4816F33}"/>
                  </a:ext>
                </a:extLst>
              </p:cNvPr>
              <p:cNvSpPr>
                <a:spLocks noEditPoints="1"/>
              </p:cNvSpPr>
              <p:nvPr/>
            </p:nvSpPr>
            <p:spPr bwMode="auto">
              <a:xfrm>
                <a:off x="4239201" y="2181756"/>
                <a:ext cx="671221" cy="665873"/>
              </a:xfrm>
              <a:custGeom>
                <a:avLst/>
                <a:gdLst>
                  <a:gd name="T0" fmla="*/ 0 w 212"/>
                  <a:gd name="T1" fmla="*/ 106 h 211"/>
                  <a:gd name="T2" fmla="*/ 106 w 212"/>
                  <a:gd name="T3" fmla="*/ 0 h 211"/>
                  <a:gd name="T4" fmla="*/ 212 w 212"/>
                  <a:gd name="T5" fmla="*/ 106 h 211"/>
                  <a:gd name="T6" fmla="*/ 106 w 212"/>
                  <a:gd name="T7" fmla="*/ 211 h 211"/>
                  <a:gd name="T8" fmla="*/ 0 w 212"/>
                  <a:gd name="T9" fmla="*/ 106 h 211"/>
                  <a:gd name="T10" fmla="*/ 20 w 212"/>
                  <a:gd name="T11" fmla="*/ 106 h 211"/>
                  <a:gd name="T12" fmla="*/ 106 w 212"/>
                  <a:gd name="T13" fmla="*/ 192 h 211"/>
                  <a:gd name="T14" fmla="*/ 192 w 212"/>
                  <a:gd name="T15" fmla="*/ 106 h 211"/>
                  <a:gd name="T16" fmla="*/ 106 w 212"/>
                  <a:gd name="T17" fmla="*/ 19 h 211"/>
                  <a:gd name="T18" fmla="*/ 20 w 212"/>
                  <a:gd name="T1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1">
                    <a:moveTo>
                      <a:pt x="0" y="106"/>
                    </a:moveTo>
                    <a:cubicBezTo>
                      <a:pt x="0" y="47"/>
                      <a:pt x="48" y="0"/>
                      <a:pt x="106" y="0"/>
                    </a:cubicBezTo>
                    <a:cubicBezTo>
                      <a:pt x="165" y="0"/>
                      <a:pt x="212" y="47"/>
                      <a:pt x="212" y="106"/>
                    </a:cubicBezTo>
                    <a:cubicBezTo>
                      <a:pt x="212" y="164"/>
                      <a:pt x="165" y="211"/>
                      <a:pt x="106" y="211"/>
                    </a:cubicBezTo>
                    <a:cubicBezTo>
                      <a:pt x="48" y="211"/>
                      <a:pt x="0" y="164"/>
                      <a:pt x="0" y="106"/>
                    </a:cubicBezTo>
                    <a:close/>
                    <a:moveTo>
                      <a:pt x="20" y="106"/>
                    </a:moveTo>
                    <a:cubicBezTo>
                      <a:pt x="20" y="153"/>
                      <a:pt x="59" y="192"/>
                      <a:pt x="106" y="192"/>
                    </a:cubicBezTo>
                    <a:cubicBezTo>
                      <a:pt x="154" y="192"/>
                      <a:pt x="192" y="153"/>
                      <a:pt x="192" y="106"/>
                    </a:cubicBezTo>
                    <a:cubicBezTo>
                      <a:pt x="192" y="58"/>
                      <a:pt x="154" y="19"/>
                      <a:pt x="106" y="19"/>
                    </a:cubicBezTo>
                    <a:cubicBezTo>
                      <a:pt x="59" y="19"/>
                      <a:pt x="20" y="58"/>
                      <a:pt x="20" y="106"/>
                    </a:cubicBezTo>
                    <a:close/>
                  </a:path>
                </a:pathLst>
              </a:custGeom>
              <a:solidFill>
                <a:srgbClr val="E3241B"/>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32" name="Freeform 48">
                <a:extLst>
                  <a:ext uri="{FF2B5EF4-FFF2-40B4-BE49-F238E27FC236}">
                    <a16:creationId xmlns:a16="http://schemas.microsoft.com/office/drawing/2014/main" id="{B081FAF0-3317-40DC-A4AB-9B3BBEB9DA35}"/>
                  </a:ext>
                </a:extLst>
              </p:cNvPr>
              <p:cNvSpPr>
                <a:spLocks/>
              </p:cNvSpPr>
              <p:nvPr/>
            </p:nvSpPr>
            <p:spPr bwMode="auto">
              <a:xfrm>
                <a:off x="4538211" y="2309778"/>
                <a:ext cx="63845" cy="276602"/>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E3241B"/>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33" name="Oval 49">
                <a:extLst>
                  <a:ext uri="{FF2B5EF4-FFF2-40B4-BE49-F238E27FC236}">
                    <a16:creationId xmlns:a16="http://schemas.microsoft.com/office/drawing/2014/main" id="{9792F063-75B0-45A1-A53B-B10F0A3FCD30}"/>
                  </a:ext>
                </a:extLst>
              </p:cNvPr>
              <p:cNvSpPr>
                <a:spLocks noChangeArrowheads="1"/>
              </p:cNvSpPr>
              <p:nvPr/>
            </p:nvSpPr>
            <p:spPr bwMode="auto">
              <a:xfrm>
                <a:off x="4535199" y="2633285"/>
                <a:ext cx="66855" cy="65518"/>
              </a:xfrm>
              <a:prstGeom prst="ellipse">
                <a:avLst/>
              </a:prstGeom>
              <a:solidFill>
                <a:srgbClr val="E3241B"/>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grpSp>
        <p:grpSp>
          <p:nvGrpSpPr>
            <p:cNvPr id="415" name="Group 414">
              <a:extLst>
                <a:ext uri="{FF2B5EF4-FFF2-40B4-BE49-F238E27FC236}">
                  <a16:creationId xmlns:a16="http://schemas.microsoft.com/office/drawing/2014/main" id="{087A21BC-323F-4705-9C9A-02BB5B5F2037}"/>
                </a:ext>
              </a:extLst>
            </p:cNvPr>
            <p:cNvGrpSpPr>
              <a:grpSpLocks noChangeAspect="1"/>
            </p:cNvGrpSpPr>
            <p:nvPr/>
          </p:nvGrpSpPr>
          <p:grpSpPr>
            <a:xfrm rot="1720296" flipH="1">
              <a:off x="3723531" y="2091304"/>
              <a:ext cx="113486" cy="252852"/>
              <a:chOff x="3397754" y="2632075"/>
              <a:chExt cx="693234" cy="1544637"/>
            </a:xfrm>
          </p:grpSpPr>
          <p:sp>
            <p:nvSpPr>
              <p:cNvPr id="416" name="Freeform 110">
                <a:extLst>
                  <a:ext uri="{FF2B5EF4-FFF2-40B4-BE49-F238E27FC236}">
                    <a16:creationId xmlns:a16="http://schemas.microsoft.com/office/drawing/2014/main" id="{C9C6BC4D-F8DA-47C9-8CCD-239838A51C52}"/>
                  </a:ext>
                </a:extLst>
              </p:cNvPr>
              <p:cNvSpPr>
                <a:spLocks/>
              </p:cNvSpPr>
              <p:nvPr/>
            </p:nvSpPr>
            <p:spPr bwMode="auto">
              <a:xfrm>
                <a:off x="3422650" y="2881312"/>
                <a:ext cx="258763" cy="236537"/>
              </a:xfrm>
              <a:custGeom>
                <a:avLst/>
                <a:gdLst>
                  <a:gd name="T0" fmla="*/ 0 w 148"/>
                  <a:gd name="T1" fmla="*/ 0 h 135"/>
                  <a:gd name="T2" fmla="*/ 79 w 148"/>
                  <a:gd name="T3" fmla="*/ 119 h 135"/>
                  <a:gd name="T4" fmla="*/ 108 w 148"/>
                  <a:gd name="T5" fmla="*/ 135 h 135"/>
                  <a:gd name="T6" fmla="*/ 128 w 148"/>
                  <a:gd name="T7" fmla="*/ 129 h 135"/>
                  <a:gd name="T8" fmla="*/ 137 w 148"/>
                  <a:gd name="T9" fmla="*/ 80 h 135"/>
                  <a:gd name="T10" fmla="*/ 98 w 148"/>
                  <a:gd name="T11" fmla="*/ 20 h 135"/>
                  <a:gd name="T12" fmla="*/ 25 w 148"/>
                  <a:gd name="T13" fmla="*/ 11 h 135"/>
                  <a:gd name="T14" fmla="*/ 0 w 148"/>
                  <a:gd name="T15" fmla="*/ 0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35">
                    <a:moveTo>
                      <a:pt x="0" y="0"/>
                    </a:moveTo>
                    <a:cubicBezTo>
                      <a:pt x="79" y="119"/>
                      <a:pt x="79" y="119"/>
                      <a:pt x="79" y="119"/>
                    </a:cubicBezTo>
                    <a:cubicBezTo>
                      <a:pt x="85" y="129"/>
                      <a:pt x="97" y="135"/>
                      <a:pt x="108" y="135"/>
                    </a:cubicBezTo>
                    <a:cubicBezTo>
                      <a:pt x="115" y="135"/>
                      <a:pt x="122" y="133"/>
                      <a:pt x="128" y="129"/>
                    </a:cubicBezTo>
                    <a:cubicBezTo>
                      <a:pt x="144" y="118"/>
                      <a:pt x="148" y="96"/>
                      <a:pt x="137" y="80"/>
                    </a:cubicBezTo>
                    <a:cubicBezTo>
                      <a:pt x="98" y="20"/>
                      <a:pt x="98" y="20"/>
                      <a:pt x="98" y="20"/>
                    </a:cubicBezTo>
                    <a:cubicBezTo>
                      <a:pt x="74" y="14"/>
                      <a:pt x="50" y="11"/>
                      <a:pt x="25" y="11"/>
                    </a:cubicBezTo>
                    <a:cubicBezTo>
                      <a:pt x="15" y="11"/>
                      <a:pt x="6" y="7"/>
                      <a:pt x="0" y="0"/>
                    </a:cubicBezTo>
                  </a:path>
                </a:pathLst>
              </a:custGeom>
              <a:solidFill>
                <a:srgbClr val="FBAB18"/>
              </a:solidFill>
              <a:ln w="12700">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17" name="Freeform 111">
                <a:extLst>
                  <a:ext uri="{FF2B5EF4-FFF2-40B4-BE49-F238E27FC236}">
                    <a16:creationId xmlns:a16="http://schemas.microsoft.com/office/drawing/2014/main" id="{D0D9CE2E-FE21-4FC9-8528-B36654AD3C12}"/>
                  </a:ext>
                </a:extLst>
              </p:cNvPr>
              <p:cNvSpPr>
                <a:spLocks/>
              </p:cNvSpPr>
              <p:nvPr/>
            </p:nvSpPr>
            <p:spPr bwMode="auto">
              <a:xfrm>
                <a:off x="3409950" y="2632075"/>
                <a:ext cx="344488" cy="177800"/>
              </a:xfrm>
              <a:custGeom>
                <a:avLst/>
                <a:gdLst>
                  <a:gd name="T0" fmla="*/ 157 w 197"/>
                  <a:gd name="T1" fmla="*/ 0 h 102"/>
                  <a:gd name="T2" fmla="*/ 137 w 197"/>
                  <a:gd name="T3" fmla="*/ 5 h 102"/>
                  <a:gd name="T4" fmla="*/ 12 w 197"/>
                  <a:gd name="T5" fmla="*/ 88 h 102"/>
                  <a:gd name="T6" fmla="*/ 0 w 197"/>
                  <a:gd name="T7" fmla="*/ 102 h 102"/>
                  <a:gd name="T8" fmla="*/ 0 w 197"/>
                  <a:gd name="T9" fmla="*/ 102 h 102"/>
                  <a:gd name="T10" fmla="*/ 12 w 197"/>
                  <a:gd name="T11" fmla="*/ 88 h 102"/>
                  <a:gd name="T12" fmla="*/ 32 w 197"/>
                  <a:gd name="T13" fmla="*/ 82 h 102"/>
                  <a:gd name="T14" fmla="*/ 39 w 197"/>
                  <a:gd name="T15" fmla="*/ 83 h 102"/>
                  <a:gd name="T16" fmla="*/ 128 w 197"/>
                  <a:gd name="T17" fmla="*/ 96 h 102"/>
                  <a:gd name="T18" fmla="*/ 176 w 197"/>
                  <a:gd name="T19" fmla="*/ 64 h 102"/>
                  <a:gd name="T20" fmla="*/ 186 w 197"/>
                  <a:gd name="T21" fmla="*/ 15 h 102"/>
                  <a:gd name="T22" fmla="*/ 157 w 197"/>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102">
                    <a:moveTo>
                      <a:pt x="157" y="0"/>
                    </a:moveTo>
                    <a:cubicBezTo>
                      <a:pt x="150" y="0"/>
                      <a:pt x="143" y="1"/>
                      <a:pt x="137" y="5"/>
                    </a:cubicBezTo>
                    <a:cubicBezTo>
                      <a:pt x="12" y="88"/>
                      <a:pt x="12" y="88"/>
                      <a:pt x="12" y="88"/>
                    </a:cubicBezTo>
                    <a:cubicBezTo>
                      <a:pt x="7" y="92"/>
                      <a:pt x="3" y="97"/>
                      <a:pt x="0" y="102"/>
                    </a:cubicBezTo>
                    <a:cubicBezTo>
                      <a:pt x="0" y="102"/>
                      <a:pt x="0" y="102"/>
                      <a:pt x="0" y="102"/>
                    </a:cubicBezTo>
                    <a:cubicBezTo>
                      <a:pt x="3" y="97"/>
                      <a:pt x="7" y="92"/>
                      <a:pt x="12" y="88"/>
                    </a:cubicBezTo>
                    <a:cubicBezTo>
                      <a:pt x="18" y="84"/>
                      <a:pt x="25" y="82"/>
                      <a:pt x="32" y="82"/>
                    </a:cubicBezTo>
                    <a:cubicBezTo>
                      <a:pt x="34" y="82"/>
                      <a:pt x="37" y="83"/>
                      <a:pt x="39" y="83"/>
                    </a:cubicBezTo>
                    <a:cubicBezTo>
                      <a:pt x="70" y="84"/>
                      <a:pt x="100" y="88"/>
                      <a:pt x="128" y="96"/>
                    </a:cubicBezTo>
                    <a:cubicBezTo>
                      <a:pt x="176" y="64"/>
                      <a:pt x="176" y="64"/>
                      <a:pt x="176" y="64"/>
                    </a:cubicBezTo>
                    <a:cubicBezTo>
                      <a:pt x="193" y="53"/>
                      <a:pt x="197" y="32"/>
                      <a:pt x="186" y="15"/>
                    </a:cubicBezTo>
                    <a:cubicBezTo>
                      <a:pt x="179" y="5"/>
                      <a:pt x="168" y="0"/>
                      <a:pt x="157" y="0"/>
                    </a:cubicBezTo>
                  </a:path>
                </a:pathLst>
              </a:custGeom>
              <a:solidFill>
                <a:srgbClr val="FBAB18"/>
              </a:solidFill>
              <a:ln w="12700">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18" name="Freeform 112">
                <a:extLst>
                  <a:ext uri="{FF2B5EF4-FFF2-40B4-BE49-F238E27FC236}">
                    <a16:creationId xmlns:a16="http://schemas.microsoft.com/office/drawing/2014/main" id="{61197E9F-9C7A-4A0B-ADB3-EDC8D8FD504E}"/>
                  </a:ext>
                </a:extLst>
              </p:cNvPr>
              <p:cNvSpPr>
                <a:spLocks/>
              </p:cNvSpPr>
              <p:nvPr/>
            </p:nvSpPr>
            <p:spPr bwMode="auto">
              <a:xfrm>
                <a:off x="3409950" y="2774950"/>
                <a:ext cx="68263" cy="34925"/>
              </a:xfrm>
              <a:custGeom>
                <a:avLst/>
                <a:gdLst>
                  <a:gd name="T0" fmla="*/ 32 w 39"/>
                  <a:gd name="T1" fmla="*/ 0 h 20"/>
                  <a:gd name="T2" fmla="*/ 12 w 39"/>
                  <a:gd name="T3" fmla="*/ 6 h 20"/>
                  <a:gd name="T4" fmla="*/ 0 w 39"/>
                  <a:gd name="T5" fmla="*/ 20 h 20"/>
                  <a:gd name="T6" fmla="*/ 32 w 39"/>
                  <a:gd name="T7" fmla="*/ 1 h 20"/>
                  <a:gd name="T8" fmla="*/ 32 w 39"/>
                  <a:gd name="T9" fmla="*/ 1 h 20"/>
                  <a:gd name="T10" fmla="*/ 39 w 39"/>
                  <a:gd name="T11" fmla="*/ 1 h 20"/>
                  <a:gd name="T12" fmla="*/ 32 w 3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9" h="20">
                    <a:moveTo>
                      <a:pt x="32" y="0"/>
                    </a:moveTo>
                    <a:cubicBezTo>
                      <a:pt x="25" y="0"/>
                      <a:pt x="18" y="2"/>
                      <a:pt x="12" y="6"/>
                    </a:cubicBezTo>
                    <a:cubicBezTo>
                      <a:pt x="7" y="10"/>
                      <a:pt x="3" y="15"/>
                      <a:pt x="0" y="20"/>
                    </a:cubicBezTo>
                    <a:cubicBezTo>
                      <a:pt x="6" y="9"/>
                      <a:pt x="18" y="1"/>
                      <a:pt x="32" y="1"/>
                    </a:cubicBezTo>
                    <a:cubicBezTo>
                      <a:pt x="32" y="1"/>
                      <a:pt x="32" y="1"/>
                      <a:pt x="32" y="1"/>
                    </a:cubicBezTo>
                    <a:cubicBezTo>
                      <a:pt x="34" y="1"/>
                      <a:pt x="37" y="1"/>
                      <a:pt x="39" y="1"/>
                    </a:cubicBezTo>
                    <a:cubicBezTo>
                      <a:pt x="37" y="1"/>
                      <a:pt x="34" y="0"/>
                      <a:pt x="32" y="0"/>
                    </a:cubicBezTo>
                  </a:path>
                </a:pathLst>
              </a:custGeom>
              <a:solidFill>
                <a:srgbClr val="F77303"/>
              </a:solidFill>
              <a:ln w="9525">
                <a:solidFill>
                  <a:srgbClr val="000000"/>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19" name="Freeform 113">
                <a:extLst>
                  <a:ext uri="{FF2B5EF4-FFF2-40B4-BE49-F238E27FC236}">
                    <a16:creationId xmlns:a16="http://schemas.microsoft.com/office/drawing/2014/main" id="{5287621E-857D-4689-B88E-74B6F5B2FC04}"/>
                  </a:ext>
                </a:extLst>
              </p:cNvPr>
              <p:cNvSpPr>
                <a:spLocks/>
              </p:cNvSpPr>
              <p:nvPr/>
            </p:nvSpPr>
            <p:spPr bwMode="auto">
              <a:xfrm>
                <a:off x="3425825" y="3689349"/>
                <a:ext cx="255588" cy="230187"/>
              </a:xfrm>
              <a:custGeom>
                <a:avLst/>
                <a:gdLst>
                  <a:gd name="T0" fmla="*/ 106 w 146"/>
                  <a:gd name="T1" fmla="*/ 0 h 132"/>
                  <a:gd name="T2" fmla="*/ 77 w 146"/>
                  <a:gd name="T3" fmla="*/ 16 h 132"/>
                  <a:gd name="T4" fmla="*/ 0 w 146"/>
                  <a:gd name="T5" fmla="*/ 132 h 132"/>
                  <a:gd name="T6" fmla="*/ 23 w 146"/>
                  <a:gd name="T7" fmla="*/ 123 h 132"/>
                  <a:gd name="T8" fmla="*/ 97 w 146"/>
                  <a:gd name="T9" fmla="*/ 114 h 132"/>
                  <a:gd name="T10" fmla="*/ 135 w 146"/>
                  <a:gd name="T11" fmla="*/ 55 h 132"/>
                  <a:gd name="T12" fmla="*/ 126 w 146"/>
                  <a:gd name="T13" fmla="*/ 6 h 132"/>
                  <a:gd name="T14" fmla="*/ 106 w 146"/>
                  <a:gd name="T15" fmla="*/ 0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132">
                    <a:moveTo>
                      <a:pt x="106" y="0"/>
                    </a:moveTo>
                    <a:cubicBezTo>
                      <a:pt x="95" y="0"/>
                      <a:pt x="83" y="6"/>
                      <a:pt x="77" y="16"/>
                    </a:cubicBezTo>
                    <a:cubicBezTo>
                      <a:pt x="0" y="132"/>
                      <a:pt x="0" y="132"/>
                      <a:pt x="0" y="132"/>
                    </a:cubicBezTo>
                    <a:cubicBezTo>
                      <a:pt x="6" y="126"/>
                      <a:pt x="14" y="123"/>
                      <a:pt x="23" y="123"/>
                    </a:cubicBezTo>
                    <a:cubicBezTo>
                      <a:pt x="48" y="123"/>
                      <a:pt x="73" y="120"/>
                      <a:pt x="97" y="114"/>
                    </a:cubicBezTo>
                    <a:cubicBezTo>
                      <a:pt x="135" y="55"/>
                      <a:pt x="135" y="55"/>
                      <a:pt x="135" y="55"/>
                    </a:cubicBezTo>
                    <a:cubicBezTo>
                      <a:pt x="146" y="39"/>
                      <a:pt x="142" y="17"/>
                      <a:pt x="126" y="6"/>
                    </a:cubicBezTo>
                    <a:cubicBezTo>
                      <a:pt x="120" y="2"/>
                      <a:pt x="113" y="0"/>
                      <a:pt x="106" y="0"/>
                    </a:cubicBezTo>
                  </a:path>
                </a:pathLst>
              </a:custGeom>
              <a:solidFill>
                <a:srgbClr val="FBAB18"/>
              </a:solidFill>
              <a:ln w="12700">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20" name="Freeform 114">
                <a:extLst>
                  <a:ext uri="{FF2B5EF4-FFF2-40B4-BE49-F238E27FC236}">
                    <a16:creationId xmlns:a16="http://schemas.microsoft.com/office/drawing/2014/main" id="{C9DD244D-F5F2-4CA0-ACCE-A910B6453F56}"/>
                  </a:ext>
                </a:extLst>
              </p:cNvPr>
              <p:cNvSpPr>
                <a:spLocks/>
              </p:cNvSpPr>
              <p:nvPr/>
            </p:nvSpPr>
            <p:spPr bwMode="auto">
              <a:xfrm>
                <a:off x="3430588" y="4005262"/>
                <a:ext cx="323850" cy="171450"/>
              </a:xfrm>
              <a:custGeom>
                <a:avLst/>
                <a:gdLst>
                  <a:gd name="T0" fmla="*/ 115 w 185"/>
                  <a:gd name="T1" fmla="*/ 0 h 98"/>
                  <a:gd name="T2" fmla="*/ 32 w 185"/>
                  <a:gd name="T3" fmla="*/ 13 h 98"/>
                  <a:gd name="T4" fmla="*/ 20 w 185"/>
                  <a:gd name="T5" fmla="*/ 15 h 98"/>
                  <a:gd name="T6" fmla="*/ 0 w 185"/>
                  <a:gd name="T7" fmla="*/ 9 h 98"/>
                  <a:gd name="T8" fmla="*/ 125 w 185"/>
                  <a:gd name="T9" fmla="*/ 92 h 98"/>
                  <a:gd name="T10" fmla="*/ 145 w 185"/>
                  <a:gd name="T11" fmla="*/ 98 h 98"/>
                  <a:gd name="T12" fmla="*/ 174 w 185"/>
                  <a:gd name="T13" fmla="*/ 82 h 98"/>
                  <a:gd name="T14" fmla="*/ 164 w 185"/>
                  <a:gd name="T15" fmla="*/ 33 h 98"/>
                  <a:gd name="T16" fmla="*/ 115 w 185"/>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98">
                    <a:moveTo>
                      <a:pt x="115" y="0"/>
                    </a:moveTo>
                    <a:cubicBezTo>
                      <a:pt x="88" y="7"/>
                      <a:pt x="60" y="12"/>
                      <a:pt x="32" y="13"/>
                    </a:cubicBezTo>
                    <a:cubicBezTo>
                      <a:pt x="28" y="14"/>
                      <a:pt x="24" y="15"/>
                      <a:pt x="20" y="15"/>
                    </a:cubicBezTo>
                    <a:cubicBezTo>
                      <a:pt x="13" y="15"/>
                      <a:pt x="6" y="13"/>
                      <a:pt x="0" y="9"/>
                    </a:cubicBezTo>
                    <a:cubicBezTo>
                      <a:pt x="125" y="92"/>
                      <a:pt x="125" y="92"/>
                      <a:pt x="125" y="92"/>
                    </a:cubicBezTo>
                    <a:cubicBezTo>
                      <a:pt x="131" y="96"/>
                      <a:pt x="138" y="98"/>
                      <a:pt x="145" y="98"/>
                    </a:cubicBezTo>
                    <a:cubicBezTo>
                      <a:pt x="156" y="98"/>
                      <a:pt x="167" y="92"/>
                      <a:pt x="174" y="82"/>
                    </a:cubicBezTo>
                    <a:cubicBezTo>
                      <a:pt x="185" y="66"/>
                      <a:pt x="181" y="44"/>
                      <a:pt x="164" y="33"/>
                    </a:cubicBezTo>
                    <a:cubicBezTo>
                      <a:pt x="115" y="0"/>
                      <a:pt x="115" y="0"/>
                      <a:pt x="115" y="0"/>
                    </a:cubicBezTo>
                  </a:path>
                </a:pathLst>
              </a:custGeom>
              <a:solidFill>
                <a:srgbClr val="FBAB18"/>
              </a:solidFill>
              <a:ln w="12700">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21" name="Freeform 115">
                <a:extLst>
                  <a:ext uri="{FF2B5EF4-FFF2-40B4-BE49-F238E27FC236}">
                    <a16:creationId xmlns:a16="http://schemas.microsoft.com/office/drawing/2014/main" id="{5B2D26B4-E364-492D-9C74-CF8360EC60CE}"/>
                  </a:ext>
                </a:extLst>
              </p:cNvPr>
              <p:cNvSpPr>
                <a:spLocks/>
              </p:cNvSpPr>
              <p:nvPr/>
            </p:nvSpPr>
            <p:spPr bwMode="auto">
              <a:xfrm>
                <a:off x="3405188" y="3979862"/>
                <a:ext cx="82550" cy="52387"/>
              </a:xfrm>
              <a:custGeom>
                <a:avLst/>
                <a:gdLst>
                  <a:gd name="T0" fmla="*/ 0 w 47"/>
                  <a:gd name="T1" fmla="*/ 0 h 30"/>
                  <a:gd name="T2" fmla="*/ 15 w 47"/>
                  <a:gd name="T3" fmla="*/ 24 h 30"/>
                  <a:gd name="T4" fmla="*/ 15 w 47"/>
                  <a:gd name="T5" fmla="*/ 24 h 30"/>
                  <a:gd name="T6" fmla="*/ 35 w 47"/>
                  <a:gd name="T7" fmla="*/ 30 h 30"/>
                  <a:gd name="T8" fmla="*/ 47 w 47"/>
                  <a:gd name="T9" fmla="*/ 28 h 30"/>
                  <a:gd name="T10" fmla="*/ 35 w 47"/>
                  <a:gd name="T11" fmla="*/ 28 h 30"/>
                  <a:gd name="T12" fmla="*/ 0 w 4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47" h="30">
                    <a:moveTo>
                      <a:pt x="0" y="0"/>
                    </a:moveTo>
                    <a:cubicBezTo>
                      <a:pt x="2" y="9"/>
                      <a:pt x="7" y="18"/>
                      <a:pt x="15" y="24"/>
                    </a:cubicBezTo>
                    <a:cubicBezTo>
                      <a:pt x="15" y="24"/>
                      <a:pt x="15" y="24"/>
                      <a:pt x="15" y="24"/>
                    </a:cubicBezTo>
                    <a:cubicBezTo>
                      <a:pt x="21" y="28"/>
                      <a:pt x="28" y="30"/>
                      <a:pt x="35" y="30"/>
                    </a:cubicBezTo>
                    <a:cubicBezTo>
                      <a:pt x="39" y="30"/>
                      <a:pt x="43" y="29"/>
                      <a:pt x="47" y="28"/>
                    </a:cubicBezTo>
                    <a:cubicBezTo>
                      <a:pt x="43" y="28"/>
                      <a:pt x="39" y="28"/>
                      <a:pt x="35" y="28"/>
                    </a:cubicBezTo>
                    <a:cubicBezTo>
                      <a:pt x="18" y="28"/>
                      <a:pt x="4" y="16"/>
                      <a:pt x="0" y="0"/>
                    </a:cubicBezTo>
                  </a:path>
                </a:pathLst>
              </a:custGeom>
              <a:solidFill>
                <a:srgbClr val="F77303"/>
              </a:solidFill>
              <a:ln w="9525">
                <a:solidFill>
                  <a:srgbClr val="000000"/>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22" name="Freeform 116">
                <a:extLst>
                  <a:ext uri="{FF2B5EF4-FFF2-40B4-BE49-F238E27FC236}">
                    <a16:creationId xmlns:a16="http://schemas.microsoft.com/office/drawing/2014/main" id="{74CBF56F-1635-4BCF-95D6-E65E296D88E3}"/>
                  </a:ext>
                </a:extLst>
              </p:cNvPr>
              <p:cNvSpPr>
                <a:spLocks noEditPoints="1"/>
              </p:cNvSpPr>
              <p:nvPr/>
            </p:nvSpPr>
            <p:spPr bwMode="auto">
              <a:xfrm>
                <a:off x="3403600" y="2800350"/>
                <a:ext cx="687388" cy="1204912"/>
              </a:xfrm>
              <a:custGeom>
                <a:avLst/>
                <a:gdLst>
                  <a:gd name="T0" fmla="*/ 13 w 393"/>
                  <a:gd name="T1" fmla="*/ 640 h 689"/>
                  <a:gd name="T2" fmla="*/ 0 w 393"/>
                  <a:gd name="T3" fmla="*/ 666 h 689"/>
                  <a:gd name="T4" fmla="*/ 1 w 393"/>
                  <a:gd name="T5" fmla="*/ 674 h 689"/>
                  <a:gd name="T6" fmla="*/ 1 w 393"/>
                  <a:gd name="T7" fmla="*/ 668 h 689"/>
                  <a:gd name="T8" fmla="*/ 7 w 393"/>
                  <a:gd name="T9" fmla="*/ 649 h 689"/>
                  <a:gd name="T10" fmla="*/ 7 w 393"/>
                  <a:gd name="T11" fmla="*/ 649 h 689"/>
                  <a:gd name="T12" fmla="*/ 13 w 393"/>
                  <a:gd name="T13" fmla="*/ 640 h 689"/>
                  <a:gd name="T14" fmla="*/ 4 w 393"/>
                  <a:gd name="T15" fmla="*/ 6 h 689"/>
                  <a:gd name="T16" fmla="*/ 0 w 393"/>
                  <a:gd name="T17" fmla="*/ 22 h 689"/>
                  <a:gd name="T18" fmla="*/ 11 w 393"/>
                  <a:gd name="T19" fmla="*/ 47 h 689"/>
                  <a:gd name="T20" fmla="*/ 7 w 393"/>
                  <a:gd name="T21" fmla="*/ 41 h 689"/>
                  <a:gd name="T22" fmla="*/ 1 w 393"/>
                  <a:gd name="T23" fmla="*/ 22 h 689"/>
                  <a:gd name="T24" fmla="*/ 4 w 393"/>
                  <a:gd name="T25" fmla="*/ 6 h 689"/>
                  <a:gd name="T26" fmla="*/ 132 w 393"/>
                  <a:gd name="T27" fmla="*/ 0 h 689"/>
                  <a:gd name="T28" fmla="*/ 85 w 393"/>
                  <a:gd name="T29" fmla="*/ 32 h 689"/>
                  <a:gd name="T30" fmla="*/ 109 w 393"/>
                  <a:gd name="T31" fmla="*/ 67 h 689"/>
                  <a:gd name="T32" fmla="*/ 147 w 393"/>
                  <a:gd name="T33" fmla="*/ 80 h 689"/>
                  <a:gd name="T34" fmla="*/ 273 w 393"/>
                  <a:gd name="T35" fmla="*/ 184 h 689"/>
                  <a:gd name="T36" fmla="*/ 322 w 393"/>
                  <a:gd name="T37" fmla="*/ 344 h 689"/>
                  <a:gd name="T38" fmla="*/ 300 w 393"/>
                  <a:gd name="T39" fmla="*/ 456 h 689"/>
                  <a:gd name="T40" fmla="*/ 196 w 393"/>
                  <a:gd name="T41" fmla="*/ 582 h 689"/>
                  <a:gd name="T42" fmla="*/ 110 w 393"/>
                  <a:gd name="T43" fmla="*/ 622 h 689"/>
                  <a:gd name="T44" fmla="*/ 85 w 393"/>
                  <a:gd name="T45" fmla="*/ 658 h 689"/>
                  <a:gd name="T46" fmla="*/ 131 w 393"/>
                  <a:gd name="T47" fmla="*/ 689 h 689"/>
                  <a:gd name="T48" fmla="*/ 175 w 393"/>
                  <a:gd name="T49" fmla="*/ 674 h 689"/>
                  <a:gd name="T50" fmla="*/ 332 w 393"/>
                  <a:gd name="T51" fmla="*/ 544 h 689"/>
                  <a:gd name="T52" fmla="*/ 393 w 393"/>
                  <a:gd name="T53" fmla="*/ 344 h 689"/>
                  <a:gd name="T54" fmla="*/ 365 w 393"/>
                  <a:gd name="T55" fmla="*/ 205 h 689"/>
                  <a:gd name="T56" fmla="*/ 235 w 393"/>
                  <a:gd name="T57" fmla="*/ 48 h 689"/>
                  <a:gd name="T58" fmla="*/ 132 w 393"/>
                  <a:gd name="T59" fmla="*/ 0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93" h="689">
                    <a:moveTo>
                      <a:pt x="13" y="640"/>
                    </a:moveTo>
                    <a:cubicBezTo>
                      <a:pt x="5" y="646"/>
                      <a:pt x="0" y="656"/>
                      <a:pt x="0" y="666"/>
                    </a:cubicBezTo>
                    <a:cubicBezTo>
                      <a:pt x="0" y="669"/>
                      <a:pt x="1" y="672"/>
                      <a:pt x="1" y="674"/>
                    </a:cubicBezTo>
                    <a:cubicBezTo>
                      <a:pt x="1" y="672"/>
                      <a:pt x="1" y="670"/>
                      <a:pt x="1" y="668"/>
                    </a:cubicBezTo>
                    <a:cubicBezTo>
                      <a:pt x="1" y="662"/>
                      <a:pt x="3" y="655"/>
                      <a:pt x="7" y="649"/>
                    </a:cubicBezTo>
                    <a:cubicBezTo>
                      <a:pt x="7" y="649"/>
                      <a:pt x="7" y="649"/>
                      <a:pt x="7" y="649"/>
                    </a:cubicBezTo>
                    <a:cubicBezTo>
                      <a:pt x="13" y="640"/>
                      <a:pt x="13" y="640"/>
                      <a:pt x="13" y="640"/>
                    </a:cubicBezTo>
                    <a:moveTo>
                      <a:pt x="4" y="6"/>
                    </a:moveTo>
                    <a:cubicBezTo>
                      <a:pt x="2" y="11"/>
                      <a:pt x="0" y="17"/>
                      <a:pt x="0" y="22"/>
                    </a:cubicBezTo>
                    <a:cubicBezTo>
                      <a:pt x="0" y="32"/>
                      <a:pt x="4" y="41"/>
                      <a:pt x="11" y="47"/>
                    </a:cubicBezTo>
                    <a:cubicBezTo>
                      <a:pt x="7" y="41"/>
                      <a:pt x="7" y="41"/>
                      <a:pt x="7" y="41"/>
                    </a:cubicBezTo>
                    <a:cubicBezTo>
                      <a:pt x="3" y="35"/>
                      <a:pt x="1" y="29"/>
                      <a:pt x="1" y="22"/>
                    </a:cubicBezTo>
                    <a:cubicBezTo>
                      <a:pt x="1" y="16"/>
                      <a:pt x="2" y="11"/>
                      <a:pt x="4" y="6"/>
                    </a:cubicBezTo>
                    <a:moveTo>
                      <a:pt x="132" y="0"/>
                    </a:moveTo>
                    <a:cubicBezTo>
                      <a:pt x="85" y="32"/>
                      <a:pt x="85" y="32"/>
                      <a:pt x="85" y="32"/>
                    </a:cubicBezTo>
                    <a:cubicBezTo>
                      <a:pt x="109" y="67"/>
                      <a:pt x="109" y="67"/>
                      <a:pt x="109" y="67"/>
                    </a:cubicBezTo>
                    <a:cubicBezTo>
                      <a:pt x="122" y="71"/>
                      <a:pt x="135" y="75"/>
                      <a:pt x="147" y="80"/>
                    </a:cubicBezTo>
                    <a:cubicBezTo>
                      <a:pt x="199" y="102"/>
                      <a:pt x="242" y="138"/>
                      <a:pt x="273" y="184"/>
                    </a:cubicBezTo>
                    <a:cubicBezTo>
                      <a:pt x="304" y="230"/>
                      <a:pt x="322" y="285"/>
                      <a:pt x="322" y="344"/>
                    </a:cubicBezTo>
                    <a:cubicBezTo>
                      <a:pt x="322" y="384"/>
                      <a:pt x="314" y="422"/>
                      <a:pt x="300" y="456"/>
                    </a:cubicBezTo>
                    <a:cubicBezTo>
                      <a:pt x="278" y="507"/>
                      <a:pt x="242" y="551"/>
                      <a:pt x="196" y="582"/>
                    </a:cubicBezTo>
                    <a:cubicBezTo>
                      <a:pt x="170" y="600"/>
                      <a:pt x="141" y="613"/>
                      <a:pt x="110" y="622"/>
                    </a:cubicBezTo>
                    <a:cubicBezTo>
                      <a:pt x="85" y="658"/>
                      <a:pt x="85" y="658"/>
                      <a:pt x="85" y="658"/>
                    </a:cubicBezTo>
                    <a:cubicBezTo>
                      <a:pt x="131" y="689"/>
                      <a:pt x="131" y="689"/>
                      <a:pt x="131" y="689"/>
                    </a:cubicBezTo>
                    <a:cubicBezTo>
                      <a:pt x="146" y="685"/>
                      <a:pt x="161" y="680"/>
                      <a:pt x="175" y="674"/>
                    </a:cubicBezTo>
                    <a:cubicBezTo>
                      <a:pt x="239" y="647"/>
                      <a:pt x="293" y="601"/>
                      <a:pt x="332" y="544"/>
                    </a:cubicBezTo>
                    <a:cubicBezTo>
                      <a:pt x="370" y="487"/>
                      <a:pt x="393" y="418"/>
                      <a:pt x="393" y="344"/>
                    </a:cubicBezTo>
                    <a:cubicBezTo>
                      <a:pt x="393" y="295"/>
                      <a:pt x="383" y="248"/>
                      <a:pt x="365" y="205"/>
                    </a:cubicBezTo>
                    <a:cubicBezTo>
                      <a:pt x="338" y="141"/>
                      <a:pt x="292" y="87"/>
                      <a:pt x="235" y="48"/>
                    </a:cubicBezTo>
                    <a:cubicBezTo>
                      <a:pt x="204" y="27"/>
                      <a:pt x="169" y="11"/>
                      <a:pt x="132" y="0"/>
                    </a:cubicBezTo>
                  </a:path>
                </a:pathLst>
              </a:custGeom>
              <a:solidFill>
                <a:srgbClr val="FBAB18"/>
              </a:solidFill>
              <a:ln w="12700">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23" name="Freeform 117">
                <a:extLst>
                  <a:ext uri="{FF2B5EF4-FFF2-40B4-BE49-F238E27FC236}">
                    <a16:creationId xmlns:a16="http://schemas.microsoft.com/office/drawing/2014/main" id="{D02AC97D-D2A3-416F-8958-9FCE78C57C9A}"/>
                  </a:ext>
                </a:extLst>
              </p:cNvPr>
              <p:cNvSpPr>
                <a:spLocks/>
              </p:cNvSpPr>
              <p:nvPr/>
            </p:nvSpPr>
            <p:spPr bwMode="auto">
              <a:xfrm>
                <a:off x="3405188" y="2838450"/>
                <a:ext cx="188913" cy="77787"/>
              </a:xfrm>
              <a:custGeom>
                <a:avLst/>
                <a:gdLst>
                  <a:gd name="T0" fmla="*/ 0 w 108"/>
                  <a:gd name="T1" fmla="*/ 0 h 45"/>
                  <a:gd name="T2" fmla="*/ 6 w 108"/>
                  <a:gd name="T3" fmla="*/ 19 h 45"/>
                  <a:gd name="T4" fmla="*/ 10 w 108"/>
                  <a:gd name="T5" fmla="*/ 25 h 45"/>
                  <a:gd name="T6" fmla="*/ 35 w 108"/>
                  <a:gd name="T7" fmla="*/ 36 h 45"/>
                  <a:gd name="T8" fmla="*/ 108 w 108"/>
                  <a:gd name="T9" fmla="*/ 45 h 45"/>
                  <a:gd name="T10" fmla="*/ 84 w 108"/>
                  <a:gd name="T11" fmla="*/ 10 h 45"/>
                  <a:gd name="T12" fmla="*/ 55 w 108"/>
                  <a:gd name="T13" fmla="*/ 29 h 45"/>
                  <a:gd name="T14" fmla="*/ 35 w 108"/>
                  <a:gd name="T15" fmla="*/ 35 h 45"/>
                  <a:gd name="T16" fmla="*/ 6 w 108"/>
                  <a:gd name="T17" fmla="*/ 19 h 45"/>
                  <a:gd name="T18" fmla="*/ 0 w 108"/>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45">
                    <a:moveTo>
                      <a:pt x="0" y="0"/>
                    </a:moveTo>
                    <a:cubicBezTo>
                      <a:pt x="0" y="7"/>
                      <a:pt x="2" y="13"/>
                      <a:pt x="6" y="19"/>
                    </a:cubicBezTo>
                    <a:cubicBezTo>
                      <a:pt x="10" y="25"/>
                      <a:pt x="10" y="25"/>
                      <a:pt x="10" y="25"/>
                    </a:cubicBezTo>
                    <a:cubicBezTo>
                      <a:pt x="16" y="32"/>
                      <a:pt x="25" y="36"/>
                      <a:pt x="35" y="36"/>
                    </a:cubicBezTo>
                    <a:cubicBezTo>
                      <a:pt x="60" y="36"/>
                      <a:pt x="84" y="39"/>
                      <a:pt x="108" y="45"/>
                    </a:cubicBezTo>
                    <a:cubicBezTo>
                      <a:pt x="84" y="10"/>
                      <a:pt x="84" y="10"/>
                      <a:pt x="84" y="10"/>
                    </a:cubicBezTo>
                    <a:cubicBezTo>
                      <a:pt x="55" y="29"/>
                      <a:pt x="55" y="29"/>
                      <a:pt x="55" y="29"/>
                    </a:cubicBezTo>
                    <a:cubicBezTo>
                      <a:pt x="49" y="33"/>
                      <a:pt x="42" y="35"/>
                      <a:pt x="35" y="35"/>
                    </a:cubicBezTo>
                    <a:cubicBezTo>
                      <a:pt x="24" y="35"/>
                      <a:pt x="12" y="30"/>
                      <a:pt x="6" y="19"/>
                    </a:cubicBezTo>
                    <a:cubicBezTo>
                      <a:pt x="2" y="13"/>
                      <a:pt x="0" y="7"/>
                      <a:pt x="0" y="0"/>
                    </a:cubicBezTo>
                  </a:path>
                </a:pathLst>
              </a:custGeom>
              <a:solidFill>
                <a:srgbClr val="F77303"/>
              </a:solidFill>
              <a:ln w="12700">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24" name="Freeform 118">
                <a:extLst>
                  <a:ext uri="{FF2B5EF4-FFF2-40B4-BE49-F238E27FC236}">
                    <a16:creationId xmlns:a16="http://schemas.microsoft.com/office/drawing/2014/main" id="{8025BD7F-177E-4842-85EC-F7A1A9DA40C2}"/>
                  </a:ext>
                </a:extLst>
              </p:cNvPr>
              <p:cNvSpPr>
                <a:spLocks/>
              </p:cNvSpPr>
              <p:nvPr/>
            </p:nvSpPr>
            <p:spPr bwMode="auto">
              <a:xfrm>
                <a:off x="3478213" y="2776537"/>
                <a:ext cx="155575" cy="79375"/>
              </a:xfrm>
              <a:custGeom>
                <a:avLst/>
                <a:gdLst>
                  <a:gd name="T0" fmla="*/ 0 w 89"/>
                  <a:gd name="T1" fmla="*/ 0 h 45"/>
                  <a:gd name="T2" fmla="*/ 22 w 89"/>
                  <a:gd name="T3" fmla="*/ 15 h 45"/>
                  <a:gd name="T4" fmla="*/ 42 w 89"/>
                  <a:gd name="T5" fmla="*/ 45 h 45"/>
                  <a:gd name="T6" fmla="*/ 89 w 89"/>
                  <a:gd name="T7" fmla="*/ 13 h 45"/>
                  <a:gd name="T8" fmla="*/ 0 w 89"/>
                  <a:gd name="T9" fmla="*/ 0 h 45"/>
                </a:gdLst>
                <a:ahLst/>
                <a:cxnLst>
                  <a:cxn ang="0">
                    <a:pos x="T0" y="T1"/>
                  </a:cxn>
                  <a:cxn ang="0">
                    <a:pos x="T2" y="T3"/>
                  </a:cxn>
                  <a:cxn ang="0">
                    <a:pos x="T4" y="T5"/>
                  </a:cxn>
                  <a:cxn ang="0">
                    <a:pos x="T6" y="T7"/>
                  </a:cxn>
                  <a:cxn ang="0">
                    <a:pos x="T8" y="T9"/>
                  </a:cxn>
                </a:cxnLst>
                <a:rect l="0" t="0" r="r" b="b"/>
                <a:pathLst>
                  <a:path w="89" h="45">
                    <a:moveTo>
                      <a:pt x="0" y="0"/>
                    </a:moveTo>
                    <a:cubicBezTo>
                      <a:pt x="9" y="2"/>
                      <a:pt x="17" y="7"/>
                      <a:pt x="22" y="15"/>
                    </a:cubicBezTo>
                    <a:cubicBezTo>
                      <a:pt x="42" y="45"/>
                      <a:pt x="42" y="45"/>
                      <a:pt x="42" y="45"/>
                    </a:cubicBezTo>
                    <a:cubicBezTo>
                      <a:pt x="89" y="13"/>
                      <a:pt x="89" y="13"/>
                      <a:pt x="89" y="13"/>
                    </a:cubicBezTo>
                    <a:cubicBezTo>
                      <a:pt x="61" y="5"/>
                      <a:pt x="31" y="1"/>
                      <a:pt x="0" y="0"/>
                    </a:cubicBezTo>
                  </a:path>
                </a:pathLst>
              </a:custGeom>
              <a:solidFill>
                <a:srgbClr val="F77303"/>
              </a:solidFill>
              <a:ln w="12700">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25" name="Freeform 119">
                <a:extLst>
                  <a:ext uri="{FF2B5EF4-FFF2-40B4-BE49-F238E27FC236}">
                    <a16:creationId xmlns:a16="http://schemas.microsoft.com/office/drawing/2014/main" id="{95BA4EC8-F11B-42FA-8BEB-24F662679BC0}"/>
                  </a:ext>
                </a:extLst>
              </p:cNvPr>
              <p:cNvSpPr>
                <a:spLocks/>
              </p:cNvSpPr>
              <p:nvPr/>
            </p:nvSpPr>
            <p:spPr bwMode="auto">
              <a:xfrm>
                <a:off x="3397754" y="2776537"/>
                <a:ext cx="146050" cy="122237"/>
              </a:xfrm>
              <a:custGeom>
                <a:avLst/>
                <a:gdLst>
                  <a:gd name="T0" fmla="*/ 35 w 84"/>
                  <a:gd name="T1" fmla="*/ 0 h 70"/>
                  <a:gd name="T2" fmla="*/ 35 w 84"/>
                  <a:gd name="T3" fmla="*/ 0 h 70"/>
                  <a:gd name="T4" fmla="*/ 3 w 84"/>
                  <a:gd name="T5" fmla="*/ 19 h 70"/>
                  <a:gd name="T6" fmla="*/ 0 w 84"/>
                  <a:gd name="T7" fmla="*/ 35 h 70"/>
                  <a:gd name="T8" fmla="*/ 6 w 84"/>
                  <a:gd name="T9" fmla="*/ 54 h 70"/>
                  <a:gd name="T10" fmla="*/ 35 w 84"/>
                  <a:gd name="T11" fmla="*/ 70 h 70"/>
                  <a:gd name="T12" fmla="*/ 55 w 84"/>
                  <a:gd name="T13" fmla="*/ 64 h 70"/>
                  <a:gd name="T14" fmla="*/ 84 w 84"/>
                  <a:gd name="T15" fmla="*/ 45 h 70"/>
                  <a:gd name="T16" fmla="*/ 64 w 84"/>
                  <a:gd name="T17" fmla="*/ 15 h 70"/>
                  <a:gd name="T18" fmla="*/ 42 w 84"/>
                  <a:gd name="T19" fmla="*/ 0 h 70"/>
                  <a:gd name="T20" fmla="*/ 35 w 84"/>
                  <a:gd name="T2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70">
                    <a:moveTo>
                      <a:pt x="35" y="0"/>
                    </a:moveTo>
                    <a:cubicBezTo>
                      <a:pt x="35" y="0"/>
                      <a:pt x="35" y="0"/>
                      <a:pt x="35" y="0"/>
                    </a:cubicBezTo>
                    <a:cubicBezTo>
                      <a:pt x="21" y="0"/>
                      <a:pt x="9" y="8"/>
                      <a:pt x="3" y="19"/>
                    </a:cubicBezTo>
                    <a:cubicBezTo>
                      <a:pt x="1" y="24"/>
                      <a:pt x="0" y="29"/>
                      <a:pt x="0" y="35"/>
                    </a:cubicBezTo>
                    <a:cubicBezTo>
                      <a:pt x="0" y="42"/>
                      <a:pt x="2" y="48"/>
                      <a:pt x="6" y="54"/>
                    </a:cubicBezTo>
                    <a:cubicBezTo>
                      <a:pt x="12" y="65"/>
                      <a:pt x="24" y="70"/>
                      <a:pt x="35" y="70"/>
                    </a:cubicBezTo>
                    <a:cubicBezTo>
                      <a:pt x="42" y="70"/>
                      <a:pt x="49" y="68"/>
                      <a:pt x="55" y="64"/>
                    </a:cubicBezTo>
                    <a:cubicBezTo>
                      <a:pt x="84" y="45"/>
                      <a:pt x="84" y="45"/>
                      <a:pt x="84" y="45"/>
                    </a:cubicBezTo>
                    <a:cubicBezTo>
                      <a:pt x="64" y="15"/>
                      <a:pt x="64" y="15"/>
                      <a:pt x="64" y="15"/>
                    </a:cubicBezTo>
                    <a:cubicBezTo>
                      <a:pt x="59" y="7"/>
                      <a:pt x="51" y="2"/>
                      <a:pt x="42" y="0"/>
                    </a:cubicBezTo>
                    <a:cubicBezTo>
                      <a:pt x="40" y="0"/>
                      <a:pt x="37" y="0"/>
                      <a:pt x="35" y="0"/>
                    </a:cubicBezTo>
                  </a:path>
                </a:pathLst>
              </a:custGeom>
              <a:solidFill>
                <a:srgbClr val="F34D00"/>
              </a:solidFill>
              <a:ln w="12700">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26" name="Freeform 120">
                <a:extLst>
                  <a:ext uri="{FF2B5EF4-FFF2-40B4-BE49-F238E27FC236}">
                    <a16:creationId xmlns:a16="http://schemas.microsoft.com/office/drawing/2014/main" id="{CBA4A4B5-C9CE-49CC-B35A-087714B0C8D2}"/>
                  </a:ext>
                </a:extLst>
              </p:cNvPr>
              <p:cNvSpPr>
                <a:spLocks/>
              </p:cNvSpPr>
              <p:nvPr/>
            </p:nvSpPr>
            <p:spPr bwMode="auto">
              <a:xfrm>
                <a:off x="3414713" y="3887787"/>
                <a:ext cx="180975" cy="63500"/>
              </a:xfrm>
              <a:custGeom>
                <a:avLst/>
                <a:gdLst>
                  <a:gd name="T0" fmla="*/ 103 w 103"/>
                  <a:gd name="T1" fmla="*/ 0 h 36"/>
                  <a:gd name="T2" fmla="*/ 29 w 103"/>
                  <a:gd name="T3" fmla="*/ 9 h 36"/>
                  <a:gd name="T4" fmla="*/ 6 w 103"/>
                  <a:gd name="T5" fmla="*/ 18 h 36"/>
                  <a:gd name="T6" fmla="*/ 0 w 103"/>
                  <a:gd name="T7" fmla="*/ 27 h 36"/>
                  <a:gd name="T8" fmla="*/ 29 w 103"/>
                  <a:gd name="T9" fmla="*/ 11 h 36"/>
                  <a:gd name="T10" fmla="*/ 49 w 103"/>
                  <a:gd name="T11" fmla="*/ 17 h 36"/>
                  <a:gd name="T12" fmla="*/ 78 w 103"/>
                  <a:gd name="T13" fmla="*/ 36 h 36"/>
                  <a:gd name="T14" fmla="*/ 103 w 103"/>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36">
                    <a:moveTo>
                      <a:pt x="103" y="0"/>
                    </a:moveTo>
                    <a:cubicBezTo>
                      <a:pt x="79" y="6"/>
                      <a:pt x="54" y="9"/>
                      <a:pt x="29" y="9"/>
                    </a:cubicBezTo>
                    <a:cubicBezTo>
                      <a:pt x="20" y="9"/>
                      <a:pt x="12" y="12"/>
                      <a:pt x="6" y="18"/>
                    </a:cubicBezTo>
                    <a:cubicBezTo>
                      <a:pt x="0" y="27"/>
                      <a:pt x="0" y="27"/>
                      <a:pt x="0" y="27"/>
                    </a:cubicBezTo>
                    <a:cubicBezTo>
                      <a:pt x="6" y="17"/>
                      <a:pt x="18" y="11"/>
                      <a:pt x="29" y="11"/>
                    </a:cubicBezTo>
                    <a:cubicBezTo>
                      <a:pt x="36" y="11"/>
                      <a:pt x="43" y="13"/>
                      <a:pt x="49" y="17"/>
                    </a:cubicBezTo>
                    <a:cubicBezTo>
                      <a:pt x="78" y="36"/>
                      <a:pt x="78" y="36"/>
                      <a:pt x="78" y="36"/>
                    </a:cubicBezTo>
                    <a:cubicBezTo>
                      <a:pt x="103" y="0"/>
                      <a:pt x="103" y="0"/>
                      <a:pt x="103" y="0"/>
                    </a:cubicBezTo>
                  </a:path>
                </a:pathLst>
              </a:custGeom>
              <a:solidFill>
                <a:srgbClr val="F77303"/>
              </a:solidFill>
              <a:ln w="12700">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27" name="Freeform 121">
                <a:extLst>
                  <a:ext uri="{FF2B5EF4-FFF2-40B4-BE49-F238E27FC236}">
                    <a16:creationId xmlns:a16="http://schemas.microsoft.com/office/drawing/2014/main" id="{E18181FF-03F0-4A48-8BE8-170496C53EB8}"/>
                  </a:ext>
                </a:extLst>
              </p:cNvPr>
              <p:cNvSpPr>
                <a:spLocks/>
              </p:cNvSpPr>
              <p:nvPr/>
            </p:nvSpPr>
            <p:spPr bwMode="auto">
              <a:xfrm>
                <a:off x="3487738" y="3951287"/>
                <a:ext cx="144463" cy="76200"/>
              </a:xfrm>
              <a:custGeom>
                <a:avLst/>
                <a:gdLst>
                  <a:gd name="T0" fmla="*/ 37 w 83"/>
                  <a:gd name="T1" fmla="*/ 0 h 44"/>
                  <a:gd name="T2" fmla="*/ 17 w 83"/>
                  <a:gd name="T3" fmla="*/ 30 h 44"/>
                  <a:gd name="T4" fmla="*/ 0 w 83"/>
                  <a:gd name="T5" fmla="*/ 44 h 44"/>
                  <a:gd name="T6" fmla="*/ 83 w 83"/>
                  <a:gd name="T7" fmla="*/ 31 h 44"/>
                  <a:gd name="T8" fmla="*/ 37 w 83"/>
                  <a:gd name="T9" fmla="*/ 0 h 44"/>
                </a:gdLst>
                <a:ahLst/>
                <a:cxnLst>
                  <a:cxn ang="0">
                    <a:pos x="T0" y="T1"/>
                  </a:cxn>
                  <a:cxn ang="0">
                    <a:pos x="T2" y="T3"/>
                  </a:cxn>
                  <a:cxn ang="0">
                    <a:pos x="T4" y="T5"/>
                  </a:cxn>
                  <a:cxn ang="0">
                    <a:pos x="T6" y="T7"/>
                  </a:cxn>
                  <a:cxn ang="0">
                    <a:pos x="T8" y="T9"/>
                  </a:cxn>
                </a:cxnLst>
                <a:rect l="0" t="0" r="r" b="b"/>
                <a:pathLst>
                  <a:path w="83" h="44">
                    <a:moveTo>
                      <a:pt x="37" y="0"/>
                    </a:moveTo>
                    <a:cubicBezTo>
                      <a:pt x="17" y="30"/>
                      <a:pt x="17" y="30"/>
                      <a:pt x="17" y="30"/>
                    </a:cubicBezTo>
                    <a:cubicBezTo>
                      <a:pt x="13" y="36"/>
                      <a:pt x="7" y="41"/>
                      <a:pt x="0" y="44"/>
                    </a:cubicBezTo>
                    <a:cubicBezTo>
                      <a:pt x="28" y="43"/>
                      <a:pt x="56" y="38"/>
                      <a:pt x="83" y="31"/>
                    </a:cubicBezTo>
                    <a:cubicBezTo>
                      <a:pt x="37" y="0"/>
                      <a:pt x="37" y="0"/>
                      <a:pt x="37" y="0"/>
                    </a:cubicBezTo>
                  </a:path>
                </a:pathLst>
              </a:custGeom>
              <a:solidFill>
                <a:srgbClr val="F77303"/>
              </a:solidFill>
              <a:ln w="12700">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28" name="Freeform 122">
                <a:extLst>
                  <a:ext uri="{FF2B5EF4-FFF2-40B4-BE49-F238E27FC236}">
                    <a16:creationId xmlns:a16="http://schemas.microsoft.com/office/drawing/2014/main" id="{6689B394-B623-4104-B2C0-FB20353B9979}"/>
                  </a:ext>
                </a:extLst>
              </p:cNvPr>
              <p:cNvSpPr>
                <a:spLocks/>
              </p:cNvSpPr>
              <p:nvPr/>
            </p:nvSpPr>
            <p:spPr bwMode="auto">
              <a:xfrm>
                <a:off x="3397754" y="3906837"/>
                <a:ext cx="146050" cy="120650"/>
              </a:xfrm>
              <a:custGeom>
                <a:avLst/>
                <a:gdLst>
                  <a:gd name="T0" fmla="*/ 35 w 84"/>
                  <a:gd name="T1" fmla="*/ 0 h 69"/>
                  <a:gd name="T2" fmla="*/ 6 w 84"/>
                  <a:gd name="T3" fmla="*/ 16 h 69"/>
                  <a:gd name="T4" fmla="*/ 6 w 84"/>
                  <a:gd name="T5" fmla="*/ 16 h 69"/>
                  <a:gd name="T6" fmla="*/ 0 w 84"/>
                  <a:gd name="T7" fmla="*/ 35 h 69"/>
                  <a:gd name="T8" fmla="*/ 0 w 84"/>
                  <a:gd name="T9" fmla="*/ 41 h 69"/>
                  <a:gd name="T10" fmla="*/ 35 w 84"/>
                  <a:gd name="T11" fmla="*/ 69 h 69"/>
                  <a:gd name="T12" fmla="*/ 47 w 84"/>
                  <a:gd name="T13" fmla="*/ 69 h 69"/>
                  <a:gd name="T14" fmla="*/ 64 w 84"/>
                  <a:gd name="T15" fmla="*/ 55 h 69"/>
                  <a:gd name="T16" fmla="*/ 84 w 84"/>
                  <a:gd name="T17" fmla="*/ 25 h 69"/>
                  <a:gd name="T18" fmla="*/ 55 w 84"/>
                  <a:gd name="T19" fmla="*/ 6 h 69"/>
                  <a:gd name="T20" fmla="*/ 35 w 84"/>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69">
                    <a:moveTo>
                      <a:pt x="35" y="0"/>
                    </a:moveTo>
                    <a:cubicBezTo>
                      <a:pt x="24" y="0"/>
                      <a:pt x="12" y="6"/>
                      <a:pt x="6" y="16"/>
                    </a:cubicBezTo>
                    <a:cubicBezTo>
                      <a:pt x="6" y="16"/>
                      <a:pt x="6" y="16"/>
                      <a:pt x="6" y="16"/>
                    </a:cubicBezTo>
                    <a:cubicBezTo>
                      <a:pt x="2" y="22"/>
                      <a:pt x="0" y="29"/>
                      <a:pt x="0" y="35"/>
                    </a:cubicBezTo>
                    <a:cubicBezTo>
                      <a:pt x="0" y="37"/>
                      <a:pt x="0" y="39"/>
                      <a:pt x="0" y="41"/>
                    </a:cubicBezTo>
                    <a:cubicBezTo>
                      <a:pt x="4" y="57"/>
                      <a:pt x="18" y="69"/>
                      <a:pt x="35" y="69"/>
                    </a:cubicBezTo>
                    <a:cubicBezTo>
                      <a:pt x="39" y="69"/>
                      <a:pt x="43" y="69"/>
                      <a:pt x="47" y="69"/>
                    </a:cubicBezTo>
                    <a:cubicBezTo>
                      <a:pt x="54" y="66"/>
                      <a:pt x="60" y="61"/>
                      <a:pt x="64" y="55"/>
                    </a:cubicBezTo>
                    <a:cubicBezTo>
                      <a:pt x="84" y="25"/>
                      <a:pt x="84" y="25"/>
                      <a:pt x="84" y="25"/>
                    </a:cubicBezTo>
                    <a:cubicBezTo>
                      <a:pt x="55" y="6"/>
                      <a:pt x="55" y="6"/>
                      <a:pt x="55" y="6"/>
                    </a:cubicBezTo>
                    <a:cubicBezTo>
                      <a:pt x="49" y="2"/>
                      <a:pt x="42" y="0"/>
                      <a:pt x="35" y="0"/>
                    </a:cubicBezTo>
                  </a:path>
                </a:pathLst>
              </a:custGeom>
              <a:solidFill>
                <a:srgbClr val="F34D00"/>
              </a:solidFill>
              <a:ln w="12700">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grpSp>
      </p:grpSp>
      <p:grpSp>
        <p:nvGrpSpPr>
          <p:cNvPr id="434" name="Group 433">
            <a:extLst>
              <a:ext uri="{FF2B5EF4-FFF2-40B4-BE49-F238E27FC236}">
                <a16:creationId xmlns:a16="http://schemas.microsoft.com/office/drawing/2014/main" id="{3E7593D6-BD87-492C-B320-F88FD4DE0811}"/>
              </a:ext>
            </a:extLst>
          </p:cNvPr>
          <p:cNvGrpSpPr/>
          <p:nvPr/>
        </p:nvGrpSpPr>
        <p:grpSpPr>
          <a:xfrm>
            <a:off x="4909679" y="4975132"/>
            <a:ext cx="2771533" cy="609600"/>
            <a:chOff x="3361515" y="3578949"/>
            <a:chExt cx="2078650" cy="457200"/>
          </a:xfrm>
        </p:grpSpPr>
        <p:sp>
          <p:nvSpPr>
            <p:cNvPr id="435" name="Freeform 8">
              <a:extLst>
                <a:ext uri="{FF2B5EF4-FFF2-40B4-BE49-F238E27FC236}">
                  <a16:creationId xmlns:a16="http://schemas.microsoft.com/office/drawing/2014/main" id="{9FFF5A56-CC7C-4BB5-92C7-C07E08FD7645}"/>
                </a:ext>
              </a:extLst>
            </p:cNvPr>
            <p:cNvSpPr>
              <a:spLocks/>
            </p:cNvSpPr>
            <p:nvPr/>
          </p:nvSpPr>
          <p:spPr bwMode="auto">
            <a:xfrm>
              <a:off x="3361515" y="3579878"/>
              <a:ext cx="2078650" cy="454973"/>
            </a:xfrm>
            <a:prstGeom prst="roundRect">
              <a:avLst>
                <a:gd name="adj" fmla="val 50000"/>
              </a:avLst>
            </a:prstGeom>
            <a:solidFill>
              <a:srgbClr val="00BCEB"/>
            </a:solidFill>
            <a:ln>
              <a:noFill/>
            </a:ln>
          </p:spPr>
          <p:txBody>
            <a:bodyPr vert="horz" wrap="square" lIns="609600" tIns="60960" rIns="121920" bIns="60960" numCol="1" anchor="ctr" anchorCtr="0" compatLnSpc="1">
              <a:prstTxWarp prst="textNoShape">
                <a:avLst/>
              </a:prstTxWarp>
            </a:bodyPr>
            <a:lstStyle/>
            <a:p>
              <a:pPr defTabSz="914340" fontAlgn="base">
                <a:spcBef>
                  <a:spcPct val="0"/>
                </a:spcBef>
                <a:spcAft>
                  <a:spcPct val="0"/>
                </a:spcAft>
                <a:defRPr/>
              </a:pPr>
              <a:r>
                <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rPr>
                <a:t>Incidents</a:t>
              </a:r>
            </a:p>
          </p:txBody>
        </p:sp>
        <p:sp>
          <p:nvSpPr>
            <p:cNvPr id="436" name="Oval 435">
              <a:extLst>
                <a:ext uri="{FF2B5EF4-FFF2-40B4-BE49-F238E27FC236}">
                  <a16:creationId xmlns:a16="http://schemas.microsoft.com/office/drawing/2014/main" id="{B6AE936B-60C0-4976-A2C4-B42845B065AE}"/>
                </a:ext>
              </a:extLst>
            </p:cNvPr>
            <p:cNvSpPr/>
            <p:nvPr/>
          </p:nvSpPr>
          <p:spPr>
            <a:xfrm rot="3685780">
              <a:off x="3365777" y="3578949"/>
              <a:ext cx="457200" cy="457200"/>
            </a:xfrm>
            <a:prstGeom prst="ellipse">
              <a:avLst/>
            </a:prstGeom>
            <a:solidFill>
              <a:srgbClr val="005073"/>
            </a:solidFill>
            <a:ln w="25400" cap="flat" cmpd="sng" algn="ctr">
              <a:noFill/>
              <a:prstDash val="solid"/>
            </a:ln>
            <a:effectLst/>
          </p:spPr>
          <p:txBody>
            <a:bodyPr rtlCol="0" anchor="ctr"/>
            <a:lstStyle/>
            <a:p>
              <a:pPr algn="ctr" defTabSz="609585" fontAlgn="base">
                <a:spcBef>
                  <a:spcPct val="0"/>
                </a:spcBef>
                <a:spcAft>
                  <a:spcPct val="0"/>
                </a:spcAft>
                <a:defRPr/>
              </a:pPr>
              <a:endParaRPr lang="en-US" sz="1600">
                <a:solidFill>
                  <a:srgbClr val="FFFFFF"/>
                </a:solidFill>
                <a:latin typeface="CiscoSansTT ExtraLight" panose="020B0303020201020303" pitchFamily="34" charset="0"/>
                <a:cs typeface="CiscoSansTT ExtraLight" panose="020B0303020201020303" pitchFamily="34" charset="0"/>
                <a:sym typeface="Arial"/>
              </a:endParaRPr>
            </a:p>
          </p:txBody>
        </p:sp>
        <p:grpSp>
          <p:nvGrpSpPr>
            <p:cNvPr id="437" name="Group 436">
              <a:extLst>
                <a:ext uri="{FF2B5EF4-FFF2-40B4-BE49-F238E27FC236}">
                  <a16:creationId xmlns:a16="http://schemas.microsoft.com/office/drawing/2014/main" id="{C221C193-172F-4FDA-91F4-F5A238A9871B}"/>
                </a:ext>
              </a:extLst>
            </p:cNvPr>
            <p:cNvGrpSpPr/>
            <p:nvPr/>
          </p:nvGrpSpPr>
          <p:grpSpPr>
            <a:xfrm>
              <a:off x="3406525" y="3689106"/>
              <a:ext cx="375704" cy="195808"/>
              <a:chOff x="3090599" y="3339656"/>
              <a:chExt cx="1208477" cy="629830"/>
            </a:xfrm>
          </p:grpSpPr>
          <p:grpSp>
            <p:nvGrpSpPr>
              <p:cNvPr id="438" name="Group 437">
                <a:extLst>
                  <a:ext uri="{FF2B5EF4-FFF2-40B4-BE49-F238E27FC236}">
                    <a16:creationId xmlns:a16="http://schemas.microsoft.com/office/drawing/2014/main" id="{2C14C9BF-A91D-4D2B-B8F0-8DE5CC39B02E}"/>
                  </a:ext>
                </a:extLst>
              </p:cNvPr>
              <p:cNvGrpSpPr/>
              <p:nvPr/>
            </p:nvGrpSpPr>
            <p:grpSpPr>
              <a:xfrm>
                <a:off x="3090599" y="3407340"/>
                <a:ext cx="572563" cy="494461"/>
                <a:chOff x="3859462" y="1735162"/>
                <a:chExt cx="1421330" cy="1227449"/>
              </a:xfrm>
            </p:grpSpPr>
            <p:sp>
              <p:nvSpPr>
                <p:cNvPr id="451" name="Freeform 45">
                  <a:extLst>
                    <a:ext uri="{FF2B5EF4-FFF2-40B4-BE49-F238E27FC236}">
                      <a16:creationId xmlns:a16="http://schemas.microsoft.com/office/drawing/2014/main" id="{DA363403-AEE6-4013-8400-5DDAE1E0FD6C}"/>
                    </a:ext>
                  </a:extLst>
                </p:cNvPr>
                <p:cNvSpPr>
                  <a:spLocks/>
                </p:cNvSpPr>
                <p:nvPr/>
              </p:nvSpPr>
              <p:spPr bwMode="auto">
                <a:xfrm>
                  <a:off x="3859462" y="1735162"/>
                  <a:ext cx="1421330" cy="1227449"/>
                </a:xfrm>
                <a:custGeom>
                  <a:avLst/>
                  <a:gdLst>
                    <a:gd name="T0" fmla="*/ 218 w 449"/>
                    <a:gd name="T1" fmla="*/ 5 h 388"/>
                    <a:gd name="T2" fmla="*/ 3 w 449"/>
                    <a:gd name="T3" fmla="*/ 376 h 388"/>
                    <a:gd name="T4" fmla="*/ 10 w 449"/>
                    <a:gd name="T5" fmla="*/ 388 h 388"/>
                    <a:gd name="T6" fmla="*/ 439 w 449"/>
                    <a:gd name="T7" fmla="*/ 388 h 388"/>
                    <a:gd name="T8" fmla="*/ 446 w 449"/>
                    <a:gd name="T9" fmla="*/ 376 h 388"/>
                    <a:gd name="T10" fmla="*/ 231 w 449"/>
                    <a:gd name="T11" fmla="*/ 5 h 388"/>
                    <a:gd name="T12" fmla="*/ 218 w 449"/>
                    <a:gd name="T13" fmla="*/ 5 h 388"/>
                  </a:gdLst>
                  <a:ahLst/>
                  <a:cxnLst>
                    <a:cxn ang="0">
                      <a:pos x="T0" y="T1"/>
                    </a:cxn>
                    <a:cxn ang="0">
                      <a:pos x="T2" y="T3"/>
                    </a:cxn>
                    <a:cxn ang="0">
                      <a:pos x="T4" y="T5"/>
                    </a:cxn>
                    <a:cxn ang="0">
                      <a:pos x="T6" y="T7"/>
                    </a:cxn>
                    <a:cxn ang="0">
                      <a:pos x="T8" y="T9"/>
                    </a:cxn>
                    <a:cxn ang="0">
                      <a:pos x="T10" y="T11"/>
                    </a:cxn>
                    <a:cxn ang="0">
                      <a:pos x="T12" y="T13"/>
                    </a:cxn>
                  </a:cxnLst>
                  <a:rect l="0" t="0" r="r" b="b"/>
                  <a:pathLst>
                    <a:path w="449" h="388">
                      <a:moveTo>
                        <a:pt x="218" y="5"/>
                      </a:moveTo>
                      <a:cubicBezTo>
                        <a:pt x="3" y="376"/>
                        <a:pt x="3" y="376"/>
                        <a:pt x="3" y="376"/>
                      </a:cubicBezTo>
                      <a:cubicBezTo>
                        <a:pt x="0" y="381"/>
                        <a:pt x="4" y="388"/>
                        <a:pt x="10" y="388"/>
                      </a:cubicBezTo>
                      <a:cubicBezTo>
                        <a:pt x="439" y="388"/>
                        <a:pt x="439" y="388"/>
                        <a:pt x="439" y="388"/>
                      </a:cubicBezTo>
                      <a:cubicBezTo>
                        <a:pt x="445" y="388"/>
                        <a:pt x="449" y="381"/>
                        <a:pt x="446" y="376"/>
                      </a:cubicBezTo>
                      <a:cubicBezTo>
                        <a:pt x="231" y="5"/>
                        <a:pt x="231" y="5"/>
                        <a:pt x="231" y="5"/>
                      </a:cubicBezTo>
                      <a:cubicBezTo>
                        <a:pt x="228" y="0"/>
                        <a:pt x="221" y="0"/>
                        <a:pt x="218" y="5"/>
                      </a:cubicBezTo>
                      <a:close/>
                    </a:path>
                  </a:pathLst>
                </a:custGeom>
                <a:solidFill>
                  <a:srgbClr val="FBAB18">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52" name="Oval 47">
                  <a:extLst>
                    <a:ext uri="{FF2B5EF4-FFF2-40B4-BE49-F238E27FC236}">
                      <a16:creationId xmlns:a16="http://schemas.microsoft.com/office/drawing/2014/main" id="{4FF8F56D-0BFD-4F69-A759-3FAC39E7EDA1}"/>
                    </a:ext>
                  </a:extLst>
                </p:cNvPr>
                <p:cNvSpPr>
                  <a:spLocks noChangeArrowheads="1"/>
                </p:cNvSpPr>
                <p:nvPr/>
              </p:nvSpPr>
              <p:spPr bwMode="auto">
                <a:xfrm>
                  <a:off x="4270686" y="2210568"/>
                  <a:ext cx="608240" cy="6082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53" name="Freeform 46">
                  <a:extLst>
                    <a:ext uri="{FF2B5EF4-FFF2-40B4-BE49-F238E27FC236}">
                      <a16:creationId xmlns:a16="http://schemas.microsoft.com/office/drawing/2014/main" id="{C79439F0-0112-49CF-BB36-767382F6563F}"/>
                    </a:ext>
                  </a:extLst>
                </p:cNvPr>
                <p:cNvSpPr>
                  <a:spLocks noEditPoints="1"/>
                </p:cNvSpPr>
                <p:nvPr/>
              </p:nvSpPr>
              <p:spPr bwMode="auto">
                <a:xfrm>
                  <a:off x="4239197" y="2181750"/>
                  <a:ext cx="671221" cy="665871"/>
                </a:xfrm>
                <a:custGeom>
                  <a:avLst/>
                  <a:gdLst>
                    <a:gd name="T0" fmla="*/ 0 w 212"/>
                    <a:gd name="T1" fmla="*/ 106 h 211"/>
                    <a:gd name="T2" fmla="*/ 106 w 212"/>
                    <a:gd name="T3" fmla="*/ 0 h 211"/>
                    <a:gd name="T4" fmla="*/ 212 w 212"/>
                    <a:gd name="T5" fmla="*/ 106 h 211"/>
                    <a:gd name="T6" fmla="*/ 106 w 212"/>
                    <a:gd name="T7" fmla="*/ 211 h 211"/>
                    <a:gd name="T8" fmla="*/ 0 w 212"/>
                    <a:gd name="T9" fmla="*/ 106 h 211"/>
                    <a:gd name="T10" fmla="*/ 20 w 212"/>
                    <a:gd name="T11" fmla="*/ 106 h 211"/>
                    <a:gd name="T12" fmla="*/ 106 w 212"/>
                    <a:gd name="T13" fmla="*/ 192 h 211"/>
                    <a:gd name="T14" fmla="*/ 192 w 212"/>
                    <a:gd name="T15" fmla="*/ 106 h 211"/>
                    <a:gd name="T16" fmla="*/ 106 w 212"/>
                    <a:gd name="T17" fmla="*/ 19 h 211"/>
                    <a:gd name="T18" fmla="*/ 20 w 212"/>
                    <a:gd name="T1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1">
                      <a:moveTo>
                        <a:pt x="0" y="106"/>
                      </a:moveTo>
                      <a:cubicBezTo>
                        <a:pt x="0" y="47"/>
                        <a:pt x="48" y="0"/>
                        <a:pt x="106" y="0"/>
                      </a:cubicBezTo>
                      <a:cubicBezTo>
                        <a:pt x="165" y="0"/>
                        <a:pt x="212" y="47"/>
                        <a:pt x="212" y="106"/>
                      </a:cubicBezTo>
                      <a:cubicBezTo>
                        <a:pt x="212" y="164"/>
                        <a:pt x="165" y="211"/>
                        <a:pt x="106" y="211"/>
                      </a:cubicBezTo>
                      <a:cubicBezTo>
                        <a:pt x="48" y="211"/>
                        <a:pt x="0" y="164"/>
                        <a:pt x="0" y="106"/>
                      </a:cubicBezTo>
                      <a:close/>
                      <a:moveTo>
                        <a:pt x="20" y="106"/>
                      </a:moveTo>
                      <a:cubicBezTo>
                        <a:pt x="20" y="153"/>
                        <a:pt x="59" y="192"/>
                        <a:pt x="106" y="192"/>
                      </a:cubicBezTo>
                      <a:cubicBezTo>
                        <a:pt x="154" y="192"/>
                        <a:pt x="192" y="153"/>
                        <a:pt x="192" y="106"/>
                      </a:cubicBezTo>
                      <a:cubicBezTo>
                        <a:pt x="192" y="58"/>
                        <a:pt x="154" y="19"/>
                        <a:pt x="106" y="19"/>
                      </a:cubicBezTo>
                      <a:cubicBezTo>
                        <a:pt x="59" y="19"/>
                        <a:pt x="20" y="58"/>
                        <a:pt x="20" y="106"/>
                      </a:cubicBezTo>
                      <a:close/>
                    </a:path>
                  </a:pathLst>
                </a:custGeom>
                <a:solidFill>
                  <a:srgbClr val="E3241B"/>
                </a:solidFill>
                <a:ln>
                  <a:noFill/>
                </a:ln>
              </p:spPr>
              <p:txBody>
                <a:bodyPr vert="horz" wrap="square" lIns="121920" tIns="60960" rIns="121920" bIns="60960" numCol="1" anchor="t" anchorCtr="0" compatLnSpc="1">
                  <a:prstTxWarp prst="textNoShape">
                    <a:avLst/>
                  </a:prstTxWarp>
                </a:bodyPr>
                <a:lstStyle/>
                <a:p>
                  <a:pPr algn="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54" name="Freeform 48">
                  <a:extLst>
                    <a:ext uri="{FF2B5EF4-FFF2-40B4-BE49-F238E27FC236}">
                      <a16:creationId xmlns:a16="http://schemas.microsoft.com/office/drawing/2014/main" id="{31A76E5F-FD84-45C4-AB4D-39F9A950B876}"/>
                    </a:ext>
                  </a:extLst>
                </p:cNvPr>
                <p:cNvSpPr>
                  <a:spLocks/>
                </p:cNvSpPr>
                <p:nvPr/>
              </p:nvSpPr>
              <p:spPr bwMode="auto">
                <a:xfrm>
                  <a:off x="4538204" y="2306399"/>
                  <a:ext cx="63845" cy="276594"/>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E3241B"/>
                </a:solidFill>
                <a:ln>
                  <a:noFill/>
                </a:ln>
              </p:spPr>
              <p:txBody>
                <a:bodyPr vert="horz" wrap="square" lIns="121920" tIns="60960" rIns="121920" bIns="60960" numCol="1" anchor="t" anchorCtr="0" compatLnSpc="1">
                  <a:prstTxWarp prst="textNoShape">
                    <a:avLst/>
                  </a:prstTxWarp>
                </a:bodyPr>
                <a:lstStyle/>
                <a:p>
                  <a:pPr algn="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55" name="Oval 49">
                  <a:extLst>
                    <a:ext uri="{FF2B5EF4-FFF2-40B4-BE49-F238E27FC236}">
                      <a16:creationId xmlns:a16="http://schemas.microsoft.com/office/drawing/2014/main" id="{A85F2EAC-700B-4D22-B387-65981F8D8D4B}"/>
                    </a:ext>
                  </a:extLst>
                </p:cNvPr>
                <p:cNvSpPr>
                  <a:spLocks noChangeArrowheads="1"/>
                </p:cNvSpPr>
                <p:nvPr/>
              </p:nvSpPr>
              <p:spPr bwMode="auto">
                <a:xfrm>
                  <a:off x="4535198" y="2633286"/>
                  <a:ext cx="66856" cy="65518"/>
                </a:xfrm>
                <a:prstGeom prst="ellipse">
                  <a:avLst/>
                </a:prstGeom>
                <a:solidFill>
                  <a:srgbClr val="E3241B"/>
                </a:solidFill>
                <a:ln>
                  <a:noFill/>
                </a:ln>
              </p:spPr>
              <p:txBody>
                <a:bodyPr vert="horz" wrap="square" lIns="121920" tIns="60960" rIns="121920" bIns="60960" numCol="1" anchor="t" anchorCtr="0" compatLnSpc="1">
                  <a:prstTxWarp prst="textNoShape">
                    <a:avLst/>
                  </a:prstTxWarp>
                </a:bodyPr>
                <a:lstStyle/>
                <a:p>
                  <a:pPr algn="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grpSp>
          <p:grpSp>
            <p:nvGrpSpPr>
              <p:cNvPr id="439" name="Group 438">
                <a:extLst>
                  <a:ext uri="{FF2B5EF4-FFF2-40B4-BE49-F238E27FC236}">
                    <a16:creationId xmlns:a16="http://schemas.microsoft.com/office/drawing/2014/main" id="{325D0854-2018-46A5-9034-C3142979284C}"/>
                  </a:ext>
                </a:extLst>
              </p:cNvPr>
              <p:cNvGrpSpPr/>
              <p:nvPr/>
            </p:nvGrpSpPr>
            <p:grpSpPr>
              <a:xfrm>
                <a:off x="3726513" y="3407340"/>
                <a:ext cx="572563" cy="494461"/>
                <a:chOff x="3859462" y="1735162"/>
                <a:chExt cx="1421330" cy="1227449"/>
              </a:xfrm>
            </p:grpSpPr>
            <p:sp>
              <p:nvSpPr>
                <p:cNvPr id="446" name="Freeform 45">
                  <a:extLst>
                    <a:ext uri="{FF2B5EF4-FFF2-40B4-BE49-F238E27FC236}">
                      <a16:creationId xmlns:a16="http://schemas.microsoft.com/office/drawing/2014/main" id="{01E34B7A-9035-49D7-9B9F-ACA62E901A52}"/>
                    </a:ext>
                  </a:extLst>
                </p:cNvPr>
                <p:cNvSpPr>
                  <a:spLocks/>
                </p:cNvSpPr>
                <p:nvPr/>
              </p:nvSpPr>
              <p:spPr bwMode="auto">
                <a:xfrm>
                  <a:off x="3859462" y="1735162"/>
                  <a:ext cx="1421330" cy="1227449"/>
                </a:xfrm>
                <a:custGeom>
                  <a:avLst/>
                  <a:gdLst>
                    <a:gd name="T0" fmla="*/ 218 w 449"/>
                    <a:gd name="T1" fmla="*/ 5 h 388"/>
                    <a:gd name="T2" fmla="*/ 3 w 449"/>
                    <a:gd name="T3" fmla="*/ 376 h 388"/>
                    <a:gd name="T4" fmla="*/ 10 w 449"/>
                    <a:gd name="T5" fmla="*/ 388 h 388"/>
                    <a:gd name="T6" fmla="*/ 439 w 449"/>
                    <a:gd name="T7" fmla="*/ 388 h 388"/>
                    <a:gd name="T8" fmla="*/ 446 w 449"/>
                    <a:gd name="T9" fmla="*/ 376 h 388"/>
                    <a:gd name="T10" fmla="*/ 231 w 449"/>
                    <a:gd name="T11" fmla="*/ 5 h 388"/>
                    <a:gd name="T12" fmla="*/ 218 w 449"/>
                    <a:gd name="T13" fmla="*/ 5 h 388"/>
                  </a:gdLst>
                  <a:ahLst/>
                  <a:cxnLst>
                    <a:cxn ang="0">
                      <a:pos x="T0" y="T1"/>
                    </a:cxn>
                    <a:cxn ang="0">
                      <a:pos x="T2" y="T3"/>
                    </a:cxn>
                    <a:cxn ang="0">
                      <a:pos x="T4" y="T5"/>
                    </a:cxn>
                    <a:cxn ang="0">
                      <a:pos x="T6" y="T7"/>
                    </a:cxn>
                    <a:cxn ang="0">
                      <a:pos x="T8" y="T9"/>
                    </a:cxn>
                    <a:cxn ang="0">
                      <a:pos x="T10" y="T11"/>
                    </a:cxn>
                    <a:cxn ang="0">
                      <a:pos x="T12" y="T13"/>
                    </a:cxn>
                  </a:cxnLst>
                  <a:rect l="0" t="0" r="r" b="b"/>
                  <a:pathLst>
                    <a:path w="449" h="388">
                      <a:moveTo>
                        <a:pt x="218" y="5"/>
                      </a:moveTo>
                      <a:cubicBezTo>
                        <a:pt x="3" y="376"/>
                        <a:pt x="3" y="376"/>
                        <a:pt x="3" y="376"/>
                      </a:cubicBezTo>
                      <a:cubicBezTo>
                        <a:pt x="0" y="381"/>
                        <a:pt x="4" y="388"/>
                        <a:pt x="10" y="388"/>
                      </a:cubicBezTo>
                      <a:cubicBezTo>
                        <a:pt x="439" y="388"/>
                        <a:pt x="439" y="388"/>
                        <a:pt x="439" y="388"/>
                      </a:cubicBezTo>
                      <a:cubicBezTo>
                        <a:pt x="445" y="388"/>
                        <a:pt x="449" y="381"/>
                        <a:pt x="446" y="376"/>
                      </a:cubicBezTo>
                      <a:cubicBezTo>
                        <a:pt x="231" y="5"/>
                        <a:pt x="231" y="5"/>
                        <a:pt x="231" y="5"/>
                      </a:cubicBezTo>
                      <a:cubicBezTo>
                        <a:pt x="228" y="0"/>
                        <a:pt x="221" y="0"/>
                        <a:pt x="218" y="5"/>
                      </a:cubicBezTo>
                      <a:close/>
                    </a:path>
                  </a:pathLst>
                </a:custGeom>
                <a:solidFill>
                  <a:srgbClr val="FBAB18">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47" name="Oval 47">
                  <a:extLst>
                    <a:ext uri="{FF2B5EF4-FFF2-40B4-BE49-F238E27FC236}">
                      <a16:creationId xmlns:a16="http://schemas.microsoft.com/office/drawing/2014/main" id="{1307C4BB-3B43-4C06-9A6C-51CA8678B46B}"/>
                    </a:ext>
                  </a:extLst>
                </p:cNvPr>
                <p:cNvSpPr>
                  <a:spLocks noChangeArrowheads="1"/>
                </p:cNvSpPr>
                <p:nvPr/>
              </p:nvSpPr>
              <p:spPr bwMode="auto">
                <a:xfrm>
                  <a:off x="4270686" y="2210568"/>
                  <a:ext cx="608240" cy="6082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48" name="Freeform 46">
                  <a:extLst>
                    <a:ext uri="{FF2B5EF4-FFF2-40B4-BE49-F238E27FC236}">
                      <a16:creationId xmlns:a16="http://schemas.microsoft.com/office/drawing/2014/main" id="{EFA58381-6272-493F-B996-03A9621BE35F}"/>
                    </a:ext>
                  </a:extLst>
                </p:cNvPr>
                <p:cNvSpPr>
                  <a:spLocks noEditPoints="1"/>
                </p:cNvSpPr>
                <p:nvPr/>
              </p:nvSpPr>
              <p:spPr bwMode="auto">
                <a:xfrm>
                  <a:off x="4239197" y="2181750"/>
                  <a:ext cx="671221" cy="665871"/>
                </a:xfrm>
                <a:custGeom>
                  <a:avLst/>
                  <a:gdLst>
                    <a:gd name="T0" fmla="*/ 0 w 212"/>
                    <a:gd name="T1" fmla="*/ 106 h 211"/>
                    <a:gd name="T2" fmla="*/ 106 w 212"/>
                    <a:gd name="T3" fmla="*/ 0 h 211"/>
                    <a:gd name="T4" fmla="*/ 212 w 212"/>
                    <a:gd name="T5" fmla="*/ 106 h 211"/>
                    <a:gd name="T6" fmla="*/ 106 w 212"/>
                    <a:gd name="T7" fmla="*/ 211 h 211"/>
                    <a:gd name="T8" fmla="*/ 0 w 212"/>
                    <a:gd name="T9" fmla="*/ 106 h 211"/>
                    <a:gd name="T10" fmla="*/ 20 w 212"/>
                    <a:gd name="T11" fmla="*/ 106 h 211"/>
                    <a:gd name="T12" fmla="*/ 106 w 212"/>
                    <a:gd name="T13" fmla="*/ 192 h 211"/>
                    <a:gd name="T14" fmla="*/ 192 w 212"/>
                    <a:gd name="T15" fmla="*/ 106 h 211"/>
                    <a:gd name="T16" fmla="*/ 106 w 212"/>
                    <a:gd name="T17" fmla="*/ 19 h 211"/>
                    <a:gd name="T18" fmla="*/ 20 w 212"/>
                    <a:gd name="T1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1">
                      <a:moveTo>
                        <a:pt x="0" y="106"/>
                      </a:moveTo>
                      <a:cubicBezTo>
                        <a:pt x="0" y="47"/>
                        <a:pt x="48" y="0"/>
                        <a:pt x="106" y="0"/>
                      </a:cubicBezTo>
                      <a:cubicBezTo>
                        <a:pt x="165" y="0"/>
                        <a:pt x="212" y="47"/>
                        <a:pt x="212" y="106"/>
                      </a:cubicBezTo>
                      <a:cubicBezTo>
                        <a:pt x="212" y="164"/>
                        <a:pt x="165" y="211"/>
                        <a:pt x="106" y="211"/>
                      </a:cubicBezTo>
                      <a:cubicBezTo>
                        <a:pt x="48" y="211"/>
                        <a:pt x="0" y="164"/>
                        <a:pt x="0" y="106"/>
                      </a:cubicBezTo>
                      <a:close/>
                      <a:moveTo>
                        <a:pt x="20" y="106"/>
                      </a:moveTo>
                      <a:cubicBezTo>
                        <a:pt x="20" y="153"/>
                        <a:pt x="59" y="192"/>
                        <a:pt x="106" y="192"/>
                      </a:cubicBezTo>
                      <a:cubicBezTo>
                        <a:pt x="154" y="192"/>
                        <a:pt x="192" y="153"/>
                        <a:pt x="192" y="106"/>
                      </a:cubicBezTo>
                      <a:cubicBezTo>
                        <a:pt x="192" y="58"/>
                        <a:pt x="154" y="19"/>
                        <a:pt x="106" y="19"/>
                      </a:cubicBezTo>
                      <a:cubicBezTo>
                        <a:pt x="59" y="19"/>
                        <a:pt x="20" y="58"/>
                        <a:pt x="20" y="106"/>
                      </a:cubicBezTo>
                      <a:close/>
                    </a:path>
                  </a:pathLst>
                </a:custGeom>
                <a:solidFill>
                  <a:srgbClr val="E3241B"/>
                </a:solidFill>
                <a:ln>
                  <a:noFill/>
                </a:ln>
              </p:spPr>
              <p:txBody>
                <a:bodyPr vert="horz" wrap="square" lIns="121920" tIns="60960" rIns="121920" bIns="60960" numCol="1" anchor="t" anchorCtr="0" compatLnSpc="1">
                  <a:prstTxWarp prst="textNoShape">
                    <a:avLst/>
                  </a:prstTxWarp>
                </a:bodyPr>
                <a:lstStyle/>
                <a:p>
                  <a:pPr algn="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49" name="Freeform 48">
                  <a:extLst>
                    <a:ext uri="{FF2B5EF4-FFF2-40B4-BE49-F238E27FC236}">
                      <a16:creationId xmlns:a16="http://schemas.microsoft.com/office/drawing/2014/main" id="{BDA8FF62-8DFD-4E7E-B5F1-0F571C05E151}"/>
                    </a:ext>
                  </a:extLst>
                </p:cNvPr>
                <p:cNvSpPr>
                  <a:spLocks/>
                </p:cNvSpPr>
                <p:nvPr/>
              </p:nvSpPr>
              <p:spPr bwMode="auto">
                <a:xfrm>
                  <a:off x="4538204" y="2306399"/>
                  <a:ext cx="63845" cy="276594"/>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E3241B"/>
                </a:solidFill>
                <a:ln>
                  <a:noFill/>
                </a:ln>
              </p:spPr>
              <p:txBody>
                <a:bodyPr vert="horz" wrap="square" lIns="121920" tIns="60960" rIns="121920" bIns="60960" numCol="1" anchor="t" anchorCtr="0" compatLnSpc="1">
                  <a:prstTxWarp prst="textNoShape">
                    <a:avLst/>
                  </a:prstTxWarp>
                </a:bodyPr>
                <a:lstStyle/>
                <a:p>
                  <a:pPr algn="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50" name="Oval 49">
                  <a:extLst>
                    <a:ext uri="{FF2B5EF4-FFF2-40B4-BE49-F238E27FC236}">
                      <a16:creationId xmlns:a16="http://schemas.microsoft.com/office/drawing/2014/main" id="{5FB52629-F210-49AC-B1CE-8518D7B4135C}"/>
                    </a:ext>
                  </a:extLst>
                </p:cNvPr>
                <p:cNvSpPr>
                  <a:spLocks noChangeArrowheads="1"/>
                </p:cNvSpPr>
                <p:nvPr/>
              </p:nvSpPr>
              <p:spPr bwMode="auto">
                <a:xfrm>
                  <a:off x="4535198" y="2633286"/>
                  <a:ext cx="66856" cy="65518"/>
                </a:xfrm>
                <a:prstGeom prst="ellipse">
                  <a:avLst/>
                </a:prstGeom>
                <a:solidFill>
                  <a:srgbClr val="E3241B"/>
                </a:solidFill>
                <a:ln>
                  <a:noFill/>
                </a:ln>
              </p:spPr>
              <p:txBody>
                <a:bodyPr vert="horz" wrap="square" lIns="121920" tIns="60960" rIns="121920" bIns="60960" numCol="1" anchor="t" anchorCtr="0" compatLnSpc="1">
                  <a:prstTxWarp prst="textNoShape">
                    <a:avLst/>
                  </a:prstTxWarp>
                </a:bodyPr>
                <a:lstStyle/>
                <a:p>
                  <a:pPr algn="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grpSp>
          <p:grpSp>
            <p:nvGrpSpPr>
              <p:cNvPr id="440" name="Group 439">
                <a:extLst>
                  <a:ext uri="{FF2B5EF4-FFF2-40B4-BE49-F238E27FC236}">
                    <a16:creationId xmlns:a16="http://schemas.microsoft.com/office/drawing/2014/main" id="{4AD11C0F-C9B7-4ED9-8BED-EC1EBC53CF31}"/>
                  </a:ext>
                </a:extLst>
              </p:cNvPr>
              <p:cNvGrpSpPr/>
              <p:nvPr/>
            </p:nvGrpSpPr>
            <p:grpSpPr>
              <a:xfrm>
                <a:off x="3330180" y="3339656"/>
                <a:ext cx="729314" cy="629830"/>
                <a:chOff x="3859466" y="1735167"/>
                <a:chExt cx="1421332" cy="1227452"/>
              </a:xfrm>
            </p:grpSpPr>
            <p:sp>
              <p:nvSpPr>
                <p:cNvPr id="441" name="Freeform 45">
                  <a:extLst>
                    <a:ext uri="{FF2B5EF4-FFF2-40B4-BE49-F238E27FC236}">
                      <a16:creationId xmlns:a16="http://schemas.microsoft.com/office/drawing/2014/main" id="{8D39A8FE-B7CE-499D-90B8-A21C34622A9A}"/>
                    </a:ext>
                  </a:extLst>
                </p:cNvPr>
                <p:cNvSpPr>
                  <a:spLocks/>
                </p:cNvSpPr>
                <p:nvPr/>
              </p:nvSpPr>
              <p:spPr bwMode="auto">
                <a:xfrm>
                  <a:off x="3859466" y="1735167"/>
                  <a:ext cx="1421332" cy="1227452"/>
                </a:xfrm>
                <a:custGeom>
                  <a:avLst/>
                  <a:gdLst>
                    <a:gd name="T0" fmla="*/ 218 w 449"/>
                    <a:gd name="T1" fmla="*/ 5 h 388"/>
                    <a:gd name="T2" fmla="*/ 3 w 449"/>
                    <a:gd name="T3" fmla="*/ 376 h 388"/>
                    <a:gd name="T4" fmla="*/ 10 w 449"/>
                    <a:gd name="T5" fmla="*/ 388 h 388"/>
                    <a:gd name="T6" fmla="*/ 439 w 449"/>
                    <a:gd name="T7" fmla="*/ 388 h 388"/>
                    <a:gd name="T8" fmla="*/ 446 w 449"/>
                    <a:gd name="T9" fmla="*/ 376 h 388"/>
                    <a:gd name="T10" fmla="*/ 231 w 449"/>
                    <a:gd name="T11" fmla="*/ 5 h 388"/>
                    <a:gd name="T12" fmla="*/ 218 w 449"/>
                    <a:gd name="T13" fmla="*/ 5 h 388"/>
                  </a:gdLst>
                  <a:ahLst/>
                  <a:cxnLst>
                    <a:cxn ang="0">
                      <a:pos x="T0" y="T1"/>
                    </a:cxn>
                    <a:cxn ang="0">
                      <a:pos x="T2" y="T3"/>
                    </a:cxn>
                    <a:cxn ang="0">
                      <a:pos x="T4" y="T5"/>
                    </a:cxn>
                    <a:cxn ang="0">
                      <a:pos x="T6" y="T7"/>
                    </a:cxn>
                    <a:cxn ang="0">
                      <a:pos x="T8" y="T9"/>
                    </a:cxn>
                    <a:cxn ang="0">
                      <a:pos x="T10" y="T11"/>
                    </a:cxn>
                    <a:cxn ang="0">
                      <a:pos x="T12" y="T13"/>
                    </a:cxn>
                  </a:cxnLst>
                  <a:rect l="0" t="0" r="r" b="b"/>
                  <a:pathLst>
                    <a:path w="449" h="388">
                      <a:moveTo>
                        <a:pt x="218" y="5"/>
                      </a:moveTo>
                      <a:cubicBezTo>
                        <a:pt x="3" y="376"/>
                        <a:pt x="3" y="376"/>
                        <a:pt x="3" y="376"/>
                      </a:cubicBezTo>
                      <a:cubicBezTo>
                        <a:pt x="0" y="381"/>
                        <a:pt x="4" y="388"/>
                        <a:pt x="10" y="388"/>
                      </a:cubicBezTo>
                      <a:cubicBezTo>
                        <a:pt x="439" y="388"/>
                        <a:pt x="439" y="388"/>
                        <a:pt x="439" y="388"/>
                      </a:cubicBezTo>
                      <a:cubicBezTo>
                        <a:pt x="445" y="388"/>
                        <a:pt x="449" y="381"/>
                        <a:pt x="446" y="376"/>
                      </a:cubicBezTo>
                      <a:cubicBezTo>
                        <a:pt x="231" y="5"/>
                        <a:pt x="231" y="5"/>
                        <a:pt x="231" y="5"/>
                      </a:cubicBezTo>
                      <a:cubicBezTo>
                        <a:pt x="228" y="0"/>
                        <a:pt x="221" y="0"/>
                        <a:pt x="218" y="5"/>
                      </a:cubicBezTo>
                      <a:close/>
                    </a:path>
                  </a:pathLst>
                </a:custGeom>
                <a:solidFill>
                  <a:srgbClr val="FAAC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42" name="Oval 47">
                  <a:extLst>
                    <a:ext uri="{FF2B5EF4-FFF2-40B4-BE49-F238E27FC236}">
                      <a16:creationId xmlns:a16="http://schemas.microsoft.com/office/drawing/2014/main" id="{20F94847-FE7C-4FA8-B3C2-26AAC1DCE5DB}"/>
                    </a:ext>
                  </a:extLst>
                </p:cNvPr>
                <p:cNvSpPr>
                  <a:spLocks noChangeArrowheads="1"/>
                </p:cNvSpPr>
                <p:nvPr/>
              </p:nvSpPr>
              <p:spPr bwMode="auto">
                <a:xfrm>
                  <a:off x="4270691" y="2210574"/>
                  <a:ext cx="608240" cy="6082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43" name="Freeform 46">
                  <a:extLst>
                    <a:ext uri="{FF2B5EF4-FFF2-40B4-BE49-F238E27FC236}">
                      <a16:creationId xmlns:a16="http://schemas.microsoft.com/office/drawing/2014/main" id="{37650CCF-6401-44E5-ADD4-F560E6547949}"/>
                    </a:ext>
                  </a:extLst>
                </p:cNvPr>
                <p:cNvSpPr>
                  <a:spLocks noEditPoints="1"/>
                </p:cNvSpPr>
                <p:nvPr/>
              </p:nvSpPr>
              <p:spPr bwMode="auto">
                <a:xfrm>
                  <a:off x="4239201" y="2181756"/>
                  <a:ext cx="671221" cy="665873"/>
                </a:xfrm>
                <a:custGeom>
                  <a:avLst/>
                  <a:gdLst>
                    <a:gd name="T0" fmla="*/ 0 w 212"/>
                    <a:gd name="T1" fmla="*/ 106 h 211"/>
                    <a:gd name="T2" fmla="*/ 106 w 212"/>
                    <a:gd name="T3" fmla="*/ 0 h 211"/>
                    <a:gd name="T4" fmla="*/ 212 w 212"/>
                    <a:gd name="T5" fmla="*/ 106 h 211"/>
                    <a:gd name="T6" fmla="*/ 106 w 212"/>
                    <a:gd name="T7" fmla="*/ 211 h 211"/>
                    <a:gd name="T8" fmla="*/ 0 w 212"/>
                    <a:gd name="T9" fmla="*/ 106 h 211"/>
                    <a:gd name="T10" fmla="*/ 20 w 212"/>
                    <a:gd name="T11" fmla="*/ 106 h 211"/>
                    <a:gd name="T12" fmla="*/ 106 w 212"/>
                    <a:gd name="T13" fmla="*/ 192 h 211"/>
                    <a:gd name="T14" fmla="*/ 192 w 212"/>
                    <a:gd name="T15" fmla="*/ 106 h 211"/>
                    <a:gd name="T16" fmla="*/ 106 w 212"/>
                    <a:gd name="T17" fmla="*/ 19 h 211"/>
                    <a:gd name="T18" fmla="*/ 20 w 212"/>
                    <a:gd name="T1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1">
                      <a:moveTo>
                        <a:pt x="0" y="106"/>
                      </a:moveTo>
                      <a:cubicBezTo>
                        <a:pt x="0" y="47"/>
                        <a:pt x="48" y="0"/>
                        <a:pt x="106" y="0"/>
                      </a:cubicBezTo>
                      <a:cubicBezTo>
                        <a:pt x="165" y="0"/>
                        <a:pt x="212" y="47"/>
                        <a:pt x="212" y="106"/>
                      </a:cubicBezTo>
                      <a:cubicBezTo>
                        <a:pt x="212" y="164"/>
                        <a:pt x="165" y="211"/>
                        <a:pt x="106" y="211"/>
                      </a:cubicBezTo>
                      <a:cubicBezTo>
                        <a:pt x="48" y="211"/>
                        <a:pt x="0" y="164"/>
                        <a:pt x="0" y="106"/>
                      </a:cubicBezTo>
                      <a:close/>
                      <a:moveTo>
                        <a:pt x="20" y="106"/>
                      </a:moveTo>
                      <a:cubicBezTo>
                        <a:pt x="20" y="153"/>
                        <a:pt x="59" y="192"/>
                        <a:pt x="106" y="192"/>
                      </a:cubicBezTo>
                      <a:cubicBezTo>
                        <a:pt x="154" y="192"/>
                        <a:pt x="192" y="153"/>
                        <a:pt x="192" y="106"/>
                      </a:cubicBezTo>
                      <a:cubicBezTo>
                        <a:pt x="192" y="58"/>
                        <a:pt x="154" y="19"/>
                        <a:pt x="106" y="19"/>
                      </a:cubicBezTo>
                      <a:cubicBezTo>
                        <a:pt x="59" y="19"/>
                        <a:pt x="20" y="58"/>
                        <a:pt x="20" y="106"/>
                      </a:cubicBezTo>
                      <a:close/>
                    </a:path>
                  </a:pathLst>
                </a:custGeom>
                <a:solidFill>
                  <a:srgbClr val="E3241B"/>
                </a:solidFill>
                <a:ln>
                  <a:noFill/>
                </a:ln>
              </p:spPr>
              <p:txBody>
                <a:bodyPr vert="horz" wrap="square" lIns="121920" tIns="60960" rIns="121920" bIns="60960" numCol="1" anchor="t" anchorCtr="0" compatLnSpc="1">
                  <a:prstTxWarp prst="textNoShape">
                    <a:avLst/>
                  </a:prstTxWarp>
                </a:bodyPr>
                <a:lstStyle/>
                <a:p>
                  <a:pPr algn="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44" name="Freeform 48">
                  <a:extLst>
                    <a:ext uri="{FF2B5EF4-FFF2-40B4-BE49-F238E27FC236}">
                      <a16:creationId xmlns:a16="http://schemas.microsoft.com/office/drawing/2014/main" id="{244DC945-68F7-4317-BEFE-10394C9BBD37}"/>
                    </a:ext>
                  </a:extLst>
                </p:cNvPr>
                <p:cNvSpPr>
                  <a:spLocks/>
                </p:cNvSpPr>
                <p:nvPr/>
              </p:nvSpPr>
              <p:spPr bwMode="auto">
                <a:xfrm>
                  <a:off x="4538211" y="2309778"/>
                  <a:ext cx="63845" cy="276602"/>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E3241B"/>
                </a:solidFill>
                <a:ln>
                  <a:noFill/>
                </a:ln>
              </p:spPr>
              <p:txBody>
                <a:bodyPr vert="horz" wrap="square" lIns="121920" tIns="60960" rIns="121920" bIns="60960" numCol="1" anchor="t" anchorCtr="0" compatLnSpc="1">
                  <a:prstTxWarp prst="textNoShape">
                    <a:avLst/>
                  </a:prstTxWarp>
                </a:bodyPr>
                <a:lstStyle/>
                <a:p>
                  <a:pPr algn="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445" name="Oval 49">
                  <a:extLst>
                    <a:ext uri="{FF2B5EF4-FFF2-40B4-BE49-F238E27FC236}">
                      <a16:creationId xmlns:a16="http://schemas.microsoft.com/office/drawing/2014/main" id="{43715189-6F9D-4AF1-9CCC-5A7878DB7EE9}"/>
                    </a:ext>
                  </a:extLst>
                </p:cNvPr>
                <p:cNvSpPr>
                  <a:spLocks noChangeArrowheads="1"/>
                </p:cNvSpPr>
                <p:nvPr/>
              </p:nvSpPr>
              <p:spPr bwMode="auto">
                <a:xfrm>
                  <a:off x="4535199" y="2633285"/>
                  <a:ext cx="66855" cy="65518"/>
                </a:xfrm>
                <a:prstGeom prst="ellipse">
                  <a:avLst/>
                </a:prstGeom>
                <a:solidFill>
                  <a:srgbClr val="E3241B"/>
                </a:solidFill>
                <a:ln>
                  <a:noFill/>
                </a:ln>
              </p:spPr>
              <p:txBody>
                <a:bodyPr vert="horz" wrap="square" lIns="121920" tIns="60960" rIns="121920" bIns="60960" numCol="1" anchor="t" anchorCtr="0" compatLnSpc="1">
                  <a:prstTxWarp prst="textNoShape">
                    <a:avLst/>
                  </a:prstTxWarp>
                </a:bodyPr>
                <a:lstStyle/>
                <a:p>
                  <a:pPr algn="r" defTabSz="609585" fontAlgn="base">
                    <a:spcBef>
                      <a:spcPct val="0"/>
                    </a:spcBef>
                    <a:spcAft>
                      <a:spcPct val="0"/>
                    </a:spcAft>
                    <a:defRPr/>
                  </a:pPr>
                  <a:endPar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endParaRPr>
                </a:p>
              </p:txBody>
            </p:sp>
          </p:grpSp>
        </p:grpSp>
      </p:grpSp>
      <p:grpSp>
        <p:nvGrpSpPr>
          <p:cNvPr id="456" name="Group 455">
            <a:extLst>
              <a:ext uri="{FF2B5EF4-FFF2-40B4-BE49-F238E27FC236}">
                <a16:creationId xmlns:a16="http://schemas.microsoft.com/office/drawing/2014/main" id="{DB4B3C75-8906-4B06-9C20-B744C84BB9CA}"/>
              </a:ext>
            </a:extLst>
          </p:cNvPr>
          <p:cNvGrpSpPr/>
          <p:nvPr/>
        </p:nvGrpSpPr>
        <p:grpSpPr>
          <a:xfrm>
            <a:off x="4061192" y="3600544"/>
            <a:ext cx="4468507" cy="610360"/>
            <a:chOff x="2840067" y="3575071"/>
            <a:chExt cx="3351380" cy="457770"/>
          </a:xfrm>
        </p:grpSpPr>
        <p:sp>
          <p:nvSpPr>
            <p:cNvPr id="457" name="Freeform 5">
              <a:extLst>
                <a:ext uri="{FF2B5EF4-FFF2-40B4-BE49-F238E27FC236}">
                  <a16:creationId xmlns:a16="http://schemas.microsoft.com/office/drawing/2014/main" id="{53215047-799A-4DE9-84D9-2326D453FB9D}"/>
                </a:ext>
              </a:extLst>
            </p:cNvPr>
            <p:cNvSpPr>
              <a:spLocks/>
            </p:cNvSpPr>
            <p:nvPr/>
          </p:nvSpPr>
          <p:spPr bwMode="auto">
            <a:xfrm>
              <a:off x="2841845" y="3575071"/>
              <a:ext cx="3349602" cy="454973"/>
            </a:xfrm>
            <a:prstGeom prst="roundRect">
              <a:avLst>
                <a:gd name="adj" fmla="val 50000"/>
              </a:avLst>
            </a:prstGeom>
            <a:solidFill>
              <a:srgbClr val="00BCEB"/>
            </a:solidFill>
            <a:ln>
              <a:noFill/>
            </a:ln>
          </p:spPr>
          <p:txBody>
            <a:bodyPr vert="horz" wrap="square" lIns="609600" tIns="60960" rIns="121920" bIns="60960" numCol="1" anchor="ctr" anchorCtr="0" compatLnSpc="1">
              <a:prstTxWarp prst="textNoShape">
                <a:avLst/>
              </a:prstTxWarp>
            </a:bodyPr>
            <a:lstStyle/>
            <a:p>
              <a:pPr defTabSz="914340" fontAlgn="base">
                <a:spcBef>
                  <a:spcPct val="0"/>
                </a:spcBef>
                <a:spcAft>
                  <a:spcPct val="0"/>
                </a:spcAft>
                <a:defRPr/>
              </a:pPr>
              <a:r>
                <a:rPr lang="en-US" sz="1600">
                  <a:solidFill>
                    <a:srgbClr val="FFFFFF"/>
                  </a:solidFill>
                  <a:latin typeface="CiscoSansTT ExtraLight" panose="020B0303020201020303" pitchFamily="34" charset="0"/>
                  <a:ea typeface="ＭＳ Ｐゴシック" charset="0"/>
                  <a:cs typeface="CiscoSansTT ExtraLight" panose="020B0303020201020303" pitchFamily="34" charset="0"/>
                  <a:sym typeface="Arial"/>
                </a:rPr>
                <a:t>Anomalous Traffic- scored </a:t>
              </a:r>
            </a:p>
          </p:txBody>
        </p:sp>
        <p:sp>
          <p:nvSpPr>
            <p:cNvPr id="458" name="Oval 457">
              <a:extLst>
                <a:ext uri="{FF2B5EF4-FFF2-40B4-BE49-F238E27FC236}">
                  <a16:creationId xmlns:a16="http://schemas.microsoft.com/office/drawing/2014/main" id="{32A0B511-3B88-4407-A25C-BFA1E6ECAFB2}"/>
                </a:ext>
              </a:extLst>
            </p:cNvPr>
            <p:cNvSpPr/>
            <p:nvPr/>
          </p:nvSpPr>
          <p:spPr>
            <a:xfrm rot="3685780">
              <a:off x="2840067" y="3575641"/>
              <a:ext cx="457200" cy="457200"/>
            </a:xfrm>
            <a:prstGeom prst="ellipse">
              <a:avLst/>
            </a:prstGeom>
            <a:solidFill>
              <a:srgbClr val="005073"/>
            </a:solidFill>
            <a:ln w="25400" cap="flat" cmpd="sng" algn="ctr">
              <a:noFill/>
              <a:prstDash val="solid"/>
            </a:ln>
            <a:effectLst/>
          </p:spPr>
          <p:txBody>
            <a:bodyPr rtlCol="0" anchor="ctr"/>
            <a:lstStyle/>
            <a:p>
              <a:pPr algn="ctr" defTabSz="609585" fontAlgn="base">
                <a:spcBef>
                  <a:spcPct val="0"/>
                </a:spcBef>
                <a:spcAft>
                  <a:spcPct val="0"/>
                </a:spcAft>
                <a:defRPr/>
              </a:pPr>
              <a:endParaRPr lang="en-US" sz="1600">
                <a:solidFill>
                  <a:srgbClr val="FFFFFF"/>
                </a:solidFill>
                <a:latin typeface="CiscoSansTT ExtraLight" panose="020B0303020201020303" pitchFamily="34" charset="0"/>
                <a:cs typeface="CiscoSansTT ExtraLight" panose="020B0303020201020303" pitchFamily="34" charset="0"/>
                <a:sym typeface="Arial"/>
              </a:endParaRPr>
            </a:p>
          </p:txBody>
        </p:sp>
        <p:grpSp>
          <p:nvGrpSpPr>
            <p:cNvPr id="459" name="Group 458">
              <a:extLst>
                <a:ext uri="{FF2B5EF4-FFF2-40B4-BE49-F238E27FC236}">
                  <a16:creationId xmlns:a16="http://schemas.microsoft.com/office/drawing/2014/main" id="{F696B0D8-5122-4420-9265-0830EAADF223}"/>
                </a:ext>
              </a:extLst>
            </p:cNvPr>
            <p:cNvGrpSpPr/>
            <p:nvPr/>
          </p:nvGrpSpPr>
          <p:grpSpPr>
            <a:xfrm>
              <a:off x="2958844" y="3642019"/>
              <a:ext cx="219645" cy="298498"/>
              <a:chOff x="3030469" y="2492363"/>
              <a:chExt cx="219645" cy="298498"/>
            </a:xfrm>
          </p:grpSpPr>
          <p:sp>
            <p:nvSpPr>
              <p:cNvPr id="460" name="Rectangle: Rounded Corners 3">
                <a:extLst>
                  <a:ext uri="{FF2B5EF4-FFF2-40B4-BE49-F238E27FC236}">
                    <a16:creationId xmlns:a16="http://schemas.microsoft.com/office/drawing/2014/main" id="{AD15326B-0792-4047-903C-91440D6AF8ED}"/>
                  </a:ext>
                </a:extLst>
              </p:cNvPr>
              <p:cNvSpPr/>
              <p:nvPr/>
            </p:nvSpPr>
            <p:spPr>
              <a:xfrm>
                <a:off x="3030469" y="2492363"/>
                <a:ext cx="27432" cy="292348"/>
              </a:xfrm>
              <a:prstGeom prst="roundRect">
                <a:avLst>
                  <a:gd name="adj" fmla="val 50000"/>
                </a:avLst>
              </a:prstGeom>
              <a:solidFill>
                <a:srgbClr val="00BCEB"/>
              </a:solidFill>
              <a:ln w="25400" cap="flat" cmpd="sng" algn="ctr">
                <a:noFill/>
                <a:prstDash val="solid"/>
              </a:ln>
              <a:effectLst/>
            </p:spPr>
            <p:txBody>
              <a:bodyPr rtlCol="0" anchor="ctr"/>
              <a:lstStyle/>
              <a:p>
                <a:pPr algn="ctr" defTabSz="609585" fontAlgn="base">
                  <a:spcBef>
                    <a:spcPct val="0"/>
                  </a:spcBef>
                  <a:spcAft>
                    <a:spcPct val="0"/>
                  </a:spcAft>
                  <a:defRPr/>
                </a:pPr>
                <a:endParaRPr lang="en-US" sz="1600">
                  <a:solidFill>
                    <a:srgbClr val="FFFFFF"/>
                  </a:solidFill>
                  <a:latin typeface="CiscoSansTT ExtraLight" panose="020B0303020201020303" pitchFamily="34" charset="0"/>
                  <a:cs typeface="CiscoSansTT ExtraLight" panose="020B0303020201020303" pitchFamily="34" charset="0"/>
                  <a:sym typeface="Arial"/>
                </a:endParaRPr>
              </a:p>
            </p:txBody>
          </p:sp>
          <p:sp>
            <p:nvSpPr>
              <p:cNvPr id="461" name="Rectangle: Rounded Corners 81">
                <a:extLst>
                  <a:ext uri="{FF2B5EF4-FFF2-40B4-BE49-F238E27FC236}">
                    <a16:creationId xmlns:a16="http://schemas.microsoft.com/office/drawing/2014/main" id="{7AFB2400-9847-4495-8129-B28EC5D9CBB6}"/>
                  </a:ext>
                </a:extLst>
              </p:cNvPr>
              <p:cNvSpPr/>
              <p:nvPr/>
            </p:nvSpPr>
            <p:spPr>
              <a:xfrm rot="5400000">
                <a:off x="3126576" y="2667322"/>
                <a:ext cx="27432" cy="219645"/>
              </a:xfrm>
              <a:prstGeom prst="roundRect">
                <a:avLst>
                  <a:gd name="adj" fmla="val 50000"/>
                </a:avLst>
              </a:prstGeom>
              <a:solidFill>
                <a:srgbClr val="00BCEB"/>
              </a:solidFill>
              <a:ln w="25400" cap="flat" cmpd="sng" algn="ctr">
                <a:noFill/>
                <a:prstDash val="solid"/>
              </a:ln>
              <a:effectLst/>
            </p:spPr>
            <p:txBody>
              <a:bodyPr rtlCol="0" anchor="ctr"/>
              <a:lstStyle/>
              <a:p>
                <a:pPr algn="ctr" defTabSz="609585" fontAlgn="base">
                  <a:spcBef>
                    <a:spcPct val="0"/>
                  </a:spcBef>
                  <a:spcAft>
                    <a:spcPct val="0"/>
                  </a:spcAft>
                  <a:defRPr/>
                </a:pPr>
                <a:endParaRPr lang="en-US" sz="1600">
                  <a:solidFill>
                    <a:srgbClr val="FFFFFF"/>
                  </a:solidFill>
                  <a:latin typeface="CiscoSansTT ExtraLight" panose="020B0303020201020303" pitchFamily="34" charset="0"/>
                  <a:cs typeface="CiscoSansTT ExtraLight" panose="020B0303020201020303" pitchFamily="34" charset="0"/>
                  <a:sym typeface="Arial"/>
                </a:endParaRPr>
              </a:p>
            </p:txBody>
          </p:sp>
          <p:grpSp>
            <p:nvGrpSpPr>
              <p:cNvPr id="462" name="Group 461">
                <a:extLst>
                  <a:ext uri="{FF2B5EF4-FFF2-40B4-BE49-F238E27FC236}">
                    <a16:creationId xmlns:a16="http://schemas.microsoft.com/office/drawing/2014/main" id="{1CE06366-DC97-4556-8717-3CCBBB7CD68F}"/>
                  </a:ext>
                </a:extLst>
              </p:cNvPr>
              <p:cNvGrpSpPr/>
              <p:nvPr/>
            </p:nvGrpSpPr>
            <p:grpSpPr>
              <a:xfrm>
                <a:off x="3081556" y="2519058"/>
                <a:ext cx="138144" cy="214588"/>
                <a:chOff x="3076794" y="2519058"/>
                <a:chExt cx="123985" cy="214588"/>
              </a:xfrm>
            </p:grpSpPr>
            <p:sp>
              <p:nvSpPr>
                <p:cNvPr id="463" name="Rectangle: Rounded Corners 82">
                  <a:extLst>
                    <a:ext uri="{FF2B5EF4-FFF2-40B4-BE49-F238E27FC236}">
                      <a16:creationId xmlns:a16="http://schemas.microsoft.com/office/drawing/2014/main" id="{18277D7B-BB95-4AC6-AED8-AF676CE546BE}"/>
                    </a:ext>
                  </a:extLst>
                </p:cNvPr>
                <p:cNvSpPr/>
                <p:nvPr/>
              </p:nvSpPr>
              <p:spPr>
                <a:xfrm rot="5400000">
                  <a:off x="3127056" y="2659923"/>
                  <a:ext cx="23461" cy="123985"/>
                </a:xfrm>
                <a:prstGeom prst="roundRect">
                  <a:avLst>
                    <a:gd name="adj" fmla="val 50000"/>
                  </a:avLst>
                </a:prstGeom>
                <a:solidFill>
                  <a:srgbClr val="FFFFFF"/>
                </a:solidFill>
                <a:ln w="25400" cap="flat" cmpd="sng" algn="ctr">
                  <a:noFill/>
                  <a:prstDash val="solid"/>
                </a:ln>
                <a:effectLst/>
              </p:spPr>
              <p:txBody>
                <a:bodyPr rtlCol="0" anchor="ctr"/>
                <a:lstStyle/>
                <a:p>
                  <a:pPr algn="ctr" defTabSz="609585" fontAlgn="base">
                    <a:spcBef>
                      <a:spcPct val="0"/>
                    </a:spcBef>
                    <a:spcAft>
                      <a:spcPct val="0"/>
                    </a:spcAft>
                    <a:defRPr/>
                  </a:pPr>
                  <a:endParaRPr lang="en-US" sz="1600">
                    <a:solidFill>
                      <a:srgbClr val="FFFFFF"/>
                    </a:solidFill>
                    <a:latin typeface="CiscoSansTT ExtraLight" panose="020B0303020201020303" pitchFamily="34" charset="0"/>
                    <a:cs typeface="CiscoSansTT ExtraLight" panose="020B0303020201020303" pitchFamily="34" charset="0"/>
                    <a:sym typeface="Arial"/>
                  </a:endParaRPr>
                </a:p>
              </p:txBody>
            </p:sp>
            <p:sp>
              <p:nvSpPr>
                <p:cNvPr id="464" name="Rectangle: Rounded Corners 83">
                  <a:extLst>
                    <a:ext uri="{FF2B5EF4-FFF2-40B4-BE49-F238E27FC236}">
                      <a16:creationId xmlns:a16="http://schemas.microsoft.com/office/drawing/2014/main" id="{686C8F91-48AB-4B65-B308-F2BE0C9D369B}"/>
                    </a:ext>
                  </a:extLst>
                </p:cNvPr>
                <p:cNvSpPr/>
                <p:nvPr/>
              </p:nvSpPr>
              <p:spPr>
                <a:xfrm rot="5400000">
                  <a:off x="3127056" y="2612142"/>
                  <a:ext cx="23461" cy="123985"/>
                </a:xfrm>
                <a:prstGeom prst="roundRect">
                  <a:avLst>
                    <a:gd name="adj" fmla="val 50000"/>
                  </a:avLst>
                </a:prstGeom>
                <a:solidFill>
                  <a:srgbClr val="FFFFFF"/>
                </a:solidFill>
                <a:ln w="25400" cap="flat" cmpd="sng" algn="ctr">
                  <a:noFill/>
                  <a:prstDash val="solid"/>
                </a:ln>
                <a:effectLst/>
              </p:spPr>
              <p:txBody>
                <a:bodyPr rtlCol="0" anchor="ctr"/>
                <a:lstStyle/>
                <a:p>
                  <a:pPr algn="ctr" defTabSz="609585" fontAlgn="base">
                    <a:spcBef>
                      <a:spcPct val="0"/>
                    </a:spcBef>
                    <a:spcAft>
                      <a:spcPct val="0"/>
                    </a:spcAft>
                    <a:defRPr/>
                  </a:pPr>
                  <a:endParaRPr lang="en-US" sz="1600">
                    <a:solidFill>
                      <a:srgbClr val="FFFFFF"/>
                    </a:solidFill>
                    <a:latin typeface="CiscoSansTT ExtraLight" panose="020B0303020201020303" pitchFamily="34" charset="0"/>
                    <a:cs typeface="CiscoSansTT ExtraLight" panose="020B0303020201020303" pitchFamily="34" charset="0"/>
                    <a:sym typeface="Arial"/>
                  </a:endParaRPr>
                </a:p>
              </p:txBody>
            </p:sp>
            <p:sp>
              <p:nvSpPr>
                <p:cNvPr id="465" name="Rectangle: Rounded Corners 84">
                  <a:extLst>
                    <a:ext uri="{FF2B5EF4-FFF2-40B4-BE49-F238E27FC236}">
                      <a16:creationId xmlns:a16="http://schemas.microsoft.com/office/drawing/2014/main" id="{07510CCE-C213-4DAA-B836-556C869DA9D9}"/>
                    </a:ext>
                  </a:extLst>
                </p:cNvPr>
                <p:cNvSpPr/>
                <p:nvPr/>
              </p:nvSpPr>
              <p:spPr>
                <a:xfrm rot="5400000">
                  <a:off x="3127056" y="2564360"/>
                  <a:ext cx="23461" cy="123985"/>
                </a:xfrm>
                <a:prstGeom prst="roundRect">
                  <a:avLst>
                    <a:gd name="adj" fmla="val 50000"/>
                  </a:avLst>
                </a:prstGeom>
                <a:solidFill>
                  <a:srgbClr val="FFFFFF"/>
                </a:solidFill>
                <a:ln w="25400" cap="flat" cmpd="sng" algn="ctr">
                  <a:noFill/>
                  <a:prstDash val="solid"/>
                </a:ln>
                <a:effectLst/>
              </p:spPr>
              <p:txBody>
                <a:bodyPr rtlCol="0" anchor="ctr"/>
                <a:lstStyle/>
                <a:p>
                  <a:pPr algn="ctr" defTabSz="609585" fontAlgn="base">
                    <a:spcBef>
                      <a:spcPct val="0"/>
                    </a:spcBef>
                    <a:spcAft>
                      <a:spcPct val="0"/>
                    </a:spcAft>
                    <a:defRPr/>
                  </a:pPr>
                  <a:endParaRPr lang="en-US" sz="1600">
                    <a:solidFill>
                      <a:srgbClr val="FFFFFF"/>
                    </a:solidFill>
                    <a:latin typeface="CiscoSansTT ExtraLight" panose="020B0303020201020303" pitchFamily="34" charset="0"/>
                    <a:cs typeface="CiscoSansTT ExtraLight" panose="020B0303020201020303" pitchFamily="34" charset="0"/>
                    <a:sym typeface="Arial"/>
                  </a:endParaRPr>
                </a:p>
              </p:txBody>
            </p:sp>
            <p:sp>
              <p:nvSpPr>
                <p:cNvPr id="466" name="Rectangle: Rounded Corners 85">
                  <a:extLst>
                    <a:ext uri="{FF2B5EF4-FFF2-40B4-BE49-F238E27FC236}">
                      <a16:creationId xmlns:a16="http://schemas.microsoft.com/office/drawing/2014/main" id="{1404AE4F-B21A-4ECB-94C5-AB09A0E24F2E}"/>
                    </a:ext>
                  </a:extLst>
                </p:cNvPr>
                <p:cNvSpPr/>
                <p:nvPr/>
              </p:nvSpPr>
              <p:spPr>
                <a:xfrm rot="5400000">
                  <a:off x="3127056" y="2516578"/>
                  <a:ext cx="23461" cy="123985"/>
                </a:xfrm>
                <a:prstGeom prst="roundRect">
                  <a:avLst>
                    <a:gd name="adj" fmla="val 50000"/>
                  </a:avLst>
                </a:prstGeom>
                <a:solidFill>
                  <a:srgbClr val="FBAB18"/>
                </a:solidFill>
                <a:ln w="25400" cap="flat" cmpd="sng" algn="ctr">
                  <a:noFill/>
                  <a:prstDash val="solid"/>
                </a:ln>
                <a:effectLst/>
              </p:spPr>
              <p:txBody>
                <a:bodyPr rtlCol="0" anchor="ctr"/>
                <a:lstStyle/>
                <a:p>
                  <a:pPr algn="ctr" defTabSz="609585" fontAlgn="base">
                    <a:spcBef>
                      <a:spcPct val="0"/>
                    </a:spcBef>
                    <a:spcAft>
                      <a:spcPct val="0"/>
                    </a:spcAft>
                    <a:defRPr/>
                  </a:pPr>
                  <a:endParaRPr lang="en-US" sz="1600">
                    <a:solidFill>
                      <a:srgbClr val="FFFFFF"/>
                    </a:solidFill>
                    <a:latin typeface="CiscoSansTT ExtraLight" panose="020B0303020201020303" pitchFamily="34" charset="0"/>
                    <a:cs typeface="CiscoSansTT ExtraLight" panose="020B0303020201020303" pitchFamily="34" charset="0"/>
                    <a:sym typeface="Arial"/>
                  </a:endParaRPr>
                </a:p>
              </p:txBody>
            </p:sp>
            <p:sp>
              <p:nvSpPr>
                <p:cNvPr id="467" name="Rectangle: Rounded Corners 86">
                  <a:extLst>
                    <a:ext uri="{FF2B5EF4-FFF2-40B4-BE49-F238E27FC236}">
                      <a16:creationId xmlns:a16="http://schemas.microsoft.com/office/drawing/2014/main" id="{46F75B1A-B0EE-4DA6-878B-C0928BF76484}"/>
                    </a:ext>
                  </a:extLst>
                </p:cNvPr>
                <p:cNvSpPr/>
                <p:nvPr/>
              </p:nvSpPr>
              <p:spPr>
                <a:xfrm rot="5400000">
                  <a:off x="3127056" y="2468796"/>
                  <a:ext cx="23461" cy="123985"/>
                </a:xfrm>
                <a:prstGeom prst="roundRect">
                  <a:avLst>
                    <a:gd name="adj" fmla="val 50000"/>
                  </a:avLst>
                </a:prstGeom>
                <a:solidFill>
                  <a:srgbClr val="E3241B"/>
                </a:solidFill>
                <a:ln w="25400" cap="flat" cmpd="sng" algn="ctr">
                  <a:noFill/>
                  <a:prstDash val="solid"/>
                </a:ln>
                <a:effectLst/>
              </p:spPr>
              <p:txBody>
                <a:bodyPr rtlCol="0" anchor="ctr"/>
                <a:lstStyle/>
                <a:p>
                  <a:pPr algn="ctr" defTabSz="609585" fontAlgn="base">
                    <a:spcBef>
                      <a:spcPct val="0"/>
                    </a:spcBef>
                    <a:spcAft>
                      <a:spcPct val="0"/>
                    </a:spcAft>
                    <a:defRPr/>
                  </a:pPr>
                  <a:endParaRPr lang="en-US" sz="1600">
                    <a:solidFill>
                      <a:srgbClr val="FFFFFF"/>
                    </a:solidFill>
                    <a:latin typeface="CiscoSansTT ExtraLight" panose="020B0303020201020303" pitchFamily="34" charset="0"/>
                    <a:cs typeface="CiscoSansTT ExtraLight" panose="020B0303020201020303" pitchFamily="34" charset="0"/>
                    <a:sym typeface="Arial"/>
                  </a:endParaRPr>
                </a:p>
              </p:txBody>
            </p:sp>
          </p:grpSp>
        </p:grpSp>
      </p:grpSp>
    </p:spTree>
    <p:extLst>
      <p:ext uri="{BB962C8B-B14F-4D97-AF65-F5344CB8AC3E}">
        <p14:creationId xmlns:p14="http://schemas.microsoft.com/office/powerpoint/2010/main" val="36928668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88A5EF9-1E1A-4B09-858D-8D1470A8069E}"/>
              </a:ext>
            </a:extLst>
          </p:cNvPr>
          <p:cNvSpPr>
            <a:spLocks noGrp="1"/>
          </p:cNvSpPr>
          <p:nvPr>
            <p:ph type="body" idx="1"/>
          </p:nvPr>
        </p:nvSpPr>
        <p:spPr/>
        <p:txBody>
          <a:bodyPr/>
          <a:lstStyle/>
          <a:p>
            <a:r>
              <a:rPr lang="en-US"/>
              <a:t>Quickly investigate hosts </a:t>
            </a:r>
          </a:p>
        </p:txBody>
      </p:sp>
      <p:grpSp>
        <p:nvGrpSpPr>
          <p:cNvPr id="530" name="Group 529">
            <a:extLst>
              <a:ext uri="{FF2B5EF4-FFF2-40B4-BE49-F238E27FC236}">
                <a16:creationId xmlns:a16="http://schemas.microsoft.com/office/drawing/2014/main" id="{D2378D0E-B345-4F15-9313-098B6ABB1A41}"/>
              </a:ext>
            </a:extLst>
          </p:cNvPr>
          <p:cNvGrpSpPr/>
          <p:nvPr/>
        </p:nvGrpSpPr>
        <p:grpSpPr>
          <a:xfrm>
            <a:off x="650631" y="1656819"/>
            <a:ext cx="10838588" cy="4635363"/>
            <a:chOff x="498173" y="1402557"/>
            <a:chExt cx="8121433" cy="3476522"/>
          </a:xfrm>
        </p:grpSpPr>
        <p:sp>
          <p:nvSpPr>
            <p:cNvPr id="531" name="Rectangle 3">
              <a:extLst>
                <a:ext uri="{FF2B5EF4-FFF2-40B4-BE49-F238E27FC236}">
                  <a16:creationId xmlns:a16="http://schemas.microsoft.com/office/drawing/2014/main" id="{A3387D3C-C934-4596-972E-A505F1A74EFF}"/>
                </a:ext>
              </a:extLst>
            </p:cNvPr>
            <p:cNvSpPr>
              <a:spLocks noChangeArrowheads="1"/>
            </p:cNvSpPr>
            <p:nvPr/>
          </p:nvSpPr>
          <p:spPr bwMode="auto">
            <a:xfrm>
              <a:off x="3233009" y="1402557"/>
              <a:ext cx="2651760" cy="883444"/>
            </a:xfrm>
            <a:prstGeom prst="rect">
              <a:avLst/>
            </a:prstGeom>
            <a:solidFill>
              <a:srgbClr val="6EBE4A"/>
            </a:solidFill>
            <a:ln w="9525">
              <a:noFill/>
              <a:miter lim="800000"/>
              <a:headEnd/>
              <a:tailEnd/>
            </a:ln>
            <a:effectLst/>
          </p:spPr>
          <p:txBody>
            <a:bodyPr lIns="91452" tIns="45727" rIns="91452" bIns="45727" anchor="ctr" anchorCtr="1"/>
            <a:lstStyle/>
            <a:p>
              <a:pPr algn="ctr" defTabSz="814476" fontAlgn="base">
                <a:spcBef>
                  <a:spcPct val="0"/>
                </a:spcBef>
                <a:spcAft>
                  <a:spcPct val="0"/>
                </a:spcAft>
                <a:defRPr/>
              </a:pPr>
              <a:r>
                <a:rPr lang="en-US" sz="2400">
                  <a:solidFill>
                    <a:srgbClr val="005073"/>
                  </a:solidFill>
                  <a:latin typeface="CiscoSansTT ExtraLight"/>
                  <a:ea typeface="ＭＳ Ｐゴシック" charset="0"/>
                  <a:cs typeface="Arial"/>
                  <a:sym typeface="Arial"/>
                </a:rPr>
                <a:t>Create a baseline </a:t>
              </a:r>
              <a:br>
                <a:rPr lang="en-US" sz="2400">
                  <a:solidFill>
                    <a:srgbClr val="005073"/>
                  </a:solidFill>
                  <a:latin typeface="CiscoSansTT ExtraLight"/>
                  <a:ea typeface="ＭＳ Ｐゴシック" charset="0"/>
                  <a:cs typeface="Arial"/>
                  <a:sym typeface="Arial"/>
                </a:rPr>
              </a:br>
              <a:r>
                <a:rPr lang="en-US" sz="2400">
                  <a:solidFill>
                    <a:srgbClr val="005073"/>
                  </a:solidFill>
                  <a:latin typeface="CiscoSansTT ExtraLight"/>
                  <a:ea typeface="ＭＳ Ｐゴシック" charset="0"/>
                  <a:cs typeface="Arial"/>
                  <a:sym typeface="Arial"/>
                </a:rPr>
                <a:t>of normal behavior </a:t>
              </a:r>
            </a:p>
          </p:txBody>
        </p:sp>
        <p:sp>
          <p:nvSpPr>
            <p:cNvPr id="532" name="Rectangle 3">
              <a:extLst>
                <a:ext uri="{FF2B5EF4-FFF2-40B4-BE49-F238E27FC236}">
                  <a16:creationId xmlns:a16="http://schemas.microsoft.com/office/drawing/2014/main" id="{EC669910-8D32-43CF-AB5D-ACB0AE45CEC8}"/>
                </a:ext>
              </a:extLst>
            </p:cNvPr>
            <p:cNvSpPr>
              <a:spLocks noChangeArrowheads="1"/>
            </p:cNvSpPr>
            <p:nvPr/>
          </p:nvSpPr>
          <p:spPr bwMode="auto">
            <a:xfrm>
              <a:off x="3233009" y="2344341"/>
              <a:ext cx="2651760" cy="2534738"/>
            </a:xfrm>
            <a:prstGeom prst="rect">
              <a:avLst/>
            </a:prstGeom>
            <a:solidFill>
              <a:srgbClr val="282828">
                <a:lumMod val="10000"/>
                <a:lumOff val="90000"/>
              </a:srgbClr>
            </a:solidFill>
            <a:ln w="9525" algn="ctr">
              <a:noFill/>
              <a:miter lim="800000"/>
              <a:headEnd/>
              <a:tailEnd/>
            </a:ln>
            <a:effectLst/>
          </p:spPr>
          <p:txBody>
            <a:bodyPr lIns="274356" tIns="365809" rIns="91452" bIns="45727"/>
            <a:lstStyle/>
            <a:p>
              <a:pPr marL="174644" indent="-174644" defTabSz="609585" fontAlgn="base">
                <a:spcBef>
                  <a:spcPct val="50000"/>
                </a:spcBef>
                <a:spcAft>
                  <a:spcPct val="0"/>
                </a:spcAft>
                <a:buSzPct val="80000"/>
                <a:buFont typeface="Arial" pitchFamily="34" charset="0"/>
                <a:buChar char="•"/>
                <a:defRPr/>
              </a:pPr>
              <a:endParaRPr lang="en-US" sz="2400">
                <a:solidFill>
                  <a:srgbClr val="282828"/>
                </a:solidFill>
                <a:latin typeface="CiscoSansTT ExtraLight"/>
                <a:ea typeface="ＭＳ Ｐゴシック" charset="0"/>
                <a:cs typeface="Arial" charset="0"/>
                <a:sym typeface="Arial"/>
              </a:endParaRPr>
            </a:p>
          </p:txBody>
        </p:sp>
        <p:sp>
          <p:nvSpPr>
            <p:cNvPr id="533" name="Rectangle 4">
              <a:extLst>
                <a:ext uri="{FF2B5EF4-FFF2-40B4-BE49-F238E27FC236}">
                  <a16:creationId xmlns:a16="http://schemas.microsoft.com/office/drawing/2014/main" id="{55BBEE39-AEAF-4817-8489-84B2E3DE3CF5}"/>
                </a:ext>
              </a:extLst>
            </p:cNvPr>
            <p:cNvSpPr>
              <a:spLocks noChangeArrowheads="1"/>
            </p:cNvSpPr>
            <p:nvPr/>
          </p:nvSpPr>
          <p:spPr bwMode="auto">
            <a:xfrm>
              <a:off x="5967846" y="1402557"/>
              <a:ext cx="2651760" cy="883444"/>
            </a:xfrm>
            <a:prstGeom prst="rect">
              <a:avLst/>
            </a:prstGeom>
            <a:solidFill>
              <a:srgbClr val="005073"/>
            </a:solidFill>
            <a:ln w="9525">
              <a:noFill/>
              <a:miter lim="800000"/>
              <a:headEnd/>
              <a:tailEnd/>
            </a:ln>
            <a:effectLst/>
          </p:spPr>
          <p:txBody>
            <a:bodyPr lIns="91452" tIns="45727" rIns="91452" bIns="45727" anchor="ctr" anchorCtr="1"/>
            <a:lstStyle/>
            <a:p>
              <a:pPr algn="ctr" defTabSz="814476" fontAlgn="base">
                <a:spcBef>
                  <a:spcPct val="0"/>
                </a:spcBef>
                <a:spcAft>
                  <a:spcPct val="0"/>
                </a:spcAft>
                <a:defRPr/>
              </a:pPr>
              <a:r>
                <a:rPr lang="en-US" sz="2400">
                  <a:solidFill>
                    <a:srgbClr val="FFFFFF"/>
                  </a:solidFill>
                  <a:latin typeface="CiscoSansTT ExtraLight"/>
                  <a:ea typeface="ＭＳ Ｐゴシック" charset="0"/>
                  <a:cs typeface="Arial"/>
                  <a:sym typeface="Arial"/>
                </a:rPr>
                <a:t>Alarm on anomalies </a:t>
              </a:r>
              <a:br>
                <a:rPr lang="en-US" sz="2400">
                  <a:solidFill>
                    <a:srgbClr val="FFFFFF"/>
                  </a:solidFill>
                  <a:latin typeface="CiscoSansTT ExtraLight"/>
                  <a:ea typeface="ＭＳ Ｐゴシック" charset="0"/>
                  <a:cs typeface="Arial"/>
                  <a:sym typeface="Arial"/>
                </a:rPr>
              </a:br>
              <a:r>
                <a:rPr lang="en-US" sz="2400">
                  <a:solidFill>
                    <a:srgbClr val="FFFFFF"/>
                  </a:solidFill>
                  <a:latin typeface="CiscoSansTT ExtraLight"/>
                  <a:ea typeface="ＭＳ Ｐゴシック" charset="0"/>
                  <a:cs typeface="Arial"/>
                  <a:sym typeface="Arial"/>
                </a:rPr>
                <a:t>and behavioral changes</a:t>
              </a:r>
            </a:p>
          </p:txBody>
        </p:sp>
        <p:sp>
          <p:nvSpPr>
            <p:cNvPr id="534" name="Rectangle 4">
              <a:extLst>
                <a:ext uri="{FF2B5EF4-FFF2-40B4-BE49-F238E27FC236}">
                  <a16:creationId xmlns:a16="http://schemas.microsoft.com/office/drawing/2014/main" id="{7D70D196-C874-4B51-AABF-EB75C3D51F2C}"/>
                </a:ext>
              </a:extLst>
            </p:cNvPr>
            <p:cNvSpPr>
              <a:spLocks noChangeArrowheads="1"/>
            </p:cNvSpPr>
            <p:nvPr/>
          </p:nvSpPr>
          <p:spPr bwMode="auto">
            <a:xfrm>
              <a:off x="5967846" y="2344341"/>
              <a:ext cx="2651760" cy="2534738"/>
            </a:xfrm>
            <a:prstGeom prst="rect">
              <a:avLst/>
            </a:prstGeom>
            <a:solidFill>
              <a:srgbClr val="282828">
                <a:lumMod val="10000"/>
                <a:lumOff val="90000"/>
              </a:srgbClr>
            </a:solidFill>
            <a:ln w="9525" algn="ctr">
              <a:noFill/>
              <a:miter lim="800000"/>
              <a:headEnd/>
              <a:tailEnd/>
            </a:ln>
            <a:effectLst/>
          </p:spPr>
          <p:txBody>
            <a:bodyPr lIns="274356" tIns="365809" rIns="91452" bIns="45727"/>
            <a:lstStyle/>
            <a:p>
              <a:pPr marL="174644" indent="-174644" defTabSz="609585" fontAlgn="base">
                <a:spcBef>
                  <a:spcPct val="50000"/>
                </a:spcBef>
                <a:spcAft>
                  <a:spcPct val="0"/>
                </a:spcAft>
                <a:buSzPct val="80000"/>
                <a:buFont typeface="Arial" pitchFamily="34" charset="0"/>
                <a:buChar char="•"/>
                <a:defRPr/>
              </a:pPr>
              <a:endParaRPr lang="en-US" sz="2400">
                <a:solidFill>
                  <a:srgbClr val="282828"/>
                </a:solidFill>
                <a:latin typeface="CiscoSansTT ExtraLight"/>
                <a:ea typeface="ＭＳ Ｐゴシック" charset="0"/>
                <a:cs typeface="Arial" charset="0"/>
                <a:sym typeface="Arial"/>
              </a:endParaRPr>
            </a:p>
          </p:txBody>
        </p:sp>
        <p:sp>
          <p:nvSpPr>
            <p:cNvPr id="535" name="Rectangle 5">
              <a:extLst>
                <a:ext uri="{FF2B5EF4-FFF2-40B4-BE49-F238E27FC236}">
                  <a16:creationId xmlns:a16="http://schemas.microsoft.com/office/drawing/2014/main" id="{0A1DE656-F9EA-4AED-9AEE-984747DD64AA}"/>
                </a:ext>
              </a:extLst>
            </p:cNvPr>
            <p:cNvSpPr>
              <a:spLocks noChangeArrowheads="1"/>
            </p:cNvSpPr>
            <p:nvPr/>
          </p:nvSpPr>
          <p:spPr bwMode="auto">
            <a:xfrm>
              <a:off x="498173" y="1402557"/>
              <a:ext cx="2651760" cy="884635"/>
            </a:xfrm>
            <a:prstGeom prst="rect">
              <a:avLst/>
            </a:prstGeom>
            <a:solidFill>
              <a:srgbClr val="00BCEB"/>
            </a:solidFill>
            <a:ln w="9525">
              <a:noFill/>
              <a:miter lim="800000"/>
              <a:headEnd/>
              <a:tailEnd/>
            </a:ln>
            <a:effectLst/>
          </p:spPr>
          <p:txBody>
            <a:bodyPr lIns="91452" tIns="45727" rIns="91452" bIns="45727" anchor="ctr" anchorCtr="1"/>
            <a:lstStyle/>
            <a:p>
              <a:pPr algn="ctr" defTabSz="814476" fontAlgn="base">
                <a:spcBef>
                  <a:spcPct val="0"/>
                </a:spcBef>
                <a:spcAft>
                  <a:spcPct val="0"/>
                </a:spcAft>
                <a:defRPr/>
              </a:pPr>
              <a:r>
                <a:rPr lang="en-US" sz="2400">
                  <a:solidFill>
                    <a:srgbClr val="005073"/>
                  </a:solidFill>
                  <a:latin typeface="CiscoSansTT ExtraLight"/>
                  <a:ea typeface="ＭＳ Ｐゴシック" charset="0"/>
                  <a:cs typeface="Arial"/>
                  <a:sym typeface="Arial"/>
                </a:rPr>
                <a:t>Collect and</a:t>
              </a:r>
              <a:br>
                <a:rPr lang="en-US" sz="2400">
                  <a:solidFill>
                    <a:srgbClr val="005073"/>
                  </a:solidFill>
                  <a:latin typeface="CiscoSansTT ExtraLight"/>
                  <a:ea typeface="ＭＳ Ｐゴシック" charset="0"/>
                  <a:cs typeface="Arial"/>
                  <a:sym typeface="Arial"/>
                </a:rPr>
              </a:br>
              <a:r>
                <a:rPr lang="en-US" sz="2400">
                  <a:solidFill>
                    <a:srgbClr val="005073"/>
                  </a:solidFill>
                  <a:latin typeface="CiscoSansTT ExtraLight"/>
                  <a:ea typeface="ＭＳ Ｐゴシック" charset="0"/>
                  <a:cs typeface="Arial"/>
                  <a:sym typeface="Arial"/>
                </a:rPr>
                <a:t>analyze telemetry</a:t>
              </a:r>
            </a:p>
          </p:txBody>
        </p:sp>
        <p:sp>
          <p:nvSpPr>
            <p:cNvPr id="536" name="Rectangle 5">
              <a:extLst>
                <a:ext uri="{FF2B5EF4-FFF2-40B4-BE49-F238E27FC236}">
                  <a16:creationId xmlns:a16="http://schemas.microsoft.com/office/drawing/2014/main" id="{F33F7F6F-3724-45B0-93E4-C05556647214}"/>
                </a:ext>
              </a:extLst>
            </p:cNvPr>
            <p:cNvSpPr>
              <a:spLocks noChangeArrowheads="1"/>
            </p:cNvSpPr>
            <p:nvPr/>
          </p:nvSpPr>
          <p:spPr bwMode="auto">
            <a:xfrm>
              <a:off x="498173" y="2343151"/>
              <a:ext cx="2651760" cy="2535928"/>
            </a:xfrm>
            <a:prstGeom prst="rect">
              <a:avLst/>
            </a:prstGeom>
            <a:solidFill>
              <a:srgbClr val="282828">
                <a:lumMod val="10000"/>
                <a:lumOff val="90000"/>
              </a:srgbClr>
            </a:solidFill>
            <a:ln w="9525" algn="ctr">
              <a:noFill/>
              <a:miter lim="800000"/>
              <a:headEnd/>
              <a:tailEnd/>
            </a:ln>
            <a:effectLst/>
          </p:spPr>
          <p:txBody>
            <a:bodyPr lIns="274356" tIns="365809" rIns="91452" bIns="45727"/>
            <a:lstStyle/>
            <a:p>
              <a:pPr marL="174644" indent="-174644" defTabSz="609585" fontAlgn="base">
                <a:spcBef>
                  <a:spcPct val="50000"/>
                </a:spcBef>
                <a:spcAft>
                  <a:spcPct val="0"/>
                </a:spcAft>
                <a:buSzPct val="80000"/>
                <a:buFont typeface="Arial" pitchFamily="34" charset="0"/>
                <a:buChar char="•"/>
                <a:defRPr/>
              </a:pPr>
              <a:endParaRPr lang="en-US" sz="2400">
                <a:solidFill>
                  <a:srgbClr val="282828"/>
                </a:solidFill>
                <a:latin typeface="CiscoSansTT ExtraLight"/>
                <a:ea typeface="ＭＳ Ｐゴシック" charset="0"/>
                <a:cs typeface="Arial" charset="0"/>
                <a:sym typeface="Arial"/>
              </a:endParaRPr>
            </a:p>
          </p:txBody>
        </p:sp>
      </p:grpSp>
      <p:grpSp>
        <p:nvGrpSpPr>
          <p:cNvPr id="537" name="Group 536">
            <a:extLst>
              <a:ext uri="{FF2B5EF4-FFF2-40B4-BE49-F238E27FC236}">
                <a16:creationId xmlns:a16="http://schemas.microsoft.com/office/drawing/2014/main" id="{EB2DF805-E046-464D-B6EA-EAC2E08D3336}"/>
              </a:ext>
            </a:extLst>
          </p:cNvPr>
          <p:cNvGrpSpPr/>
          <p:nvPr/>
        </p:nvGrpSpPr>
        <p:grpSpPr>
          <a:xfrm>
            <a:off x="966534" y="3696823"/>
            <a:ext cx="2907143" cy="2384097"/>
            <a:chOff x="859384" y="2519140"/>
            <a:chExt cx="1982143" cy="1625520"/>
          </a:xfrm>
        </p:grpSpPr>
        <p:grpSp>
          <p:nvGrpSpPr>
            <p:cNvPr id="538" name="Group 537">
              <a:extLst>
                <a:ext uri="{FF2B5EF4-FFF2-40B4-BE49-F238E27FC236}">
                  <a16:creationId xmlns:a16="http://schemas.microsoft.com/office/drawing/2014/main" id="{CB013357-7E0E-4A6B-802D-39AF003E0328}"/>
                </a:ext>
              </a:extLst>
            </p:cNvPr>
            <p:cNvGrpSpPr>
              <a:grpSpLocks noChangeAspect="1"/>
            </p:cNvGrpSpPr>
            <p:nvPr/>
          </p:nvGrpSpPr>
          <p:grpSpPr>
            <a:xfrm>
              <a:off x="859384" y="2527658"/>
              <a:ext cx="442813" cy="441847"/>
              <a:chOff x="4247689" y="3669562"/>
              <a:chExt cx="548640" cy="548640"/>
            </a:xfrm>
          </p:grpSpPr>
          <p:sp>
            <p:nvSpPr>
              <p:cNvPr id="575" name="Oval 574">
                <a:extLst>
                  <a:ext uri="{FF2B5EF4-FFF2-40B4-BE49-F238E27FC236}">
                    <a16:creationId xmlns:a16="http://schemas.microsoft.com/office/drawing/2014/main" id="{F29FB28E-0F8D-465D-BF4E-A56FEB7595B6}"/>
                  </a:ext>
                </a:extLst>
              </p:cNvPr>
              <p:cNvSpPr/>
              <p:nvPr/>
            </p:nvSpPr>
            <p:spPr>
              <a:xfrm>
                <a:off x="4247689" y="3669562"/>
                <a:ext cx="548640" cy="548640"/>
              </a:xfrm>
              <a:prstGeom prst="ellipse">
                <a:avLst/>
              </a:prstGeom>
              <a:solidFill>
                <a:srgbClr val="005073"/>
              </a:solidFill>
              <a:ln w="25400" cap="flat" cmpd="sng" algn="ctr">
                <a:noFill/>
                <a:prstDash val="solid"/>
              </a:ln>
              <a:effectLst/>
            </p:spPr>
            <p:txBody>
              <a:bodyPr rtlCol="0" anchor="ctr"/>
              <a:lstStyle/>
              <a:p>
                <a:pPr algn="ctr" defTabSz="609585" fontAlgn="base">
                  <a:spcBef>
                    <a:spcPct val="0"/>
                  </a:spcBef>
                  <a:spcAft>
                    <a:spcPct val="0"/>
                  </a:spcAft>
                  <a:defRPr/>
                </a:pPr>
                <a:endParaRPr lang="en-US" sz="2400">
                  <a:solidFill>
                    <a:srgbClr val="005073"/>
                  </a:solidFill>
                  <a:latin typeface="CiscoSansTT ExtraLight"/>
                  <a:cs typeface="Arial"/>
                  <a:sym typeface="Arial"/>
                </a:endParaRPr>
              </a:p>
            </p:txBody>
          </p:sp>
          <p:grpSp>
            <p:nvGrpSpPr>
              <p:cNvPr id="576" name="Group 575">
                <a:extLst>
                  <a:ext uri="{FF2B5EF4-FFF2-40B4-BE49-F238E27FC236}">
                    <a16:creationId xmlns:a16="http://schemas.microsoft.com/office/drawing/2014/main" id="{FE8A1F13-D5C7-41D9-8CD0-EB78D5963B7E}"/>
                  </a:ext>
                </a:extLst>
              </p:cNvPr>
              <p:cNvGrpSpPr/>
              <p:nvPr/>
            </p:nvGrpSpPr>
            <p:grpSpPr>
              <a:xfrm>
                <a:off x="4416801" y="3752252"/>
                <a:ext cx="209312" cy="383266"/>
                <a:chOff x="4457929" y="4607371"/>
                <a:chExt cx="234950" cy="430212"/>
              </a:xfrm>
            </p:grpSpPr>
            <p:sp>
              <p:nvSpPr>
                <p:cNvPr id="577" name="Freeform 207">
                  <a:extLst>
                    <a:ext uri="{FF2B5EF4-FFF2-40B4-BE49-F238E27FC236}">
                      <a16:creationId xmlns:a16="http://schemas.microsoft.com/office/drawing/2014/main" id="{7086C02F-36DB-4921-9BAA-836686F3FF80}"/>
                    </a:ext>
                  </a:extLst>
                </p:cNvPr>
                <p:cNvSpPr>
                  <a:spLocks/>
                </p:cNvSpPr>
                <p:nvPr/>
              </p:nvSpPr>
              <p:spPr bwMode="auto">
                <a:xfrm>
                  <a:off x="4457929" y="4607371"/>
                  <a:ext cx="234950" cy="430212"/>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578" name="Line 208">
                  <a:extLst>
                    <a:ext uri="{FF2B5EF4-FFF2-40B4-BE49-F238E27FC236}">
                      <a16:creationId xmlns:a16="http://schemas.microsoft.com/office/drawing/2014/main" id="{346B829B-746B-4347-9280-42B542FCEF20}"/>
                    </a:ext>
                  </a:extLst>
                </p:cNvPr>
                <p:cNvSpPr>
                  <a:spLocks noChangeShapeType="1"/>
                </p:cNvSpPr>
                <p:nvPr/>
              </p:nvSpPr>
              <p:spPr bwMode="auto">
                <a:xfrm>
                  <a:off x="4516667" y="46772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579" name="Line 209">
                  <a:extLst>
                    <a:ext uri="{FF2B5EF4-FFF2-40B4-BE49-F238E27FC236}">
                      <a16:creationId xmlns:a16="http://schemas.microsoft.com/office/drawing/2014/main" id="{4F790CC3-E294-4EE6-8339-6922FA9611DE}"/>
                    </a:ext>
                  </a:extLst>
                </p:cNvPr>
                <p:cNvSpPr>
                  <a:spLocks noChangeShapeType="1"/>
                </p:cNvSpPr>
                <p:nvPr/>
              </p:nvSpPr>
              <p:spPr bwMode="auto">
                <a:xfrm>
                  <a:off x="4516667" y="4745483"/>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580" name="Line 210">
                  <a:extLst>
                    <a:ext uri="{FF2B5EF4-FFF2-40B4-BE49-F238E27FC236}">
                      <a16:creationId xmlns:a16="http://schemas.microsoft.com/office/drawing/2014/main" id="{075EEEA9-B65C-4D8C-AF81-E36F903D25C7}"/>
                    </a:ext>
                  </a:extLst>
                </p:cNvPr>
                <p:cNvSpPr>
                  <a:spLocks noChangeShapeType="1"/>
                </p:cNvSpPr>
                <p:nvPr/>
              </p:nvSpPr>
              <p:spPr bwMode="auto">
                <a:xfrm>
                  <a:off x="4516667" y="48169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581" name="Line 211">
                  <a:extLst>
                    <a:ext uri="{FF2B5EF4-FFF2-40B4-BE49-F238E27FC236}">
                      <a16:creationId xmlns:a16="http://schemas.microsoft.com/office/drawing/2014/main" id="{673026BE-778C-4C5B-97E8-3DF1100CDEB0}"/>
                    </a:ext>
                  </a:extLst>
                </p:cNvPr>
                <p:cNvSpPr>
                  <a:spLocks noChangeShapeType="1"/>
                </p:cNvSpPr>
                <p:nvPr/>
              </p:nvSpPr>
              <p:spPr bwMode="auto">
                <a:xfrm>
                  <a:off x="4516667" y="488677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grpSp>
          <p:nvGrpSpPr>
            <p:cNvPr id="539" name="Group 538">
              <a:extLst>
                <a:ext uri="{FF2B5EF4-FFF2-40B4-BE49-F238E27FC236}">
                  <a16:creationId xmlns:a16="http://schemas.microsoft.com/office/drawing/2014/main" id="{BE55F4A3-3451-4A26-A383-4E7BA6FBA6C1}"/>
                </a:ext>
              </a:extLst>
            </p:cNvPr>
            <p:cNvGrpSpPr>
              <a:grpSpLocks noChangeAspect="1"/>
            </p:cNvGrpSpPr>
            <p:nvPr/>
          </p:nvGrpSpPr>
          <p:grpSpPr>
            <a:xfrm>
              <a:off x="859384" y="3590798"/>
              <a:ext cx="442813" cy="441847"/>
              <a:chOff x="4247689" y="3669562"/>
              <a:chExt cx="548640" cy="548640"/>
            </a:xfrm>
          </p:grpSpPr>
          <p:sp>
            <p:nvSpPr>
              <p:cNvPr id="568" name="Oval 567">
                <a:extLst>
                  <a:ext uri="{FF2B5EF4-FFF2-40B4-BE49-F238E27FC236}">
                    <a16:creationId xmlns:a16="http://schemas.microsoft.com/office/drawing/2014/main" id="{C5E04015-C578-4A23-87DB-1A4C5583420B}"/>
                  </a:ext>
                </a:extLst>
              </p:cNvPr>
              <p:cNvSpPr/>
              <p:nvPr/>
            </p:nvSpPr>
            <p:spPr>
              <a:xfrm>
                <a:off x="4247689" y="3669562"/>
                <a:ext cx="548640" cy="548640"/>
              </a:xfrm>
              <a:prstGeom prst="ellipse">
                <a:avLst/>
              </a:prstGeom>
              <a:solidFill>
                <a:srgbClr val="005073"/>
              </a:solidFill>
              <a:ln w="25400" cap="flat" cmpd="sng" algn="ctr">
                <a:noFill/>
                <a:prstDash val="solid"/>
              </a:ln>
              <a:effectLst/>
            </p:spPr>
            <p:txBody>
              <a:bodyPr rtlCol="0" anchor="ctr"/>
              <a:lstStyle/>
              <a:p>
                <a:pPr algn="ctr" defTabSz="609585" fontAlgn="base">
                  <a:spcBef>
                    <a:spcPct val="0"/>
                  </a:spcBef>
                  <a:spcAft>
                    <a:spcPct val="0"/>
                  </a:spcAft>
                  <a:defRPr/>
                </a:pPr>
                <a:endParaRPr lang="en-US" sz="2400">
                  <a:solidFill>
                    <a:srgbClr val="005073"/>
                  </a:solidFill>
                  <a:latin typeface="CiscoSansTT ExtraLight"/>
                  <a:cs typeface="Arial"/>
                  <a:sym typeface="Arial"/>
                </a:endParaRPr>
              </a:p>
            </p:txBody>
          </p:sp>
          <p:grpSp>
            <p:nvGrpSpPr>
              <p:cNvPr id="569" name="Group 568">
                <a:extLst>
                  <a:ext uri="{FF2B5EF4-FFF2-40B4-BE49-F238E27FC236}">
                    <a16:creationId xmlns:a16="http://schemas.microsoft.com/office/drawing/2014/main" id="{9A4CC955-0B08-4768-927B-293A669A595F}"/>
                  </a:ext>
                </a:extLst>
              </p:cNvPr>
              <p:cNvGrpSpPr/>
              <p:nvPr/>
            </p:nvGrpSpPr>
            <p:grpSpPr>
              <a:xfrm>
                <a:off x="4416801" y="3752252"/>
                <a:ext cx="209312" cy="383266"/>
                <a:chOff x="4457929" y="4607371"/>
                <a:chExt cx="234950" cy="430212"/>
              </a:xfrm>
            </p:grpSpPr>
            <p:sp>
              <p:nvSpPr>
                <p:cNvPr id="570" name="Freeform 215">
                  <a:extLst>
                    <a:ext uri="{FF2B5EF4-FFF2-40B4-BE49-F238E27FC236}">
                      <a16:creationId xmlns:a16="http://schemas.microsoft.com/office/drawing/2014/main" id="{3DC17E4D-A571-4945-B5C3-7CE654789794}"/>
                    </a:ext>
                  </a:extLst>
                </p:cNvPr>
                <p:cNvSpPr>
                  <a:spLocks/>
                </p:cNvSpPr>
                <p:nvPr/>
              </p:nvSpPr>
              <p:spPr bwMode="auto">
                <a:xfrm>
                  <a:off x="4457929" y="4607371"/>
                  <a:ext cx="234950" cy="430212"/>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571" name="Line 208">
                  <a:extLst>
                    <a:ext uri="{FF2B5EF4-FFF2-40B4-BE49-F238E27FC236}">
                      <a16:creationId xmlns:a16="http://schemas.microsoft.com/office/drawing/2014/main" id="{5AF02358-06E7-4BE4-B5FF-6F0E9DE31F08}"/>
                    </a:ext>
                  </a:extLst>
                </p:cNvPr>
                <p:cNvSpPr>
                  <a:spLocks noChangeShapeType="1"/>
                </p:cNvSpPr>
                <p:nvPr/>
              </p:nvSpPr>
              <p:spPr bwMode="auto">
                <a:xfrm>
                  <a:off x="4516667" y="46772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572" name="Line 209">
                  <a:extLst>
                    <a:ext uri="{FF2B5EF4-FFF2-40B4-BE49-F238E27FC236}">
                      <a16:creationId xmlns:a16="http://schemas.microsoft.com/office/drawing/2014/main" id="{B096AD43-CF09-4D35-BD2B-CC2729C04DC1}"/>
                    </a:ext>
                  </a:extLst>
                </p:cNvPr>
                <p:cNvSpPr>
                  <a:spLocks noChangeShapeType="1"/>
                </p:cNvSpPr>
                <p:nvPr/>
              </p:nvSpPr>
              <p:spPr bwMode="auto">
                <a:xfrm>
                  <a:off x="4516667" y="4745483"/>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573" name="Line 210">
                  <a:extLst>
                    <a:ext uri="{FF2B5EF4-FFF2-40B4-BE49-F238E27FC236}">
                      <a16:creationId xmlns:a16="http://schemas.microsoft.com/office/drawing/2014/main" id="{AA9867F2-765F-455E-92BE-D09B79FBBD52}"/>
                    </a:ext>
                  </a:extLst>
                </p:cNvPr>
                <p:cNvSpPr>
                  <a:spLocks noChangeShapeType="1"/>
                </p:cNvSpPr>
                <p:nvPr/>
              </p:nvSpPr>
              <p:spPr bwMode="auto">
                <a:xfrm>
                  <a:off x="4516667" y="48169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574" name="Line 211">
                  <a:extLst>
                    <a:ext uri="{FF2B5EF4-FFF2-40B4-BE49-F238E27FC236}">
                      <a16:creationId xmlns:a16="http://schemas.microsoft.com/office/drawing/2014/main" id="{7278DF09-80F9-4BCE-B644-5153E7B69D6A}"/>
                    </a:ext>
                  </a:extLst>
                </p:cNvPr>
                <p:cNvSpPr>
                  <a:spLocks noChangeShapeType="1"/>
                </p:cNvSpPr>
                <p:nvPr/>
              </p:nvSpPr>
              <p:spPr bwMode="auto">
                <a:xfrm>
                  <a:off x="4516667" y="488677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cxnSp>
          <p:nvCxnSpPr>
            <p:cNvPr id="540" name="Straight Connector 539">
              <a:extLst>
                <a:ext uri="{FF2B5EF4-FFF2-40B4-BE49-F238E27FC236}">
                  <a16:creationId xmlns:a16="http://schemas.microsoft.com/office/drawing/2014/main" id="{442A7A24-82E4-4AEF-9794-C23CB2F75AE6}"/>
                </a:ext>
              </a:extLst>
            </p:cNvPr>
            <p:cNvCxnSpPr/>
            <p:nvPr/>
          </p:nvCxnSpPr>
          <p:spPr>
            <a:xfrm>
              <a:off x="1489109" y="2871398"/>
              <a:ext cx="762460" cy="1"/>
            </a:xfrm>
            <a:prstGeom prst="line">
              <a:avLst/>
            </a:prstGeom>
            <a:noFill/>
            <a:ln w="19050" cap="flat" cmpd="sng" algn="ctr">
              <a:solidFill>
                <a:srgbClr val="6EBE4A">
                  <a:lumMod val="50000"/>
                </a:srgbClr>
              </a:solidFill>
              <a:prstDash val="solid"/>
              <a:headEnd type="triangle"/>
              <a:tailEnd type="triangle"/>
            </a:ln>
            <a:effectLst/>
          </p:spPr>
        </p:cxnSp>
        <p:cxnSp>
          <p:nvCxnSpPr>
            <p:cNvPr id="541" name="Straight Connector 540">
              <a:extLst>
                <a:ext uri="{FF2B5EF4-FFF2-40B4-BE49-F238E27FC236}">
                  <a16:creationId xmlns:a16="http://schemas.microsoft.com/office/drawing/2014/main" id="{B9DFA099-5C5E-4B4E-AEC5-84161A649306}"/>
                </a:ext>
              </a:extLst>
            </p:cNvPr>
            <p:cNvCxnSpPr/>
            <p:nvPr/>
          </p:nvCxnSpPr>
          <p:spPr>
            <a:xfrm>
              <a:off x="1362320" y="3245876"/>
              <a:ext cx="762460" cy="1"/>
            </a:xfrm>
            <a:prstGeom prst="line">
              <a:avLst/>
            </a:prstGeom>
            <a:noFill/>
            <a:ln w="19050" cap="flat" cmpd="sng" algn="ctr">
              <a:solidFill>
                <a:srgbClr val="00BCEB"/>
              </a:solidFill>
              <a:prstDash val="solid"/>
              <a:headEnd type="triangle"/>
              <a:tailEnd type="triangle"/>
            </a:ln>
            <a:effectLst/>
          </p:spPr>
        </p:cxnSp>
        <p:cxnSp>
          <p:nvCxnSpPr>
            <p:cNvPr id="542" name="Straight Connector 541">
              <a:extLst>
                <a:ext uri="{FF2B5EF4-FFF2-40B4-BE49-F238E27FC236}">
                  <a16:creationId xmlns:a16="http://schemas.microsoft.com/office/drawing/2014/main" id="{75B502C2-B31A-4253-A566-A0E2AABF9182}"/>
                </a:ext>
              </a:extLst>
            </p:cNvPr>
            <p:cNvCxnSpPr/>
            <p:nvPr/>
          </p:nvCxnSpPr>
          <p:spPr>
            <a:xfrm>
              <a:off x="1531456" y="3399012"/>
              <a:ext cx="762460" cy="1"/>
            </a:xfrm>
            <a:prstGeom prst="line">
              <a:avLst/>
            </a:prstGeom>
            <a:noFill/>
            <a:ln w="9525" cap="flat" cmpd="sng" algn="ctr">
              <a:solidFill>
                <a:srgbClr val="00BCEB"/>
              </a:solidFill>
              <a:prstDash val="dash"/>
              <a:headEnd type="triangle"/>
              <a:tailEnd type="triangle"/>
            </a:ln>
            <a:effectLst/>
          </p:spPr>
        </p:cxnSp>
        <p:cxnSp>
          <p:nvCxnSpPr>
            <p:cNvPr id="543" name="Straight Connector 542">
              <a:extLst>
                <a:ext uri="{FF2B5EF4-FFF2-40B4-BE49-F238E27FC236}">
                  <a16:creationId xmlns:a16="http://schemas.microsoft.com/office/drawing/2014/main" id="{B01F734D-8812-49A6-9357-736681D0A87A}"/>
                </a:ext>
              </a:extLst>
            </p:cNvPr>
            <p:cNvCxnSpPr/>
            <p:nvPr/>
          </p:nvCxnSpPr>
          <p:spPr>
            <a:xfrm>
              <a:off x="1603678" y="3703897"/>
              <a:ext cx="762460" cy="1"/>
            </a:xfrm>
            <a:prstGeom prst="line">
              <a:avLst/>
            </a:prstGeom>
            <a:noFill/>
            <a:ln w="19050" cap="flat" cmpd="sng" algn="ctr">
              <a:solidFill>
                <a:srgbClr val="6EBE4A">
                  <a:lumMod val="50000"/>
                </a:srgbClr>
              </a:solidFill>
              <a:prstDash val="solid"/>
              <a:headEnd type="triangle"/>
              <a:tailEnd type="triangle"/>
            </a:ln>
            <a:effectLst/>
          </p:spPr>
        </p:cxnSp>
        <p:cxnSp>
          <p:nvCxnSpPr>
            <p:cNvPr id="544" name="Straight Connector 543">
              <a:extLst>
                <a:ext uri="{FF2B5EF4-FFF2-40B4-BE49-F238E27FC236}">
                  <a16:creationId xmlns:a16="http://schemas.microsoft.com/office/drawing/2014/main" id="{5DB42F34-8A39-4099-AF33-42EF267D9707}"/>
                </a:ext>
              </a:extLst>
            </p:cNvPr>
            <p:cNvCxnSpPr/>
            <p:nvPr/>
          </p:nvCxnSpPr>
          <p:spPr>
            <a:xfrm>
              <a:off x="1430785" y="3868436"/>
              <a:ext cx="762460" cy="1"/>
            </a:xfrm>
            <a:prstGeom prst="line">
              <a:avLst/>
            </a:prstGeom>
            <a:noFill/>
            <a:ln w="9525" cap="flat" cmpd="sng" algn="ctr">
              <a:solidFill>
                <a:srgbClr val="282828">
                  <a:lumMod val="60000"/>
                  <a:lumOff val="40000"/>
                </a:srgbClr>
              </a:solidFill>
              <a:prstDash val="dash"/>
              <a:headEnd type="triangle"/>
              <a:tailEnd type="triangle"/>
            </a:ln>
            <a:effectLst/>
          </p:spPr>
        </p:cxnSp>
        <p:cxnSp>
          <p:nvCxnSpPr>
            <p:cNvPr id="545" name="Straight Connector 544">
              <a:extLst>
                <a:ext uri="{FF2B5EF4-FFF2-40B4-BE49-F238E27FC236}">
                  <a16:creationId xmlns:a16="http://schemas.microsoft.com/office/drawing/2014/main" id="{378F2EE5-F715-4F72-AC36-DAA6135BD5E5}"/>
                </a:ext>
              </a:extLst>
            </p:cNvPr>
            <p:cNvCxnSpPr/>
            <p:nvPr/>
          </p:nvCxnSpPr>
          <p:spPr>
            <a:xfrm>
              <a:off x="1392364" y="2745516"/>
              <a:ext cx="762460" cy="1"/>
            </a:xfrm>
            <a:prstGeom prst="line">
              <a:avLst/>
            </a:prstGeom>
            <a:noFill/>
            <a:ln w="9525" cap="flat" cmpd="sng" algn="ctr">
              <a:solidFill>
                <a:srgbClr val="282828">
                  <a:lumMod val="60000"/>
                  <a:lumOff val="40000"/>
                </a:srgbClr>
              </a:solidFill>
              <a:prstDash val="dash"/>
              <a:headEnd type="triangle"/>
              <a:tailEnd type="triangle"/>
            </a:ln>
            <a:effectLst/>
          </p:spPr>
        </p:cxnSp>
        <p:cxnSp>
          <p:nvCxnSpPr>
            <p:cNvPr id="546" name="Straight Connector 545">
              <a:extLst>
                <a:ext uri="{FF2B5EF4-FFF2-40B4-BE49-F238E27FC236}">
                  <a16:creationId xmlns:a16="http://schemas.microsoft.com/office/drawing/2014/main" id="{61547350-1EDD-4AF7-828E-46591A6293CD}"/>
                </a:ext>
              </a:extLst>
            </p:cNvPr>
            <p:cNvCxnSpPr/>
            <p:nvPr/>
          </p:nvCxnSpPr>
          <p:spPr>
            <a:xfrm>
              <a:off x="1489109" y="3127035"/>
              <a:ext cx="762460" cy="1"/>
            </a:xfrm>
            <a:prstGeom prst="line">
              <a:avLst/>
            </a:prstGeom>
            <a:noFill/>
            <a:ln w="15875" cap="flat" cmpd="sng" algn="ctr">
              <a:solidFill>
                <a:srgbClr val="00BCEB"/>
              </a:solidFill>
              <a:prstDash val="sysDot"/>
              <a:headEnd type="triangle"/>
              <a:tailEnd type="triangle"/>
            </a:ln>
            <a:effectLst/>
          </p:spPr>
        </p:cxnSp>
        <p:cxnSp>
          <p:nvCxnSpPr>
            <p:cNvPr id="547" name="Straight Connector 546">
              <a:extLst>
                <a:ext uri="{FF2B5EF4-FFF2-40B4-BE49-F238E27FC236}">
                  <a16:creationId xmlns:a16="http://schemas.microsoft.com/office/drawing/2014/main" id="{B182AFBA-7795-4127-83C6-1636C145B9E3}"/>
                </a:ext>
              </a:extLst>
            </p:cNvPr>
            <p:cNvCxnSpPr/>
            <p:nvPr/>
          </p:nvCxnSpPr>
          <p:spPr>
            <a:xfrm>
              <a:off x="1388438" y="3596460"/>
              <a:ext cx="762460" cy="1"/>
            </a:xfrm>
            <a:prstGeom prst="line">
              <a:avLst/>
            </a:prstGeom>
            <a:noFill/>
            <a:ln w="15875" cap="flat" cmpd="sng" algn="ctr">
              <a:solidFill>
                <a:srgbClr val="6EBE4A"/>
              </a:solidFill>
              <a:prstDash val="sysDot"/>
              <a:headEnd type="triangle"/>
              <a:tailEnd type="triangle"/>
            </a:ln>
            <a:effectLst/>
          </p:spPr>
        </p:cxnSp>
        <p:cxnSp>
          <p:nvCxnSpPr>
            <p:cNvPr id="548" name="Straight Connector 547">
              <a:extLst>
                <a:ext uri="{FF2B5EF4-FFF2-40B4-BE49-F238E27FC236}">
                  <a16:creationId xmlns:a16="http://schemas.microsoft.com/office/drawing/2014/main" id="{DCACB1FB-F9A3-477E-B8DB-D9BD03DBF716}"/>
                </a:ext>
              </a:extLst>
            </p:cNvPr>
            <p:cNvCxnSpPr/>
            <p:nvPr/>
          </p:nvCxnSpPr>
          <p:spPr>
            <a:xfrm>
              <a:off x="1531456" y="2646847"/>
              <a:ext cx="762460" cy="1"/>
            </a:xfrm>
            <a:prstGeom prst="line">
              <a:avLst/>
            </a:prstGeom>
            <a:noFill/>
            <a:ln w="15875" cap="flat" cmpd="sng" algn="ctr">
              <a:solidFill>
                <a:srgbClr val="6EBE4A"/>
              </a:solidFill>
              <a:prstDash val="sysDot"/>
              <a:headEnd type="triangle"/>
              <a:tailEnd type="triangle"/>
            </a:ln>
            <a:effectLst/>
          </p:spPr>
        </p:cxnSp>
        <p:sp>
          <p:nvSpPr>
            <p:cNvPr id="549" name="Rectangle 548">
              <a:extLst>
                <a:ext uri="{FF2B5EF4-FFF2-40B4-BE49-F238E27FC236}">
                  <a16:creationId xmlns:a16="http://schemas.microsoft.com/office/drawing/2014/main" id="{CCFCCA2F-BC4B-40FD-AAFC-78C483339DE0}"/>
                </a:ext>
              </a:extLst>
            </p:cNvPr>
            <p:cNvSpPr/>
            <p:nvPr/>
          </p:nvSpPr>
          <p:spPr>
            <a:xfrm>
              <a:off x="1353138" y="2550277"/>
              <a:ext cx="1129122" cy="1569255"/>
            </a:xfrm>
            <a:prstGeom prst="rect">
              <a:avLst/>
            </a:prstGeom>
            <a:noFill/>
            <a:ln w="25400" cap="flat" cmpd="sng" algn="ctr">
              <a:noFill/>
              <a:prstDash val="solid"/>
            </a:ln>
            <a:effectLst/>
          </p:spPr>
          <p:txBody>
            <a:bodyPr rtlCol="0" anchor="ctr"/>
            <a:lstStyle/>
            <a:p>
              <a:pPr algn="ctr" defTabSz="609585" fontAlgn="base">
                <a:spcBef>
                  <a:spcPct val="0"/>
                </a:spcBef>
                <a:spcAft>
                  <a:spcPct val="0"/>
                </a:spcAft>
                <a:defRPr/>
              </a:pPr>
              <a:endParaRPr lang="en-US" sz="2400" b="1">
                <a:solidFill>
                  <a:srgbClr val="005073"/>
                </a:solidFill>
                <a:latin typeface="CiscoSansTT ExtraLight"/>
                <a:cs typeface="Arial"/>
                <a:sym typeface="Arial"/>
              </a:endParaRPr>
            </a:p>
          </p:txBody>
        </p:sp>
        <p:sp>
          <p:nvSpPr>
            <p:cNvPr id="550" name="Rectangle 549">
              <a:extLst>
                <a:ext uri="{FF2B5EF4-FFF2-40B4-BE49-F238E27FC236}">
                  <a16:creationId xmlns:a16="http://schemas.microsoft.com/office/drawing/2014/main" id="{923B9557-3C42-408F-B209-E588073641E5}"/>
                </a:ext>
              </a:extLst>
            </p:cNvPr>
            <p:cNvSpPr/>
            <p:nvPr/>
          </p:nvSpPr>
          <p:spPr>
            <a:xfrm>
              <a:off x="1353139" y="3983821"/>
              <a:ext cx="995560" cy="160839"/>
            </a:xfrm>
            <a:prstGeom prst="rect">
              <a:avLst/>
            </a:prstGeom>
          </p:spPr>
          <p:txBody>
            <a:bodyPr wrap="square">
              <a:spAutoFit/>
            </a:bodyPr>
            <a:lstStyle/>
            <a:p>
              <a:pPr algn="ctr" defTabSz="609013">
                <a:defRPr/>
              </a:pPr>
              <a:r>
                <a:rPr lang="en-US" sz="933">
                  <a:solidFill>
                    <a:srgbClr val="282828"/>
                  </a:solidFill>
                  <a:latin typeface="CiscoSansTT ExtraLight"/>
                  <a:ea typeface="ＭＳ Ｐゴシック" charset="0"/>
                  <a:cs typeface="Arial"/>
                  <a:sym typeface="Arial"/>
                </a:rPr>
                <a:t>Flows</a:t>
              </a:r>
            </a:p>
          </p:txBody>
        </p:sp>
        <p:grpSp>
          <p:nvGrpSpPr>
            <p:cNvPr id="551" name="Group 550">
              <a:extLst>
                <a:ext uri="{FF2B5EF4-FFF2-40B4-BE49-F238E27FC236}">
                  <a16:creationId xmlns:a16="http://schemas.microsoft.com/office/drawing/2014/main" id="{072B17A1-C5C4-466D-B0B0-BA18DDF6F1C4}"/>
                </a:ext>
              </a:extLst>
            </p:cNvPr>
            <p:cNvGrpSpPr/>
            <p:nvPr/>
          </p:nvGrpSpPr>
          <p:grpSpPr>
            <a:xfrm>
              <a:off x="860313" y="3057334"/>
              <a:ext cx="442138" cy="441173"/>
              <a:chOff x="326059" y="3119945"/>
              <a:chExt cx="313754" cy="313754"/>
            </a:xfrm>
          </p:grpSpPr>
          <p:sp>
            <p:nvSpPr>
              <p:cNvPr id="566" name="Oval 565">
                <a:extLst>
                  <a:ext uri="{FF2B5EF4-FFF2-40B4-BE49-F238E27FC236}">
                    <a16:creationId xmlns:a16="http://schemas.microsoft.com/office/drawing/2014/main" id="{C9CE2383-6E70-4343-A7F5-C7420292D38C}"/>
                  </a:ext>
                </a:extLst>
              </p:cNvPr>
              <p:cNvSpPr/>
              <p:nvPr/>
            </p:nvSpPr>
            <p:spPr>
              <a:xfrm>
                <a:off x="326059" y="3119945"/>
                <a:ext cx="313754" cy="313754"/>
              </a:xfrm>
              <a:prstGeom prst="ellipse">
                <a:avLst/>
              </a:prstGeom>
              <a:solidFill>
                <a:srgbClr val="005073"/>
              </a:solidFill>
              <a:ln w="25400" cap="flat" cmpd="sng" algn="ctr">
                <a:noFill/>
                <a:prstDash val="solid"/>
              </a:ln>
              <a:effectLst/>
            </p:spPr>
            <p:txBody>
              <a:bodyPr rtlCol="0" anchor="ctr"/>
              <a:lstStyle/>
              <a:p>
                <a:pPr algn="ctr" defTabSz="609585" fontAlgn="base">
                  <a:spcBef>
                    <a:spcPct val="0"/>
                  </a:spcBef>
                  <a:spcAft>
                    <a:spcPct val="0"/>
                  </a:spcAft>
                  <a:defRPr/>
                </a:pPr>
                <a:endParaRPr lang="en-US" sz="2400">
                  <a:solidFill>
                    <a:srgbClr val="005073"/>
                  </a:solidFill>
                  <a:latin typeface="CiscoSansTT ExtraLight"/>
                  <a:cs typeface="Arial"/>
                  <a:sym typeface="Arial"/>
                </a:endParaRPr>
              </a:p>
            </p:txBody>
          </p:sp>
          <p:sp>
            <p:nvSpPr>
              <p:cNvPr id="567" name="Freeform 15">
                <a:extLst>
                  <a:ext uri="{FF2B5EF4-FFF2-40B4-BE49-F238E27FC236}">
                    <a16:creationId xmlns:a16="http://schemas.microsoft.com/office/drawing/2014/main" id="{31AF26F7-44D1-41AB-91F7-E158106F843F}"/>
                  </a:ext>
                </a:extLst>
              </p:cNvPr>
              <p:cNvSpPr>
                <a:spLocks noEditPoints="1"/>
              </p:cNvSpPr>
              <p:nvPr/>
            </p:nvSpPr>
            <p:spPr bwMode="auto">
              <a:xfrm>
                <a:off x="386280" y="3211678"/>
                <a:ext cx="191649" cy="123203"/>
              </a:xfrm>
              <a:custGeom>
                <a:avLst/>
                <a:gdLst/>
                <a:ahLst/>
                <a:cxnLst>
                  <a:cxn ang="0">
                    <a:pos x="149" y="0"/>
                  </a:cxn>
                  <a:cxn ang="0">
                    <a:pos x="116" y="0"/>
                  </a:cxn>
                  <a:cxn ang="0">
                    <a:pos x="110" y="6"/>
                  </a:cxn>
                  <a:cxn ang="0">
                    <a:pos x="110" y="93"/>
                  </a:cxn>
                  <a:cxn ang="0">
                    <a:pos x="116" y="99"/>
                  </a:cxn>
                  <a:cxn ang="0">
                    <a:pos x="149" y="99"/>
                  </a:cxn>
                  <a:cxn ang="0">
                    <a:pos x="154" y="93"/>
                  </a:cxn>
                  <a:cxn ang="0">
                    <a:pos x="154" y="6"/>
                  </a:cxn>
                  <a:cxn ang="0">
                    <a:pos x="149" y="0"/>
                  </a:cxn>
                  <a:cxn ang="0">
                    <a:pos x="115" y="41"/>
                  </a:cxn>
                  <a:cxn ang="0">
                    <a:pos x="121" y="41"/>
                  </a:cxn>
                  <a:cxn ang="0">
                    <a:pos x="121" y="45"/>
                  </a:cxn>
                  <a:cxn ang="0">
                    <a:pos x="115" y="45"/>
                  </a:cxn>
                  <a:cxn ang="0">
                    <a:pos x="115" y="41"/>
                  </a:cxn>
                  <a:cxn ang="0">
                    <a:pos x="150" y="90"/>
                  </a:cxn>
                  <a:cxn ang="0">
                    <a:pos x="115" y="90"/>
                  </a:cxn>
                  <a:cxn ang="0">
                    <a:pos x="115" y="85"/>
                  </a:cxn>
                  <a:cxn ang="0">
                    <a:pos x="150" y="85"/>
                  </a:cxn>
                  <a:cxn ang="0">
                    <a:pos x="150" y="90"/>
                  </a:cxn>
                  <a:cxn ang="0">
                    <a:pos x="125" y="45"/>
                  </a:cxn>
                  <a:cxn ang="0">
                    <a:pos x="125" y="41"/>
                  </a:cxn>
                  <a:cxn ang="0">
                    <a:pos x="130" y="41"/>
                  </a:cxn>
                  <a:cxn ang="0">
                    <a:pos x="130" y="45"/>
                  </a:cxn>
                  <a:cxn ang="0">
                    <a:pos x="125" y="45"/>
                  </a:cxn>
                  <a:cxn ang="0">
                    <a:pos x="150" y="32"/>
                  </a:cxn>
                  <a:cxn ang="0">
                    <a:pos x="115" y="32"/>
                  </a:cxn>
                  <a:cxn ang="0">
                    <a:pos x="115" y="28"/>
                  </a:cxn>
                  <a:cxn ang="0">
                    <a:pos x="150" y="28"/>
                  </a:cxn>
                  <a:cxn ang="0">
                    <a:pos x="150" y="32"/>
                  </a:cxn>
                  <a:cxn ang="0">
                    <a:pos x="150" y="23"/>
                  </a:cxn>
                  <a:cxn ang="0">
                    <a:pos x="115" y="23"/>
                  </a:cxn>
                  <a:cxn ang="0">
                    <a:pos x="115" y="18"/>
                  </a:cxn>
                  <a:cxn ang="0">
                    <a:pos x="150" y="18"/>
                  </a:cxn>
                  <a:cxn ang="0">
                    <a:pos x="150" y="23"/>
                  </a:cxn>
                  <a:cxn ang="0">
                    <a:pos x="150" y="14"/>
                  </a:cxn>
                  <a:cxn ang="0">
                    <a:pos x="115" y="14"/>
                  </a:cxn>
                  <a:cxn ang="0">
                    <a:pos x="115" y="9"/>
                  </a:cxn>
                  <a:cxn ang="0">
                    <a:pos x="150" y="9"/>
                  </a:cxn>
                  <a:cxn ang="0">
                    <a:pos x="150" y="14"/>
                  </a:cxn>
                  <a:cxn ang="0">
                    <a:pos x="96" y="0"/>
                  </a:cxn>
                  <a:cxn ang="0">
                    <a:pos x="5" y="0"/>
                  </a:cxn>
                  <a:cxn ang="0">
                    <a:pos x="0" y="6"/>
                  </a:cxn>
                  <a:cxn ang="0">
                    <a:pos x="0" y="77"/>
                  </a:cxn>
                  <a:cxn ang="0">
                    <a:pos x="5" y="83"/>
                  </a:cxn>
                  <a:cxn ang="0">
                    <a:pos x="40" y="83"/>
                  </a:cxn>
                  <a:cxn ang="0">
                    <a:pos x="40" y="92"/>
                  </a:cxn>
                  <a:cxn ang="0">
                    <a:pos x="15" y="99"/>
                  </a:cxn>
                  <a:cxn ang="0">
                    <a:pos x="86" y="99"/>
                  </a:cxn>
                  <a:cxn ang="0">
                    <a:pos x="61" y="92"/>
                  </a:cxn>
                  <a:cxn ang="0">
                    <a:pos x="61" y="83"/>
                  </a:cxn>
                  <a:cxn ang="0">
                    <a:pos x="96" y="83"/>
                  </a:cxn>
                  <a:cxn ang="0">
                    <a:pos x="101" y="77"/>
                  </a:cxn>
                  <a:cxn ang="0">
                    <a:pos x="101" y="6"/>
                  </a:cxn>
                  <a:cxn ang="0">
                    <a:pos x="96" y="0"/>
                  </a:cxn>
                  <a:cxn ang="0">
                    <a:pos x="93" y="74"/>
                  </a:cxn>
                  <a:cxn ang="0">
                    <a:pos x="8" y="74"/>
                  </a:cxn>
                  <a:cxn ang="0">
                    <a:pos x="8" y="9"/>
                  </a:cxn>
                  <a:cxn ang="0">
                    <a:pos x="93" y="9"/>
                  </a:cxn>
                  <a:cxn ang="0">
                    <a:pos x="93" y="74"/>
                  </a:cxn>
                </a:cxnLst>
                <a:rect l="0" t="0" r="r" b="b"/>
                <a:pathLst>
                  <a:path w="154" h="99">
                    <a:moveTo>
                      <a:pt x="149" y="0"/>
                    </a:moveTo>
                    <a:cubicBezTo>
                      <a:pt x="116" y="0"/>
                      <a:pt x="116" y="0"/>
                      <a:pt x="116" y="0"/>
                    </a:cubicBezTo>
                    <a:cubicBezTo>
                      <a:pt x="113" y="0"/>
                      <a:pt x="110" y="3"/>
                      <a:pt x="110" y="6"/>
                    </a:cubicBezTo>
                    <a:cubicBezTo>
                      <a:pt x="110" y="93"/>
                      <a:pt x="110" y="93"/>
                      <a:pt x="110" y="93"/>
                    </a:cubicBezTo>
                    <a:cubicBezTo>
                      <a:pt x="110" y="96"/>
                      <a:pt x="113" y="99"/>
                      <a:pt x="116" y="99"/>
                    </a:cubicBezTo>
                    <a:cubicBezTo>
                      <a:pt x="149" y="99"/>
                      <a:pt x="149" y="99"/>
                      <a:pt x="149" y="99"/>
                    </a:cubicBezTo>
                    <a:cubicBezTo>
                      <a:pt x="152" y="99"/>
                      <a:pt x="154" y="96"/>
                      <a:pt x="154" y="93"/>
                    </a:cubicBezTo>
                    <a:cubicBezTo>
                      <a:pt x="154" y="6"/>
                      <a:pt x="154" y="6"/>
                      <a:pt x="154" y="6"/>
                    </a:cubicBezTo>
                    <a:cubicBezTo>
                      <a:pt x="154" y="3"/>
                      <a:pt x="152" y="0"/>
                      <a:pt x="149" y="0"/>
                    </a:cubicBezTo>
                    <a:close/>
                    <a:moveTo>
                      <a:pt x="115" y="41"/>
                    </a:moveTo>
                    <a:cubicBezTo>
                      <a:pt x="121" y="41"/>
                      <a:pt x="121" y="41"/>
                      <a:pt x="121" y="41"/>
                    </a:cubicBezTo>
                    <a:cubicBezTo>
                      <a:pt x="121" y="45"/>
                      <a:pt x="121" y="45"/>
                      <a:pt x="121" y="45"/>
                    </a:cubicBezTo>
                    <a:cubicBezTo>
                      <a:pt x="115" y="45"/>
                      <a:pt x="115" y="45"/>
                      <a:pt x="115" y="45"/>
                    </a:cubicBezTo>
                    <a:lnTo>
                      <a:pt x="115" y="41"/>
                    </a:lnTo>
                    <a:close/>
                    <a:moveTo>
                      <a:pt x="150" y="90"/>
                    </a:moveTo>
                    <a:cubicBezTo>
                      <a:pt x="115" y="90"/>
                      <a:pt x="115" y="90"/>
                      <a:pt x="115" y="90"/>
                    </a:cubicBezTo>
                    <a:cubicBezTo>
                      <a:pt x="115" y="85"/>
                      <a:pt x="115" y="85"/>
                      <a:pt x="115" y="85"/>
                    </a:cubicBezTo>
                    <a:cubicBezTo>
                      <a:pt x="150" y="85"/>
                      <a:pt x="150" y="85"/>
                      <a:pt x="150" y="85"/>
                    </a:cubicBezTo>
                    <a:lnTo>
                      <a:pt x="150" y="90"/>
                    </a:lnTo>
                    <a:close/>
                    <a:moveTo>
                      <a:pt x="125" y="45"/>
                    </a:moveTo>
                    <a:cubicBezTo>
                      <a:pt x="125" y="41"/>
                      <a:pt x="125" y="41"/>
                      <a:pt x="125" y="41"/>
                    </a:cubicBezTo>
                    <a:cubicBezTo>
                      <a:pt x="130" y="41"/>
                      <a:pt x="130" y="41"/>
                      <a:pt x="130" y="41"/>
                    </a:cubicBezTo>
                    <a:cubicBezTo>
                      <a:pt x="130" y="45"/>
                      <a:pt x="130" y="45"/>
                      <a:pt x="130" y="45"/>
                    </a:cubicBezTo>
                    <a:lnTo>
                      <a:pt x="125" y="45"/>
                    </a:lnTo>
                    <a:close/>
                    <a:moveTo>
                      <a:pt x="150" y="32"/>
                    </a:moveTo>
                    <a:cubicBezTo>
                      <a:pt x="115" y="32"/>
                      <a:pt x="115" y="32"/>
                      <a:pt x="115" y="32"/>
                    </a:cubicBezTo>
                    <a:cubicBezTo>
                      <a:pt x="115" y="28"/>
                      <a:pt x="115" y="28"/>
                      <a:pt x="115" y="28"/>
                    </a:cubicBezTo>
                    <a:cubicBezTo>
                      <a:pt x="150" y="28"/>
                      <a:pt x="150" y="28"/>
                      <a:pt x="150" y="28"/>
                    </a:cubicBezTo>
                    <a:lnTo>
                      <a:pt x="150" y="32"/>
                    </a:lnTo>
                    <a:close/>
                    <a:moveTo>
                      <a:pt x="150" y="23"/>
                    </a:moveTo>
                    <a:cubicBezTo>
                      <a:pt x="115" y="23"/>
                      <a:pt x="115" y="23"/>
                      <a:pt x="115" y="23"/>
                    </a:cubicBezTo>
                    <a:cubicBezTo>
                      <a:pt x="115" y="18"/>
                      <a:pt x="115" y="18"/>
                      <a:pt x="115" y="18"/>
                    </a:cubicBezTo>
                    <a:cubicBezTo>
                      <a:pt x="150" y="18"/>
                      <a:pt x="150" y="18"/>
                      <a:pt x="150" y="18"/>
                    </a:cubicBezTo>
                    <a:lnTo>
                      <a:pt x="150" y="23"/>
                    </a:lnTo>
                    <a:close/>
                    <a:moveTo>
                      <a:pt x="150" y="14"/>
                    </a:moveTo>
                    <a:cubicBezTo>
                      <a:pt x="115" y="14"/>
                      <a:pt x="115" y="14"/>
                      <a:pt x="115" y="14"/>
                    </a:cubicBezTo>
                    <a:cubicBezTo>
                      <a:pt x="115" y="9"/>
                      <a:pt x="115" y="9"/>
                      <a:pt x="115" y="9"/>
                    </a:cubicBezTo>
                    <a:cubicBezTo>
                      <a:pt x="150" y="9"/>
                      <a:pt x="150" y="9"/>
                      <a:pt x="150" y="9"/>
                    </a:cubicBezTo>
                    <a:lnTo>
                      <a:pt x="150" y="14"/>
                    </a:lnTo>
                    <a:close/>
                    <a:moveTo>
                      <a:pt x="96" y="0"/>
                    </a:moveTo>
                    <a:cubicBezTo>
                      <a:pt x="5" y="0"/>
                      <a:pt x="5" y="0"/>
                      <a:pt x="5" y="0"/>
                    </a:cubicBezTo>
                    <a:cubicBezTo>
                      <a:pt x="2" y="0"/>
                      <a:pt x="0" y="3"/>
                      <a:pt x="0" y="6"/>
                    </a:cubicBezTo>
                    <a:cubicBezTo>
                      <a:pt x="0" y="77"/>
                      <a:pt x="0" y="77"/>
                      <a:pt x="0" y="77"/>
                    </a:cubicBezTo>
                    <a:cubicBezTo>
                      <a:pt x="0" y="80"/>
                      <a:pt x="2" y="83"/>
                      <a:pt x="5" y="83"/>
                    </a:cubicBezTo>
                    <a:cubicBezTo>
                      <a:pt x="40" y="83"/>
                      <a:pt x="40" y="83"/>
                      <a:pt x="40" y="83"/>
                    </a:cubicBezTo>
                    <a:cubicBezTo>
                      <a:pt x="40" y="92"/>
                      <a:pt x="40" y="92"/>
                      <a:pt x="40" y="92"/>
                    </a:cubicBezTo>
                    <a:cubicBezTo>
                      <a:pt x="26" y="93"/>
                      <a:pt x="15" y="96"/>
                      <a:pt x="15" y="99"/>
                    </a:cubicBezTo>
                    <a:cubicBezTo>
                      <a:pt x="86" y="99"/>
                      <a:pt x="86" y="99"/>
                      <a:pt x="86" y="99"/>
                    </a:cubicBezTo>
                    <a:cubicBezTo>
                      <a:pt x="86" y="96"/>
                      <a:pt x="75" y="93"/>
                      <a:pt x="61" y="92"/>
                    </a:cubicBezTo>
                    <a:cubicBezTo>
                      <a:pt x="61" y="83"/>
                      <a:pt x="61" y="83"/>
                      <a:pt x="61" y="83"/>
                    </a:cubicBezTo>
                    <a:cubicBezTo>
                      <a:pt x="96" y="83"/>
                      <a:pt x="96" y="83"/>
                      <a:pt x="96" y="83"/>
                    </a:cubicBezTo>
                    <a:cubicBezTo>
                      <a:pt x="99" y="83"/>
                      <a:pt x="101" y="80"/>
                      <a:pt x="101" y="77"/>
                    </a:cubicBezTo>
                    <a:cubicBezTo>
                      <a:pt x="101" y="6"/>
                      <a:pt x="101" y="6"/>
                      <a:pt x="101" y="6"/>
                    </a:cubicBezTo>
                    <a:cubicBezTo>
                      <a:pt x="101" y="3"/>
                      <a:pt x="99" y="0"/>
                      <a:pt x="96" y="0"/>
                    </a:cubicBezTo>
                    <a:close/>
                    <a:moveTo>
                      <a:pt x="93" y="74"/>
                    </a:moveTo>
                    <a:cubicBezTo>
                      <a:pt x="8" y="74"/>
                      <a:pt x="8" y="74"/>
                      <a:pt x="8" y="74"/>
                    </a:cubicBezTo>
                    <a:cubicBezTo>
                      <a:pt x="8" y="9"/>
                      <a:pt x="8" y="9"/>
                      <a:pt x="8" y="9"/>
                    </a:cubicBezTo>
                    <a:cubicBezTo>
                      <a:pt x="93" y="9"/>
                      <a:pt x="93" y="9"/>
                      <a:pt x="93" y="9"/>
                    </a:cubicBezTo>
                    <a:lnTo>
                      <a:pt x="93" y="74"/>
                    </a:lnTo>
                    <a:close/>
                  </a:path>
                </a:pathLst>
              </a:custGeom>
              <a:solidFill>
                <a:srgbClr val="00BCEB"/>
              </a:solidFill>
              <a:ln w="9525">
                <a:noFill/>
                <a:round/>
                <a:headEnd/>
                <a:tailEnd/>
              </a:ln>
              <a:effec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Arial"/>
                  <a:sym typeface="Arial"/>
                </a:endParaRPr>
              </a:p>
            </p:txBody>
          </p:sp>
        </p:grpSp>
        <p:grpSp>
          <p:nvGrpSpPr>
            <p:cNvPr id="552" name="Group 551">
              <a:extLst>
                <a:ext uri="{FF2B5EF4-FFF2-40B4-BE49-F238E27FC236}">
                  <a16:creationId xmlns:a16="http://schemas.microsoft.com/office/drawing/2014/main" id="{CCAB9B68-2267-4DCF-B350-979D4AB9D03B}"/>
                </a:ext>
              </a:extLst>
            </p:cNvPr>
            <p:cNvGrpSpPr/>
            <p:nvPr/>
          </p:nvGrpSpPr>
          <p:grpSpPr>
            <a:xfrm>
              <a:off x="2386746" y="3590435"/>
              <a:ext cx="454781" cy="453789"/>
              <a:chOff x="326059" y="3119945"/>
              <a:chExt cx="313754" cy="313754"/>
            </a:xfrm>
          </p:grpSpPr>
          <p:sp>
            <p:nvSpPr>
              <p:cNvPr id="564" name="Oval 563">
                <a:extLst>
                  <a:ext uri="{FF2B5EF4-FFF2-40B4-BE49-F238E27FC236}">
                    <a16:creationId xmlns:a16="http://schemas.microsoft.com/office/drawing/2014/main" id="{D225BAAE-A876-4023-8741-F1FE93B6C268}"/>
                  </a:ext>
                </a:extLst>
              </p:cNvPr>
              <p:cNvSpPr/>
              <p:nvPr/>
            </p:nvSpPr>
            <p:spPr>
              <a:xfrm>
                <a:off x="326059" y="3119945"/>
                <a:ext cx="313754" cy="313754"/>
              </a:xfrm>
              <a:prstGeom prst="ellipse">
                <a:avLst/>
              </a:prstGeom>
              <a:solidFill>
                <a:srgbClr val="005073"/>
              </a:solidFill>
              <a:ln w="25400" cap="flat" cmpd="sng" algn="ctr">
                <a:noFill/>
                <a:prstDash val="solid"/>
              </a:ln>
              <a:effectLst/>
            </p:spPr>
            <p:txBody>
              <a:bodyPr rtlCol="0" anchor="ctr"/>
              <a:lstStyle/>
              <a:p>
                <a:pPr algn="ctr" defTabSz="609585" fontAlgn="base">
                  <a:spcBef>
                    <a:spcPct val="0"/>
                  </a:spcBef>
                  <a:spcAft>
                    <a:spcPct val="0"/>
                  </a:spcAft>
                  <a:defRPr/>
                </a:pPr>
                <a:endParaRPr lang="en-US" sz="2400">
                  <a:solidFill>
                    <a:srgbClr val="005073"/>
                  </a:solidFill>
                  <a:latin typeface="CiscoSansTT ExtraLight"/>
                  <a:cs typeface="Arial"/>
                  <a:sym typeface="Arial"/>
                </a:endParaRPr>
              </a:p>
            </p:txBody>
          </p:sp>
          <p:sp>
            <p:nvSpPr>
              <p:cNvPr id="565" name="Freeform 15">
                <a:extLst>
                  <a:ext uri="{FF2B5EF4-FFF2-40B4-BE49-F238E27FC236}">
                    <a16:creationId xmlns:a16="http://schemas.microsoft.com/office/drawing/2014/main" id="{C0C5312D-686A-4365-95A7-1A57231DA78E}"/>
                  </a:ext>
                </a:extLst>
              </p:cNvPr>
              <p:cNvSpPr>
                <a:spLocks noEditPoints="1"/>
              </p:cNvSpPr>
              <p:nvPr/>
            </p:nvSpPr>
            <p:spPr bwMode="auto">
              <a:xfrm>
                <a:off x="386280" y="3211678"/>
                <a:ext cx="191649" cy="123203"/>
              </a:xfrm>
              <a:custGeom>
                <a:avLst/>
                <a:gdLst/>
                <a:ahLst/>
                <a:cxnLst>
                  <a:cxn ang="0">
                    <a:pos x="149" y="0"/>
                  </a:cxn>
                  <a:cxn ang="0">
                    <a:pos x="116" y="0"/>
                  </a:cxn>
                  <a:cxn ang="0">
                    <a:pos x="110" y="6"/>
                  </a:cxn>
                  <a:cxn ang="0">
                    <a:pos x="110" y="93"/>
                  </a:cxn>
                  <a:cxn ang="0">
                    <a:pos x="116" y="99"/>
                  </a:cxn>
                  <a:cxn ang="0">
                    <a:pos x="149" y="99"/>
                  </a:cxn>
                  <a:cxn ang="0">
                    <a:pos x="154" y="93"/>
                  </a:cxn>
                  <a:cxn ang="0">
                    <a:pos x="154" y="6"/>
                  </a:cxn>
                  <a:cxn ang="0">
                    <a:pos x="149" y="0"/>
                  </a:cxn>
                  <a:cxn ang="0">
                    <a:pos x="115" y="41"/>
                  </a:cxn>
                  <a:cxn ang="0">
                    <a:pos x="121" y="41"/>
                  </a:cxn>
                  <a:cxn ang="0">
                    <a:pos x="121" y="45"/>
                  </a:cxn>
                  <a:cxn ang="0">
                    <a:pos x="115" y="45"/>
                  </a:cxn>
                  <a:cxn ang="0">
                    <a:pos x="115" y="41"/>
                  </a:cxn>
                  <a:cxn ang="0">
                    <a:pos x="150" y="90"/>
                  </a:cxn>
                  <a:cxn ang="0">
                    <a:pos x="115" y="90"/>
                  </a:cxn>
                  <a:cxn ang="0">
                    <a:pos x="115" y="85"/>
                  </a:cxn>
                  <a:cxn ang="0">
                    <a:pos x="150" y="85"/>
                  </a:cxn>
                  <a:cxn ang="0">
                    <a:pos x="150" y="90"/>
                  </a:cxn>
                  <a:cxn ang="0">
                    <a:pos x="125" y="45"/>
                  </a:cxn>
                  <a:cxn ang="0">
                    <a:pos x="125" y="41"/>
                  </a:cxn>
                  <a:cxn ang="0">
                    <a:pos x="130" y="41"/>
                  </a:cxn>
                  <a:cxn ang="0">
                    <a:pos x="130" y="45"/>
                  </a:cxn>
                  <a:cxn ang="0">
                    <a:pos x="125" y="45"/>
                  </a:cxn>
                  <a:cxn ang="0">
                    <a:pos x="150" y="32"/>
                  </a:cxn>
                  <a:cxn ang="0">
                    <a:pos x="115" y="32"/>
                  </a:cxn>
                  <a:cxn ang="0">
                    <a:pos x="115" y="28"/>
                  </a:cxn>
                  <a:cxn ang="0">
                    <a:pos x="150" y="28"/>
                  </a:cxn>
                  <a:cxn ang="0">
                    <a:pos x="150" y="32"/>
                  </a:cxn>
                  <a:cxn ang="0">
                    <a:pos x="150" y="23"/>
                  </a:cxn>
                  <a:cxn ang="0">
                    <a:pos x="115" y="23"/>
                  </a:cxn>
                  <a:cxn ang="0">
                    <a:pos x="115" y="18"/>
                  </a:cxn>
                  <a:cxn ang="0">
                    <a:pos x="150" y="18"/>
                  </a:cxn>
                  <a:cxn ang="0">
                    <a:pos x="150" y="23"/>
                  </a:cxn>
                  <a:cxn ang="0">
                    <a:pos x="150" y="14"/>
                  </a:cxn>
                  <a:cxn ang="0">
                    <a:pos x="115" y="14"/>
                  </a:cxn>
                  <a:cxn ang="0">
                    <a:pos x="115" y="9"/>
                  </a:cxn>
                  <a:cxn ang="0">
                    <a:pos x="150" y="9"/>
                  </a:cxn>
                  <a:cxn ang="0">
                    <a:pos x="150" y="14"/>
                  </a:cxn>
                  <a:cxn ang="0">
                    <a:pos x="96" y="0"/>
                  </a:cxn>
                  <a:cxn ang="0">
                    <a:pos x="5" y="0"/>
                  </a:cxn>
                  <a:cxn ang="0">
                    <a:pos x="0" y="6"/>
                  </a:cxn>
                  <a:cxn ang="0">
                    <a:pos x="0" y="77"/>
                  </a:cxn>
                  <a:cxn ang="0">
                    <a:pos x="5" y="83"/>
                  </a:cxn>
                  <a:cxn ang="0">
                    <a:pos x="40" y="83"/>
                  </a:cxn>
                  <a:cxn ang="0">
                    <a:pos x="40" y="92"/>
                  </a:cxn>
                  <a:cxn ang="0">
                    <a:pos x="15" y="99"/>
                  </a:cxn>
                  <a:cxn ang="0">
                    <a:pos x="86" y="99"/>
                  </a:cxn>
                  <a:cxn ang="0">
                    <a:pos x="61" y="92"/>
                  </a:cxn>
                  <a:cxn ang="0">
                    <a:pos x="61" y="83"/>
                  </a:cxn>
                  <a:cxn ang="0">
                    <a:pos x="96" y="83"/>
                  </a:cxn>
                  <a:cxn ang="0">
                    <a:pos x="101" y="77"/>
                  </a:cxn>
                  <a:cxn ang="0">
                    <a:pos x="101" y="6"/>
                  </a:cxn>
                  <a:cxn ang="0">
                    <a:pos x="96" y="0"/>
                  </a:cxn>
                  <a:cxn ang="0">
                    <a:pos x="93" y="74"/>
                  </a:cxn>
                  <a:cxn ang="0">
                    <a:pos x="8" y="74"/>
                  </a:cxn>
                  <a:cxn ang="0">
                    <a:pos x="8" y="9"/>
                  </a:cxn>
                  <a:cxn ang="0">
                    <a:pos x="93" y="9"/>
                  </a:cxn>
                  <a:cxn ang="0">
                    <a:pos x="93" y="74"/>
                  </a:cxn>
                </a:cxnLst>
                <a:rect l="0" t="0" r="r" b="b"/>
                <a:pathLst>
                  <a:path w="154" h="99">
                    <a:moveTo>
                      <a:pt x="149" y="0"/>
                    </a:moveTo>
                    <a:cubicBezTo>
                      <a:pt x="116" y="0"/>
                      <a:pt x="116" y="0"/>
                      <a:pt x="116" y="0"/>
                    </a:cubicBezTo>
                    <a:cubicBezTo>
                      <a:pt x="113" y="0"/>
                      <a:pt x="110" y="3"/>
                      <a:pt x="110" y="6"/>
                    </a:cubicBezTo>
                    <a:cubicBezTo>
                      <a:pt x="110" y="93"/>
                      <a:pt x="110" y="93"/>
                      <a:pt x="110" y="93"/>
                    </a:cubicBezTo>
                    <a:cubicBezTo>
                      <a:pt x="110" y="96"/>
                      <a:pt x="113" y="99"/>
                      <a:pt x="116" y="99"/>
                    </a:cubicBezTo>
                    <a:cubicBezTo>
                      <a:pt x="149" y="99"/>
                      <a:pt x="149" y="99"/>
                      <a:pt x="149" y="99"/>
                    </a:cubicBezTo>
                    <a:cubicBezTo>
                      <a:pt x="152" y="99"/>
                      <a:pt x="154" y="96"/>
                      <a:pt x="154" y="93"/>
                    </a:cubicBezTo>
                    <a:cubicBezTo>
                      <a:pt x="154" y="6"/>
                      <a:pt x="154" y="6"/>
                      <a:pt x="154" y="6"/>
                    </a:cubicBezTo>
                    <a:cubicBezTo>
                      <a:pt x="154" y="3"/>
                      <a:pt x="152" y="0"/>
                      <a:pt x="149" y="0"/>
                    </a:cubicBezTo>
                    <a:close/>
                    <a:moveTo>
                      <a:pt x="115" y="41"/>
                    </a:moveTo>
                    <a:cubicBezTo>
                      <a:pt x="121" y="41"/>
                      <a:pt x="121" y="41"/>
                      <a:pt x="121" y="41"/>
                    </a:cubicBezTo>
                    <a:cubicBezTo>
                      <a:pt x="121" y="45"/>
                      <a:pt x="121" y="45"/>
                      <a:pt x="121" y="45"/>
                    </a:cubicBezTo>
                    <a:cubicBezTo>
                      <a:pt x="115" y="45"/>
                      <a:pt x="115" y="45"/>
                      <a:pt x="115" y="45"/>
                    </a:cubicBezTo>
                    <a:lnTo>
                      <a:pt x="115" y="41"/>
                    </a:lnTo>
                    <a:close/>
                    <a:moveTo>
                      <a:pt x="150" y="90"/>
                    </a:moveTo>
                    <a:cubicBezTo>
                      <a:pt x="115" y="90"/>
                      <a:pt x="115" y="90"/>
                      <a:pt x="115" y="90"/>
                    </a:cubicBezTo>
                    <a:cubicBezTo>
                      <a:pt x="115" y="85"/>
                      <a:pt x="115" y="85"/>
                      <a:pt x="115" y="85"/>
                    </a:cubicBezTo>
                    <a:cubicBezTo>
                      <a:pt x="150" y="85"/>
                      <a:pt x="150" y="85"/>
                      <a:pt x="150" y="85"/>
                    </a:cubicBezTo>
                    <a:lnTo>
                      <a:pt x="150" y="90"/>
                    </a:lnTo>
                    <a:close/>
                    <a:moveTo>
                      <a:pt x="125" y="45"/>
                    </a:moveTo>
                    <a:cubicBezTo>
                      <a:pt x="125" y="41"/>
                      <a:pt x="125" y="41"/>
                      <a:pt x="125" y="41"/>
                    </a:cubicBezTo>
                    <a:cubicBezTo>
                      <a:pt x="130" y="41"/>
                      <a:pt x="130" y="41"/>
                      <a:pt x="130" y="41"/>
                    </a:cubicBezTo>
                    <a:cubicBezTo>
                      <a:pt x="130" y="45"/>
                      <a:pt x="130" y="45"/>
                      <a:pt x="130" y="45"/>
                    </a:cubicBezTo>
                    <a:lnTo>
                      <a:pt x="125" y="45"/>
                    </a:lnTo>
                    <a:close/>
                    <a:moveTo>
                      <a:pt x="150" y="32"/>
                    </a:moveTo>
                    <a:cubicBezTo>
                      <a:pt x="115" y="32"/>
                      <a:pt x="115" y="32"/>
                      <a:pt x="115" y="32"/>
                    </a:cubicBezTo>
                    <a:cubicBezTo>
                      <a:pt x="115" y="28"/>
                      <a:pt x="115" y="28"/>
                      <a:pt x="115" y="28"/>
                    </a:cubicBezTo>
                    <a:cubicBezTo>
                      <a:pt x="150" y="28"/>
                      <a:pt x="150" y="28"/>
                      <a:pt x="150" y="28"/>
                    </a:cubicBezTo>
                    <a:lnTo>
                      <a:pt x="150" y="32"/>
                    </a:lnTo>
                    <a:close/>
                    <a:moveTo>
                      <a:pt x="150" y="23"/>
                    </a:moveTo>
                    <a:cubicBezTo>
                      <a:pt x="115" y="23"/>
                      <a:pt x="115" y="23"/>
                      <a:pt x="115" y="23"/>
                    </a:cubicBezTo>
                    <a:cubicBezTo>
                      <a:pt x="115" y="18"/>
                      <a:pt x="115" y="18"/>
                      <a:pt x="115" y="18"/>
                    </a:cubicBezTo>
                    <a:cubicBezTo>
                      <a:pt x="150" y="18"/>
                      <a:pt x="150" y="18"/>
                      <a:pt x="150" y="18"/>
                    </a:cubicBezTo>
                    <a:lnTo>
                      <a:pt x="150" y="23"/>
                    </a:lnTo>
                    <a:close/>
                    <a:moveTo>
                      <a:pt x="150" y="14"/>
                    </a:moveTo>
                    <a:cubicBezTo>
                      <a:pt x="115" y="14"/>
                      <a:pt x="115" y="14"/>
                      <a:pt x="115" y="14"/>
                    </a:cubicBezTo>
                    <a:cubicBezTo>
                      <a:pt x="115" y="9"/>
                      <a:pt x="115" y="9"/>
                      <a:pt x="115" y="9"/>
                    </a:cubicBezTo>
                    <a:cubicBezTo>
                      <a:pt x="150" y="9"/>
                      <a:pt x="150" y="9"/>
                      <a:pt x="150" y="9"/>
                    </a:cubicBezTo>
                    <a:lnTo>
                      <a:pt x="150" y="14"/>
                    </a:lnTo>
                    <a:close/>
                    <a:moveTo>
                      <a:pt x="96" y="0"/>
                    </a:moveTo>
                    <a:cubicBezTo>
                      <a:pt x="5" y="0"/>
                      <a:pt x="5" y="0"/>
                      <a:pt x="5" y="0"/>
                    </a:cubicBezTo>
                    <a:cubicBezTo>
                      <a:pt x="2" y="0"/>
                      <a:pt x="0" y="3"/>
                      <a:pt x="0" y="6"/>
                    </a:cubicBezTo>
                    <a:cubicBezTo>
                      <a:pt x="0" y="77"/>
                      <a:pt x="0" y="77"/>
                      <a:pt x="0" y="77"/>
                    </a:cubicBezTo>
                    <a:cubicBezTo>
                      <a:pt x="0" y="80"/>
                      <a:pt x="2" y="83"/>
                      <a:pt x="5" y="83"/>
                    </a:cubicBezTo>
                    <a:cubicBezTo>
                      <a:pt x="40" y="83"/>
                      <a:pt x="40" y="83"/>
                      <a:pt x="40" y="83"/>
                    </a:cubicBezTo>
                    <a:cubicBezTo>
                      <a:pt x="40" y="92"/>
                      <a:pt x="40" y="92"/>
                      <a:pt x="40" y="92"/>
                    </a:cubicBezTo>
                    <a:cubicBezTo>
                      <a:pt x="26" y="93"/>
                      <a:pt x="15" y="96"/>
                      <a:pt x="15" y="99"/>
                    </a:cubicBezTo>
                    <a:cubicBezTo>
                      <a:pt x="86" y="99"/>
                      <a:pt x="86" y="99"/>
                      <a:pt x="86" y="99"/>
                    </a:cubicBezTo>
                    <a:cubicBezTo>
                      <a:pt x="86" y="96"/>
                      <a:pt x="75" y="93"/>
                      <a:pt x="61" y="92"/>
                    </a:cubicBezTo>
                    <a:cubicBezTo>
                      <a:pt x="61" y="83"/>
                      <a:pt x="61" y="83"/>
                      <a:pt x="61" y="83"/>
                    </a:cubicBezTo>
                    <a:cubicBezTo>
                      <a:pt x="96" y="83"/>
                      <a:pt x="96" y="83"/>
                      <a:pt x="96" y="83"/>
                    </a:cubicBezTo>
                    <a:cubicBezTo>
                      <a:pt x="99" y="83"/>
                      <a:pt x="101" y="80"/>
                      <a:pt x="101" y="77"/>
                    </a:cubicBezTo>
                    <a:cubicBezTo>
                      <a:pt x="101" y="6"/>
                      <a:pt x="101" y="6"/>
                      <a:pt x="101" y="6"/>
                    </a:cubicBezTo>
                    <a:cubicBezTo>
                      <a:pt x="101" y="3"/>
                      <a:pt x="99" y="0"/>
                      <a:pt x="96" y="0"/>
                    </a:cubicBezTo>
                    <a:close/>
                    <a:moveTo>
                      <a:pt x="93" y="74"/>
                    </a:moveTo>
                    <a:cubicBezTo>
                      <a:pt x="8" y="74"/>
                      <a:pt x="8" y="74"/>
                      <a:pt x="8" y="74"/>
                    </a:cubicBezTo>
                    <a:cubicBezTo>
                      <a:pt x="8" y="9"/>
                      <a:pt x="8" y="9"/>
                      <a:pt x="8" y="9"/>
                    </a:cubicBezTo>
                    <a:cubicBezTo>
                      <a:pt x="93" y="9"/>
                      <a:pt x="93" y="9"/>
                      <a:pt x="93" y="9"/>
                    </a:cubicBezTo>
                    <a:lnTo>
                      <a:pt x="93" y="74"/>
                    </a:lnTo>
                    <a:close/>
                  </a:path>
                </a:pathLst>
              </a:custGeom>
              <a:solidFill>
                <a:srgbClr val="00BCEB"/>
              </a:solidFill>
              <a:ln w="9525">
                <a:noFill/>
                <a:round/>
                <a:headEnd/>
                <a:tailEnd/>
              </a:ln>
              <a:effec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Arial"/>
                  <a:sym typeface="Arial"/>
                </a:endParaRPr>
              </a:p>
            </p:txBody>
          </p:sp>
        </p:grpSp>
        <p:grpSp>
          <p:nvGrpSpPr>
            <p:cNvPr id="553" name="Group 552">
              <a:extLst>
                <a:ext uri="{FF2B5EF4-FFF2-40B4-BE49-F238E27FC236}">
                  <a16:creationId xmlns:a16="http://schemas.microsoft.com/office/drawing/2014/main" id="{64276B5E-17D2-496B-9A98-F120160443C7}"/>
                </a:ext>
              </a:extLst>
            </p:cNvPr>
            <p:cNvGrpSpPr/>
            <p:nvPr/>
          </p:nvGrpSpPr>
          <p:grpSpPr>
            <a:xfrm>
              <a:off x="2386746" y="2519140"/>
              <a:ext cx="454781" cy="453789"/>
              <a:chOff x="326059" y="3119945"/>
              <a:chExt cx="313754" cy="313754"/>
            </a:xfrm>
          </p:grpSpPr>
          <p:sp>
            <p:nvSpPr>
              <p:cNvPr id="562" name="Oval 561">
                <a:extLst>
                  <a:ext uri="{FF2B5EF4-FFF2-40B4-BE49-F238E27FC236}">
                    <a16:creationId xmlns:a16="http://schemas.microsoft.com/office/drawing/2014/main" id="{FA21FDB2-3BA1-4C17-B483-C899E5839526}"/>
                  </a:ext>
                </a:extLst>
              </p:cNvPr>
              <p:cNvSpPr/>
              <p:nvPr/>
            </p:nvSpPr>
            <p:spPr>
              <a:xfrm>
                <a:off x="326059" y="3119945"/>
                <a:ext cx="313754" cy="313754"/>
              </a:xfrm>
              <a:prstGeom prst="ellipse">
                <a:avLst/>
              </a:prstGeom>
              <a:solidFill>
                <a:srgbClr val="005073"/>
              </a:solidFill>
              <a:ln w="25400" cap="flat" cmpd="sng" algn="ctr">
                <a:noFill/>
                <a:prstDash val="solid"/>
              </a:ln>
              <a:effectLst/>
            </p:spPr>
            <p:txBody>
              <a:bodyPr rtlCol="0" anchor="ctr"/>
              <a:lstStyle/>
              <a:p>
                <a:pPr algn="ctr" defTabSz="609585" fontAlgn="base">
                  <a:spcBef>
                    <a:spcPct val="0"/>
                  </a:spcBef>
                  <a:spcAft>
                    <a:spcPct val="0"/>
                  </a:spcAft>
                  <a:defRPr/>
                </a:pPr>
                <a:endParaRPr lang="en-US" sz="2400">
                  <a:solidFill>
                    <a:srgbClr val="005073"/>
                  </a:solidFill>
                  <a:latin typeface="CiscoSansTT ExtraLight"/>
                  <a:cs typeface="Arial"/>
                  <a:sym typeface="Arial"/>
                </a:endParaRPr>
              </a:p>
            </p:txBody>
          </p:sp>
          <p:sp>
            <p:nvSpPr>
              <p:cNvPr id="563" name="Freeform 15">
                <a:extLst>
                  <a:ext uri="{FF2B5EF4-FFF2-40B4-BE49-F238E27FC236}">
                    <a16:creationId xmlns:a16="http://schemas.microsoft.com/office/drawing/2014/main" id="{45AAF7AC-17D7-48D2-97AC-48416A84AC24}"/>
                  </a:ext>
                </a:extLst>
              </p:cNvPr>
              <p:cNvSpPr>
                <a:spLocks noEditPoints="1"/>
              </p:cNvSpPr>
              <p:nvPr/>
            </p:nvSpPr>
            <p:spPr bwMode="auto">
              <a:xfrm>
                <a:off x="386280" y="3211678"/>
                <a:ext cx="191649" cy="123203"/>
              </a:xfrm>
              <a:custGeom>
                <a:avLst/>
                <a:gdLst/>
                <a:ahLst/>
                <a:cxnLst>
                  <a:cxn ang="0">
                    <a:pos x="149" y="0"/>
                  </a:cxn>
                  <a:cxn ang="0">
                    <a:pos x="116" y="0"/>
                  </a:cxn>
                  <a:cxn ang="0">
                    <a:pos x="110" y="6"/>
                  </a:cxn>
                  <a:cxn ang="0">
                    <a:pos x="110" y="93"/>
                  </a:cxn>
                  <a:cxn ang="0">
                    <a:pos x="116" y="99"/>
                  </a:cxn>
                  <a:cxn ang="0">
                    <a:pos x="149" y="99"/>
                  </a:cxn>
                  <a:cxn ang="0">
                    <a:pos x="154" y="93"/>
                  </a:cxn>
                  <a:cxn ang="0">
                    <a:pos x="154" y="6"/>
                  </a:cxn>
                  <a:cxn ang="0">
                    <a:pos x="149" y="0"/>
                  </a:cxn>
                  <a:cxn ang="0">
                    <a:pos x="115" y="41"/>
                  </a:cxn>
                  <a:cxn ang="0">
                    <a:pos x="121" y="41"/>
                  </a:cxn>
                  <a:cxn ang="0">
                    <a:pos x="121" y="45"/>
                  </a:cxn>
                  <a:cxn ang="0">
                    <a:pos x="115" y="45"/>
                  </a:cxn>
                  <a:cxn ang="0">
                    <a:pos x="115" y="41"/>
                  </a:cxn>
                  <a:cxn ang="0">
                    <a:pos x="150" y="90"/>
                  </a:cxn>
                  <a:cxn ang="0">
                    <a:pos x="115" y="90"/>
                  </a:cxn>
                  <a:cxn ang="0">
                    <a:pos x="115" y="85"/>
                  </a:cxn>
                  <a:cxn ang="0">
                    <a:pos x="150" y="85"/>
                  </a:cxn>
                  <a:cxn ang="0">
                    <a:pos x="150" y="90"/>
                  </a:cxn>
                  <a:cxn ang="0">
                    <a:pos x="125" y="45"/>
                  </a:cxn>
                  <a:cxn ang="0">
                    <a:pos x="125" y="41"/>
                  </a:cxn>
                  <a:cxn ang="0">
                    <a:pos x="130" y="41"/>
                  </a:cxn>
                  <a:cxn ang="0">
                    <a:pos x="130" y="45"/>
                  </a:cxn>
                  <a:cxn ang="0">
                    <a:pos x="125" y="45"/>
                  </a:cxn>
                  <a:cxn ang="0">
                    <a:pos x="150" y="32"/>
                  </a:cxn>
                  <a:cxn ang="0">
                    <a:pos x="115" y="32"/>
                  </a:cxn>
                  <a:cxn ang="0">
                    <a:pos x="115" y="28"/>
                  </a:cxn>
                  <a:cxn ang="0">
                    <a:pos x="150" y="28"/>
                  </a:cxn>
                  <a:cxn ang="0">
                    <a:pos x="150" y="32"/>
                  </a:cxn>
                  <a:cxn ang="0">
                    <a:pos x="150" y="23"/>
                  </a:cxn>
                  <a:cxn ang="0">
                    <a:pos x="115" y="23"/>
                  </a:cxn>
                  <a:cxn ang="0">
                    <a:pos x="115" y="18"/>
                  </a:cxn>
                  <a:cxn ang="0">
                    <a:pos x="150" y="18"/>
                  </a:cxn>
                  <a:cxn ang="0">
                    <a:pos x="150" y="23"/>
                  </a:cxn>
                  <a:cxn ang="0">
                    <a:pos x="150" y="14"/>
                  </a:cxn>
                  <a:cxn ang="0">
                    <a:pos x="115" y="14"/>
                  </a:cxn>
                  <a:cxn ang="0">
                    <a:pos x="115" y="9"/>
                  </a:cxn>
                  <a:cxn ang="0">
                    <a:pos x="150" y="9"/>
                  </a:cxn>
                  <a:cxn ang="0">
                    <a:pos x="150" y="14"/>
                  </a:cxn>
                  <a:cxn ang="0">
                    <a:pos x="96" y="0"/>
                  </a:cxn>
                  <a:cxn ang="0">
                    <a:pos x="5" y="0"/>
                  </a:cxn>
                  <a:cxn ang="0">
                    <a:pos x="0" y="6"/>
                  </a:cxn>
                  <a:cxn ang="0">
                    <a:pos x="0" y="77"/>
                  </a:cxn>
                  <a:cxn ang="0">
                    <a:pos x="5" y="83"/>
                  </a:cxn>
                  <a:cxn ang="0">
                    <a:pos x="40" y="83"/>
                  </a:cxn>
                  <a:cxn ang="0">
                    <a:pos x="40" y="92"/>
                  </a:cxn>
                  <a:cxn ang="0">
                    <a:pos x="15" y="99"/>
                  </a:cxn>
                  <a:cxn ang="0">
                    <a:pos x="86" y="99"/>
                  </a:cxn>
                  <a:cxn ang="0">
                    <a:pos x="61" y="92"/>
                  </a:cxn>
                  <a:cxn ang="0">
                    <a:pos x="61" y="83"/>
                  </a:cxn>
                  <a:cxn ang="0">
                    <a:pos x="96" y="83"/>
                  </a:cxn>
                  <a:cxn ang="0">
                    <a:pos x="101" y="77"/>
                  </a:cxn>
                  <a:cxn ang="0">
                    <a:pos x="101" y="6"/>
                  </a:cxn>
                  <a:cxn ang="0">
                    <a:pos x="96" y="0"/>
                  </a:cxn>
                  <a:cxn ang="0">
                    <a:pos x="93" y="74"/>
                  </a:cxn>
                  <a:cxn ang="0">
                    <a:pos x="8" y="74"/>
                  </a:cxn>
                  <a:cxn ang="0">
                    <a:pos x="8" y="9"/>
                  </a:cxn>
                  <a:cxn ang="0">
                    <a:pos x="93" y="9"/>
                  </a:cxn>
                  <a:cxn ang="0">
                    <a:pos x="93" y="74"/>
                  </a:cxn>
                </a:cxnLst>
                <a:rect l="0" t="0" r="r" b="b"/>
                <a:pathLst>
                  <a:path w="154" h="99">
                    <a:moveTo>
                      <a:pt x="149" y="0"/>
                    </a:moveTo>
                    <a:cubicBezTo>
                      <a:pt x="116" y="0"/>
                      <a:pt x="116" y="0"/>
                      <a:pt x="116" y="0"/>
                    </a:cubicBezTo>
                    <a:cubicBezTo>
                      <a:pt x="113" y="0"/>
                      <a:pt x="110" y="3"/>
                      <a:pt x="110" y="6"/>
                    </a:cubicBezTo>
                    <a:cubicBezTo>
                      <a:pt x="110" y="93"/>
                      <a:pt x="110" y="93"/>
                      <a:pt x="110" y="93"/>
                    </a:cubicBezTo>
                    <a:cubicBezTo>
                      <a:pt x="110" y="96"/>
                      <a:pt x="113" y="99"/>
                      <a:pt x="116" y="99"/>
                    </a:cubicBezTo>
                    <a:cubicBezTo>
                      <a:pt x="149" y="99"/>
                      <a:pt x="149" y="99"/>
                      <a:pt x="149" y="99"/>
                    </a:cubicBezTo>
                    <a:cubicBezTo>
                      <a:pt x="152" y="99"/>
                      <a:pt x="154" y="96"/>
                      <a:pt x="154" y="93"/>
                    </a:cubicBezTo>
                    <a:cubicBezTo>
                      <a:pt x="154" y="6"/>
                      <a:pt x="154" y="6"/>
                      <a:pt x="154" y="6"/>
                    </a:cubicBezTo>
                    <a:cubicBezTo>
                      <a:pt x="154" y="3"/>
                      <a:pt x="152" y="0"/>
                      <a:pt x="149" y="0"/>
                    </a:cubicBezTo>
                    <a:close/>
                    <a:moveTo>
                      <a:pt x="115" y="41"/>
                    </a:moveTo>
                    <a:cubicBezTo>
                      <a:pt x="121" y="41"/>
                      <a:pt x="121" y="41"/>
                      <a:pt x="121" y="41"/>
                    </a:cubicBezTo>
                    <a:cubicBezTo>
                      <a:pt x="121" y="45"/>
                      <a:pt x="121" y="45"/>
                      <a:pt x="121" y="45"/>
                    </a:cubicBezTo>
                    <a:cubicBezTo>
                      <a:pt x="115" y="45"/>
                      <a:pt x="115" y="45"/>
                      <a:pt x="115" y="45"/>
                    </a:cubicBezTo>
                    <a:lnTo>
                      <a:pt x="115" y="41"/>
                    </a:lnTo>
                    <a:close/>
                    <a:moveTo>
                      <a:pt x="150" y="90"/>
                    </a:moveTo>
                    <a:cubicBezTo>
                      <a:pt x="115" y="90"/>
                      <a:pt x="115" y="90"/>
                      <a:pt x="115" y="90"/>
                    </a:cubicBezTo>
                    <a:cubicBezTo>
                      <a:pt x="115" y="85"/>
                      <a:pt x="115" y="85"/>
                      <a:pt x="115" y="85"/>
                    </a:cubicBezTo>
                    <a:cubicBezTo>
                      <a:pt x="150" y="85"/>
                      <a:pt x="150" y="85"/>
                      <a:pt x="150" y="85"/>
                    </a:cubicBezTo>
                    <a:lnTo>
                      <a:pt x="150" y="90"/>
                    </a:lnTo>
                    <a:close/>
                    <a:moveTo>
                      <a:pt x="125" y="45"/>
                    </a:moveTo>
                    <a:cubicBezTo>
                      <a:pt x="125" y="41"/>
                      <a:pt x="125" y="41"/>
                      <a:pt x="125" y="41"/>
                    </a:cubicBezTo>
                    <a:cubicBezTo>
                      <a:pt x="130" y="41"/>
                      <a:pt x="130" y="41"/>
                      <a:pt x="130" y="41"/>
                    </a:cubicBezTo>
                    <a:cubicBezTo>
                      <a:pt x="130" y="45"/>
                      <a:pt x="130" y="45"/>
                      <a:pt x="130" y="45"/>
                    </a:cubicBezTo>
                    <a:lnTo>
                      <a:pt x="125" y="45"/>
                    </a:lnTo>
                    <a:close/>
                    <a:moveTo>
                      <a:pt x="150" y="32"/>
                    </a:moveTo>
                    <a:cubicBezTo>
                      <a:pt x="115" y="32"/>
                      <a:pt x="115" y="32"/>
                      <a:pt x="115" y="32"/>
                    </a:cubicBezTo>
                    <a:cubicBezTo>
                      <a:pt x="115" y="28"/>
                      <a:pt x="115" y="28"/>
                      <a:pt x="115" y="28"/>
                    </a:cubicBezTo>
                    <a:cubicBezTo>
                      <a:pt x="150" y="28"/>
                      <a:pt x="150" y="28"/>
                      <a:pt x="150" y="28"/>
                    </a:cubicBezTo>
                    <a:lnTo>
                      <a:pt x="150" y="32"/>
                    </a:lnTo>
                    <a:close/>
                    <a:moveTo>
                      <a:pt x="150" y="23"/>
                    </a:moveTo>
                    <a:cubicBezTo>
                      <a:pt x="115" y="23"/>
                      <a:pt x="115" y="23"/>
                      <a:pt x="115" y="23"/>
                    </a:cubicBezTo>
                    <a:cubicBezTo>
                      <a:pt x="115" y="18"/>
                      <a:pt x="115" y="18"/>
                      <a:pt x="115" y="18"/>
                    </a:cubicBezTo>
                    <a:cubicBezTo>
                      <a:pt x="150" y="18"/>
                      <a:pt x="150" y="18"/>
                      <a:pt x="150" y="18"/>
                    </a:cubicBezTo>
                    <a:lnTo>
                      <a:pt x="150" y="23"/>
                    </a:lnTo>
                    <a:close/>
                    <a:moveTo>
                      <a:pt x="150" y="14"/>
                    </a:moveTo>
                    <a:cubicBezTo>
                      <a:pt x="115" y="14"/>
                      <a:pt x="115" y="14"/>
                      <a:pt x="115" y="14"/>
                    </a:cubicBezTo>
                    <a:cubicBezTo>
                      <a:pt x="115" y="9"/>
                      <a:pt x="115" y="9"/>
                      <a:pt x="115" y="9"/>
                    </a:cubicBezTo>
                    <a:cubicBezTo>
                      <a:pt x="150" y="9"/>
                      <a:pt x="150" y="9"/>
                      <a:pt x="150" y="9"/>
                    </a:cubicBezTo>
                    <a:lnTo>
                      <a:pt x="150" y="14"/>
                    </a:lnTo>
                    <a:close/>
                    <a:moveTo>
                      <a:pt x="96" y="0"/>
                    </a:moveTo>
                    <a:cubicBezTo>
                      <a:pt x="5" y="0"/>
                      <a:pt x="5" y="0"/>
                      <a:pt x="5" y="0"/>
                    </a:cubicBezTo>
                    <a:cubicBezTo>
                      <a:pt x="2" y="0"/>
                      <a:pt x="0" y="3"/>
                      <a:pt x="0" y="6"/>
                    </a:cubicBezTo>
                    <a:cubicBezTo>
                      <a:pt x="0" y="77"/>
                      <a:pt x="0" y="77"/>
                      <a:pt x="0" y="77"/>
                    </a:cubicBezTo>
                    <a:cubicBezTo>
                      <a:pt x="0" y="80"/>
                      <a:pt x="2" y="83"/>
                      <a:pt x="5" y="83"/>
                    </a:cubicBezTo>
                    <a:cubicBezTo>
                      <a:pt x="40" y="83"/>
                      <a:pt x="40" y="83"/>
                      <a:pt x="40" y="83"/>
                    </a:cubicBezTo>
                    <a:cubicBezTo>
                      <a:pt x="40" y="92"/>
                      <a:pt x="40" y="92"/>
                      <a:pt x="40" y="92"/>
                    </a:cubicBezTo>
                    <a:cubicBezTo>
                      <a:pt x="26" y="93"/>
                      <a:pt x="15" y="96"/>
                      <a:pt x="15" y="99"/>
                    </a:cubicBezTo>
                    <a:cubicBezTo>
                      <a:pt x="86" y="99"/>
                      <a:pt x="86" y="99"/>
                      <a:pt x="86" y="99"/>
                    </a:cubicBezTo>
                    <a:cubicBezTo>
                      <a:pt x="86" y="96"/>
                      <a:pt x="75" y="93"/>
                      <a:pt x="61" y="92"/>
                    </a:cubicBezTo>
                    <a:cubicBezTo>
                      <a:pt x="61" y="83"/>
                      <a:pt x="61" y="83"/>
                      <a:pt x="61" y="83"/>
                    </a:cubicBezTo>
                    <a:cubicBezTo>
                      <a:pt x="96" y="83"/>
                      <a:pt x="96" y="83"/>
                      <a:pt x="96" y="83"/>
                    </a:cubicBezTo>
                    <a:cubicBezTo>
                      <a:pt x="99" y="83"/>
                      <a:pt x="101" y="80"/>
                      <a:pt x="101" y="77"/>
                    </a:cubicBezTo>
                    <a:cubicBezTo>
                      <a:pt x="101" y="6"/>
                      <a:pt x="101" y="6"/>
                      <a:pt x="101" y="6"/>
                    </a:cubicBezTo>
                    <a:cubicBezTo>
                      <a:pt x="101" y="3"/>
                      <a:pt x="99" y="0"/>
                      <a:pt x="96" y="0"/>
                    </a:cubicBezTo>
                    <a:close/>
                    <a:moveTo>
                      <a:pt x="93" y="74"/>
                    </a:moveTo>
                    <a:cubicBezTo>
                      <a:pt x="8" y="74"/>
                      <a:pt x="8" y="74"/>
                      <a:pt x="8" y="74"/>
                    </a:cubicBezTo>
                    <a:cubicBezTo>
                      <a:pt x="8" y="9"/>
                      <a:pt x="8" y="9"/>
                      <a:pt x="8" y="9"/>
                    </a:cubicBezTo>
                    <a:cubicBezTo>
                      <a:pt x="93" y="9"/>
                      <a:pt x="93" y="9"/>
                      <a:pt x="93" y="9"/>
                    </a:cubicBezTo>
                    <a:lnTo>
                      <a:pt x="93" y="74"/>
                    </a:lnTo>
                    <a:close/>
                  </a:path>
                </a:pathLst>
              </a:custGeom>
              <a:solidFill>
                <a:srgbClr val="00BCEB"/>
              </a:solidFill>
              <a:ln w="9525">
                <a:noFill/>
                <a:round/>
                <a:headEnd/>
                <a:tailEnd/>
              </a:ln>
              <a:effec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Arial"/>
                  <a:sym typeface="Arial"/>
                </a:endParaRPr>
              </a:p>
            </p:txBody>
          </p:sp>
        </p:grpSp>
        <p:grpSp>
          <p:nvGrpSpPr>
            <p:cNvPr id="554" name="Group 553">
              <a:extLst>
                <a:ext uri="{FF2B5EF4-FFF2-40B4-BE49-F238E27FC236}">
                  <a16:creationId xmlns:a16="http://schemas.microsoft.com/office/drawing/2014/main" id="{D36D7308-018B-4BD4-B920-E1B71801F032}"/>
                </a:ext>
              </a:extLst>
            </p:cNvPr>
            <p:cNvGrpSpPr>
              <a:grpSpLocks noChangeAspect="1"/>
            </p:cNvGrpSpPr>
            <p:nvPr/>
          </p:nvGrpSpPr>
          <p:grpSpPr>
            <a:xfrm>
              <a:off x="2390186" y="3067329"/>
              <a:ext cx="442813" cy="441847"/>
              <a:chOff x="4247689" y="3669562"/>
              <a:chExt cx="548640" cy="548640"/>
            </a:xfrm>
          </p:grpSpPr>
          <p:sp>
            <p:nvSpPr>
              <p:cNvPr id="555" name="Oval 554">
                <a:extLst>
                  <a:ext uri="{FF2B5EF4-FFF2-40B4-BE49-F238E27FC236}">
                    <a16:creationId xmlns:a16="http://schemas.microsoft.com/office/drawing/2014/main" id="{8F4E8343-7828-41E7-9857-418B116E1B79}"/>
                  </a:ext>
                </a:extLst>
              </p:cNvPr>
              <p:cNvSpPr/>
              <p:nvPr/>
            </p:nvSpPr>
            <p:spPr>
              <a:xfrm>
                <a:off x="4247689" y="3669562"/>
                <a:ext cx="548640" cy="548640"/>
              </a:xfrm>
              <a:prstGeom prst="ellipse">
                <a:avLst/>
              </a:prstGeom>
              <a:solidFill>
                <a:srgbClr val="005073"/>
              </a:solidFill>
              <a:ln w="25400" cap="flat" cmpd="sng" algn="ctr">
                <a:noFill/>
                <a:prstDash val="solid"/>
              </a:ln>
              <a:effectLst/>
            </p:spPr>
            <p:txBody>
              <a:bodyPr rtlCol="0" anchor="ctr"/>
              <a:lstStyle/>
              <a:p>
                <a:pPr algn="ctr" defTabSz="609585" fontAlgn="base">
                  <a:spcBef>
                    <a:spcPct val="0"/>
                  </a:spcBef>
                  <a:spcAft>
                    <a:spcPct val="0"/>
                  </a:spcAft>
                  <a:defRPr/>
                </a:pPr>
                <a:endParaRPr lang="en-US" sz="2400">
                  <a:solidFill>
                    <a:srgbClr val="005073"/>
                  </a:solidFill>
                  <a:latin typeface="CiscoSansTT ExtraLight"/>
                  <a:cs typeface="Arial"/>
                  <a:sym typeface="Arial"/>
                </a:endParaRPr>
              </a:p>
            </p:txBody>
          </p:sp>
          <p:grpSp>
            <p:nvGrpSpPr>
              <p:cNvPr id="556" name="Group 555">
                <a:extLst>
                  <a:ext uri="{FF2B5EF4-FFF2-40B4-BE49-F238E27FC236}">
                    <a16:creationId xmlns:a16="http://schemas.microsoft.com/office/drawing/2014/main" id="{1E7BDFA0-BC26-44BC-9E0D-66E0193F5D50}"/>
                  </a:ext>
                </a:extLst>
              </p:cNvPr>
              <p:cNvGrpSpPr/>
              <p:nvPr/>
            </p:nvGrpSpPr>
            <p:grpSpPr>
              <a:xfrm>
                <a:off x="4416801" y="3752252"/>
                <a:ext cx="209312" cy="383266"/>
                <a:chOff x="4457929" y="4607371"/>
                <a:chExt cx="234950" cy="430212"/>
              </a:xfrm>
            </p:grpSpPr>
            <p:sp>
              <p:nvSpPr>
                <p:cNvPr id="557" name="Freeform 239">
                  <a:extLst>
                    <a:ext uri="{FF2B5EF4-FFF2-40B4-BE49-F238E27FC236}">
                      <a16:creationId xmlns:a16="http://schemas.microsoft.com/office/drawing/2014/main" id="{58C8AF04-F4DB-4613-89D6-3E02E81AC8FD}"/>
                    </a:ext>
                  </a:extLst>
                </p:cNvPr>
                <p:cNvSpPr>
                  <a:spLocks/>
                </p:cNvSpPr>
                <p:nvPr/>
              </p:nvSpPr>
              <p:spPr bwMode="auto">
                <a:xfrm>
                  <a:off x="4457929" y="4607371"/>
                  <a:ext cx="234950" cy="430212"/>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558" name="Line 208">
                  <a:extLst>
                    <a:ext uri="{FF2B5EF4-FFF2-40B4-BE49-F238E27FC236}">
                      <a16:creationId xmlns:a16="http://schemas.microsoft.com/office/drawing/2014/main" id="{E1EA7D4F-5C1E-4EF9-8C86-37A8642BB2BC}"/>
                    </a:ext>
                  </a:extLst>
                </p:cNvPr>
                <p:cNvSpPr>
                  <a:spLocks noChangeShapeType="1"/>
                </p:cNvSpPr>
                <p:nvPr/>
              </p:nvSpPr>
              <p:spPr bwMode="auto">
                <a:xfrm>
                  <a:off x="4516667" y="46772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559" name="Line 209">
                  <a:extLst>
                    <a:ext uri="{FF2B5EF4-FFF2-40B4-BE49-F238E27FC236}">
                      <a16:creationId xmlns:a16="http://schemas.microsoft.com/office/drawing/2014/main" id="{D29D4697-F11F-42B1-902F-7B49361FC2CB}"/>
                    </a:ext>
                  </a:extLst>
                </p:cNvPr>
                <p:cNvSpPr>
                  <a:spLocks noChangeShapeType="1"/>
                </p:cNvSpPr>
                <p:nvPr/>
              </p:nvSpPr>
              <p:spPr bwMode="auto">
                <a:xfrm>
                  <a:off x="4516667" y="4745483"/>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560" name="Line 210">
                  <a:extLst>
                    <a:ext uri="{FF2B5EF4-FFF2-40B4-BE49-F238E27FC236}">
                      <a16:creationId xmlns:a16="http://schemas.microsoft.com/office/drawing/2014/main" id="{DE9D4302-74AA-4922-8BAE-63D3CC5D0CD3}"/>
                    </a:ext>
                  </a:extLst>
                </p:cNvPr>
                <p:cNvSpPr>
                  <a:spLocks noChangeShapeType="1"/>
                </p:cNvSpPr>
                <p:nvPr/>
              </p:nvSpPr>
              <p:spPr bwMode="auto">
                <a:xfrm>
                  <a:off x="4516667" y="48169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561" name="Line 211">
                  <a:extLst>
                    <a:ext uri="{FF2B5EF4-FFF2-40B4-BE49-F238E27FC236}">
                      <a16:creationId xmlns:a16="http://schemas.microsoft.com/office/drawing/2014/main" id="{CF4C894C-88AC-4F3E-95E9-F997EE870919}"/>
                    </a:ext>
                  </a:extLst>
                </p:cNvPr>
                <p:cNvSpPr>
                  <a:spLocks noChangeShapeType="1"/>
                </p:cNvSpPr>
                <p:nvPr/>
              </p:nvSpPr>
              <p:spPr bwMode="auto">
                <a:xfrm>
                  <a:off x="4516667" y="488677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grpSp>
      <p:grpSp>
        <p:nvGrpSpPr>
          <p:cNvPr id="582" name="Group 581">
            <a:extLst>
              <a:ext uri="{FF2B5EF4-FFF2-40B4-BE49-F238E27FC236}">
                <a16:creationId xmlns:a16="http://schemas.microsoft.com/office/drawing/2014/main" id="{EFD0A1DC-1858-4980-8B43-A2F63C90E09F}"/>
              </a:ext>
            </a:extLst>
          </p:cNvPr>
          <p:cNvGrpSpPr/>
          <p:nvPr/>
        </p:nvGrpSpPr>
        <p:grpSpPr>
          <a:xfrm>
            <a:off x="4440845" y="4005056"/>
            <a:ext cx="3247999" cy="1728693"/>
            <a:chOff x="3439502" y="2384559"/>
            <a:chExt cx="4294390" cy="1276497"/>
          </a:xfrm>
          <a:solidFill>
            <a:srgbClr val="FFFFFF"/>
          </a:solidFill>
        </p:grpSpPr>
        <p:sp>
          <p:nvSpPr>
            <p:cNvPr id="583" name="Rectangle 582">
              <a:extLst>
                <a:ext uri="{FF2B5EF4-FFF2-40B4-BE49-F238E27FC236}">
                  <a16:creationId xmlns:a16="http://schemas.microsoft.com/office/drawing/2014/main" id="{504F1F7B-CF26-4CFA-B311-10474C75D3F0}"/>
                </a:ext>
              </a:extLst>
            </p:cNvPr>
            <p:cNvSpPr/>
            <p:nvPr/>
          </p:nvSpPr>
          <p:spPr>
            <a:xfrm>
              <a:off x="3439502" y="2711986"/>
              <a:ext cx="1384477" cy="289324"/>
            </a:xfrm>
            <a:prstGeom prst="rect">
              <a:avLst/>
            </a:prstGeom>
            <a:grpFill/>
            <a:ln w="25400" cap="flat" cmpd="sng" algn="ctr">
              <a:solidFill>
                <a:srgbClr val="FFFFFF"/>
              </a:solidFill>
              <a:prstDash val="solid"/>
              <a:miter lim="800000"/>
            </a:ln>
            <a:effectLst/>
          </p:spPr>
          <p:txBody>
            <a:bodyPr lIns="0" tIns="60957" rIns="0" bIns="60957" rtlCol="0" anchor="ctr"/>
            <a:lstStyle/>
            <a:p>
              <a:pPr algn="ctr" defTabSz="609585" fontAlgn="base">
                <a:spcBef>
                  <a:spcPct val="0"/>
                </a:spcBef>
                <a:spcAft>
                  <a:spcPct val="0"/>
                </a:spcAft>
                <a:defRPr/>
              </a:pPr>
              <a:r>
                <a:rPr lang="en-US" sz="933">
                  <a:solidFill>
                    <a:srgbClr val="6EBE4A"/>
                  </a:solidFill>
                  <a:latin typeface="CiscoSansTT ExtraLight"/>
                  <a:cs typeface="Arial"/>
                  <a:sym typeface="Arial"/>
                </a:rPr>
                <a:t>Number of concurrent flows</a:t>
              </a:r>
            </a:p>
          </p:txBody>
        </p:sp>
        <p:sp>
          <p:nvSpPr>
            <p:cNvPr id="584" name="Rectangle 583">
              <a:extLst>
                <a:ext uri="{FF2B5EF4-FFF2-40B4-BE49-F238E27FC236}">
                  <a16:creationId xmlns:a16="http://schemas.microsoft.com/office/drawing/2014/main" id="{DFEA3C53-0558-4AA5-9BE1-F12D3200C1E8}"/>
                </a:ext>
              </a:extLst>
            </p:cNvPr>
            <p:cNvSpPr/>
            <p:nvPr/>
          </p:nvSpPr>
          <p:spPr>
            <a:xfrm>
              <a:off x="4896935" y="3371732"/>
              <a:ext cx="1384477" cy="289324"/>
            </a:xfrm>
            <a:prstGeom prst="rect">
              <a:avLst/>
            </a:prstGeom>
            <a:grpFill/>
            <a:ln w="25400" cap="flat" cmpd="sng" algn="ctr">
              <a:solidFill>
                <a:srgbClr val="FFFFFF"/>
              </a:solidFill>
              <a:prstDash val="solid"/>
              <a:miter lim="800000"/>
            </a:ln>
            <a:effectLst/>
          </p:spPr>
          <p:txBody>
            <a:bodyPr lIns="0" tIns="60957" rIns="0" bIns="60957" rtlCol="0" anchor="ctr"/>
            <a:lstStyle/>
            <a:p>
              <a:pPr algn="ctr" defTabSz="609585" fontAlgn="base">
                <a:spcBef>
                  <a:spcPct val="0"/>
                </a:spcBef>
                <a:spcAft>
                  <a:spcPct val="0"/>
                </a:spcAft>
                <a:defRPr/>
              </a:pPr>
              <a:r>
                <a:rPr lang="en-US" sz="933">
                  <a:solidFill>
                    <a:srgbClr val="6EBE4A"/>
                  </a:solidFill>
                  <a:latin typeface="CiscoSansTT ExtraLight"/>
                  <a:cs typeface="Arial"/>
                  <a:sym typeface="Arial"/>
                </a:rPr>
                <a:t>Time of day</a:t>
              </a:r>
            </a:p>
          </p:txBody>
        </p:sp>
        <p:sp>
          <p:nvSpPr>
            <p:cNvPr id="585" name="Rectangle 584">
              <a:extLst>
                <a:ext uri="{FF2B5EF4-FFF2-40B4-BE49-F238E27FC236}">
                  <a16:creationId xmlns:a16="http://schemas.microsoft.com/office/drawing/2014/main" id="{D08573C3-BFD1-4DC4-99D4-2BA1AB350337}"/>
                </a:ext>
              </a:extLst>
            </p:cNvPr>
            <p:cNvSpPr/>
            <p:nvPr/>
          </p:nvSpPr>
          <p:spPr>
            <a:xfrm>
              <a:off x="3439502" y="3371732"/>
              <a:ext cx="1384477" cy="289324"/>
            </a:xfrm>
            <a:prstGeom prst="rect">
              <a:avLst/>
            </a:prstGeom>
            <a:grpFill/>
            <a:ln w="25400" cap="flat" cmpd="sng" algn="ctr">
              <a:solidFill>
                <a:srgbClr val="FFFFFF"/>
              </a:solidFill>
              <a:prstDash val="solid"/>
              <a:miter lim="800000"/>
            </a:ln>
            <a:effectLst/>
          </p:spPr>
          <p:txBody>
            <a:bodyPr lIns="0" tIns="60957" rIns="0" bIns="60957" rtlCol="0" anchor="ctr"/>
            <a:lstStyle/>
            <a:p>
              <a:pPr algn="ctr" defTabSz="609585" fontAlgn="base">
                <a:spcBef>
                  <a:spcPct val="0"/>
                </a:spcBef>
                <a:spcAft>
                  <a:spcPct val="0"/>
                </a:spcAft>
                <a:defRPr/>
              </a:pPr>
              <a:r>
                <a:rPr lang="en-US" sz="933">
                  <a:solidFill>
                    <a:srgbClr val="6EBE4A"/>
                  </a:solidFill>
                  <a:latin typeface="CiscoSansTT ExtraLight"/>
                  <a:cs typeface="Arial"/>
                  <a:sym typeface="Arial"/>
                </a:rPr>
                <a:t>Bits per second</a:t>
              </a:r>
            </a:p>
          </p:txBody>
        </p:sp>
        <p:sp>
          <p:nvSpPr>
            <p:cNvPr id="586" name="Rectangle 585">
              <a:extLst>
                <a:ext uri="{FF2B5EF4-FFF2-40B4-BE49-F238E27FC236}">
                  <a16:creationId xmlns:a16="http://schemas.microsoft.com/office/drawing/2014/main" id="{CEFD3B29-C501-4524-A647-FBFD096BBF05}"/>
                </a:ext>
              </a:extLst>
            </p:cNvPr>
            <p:cNvSpPr/>
            <p:nvPr/>
          </p:nvSpPr>
          <p:spPr>
            <a:xfrm>
              <a:off x="3439502" y="3041236"/>
              <a:ext cx="1384477" cy="289324"/>
            </a:xfrm>
            <a:prstGeom prst="rect">
              <a:avLst/>
            </a:prstGeom>
            <a:grpFill/>
            <a:ln w="25400" cap="flat" cmpd="sng" algn="ctr">
              <a:solidFill>
                <a:srgbClr val="FFFFFF"/>
              </a:solidFill>
              <a:prstDash val="solid"/>
              <a:miter lim="800000"/>
            </a:ln>
            <a:effectLst/>
          </p:spPr>
          <p:txBody>
            <a:bodyPr lIns="0" tIns="60957" rIns="0" bIns="60957" rtlCol="0" anchor="ctr"/>
            <a:lstStyle/>
            <a:p>
              <a:pPr algn="ctr" defTabSz="609585" fontAlgn="base">
                <a:spcBef>
                  <a:spcPct val="0"/>
                </a:spcBef>
                <a:spcAft>
                  <a:spcPct val="0"/>
                </a:spcAft>
                <a:defRPr/>
              </a:pPr>
              <a:r>
                <a:rPr lang="en-US" sz="933">
                  <a:solidFill>
                    <a:srgbClr val="6EBE4A"/>
                  </a:solidFill>
                  <a:latin typeface="CiscoSansTT ExtraLight"/>
                  <a:cs typeface="Arial"/>
                  <a:sym typeface="Arial"/>
                </a:rPr>
                <a:t>Packet </a:t>
              </a:r>
              <a:br>
                <a:rPr lang="en-US" sz="933">
                  <a:solidFill>
                    <a:srgbClr val="6EBE4A"/>
                  </a:solidFill>
                  <a:latin typeface="CiscoSansTT ExtraLight"/>
                  <a:cs typeface="Arial"/>
                  <a:sym typeface="Arial"/>
                </a:rPr>
              </a:br>
              <a:r>
                <a:rPr lang="en-US" sz="933">
                  <a:solidFill>
                    <a:srgbClr val="6EBE4A"/>
                  </a:solidFill>
                  <a:latin typeface="CiscoSansTT ExtraLight"/>
                  <a:cs typeface="Arial"/>
                  <a:sym typeface="Arial"/>
                </a:rPr>
                <a:t>per second</a:t>
              </a:r>
            </a:p>
          </p:txBody>
        </p:sp>
        <p:sp>
          <p:nvSpPr>
            <p:cNvPr id="587" name="Rectangle 586">
              <a:extLst>
                <a:ext uri="{FF2B5EF4-FFF2-40B4-BE49-F238E27FC236}">
                  <a16:creationId xmlns:a16="http://schemas.microsoft.com/office/drawing/2014/main" id="{239E5AD3-ECBB-4E4D-B527-8816F5E0629B}"/>
                </a:ext>
              </a:extLst>
            </p:cNvPr>
            <p:cNvSpPr/>
            <p:nvPr/>
          </p:nvSpPr>
          <p:spPr>
            <a:xfrm>
              <a:off x="4896935" y="3041236"/>
              <a:ext cx="1384477" cy="289324"/>
            </a:xfrm>
            <a:prstGeom prst="rect">
              <a:avLst/>
            </a:prstGeom>
            <a:grpFill/>
            <a:ln w="25400" cap="flat" cmpd="sng" algn="ctr">
              <a:solidFill>
                <a:srgbClr val="FFFFFF"/>
              </a:solidFill>
              <a:prstDash val="solid"/>
              <a:miter lim="800000"/>
            </a:ln>
            <a:effectLst/>
          </p:spPr>
          <p:txBody>
            <a:bodyPr lIns="0" tIns="60957" rIns="0" bIns="60957" rtlCol="0" anchor="ctr"/>
            <a:lstStyle/>
            <a:p>
              <a:pPr algn="ctr" defTabSz="609585" fontAlgn="base">
                <a:spcBef>
                  <a:spcPct val="0"/>
                </a:spcBef>
                <a:spcAft>
                  <a:spcPct val="0"/>
                </a:spcAft>
                <a:defRPr/>
              </a:pPr>
              <a:r>
                <a:rPr lang="en-US" sz="933">
                  <a:solidFill>
                    <a:srgbClr val="6EBE4A"/>
                  </a:solidFill>
                  <a:latin typeface="CiscoSansTT ExtraLight"/>
                  <a:cs typeface="Arial"/>
                  <a:sym typeface="Arial"/>
                </a:rPr>
                <a:t>Number of </a:t>
              </a:r>
              <a:br>
                <a:rPr lang="en-US" sz="933">
                  <a:solidFill>
                    <a:srgbClr val="6EBE4A"/>
                  </a:solidFill>
                  <a:latin typeface="CiscoSansTT ExtraLight"/>
                  <a:cs typeface="Arial"/>
                  <a:sym typeface="Arial"/>
                </a:rPr>
              </a:br>
              <a:r>
                <a:rPr lang="en-US" sz="933">
                  <a:solidFill>
                    <a:srgbClr val="6EBE4A"/>
                  </a:solidFill>
                  <a:latin typeface="CiscoSansTT ExtraLight"/>
                  <a:cs typeface="Arial"/>
                  <a:sym typeface="Arial"/>
                </a:rPr>
                <a:t>SYNs sent</a:t>
              </a:r>
            </a:p>
          </p:txBody>
        </p:sp>
        <p:sp>
          <p:nvSpPr>
            <p:cNvPr id="588" name="Rectangle 587">
              <a:extLst>
                <a:ext uri="{FF2B5EF4-FFF2-40B4-BE49-F238E27FC236}">
                  <a16:creationId xmlns:a16="http://schemas.microsoft.com/office/drawing/2014/main" id="{78BBBAC3-35C2-4C87-987F-F5F145558CB1}"/>
                </a:ext>
              </a:extLst>
            </p:cNvPr>
            <p:cNvSpPr/>
            <p:nvPr/>
          </p:nvSpPr>
          <p:spPr>
            <a:xfrm>
              <a:off x="4896935" y="2711984"/>
              <a:ext cx="1384477" cy="289324"/>
            </a:xfrm>
            <a:prstGeom prst="rect">
              <a:avLst/>
            </a:prstGeom>
            <a:grpFill/>
            <a:ln w="25400" cap="flat" cmpd="sng" algn="ctr">
              <a:solidFill>
                <a:srgbClr val="FFFFFF"/>
              </a:solidFill>
              <a:prstDash val="solid"/>
              <a:miter lim="800000"/>
            </a:ln>
            <a:effectLst/>
          </p:spPr>
          <p:txBody>
            <a:bodyPr lIns="0" tIns="60957" rIns="0" bIns="60957" rtlCol="0" anchor="ctr"/>
            <a:lstStyle/>
            <a:p>
              <a:pPr algn="ctr" defTabSz="609585" fontAlgn="base">
                <a:spcBef>
                  <a:spcPct val="0"/>
                </a:spcBef>
                <a:spcAft>
                  <a:spcPct val="0"/>
                </a:spcAft>
                <a:defRPr/>
              </a:pPr>
              <a:r>
                <a:rPr lang="en-US" sz="933">
                  <a:solidFill>
                    <a:srgbClr val="6EBE4A"/>
                  </a:solidFill>
                  <a:latin typeface="CiscoSansTT ExtraLight"/>
                  <a:cs typeface="Arial"/>
                  <a:sym typeface="Arial"/>
                </a:rPr>
                <a:t>New flows </a:t>
              </a:r>
              <a:br>
                <a:rPr lang="en-US" sz="933">
                  <a:solidFill>
                    <a:srgbClr val="6EBE4A"/>
                  </a:solidFill>
                  <a:latin typeface="CiscoSansTT ExtraLight"/>
                  <a:cs typeface="Arial"/>
                  <a:sym typeface="Arial"/>
                </a:rPr>
              </a:br>
              <a:r>
                <a:rPr lang="en-US" sz="933">
                  <a:solidFill>
                    <a:srgbClr val="6EBE4A"/>
                  </a:solidFill>
                  <a:latin typeface="CiscoSansTT ExtraLight"/>
                  <a:cs typeface="Arial"/>
                  <a:sym typeface="Arial"/>
                </a:rPr>
                <a:t>created</a:t>
              </a:r>
            </a:p>
          </p:txBody>
        </p:sp>
        <p:sp>
          <p:nvSpPr>
            <p:cNvPr id="589" name="Rectangle 588">
              <a:extLst>
                <a:ext uri="{FF2B5EF4-FFF2-40B4-BE49-F238E27FC236}">
                  <a16:creationId xmlns:a16="http://schemas.microsoft.com/office/drawing/2014/main" id="{46FE9FCE-CD58-47ED-9CB1-6AF28D2FF7FF}"/>
                </a:ext>
              </a:extLst>
            </p:cNvPr>
            <p:cNvSpPr/>
            <p:nvPr/>
          </p:nvSpPr>
          <p:spPr>
            <a:xfrm>
              <a:off x="6349414" y="2711984"/>
              <a:ext cx="1384477" cy="289324"/>
            </a:xfrm>
            <a:prstGeom prst="rect">
              <a:avLst/>
            </a:prstGeom>
            <a:grpFill/>
            <a:ln w="25400" cap="flat" cmpd="sng" algn="ctr">
              <a:solidFill>
                <a:srgbClr val="FFFFFF"/>
              </a:solidFill>
              <a:prstDash val="solid"/>
              <a:miter lim="800000"/>
            </a:ln>
            <a:effectLst/>
          </p:spPr>
          <p:txBody>
            <a:bodyPr lIns="0" tIns="60957" rIns="0" bIns="60957" rtlCol="0" anchor="ctr"/>
            <a:lstStyle/>
            <a:p>
              <a:pPr algn="ctr" defTabSz="609585" fontAlgn="base">
                <a:spcBef>
                  <a:spcPct val="0"/>
                </a:spcBef>
                <a:spcAft>
                  <a:spcPct val="0"/>
                </a:spcAft>
                <a:defRPr/>
              </a:pPr>
              <a:r>
                <a:rPr lang="en-US" sz="933">
                  <a:solidFill>
                    <a:srgbClr val="6EBE4A"/>
                  </a:solidFill>
                  <a:latin typeface="CiscoSansTT ExtraLight"/>
                  <a:cs typeface="Arial"/>
                  <a:sym typeface="Arial"/>
                </a:rPr>
                <a:t>Number of </a:t>
              </a:r>
              <a:br>
                <a:rPr lang="en-US" sz="933">
                  <a:solidFill>
                    <a:srgbClr val="6EBE4A"/>
                  </a:solidFill>
                  <a:latin typeface="CiscoSansTT ExtraLight"/>
                  <a:cs typeface="Arial"/>
                  <a:sym typeface="Arial"/>
                </a:rPr>
              </a:br>
              <a:r>
                <a:rPr lang="en-US" sz="933">
                  <a:solidFill>
                    <a:srgbClr val="6EBE4A"/>
                  </a:solidFill>
                  <a:latin typeface="CiscoSansTT ExtraLight"/>
                  <a:cs typeface="Arial"/>
                  <a:sym typeface="Arial"/>
                </a:rPr>
                <a:t>SYNs received</a:t>
              </a:r>
            </a:p>
          </p:txBody>
        </p:sp>
        <p:sp>
          <p:nvSpPr>
            <p:cNvPr id="590" name="Rectangle 589">
              <a:extLst>
                <a:ext uri="{FF2B5EF4-FFF2-40B4-BE49-F238E27FC236}">
                  <a16:creationId xmlns:a16="http://schemas.microsoft.com/office/drawing/2014/main" id="{960EDCFF-4102-4ED7-8F80-626D4A77B3E1}"/>
                </a:ext>
              </a:extLst>
            </p:cNvPr>
            <p:cNvSpPr/>
            <p:nvPr/>
          </p:nvSpPr>
          <p:spPr>
            <a:xfrm>
              <a:off x="6349414" y="3041236"/>
              <a:ext cx="1384477" cy="289324"/>
            </a:xfrm>
            <a:prstGeom prst="rect">
              <a:avLst/>
            </a:prstGeom>
            <a:grpFill/>
            <a:ln w="25400" cap="flat" cmpd="sng" algn="ctr">
              <a:solidFill>
                <a:srgbClr val="FFFFFF"/>
              </a:solidFill>
              <a:prstDash val="solid"/>
              <a:miter lim="800000"/>
            </a:ln>
            <a:effectLst/>
          </p:spPr>
          <p:txBody>
            <a:bodyPr lIns="0" tIns="60957" rIns="0" bIns="60957" rtlCol="0" anchor="ctr"/>
            <a:lstStyle/>
            <a:p>
              <a:pPr algn="ctr" defTabSz="609585" fontAlgn="base">
                <a:spcBef>
                  <a:spcPct val="0"/>
                </a:spcBef>
                <a:spcAft>
                  <a:spcPct val="0"/>
                </a:spcAft>
                <a:defRPr/>
              </a:pPr>
              <a:r>
                <a:rPr lang="en-US" sz="933">
                  <a:solidFill>
                    <a:srgbClr val="6EBE4A"/>
                  </a:solidFill>
                  <a:latin typeface="CiscoSansTT ExtraLight"/>
                  <a:cs typeface="Arial"/>
                  <a:sym typeface="Arial"/>
                </a:rPr>
                <a:t>Rate of </a:t>
              </a:r>
              <a:br>
                <a:rPr lang="en-US" sz="933">
                  <a:solidFill>
                    <a:srgbClr val="6EBE4A"/>
                  </a:solidFill>
                  <a:latin typeface="CiscoSansTT ExtraLight"/>
                  <a:cs typeface="Arial"/>
                  <a:sym typeface="Arial"/>
                </a:rPr>
              </a:br>
              <a:r>
                <a:rPr lang="en-US" sz="933">
                  <a:solidFill>
                    <a:srgbClr val="6EBE4A"/>
                  </a:solidFill>
                  <a:latin typeface="CiscoSansTT ExtraLight"/>
                  <a:cs typeface="Arial"/>
                  <a:sym typeface="Arial"/>
                </a:rPr>
                <a:t>connection resets</a:t>
              </a:r>
            </a:p>
          </p:txBody>
        </p:sp>
        <p:sp>
          <p:nvSpPr>
            <p:cNvPr id="591" name="Rectangle 590">
              <a:extLst>
                <a:ext uri="{FF2B5EF4-FFF2-40B4-BE49-F238E27FC236}">
                  <a16:creationId xmlns:a16="http://schemas.microsoft.com/office/drawing/2014/main" id="{1845F61F-DA80-4244-81CC-1701A80BCF75}"/>
                </a:ext>
              </a:extLst>
            </p:cNvPr>
            <p:cNvSpPr/>
            <p:nvPr/>
          </p:nvSpPr>
          <p:spPr>
            <a:xfrm>
              <a:off x="6349414" y="3371732"/>
              <a:ext cx="1384477" cy="289324"/>
            </a:xfrm>
            <a:prstGeom prst="rect">
              <a:avLst/>
            </a:prstGeom>
            <a:grpFill/>
            <a:ln w="25400" cap="flat" cmpd="sng" algn="ctr">
              <a:solidFill>
                <a:srgbClr val="FFFFFF"/>
              </a:solidFill>
              <a:prstDash val="solid"/>
              <a:miter lim="800000"/>
            </a:ln>
            <a:effectLst/>
          </p:spPr>
          <p:txBody>
            <a:bodyPr lIns="0" tIns="60957" rIns="0" bIns="60957" rtlCol="0" anchor="ctr"/>
            <a:lstStyle/>
            <a:p>
              <a:pPr algn="ctr" defTabSz="609585" fontAlgn="base">
                <a:spcBef>
                  <a:spcPct val="0"/>
                </a:spcBef>
                <a:spcAft>
                  <a:spcPct val="0"/>
                </a:spcAft>
                <a:defRPr/>
              </a:pPr>
              <a:r>
                <a:rPr lang="en-US" sz="933">
                  <a:solidFill>
                    <a:srgbClr val="6EBE4A"/>
                  </a:solidFill>
                  <a:latin typeface="CiscoSansTT ExtraLight"/>
                  <a:cs typeface="Arial"/>
                  <a:sym typeface="Arial"/>
                </a:rPr>
                <a:t>Duration </a:t>
              </a:r>
              <a:br>
                <a:rPr lang="en-US" sz="933">
                  <a:solidFill>
                    <a:srgbClr val="6EBE4A"/>
                  </a:solidFill>
                  <a:latin typeface="CiscoSansTT ExtraLight"/>
                  <a:cs typeface="Arial"/>
                  <a:sym typeface="Arial"/>
                </a:rPr>
              </a:br>
              <a:r>
                <a:rPr lang="en-US" sz="933">
                  <a:solidFill>
                    <a:srgbClr val="6EBE4A"/>
                  </a:solidFill>
                  <a:latin typeface="CiscoSansTT ExtraLight"/>
                  <a:cs typeface="Arial"/>
                  <a:sym typeface="Arial"/>
                </a:rPr>
                <a:t>of the flow</a:t>
              </a:r>
            </a:p>
          </p:txBody>
        </p:sp>
        <p:sp>
          <p:nvSpPr>
            <p:cNvPr id="592" name="Rectangle 591">
              <a:extLst>
                <a:ext uri="{FF2B5EF4-FFF2-40B4-BE49-F238E27FC236}">
                  <a16:creationId xmlns:a16="http://schemas.microsoft.com/office/drawing/2014/main" id="{60A143A3-2DFC-4BE3-92F6-0AEBD12A2EB1}"/>
                </a:ext>
              </a:extLst>
            </p:cNvPr>
            <p:cNvSpPr/>
            <p:nvPr/>
          </p:nvSpPr>
          <p:spPr>
            <a:xfrm>
              <a:off x="3439502" y="2384559"/>
              <a:ext cx="4294390" cy="289324"/>
            </a:xfrm>
            <a:prstGeom prst="rect">
              <a:avLst/>
            </a:prstGeom>
            <a:solidFill>
              <a:srgbClr val="6EBE4A">
                <a:lumMod val="75000"/>
              </a:srgbClr>
            </a:solidFill>
            <a:ln w="25400" cap="flat" cmpd="sng" algn="ctr">
              <a:solidFill>
                <a:srgbClr val="6EBE4A">
                  <a:lumMod val="75000"/>
                </a:srgbClr>
              </a:solidFill>
              <a:prstDash val="solid"/>
              <a:miter lim="800000"/>
            </a:ln>
            <a:effectLst/>
          </p:spPr>
          <p:txBody>
            <a:bodyPr lIns="0" tIns="60957" rIns="0" bIns="60957" rtlCol="0" anchor="ctr"/>
            <a:lstStyle/>
            <a:p>
              <a:pPr algn="ctr" defTabSz="609585" fontAlgn="base">
                <a:spcBef>
                  <a:spcPct val="0"/>
                </a:spcBef>
                <a:spcAft>
                  <a:spcPct val="0"/>
                </a:spcAft>
                <a:defRPr/>
              </a:pPr>
              <a:r>
                <a:rPr lang="en-US" sz="1333">
                  <a:solidFill>
                    <a:srgbClr val="FFFFFF"/>
                  </a:solidFill>
                  <a:latin typeface="CiscoSansTT ExtraLight"/>
                  <a:cs typeface="Arial"/>
                  <a:sym typeface="Arial"/>
                </a:rPr>
                <a:t>Analysis of multiple threat behaviors</a:t>
              </a:r>
            </a:p>
          </p:txBody>
        </p:sp>
      </p:grpSp>
      <p:grpSp>
        <p:nvGrpSpPr>
          <p:cNvPr id="593" name="Group 592">
            <a:extLst>
              <a:ext uri="{FF2B5EF4-FFF2-40B4-BE49-F238E27FC236}">
                <a16:creationId xmlns:a16="http://schemas.microsoft.com/office/drawing/2014/main" id="{A0E1989E-7A43-4D23-9CD1-5212DF30B51B}"/>
              </a:ext>
            </a:extLst>
          </p:cNvPr>
          <p:cNvGrpSpPr/>
          <p:nvPr/>
        </p:nvGrpSpPr>
        <p:grpSpPr>
          <a:xfrm>
            <a:off x="8332837" y="4152760"/>
            <a:ext cx="2783907" cy="1736971"/>
            <a:chOff x="6583309" y="2708368"/>
            <a:chExt cx="1721796" cy="1431080"/>
          </a:xfrm>
        </p:grpSpPr>
        <p:sp>
          <p:nvSpPr>
            <p:cNvPr id="594" name="Rounded Rectangle 36">
              <a:extLst>
                <a:ext uri="{FF2B5EF4-FFF2-40B4-BE49-F238E27FC236}">
                  <a16:creationId xmlns:a16="http://schemas.microsoft.com/office/drawing/2014/main" id="{FD7EDD2B-A7E5-447B-9C0E-A5C206AED9C1}"/>
                </a:ext>
              </a:extLst>
            </p:cNvPr>
            <p:cNvSpPr/>
            <p:nvPr/>
          </p:nvSpPr>
          <p:spPr>
            <a:xfrm rot="10800000">
              <a:off x="6583309" y="3147126"/>
              <a:ext cx="74984" cy="992322"/>
            </a:xfrm>
            <a:prstGeom prst="roundRect">
              <a:avLst>
                <a:gd name="adj" fmla="val 50000"/>
              </a:avLst>
            </a:prstGeom>
            <a:solidFill>
              <a:srgbClr val="005073"/>
            </a:solidFill>
            <a:ln w="25400" cap="flat" cmpd="sng" algn="ctr">
              <a:noFill/>
              <a:prstDash val="solid"/>
            </a:ln>
            <a:effectLst/>
          </p:spPr>
          <p:txBody>
            <a:bodyPr vert="vert" lIns="91452" tIns="45727" rIns="91452" bIns="45727" rtlCol="0" anchor="ctr"/>
            <a:lstStyle/>
            <a:p>
              <a:pPr algn="ctr" defTabSz="609585" eaLnBrk="0" fontAlgn="base" hangingPunct="0">
                <a:lnSpc>
                  <a:spcPct val="85000"/>
                </a:lnSpc>
                <a:spcBef>
                  <a:spcPct val="50000"/>
                </a:spcBef>
                <a:spcAft>
                  <a:spcPct val="0"/>
                </a:spcAft>
                <a:defRPr/>
              </a:pPr>
              <a:endParaRPr lang="en-US" sz="2267">
                <a:solidFill>
                  <a:srgbClr val="005073"/>
                </a:solidFill>
                <a:latin typeface="CiscoSansTT ExtraLight"/>
                <a:cs typeface="Arial"/>
                <a:sym typeface="Arial"/>
              </a:endParaRPr>
            </a:p>
          </p:txBody>
        </p:sp>
        <p:sp>
          <p:nvSpPr>
            <p:cNvPr id="595" name="Rounded Rectangle 36">
              <a:extLst>
                <a:ext uri="{FF2B5EF4-FFF2-40B4-BE49-F238E27FC236}">
                  <a16:creationId xmlns:a16="http://schemas.microsoft.com/office/drawing/2014/main" id="{BB558F70-744C-4B99-9E0D-AE2772DFAF71}"/>
                </a:ext>
              </a:extLst>
            </p:cNvPr>
            <p:cNvSpPr/>
            <p:nvPr/>
          </p:nvSpPr>
          <p:spPr>
            <a:xfrm rot="10800000">
              <a:off x="6733019" y="3313469"/>
              <a:ext cx="74984" cy="825979"/>
            </a:xfrm>
            <a:prstGeom prst="roundRect">
              <a:avLst>
                <a:gd name="adj" fmla="val 50000"/>
              </a:avLst>
            </a:prstGeom>
            <a:solidFill>
              <a:srgbClr val="005073"/>
            </a:solidFill>
            <a:ln w="25400" cap="flat" cmpd="sng" algn="ctr">
              <a:noFill/>
              <a:prstDash val="solid"/>
            </a:ln>
            <a:effectLst/>
          </p:spPr>
          <p:txBody>
            <a:bodyPr vert="vert" lIns="91452" tIns="45727" rIns="91452" bIns="45727" rtlCol="0" anchor="ctr"/>
            <a:lstStyle/>
            <a:p>
              <a:pPr algn="ctr" defTabSz="609585" eaLnBrk="0" fontAlgn="base" hangingPunct="0">
                <a:lnSpc>
                  <a:spcPct val="85000"/>
                </a:lnSpc>
                <a:spcBef>
                  <a:spcPct val="50000"/>
                </a:spcBef>
                <a:spcAft>
                  <a:spcPct val="0"/>
                </a:spcAft>
                <a:defRPr/>
              </a:pPr>
              <a:endParaRPr lang="en-US" sz="2267">
                <a:solidFill>
                  <a:srgbClr val="005073"/>
                </a:solidFill>
                <a:latin typeface="CiscoSansTT ExtraLight"/>
                <a:cs typeface="Arial"/>
                <a:sym typeface="Arial"/>
              </a:endParaRPr>
            </a:p>
          </p:txBody>
        </p:sp>
        <p:sp>
          <p:nvSpPr>
            <p:cNvPr id="596" name="Rounded Rectangle 36">
              <a:extLst>
                <a:ext uri="{FF2B5EF4-FFF2-40B4-BE49-F238E27FC236}">
                  <a16:creationId xmlns:a16="http://schemas.microsoft.com/office/drawing/2014/main" id="{F5B9B054-167D-4017-8010-473F563EACB2}"/>
                </a:ext>
              </a:extLst>
            </p:cNvPr>
            <p:cNvSpPr/>
            <p:nvPr/>
          </p:nvSpPr>
          <p:spPr>
            <a:xfrm rot="10800000">
              <a:off x="6882729" y="3286941"/>
              <a:ext cx="74984" cy="852507"/>
            </a:xfrm>
            <a:prstGeom prst="roundRect">
              <a:avLst>
                <a:gd name="adj" fmla="val 50000"/>
              </a:avLst>
            </a:prstGeom>
            <a:solidFill>
              <a:srgbClr val="005073"/>
            </a:solidFill>
            <a:ln w="25400" cap="flat" cmpd="sng" algn="ctr">
              <a:noFill/>
              <a:prstDash val="solid"/>
            </a:ln>
            <a:effectLst/>
          </p:spPr>
          <p:txBody>
            <a:bodyPr vert="vert" lIns="91452" tIns="45727" rIns="91452" bIns="45727" rtlCol="0" anchor="ctr"/>
            <a:lstStyle/>
            <a:p>
              <a:pPr algn="ctr" defTabSz="609585" eaLnBrk="0" fontAlgn="base" hangingPunct="0">
                <a:lnSpc>
                  <a:spcPct val="85000"/>
                </a:lnSpc>
                <a:spcBef>
                  <a:spcPct val="50000"/>
                </a:spcBef>
                <a:spcAft>
                  <a:spcPct val="0"/>
                </a:spcAft>
                <a:defRPr/>
              </a:pPr>
              <a:endParaRPr lang="en-US" sz="2267">
                <a:solidFill>
                  <a:srgbClr val="005073"/>
                </a:solidFill>
                <a:latin typeface="CiscoSansTT ExtraLight"/>
                <a:cs typeface="Arial"/>
                <a:sym typeface="Arial"/>
              </a:endParaRPr>
            </a:p>
          </p:txBody>
        </p:sp>
        <p:sp>
          <p:nvSpPr>
            <p:cNvPr id="597" name="Rounded Rectangle 36">
              <a:extLst>
                <a:ext uri="{FF2B5EF4-FFF2-40B4-BE49-F238E27FC236}">
                  <a16:creationId xmlns:a16="http://schemas.microsoft.com/office/drawing/2014/main" id="{6F2010FB-9A88-4CB1-BBB3-F2576BE5C613}"/>
                </a:ext>
              </a:extLst>
            </p:cNvPr>
            <p:cNvSpPr/>
            <p:nvPr/>
          </p:nvSpPr>
          <p:spPr>
            <a:xfrm rot="10800000">
              <a:off x="7182149" y="3286941"/>
              <a:ext cx="74984" cy="852507"/>
            </a:xfrm>
            <a:prstGeom prst="roundRect">
              <a:avLst>
                <a:gd name="adj" fmla="val 50000"/>
              </a:avLst>
            </a:prstGeom>
            <a:solidFill>
              <a:srgbClr val="005073"/>
            </a:solidFill>
            <a:ln w="25400" cap="flat" cmpd="sng" algn="ctr">
              <a:noFill/>
              <a:prstDash val="solid"/>
            </a:ln>
            <a:effectLst/>
          </p:spPr>
          <p:txBody>
            <a:bodyPr vert="vert" lIns="91452" tIns="45727" rIns="91452" bIns="45727" rtlCol="0" anchor="ctr"/>
            <a:lstStyle/>
            <a:p>
              <a:pPr algn="ctr" defTabSz="609585" eaLnBrk="0" fontAlgn="base" hangingPunct="0">
                <a:lnSpc>
                  <a:spcPct val="85000"/>
                </a:lnSpc>
                <a:spcBef>
                  <a:spcPct val="50000"/>
                </a:spcBef>
                <a:spcAft>
                  <a:spcPct val="0"/>
                </a:spcAft>
                <a:defRPr/>
              </a:pPr>
              <a:endParaRPr lang="en-US" sz="2267">
                <a:solidFill>
                  <a:srgbClr val="005073"/>
                </a:solidFill>
                <a:latin typeface="CiscoSansTT ExtraLight"/>
                <a:cs typeface="Arial"/>
                <a:sym typeface="Arial"/>
              </a:endParaRPr>
            </a:p>
          </p:txBody>
        </p:sp>
        <p:sp>
          <p:nvSpPr>
            <p:cNvPr id="598" name="Rounded Rectangle 36">
              <a:extLst>
                <a:ext uri="{FF2B5EF4-FFF2-40B4-BE49-F238E27FC236}">
                  <a16:creationId xmlns:a16="http://schemas.microsoft.com/office/drawing/2014/main" id="{DD479041-721C-4616-A38C-41E4AA034D83}"/>
                </a:ext>
              </a:extLst>
            </p:cNvPr>
            <p:cNvSpPr/>
            <p:nvPr/>
          </p:nvSpPr>
          <p:spPr>
            <a:xfrm rot="10800000">
              <a:off x="7331859" y="3338540"/>
              <a:ext cx="74984" cy="800908"/>
            </a:xfrm>
            <a:prstGeom prst="roundRect">
              <a:avLst>
                <a:gd name="adj" fmla="val 50000"/>
              </a:avLst>
            </a:prstGeom>
            <a:solidFill>
              <a:srgbClr val="005073"/>
            </a:solidFill>
            <a:ln w="25400" cap="flat" cmpd="sng" algn="ctr">
              <a:noFill/>
              <a:prstDash val="solid"/>
            </a:ln>
            <a:effectLst/>
          </p:spPr>
          <p:txBody>
            <a:bodyPr vert="vert" lIns="91452" tIns="45727" rIns="91452" bIns="45727" rtlCol="0" anchor="ctr"/>
            <a:lstStyle/>
            <a:p>
              <a:pPr algn="ctr" defTabSz="609585" eaLnBrk="0" fontAlgn="base" hangingPunct="0">
                <a:lnSpc>
                  <a:spcPct val="85000"/>
                </a:lnSpc>
                <a:spcBef>
                  <a:spcPct val="50000"/>
                </a:spcBef>
                <a:spcAft>
                  <a:spcPct val="0"/>
                </a:spcAft>
                <a:defRPr/>
              </a:pPr>
              <a:endParaRPr lang="en-US" sz="2267">
                <a:solidFill>
                  <a:srgbClr val="005073"/>
                </a:solidFill>
                <a:latin typeface="CiscoSansTT ExtraLight"/>
                <a:cs typeface="Arial"/>
                <a:sym typeface="Arial"/>
              </a:endParaRPr>
            </a:p>
          </p:txBody>
        </p:sp>
        <p:sp>
          <p:nvSpPr>
            <p:cNvPr id="599" name="Rounded Rectangle 36">
              <a:extLst>
                <a:ext uri="{FF2B5EF4-FFF2-40B4-BE49-F238E27FC236}">
                  <a16:creationId xmlns:a16="http://schemas.microsoft.com/office/drawing/2014/main" id="{30781464-131B-471C-B1B4-75CE5DE6316C}"/>
                </a:ext>
              </a:extLst>
            </p:cNvPr>
            <p:cNvSpPr/>
            <p:nvPr/>
          </p:nvSpPr>
          <p:spPr>
            <a:xfrm rot="10800000">
              <a:off x="7481569" y="3313467"/>
              <a:ext cx="74984" cy="825979"/>
            </a:xfrm>
            <a:prstGeom prst="roundRect">
              <a:avLst>
                <a:gd name="adj" fmla="val 50000"/>
              </a:avLst>
            </a:prstGeom>
            <a:solidFill>
              <a:srgbClr val="005073"/>
            </a:solidFill>
            <a:ln w="25400" cap="flat" cmpd="sng" algn="ctr">
              <a:noFill/>
              <a:prstDash val="solid"/>
            </a:ln>
            <a:effectLst/>
          </p:spPr>
          <p:txBody>
            <a:bodyPr vert="vert" lIns="91452" tIns="45727" rIns="91452" bIns="45727" rtlCol="0" anchor="ctr"/>
            <a:lstStyle/>
            <a:p>
              <a:pPr algn="ctr" defTabSz="609585" eaLnBrk="0" fontAlgn="base" hangingPunct="0">
                <a:lnSpc>
                  <a:spcPct val="85000"/>
                </a:lnSpc>
                <a:spcBef>
                  <a:spcPct val="50000"/>
                </a:spcBef>
                <a:spcAft>
                  <a:spcPct val="0"/>
                </a:spcAft>
                <a:defRPr/>
              </a:pPr>
              <a:endParaRPr lang="en-US" sz="2267">
                <a:solidFill>
                  <a:srgbClr val="005073"/>
                </a:solidFill>
                <a:latin typeface="CiscoSansTT ExtraLight"/>
                <a:cs typeface="Arial"/>
                <a:sym typeface="Arial"/>
              </a:endParaRPr>
            </a:p>
          </p:txBody>
        </p:sp>
        <p:sp>
          <p:nvSpPr>
            <p:cNvPr id="600" name="Rounded Rectangle 36">
              <a:extLst>
                <a:ext uri="{FF2B5EF4-FFF2-40B4-BE49-F238E27FC236}">
                  <a16:creationId xmlns:a16="http://schemas.microsoft.com/office/drawing/2014/main" id="{463DFAE1-5166-4867-858D-E61D94714E06}"/>
                </a:ext>
              </a:extLst>
            </p:cNvPr>
            <p:cNvSpPr/>
            <p:nvPr/>
          </p:nvSpPr>
          <p:spPr>
            <a:xfrm rot="10800000">
              <a:off x="7631279" y="3512360"/>
              <a:ext cx="74984" cy="627086"/>
            </a:xfrm>
            <a:prstGeom prst="roundRect">
              <a:avLst>
                <a:gd name="adj" fmla="val 50000"/>
              </a:avLst>
            </a:prstGeom>
            <a:solidFill>
              <a:srgbClr val="005073"/>
            </a:solidFill>
            <a:ln w="25400" cap="flat" cmpd="sng" algn="ctr">
              <a:noFill/>
              <a:prstDash val="solid"/>
            </a:ln>
            <a:effectLst/>
          </p:spPr>
          <p:txBody>
            <a:bodyPr vert="vert" lIns="91452" tIns="45727" rIns="91452" bIns="45727" rtlCol="0" anchor="ctr"/>
            <a:lstStyle/>
            <a:p>
              <a:pPr algn="ctr" defTabSz="609585" eaLnBrk="0" fontAlgn="base" hangingPunct="0">
                <a:lnSpc>
                  <a:spcPct val="85000"/>
                </a:lnSpc>
                <a:spcBef>
                  <a:spcPct val="50000"/>
                </a:spcBef>
                <a:spcAft>
                  <a:spcPct val="0"/>
                </a:spcAft>
                <a:defRPr/>
              </a:pPr>
              <a:endParaRPr lang="en-US" sz="2267">
                <a:solidFill>
                  <a:srgbClr val="005073"/>
                </a:solidFill>
                <a:latin typeface="CiscoSansTT ExtraLight"/>
                <a:cs typeface="Arial"/>
                <a:sym typeface="Arial"/>
              </a:endParaRPr>
            </a:p>
          </p:txBody>
        </p:sp>
        <p:sp>
          <p:nvSpPr>
            <p:cNvPr id="601" name="Rounded Rectangle 36">
              <a:extLst>
                <a:ext uri="{FF2B5EF4-FFF2-40B4-BE49-F238E27FC236}">
                  <a16:creationId xmlns:a16="http://schemas.microsoft.com/office/drawing/2014/main" id="{A3F9E7DF-58B3-46E7-A64A-71300B0D4534}"/>
                </a:ext>
              </a:extLst>
            </p:cNvPr>
            <p:cNvSpPr/>
            <p:nvPr/>
          </p:nvSpPr>
          <p:spPr>
            <a:xfrm rot="10800000">
              <a:off x="7780989" y="3512360"/>
              <a:ext cx="74984" cy="627086"/>
            </a:xfrm>
            <a:prstGeom prst="roundRect">
              <a:avLst>
                <a:gd name="adj" fmla="val 50000"/>
              </a:avLst>
            </a:prstGeom>
            <a:solidFill>
              <a:srgbClr val="005073"/>
            </a:solidFill>
            <a:ln w="25400" cap="flat" cmpd="sng" algn="ctr">
              <a:noFill/>
              <a:prstDash val="solid"/>
            </a:ln>
            <a:effectLst/>
          </p:spPr>
          <p:txBody>
            <a:bodyPr vert="vert" lIns="91452" tIns="45727" rIns="91452" bIns="45727" rtlCol="0" anchor="ctr"/>
            <a:lstStyle/>
            <a:p>
              <a:pPr algn="ctr" defTabSz="609585" eaLnBrk="0" fontAlgn="base" hangingPunct="0">
                <a:lnSpc>
                  <a:spcPct val="85000"/>
                </a:lnSpc>
                <a:spcBef>
                  <a:spcPct val="50000"/>
                </a:spcBef>
                <a:spcAft>
                  <a:spcPct val="0"/>
                </a:spcAft>
                <a:defRPr/>
              </a:pPr>
              <a:endParaRPr lang="en-US" sz="2267">
                <a:solidFill>
                  <a:srgbClr val="005073"/>
                </a:solidFill>
                <a:latin typeface="CiscoSansTT ExtraLight"/>
                <a:cs typeface="Arial"/>
                <a:sym typeface="Arial"/>
              </a:endParaRPr>
            </a:p>
          </p:txBody>
        </p:sp>
        <p:sp>
          <p:nvSpPr>
            <p:cNvPr id="602" name="Rounded Rectangle 36">
              <a:extLst>
                <a:ext uri="{FF2B5EF4-FFF2-40B4-BE49-F238E27FC236}">
                  <a16:creationId xmlns:a16="http://schemas.microsoft.com/office/drawing/2014/main" id="{C7B7F250-6F3C-462D-BA2E-4C949F66C923}"/>
                </a:ext>
              </a:extLst>
            </p:cNvPr>
            <p:cNvSpPr/>
            <p:nvPr/>
          </p:nvSpPr>
          <p:spPr>
            <a:xfrm rot="10800000">
              <a:off x="7930699" y="2708368"/>
              <a:ext cx="50686" cy="1431079"/>
            </a:xfrm>
            <a:prstGeom prst="roundRect">
              <a:avLst>
                <a:gd name="adj" fmla="val 50000"/>
              </a:avLst>
            </a:prstGeom>
            <a:solidFill>
              <a:srgbClr val="FBAB18"/>
            </a:solidFill>
            <a:ln w="25400" cap="flat" cmpd="sng" algn="ctr">
              <a:noFill/>
              <a:prstDash val="solid"/>
            </a:ln>
            <a:effectLst/>
          </p:spPr>
          <p:txBody>
            <a:bodyPr vert="vert" lIns="91452" tIns="45727" rIns="91452" bIns="45727" rtlCol="0" anchor="ctr"/>
            <a:lstStyle/>
            <a:p>
              <a:pPr algn="ctr" defTabSz="609585" eaLnBrk="0" fontAlgn="base" hangingPunct="0">
                <a:lnSpc>
                  <a:spcPct val="85000"/>
                </a:lnSpc>
                <a:spcBef>
                  <a:spcPct val="50000"/>
                </a:spcBef>
                <a:spcAft>
                  <a:spcPct val="0"/>
                </a:spcAft>
                <a:defRPr/>
              </a:pPr>
              <a:endParaRPr lang="en-US" sz="2267">
                <a:solidFill>
                  <a:srgbClr val="005073"/>
                </a:solidFill>
                <a:latin typeface="CiscoSansTT ExtraLight"/>
                <a:cs typeface="Arial"/>
                <a:sym typeface="Arial"/>
              </a:endParaRPr>
            </a:p>
          </p:txBody>
        </p:sp>
        <p:sp>
          <p:nvSpPr>
            <p:cNvPr id="603" name="Rounded Rectangle 36">
              <a:extLst>
                <a:ext uri="{FF2B5EF4-FFF2-40B4-BE49-F238E27FC236}">
                  <a16:creationId xmlns:a16="http://schemas.microsoft.com/office/drawing/2014/main" id="{5A909345-B88A-4F33-9583-AC5B0B6AB6E3}"/>
                </a:ext>
              </a:extLst>
            </p:cNvPr>
            <p:cNvSpPr/>
            <p:nvPr/>
          </p:nvSpPr>
          <p:spPr>
            <a:xfrm rot="10800000">
              <a:off x="8080409" y="3313467"/>
              <a:ext cx="74984" cy="825981"/>
            </a:xfrm>
            <a:prstGeom prst="roundRect">
              <a:avLst>
                <a:gd name="adj" fmla="val 50000"/>
              </a:avLst>
            </a:prstGeom>
            <a:solidFill>
              <a:srgbClr val="005073"/>
            </a:solidFill>
            <a:ln w="25400" cap="flat" cmpd="sng" algn="ctr">
              <a:noFill/>
              <a:prstDash val="solid"/>
            </a:ln>
            <a:effectLst/>
          </p:spPr>
          <p:txBody>
            <a:bodyPr vert="vert" lIns="91452" tIns="45727" rIns="91452" bIns="45727" rtlCol="0" anchor="ctr"/>
            <a:lstStyle/>
            <a:p>
              <a:pPr algn="ctr" defTabSz="609585" eaLnBrk="0" fontAlgn="base" hangingPunct="0">
                <a:lnSpc>
                  <a:spcPct val="85000"/>
                </a:lnSpc>
                <a:spcBef>
                  <a:spcPct val="50000"/>
                </a:spcBef>
                <a:spcAft>
                  <a:spcPct val="0"/>
                </a:spcAft>
                <a:defRPr/>
              </a:pPr>
              <a:endParaRPr lang="en-US" sz="2267">
                <a:solidFill>
                  <a:srgbClr val="005073"/>
                </a:solidFill>
                <a:latin typeface="CiscoSansTT ExtraLight"/>
                <a:cs typeface="Arial"/>
                <a:sym typeface="Arial"/>
              </a:endParaRPr>
            </a:p>
          </p:txBody>
        </p:sp>
        <p:sp>
          <p:nvSpPr>
            <p:cNvPr id="604" name="Rounded Rectangle 36">
              <a:extLst>
                <a:ext uri="{FF2B5EF4-FFF2-40B4-BE49-F238E27FC236}">
                  <a16:creationId xmlns:a16="http://schemas.microsoft.com/office/drawing/2014/main" id="{9420D05D-B5EA-4A18-9977-DB2BD26035C5}"/>
                </a:ext>
              </a:extLst>
            </p:cNvPr>
            <p:cNvSpPr/>
            <p:nvPr/>
          </p:nvSpPr>
          <p:spPr>
            <a:xfrm rot="10800000">
              <a:off x="8230121" y="3286941"/>
              <a:ext cx="74984" cy="852507"/>
            </a:xfrm>
            <a:prstGeom prst="roundRect">
              <a:avLst>
                <a:gd name="adj" fmla="val 50000"/>
              </a:avLst>
            </a:prstGeom>
            <a:solidFill>
              <a:srgbClr val="005073"/>
            </a:solidFill>
            <a:ln w="25400" cap="flat" cmpd="sng" algn="ctr">
              <a:noFill/>
              <a:prstDash val="solid"/>
            </a:ln>
            <a:effectLst/>
          </p:spPr>
          <p:txBody>
            <a:bodyPr vert="vert" lIns="91452" tIns="45727" rIns="91452" bIns="45727" rtlCol="0" anchor="ctr"/>
            <a:lstStyle/>
            <a:p>
              <a:pPr algn="ctr" defTabSz="609585" eaLnBrk="0" fontAlgn="base" hangingPunct="0">
                <a:lnSpc>
                  <a:spcPct val="85000"/>
                </a:lnSpc>
                <a:spcBef>
                  <a:spcPct val="50000"/>
                </a:spcBef>
                <a:spcAft>
                  <a:spcPct val="0"/>
                </a:spcAft>
                <a:defRPr/>
              </a:pPr>
              <a:endParaRPr lang="en-US" sz="2267">
                <a:solidFill>
                  <a:srgbClr val="005073"/>
                </a:solidFill>
                <a:latin typeface="CiscoSansTT ExtraLight"/>
                <a:cs typeface="Arial"/>
                <a:sym typeface="Arial"/>
              </a:endParaRPr>
            </a:p>
          </p:txBody>
        </p:sp>
      </p:grpSp>
      <p:sp>
        <p:nvSpPr>
          <p:cNvPr id="605" name="Rectangle 604">
            <a:extLst>
              <a:ext uri="{FF2B5EF4-FFF2-40B4-BE49-F238E27FC236}">
                <a16:creationId xmlns:a16="http://schemas.microsoft.com/office/drawing/2014/main" id="{78EA1264-9981-47ED-8C8D-EA5BCB90B364}"/>
              </a:ext>
            </a:extLst>
          </p:cNvPr>
          <p:cNvSpPr/>
          <p:nvPr/>
        </p:nvSpPr>
        <p:spPr>
          <a:xfrm>
            <a:off x="8738965" y="5936875"/>
            <a:ext cx="1943468" cy="235898"/>
          </a:xfrm>
          <a:prstGeom prst="rect">
            <a:avLst/>
          </a:prstGeom>
        </p:spPr>
        <p:txBody>
          <a:bodyPr wrap="square">
            <a:spAutoFit/>
          </a:bodyPr>
          <a:lstStyle/>
          <a:p>
            <a:pPr algn="ctr" defTabSz="609013"/>
            <a:r>
              <a:rPr lang="en-US" sz="933">
                <a:solidFill>
                  <a:srgbClr val="282828"/>
                </a:solidFill>
                <a:latin typeface="CiscoSansTT ExtraLight"/>
                <a:ea typeface="ＭＳ Ｐゴシック" charset="0"/>
                <a:cs typeface="Arial"/>
                <a:sym typeface="Arial"/>
              </a:rPr>
              <a:t>Exchange Servers</a:t>
            </a:r>
          </a:p>
        </p:txBody>
      </p:sp>
      <p:cxnSp>
        <p:nvCxnSpPr>
          <p:cNvPr id="606" name="Curved Connector 163">
            <a:extLst>
              <a:ext uri="{FF2B5EF4-FFF2-40B4-BE49-F238E27FC236}">
                <a16:creationId xmlns:a16="http://schemas.microsoft.com/office/drawing/2014/main" id="{7194F342-441E-41CA-90AA-763C1CD38364}"/>
              </a:ext>
            </a:extLst>
          </p:cNvPr>
          <p:cNvCxnSpPr>
            <a:cxnSpLocks/>
          </p:cNvCxnSpPr>
          <p:nvPr/>
        </p:nvCxnSpPr>
        <p:spPr>
          <a:xfrm>
            <a:off x="8257369" y="4610932"/>
            <a:ext cx="2924752" cy="0"/>
          </a:xfrm>
          <a:prstGeom prst="straightConnector1">
            <a:avLst/>
          </a:prstGeom>
          <a:noFill/>
          <a:ln w="6350" cap="flat" cmpd="sng" algn="ctr">
            <a:solidFill>
              <a:srgbClr val="00BCEB"/>
            </a:solidFill>
            <a:prstDash val="dash"/>
          </a:ln>
          <a:effectLst/>
        </p:spPr>
      </p:cxnSp>
      <p:sp>
        <p:nvSpPr>
          <p:cNvPr id="607" name="Rectangle 606">
            <a:extLst>
              <a:ext uri="{FF2B5EF4-FFF2-40B4-BE49-F238E27FC236}">
                <a16:creationId xmlns:a16="http://schemas.microsoft.com/office/drawing/2014/main" id="{ED7A7EC5-5155-459A-B6F9-4B8AA9BA725C}"/>
              </a:ext>
            </a:extLst>
          </p:cNvPr>
          <p:cNvSpPr/>
          <p:nvPr/>
        </p:nvSpPr>
        <p:spPr>
          <a:xfrm>
            <a:off x="8879226" y="4291813"/>
            <a:ext cx="1943468" cy="235898"/>
          </a:xfrm>
          <a:prstGeom prst="rect">
            <a:avLst/>
          </a:prstGeom>
        </p:spPr>
        <p:txBody>
          <a:bodyPr wrap="square">
            <a:spAutoFit/>
          </a:bodyPr>
          <a:lstStyle/>
          <a:p>
            <a:pPr algn="ctr" defTabSz="609013"/>
            <a:r>
              <a:rPr lang="en-US" sz="933">
                <a:solidFill>
                  <a:srgbClr val="282828"/>
                </a:solidFill>
                <a:latin typeface="CiscoSansTT ExtraLight"/>
                <a:ea typeface="ＭＳ Ｐゴシック" charset="0"/>
                <a:cs typeface="Arial"/>
                <a:sym typeface="Arial"/>
              </a:rPr>
              <a:t>Threshold</a:t>
            </a:r>
          </a:p>
        </p:txBody>
      </p:sp>
      <p:sp>
        <p:nvSpPr>
          <p:cNvPr id="608" name="Rectangle 607">
            <a:extLst>
              <a:ext uri="{FF2B5EF4-FFF2-40B4-BE49-F238E27FC236}">
                <a16:creationId xmlns:a16="http://schemas.microsoft.com/office/drawing/2014/main" id="{C7C3E636-8AC8-47EB-827B-F876A9BA3673}"/>
              </a:ext>
            </a:extLst>
          </p:cNvPr>
          <p:cNvSpPr/>
          <p:nvPr/>
        </p:nvSpPr>
        <p:spPr>
          <a:xfrm>
            <a:off x="10273457" y="4228789"/>
            <a:ext cx="1390380" cy="276999"/>
          </a:xfrm>
          <a:prstGeom prst="rect">
            <a:avLst/>
          </a:prstGeom>
          <a:noFill/>
        </p:spPr>
        <p:txBody>
          <a:bodyPr wrap="square">
            <a:spAutoFit/>
          </a:bodyPr>
          <a:lstStyle/>
          <a:p>
            <a:pPr algn="ctr" defTabSz="609013"/>
            <a:r>
              <a:rPr lang="en-US" sz="1200">
                <a:solidFill>
                  <a:srgbClr val="FBAB18"/>
                </a:solidFill>
                <a:latin typeface="CiscoSansTT ExtraLight"/>
                <a:ea typeface="ＭＳ Ｐゴシック" charset="0"/>
                <a:cs typeface="Arial"/>
                <a:sym typeface="Arial"/>
              </a:rPr>
              <a:t>Anomaly</a:t>
            </a:r>
          </a:p>
        </p:txBody>
      </p:sp>
      <p:sp>
        <p:nvSpPr>
          <p:cNvPr id="609" name="object 40">
            <a:extLst>
              <a:ext uri="{FF2B5EF4-FFF2-40B4-BE49-F238E27FC236}">
                <a16:creationId xmlns:a16="http://schemas.microsoft.com/office/drawing/2014/main" id="{D92FEF58-C110-40B3-AFC0-C7842CED747F}"/>
              </a:ext>
            </a:extLst>
          </p:cNvPr>
          <p:cNvSpPr txBox="1"/>
          <p:nvPr/>
        </p:nvSpPr>
        <p:spPr>
          <a:xfrm>
            <a:off x="650632" y="2959707"/>
            <a:ext cx="3538945" cy="605220"/>
          </a:xfrm>
          <a:prstGeom prst="rect">
            <a:avLst/>
          </a:prstGeom>
        </p:spPr>
        <p:txBody>
          <a:bodyPr vert="horz" wrap="square" lIns="0" tIns="121920" rIns="0" bIns="121920" rtlCol="0" anchor="ctr">
            <a:noAutofit/>
          </a:bodyPr>
          <a:lstStyle/>
          <a:p>
            <a:pPr marL="14941" marR="14941" algn="ctr" defTabSz="609585" fontAlgn="base">
              <a:lnSpc>
                <a:spcPct val="98000"/>
              </a:lnSpc>
              <a:spcBef>
                <a:spcPct val="0"/>
              </a:spcBef>
              <a:spcAft>
                <a:spcPct val="0"/>
              </a:spcAft>
            </a:pPr>
            <a:r>
              <a:rPr lang="en-US" sz="1600">
                <a:solidFill>
                  <a:srgbClr val="282828"/>
                </a:solidFill>
                <a:latin typeface="CiscoSansTT ExtraLight"/>
                <a:ea typeface="ＭＳ Ｐゴシック" charset="0"/>
                <a:cs typeface="Arial"/>
                <a:sym typeface="Arial"/>
              </a:rPr>
              <a:t>Comprehensive data set optimized to remove redundancies</a:t>
            </a:r>
          </a:p>
        </p:txBody>
      </p:sp>
      <p:sp>
        <p:nvSpPr>
          <p:cNvPr id="610" name="object 40">
            <a:extLst>
              <a:ext uri="{FF2B5EF4-FFF2-40B4-BE49-F238E27FC236}">
                <a16:creationId xmlns:a16="http://schemas.microsoft.com/office/drawing/2014/main" id="{2A63EBA1-E0C4-4ECF-ADDA-5209A6E9350C}"/>
              </a:ext>
            </a:extLst>
          </p:cNvPr>
          <p:cNvSpPr txBox="1"/>
          <p:nvPr/>
        </p:nvSpPr>
        <p:spPr>
          <a:xfrm>
            <a:off x="4300447" y="2959706"/>
            <a:ext cx="3538951" cy="605220"/>
          </a:xfrm>
          <a:prstGeom prst="rect">
            <a:avLst/>
          </a:prstGeom>
        </p:spPr>
        <p:txBody>
          <a:bodyPr vert="horz" wrap="square" lIns="0" tIns="121920" rIns="0" bIns="121920" rtlCol="0" anchor="ctr">
            <a:noAutofit/>
          </a:bodyPr>
          <a:lstStyle/>
          <a:p>
            <a:pPr marL="14941" marR="14941" algn="ctr" defTabSz="609585" fontAlgn="base">
              <a:lnSpc>
                <a:spcPct val="98000"/>
              </a:lnSpc>
              <a:spcBef>
                <a:spcPct val="0"/>
              </a:spcBef>
              <a:spcAft>
                <a:spcPct val="0"/>
              </a:spcAft>
            </a:pPr>
            <a:r>
              <a:rPr lang="en-US" sz="1600">
                <a:solidFill>
                  <a:srgbClr val="282828"/>
                </a:solidFill>
                <a:latin typeface="CiscoSansTT ExtraLight"/>
                <a:ea typeface="ＭＳ Ｐゴシック" charset="0"/>
                <a:cs typeface="Arial"/>
                <a:sym typeface="Arial"/>
              </a:rPr>
              <a:t>Security events to detect anomalies and known bad behavior </a:t>
            </a:r>
          </a:p>
        </p:txBody>
      </p:sp>
      <p:sp>
        <p:nvSpPr>
          <p:cNvPr id="611" name="object 40">
            <a:extLst>
              <a:ext uri="{FF2B5EF4-FFF2-40B4-BE49-F238E27FC236}">
                <a16:creationId xmlns:a16="http://schemas.microsoft.com/office/drawing/2014/main" id="{B5103404-3F4D-4A56-952E-0A83246EFC25}"/>
              </a:ext>
            </a:extLst>
          </p:cNvPr>
          <p:cNvSpPr txBox="1"/>
          <p:nvPr/>
        </p:nvSpPr>
        <p:spPr>
          <a:xfrm>
            <a:off x="7950266" y="2959706"/>
            <a:ext cx="3538953" cy="605220"/>
          </a:xfrm>
          <a:prstGeom prst="rect">
            <a:avLst/>
          </a:prstGeom>
        </p:spPr>
        <p:txBody>
          <a:bodyPr vert="horz" wrap="square" lIns="0" tIns="121920" rIns="0" bIns="121920" rtlCol="0" anchor="ctr">
            <a:noAutofit/>
          </a:bodyPr>
          <a:lstStyle/>
          <a:p>
            <a:pPr marL="14941" marR="14941" algn="ctr" defTabSz="609585" fontAlgn="base">
              <a:lnSpc>
                <a:spcPct val="98000"/>
              </a:lnSpc>
              <a:spcBef>
                <a:spcPct val="0"/>
              </a:spcBef>
              <a:spcAft>
                <a:spcPct val="0"/>
              </a:spcAft>
            </a:pPr>
            <a:r>
              <a:rPr lang="en-US" sz="1600">
                <a:solidFill>
                  <a:srgbClr val="282828"/>
                </a:solidFill>
                <a:latin typeface="CiscoSansTT ExtraLight"/>
                <a:ea typeface="ＭＳ Ｐゴシック" charset="0"/>
                <a:cs typeface="Arial"/>
                <a:sym typeface="Arial"/>
              </a:rPr>
              <a:t>Alarm categories for high-risk, </a:t>
            </a:r>
          </a:p>
          <a:p>
            <a:pPr marL="14941" marR="14941" algn="ctr" defTabSz="609585" fontAlgn="base">
              <a:lnSpc>
                <a:spcPct val="98000"/>
              </a:lnSpc>
              <a:spcBef>
                <a:spcPct val="0"/>
              </a:spcBef>
              <a:spcAft>
                <a:spcPct val="0"/>
              </a:spcAft>
            </a:pPr>
            <a:r>
              <a:rPr lang="en-US" sz="1600">
                <a:solidFill>
                  <a:srgbClr val="282828"/>
                </a:solidFill>
                <a:latin typeface="CiscoSansTT ExtraLight"/>
                <a:ea typeface="ＭＳ Ｐゴシック" charset="0"/>
                <a:cs typeface="Arial"/>
                <a:sym typeface="Arial"/>
              </a:rPr>
              <a:t>low-noise alerts for faster response </a:t>
            </a:r>
          </a:p>
        </p:txBody>
      </p:sp>
      <p:sp>
        <p:nvSpPr>
          <p:cNvPr id="612" name="Rounded Rectangle 36">
            <a:extLst>
              <a:ext uri="{FF2B5EF4-FFF2-40B4-BE49-F238E27FC236}">
                <a16:creationId xmlns:a16="http://schemas.microsoft.com/office/drawing/2014/main" id="{F06018A0-1253-4424-BAB3-7DFB20DA0D63}"/>
              </a:ext>
            </a:extLst>
          </p:cNvPr>
          <p:cNvSpPr/>
          <p:nvPr/>
        </p:nvSpPr>
        <p:spPr>
          <a:xfrm rot="10800000">
            <a:off x="9069948" y="3709315"/>
            <a:ext cx="84213" cy="2202235"/>
          </a:xfrm>
          <a:prstGeom prst="roundRect">
            <a:avLst>
              <a:gd name="adj" fmla="val 50000"/>
            </a:avLst>
          </a:prstGeom>
          <a:solidFill>
            <a:srgbClr val="E3241B"/>
          </a:solidFill>
          <a:ln w="25400" cap="flat" cmpd="sng" algn="ctr">
            <a:noFill/>
            <a:prstDash val="solid"/>
          </a:ln>
          <a:effectLst/>
        </p:spPr>
        <p:txBody>
          <a:bodyPr vert="vert" lIns="91452" tIns="45727" rIns="91452" bIns="45727" rtlCol="0" anchor="ctr"/>
          <a:lstStyle/>
          <a:p>
            <a:pPr algn="ctr" defTabSz="609585" eaLnBrk="0" fontAlgn="base" hangingPunct="0">
              <a:lnSpc>
                <a:spcPct val="85000"/>
              </a:lnSpc>
              <a:spcBef>
                <a:spcPct val="50000"/>
              </a:spcBef>
              <a:spcAft>
                <a:spcPct val="0"/>
              </a:spcAft>
              <a:defRPr/>
            </a:pPr>
            <a:endParaRPr lang="en-US" sz="2267">
              <a:solidFill>
                <a:srgbClr val="005073"/>
              </a:solidFill>
              <a:latin typeface="CiscoSansTT ExtraLight"/>
              <a:cs typeface="Arial"/>
              <a:sym typeface="Arial"/>
            </a:endParaRPr>
          </a:p>
        </p:txBody>
      </p:sp>
      <p:sp>
        <p:nvSpPr>
          <p:cNvPr id="613" name="Rectangle 612">
            <a:extLst>
              <a:ext uri="{FF2B5EF4-FFF2-40B4-BE49-F238E27FC236}">
                <a16:creationId xmlns:a16="http://schemas.microsoft.com/office/drawing/2014/main" id="{BA825034-34D3-48BA-9BA8-6DC2513DE679}"/>
              </a:ext>
            </a:extLst>
          </p:cNvPr>
          <p:cNvSpPr/>
          <p:nvPr/>
        </p:nvSpPr>
        <p:spPr>
          <a:xfrm>
            <a:off x="8056282" y="3743323"/>
            <a:ext cx="1390380" cy="276999"/>
          </a:xfrm>
          <a:prstGeom prst="rect">
            <a:avLst/>
          </a:prstGeom>
          <a:noFill/>
        </p:spPr>
        <p:txBody>
          <a:bodyPr wrap="square">
            <a:spAutoFit/>
          </a:bodyPr>
          <a:lstStyle/>
          <a:p>
            <a:pPr algn="ctr" defTabSz="609013"/>
            <a:r>
              <a:rPr lang="en-US" sz="1200">
                <a:solidFill>
                  <a:srgbClr val="E3241B"/>
                </a:solidFill>
                <a:latin typeface="CiscoSansTT ExtraLight"/>
                <a:ea typeface="ＭＳ Ｐゴシック" charset="0"/>
                <a:cs typeface="Arial"/>
                <a:sym typeface="Arial"/>
              </a:rPr>
              <a:t>Threat</a:t>
            </a:r>
          </a:p>
        </p:txBody>
      </p:sp>
    </p:spTree>
    <p:extLst>
      <p:ext uri="{BB962C8B-B14F-4D97-AF65-F5344CB8AC3E}">
        <p14:creationId xmlns:p14="http://schemas.microsoft.com/office/powerpoint/2010/main" val="13458437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 name="Freeform 262"/>
          <p:cNvSpPr/>
          <p:nvPr/>
        </p:nvSpPr>
        <p:spPr>
          <a:xfrm rot="10800000">
            <a:off x="4478036" y="2270573"/>
            <a:ext cx="3288073" cy="245328"/>
          </a:xfrm>
          <a:custGeom>
            <a:avLst/>
            <a:gdLst>
              <a:gd name="connsiteX0" fmla="*/ 0 w 1949666"/>
              <a:gd name="connsiteY0" fmla="*/ 0 h 213206"/>
              <a:gd name="connsiteX1" fmla="*/ 1949666 w 1949666"/>
              <a:gd name="connsiteY1" fmla="*/ 0 h 213206"/>
              <a:gd name="connsiteX2" fmla="*/ 1943179 w 1949666"/>
              <a:gd name="connsiteY2" fmla="*/ 10895 h 213206"/>
              <a:gd name="connsiteX3" fmla="*/ 974833 w 1949666"/>
              <a:gd name="connsiteY3" fmla="*/ 213206 h 213206"/>
              <a:gd name="connsiteX4" fmla="*/ 6486 w 1949666"/>
              <a:gd name="connsiteY4" fmla="*/ 10895 h 213206"/>
              <a:gd name="connsiteX5" fmla="*/ 0 w 1949666"/>
              <a:gd name="connsiteY5" fmla="*/ 0 h 213206"/>
              <a:gd name="connsiteX0" fmla="*/ 0 w 1949666"/>
              <a:gd name="connsiteY0" fmla="*/ 0 h 213206"/>
              <a:gd name="connsiteX1" fmla="*/ 1221371 w 1949666"/>
              <a:gd name="connsiteY1" fmla="*/ 0 h 213206"/>
              <a:gd name="connsiteX2" fmla="*/ 1949666 w 1949666"/>
              <a:gd name="connsiteY2" fmla="*/ 0 h 213206"/>
              <a:gd name="connsiteX3" fmla="*/ 1943179 w 1949666"/>
              <a:gd name="connsiteY3" fmla="*/ 10895 h 213206"/>
              <a:gd name="connsiteX4" fmla="*/ 974833 w 1949666"/>
              <a:gd name="connsiteY4" fmla="*/ 213206 h 213206"/>
              <a:gd name="connsiteX5" fmla="*/ 6486 w 1949666"/>
              <a:gd name="connsiteY5" fmla="*/ 10895 h 213206"/>
              <a:gd name="connsiteX6" fmla="*/ 0 w 1949666"/>
              <a:gd name="connsiteY6" fmla="*/ 0 h 213206"/>
              <a:gd name="connsiteX0" fmla="*/ 1221371 w 1949666"/>
              <a:gd name="connsiteY0" fmla="*/ 0 h 213206"/>
              <a:gd name="connsiteX1" fmla="*/ 1949666 w 1949666"/>
              <a:gd name="connsiteY1" fmla="*/ 0 h 213206"/>
              <a:gd name="connsiteX2" fmla="*/ 1943179 w 1949666"/>
              <a:gd name="connsiteY2" fmla="*/ 10895 h 213206"/>
              <a:gd name="connsiteX3" fmla="*/ 974833 w 1949666"/>
              <a:gd name="connsiteY3" fmla="*/ 213206 h 213206"/>
              <a:gd name="connsiteX4" fmla="*/ 6486 w 1949666"/>
              <a:gd name="connsiteY4" fmla="*/ 10895 h 213206"/>
              <a:gd name="connsiteX5" fmla="*/ 0 w 1949666"/>
              <a:gd name="connsiteY5" fmla="*/ 0 h 213206"/>
              <a:gd name="connsiteX6" fmla="*/ 1312811 w 1949666"/>
              <a:gd name="connsiteY6" fmla="*/ 91440 h 213206"/>
              <a:gd name="connsiteX0" fmla="*/ 1221371 w 1949666"/>
              <a:gd name="connsiteY0" fmla="*/ 0 h 213206"/>
              <a:gd name="connsiteX1" fmla="*/ 1949666 w 1949666"/>
              <a:gd name="connsiteY1" fmla="*/ 0 h 213206"/>
              <a:gd name="connsiteX2" fmla="*/ 1943179 w 1949666"/>
              <a:gd name="connsiteY2" fmla="*/ 10895 h 213206"/>
              <a:gd name="connsiteX3" fmla="*/ 974833 w 1949666"/>
              <a:gd name="connsiteY3" fmla="*/ 213206 h 213206"/>
              <a:gd name="connsiteX4" fmla="*/ 6486 w 1949666"/>
              <a:gd name="connsiteY4" fmla="*/ 10895 h 213206"/>
              <a:gd name="connsiteX5" fmla="*/ 0 w 1949666"/>
              <a:gd name="connsiteY5" fmla="*/ 0 h 213206"/>
              <a:gd name="connsiteX0" fmla="*/ 1949666 w 1949666"/>
              <a:gd name="connsiteY0" fmla="*/ 0 h 213206"/>
              <a:gd name="connsiteX1" fmla="*/ 1943179 w 1949666"/>
              <a:gd name="connsiteY1" fmla="*/ 10895 h 213206"/>
              <a:gd name="connsiteX2" fmla="*/ 974833 w 1949666"/>
              <a:gd name="connsiteY2" fmla="*/ 213206 h 213206"/>
              <a:gd name="connsiteX3" fmla="*/ 6486 w 1949666"/>
              <a:gd name="connsiteY3" fmla="*/ 10895 h 213206"/>
              <a:gd name="connsiteX4" fmla="*/ 0 w 1949666"/>
              <a:gd name="connsiteY4" fmla="*/ 0 h 213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9666" h="213206">
                <a:moveTo>
                  <a:pt x="1949666" y="0"/>
                </a:moveTo>
                <a:lnTo>
                  <a:pt x="1943179" y="10895"/>
                </a:lnTo>
                <a:cubicBezTo>
                  <a:pt x="1851012" y="126354"/>
                  <a:pt x="1452490" y="213206"/>
                  <a:pt x="974833" y="213206"/>
                </a:cubicBezTo>
                <a:cubicBezTo>
                  <a:pt x="497175" y="213206"/>
                  <a:pt x="98654" y="126354"/>
                  <a:pt x="6486" y="10895"/>
                </a:cubicBezTo>
                <a:lnTo>
                  <a:pt x="0" y="0"/>
                </a:lnTo>
              </a:path>
            </a:pathLst>
          </a:custGeom>
          <a:noFill/>
          <a:ln w="76200" cap="rnd">
            <a:solidFill>
              <a:schemeClr val="tx1">
                <a:lumMod val="25000"/>
                <a:lumOff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grpSp>
        <p:nvGrpSpPr>
          <p:cNvPr id="19" name="Group 18"/>
          <p:cNvGrpSpPr/>
          <p:nvPr/>
        </p:nvGrpSpPr>
        <p:grpSpPr>
          <a:xfrm>
            <a:off x="4809801" y="-3732958"/>
            <a:ext cx="2687040" cy="10515867"/>
            <a:chOff x="3607351" y="-2976370"/>
            <a:chExt cx="2015280" cy="7886900"/>
          </a:xfrm>
          <a:solidFill>
            <a:schemeClr val="bg2"/>
          </a:solidFill>
        </p:grpSpPr>
        <p:grpSp>
          <p:nvGrpSpPr>
            <p:cNvPr id="18" name="Group 17"/>
            <p:cNvGrpSpPr/>
            <p:nvPr/>
          </p:nvGrpSpPr>
          <p:grpSpPr>
            <a:xfrm>
              <a:off x="3607351" y="-2976370"/>
              <a:ext cx="2015280" cy="4886124"/>
              <a:chOff x="3607351" y="-2976370"/>
              <a:chExt cx="2015280" cy="4886124"/>
            </a:xfrm>
            <a:grpFill/>
          </p:grpSpPr>
          <p:grpSp>
            <p:nvGrpSpPr>
              <p:cNvPr id="16" name="Group 15"/>
              <p:cNvGrpSpPr/>
              <p:nvPr/>
            </p:nvGrpSpPr>
            <p:grpSpPr>
              <a:xfrm>
                <a:off x="3607351" y="-1207052"/>
                <a:ext cx="2015280" cy="3116806"/>
                <a:chOff x="3607351" y="-1207052"/>
                <a:chExt cx="2015280" cy="3116806"/>
              </a:xfrm>
              <a:grpFill/>
            </p:grpSpPr>
            <p:grpSp>
              <p:nvGrpSpPr>
                <p:cNvPr id="99" name="Group 98"/>
                <p:cNvGrpSpPr/>
                <p:nvPr/>
              </p:nvGrpSpPr>
              <p:grpSpPr>
                <a:xfrm>
                  <a:off x="3985327" y="-1207052"/>
                  <a:ext cx="1637304" cy="2906396"/>
                  <a:chOff x="6061410" y="-1318512"/>
                  <a:chExt cx="1637304" cy="2906396"/>
                </a:xfrm>
                <a:grpFill/>
              </p:grpSpPr>
              <p:sp>
                <p:nvSpPr>
                  <p:cNvPr id="85" name="Oval 84"/>
                  <p:cNvSpPr/>
                  <p:nvPr/>
                </p:nvSpPr>
                <p:spPr>
                  <a:xfrm>
                    <a:off x="6795016" y="658883"/>
                    <a:ext cx="138042" cy="138042"/>
                  </a:xfrm>
                  <a:prstGeom prst="ellipse">
                    <a:avLst/>
                  </a:prstGeom>
                  <a:grpFill/>
                  <a:ln w="25400" cap="rnd">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87" name="Oval 86"/>
                  <p:cNvSpPr/>
                  <p:nvPr/>
                </p:nvSpPr>
                <p:spPr>
                  <a:xfrm>
                    <a:off x="6795016" y="263404"/>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89" name="Oval 88"/>
                  <p:cNvSpPr/>
                  <p:nvPr/>
                </p:nvSpPr>
                <p:spPr>
                  <a:xfrm>
                    <a:off x="6795016" y="1449842"/>
                    <a:ext cx="138042" cy="138042"/>
                  </a:xfrm>
                  <a:prstGeom prst="ellipse">
                    <a:avLst/>
                  </a:prstGeom>
                  <a:grpFill/>
                  <a:ln w="25400" cap="rnd">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91" name="Oval 90"/>
                  <p:cNvSpPr/>
                  <p:nvPr/>
                </p:nvSpPr>
                <p:spPr>
                  <a:xfrm>
                    <a:off x="6795016" y="1054362"/>
                    <a:ext cx="138042" cy="138042"/>
                  </a:xfrm>
                  <a:prstGeom prst="ellipse">
                    <a:avLst/>
                  </a:prstGeom>
                  <a:grpFill/>
                  <a:ln w="25400" cap="rnd">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95" name="Oval 94"/>
                  <p:cNvSpPr/>
                  <p:nvPr/>
                </p:nvSpPr>
                <p:spPr>
                  <a:xfrm>
                    <a:off x="6795016" y="-923033"/>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96" name="Oval 95"/>
                  <p:cNvSpPr/>
                  <p:nvPr/>
                </p:nvSpPr>
                <p:spPr>
                  <a:xfrm>
                    <a:off x="6795016" y="-1318512"/>
                    <a:ext cx="138042" cy="138042"/>
                  </a:xfrm>
                  <a:prstGeom prst="ellipse">
                    <a:avLst/>
                  </a:prstGeom>
                  <a:grpFill/>
                  <a:ln w="25400" cap="rnd">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97" name="Oval 96"/>
                  <p:cNvSpPr/>
                  <p:nvPr/>
                </p:nvSpPr>
                <p:spPr>
                  <a:xfrm>
                    <a:off x="6795016" y="-132075"/>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98" name="Oval 97"/>
                  <p:cNvSpPr/>
                  <p:nvPr/>
                </p:nvSpPr>
                <p:spPr>
                  <a:xfrm>
                    <a:off x="6795016" y="-527554"/>
                    <a:ext cx="138042" cy="138042"/>
                  </a:xfrm>
                  <a:prstGeom prst="ellipse">
                    <a:avLst/>
                  </a:prstGeom>
                  <a:grpFill/>
                  <a:ln w="25400" cap="rnd">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70" name="Oval 169"/>
                  <p:cNvSpPr/>
                  <p:nvPr/>
                </p:nvSpPr>
                <p:spPr>
                  <a:xfrm>
                    <a:off x="7560672" y="658883"/>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71" name="Oval 170"/>
                  <p:cNvSpPr/>
                  <p:nvPr/>
                </p:nvSpPr>
                <p:spPr>
                  <a:xfrm>
                    <a:off x="7560672" y="263404"/>
                    <a:ext cx="138042" cy="138042"/>
                  </a:xfrm>
                  <a:prstGeom prst="ellipse">
                    <a:avLst/>
                  </a:prstGeom>
                  <a:grpFill/>
                  <a:ln w="25400" cap="rnd">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72" name="Oval 171"/>
                  <p:cNvSpPr/>
                  <p:nvPr/>
                </p:nvSpPr>
                <p:spPr>
                  <a:xfrm>
                    <a:off x="7560672" y="1449842"/>
                    <a:ext cx="138042" cy="138042"/>
                  </a:xfrm>
                  <a:prstGeom prst="ellipse">
                    <a:avLst/>
                  </a:prstGeom>
                  <a:grpFill/>
                  <a:ln w="25400" cap="rnd">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73" name="Oval 172"/>
                  <p:cNvSpPr/>
                  <p:nvPr/>
                </p:nvSpPr>
                <p:spPr>
                  <a:xfrm>
                    <a:off x="7560672" y="1054362"/>
                    <a:ext cx="138042" cy="138042"/>
                  </a:xfrm>
                  <a:prstGeom prst="ellipse">
                    <a:avLst/>
                  </a:prstGeom>
                  <a:grpFill/>
                  <a:ln w="25400" cap="rnd">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74" name="Oval 173"/>
                  <p:cNvSpPr/>
                  <p:nvPr/>
                </p:nvSpPr>
                <p:spPr>
                  <a:xfrm>
                    <a:off x="7560672" y="-923033"/>
                    <a:ext cx="138042" cy="138042"/>
                  </a:xfrm>
                  <a:prstGeom prst="ellipse">
                    <a:avLst/>
                  </a:prstGeom>
                  <a:grpFill/>
                  <a:ln w="25400" cap="rnd">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75" name="Oval 174"/>
                  <p:cNvSpPr/>
                  <p:nvPr/>
                </p:nvSpPr>
                <p:spPr>
                  <a:xfrm>
                    <a:off x="7560672" y="-1318512"/>
                    <a:ext cx="138042" cy="138042"/>
                  </a:xfrm>
                  <a:prstGeom prst="ellipse">
                    <a:avLst/>
                  </a:prstGeom>
                  <a:grpFill/>
                  <a:ln w="25400" cap="rnd">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76" name="Oval 175"/>
                  <p:cNvSpPr/>
                  <p:nvPr/>
                </p:nvSpPr>
                <p:spPr>
                  <a:xfrm>
                    <a:off x="7560672" y="-132075"/>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77" name="Oval 176"/>
                  <p:cNvSpPr/>
                  <p:nvPr/>
                </p:nvSpPr>
                <p:spPr>
                  <a:xfrm>
                    <a:off x="7560672" y="-527554"/>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96" name="Oval 195"/>
                  <p:cNvSpPr/>
                  <p:nvPr/>
                </p:nvSpPr>
                <p:spPr>
                  <a:xfrm>
                    <a:off x="6061410" y="658883"/>
                    <a:ext cx="138042" cy="138042"/>
                  </a:xfrm>
                  <a:prstGeom prst="ellipse">
                    <a:avLst/>
                  </a:prstGeom>
                  <a:grpFill/>
                  <a:ln w="25400" cap="rnd">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97" name="Oval 196"/>
                  <p:cNvSpPr/>
                  <p:nvPr/>
                </p:nvSpPr>
                <p:spPr>
                  <a:xfrm>
                    <a:off x="6061410" y="263404"/>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98" name="Oval 197"/>
                  <p:cNvSpPr/>
                  <p:nvPr/>
                </p:nvSpPr>
                <p:spPr>
                  <a:xfrm>
                    <a:off x="6061410" y="1449842"/>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99" name="Oval 198"/>
                  <p:cNvSpPr/>
                  <p:nvPr/>
                </p:nvSpPr>
                <p:spPr>
                  <a:xfrm>
                    <a:off x="6061410" y="1054362"/>
                    <a:ext cx="138042" cy="138042"/>
                  </a:xfrm>
                  <a:prstGeom prst="ellipse">
                    <a:avLst/>
                  </a:prstGeom>
                  <a:grpFill/>
                  <a:ln w="25400" cap="rnd">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00" name="Oval 199"/>
                  <p:cNvSpPr/>
                  <p:nvPr/>
                </p:nvSpPr>
                <p:spPr>
                  <a:xfrm>
                    <a:off x="6061410" y="-923033"/>
                    <a:ext cx="138042" cy="138042"/>
                  </a:xfrm>
                  <a:prstGeom prst="ellipse">
                    <a:avLst/>
                  </a:prstGeom>
                  <a:grpFill/>
                  <a:ln w="25400" cap="rnd">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01" name="Oval 200"/>
                  <p:cNvSpPr/>
                  <p:nvPr/>
                </p:nvSpPr>
                <p:spPr>
                  <a:xfrm>
                    <a:off x="6061410" y="-1318512"/>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02" name="Oval 201"/>
                  <p:cNvSpPr/>
                  <p:nvPr/>
                </p:nvSpPr>
                <p:spPr>
                  <a:xfrm>
                    <a:off x="6061410" y="-132075"/>
                    <a:ext cx="138042" cy="138042"/>
                  </a:xfrm>
                  <a:prstGeom prst="ellipse">
                    <a:avLst/>
                  </a:prstGeom>
                  <a:grpFill/>
                  <a:ln w="25400" cap="rnd">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03" name="Oval 202"/>
                  <p:cNvSpPr/>
                  <p:nvPr/>
                </p:nvSpPr>
                <p:spPr>
                  <a:xfrm>
                    <a:off x="6061410" y="-527554"/>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grpSp>
            <p:grpSp>
              <p:nvGrpSpPr>
                <p:cNvPr id="109" name="Group 108"/>
                <p:cNvGrpSpPr/>
                <p:nvPr/>
              </p:nvGrpSpPr>
              <p:grpSpPr>
                <a:xfrm>
                  <a:off x="3607351" y="-996642"/>
                  <a:ext cx="1637304" cy="2906396"/>
                  <a:chOff x="6061410" y="-1318512"/>
                  <a:chExt cx="1637304" cy="2906396"/>
                </a:xfrm>
                <a:grpFill/>
              </p:grpSpPr>
              <p:sp>
                <p:nvSpPr>
                  <p:cNvPr id="110" name="Oval 109"/>
                  <p:cNvSpPr/>
                  <p:nvPr/>
                </p:nvSpPr>
                <p:spPr>
                  <a:xfrm>
                    <a:off x="6795016" y="658883"/>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11" name="Oval 110"/>
                  <p:cNvSpPr/>
                  <p:nvPr/>
                </p:nvSpPr>
                <p:spPr>
                  <a:xfrm>
                    <a:off x="6795016" y="263404"/>
                    <a:ext cx="138042" cy="138042"/>
                  </a:xfrm>
                  <a:prstGeom prst="ellipse">
                    <a:avLst/>
                  </a:prstGeom>
                  <a:grpFill/>
                  <a:ln w="25400" cap="rnd">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12" name="Oval 111"/>
                  <p:cNvSpPr/>
                  <p:nvPr/>
                </p:nvSpPr>
                <p:spPr>
                  <a:xfrm>
                    <a:off x="6795016" y="1449842"/>
                    <a:ext cx="138042" cy="138042"/>
                  </a:xfrm>
                  <a:prstGeom prst="ellipse">
                    <a:avLst/>
                  </a:prstGeom>
                  <a:grpFill/>
                  <a:ln w="25400" cap="rnd">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13" name="Oval 112"/>
                  <p:cNvSpPr/>
                  <p:nvPr/>
                </p:nvSpPr>
                <p:spPr>
                  <a:xfrm>
                    <a:off x="6795016" y="1054362"/>
                    <a:ext cx="138042" cy="138042"/>
                  </a:xfrm>
                  <a:prstGeom prst="ellipse">
                    <a:avLst/>
                  </a:prstGeom>
                  <a:grpFill/>
                  <a:ln w="25400" cap="rnd">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14" name="Oval 113"/>
                  <p:cNvSpPr/>
                  <p:nvPr/>
                </p:nvSpPr>
                <p:spPr>
                  <a:xfrm>
                    <a:off x="6795016" y="-923033"/>
                    <a:ext cx="138042" cy="138042"/>
                  </a:xfrm>
                  <a:prstGeom prst="ellipse">
                    <a:avLst/>
                  </a:prstGeom>
                  <a:grpFill/>
                  <a:ln w="25400" cap="rnd">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15" name="Oval 114"/>
                  <p:cNvSpPr/>
                  <p:nvPr/>
                </p:nvSpPr>
                <p:spPr>
                  <a:xfrm>
                    <a:off x="6795016" y="-1318512"/>
                    <a:ext cx="138042" cy="138042"/>
                  </a:xfrm>
                  <a:prstGeom prst="ellipse">
                    <a:avLst/>
                  </a:prstGeom>
                  <a:grpFill/>
                  <a:ln w="25400" cap="rnd">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16" name="Oval 115"/>
                  <p:cNvSpPr/>
                  <p:nvPr/>
                </p:nvSpPr>
                <p:spPr>
                  <a:xfrm>
                    <a:off x="6795016" y="-132075"/>
                    <a:ext cx="138042" cy="138042"/>
                  </a:xfrm>
                  <a:prstGeom prst="ellipse">
                    <a:avLst/>
                  </a:prstGeom>
                  <a:grpFill/>
                  <a:ln w="25400" cap="rnd">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17" name="Oval 116"/>
                  <p:cNvSpPr/>
                  <p:nvPr/>
                </p:nvSpPr>
                <p:spPr>
                  <a:xfrm>
                    <a:off x="6795016" y="-527554"/>
                    <a:ext cx="138042" cy="138042"/>
                  </a:xfrm>
                  <a:prstGeom prst="ellipse">
                    <a:avLst/>
                  </a:prstGeom>
                  <a:grpFill/>
                  <a:ln w="25400" cap="rnd">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78" name="Oval 177"/>
                  <p:cNvSpPr/>
                  <p:nvPr/>
                </p:nvSpPr>
                <p:spPr>
                  <a:xfrm>
                    <a:off x="7560672" y="658883"/>
                    <a:ext cx="138042" cy="138042"/>
                  </a:xfrm>
                  <a:prstGeom prst="ellipse">
                    <a:avLst/>
                  </a:prstGeom>
                  <a:grpFill/>
                  <a:ln w="25400" cap="rnd">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79" name="Oval 178"/>
                  <p:cNvSpPr/>
                  <p:nvPr/>
                </p:nvSpPr>
                <p:spPr>
                  <a:xfrm>
                    <a:off x="7560672" y="263404"/>
                    <a:ext cx="138042" cy="138042"/>
                  </a:xfrm>
                  <a:prstGeom prst="ellipse">
                    <a:avLst/>
                  </a:prstGeom>
                  <a:grpFill/>
                  <a:ln w="25400" cap="rnd">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80" name="Oval 179"/>
                  <p:cNvSpPr/>
                  <p:nvPr/>
                </p:nvSpPr>
                <p:spPr>
                  <a:xfrm>
                    <a:off x="7560672" y="1449842"/>
                    <a:ext cx="138042" cy="138042"/>
                  </a:xfrm>
                  <a:prstGeom prst="ellipse">
                    <a:avLst/>
                  </a:prstGeom>
                  <a:grpFill/>
                  <a:ln w="25400" cap="rnd">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81" name="Oval 180"/>
                  <p:cNvSpPr/>
                  <p:nvPr/>
                </p:nvSpPr>
                <p:spPr>
                  <a:xfrm>
                    <a:off x="7560672" y="1054362"/>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82" name="Oval 181"/>
                  <p:cNvSpPr/>
                  <p:nvPr/>
                </p:nvSpPr>
                <p:spPr>
                  <a:xfrm>
                    <a:off x="7560672" y="-923033"/>
                    <a:ext cx="138042" cy="138042"/>
                  </a:xfrm>
                  <a:prstGeom prst="ellipse">
                    <a:avLst/>
                  </a:prstGeom>
                  <a:grpFill/>
                  <a:ln w="25400" cap="rnd">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83" name="Oval 182"/>
                  <p:cNvSpPr/>
                  <p:nvPr/>
                </p:nvSpPr>
                <p:spPr>
                  <a:xfrm>
                    <a:off x="7560672" y="-1318512"/>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84" name="Oval 183"/>
                  <p:cNvSpPr/>
                  <p:nvPr/>
                </p:nvSpPr>
                <p:spPr>
                  <a:xfrm>
                    <a:off x="7560672" y="-132075"/>
                    <a:ext cx="138042" cy="138042"/>
                  </a:xfrm>
                  <a:prstGeom prst="ellipse">
                    <a:avLst/>
                  </a:prstGeom>
                  <a:grpFill/>
                  <a:ln w="25400" cap="rnd">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85" name="Oval 184"/>
                  <p:cNvSpPr/>
                  <p:nvPr/>
                </p:nvSpPr>
                <p:spPr>
                  <a:xfrm>
                    <a:off x="7560672" y="-527554"/>
                    <a:ext cx="138042" cy="138042"/>
                  </a:xfrm>
                  <a:prstGeom prst="ellipse">
                    <a:avLst/>
                  </a:prstGeom>
                  <a:grpFill/>
                  <a:ln w="25400" cap="rnd">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04" name="Oval 203"/>
                  <p:cNvSpPr/>
                  <p:nvPr/>
                </p:nvSpPr>
                <p:spPr>
                  <a:xfrm>
                    <a:off x="6061410" y="658883"/>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05" name="Oval 204"/>
                  <p:cNvSpPr/>
                  <p:nvPr/>
                </p:nvSpPr>
                <p:spPr>
                  <a:xfrm>
                    <a:off x="6061410" y="263404"/>
                    <a:ext cx="138042" cy="138042"/>
                  </a:xfrm>
                  <a:prstGeom prst="ellipse">
                    <a:avLst/>
                  </a:prstGeom>
                  <a:grpFill/>
                  <a:ln w="25400" cap="rnd">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06" name="Oval 205"/>
                  <p:cNvSpPr/>
                  <p:nvPr/>
                </p:nvSpPr>
                <p:spPr>
                  <a:xfrm>
                    <a:off x="6061410" y="1449842"/>
                    <a:ext cx="138042" cy="138042"/>
                  </a:xfrm>
                  <a:prstGeom prst="ellipse">
                    <a:avLst/>
                  </a:prstGeom>
                  <a:grpFill/>
                  <a:ln w="25400" cap="rnd">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07" name="Oval 206"/>
                  <p:cNvSpPr/>
                  <p:nvPr/>
                </p:nvSpPr>
                <p:spPr>
                  <a:xfrm>
                    <a:off x="6061410" y="1054362"/>
                    <a:ext cx="138042" cy="138042"/>
                  </a:xfrm>
                  <a:prstGeom prst="ellipse">
                    <a:avLst/>
                  </a:prstGeom>
                  <a:grpFill/>
                  <a:ln w="25400" cap="rnd">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08" name="Oval 207"/>
                  <p:cNvSpPr/>
                  <p:nvPr/>
                </p:nvSpPr>
                <p:spPr>
                  <a:xfrm>
                    <a:off x="6061410" y="-923033"/>
                    <a:ext cx="138042" cy="138042"/>
                  </a:xfrm>
                  <a:prstGeom prst="ellipse">
                    <a:avLst/>
                  </a:prstGeom>
                  <a:grpFill/>
                  <a:ln w="25400" cap="rnd">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09" name="Oval 208"/>
                  <p:cNvSpPr/>
                  <p:nvPr/>
                </p:nvSpPr>
                <p:spPr>
                  <a:xfrm>
                    <a:off x="6061410" y="-1318512"/>
                    <a:ext cx="138042" cy="138042"/>
                  </a:xfrm>
                  <a:prstGeom prst="ellipse">
                    <a:avLst/>
                  </a:prstGeom>
                  <a:grpFill/>
                  <a:ln w="25400" cap="rnd">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10" name="Oval 209"/>
                  <p:cNvSpPr/>
                  <p:nvPr/>
                </p:nvSpPr>
                <p:spPr>
                  <a:xfrm>
                    <a:off x="6061410" y="-132075"/>
                    <a:ext cx="138042" cy="138042"/>
                  </a:xfrm>
                  <a:prstGeom prst="ellipse">
                    <a:avLst/>
                  </a:prstGeom>
                  <a:grpFill/>
                  <a:ln w="25400" cap="rnd">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11" name="Oval 210"/>
                  <p:cNvSpPr/>
                  <p:nvPr/>
                </p:nvSpPr>
                <p:spPr>
                  <a:xfrm>
                    <a:off x="6061410" y="-527554"/>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grpSp>
          </p:grpSp>
          <p:grpSp>
            <p:nvGrpSpPr>
              <p:cNvPr id="17" name="Group 16"/>
              <p:cNvGrpSpPr/>
              <p:nvPr/>
            </p:nvGrpSpPr>
            <p:grpSpPr>
              <a:xfrm>
                <a:off x="3607351" y="-2976370"/>
                <a:ext cx="2015280" cy="1719958"/>
                <a:chOff x="3607351" y="-2976370"/>
                <a:chExt cx="2015280" cy="1719958"/>
              </a:xfrm>
              <a:grpFill/>
            </p:grpSpPr>
            <p:sp>
              <p:nvSpPr>
                <p:cNvPr id="106" name="Oval 105"/>
                <p:cNvSpPr/>
                <p:nvPr/>
              </p:nvSpPr>
              <p:spPr>
                <a:xfrm>
                  <a:off x="4718933" y="-2000343"/>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07" name="Oval 106"/>
                <p:cNvSpPr/>
                <p:nvPr/>
              </p:nvSpPr>
              <p:spPr>
                <a:xfrm>
                  <a:off x="4718933" y="-2395822"/>
                  <a:ext cx="138042" cy="138042"/>
                </a:xfrm>
                <a:prstGeom prst="ellipse">
                  <a:avLst/>
                </a:prstGeom>
                <a:grpFill/>
                <a:ln w="25400" cap="rnd">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18" name="Oval 117"/>
                <p:cNvSpPr/>
                <p:nvPr/>
              </p:nvSpPr>
              <p:spPr>
                <a:xfrm>
                  <a:off x="4718933" y="-1604864"/>
                  <a:ext cx="138042" cy="138042"/>
                </a:xfrm>
                <a:prstGeom prst="ellipse">
                  <a:avLst/>
                </a:prstGeom>
                <a:grpFill/>
                <a:ln w="25400" cap="rnd">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21" name="Oval 120"/>
                <p:cNvSpPr/>
                <p:nvPr/>
              </p:nvSpPr>
              <p:spPr>
                <a:xfrm>
                  <a:off x="4718933" y="-2791301"/>
                  <a:ext cx="138042" cy="138042"/>
                </a:xfrm>
                <a:prstGeom prst="ellipse">
                  <a:avLst/>
                </a:prstGeom>
                <a:grpFill/>
                <a:ln w="25400" cap="rnd">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92" name="Oval 91"/>
                <p:cNvSpPr/>
                <p:nvPr/>
              </p:nvSpPr>
              <p:spPr>
                <a:xfrm>
                  <a:off x="4340957" y="-1789933"/>
                  <a:ext cx="138042" cy="138042"/>
                </a:xfrm>
                <a:prstGeom prst="ellipse">
                  <a:avLst/>
                </a:prstGeom>
                <a:grpFill/>
                <a:ln w="25400" cap="rnd">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93" name="Oval 92"/>
                <p:cNvSpPr/>
                <p:nvPr/>
              </p:nvSpPr>
              <p:spPr>
                <a:xfrm>
                  <a:off x="4340957" y="-2185412"/>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00" name="Oval 99"/>
                <p:cNvSpPr/>
                <p:nvPr/>
              </p:nvSpPr>
              <p:spPr>
                <a:xfrm>
                  <a:off x="4340957" y="-1394454"/>
                  <a:ext cx="138042" cy="138042"/>
                </a:xfrm>
                <a:prstGeom prst="ellipse">
                  <a:avLst/>
                </a:prstGeom>
                <a:grpFill/>
                <a:ln w="25400" cap="rnd">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04" name="Oval 103"/>
                <p:cNvSpPr/>
                <p:nvPr/>
              </p:nvSpPr>
              <p:spPr>
                <a:xfrm>
                  <a:off x="4340957" y="-2580891"/>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05" name="Oval 104"/>
                <p:cNvSpPr/>
                <p:nvPr/>
              </p:nvSpPr>
              <p:spPr>
                <a:xfrm>
                  <a:off x="4340957" y="-2976370"/>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86" name="Oval 185"/>
                <p:cNvSpPr/>
                <p:nvPr/>
              </p:nvSpPr>
              <p:spPr>
                <a:xfrm>
                  <a:off x="5484589" y="-2000343"/>
                  <a:ext cx="138042" cy="138042"/>
                </a:xfrm>
                <a:prstGeom prst="ellipse">
                  <a:avLst/>
                </a:prstGeom>
                <a:grpFill/>
                <a:ln w="25400" cap="rnd">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87" name="Oval 186"/>
                <p:cNvSpPr/>
                <p:nvPr/>
              </p:nvSpPr>
              <p:spPr>
                <a:xfrm>
                  <a:off x="5484589" y="-2395822"/>
                  <a:ext cx="138042" cy="138042"/>
                </a:xfrm>
                <a:prstGeom prst="ellipse">
                  <a:avLst/>
                </a:prstGeom>
                <a:grpFill/>
                <a:ln w="25400" cap="rnd">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88" name="Oval 187"/>
                <p:cNvSpPr/>
                <p:nvPr/>
              </p:nvSpPr>
              <p:spPr>
                <a:xfrm>
                  <a:off x="5484589" y="-1604864"/>
                  <a:ext cx="138042" cy="138042"/>
                </a:xfrm>
                <a:prstGeom prst="ellipse">
                  <a:avLst/>
                </a:prstGeom>
                <a:grpFill/>
                <a:ln w="25400" cap="rnd">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89" name="Oval 188"/>
                <p:cNvSpPr/>
                <p:nvPr/>
              </p:nvSpPr>
              <p:spPr>
                <a:xfrm>
                  <a:off x="5484589" y="-2791301"/>
                  <a:ext cx="138042" cy="138042"/>
                </a:xfrm>
                <a:prstGeom prst="ellipse">
                  <a:avLst/>
                </a:prstGeom>
                <a:grpFill/>
                <a:ln w="25400" cap="rnd">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90" name="Oval 189"/>
                <p:cNvSpPr/>
                <p:nvPr/>
              </p:nvSpPr>
              <p:spPr>
                <a:xfrm>
                  <a:off x="5106613" y="-1789933"/>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91" name="Oval 190"/>
                <p:cNvSpPr/>
                <p:nvPr/>
              </p:nvSpPr>
              <p:spPr>
                <a:xfrm>
                  <a:off x="5106613" y="-2185412"/>
                  <a:ext cx="138042" cy="138042"/>
                </a:xfrm>
                <a:prstGeom prst="ellipse">
                  <a:avLst/>
                </a:prstGeom>
                <a:grpFill/>
                <a:ln w="25400" cap="rnd">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92" name="Oval 191"/>
                <p:cNvSpPr/>
                <p:nvPr/>
              </p:nvSpPr>
              <p:spPr>
                <a:xfrm>
                  <a:off x="5106613" y="-1394454"/>
                  <a:ext cx="138042" cy="138042"/>
                </a:xfrm>
                <a:prstGeom prst="ellipse">
                  <a:avLst/>
                </a:prstGeom>
                <a:grpFill/>
                <a:ln w="25400" cap="rnd">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93" name="Oval 192"/>
                <p:cNvSpPr/>
                <p:nvPr/>
              </p:nvSpPr>
              <p:spPr>
                <a:xfrm>
                  <a:off x="5106613" y="-2580891"/>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94" name="Oval 193"/>
                <p:cNvSpPr/>
                <p:nvPr/>
              </p:nvSpPr>
              <p:spPr>
                <a:xfrm>
                  <a:off x="5106613" y="-2976370"/>
                  <a:ext cx="138042" cy="138042"/>
                </a:xfrm>
                <a:prstGeom prst="ellipse">
                  <a:avLst/>
                </a:prstGeom>
                <a:grpFill/>
                <a:ln w="25400" cap="rnd">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12" name="Oval 211"/>
                <p:cNvSpPr/>
                <p:nvPr/>
              </p:nvSpPr>
              <p:spPr>
                <a:xfrm>
                  <a:off x="3985327" y="-2000343"/>
                  <a:ext cx="138042" cy="138042"/>
                </a:xfrm>
                <a:prstGeom prst="ellipse">
                  <a:avLst/>
                </a:prstGeom>
                <a:grpFill/>
                <a:ln w="25400" cap="rnd">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13" name="Oval 212"/>
                <p:cNvSpPr/>
                <p:nvPr/>
              </p:nvSpPr>
              <p:spPr>
                <a:xfrm>
                  <a:off x="3985327" y="-2395822"/>
                  <a:ext cx="138042" cy="138042"/>
                </a:xfrm>
                <a:prstGeom prst="ellipse">
                  <a:avLst/>
                </a:prstGeom>
                <a:grpFill/>
                <a:ln w="25400" cap="rnd">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14" name="Oval 213"/>
                <p:cNvSpPr/>
                <p:nvPr/>
              </p:nvSpPr>
              <p:spPr>
                <a:xfrm>
                  <a:off x="3985327" y="-1604864"/>
                  <a:ext cx="138042" cy="138042"/>
                </a:xfrm>
                <a:prstGeom prst="ellipse">
                  <a:avLst/>
                </a:prstGeom>
                <a:grpFill/>
                <a:ln w="25400" cap="rnd">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15" name="Oval 214"/>
                <p:cNvSpPr/>
                <p:nvPr/>
              </p:nvSpPr>
              <p:spPr>
                <a:xfrm>
                  <a:off x="3985327" y="-2791301"/>
                  <a:ext cx="138042" cy="138042"/>
                </a:xfrm>
                <a:prstGeom prst="ellipse">
                  <a:avLst/>
                </a:prstGeom>
                <a:grpFill/>
                <a:ln w="25400" cap="rnd">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16" name="Oval 215"/>
                <p:cNvSpPr/>
                <p:nvPr/>
              </p:nvSpPr>
              <p:spPr>
                <a:xfrm>
                  <a:off x="3607351" y="-1789933"/>
                  <a:ext cx="138042" cy="138042"/>
                </a:xfrm>
                <a:prstGeom prst="ellipse">
                  <a:avLst/>
                </a:prstGeom>
                <a:grpFill/>
                <a:ln w="254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17" name="Oval 216"/>
                <p:cNvSpPr/>
                <p:nvPr/>
              </p:nvSpPr>
              <p:spPr>
                <a:xfrm>
                  <a:off x="3607351" y="-2185412"/>
                  <a:ext cx="138042" cy="138042"/>
                </a:xfrm>
                <a:prstGeom prst="ellipse">
                  <a:avLst/>
                </a:prstGeom>
                <a:grpFill/>
                <a:ln w="25400" cap="rnd">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18" name="Oval 217"/>
                <p:cNvSpPr/>
                <p:nvPr/>
              </p:nvSpPr>
              <p:spPr>
                <a:xfrm>
                  <a:off x="3607351" y="-1394454"/>
                  <a:ext cx="138042" cy="138042"/>
                </a:xfrm>
                <a:prstGeom prst="ellipse">
                  <a:avLst/>
                </a:prstGeom>
                <a:grpFill/>
                <a:ln w="25400" cap="rnd">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19" name="Oval 218"/>
                <p:cNvSpPr/>
                <p:nvPr/>
              </p:nvSpPr>
              <p:spPr>
                <a:xfrm>
                  <a:off x="3607351" y="-2580891"/>
                  <a:ext cx="138042" cy="138042"/>
                </a:xfrm>
                <a:prstGeom prst="ellipse">
                  <a:avLst/>
                </a:prstGeom>
                <a:grpFill/>
                <a:ln w="25400" cap="rnd">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20" name="Oval 219"/>
                <p:cNvSpPr/>
                <p:nvPr/>
              </p:nvSpPr>
              <p:spPr>
                <a:xfrm>
                  <a:off x="3607351" y="-2976370"/>
                  <a:ext cx="138042" cy="138042"/>
                </a:xfrm>
                <a:prstGeom prst="ellipse">
                  <a:avLst/>
                </a:prstGeom>
                <a:grpFill/>
                <a:ln w="25400" cap="rnd">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grpSp>
        </p:grpSp>
        <p:grpSp>
          <p:nvGrpSpPr>
            <p:cNvPr id="8" name="Group 7"/>
            <p:cNvGrpSpPr/>
            <p:nvPr/>
          </p:nvGrpSpPr>
          <p:grpSpPr>
            <a:xfrm>
              <a:off x="4295322" y="1911899"/>
              <a:ext cx="607828" cy="2998631"/>
              <a:chOff x="4295322" y="4278539"/>
              <a:chExt cx="607828" cy="2998631"/>
            </a:xfrm>
            <a:grpFill/>
          </p:grpSpPr>
          <p:grpSp>
            <p:nvGrpSpPr>
              <p:cNvPr id="252" name="Group 251"/>
              <p:cNvGrpSpPr/>
              <p:nvPr/>
            </p:nvGrpSpPr>
            <p:grpSpPr>
              <a:xfrm>
                <a:off x="4673837" y="4278539"/>
                <a:ext cx="229313" cy="2208049"/>
                <a:chOff x="4673837" y="4256173"/>
                <a:chExt cx="229313" cy="2208049"/>
              </a:xfrm>
              <a:grpFill/>
            </p:grpSpPr>
            <p:sp>
              <p:nvSpPr>
                <p:cNvPr id="81" name="Oval 80"/>
                <p:cNvSpPr/>
                <p:nvPr/>
              </p:nvSpPr>
              <p:spPr>
                <a:xfrm>
                  <a:off x="4673837" y="4256173"/>
                  <a:ext cx="229313" cy="229313"/>
                </a:xfrm>
                <a:prstGeom prst="ellipse">
                  <a:avLst/>
                </a:prstGeom>
                <a:solidFill>
                  <a:schemeClr val="accent2"/>
                </a:solidFill>
                <a:ln w="12700" cap="rnd">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46" name="Freeform 46"/>
                <p:cNvSpPr>
                  <a:spLocks noChangeArrowheads="1"/>
                </p:cNvSpPr>
                <p:nvPr/>
              </p:nvSpPr>
              <p:spPr bwMode="auto">
                <a:xfrm>
                  <a:off x="4719321" y="4317029"/>
                  <a:ext cx="138344" cy="107601"/>
                </a:xfrm>
                <a:custGeom>
                  <a:avLst/>
                  <a:gdLst>
                    <a:gd name="T0" fmla="*/ 116 w 117"/>
                    <a:gd name="T1" fmla="*/ 19 h 91"/>
                    <a:gd name="T2" fmla="*/ 114 w 117"/>
                    <a:gd name="T3" fmla="*/ 24 h 91"/>
                    <a:gd name="T4" fmla="*/ 61 w 117"/>
                    <a:gd name="T5" fmla="*/ 77 h 91"/>
                    <a:gd name="T6" fmla="*/ 50 w 117"/>
                    <a:gd name="T7" fmla="*/ 88 h 91"/>
                    <a:gd name="T8" fmla="*/ 45 w 117"/>
                    <a:gd name="T9" fmla="*/ 90 h 91"/>
                    <a:gd name="T10" fmla="*/ 40 w 117"/>
                    <a:gd name="T11" fmla="*/ 88 h 91"/>
                    <a:gd name="T12" fmla="*/ 29 w 117"/>
                    <a:gd name="T13" fmla="*/ 77 h 91"/>
                    <a:gd name="T14" fmla="*/ 3 w 117"/>
                    <a:gd name="T15" fmla="*/ 51 h 91"/>
                    <a:gd name="T16" fmla="*/ 0 w 117"/>
                    <a:gd name="T17" fmla="*/ 45 h 91"/>
                    <a:gd name="T18" fmla="*/ 3 w 117"/>
                    <a:gd name="T19" fmla="*/ 40 h 91"/>
                    <a:gd name="T20" fmla="*/ 13 w 117"/>
                    <a:gd name="T21" fmla="*/ 29 h 91"/>
                    <a:gd name="T22" fmla="*/ 18 w 117"/>
                    <a:gd name="T23" fmla="*/ 27 h 91"/>
                    <a:gd name="T24" fmla="*/ 24 w 117"/>
                    <a:gd name="T25" fmla="*/ 29 h 91"/>
                    <a:gd name="T26" fmla="*/ 45 w 117"/>
                    <a:gd name="T27" fmla="*/ 51 h 91"/>
                    <a:gd name="T28" fmla="*/ 93 w 117"/>
                    <a:gd name="T29" fmla="*/ 3 h 91"/>
                    <a:gd name="T30" fmla="*/ 98 w 117"/>
                    <a:gd name="T31" fmla="*/ 0 h 91"/>
                    <a:gd name="T32" fmla="*/ 103 w 117"/>
                    <a:gd name="T33" fmla="*/ 3 h 91"/>
                    <a:gd name="T34" fmla="*/ 114 w 117"/>
                    <a:gd name="T35" fmla="*/ 13 h 91"/>
                    <a:gd name="T36" fmla="*/ 116 w 117"/>
                    <a:gd name="T37" fmla="*/ 1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 h="91">
                      <a:moveTo>
                        <a:pt x="116" y="19"/>
                      </a:moveTo>
                      <a:cubicBezTo>
                        <a:pt x="116" y="21"/>
                        <a:pt x="116" y="21"/>
                        <a:pt x="114" y="24"/>
                      </a:cubicBezTo>
                      <a:lnTo>
                        <a:pt x="61" y="77"/>
                      </a:lnTo>
                      <a:lnTo>
                        <a:pt x="50" y="88"/>
                      </a:lnTo>
                      <a:cubicBezTo>
                        <a:pt x="48" y="90"/>
                        <a:pt x="48" y="90"/>
                        <a:pt x="45" y="90"/>
                      </a:cubicBezTo>
                      <a:cubicBezTo>
                        <a:pt x="42" y="90"/>
                        <a:pt x="42" y="90"/>
                        <a:pt x="40" y="88"/>
                      </a:cubicBezTo>
                      <a:lnTo>
                        <a:pt x="29" y="77"/>
                      </a:lnTo>
                      <a:lnTo>
                        <a:pt x="3" y="51"/>
                      </a:lnTo>
                      <a:cubicBezTo>
                        <a:pt x="0" y="48"/>
                        <a:pt x="0" y="48"/>
                        <a:pt x="0" y="45"/>
                      </a:cubicBezTo>
                      <a:cubicBezTo>
                        <a:pt x="0" y="43"/>
                        <a:pt x="0" y="43"/>
                        <a:pt x="3" y="40"/>
                      </a:cubicBezTo>
                      <a:lnTo>
                        <a:pt x="13" y="29"/>
                      </a:lnTo>
                      <a:cubicBezTo>
                        <a:pt x="16" y="27"/>
                        <a:pt x="16" y="27"/>
                        <a:pt x="18" y="27"/>
                      </a:cubicBezTo>
                      <a:cubicBezTo>
                        <a:pt x="21" y="27"/>
                        <a:pt x="21" y="27"/>
                        <a:pt x="24" y="29"/>
                      </a:cubicBezTo>
                      <a:lnTo>
                        <a:pt x="45" y="51"/>
                      </a:lnTo>
                      <a:lnTo>
                        <a:pt x="93" y="3"/>
                      </a:lnTo>
                      <a:cubicBezTo>
                        <a:pt x="95" y="0"/>
                        <a:pt x="95" y="0"/>
                        <a:pt x="98" y="0"/>
                      </a:cubicBezTo>
                      <a:cubicBezTo>
                        <a:pt x="101" y="0"/>
                        <a:pt x="101" y="0"/>
                        <a:pt x="103" y="3"/>
                      </a:cubicBezTo>
                      <a:lnTo>
                        <a:pt x="114" y="13"/>
                      </a:lnTo>
                      <a:cubicBezTo>
                        <a:pt x="114" y="16"/>
                        <a:pt x="116" y="16"/>
                        <a:pt x="116" y="19"/>
                      </a:cubicBezTo>
                    </a:path>
                  </a:pathLst>
                </a:custGeom>
                <a:grpFill/>
                <a:ln>
                  <a:noFill/>
                </a:ln>
                <a:effectLst/>
                <a:extLst>
                  <a:ext uri="{91240B29-F687-4f45-9708-019B960494DF}">
                    <a14:hiddenLine xmlns:a14="http://schemas.microsoft.com/office/drawing/2010/main" xmlns="" w="9525" cap="flat">
                      <a:solidFill>
                        <a:srgbClr val="6CC04A"/>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sp>
              <p:nvSpPr>
                <p:cNvPr id="221" name="Oval 220"/>
                <p:cNvSpPr/>
                <p:nvPr/>
              </p:nvSpPr>
              <p:spPr>
                <a:xfrm>
                  <a:off x="4673837" y="5050865"/>
                  <a:ext cx="229313" cy="229313"/>
                </a:xfrm>
                <a:prstGeom prst="ellipse">
                  <a:avLst/>
                </a:prstGeom>
                <a:solidFill>
                  <a:schemeClr val="accent2"/>
                </a:solidFill>
                <a:ln w="12700" cap="rnd">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22" name="Freeform 46"/>
                <p:cNvSpPr>
                  <a:spLocks noChangeArrowheads="1"/>
                </p:cNvSpPr>
                <p:nvPr/>
              </p:nvSpPr>
              <p:spPr bwMode="auto">
                <a:xfrm>
                  <a:off x="4719321" y="5111721"/>
                  <a:ext cx="138344" cy="107601"/>
                </a:xfrm>
                <a:custGeom>
                  <a:avLst/>
                  <a:gdLst>
                    <a:gd name="T0" fmla="*/ 116 w 117"/>
                    <a:gd name="T1" fmla="*/ 19 h 91"/>
                    <a:gd name="T2" fmla="*/ 114 w 117"/>
                    <a:gd name="T3" fmla="*/ 24 h 91"/>
                    <a:gd name="T4" fmla="*/ 61 w 117"/>
                    <a:gd name="T5" fmla="*/ 77 h 91"/>
                    <a:gd name="T6" fmla="*/ 50 w 117"/>
                    <a:gd name="T7" fmla="*/ 88 h 91"/>
                    <a:gd name="T8" fmla="*/ 45 w 117"/>
                    <a:gd name="T9" fmla="*/ 90 h 91"/>
                    <a:gd name="T10" fmla="*/ 40 w 117"/>
                    <a:gd name="T11" fmla="*/ 88 h 91"/>
                    <a:gd name="T12" fmla="*/ 29 w 117"/>
                    <a:gd name="T13" fmla="*/ 77 h 91"/>
                    <a:gd name="T14" fmla="*/ 3 w 117"/>
                    <a:gd name="T15" fmla="*/ 51 h 91"/>
                    <a:gd name="T16" fmla="*/ 0 w 117"/>
                    <a:gd name="T17" fmla="*/ 45 h 91"/>
                    <a:gd name="T18" fmla="*/ 3 w 117"/>
                    <a:gd name="T19" fmla="*/ 40 h 91"/>
                    <a:gd name="T20" fmla="*/ 13 w 117"/>
                    <a:gd name="T21" fmla="*/ 29 h 91"/>
                    <a:gd name="T22" fmla="*/ 18 w 117"/>
                    <a:gd name="T23" fmla="*/ 27 h 91"/>
                    <a:gd name="T24" fmla="*/ 24 w 117"/>
                    <a:gd name="T25" fmla="*/ 29 h 91"/>
                    <a:gd name="T26" fmla="*/ 45 w 117"/>
                    <a:gd name="T27" fmla="*/ 51 h 91"/>
                    <a:gd name="T28" fmla="*/ 93 w 117"/>
                    <a:gd name="T29" fmla="*/ 3 h 91"/>
                    <a:gd name="T30" fmla="*/ 98 w 117"/>
                    <a:gd name="T31" fmla="*/ 0 h 91"/>
                    <a:gd name="T32" fmla="*/ 103 w 117"/>
                    <a:gd name="T33" fmla="*/ 3 h 91"/>
                    <a:gd name="T34" fmla="*/ 114 w 117"/>
                    <a:gd name="T35" fmla="*/ 13 h 91"/>
                    <a:gd name="T36" fmla="*/ 116 w 117"/>
                    <a:gd name="T37" fmla="*/ 1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 h="91">
                      <a:moveTo>
                        <a:pt x="116" y="19"/>
                      </a:moveTo>
                      <a:cubicBezTo>
                        <a:pt x="116" y="21"/>
                        <a:pt x="116" y="21"/>
                        <a:pt x="114" y="24"/>
                      </a:cubicBezTo>
                      <a:lnTo>
                        <a:pt x="61" y="77"/>
                      </a:lnTo>
                      <a:lnTo>
                        <a:pt x="50" y="88"/>
                      </a:lnTo>
                      <a:cubicBezTo>
                        <a:pt x="48" y="90"/>
                        <a:pt x="48" y="90"/>
                        <a:pt x="45" y="90"/>
                      </a:cubicBezTo>
                      <a:cubicBezTo>
                        <a:pt x="42" y="90"/>
                        <a:pt x="42" y="90"/>
                        <a:pt x="40" y="88"/>
                      </a:cubicBezTo>
                      <a:lnTo>
                        <a:pt x="29" y="77"/>
                      </a:lnTo>
                      <a:lnTo>
                        <a:pt x="3" y="51"/>
                      </a:lnTo>
                      <a:cubicBezTo>
                        <a:pt x="0" y="48"/>
                        <a:pt x="0" y="48"/>
                        <a:pt x="0" y="45"/>
                      </a:cubicBezTo>
                      <a:cubicBezTo>
                        <a:pt x="0" y="43"/>
                        <a:pt x="0" y="43"/>
                        <a:pt x="3" y="40"/>
                      </a:cubicBezTo>
                      <a:lnTo>
                        <a:pt x="13" y="29"/>
                      </a:lnTo>
                      <a:cubicBezTo>
                        <a:pt x="16" y="27"/>
                        <a:pt x="16" y="27"/>
                        <a:pt x="18" y="27"/>
                      </a:cubicBezTo>
                      <a:cubicBezTo>
                        <a:pt x="21" y="27"/>
                        <a:pt x="21" y="27"/>
                        <a:pt x="24" y="29"/>
                      </a:cubicBezTo>
                      <a:lnTo>
                        <a:pt x="45" y="51"/>
                      </a:lnTo>
                      <a:lnTo>
                        <a:pt x="93" y="3"/>
                      </a:lnTo>
                      <a:cubicBezTo>
                        <a:pt x="95" y="0"/>
                        <a:pt x="95" y="0"/>
                        <a:pt x="98" y="0"/>
                      </a:cubicBezTo>
                      <a:cubicBezTo>
                        <a:pt x="101" y="0"/>
                        <a:pt x="101" y="0"/>
                        <a:pt x="103" y="3"/>
                      </a:cubicBezTo>
                      <a:lnTo>
                        <a:pt x="114" y="13"/>
                      </a:lnTo>
                      <a:cubicBezTo>
                        <a:pt x="114" y="16"/>
                        <a:pt x="116" y="16"/>
                        <a:pt x="116" y="19"/>
                      </a:cubicBezTo>
                    </a:path>
                  </a:pathLst>
                </a:custGeom>
                <a:grpFill/>
                <a:ln>
                  <a:noFill/>
                </a:ln>
                <a:effectLst/>
                <a:extLst>
                  <a:ext uri="{91240B29-F687-4f45-9708-019B960494DF}">
                    <a14:hiddenLine xmlns:a14="http://schemas.microsoft.com/office/drawing/2010/main" xmlns="" w="9525" cap="flat">
                      <a:solidFill>
                        <a:srgbClr val="6CC04A"/>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sp>
              <p:nvSpPr>
                <p:cNvPr id="237" name="Oval 236"/>
                <p:cNvSpPr/>
                <p:nvPr/>
              </p:nvSpPr>
              <p:spPr>
                <a:xfrm>
                  <a:off x="4673837" y="5841821"/>
                  <a:ext cx="229313" cy="229313"/>
                </a:xfrm>
                <a:prstGeom prst="ellipse">
                  <a:avLst/>
                </a:prstGeom>
                <a:grpFill/>
                <a:ln w="12700" cap="rnd">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38" name="Freeform 46"/>
                <p:cNvSpPr>
                  <a:spLocks noChangeArrowheads="1"/>
                </p:cNvSpPr>
                <p:nvPr/>
              </p:nvSpPr>
              <p:spPr bwMode="auto">
                <a:xfrm>
                  <a:off x="4719321" y="5902677"/>
                  <a:ext cx="138344" cy="107601"/>
                </a:xfrm>
                <a:custGeom>
                  <a:avLst/>
                  <a:gdLst>
                    <a:gd name="T0" fmla="*/ 116 w 117"/>
                    <a:gd name="T1" fmla="*/ 19 h 91"/>
                    <a:gd name="T2" fmla="*/ 114 w 117"/>
                    <a:gd name="T3" fmla="*/ 24 h 91"/>
                    <a:gd name="T4" fmla="*/ 61 w 117"/>
                    <a:gd name="T5" fmla="*/ 77 h 91"/>
                    <a:gd name="T6" fmla="*/ 50 w 117"/>
                    <a:gd name="T7" fmla="*/ 88 h 91"/>
                    <a:gd name="T8" fmla="*/ 45 w 117"/>
                    <a:gd name="T9" fmla="*/ 90 h 91"/>
                    <a:gd name="T10" fmla="*/ 40 w 117"/>
                    <a:gd name="T11" fmla="*/ 88 h 91"/>
                    <a:gd name="T12" fmla="*/ 29 w 117"/>
                    <a:gd name="T13" fmla="*/ 77 h 91"/>
                    <a:gd name="T14" fmla="*/ 3 w 117"/>
                    <a:gd name="T15" fmla="*/ 51 h 91"/>
                    <a:gd name="T16" fmla="*/ 0 w 117"/>
                    <a:gd name="T17" fmla="*/ 45 h 91"/>
                    <a:gd name="T18" fmla="*/ 3 w 117"/>
                    <a:gd name="T19" fmla="*/ 40 h 91"/>
                    <a:gd name="T20" fmla="*/ 13 w 117"/>
                    <a:gd name="T21" fmla="*/ 29 h 91"/>
                    <a:gd name="T22" fmla="*/ 18 w 117"/>
                    <a:gd name="T23" fmla="*/ 27 h 91"/>
                    <a:gd name="T24" fmla="*/ 24 w 117"/>
                    <a:gd name="T25" fmla="*/ 29 h 91"/>
                    <a:gd name="T26" fmla="*/ 45 w 117"/>
                    <a:gd name="T27" fmla="*/ 51 h 91"/>
                    <a:gd name="T28" fmla="*/ 93 w 117"/>
                    <a:gd name="T29" fmla="*/ 3 h 91"/>
                    <a:gd name="T30" fmla="*/ 98 w 117"/>
                    <a:gd name="T31" fmla="*/ 0 h 91"/>
                    <a:gd name="T32" fmla="*/ 103 w 117"/>
                    <a:gd name="T33" fmla="*/ 3 h 91"/>
                    <a:gd name="T34" fmla="*/ 114 w 117"/>
                    <a:gd name="T35" fmla="*/ 13 h 91"/>
                    <a:gd name="T36" fmla="*/ 116 w 117"/>
                    <a:gd name="T37" fmla="*/ 1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 h="91">
                      <a:moveTo>
                        <a:pt x="116" y="19"/>
                      </a:moveTo>
                      <a:cubicBezTo>
                        <a:pt x="116" y="21"/>
                        <a:pt x="116" y="21"/>
                        <a:pt x="114" y="24"/>
                      </a:cubicBezTo>
                      <a:lnTo>
                        <a:pt x="61" y="77"/>
                      </a:lnTo>
                      <a:lnTo>
                        <a:pt x="50" y="88"/>
                      </a:lnTo>
                      <a:cubicBezTo>
                        <a:pt x="48" y="90"/>
                        <a:pt x="48" y="90"/>
                        <a:pt x="45" y="90"/>
                      </a:cubicBezTo>
                      <a:cubicBezTo>
                        <a:pt x="42" y="90"/>
                        <a:pt x="42" y="90"/>
                        <a:pt x="40" y="88"/>
                      </a:cubicBezTo>
                      <a:lnTo>
                        <a:pt x="29" y="77"/>
                      </a:lnTo>
                      <a:lnTo>
                        <a:pt x="3" y="51"/>
                      </a:lnTo>
                      <a:cubicBezTo>
                        <a:pt x="0" y="48"/>
                        <a:pt x="0" y="48"/>
                        <a:pt x="0" y="45"/>
                      </a:cubicBezTo>
                      <a:cubicBezTo>
                        <a:pt x="0" y="43"/>
                        <a:pt x="0" y="43"/>
                        <a:pt x="3" y="40"/>
                      </a:cubicBezTo>
                      <a:lnTo>
                        <a:pt x="13" y="29"/>
                      </a:lnTo>
                      <a:cubicBezTo>
                        <a:pt x="16" y="27"/>
                        <a:pt x="16" y="27"/>
                        <a:pt x="18" y="27"/>
                      </a:cubicBezTo>
                      <a:cubicBezTo>
                        <a:pt x="21" y="27"/>
                        <a:pt x="21" y="27"/>
                        <a:pt x="24" y="29"/>
                      </a:cubicBezTo>
                      <a:lnTo>
                        <a:pt x="45" y="51"/>
                      </a:lnTo>
                      <a:lnTo>
                        <a:pt x="93" y="3"/>
                      </a:lnTo>
                      <a:cubicBezTo>
                        <a:pt x="95" y="0"/>
                        <a:pt x="95" y="0"/>
                        <a:pt x="98" y="0"/>
                      </a:cubicBezTo>
                      <a:cubicBezTo>
                        <a:pt x="101" y="0"/>
                        <a:pt x="101" y="0"/>
                        <a:pt x="103" y="3"/>
                      </a:cubicBezTo>
                      <a:lnTo>
                        <a:pt x="114" y="13"/>
                      </a:lnTo>
                      <a:cubicBezTo>
                        <a:pt x="114" y="16"/>
                        <a:pt x="116" y="16"/>
                        <a:pt x="116" y="19"/>
                      </a:cubicBezTo>
                    </a:path>
                  </a:pathLst>
                </a:custGeom>
                <a:grpFill/>
                <a:ln>
                  <a:noFill/>
                </a:ln>
                <a:effectLst/>
                <a:extLst>
                  <a:ext uri="{91240B29-F687-4f45-9708-019B960494DF}">
                    <a14:hiddenLine xmlns:a14="http://schemas.microsoft.com/office/drawing/2010/main" xmlns="" w="9525" cap="flat">
                      <a:solidFill>
                        <a:srgbClr val="6CC04A"/>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sp>
              <p:nvSpPr>
                <p:cNvPr id="253" name="Oval 252"/>
                <p:cNvSpPr/>
                <p:nvPr/>
              </p:nvSpPr>
              <p:spPr>
                <a:xfrm>
                  <a:off x="4673837" y="6234909"/>
                  <a:ext cx="229313" cy="229313"/>
                </a:xfrm>
                <a:prstGeom prst="ellipse">
                  <a:avLst/>
                </a:prstGeom>
                <a:solidFill>
                  <a:schemeClr val="accent2"/>
                </a:solidFill>
                <a:ln w="12700" cap="rnd">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54" name="Freeform 46"/>
                <p:cNvSpPr>
                  <a:spLocks noChangeArrowheads="1"/>
                </p:cNvSpPr>
                <p:nvPr/>
              </p:nvSpPr>
              <p:spPr bwMode="auto">
                <a:xfrm>
                  <a:off x="4719321" y="6295765"/>
                  <a:ext cx="138344" cy="107601"/>
                </a:xfrm>
                <a:custGeom>
                  <a:avLst/>
                  <a:gdLst>
                    <a:gd name="T0" fmla="*/ 116 w 117"/>
                    <a:gd name="T1" fmla="*/ 19 h 91"/>
                    <a:gd name="T2" fmla="*/ 114 w 117"/>
                    <a:gd name="T3" fmla="*/ 24 h 91"/>
                    <a:gd name="T4" fmla="*/ 61 w 117"/>
                    <a:gd name="T5" fmla="*/ 77 h 91"/>
                    <a:gd name="T6" fmla="*/ 50 w 117"/>
                    <a:gd name="T7" fmla="*/ 88 h 91"/>
                    <a:gd name="T8" fmla="*/ 45 w 117"/>
                    <a:gd name="T9" fmla="*/ 90 h 91"/>
                    <a:gd name="T10" fmla="*/ 40 w 117"/>
                    <a:gd name="T11" fmla="*/ 88 h 91"/>
                    <a:gd name="T12" fmla="*/ 29 w 117"/>
                    <a:gd name="T13" fmla="*/ 77 h 91"/>
                    <a:gd name="T14" fmla="*/ 3 w 117"/>
                    <a:gd name="T15" fmla="*/ 51 h 91"/>
                    <a:gd name="T16" fmla="*/ 0 w 117"/>
                    <a:gd name="T17" fmla="*/ 45 h 91"/>
                    <a:gd name="T18" fmla="*/ 3 w 117"/>
                    <a:gd name="T19" fmla="*/ 40 h 91"/>
                    <a:gd name="T20" fmla="*/ 13 w 117"/>
                    <a:gd name="T21" fmla="*/ 29 h 91"/>
                    <a:gd name="T22" fmla="*/ 18 w 117"/>
                    <a:gd name="T23" fmla="*/ 27 h 91"/>
                    <a:gd name="T24" fmla="*/ 24 w 117"/>
                    <a:gd name="T25" fmla="*/ 29 h 91"/>
                    <a:gd name="T26" fmla="*/ 45 w 117"/>
                    <a:gd name="T27" fmla="*/ 51 h 91"/>
                    <a:gd name="T28" fmla="*/ 93 w 117"/>
                    <a:gd name="T29" fmla="*/ 3 h 91"/>
                    <a:gd name="T30" fmla="*/ 98 w 117"/>
                    <a:gd name="T31" fmla="*/ 0 h 91"/>
                    <a:gd name="T32" fmla="*/ 103 w 117"/>
                    <a:gd name="T33" fmla="*/ 3 h 91"/>
                    <a:gd name="T34" fmla="*/ 114 w 117"/>
                    <a:gd name="T35" fmla="*/ 13 h 91"/>
                    <a:gd name="T36" fmla="*/ 116 w 117"/>
                    <a:gd name="T37" fmla="*/ 1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 h="91">
                      <a:moveTo>
                        <a:pt x="116" y="19"/>
                      </a:moveTo>
                      <a:cubicBezTo>
                        <a:pt x="116" y="21"/>
                        <a:pt x="116" y="21"/>
                        <a:pt x="114" y="24"/>
                      </a:cubicBezTo>
                      <a:lnTo>
                        <a:pt x="61" y="77"/>
                      </a:lnTo>
                      <a:lnTo>
                        <a:pt x="50" y="88"/>
                      </a:lnTo>
                      <a:cubicBezTo>
                        <a:pt x="48" y="90"/>
                        <a:pt x="48" y="90"/>
                        <a:pt x="45" y="90"/>
                      </a:cubicBezTo>
                      <a:cubicBezTo>
                        <a:pt x="42" y="90"/>
                        <a:pt x="42" y="90"/>
                        <a:pt x="40" y="88"/>
                      </a:cubicBezTo>
                      <a:lnTo>
                        <a:pt x="29" y="77"/>
                      </a:lnTo>
                      <a:lnTo>
                        <a:pt x="3" y="51"/>
                      </a:lnTo>
                      <a:cubicBezTo>
                        <a:pt x="0" y="48"/>
                        <a:pt x="0" y="48"/>
                        <a:pt x="0" y="45"/>
                      </a:cubicBezTo>
                      <a:cubicBezTo>
                        <a:pt x="0" y="43"/>
                        <a:pt x="0" y="43"/>
                        <a:pt x="3" y="40"/>
                      </a:cubicBezTo>
                      <a:lnTo>
                        <a:pt x="13" y="29"/>
                      </a:lnTo>
                      <a:cubicBezTo>
                        <a:pt x="16" y="27"/>
                        <a:pt x="16" y="27"/>
                        <a:pt x="18" y="27"/>
                      </a:cubicBezTo>
                      <a:cubicBezTo>
                        <a:pt x="21" y="27"/>
                        <a:pt x="21" y="27"/>
                        <a:pt x="24" y="29"/>
                      </a:cubicBezTo>
                      <a:lnTo>
                        <a:pt x="45" y="51"/>
                      </a:lnTo>
                      <a:lnTo>
                        <a:pt x="93" y="3"/>
                      </a:lnTo>
                      <a:cubicBezTo>
                        <a:pt x="95" y="0"/>
                        <a:pt x="95" y="0"/>
                        <a:pt x="98" y="0"/>
                      </a:cubicBezTo>
                      <a:cubicBezTo>
                        <a:pt x="101" y="0"/>
                        <a:pt x="101" y="0"/>
                        <a:pt x="103" y="3"/>
                      </a:cubicBezTo>
                      <a:lnTo>
                        <a:pt x="114" y="13"/>
                      </a:lnTo>
                      <a:cubicBezTo>
                        <a:pt x="114" y="16"/>
                        <a:pt x="116" y="16"/>
                        <a:pt x="116" y="19"/>
                      </a:cubicBezTo>
                    </a:path>
                  </a:pathLst>
                </a:custGeom>
                <a:grpFill/>
                <a:ln>
                  <a:noFill/>
                </a:ln>
                <a:effectLst/>
                <a:extLst>
                  <a:ext uri="{91240B29-F687-4f45-9708-019B960494DF}">
                    <a14:hiddenLine xmlns:a14="http://schemas.microsoft.com/office/drawing/2010/main" xmlns="" w="9525" cap="flat">
                      <a:solidFill>
                        <a:srgbClr val="6CC04A"/>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grpSp>
          <p:grpSp>
            <p:nvGrpSpPr>
              <p:cNvPr id="251" name="Group 250"/>
              <p:cNvGrpSpPr/>
              <p:nvPr/>
            </p:nvGrpSpPr>
            <p:grpSpPr>
              <a:xfrm>
                <a:off x="4295681" y="4485721"/>
                <a:ext cx="229313" cy="2208049"/>
                <a:chOff x="4295681" y="4399414"/>
                <a:chExt cx="229313" cy="2208049"/>
              </a:xfrm>
              <a:grpFill/>
            </p:grpSpPr>
            <p:sp>
              <p:nvSpPr>
                <p:cNvPr id="79" name="Oval 78"/>
                <p:cNvSpPr/>
                <p:nvPr/>
              </p:nvSpPr>
              <p:spPr>
                <a:xfrm>
                  <a:off x="4295681" y="4399414"/>
                  <a:ext cx="229313" cy="229313"/>
                </a:xfrm>
                <a:prstGeom prst="ellipse">
                  <a:avLst/>
                </a:prstGeom>
                <a:solidFill>
                  <a:schemeClr val="tx1">
                    <a:lumMod val="50000"/>
                    <a:lumOff val="50000"/>
                  </a:schemeClr>
                </a:solidFill>
                <a:ln w="12700" cap="rnd">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50" name="Freeform 93"/>
                <p:cNvSpPr>
                  <a:spLocks noChangeArrowheads="1"/>
                </p:cNvSpPr>
                <p:nvPr/>
              </p:nvSpPr>
              <p:spPr bwMode="auto">
                <a:xfrm>
                  <a:off x="4353976" y="4457709"/>
                  <a:ext cx="112722" cy="112723"/>
                </a:xfrm>
                <a:custGeom>
                  <a:avLst/>
                  <a:gdLst>
                    <a:gd name="T0" fmla="*/ 69 w 96"/>
                    <a:gd name="T1" fmla="*/ 47 h 96"/>
                    <a:gd name="T2" fmla="*/ 93 w 96"/>
                    <a:gd name="T3" fmla="*/ 23 h 96"/>
                    <a:gd name="T4" fmla="*/ 93 w 96"/>
                    <a:gd name="T5" fmla="*/ 13 h 96"/>
                    <a:gd name="T6" fmla="*/ 82 w 96"/>
                    <a:gd name="T7" fmla="*/ 2 h 96"/>
                    <a:gd name="T8" fmla="*/ 71 w 96"/>
                    <a:gd name="T9" fmla="*/ 2 h 96"/>
                    <a:gd name="T10" fmla="*/ 48 w 96"/>
                    <a:gd name="T11" fmla="*/ 26 h 96"/>
                    <a:gd name="T12" fmla="*/ 24 w 96"/>
                    <a:gd name="T13" fmla="*/ 2 h 96"/>
                    <a:gd name="T14" fmla="*/ 13 w 96"/>
                    <a:gd name="T15" fmla="*/ 2 h 96"/>
                    <a:gd name="T16" fmla="*/ 3 w 96"/>
                    <a:gd name="T17" fmla="*/ 13 h 96"/>
                    <a:gd name="T18" fmla="*/ 3 w 96"/>
                    <a:gd name="T19" fmla="*/ 23 h 96"/>
                    <a:gd name="T20" fmla="*/ 26 w 96"/>
                    <a:gd name="T21" fmla="*/ 47 h 96"/>
                    <a:gd name="T22" fmla="*/ 3 w 96"/>
                    <a:gd name="T23" fmla="*/ 71 h 96"/>
                    <a:gd name="T24" fmla="*/ 3 w 96"/>
                    <a:gd name="T25" fmla="*/ 82 h 96"/>
                    <a:gd name="T26" fmla="*/ 13 w 96"/>
                    <a:gd name="T27" fmla="*/ 92 h 96"/>
                    <a:gd name="T28" fmla="*/ 24 w 96"/>
                    <a:gd name="T29" fmla="*/ 92 h 96"/>
                    <a:gd name="T30" fmla="*/ 48 w 96"/>
                    <a:gd name="T31" fmla="*/ 68 h 96"/>
                    <a:gd name="T32" fmla="*/ 71 w 96"/>
                    <a:gd name="T33" fmla="*/ 92 h 96"/>
                    <a:gd name="T34" fmla="*/ 82 w 96"/>
                    <a:gd name="T35" fmla="*/ 92 h 96"/>
                    <a:gd name="T36" fmla="*/ 93 w 96"/>
                    <a:gd name="T37" fmla="*/ 82 h 96"/>
                    <a:gd name="T38" fmla="*/ 93 w 96"/>
                    <a:gd name="T39" fmla="*/ 71 h 96"/>
                    <a:gd name="T40" fmla="*/ 69 w 96"/>
                    <a:gd name="T41"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69" y="47"/>
                      </a:moveTo>
                      <a:lnTo>
                        <a:pt x="93" y="23"/>
                      </a:lnTo>
                      <a:cubicBezTo>
                        <a:pt x="95" y="21"/>
                        <a:pt x="95" y="15"/>
                        <a:pt x="93" y="13"/>
                      </a:cubicBezTo>
                      <a:lnTo>
                        <a:pt x="82" y="2"/>
                      </a:lnTo>
                      <a:cubicBezTo>
                        <a:pt x="79" y="0"/>
                        <a:pt x="74" y="0"/>
                        <a:pt x="71" y="2"/>
                      </a:cubicBezTo>
                      <a:lnTo>
                        <a:pt x="48" y="26"/>
                      </a:lnTo>
                      <a:lnTo>
                        <a:pt x="24" y="2"/>
                      </a:lnTo>
                      <a:cubicBezTo>
                        <a:pt x="21" y="0"/>
                        <a:pt x="16" y="0"/>
                        <a:pt x="13" y="2"/>
                      </a:cubicBezTo>
                      <a:lnTo>
                        <a:pt x="3" y="13"/>
                      </a:lnTo>
                      <a:cubicBezTo>
                        <a:pt x="0" y="15"/>
                        <a:pt x="0" y="21"/>
                        <a:pt x="3" y="23"/>
                      </a:cubicBezTo>
                      <a:lnTo>
                        <a:pt x="26" y="47"/>
                      </a:lnTo>
                      <a:lnTo>
                        <a:pt x="3" y="71"/>
                      </a:lnTo>
                      <a:cubicBezTo>
                        <a:pt x="0" y="74"/>
                        <a:pt x="0" y="79"/>
                        <a:pt x="3" y="82"/>
                      </a:cubicBezTo>
                      <a:lnTo>
                        <a:pt x="13" y="92"/>
                      </a:lnTo>
                      <a:cubicBezTo>
                        <a:pt x="16" y="95"/>
                        <a:pt x="21" y="95"/>
                        <a:pt x="24" y="92"/>
                      </a:cubicBezTo>
                      <a:lnTo>
                        <a:pt x="48" y="68"/>
                      </a:lnTo>
                      <a:lnTo>
                        <a:pt x="71" y="92"/>
                      </a:lnTo>
                      <a:cubicBezTo>
                        <a:pt x="74" y="95"/>
                        <a:pt x="79" y="95"/>
                        <a:pt x="82" y="92"/>
                      </a:cubicBezTo>
                      <a:lnTo>
                        <a:pt x="93" y="82"/>
                      </a:lnTo>
                      <a:cubicBezTo>
                        <a:pt x="95" y="79"/>
                        <a:pt x="95" y="74"/>
                        <a:pt x="93" y="71"/>
                      </a:cubicBezTo>
                      <a:lnTo>
                        <a:pt x="69" y="47"/>
                      </a:lnTo>
                    </a:path>
                  </a:pathLst>
                </a:custGeom>
                <a:grpFill/>
                <a:ln>
                  <a:noFill/>
                </a:ln>
                <a:effectLst/>
                <a:extLst>
                  <a:ext uri="{91240B29-F687-4f45-9708-019B960494DF}">
                    <a14:hiddenLine xmlns:a14="http://schemas.microsoft.com/office/drawing/2010/main" xmlns="" w="9525" cap="rnd">
                      <a:solidFill>
                        <a:srgbClr val="333333"/>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sp>
              <p:nvSpPr>
                <p:cNvPr id="224" name="Oval 223"/>
                <p:cNvSpPr/>
                <p:nvPr/>
              </p:nvSpPr>
              <p:spPr>
                <a:xfrm>
                  <a:off x="4295681" y="5194106"/>
                  <a:ext cx="229313" cy="229313"/>
                </a:xfrm>
                <a:prstGeom prst="ellipse">
                  <a:avLst/>
                </a:prstGeom>
                <a:solidFill>
                  <a:schemeClr val="tx1">
                    <a:lumMod val="50000"/>
                    <a:lumOff val="50000"/>
                  </a:schemeClr>
                </a:solidFill>
                <a:ln w="12700" cap="rnd">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26" name="Freeform 93"/>
                <p:cNvSpPr>
                  <a:spLocks noChangeArrowheads="1"/>
                </p:cNvSpPr>
                <p:nvPr/>
              </p:nvSpPr>
              <p:spPr bwMode="auto">
                <a:xfrm>
                  <a:off x="4353976" y="5252401"/>
                  <a:ext cx="112722" cy="112723"/>
                </a:xfrm>
                <a:custGeom>
                  <a:avLst/>
                  <a:gdLst>
                    <a:gd name="T0" fmla="*/ 69 w 96"/>
                    <a:gd name="T1" fmla="*/ 47 h 96"/>
                    <a:gd name="T2" fmla="*/ 93 w 96"/>
                    <a:gd name="T3" fmla="*/ 23 h 96"/>
                    <a:gd name="T4" fmla="*/ 93 w 96"/>
                    <a:gd name="T5" fmla="*/ 13 h 96"/>
                    <a:gd name="T6" fmla="*/ 82 w 96"/>
                    <a:gd name="T7" fmla="*/ 2 h 96"/>
                    <a:gd name="T8" fmla="*/ 71 w 96"/>
                    <a:gd name="T9" fmla="*/ 2 h 96"/>
                    <a:gd name="T10" fmla="*/ 48 w 96"/>
                    <a:gd name="T11" fmla="*/ 26 h 96"/>
                    <a:gd name="T12" fmla="*/ 24 w 96"/>
                    <a:gd name="T13" fmla="*/ 2 h 96"/>
                    <a:gd name="T14" fmla="*/ 13 w 96"/>
                    <a:gd name="T15" fmla="*/ 2 h 96"/>
                    <a:gd name="T16" fmla="*/ 3 w 96"/>
                    <a:gd name="T17" fmla="*/ 13 h 96"/>
                    <a:gd name="T18" fmla="*/ 3 w 96"/>
                    <a:gd name="T19" fmla="*/ 23 h 96"/>
                    <a:gd name="T20" fmla="*/ 26 w 96"/>
                    <a:gd name="T21" fmla="*/ 47 h 96"/>
                    <a:gd name="T22" fmla="*/ 3 w 96"/>
                    <a:gd name="T23" fmla="*/ 71 h 96"/>
                    <a:gd name="T24" fmla="*/ 3 w 96"/>
                    <a:gd name="T25" fmla="*/ 82 h 96"/>
                    <a:gd name="T26" fmla="*/ 13 w 96"/>
                    <a:gd name="T27" fmla="*/ 92 h 96"/>
                    <a:gd name="T28" fmla="*/ 24 w 96"/>
                    <a:gd name="T29" fmla="*/ 92 h 96"/>
                    <a:gd name="T30" fmla="*/ 48 w 96"/>
                    <a:gd name="T31" fmla="*/ 68 h 96"/>
                    <a:gd name="T32" fmla="*/ 71 w 96"/>
                    <a:gd name="T33" fmla="*/ 92 h 96"/>
                    <a:gd name="T34" fmla="*/ 82 w 96"/>
                    <a:gd name="T35" fmla="*/ 92 h 96"/>
                    <a:gd name="T36" fmla="*/ 93 w 96"/>
                    <a:gd name="T37" fmla="*/ 82 h 96"/>
                    <a:gd name="T38" fmla="*/ 93 w 96"/>
                    <a:gd name="T39" fmla="*/ 71 h 96"/>
                    <a:gd name="T40" fmla="*/ 69 w 96"/>
                    <a:gd name="T41"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69" y="47"/>
                      </a:moveTo>
                      <a:lnTo>
                        <a:pt x="93" y="23"/>
                      </a:lnTo>
                      <a:cubicBezTo>
                        <a:pt x="95" y="21"/>
                        <a:pt x="95" y="15"/>
                        <a:pt x="93" y="13"/>
                      </a:cubicBezTo>
                      <a:lnTo>
                        <a:pt x="82" y="2"/>
                      </a:lnTo>
                      <a:cubicBezTo>
                        <a:pt x="79" y="0"/>
                        <a:pt x="74" y="0"/>
                        <a:pt x="71" y="2"/>
                      </a:cubicBezTo>
                      <a:lnTo>
                        <a:pt x="48" y="26"/>
                      </a:lnTo>
                      <a:lnTo>
                        <a:pt x="24" y="2"/>
                      </a:lnTo>
                      <a:cubicBezTo>
                        <a:pt x="21" y="0"/>
                        <a:pt x="16" y="0"/>
                        <a:pt x="13" y="2"/>
                      </a:cubicBezTo>
                      <a:lnTo>
                        <a:pt x="3" y="13"/>
                      </a:lnTo>
                      <a:cubicBezTo>
                        <a:pt x="0" y="15"/>
                        <a:pt x="0" y="21"/>
                        <a:pt x="3" y="23"/>
                      </a:cubicBezTo>
                      <a:lnTo>
                        <a:pt x="26" y="47"/>
                      </a:lnTo>
                      <a:lnTo>
                        <a:pt x="3" y="71"/>
                      </a:lnTo>
                      <a:cubicBezTo>
                        <a:pt x="0" y="74"/>
                        <a:pt x="0" y="79"/>
                        <a:pt x="3" y="82"/>
                      </a:cubicBezTo>
                      <a:lnTo>
                        <a:pt x="13" y="92"/>
                      </a:lnTo>
                      <a:cubicBezTo>
                        <a:pt x="16" y="95"/>
                        <a:pt x="21" y="95"/>
                        <a:pt x="24" y="92"/>
                      </a:cubicBezTo>
                      <a:lnTo>
                        <a:pt x="48" y="68"/>
                      </a:lnTo>
                      <a:lnTo>
                        <a:pt x="71" y="92"/>
                      </a:lnTo>
                      <a:cubicBezTo>
                        <a:pt x="74" y="95"/>
                        <a:pt x="79" y="95"/>
                        <a:pt x="82" y="92"/>
                      </a:cubicBezTo>
                      <a:lnTo>
                        <a:pt x="93" y="82"/>
                      </a:lnTo>
                      <a:cubicBezTo>
                        <a:pt x="95" y="79"/>
                        <a:pt x="95" y="74"/>
                        <a:pt x="93" y="71"/>
                      </a:cubicBezTo>
                      <a:lnTo>
                        <a:pt x="69" y="47"/>
                      </a:lnTo>
                    </a:path>
                  </a:pathLst>
                </a:custGeom>
                <a:grpFill/>
                <a:ln>
                  <a:noFill/>
                </a:ln>
                <a:effectLst/>
                <a:extLst>
                  <a:ext uri="{91240B29-F687-4f45-9708-019B960494DF}">
                    <a14:hiddenLine xmlns:a14="http://schemas.microsoft.com/office/drawing/2010/main" xmlns="" w="9525" cap="rnd">
                      <a:solidFill>
                        <a:srgbClr val="333333"/>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sp>
              <p:nvSpPr>
                <p:cNvPr id="239" name="Oval 238"/>
                <p:cNvSpPr/>
                <p:nvPr/>
              </p:nvSpPr>
              <p:spPr>
                <a:xfrm>
                  <a:off x="4295681" y="5985062"/>
                  <a:ext cx="229313" cy="229313"/>
                </a:xfrm>
                <a:prstGeom prst="ellipse">
                  <a:avLst/>
                </a:prstGeom>
                <a:solidFill>
                  <a:schemeClr val="tx1">
                    <a:lumMod val="50000"/>
                    <a:lumOff val="50000"/>
                  </a:schemeClr>
                </a:solidFill>
                <a:ln w="12700" cap="rnd">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42" name="Freeform 93"/>
                <p:cNvSpPr>
                  <a:spLocks noChangeArrowheads="1"/>
                </p:cNvSpPr>
                <p:nvPr/>
              </p:nvSpPr>
              <p:spPr bwMode="auto">
                <a:xfrm>
                  <a:off x="4353976" y="6043357"/>
                  <a:ext cx="112722" cy="112723"/>
                </a:xfrm>
                <a:custGeom>
                  <a:avLst/>
                  <a:gdLst>
                    <a:gd name="T0" fmla="*/ 69 w 96"/>
                    <a:gd name="T1" fmla="*/ 47 h 96"/>
                    <a:gd name="T2" fmla="*/ 93 w 96"/>
                    <a:gd name="T3" fmla="*/ 23 h 96"/>
                    <a:gd name="T4" fmla="*/ 93 w 96"/>
                    <a:gd name="T5" fmla="*/ 13 h 96"/>
                    <a:gd name="T6" fmla="*/ 82 w 96"/>
                    <a:gd name="T7" fmla="*/ 2 h 96"/>
                    <a:gd name="T8" fmla="*/ 71 w 96"/>
                    <a:gd name="T9" fmla="*/ 2 h 96"/>
                    <a:gd name="T10" fmla="*/ 48 w 96"/>
                    <a:gd name="T11" fmla="*/ 26 h 96"/>
                    <a:gd name="T12" fmla="*/ 24 w 96"/>
                    <a:gd name="T13" fmla="*/ 2 h 96"/>
                    <a:gd name="T14" fmla="*/ 13 w 96"/>
                    <a:gd name="T15" fmla="*/ 2 h 96"/>
                    <a:gd name="T16" fmla="*/ 3 w 96"/>
                    <a:gd name="T17" fmla="*/ 13 h 96"/>
                    <a:gd name="T18" fmla="*/ 3 w 96"/>
                    <a:gd name="T19" fmla="*/ 23 h 96"/>
                    <a:gd name="T20" fmla="*/ 26 w 96"/>
                    <a:gd name="T21" fmla="*/ 47 h 96"/>
                    <a:gd name="T22" fmla="*/ 3 w 96"/>
                    <a:gd name="T23" fmla="*/ 71 h 96"/>
                    <a:gd name="T24" fmla="*/ 3 w 96"/>
                    <a:gd name="T25" fmla="*/ 82 h 96"/>
                    <a:gd name="T26" fmla="*/ 13 w 96"/>
                    <a:gd name="T27" fmla="*/ 92 h 96"/>
                    <a:gd name="T28" fmla="*/ 24 w 96"/>
                    <a:gd name="T29" fmla="*/ 92 h 96"/>
                    <a:gd name="T30" fmla="*/ 48 w 96"/>
                    <a:gd name="T31" fmla="*/ 68 h 96"/>
                    <a:gd name="T32" fmla="*/ 71 w 96"/>
                    <a:gd name="T33" fmla="*/ 92 h 96"/>
                    <a:gd name="T34" fmla="*/ 82 w 96"/>
                    <a:gd name="T35" fmla="*/ 92 h 96"/>
                    <a:gd name="T36" fmla="*/ 93 w 96"/>
                    <a:gd name="T37" fmla="*/ 82 h 96"/>
                    <a:gd name="T38" fmla="*/ 93 w 96"/>
                    <a:gd name="T39" fmla="*/ 71 h 96"/>
                    <a:gd name="T40" fmla="*/ 69 w 96"/>
                    <a:gd name="T41"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69" y="47"/>
                      </a:moveTo>
                      <a:lnTo>
                        <a:pt x="93" y="23"/>
                      </a:lnTo>
                      <a:cubicBezTo>
                        <a:pt x="95" y="21"/>
                        <a:pt x="95" y="15"/>
                        <a:pt x="93" y="13"/>
                      </a:cubicBezTo>
                      <a:lnTo>
                        <a:pt x="82" y="2"/>
                      </a:lnTo>
                      <a:cubicBezTo>
                        <a:pt x="79" y="0"/>
                        <a:pt x="74" y="0"/>
                        <a:pt x="71" y="2"/>
                      </a:cubicBezTo>
                      <a:lnTo>
                        <a:pt x="48" y="26"/>
                      </a:lnTo>
                      <a:lnTo>
                        <a:pt x="24" y="2"/>
                      </a:lnTo>
                      <a:cubicBezTo>
                        <a:pt x="21" y="0"/>
                        <a:pt x="16" y="0"/>
                        <a:pt x="13" y="2"/>
                      </a:cubicBezTo>
                      <a:lnTo>
                        <a:pt x="3" y="13"/>
                      </a:lnTo>
                      <a:cubicBezTo>
                        <a:pt x="0" y="15"/>
                        <a:pt x="0" y="21"/>
                        <a:pt x="3" y="23"/>
                      </a:cubicBezTo>
                      <a:lnTo>
                        <a:pt x="26" y="47"/>
                      </a:lnTo>
                      <a:lnTo>
                        <a:pt x="3" y="71"/>
                      </a:lnTo>
                      <a:cubicBezTo>
                        <a:pt x="0" y="74"/>
                        <a:pt x="0" y="79"/>
                        <a:pt x="3" y="82"/>
                      </a:cubicBezTo>
                      <a:lnTo>
                        <a:pt x="13" y="92"/>
                      </a:lnTo>
                      <a:cubicBezTo>
                        <a:pt x="16" y="95"/>
                        <a:pt x="21" y="95"/>
                        <a:pt x="24" y="92"/>
                      </a:cubicBezTo>
                      <a:lnTo>
                        <a:pt x="48" y="68"/>
                      </a:lnTo>
                      <a:lnTo>
                        <a:pt x="71" y="92"/>
                      </a:lnTo>
                      <a:cubicBezTo>
                        <a:pt x="74" y="95"/>
                        <a:pt x="79" y="95"/>
                        <a:pt x="82" y="92"/>
                      </a:cubicBezTo>
                      <a:lnTo>
                        <a:pt x="93" y="82"/>
                      </a:lnTo>
                      <a:cubicBezTo>
                        <a:pt x="95" y="79"/>
                        <a:pt x="95" y="74"/>
                        <a:pt x="93" y="71"/>
                      </a:cubicBezTo>
                      <a:lnTo>
                        <a:pt x="69" y="47"/>
                      </a:lnTo>
                    </a:path>
                  </a:pathLst>
                </a:custGeom>
                <a:grpFill/>
                <a:ln>
                  <a:noFill/>
                </a:ln>
                <a:effectLst/>
                <a:extLst>
                  <a:ext uri="{91240B29-F687-4f45-9708-019B960494DF}">
                    <a14:hiddenLine xmlns:a14="http://schemas.microsoft.com/office/drawing/2010/main" xmlns="" w="9525" cap="rnd">
                      <a:solidFill>
                        <a:srgbClr val="333333"/>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sp>
              <p:nvSpPr>
                <p:cNvPr id="255" name="Oval 254"/>
                <p:cNvSpPr/>
                <p:nvPr/>
              </p:nvSpPr>
              <p:spPr>
                <a:xfrm>
                  <a:off x="4295681" y="6378150"/>
                  <a:ext cx="229313" cy="229313"/>
                </a:xfrm>
                <a:prstGeom prst="ellipse">
                  <a:avLst/>
                </a:prstGeom>
                <a:solidFill>
                  <a:schemeClr val="tx1">
                    <a:lumMod val="50000"/>
                    <a:lumOff val="50000"/>
                  </a:schemeClr>
                </a:solidFill>
                <a:ln w="12700" cap="rnd">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56" name="Freeform 93"/>
                <p:cNvSpPr>
                  <a:spLocks noChangeArrowheads="1"/>
                </p:cNvSpPr>
                <p:nvPr/>
              </p:nvSpPr>
              <p:spPr bwMode="auto">
                <a:xfrm>
                  <a:off x="4353976" y="6436445"/>
                  <a:ext cx="112722" cy="112723"/>
                </a:xfrm>
                <a:custGeom>
                  <a:avLst/>
                  <a:gdLst>
                    <a:gd name="T0" fmla="*/ 69 w 96"/>
                    <a:gd name="T1" fmla="*/ 47 h 96"/>
                    <a:gd name="T2" fmla="*/ 93 w 96"/>
                    <a:gd name="T3" fmla="*/ 23 h 96"/>
                    <a:gd name="T4" fmla="*/ 93 w 96"/>
                    <a:gd name="T5" fmla="*/ 13 h 96"/>
                    <a:gd name="T6" fmla="*/ 82 w 96"/>
                    <a:gd name="T7" fmla="*/ 2 h 96"/>
                    <a:gd name="T8" fmla="*/ 71 w 96"/>
                    <a:gd name="T9" fmla="*/ 2 h 96"/>
                    <a:gd name="T10" fmla="*/ 48 w 96"/>
                    <a:gd name="T11" fmla="*/ 26 h 96"/>
                    <a:gd name="T12" fmla="*/ 24 w 96"/>
                    <a:gd name="T13" fmla="*/ 2 h 96"/>
                    <a:gd name="T14" fmla="*/ 13 w 96"/>
                    <a:gd name="T15" fmla="*/ 2 h 96"/>
                    <a:gd name="T16" fmla="*/ 3 w 96"/>
                    <a:gd name="T17" fmla="*/ 13 h 96"/>
                    <a:gd name="T18" fmla="*/ 3 w 96"/>
                    <a:gd name="T19" fmla="*/ 23 h 96"/>
                    <a:gd name="T20" fmla="*/ 26 w 96"/>
                    <a:gd name="T21" fmla="*/ 47 h 96"/>
                    <a:gd name="T22" fmla="*/ 3 w 96"/>
                    <a:gd name="T23" fmla="*/ 71 h 96"/>
                    <a:gd name="T24" fmla="*/ 3 w 96"/>
                    <a:gd name="T25" fmla="*/ 82 h 96"/>
                    <a:gd name="T26" fmla="*/ 13 w 96"/>
                    <a:gd name="T27" fmla="*/ 92 h 96"/>
                    <a:gd name="T28" fmla="*/ 24 w 96"/>
                    <a:gd name="T29" fmla="*/ 92 h 96"/>
                    <a:gd name="T30" fmla="*/ 48 w 96"/>
                    <a:gd name="T31" fmla="*/ 68 h 96"/>
                    <a:gd name="T32" fmla="*/ 71 w 96"/>
                    <a:gd name="T33" fmla="*/ 92 h 96"/>
                    <a:gd name="T34" fmla="*/ 82 w 96"/>
                    <a:gd name="T35" fmla="*/ 92 h 96"/>
                    <a:gd name="T36" fmla="*/ 93 w 96"/>
                    <a:gd name="T37" fmla="*/ 82 h 96"/>
                    <a:gd name="T38" fmla="*/ 93 w 96"/>
                    <a:gd name="T39" fmla="*/ 71 h 96"/>
                    <a:gd name="T40" fmla="*/ 69 w 96"/>
                    <a:gd name="T41"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69" y="47"/>
                      </a:moveTo>
                      <a:lnTo>
                        <a:pt x="93" y="23"/>
                      </a:lnTo>
                      <a:cubicBezTo>
                        <a:pt x="95" y="21"/>
                        <a:pt x="95" y="15"/>
                        <a:pt x="93" y="13"/>
                      </a:cubicBezTo>
                      <a:lnTo>
                        <a:pt x="82" y="2"/>
                      </a:lnTo>
                      <a:cubicBezTo>
                        <a:pt x="79" y="0"/>
                        <a:pt x="74" y="0"/>
                        <a:pt x="71" y="2"/>
                      </a:cubicBezTo>
                      <a:lnTo>
                        <a:pt x="48" y="26"/>
                      </a:lnTo>
                      <a:lnTo>
                        <a:pt x="24" y="2"/>
                      </a:lnTo>
                      <a:cubicBezTo>
                        <a:pt x="21" y="0"/>
                        <a:pt x="16" y="0"/>
                        <a:pt x="13" y="2"/>
                      </a:cubicBezTo>
                      <a:lnTo>
                        <a:pt x="3" y="13"/>
                      </a:lnTo>
                      <a:cubicBezTo>
                        <a:pt x="0" y="15"/>
                        <a:pt x="0" y="21"/>
                        <a:pt x="3" y="23"/>
                      </a:cubicBezTo>
                      <a:lnTo>
                        <a:pt x="26" y="47"/>
                      </a:lnTo>
                      <a:lnTo>
                        <a:pt x="3" y="71"/>
                      </a:lnTo>
                      <a:cubicBezTo>
                        <a:pt x="0" y="74"/>
                        <a:pt x="0" y="79"/>
                        <a:pt x="3" y="82"/>
                      </a:cubicBezTo>
                      <a:lnTo>
                        <a:pt x="13" y="92"/>
                      </a:lnTo>
                      <a:cubicBezTo>
                        <a:pt x="16" y="95"/>
                        <a:pt x="21" y="95"/>
                        <a:pt x="24" y="92"/>
                      </a:cubicBezTo>
                      <a:lnTo>
                        <a:pt x="48" y="68"/>
                      </a:lnTo>
                      <a:lnTo>
                        <a:pt x="71" y="92"/>
                      </a:lnTo>
                      <a:cubicBezTo>
                        <a:pt x="74" y="95"/>
                        <a:pt x="79" y="95"/>
                        <a:pt x="82" y="92"/>
                      </a:cubicBezTo>
                      <a:lnTo>
                        <a:pt x="93" y="82"/>
                      </a:lnTo>
                      <a:cubicBezTo>
                        <a:pt x="95" y="79"/>
                        <a:pt x="95" y="74"/>
                        <a:pt x="93" y="71"/>
                      </a:cubicBezTo>
                      <a:lnTo>
                        <a:pt x="69" y="47"/>
                      </a:lnTo>
                    </a:path>
                  </a:pathLst>
                </a:custGeom>
                <a:grpFill/>
                <a:ln>
                  <a:noFill/>
                </a:ln>
                <a:effectLst/>
                <a:extLst>
                  <a:ext uri="{91240B29-F687-4f45-9708-019B960494DF}">
                    <a14:hiddenLine xmlns:a14="http://schemas.microsoft.com/office/drawing/2010/main" xmlns="" w="9525" cap="rnd">
                      <a:solidFill>
                        <a:srgbClr val="333333"/>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grpSp>
          <p:grpSp>
            <p:nvGrpSpPr>
              <p:cNvPr id="271" name="Group 270"/>
              <p:cNvGrpSpPr/>
              <p:nvPr/>
            </p:nvGrpSpPr>
            <p:grpSpPr>
              <a:xfrm>
                <a:off x="4295322" y="4881199"/>
                <a:ext cx="229313" cy="2208049"/>
                <a:chOff x="4673837" y="4256173"/>
                <a:chExt cx="229313" cy="2208049"/>
              </a:xfrm>
              <a:grpFill/>
            </p:grpSpPr>
            <p:sp>
              <p:nvSpPr>
                <p:cNvPr id="272" name="Oval 271"/>
                <p:cNvSpPr/>
                <p:nvPr/>
              </p:nvSpPr>
              <p:spPr>
                <a:xfrm>
                  <a:off x="4673837" y="4256173"/>
                  <a:ext cx="229313" cy="229313"/>
                </a:xfrm>
                <a:prstGeom prst="ellipse">
                  <a:avLst/>
                </a:prstGeom>
                <a:solidFill>
                  <a:schemeClr val="accent2"/>
                </a:solidFill>
                <a:ln w="12700" cap="rnd">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73" name="Freeform 46"/>
                <p:cNvSpPr>
                  <a:spLocks noChangeArrowheads="1"/>
                </p:cNvSpPr>
                <p:nvPr/>
              </p:nvSpPr>
              <p:spPr bwMode="auto">
                <a:xfrm>
                  <a:off x="4719321" y="4317029"/>
                  <a:ext cx="138344" cy="107601"/>
                </a:xfrm>
                <a:custGeom>
                  <a:avLst/>
                  <a:gdLst>
                    <a:gd name="T0" fmla="*/ 116 w 117"/>
                    <a:gd name="T1" fmla="*/ 19 h 91"/>
                    <a:gd name="T2" fmla="*/ 114 w 117"/>
                    <a:gd name="T3" fmla="*/ 24 h 91"/>
                    <a:gd name="T4" fmla="*/ 61 w 117"/>
                    <a:gd name="T5" fmla="*/ 77 h 91"/>
                    <a:gd name="T6" fmla="*/ 50 w 117"/>
                    <a:gd name="T7" fmla="*/ 88 h 91"/>
                    <a:gd name="T8" fmla="*/ 45 w 117"/>
                    <a:gd name="T9" fmla="*/ 90 h 91"/>
                    <a:gd name="T10" fmla="*/ 40 w 117"/>
                    <a:gd name="T11" fmla="*/ 88 h 91"/>
                    <a:gd name="T12" fmla="*/ 29 w 117"/>
                    <a:gd name="T13" fmla="*/ 77 h 91"/>
                    <a:gd name="T14" fmla="*/ 3 w 117"/>
                    <a:gd name="T15" fmla="*/ 51 h 91"/>
                    <a:gd name="T16" fmla="*/ 0 w 117"/>
                    <a:gd name="T17" fmla="*/ 45 h 91"/>
                    <a:gd name="T18" fmla="*/ 3 w 117"/>
                    <a:gd name="T19" fmla="*/ 40 h 91"/>
                    <a:gd name="T20" fmla="*/ 13 w 117"/>
                    <a:gd name="T21" fmla="*/ 29 h 91"/>
                    <a:gd name="T22" fmla="*/ 18 w 117"/>
                    <a:gd name="T23" fmla="*/ 27 h 91"/>
                    <a:gd name="T24" fmla="*/ 24 w 117"/>
                    <a:gd name="T25" fmla="*/ 29 h 91"/>
                    <a:gd name="T26" fmla="*/ 45 w 117"/>
                    <a:gd name="T27" fmla="*/ 51 h 91"/>
                    <a:gd name="T28" fmla="*/ 93 w 117"/>
                    <a:gd name="T29" fmla="*/ 3 h 91"/>
                    <a:gd name="T30" fmla="*/ 98 w 117"/>
                    <a:gd name="T31" fmla="*/ 0 h 91"/>
                    <a:gd name="T32" fmla="*/ 103 w 117"/>
                    <a:gd name="T33" fmla="*/ 3 h 91"/>
                    <a:gd name="T34" fmla="*/ 114 w 117"/>
                    <a:gd name="T35" fmla="*/ 13 h 91"/>
                    <a:gd name="T36" fmla="*/ 116 w 117"/>
                    <a:gd name="T37" fmla="*/ 1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 h="91">
                      <a:moveTo>
                        <a:pt x="116" y="19"/>
                      </a:moveTo>
                      <a:cubicBezTo>
                        <a:pt x="116" y="21"/>
                        <a:pt x="116" y="21"/>
                        <a:pt x="114" y="24"/>
                      </a:cubicBezTo>
                      <a:lnTo>
                        <a:pt x="61" y="77"/>
                      </a:lnTo>
                      <a:lnTo>
                        <a:pt x="50" y="88"/>
                      </a:lnTo>
                      <a:cubicBezTo>
                        <a:pt x="48" y="90"/>
                        <a:pt x="48" y="90"/>
                        <a:pt x="45" y="90"/>
                      </a:cubicBezTo>
                      <a:cubicBezTo>
                        <a:pt x="42" y="90"/>
                        <a:pt x="42" y="90"/>
                        <a:pt x="40" y="88"/>
                      </a:cubicBezTo>
                      <a:lnTo>
                        <a:pt x="29" y="77"/>
                      </a:lnTo>
                      <a:lnTo>
                        <a:pt x="3" y="51"/>
                      </a:lnTo>
                      <a:cubicBezTo>
                        <a:pt x="0" y="48"/>
                        <a:pt x="0" y="48"/>
                        <a:pt x="0" y="45"/>
                      </a:cubicBezTo>
                      <a:cubicBezTo>
                        <a:pt x="0" y="43"/>
                        <a:pt x="0" y="43"/>
                        <a:pt x="3" y="40"/>
                      </a:cubicBezTo>
                      <a:lnTo>
                        <a:pt x="13" y="29"/>
                      </a:lnTo>
                      <a:cubicBezTo>
                        <a:pt x="16" y="27"/>
                        <a:pt x="16" y="27"/>
                        <a:pt x="18" y="27"/>
                      </a:cubicBezTo>
                      <a:cubicBezTo>
                        <a:pt x="21" y="27"/>
                        <a:pt x="21" y="27"/>
                        <a:pt x="24" y="29"/>
                      </a:cubicBezTo>
                      <a:lnTo>
                        <a:pt x="45" y="51"/>
                      </a:lnTo>
                      <a:lnTo>
                        <a:pt x="93" y="3"/>
                      </a:lnTo>
                      <a:cubicBezTo>
                        <a:pt x="95" y="0"/>
                        <a:pt x="95" y="0"/>
                        <a:pt x="98" y="0"/>
                      </a:cubicBezTo>
                      <a:cubicBezTo>
                        <a:pt x="101" y="0"/>
                        <a:pt x="101" y="0"/>
                        <a:pt x="103" y="3"/>
                      </a:cubicBezTo>
                      <a:lnTo>
                        <a:pt x="114" y="13"/>
                      </a:lnTo>
                      <a:cubicBezTo>
                        <a:pt x="114" y="16"/>
                        <a:pt x="116" y="16"/>
                        <a:pt x="116" y="19"/>
                      </a:cubicBezTo>
                    </a:path>
                  </a:pathLst>
                </a:custGeom>
                <a:grpFill/>
                <a:ln>
                  <a:noFill/>
                </a:ln>
                <a:effectLst/>
                <a:extLst>
                  <a:ext uri="{91240B29-F687-4f45-9708-019B960494DF}">
                    <a14:hiddenLine xmlns:a14="http://schemas.microsoft.com/office/drawing/2010/main" xmlns="" w="9525" cap="flat">
                      <a:solidFill>
                        <a:srgbClr val="6CC04A"/>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sp>
              <p:nvSpPr>
                <p:cNvPr id="228" name="Oval 227"/>
                <p:cNvSpPr/>
                <p:nvPr/>
              </p:nvSpPr>
              <p:spPr>
                <a:xfrm>
                  <a:off x="4673837" y="5050865"/>
                  <a:ext cx="229313" cy="229313"/>
                </a:xfrm>
                <a:prstGeom prst="ellipse">
                  <a:avLst/>
                </a:prstGeom>
                <a:solidFill>
                  <a:schemeClr val="accent2"/>
                </a:solidFill>
                <a:ln w="12700" cap="rnd">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29" name="Freeform 46"/>
                <p:cNvSpPr>
                  <a:spLocks noChangeArrowheads="1"/>
                </p:cNvSpPr>
                <p:nvPr/>
              </p:nvSpPr>
              <p:spPr bwMode="auto">
                <a:xfrm>
                  <a:off x="4719321" y="5111721"/>
                  <a:ext cx="138344" cy="107601"/>
                </a:xfrm>
                <a:custGeom>
                  <a:avLst/>
                  <a:gdLst>
                    <a:gd name="T0" fmla="*/ 116 w 117"/>
                    <a:gd name="T1" fmla="*/ 19 h 91"/>
                    <a:gd name="T2" fmla="*/ 114 w 117"/>
                    <a:gd name="T3" fmla="*/ 24 h 91"/>
                    <a:gd name="T4" fmla="*/ 61 w 117"/>
                    <a:gd name="T5" fmla="*/ 77 h 91"/>
                    <a:gd name="T6" fmla="*/ 50 w 117"/>
                    <a:gd name="T7" fmla="*/ 88 h 91"/>
                    <a:gd name="T8" fmla="*/ 45 w 117"/>
                    <a:gd name="T9" fmla="*/ 90 h 91"/>
                    <a:gd name="T10" fmla="*/ 40 w 117"/>
                    <a:gd name="T11" fmla="*/ 88 h 91"/>
                    <a:gd name="T12" fmla="*/ 29 w 117"/>
                    <a:gd name="T13" fmla="*/ 77 h 91"/>
                    <a:gd name="T14" fmla="*/ 3 w 117"/>
                    <a:gd name="T15" fmla="*/ 51 h 91"/>
                    <a:gd name="T16" fmla="*/ 0 w 117"/>
                    <a:gd name="T17" fmla="*/ 45 h 91"/>
                    <a:gd name="T18" fmla="*/ 3 w 117"/>
                    <a:gd name="T19" fmla="*/ 40 h 91"/>
                    <a:gd name="T20" fmla="*/ 13 w 117"/>
                    <a:gd name="T21" fmla="*/ 29 h 91"/>
                    <a:gd name="T22" fmla="*/ 18 w 117"/>
                    <a:gd name="T23" fmla="*/ 27 h 91"/>
                    <a:gd name="T24" fmla="*/ 24 w 117"/>
                    <a:gd name="T25" fmla="*/ 29 h 91"/>
                    <a:gd name="T26" fmla="*/ 45 w 117"/>
                    <a:gd name="T27" fmla="*/ 51 h 91"/>
                    <a:gd name="T28" fmla="*/ 93 w 117"/>
                    <a:gd name="T29" fmla="*/ 3 h 91"/>
                    <a:gd name="T30" fmla="*/ 98 w 117"/>
                    <a:gd name="T31" fmla="*/ 0 h 91"/>
                    <a:gd name="T32" fmla="*/ 103 w 117"/>
                    <a:gd name="T33" fmla="*/ 3 h 91"/>
                    <a:gd name="T34" fmla="*/ 114 w 117"/>
                    <a:gd name="T35" fmla="*/ 13 h 91"/>
                    <a:gd name="T36" fmla="*/ 116 w 117"/>
                    <a:gd name="T37" fmla="*/ 1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 h="91">
                      <a:moveTo>
                        <a:pt x="116" y="19"/>
                      </a:moveTo>
                      <a:cubicBezTo>
                        <a:pt x="116" y="21"/>
                        <a:pt x="116" y="21"/>
                        <a:pt x="114" y="24"/>
                      </a:cubicBezTo>
                      <a:lnTo>
                        <a:pt x="61" y="77"/>
                      </a:lnTo>
                      <a:lnTo>
                        <a:pt x="50" y="88"/>
                      </a:lnTo>
                      <a:cubicBezTo>
                        <a:pt x="48" y="90"/>
                        <a:pt x="48" y="90"/>
                        <a:pt x="45" y="90"/>
                      </a:cubicBezTo>
                      <a:cubicBezTo>
                        <a:pt x="42" y="90"/>
                        <a:pt x="42" y="90"/>
                        <a:pt x="40" y="88"/>
                      </a:cubicBezTo>
                      <a:lnTo>
                        <a:pt x="29" y="77"/>
                      </a:lnTo>
                      <a:lnTo>
                        <a:pt x="3" y="51"/>
                      </a:lnTo>
                      <a:cubicBezTo>
                        <a:pt x="0" y="48"/>
                        <a:pt x="0" y="48"/>
                        <a:pt x="0" y="45"/>
                      </a:cubicBezTo>
                      <a:cubicBezTo>
                        <a:pt x="0" y="43"/>
                        <a:pt x="0" y="43"/>
                        <a:pt x="3" y="40"/>
                      </a:cubicBezTo>
                      <a:lnTo>
                        <a:pt x="13" y="29"/>
                      </a:lnTo>
                      <a:cubicBezTo>
                        <a:pt x="16" y="27"/>
                        <a:pt x="16" y="27"/>
                        <a:pt x="18" y="27"/>
                      </a:cubicBezTo>
                      <a:cubicBezTo>
                        <a:pt x="21" y="27"/>
                        <a:pt x="21" y="27"/>
                        <a:pt x="24" y="29"/>
                      </a:cubicBezTo>
                      <a:lnTo>
                        <a:pt x="45" y="51"/>
                      </a:lnTo>
                      <a:lnTo>
                        <a:pt x="93" y="3"/>
                      </a:lnTo>
                      <a:cubicBezTo>
                        <a:pt x="95" y="0"/>
                        <a:pt x="95" y="0"/>
                        <a:pt x="98" y="0"/>
                      </a:cubicBezTo>
                      <a:cubicBezTo>
                        <a:pt x="101" y="0"/>
                        <a:pt x="101" y="0"/>
                        <a:pt x="103" y="3"/>
                      </a:cubicBezTo>
                      <a:lnTo>
                        <a:pt x="114" y="13"/>
                      </a:lnTo>
                      <a:cubicBezTo>
                        <a:pt x="114" y="16"/>
                        <a:pt x="116" y="16"/>
                        <a:pt x="116" y="19"/>
                      </a:cubicBezTo>
                    </a:path>
                  </a:pathLst>
                </a:custGeom>
                <a:grpFill/>
                <a:ln>
                  <a:noFill/>
                </a:ln>
                <a:effectLst/>
                <a:extLst>
                  <a:ext uri="{91240B29-F687-4f45-9708-019B960494DF}">
                    <a14:hiddenLine xmlns:a14="http://schemas.microsoft.com/office/drawing/2010/main" xmlns="" w="9525" cap="flat">
                      <a:solidFill>
                        <a:srgbClr val="6CC04A"/>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sp>
              <p:nvSpPr>
                <p:cNvPr id="257" name="Oval 256"/>
                <p:cNvSpPr/>
                <p:nvPr/>
              </p:nvSpPr>
              <p:spPr>
                <a:xfrm>
                  <a:off x="4673837" y="6234909"/>
                  <a:ext cx="229313" cy="229313"/>
                </a:xfrm>
                <a:prstGeom prst="ellipse">
                  <a:avLst/>
                </a:prstGeom>
                <a:solidFill>
                  <a:schemeClr val="accent2"/>
                </a:solidFill>
                <a:ln w="12700" cap="rnd">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58" name="Freeform 46"/>
                <p:cNvSpPr>
                  <a:spLocks noChangeArrowheads="1"/>
                </p:cNvSpPr>
                <p:nvPr/>
              </p:nvSpPr>
              <p:spPr bwMode="auto">
                <a:xfrm>
                  <a:off x="4719321" y="6295765"/>
                  <a:ext cx="138344" cy="107601"/>
                </a:xfrm>
                <a:custGeom>
                  <a:avLst/>
                  <a:gdLst>
                    <a:gd name="T0" fmla="*/ 116 w 117"/>
                    <a:gd name="T1" fmla="*/ 19 h 91"/>
                    <a:gd name="T2" fmla="*/ 114 w 117"/>
                    <a:gd name="T3" fmla="*/ 24 h 91"/>
                    <a:gd name="T4" fmla="*/ 61 w 117"/>
                    <a:gd name="T5" fmla="*/ 77 h 91"/>
                    <a:gd name="T6" fmla="*/ 50 w 117"/>
                    <a:gd name="T7" fmla="*/ 88 h 91"/>
                    <a:gd name="T8" fmla="*/ 45 w 117"/>
                    <a:gd name="T9" fmla="*/ 90 h 91"/>
                    <a:gd name="T10" fmla="*/ 40 w 117"/>
                    <a:gd name="T11" fmla="*/ 88 h 91"/>
                    <a:gd name="T12" fmla="*/ 29 w 117"/>
                    <a:gd name="T13" fmla="*/ 77 h 91"/>
                    <a:gd name="T14" fmla="*/ 3 w 117"/>
                    <a:gd name="T15" fmla="*/ 51 h 91"/>
                    <a:gd name="T16" fmla="*/ 0 w 117"/>
                    <a:gd name="T17" fmla="*/ 45 h 91"/>
                    <a:gd name="T18" fmla="*/ 3 w 117"/>
                    <a:gd name="T19" fmla="*/ 40 h 91"/>
                    <a:gd name="T20" fmla="*/ 13 w 117"/>
                    <a:gd name="T21" fmla="*/ 29 h 91"/>
                    <a:gd name="T22" fmla="*/ 18 w 117"/>
                    <a:gd name="T23" fmla="*/ 27 h 91"/>
                    <a:gd name="T24" fmla="*/ 24 w 117"/>
                    <a:gd name="T25" fmla="*/ 29 h 91"/>
                    <a:gd name="T26" fmla="*/ 45 w 117"/>
                    <a:gd name="T27" fmla="*/ 51 h 91"/>
                    <a:gd name="T28" fmla="*/ 93 w 117"/>
                    <a:gd name="T29" fmla="*/ 3 h 91"/>
                    <a:gd name="T30" fmla="*/ 98 w 117"/>
                    <a:gd name="T31" fmla="*/ 0 h 91"/>
                    <a:gd name="T32" fmla="*/ 103 w 117"/>
                    <a:gd name="T33" fmla="*/ 3 h 91"/>
                    <a:gd name="T34" fmla="*/ 114 w 117"/>
                    <a:gd name="T35" fmla="*/ 13 h 91"/>
                    <a:gd name="T36" fmla="*/ 116 w 117"/>
                    <a:gd name="T37" fmla="*/ 1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 h="91">
                      <a:moveTo>
                        <a:pt x="116" y="19"/>
                      </a:moveTo>
                      <a:cubicBezTo>
                        <a:pt x="116" y="21"/>
                        <a:pt x="116" y="21"/>
                        <a:pt x="114" y="24"/>
                      </a:cubicBezTo>
                      <a:lnTo>
                        <a:pt x="61" y="77"/>
                      </a:lnTo>
                      <a:lnTo>
                        <a:pt x="50" y="88"/>
                      </a:lnTo>
                      <a:cubicBezTo>
                        <a:pt x="48" y="90"/>
                        <a:pt x="48" y="90"/>
                        <a:pt x="45" y="90"/>
                      </a:cubicBezTo>
                      <a:cubicBezTo>
                        <a:pt x="42" y="90"/>
                        <a:pt x="42" y="90"/>
                        <a:pt x="40" y="88"/>
                      </a:cubicBezTo>
                      <a:lnTo>
                        <a:pt x="29" y="77"/>
                      </a:lnTo>
                      <a:lnTo>
                        <a:pt x="3" y="51"/>
                      </a:lnTo>
                      <a:cubicBezTo>
                        <a:pt x="0" y="48"/>
                        <a:pt x="0" y="48"/>
                        <a:pt x="0" y="45"/>
                      </a:cubicBezTo>
                      <a:cubicBezTo>
                        <a:pt x="0" y="43"/>
                        <a:pt x="0" y="43"/>
                        <a:pt x="3" y="40"/>
                      </a:cubicBezTo>
                      <a:lnTo>
                        <a:pt x="13" y="29"/>
                      </a:lnTo>
                      <a:cubicBezTo>
                        <a:pt x="16" y="27"/>
                        <a:pt x="16" y="27"/>
                        <a:pt x="18" y="27"/>
                      </a:cubicBezTo>
                      <a:cubicBezTo>
                        <a:pt x="21" y="27"/>
                        <a:pt x="21" y="27"/>
                        <a:pt x="24" y="29"/>
                      </a:cubicBezTo>
                      <a:lnTo>
                        <a:pt x="45" y="51"/>
                      </a:lnTo>
                      <a:lnTo>
                        <a:pt x="93" y="3"/>
                      </a:lnTo>
                      <a:cubicBezTo>
                        <a:pt x="95" y="0"/>
                        <a:pt x="95" y="0"/>
                        <a:pt x="98" y="0"/>
                      </a:cubicBezTo>
                      <a:cubicBezTo>
                        <a:pt x="101" y="0"/>
                        <a:pt x="101" y="0"/>
                        <a:pt x="103" y="3"/>
                      </a:cubicBezTo>
                      <a:lnTo>
                        <a:pt x="114" y="13"/>
                      </a:lnTo>
                      <a:cubicBezTo>
                        <a:pt x="114" y="16"/>
                        <a:pt x="116" y="16"/>
                        <a:pt x="116" y="19"/>
                      </a:cubicBezTo>
                    </a:path>
                  </a:pathLst>
                </a:custGeom>
                <a:grpFill/>
                <a:ln>
                  <a:noFill/>
                </a:ln>
                <a:effectLst/>
                <a:extLst>
                  <a:ext uri="{91240B29-F687-4f45-9708-019B960494DF}">
                    <a14:hiddenLine xmlns:a14="http://schemas.microsoft.com/office/drawing/2010/main" xmlns="" w="9525" cap="flat">
                      <a:solidFill>
                        <a:srgbClr val="6CC04A"/>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grpSp>
          <p:grpSp>
            <p:nvGrpSpPr>
              <p:cNvPr id="274" name="Group 273"/>
              <p:cNvGrpSpPr/>
              <p:nvPr/>
            </p:nvGrpSpPr>
            <p:grpSpPr>
              <a:xfrm>
                <a:off x="4673297" y="5863813"/>
                <a:ext cx="229313" cy="1413357"/>
                <a:chOff x="4295681" y="5194106"/>
                <a:chExt cx="229313" cy="1413357"/>
              </a:xfrm>
              <a:grpFill/>
            </p:grpSpPr>
            <p:sp>
              <p:nvSpPr>
                <p:cNvPr id="231" name="Oval 230"/>
                <p:cNvSpPr/>
                <p:nvPr/>
              </p:nvSpPr>
              <p:spPr>
                <a:xfrm>
                  <a:off x="4295681" y="5194106"/>
                  <a:ext cx="229313" cy="229313"/>
                </a:xfrm>
                <a:prstGeom prst="ellipse">
                  <a:avLst/>
                </a:prstGeom>
                <a:solidFill>
                  <a:schemeClr val="tx1">
                    <a:lumMod val="50000"/>
                    <a:lumOff val="50000"/>
                  </a:schemeClr>
                </a:solidFill>
                <a:ln w="12700" cap="rnd">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34" name="Freeform 93"/>
                <p:cNvSpPr>
                  <a:spLocks noChangeArrowheads="1"/>
                </p:cNvSpPr>
                <p:nvPr/>
              </p:nvSpPr>
              <p:spPr bwMode="auto">
                <a:xfrm>
                  <a:off x="4353976" y="5252401"/>
                  <a:ext cx="112722" cy="112723"/>
                </a:xfrm>
                <a:custGeom>
                  <a:avLst/>
                  <a:gdLst>
                    <a:gd name="T0" fmla="*/ 69 w 96"/>
                    <a:gd name="T1" fmla="*/ 47 h 96"/>
                    <a:gd name="T2" fmla="*/ 93 w 96"/>
                    <a:gd name="T3" fmla="*/ 23 h 96"/>
                    <a:gd name="T4" fmla="*/ 93 w 96"/>
                    <a:gd name="T5" fmla="*/ 13 h 96"/>
                    <a:gd name="T6" fmla="*/ 82 w 96"/>
                    <a:gd name="T7" fmla="*/ 2 h 96"/>
                    <a:gd name="T8" fmla="*/ 71 w 96"/>
                    <a:gd name="T9" fmla="*/ 2 h 96"/>
                    <a:gd name="T10" fmla="*/ 48 w 96"/>
                    <a:gd name="T11" fmla="*/ 26 h 96"/>
                    <a:gd name="T12" fmla="*/ 24 w 96"/>
                    <a:gd name="T13" fmla="*/ 2 h 96"/>
                    <a:gd name="T14" fmla="*/ 13 w 96"/>
                    <a:gd name="T15" fmla="*/ 2 h 96"/>
                    <a:gd name="T16" fmla="*/ 3 w 96"/>
                    <a:gd name="T17" fmla="*/ 13 h 96"/>
                    <a:gd name="T18" fmla="*/ 3 w 96"/>
                    <a:gd name="T19" fmla="*/ 23 h 96"/>
                    <a:gd name="T20" fmla="*/ 26 w 96"/>
                    <a:gd name="T21" fmla="*/ 47 h 96"/>
                    <a:gd name="T22" fmla="*/ 3 w 96"/>
                    <a:gd name="T23" fmla="*/ 71 h 96"/>
                    <a:gd name="T24" fmla="*/ 3 w 96"/>
                    <a:gd name="T25" fmla="*/ 82 h 96"/>
                    <a:gd name="T26" fmla="*/ 13 w 96"/>
                    <a:gd name="T27" fmla="*/ 92 h 96"/>
                    <a:gd name="T28" fmla="*/ 24 w 96"/>
                    <a:gd name="T29" fmla="*/ 92 h 96"/>
                    <a:gd name="T30" fmla="*/ 48 w 96"/>
                    <a:gd name="T31" fmla="*/ 68 h 96"/>
                    <a:gd name="T32" fmla="*/ 71 w 96"/>
                    <a:gd name="T33" fmla="*/ 92 h 96"/>
                    <a:gd name="T34" fmla="*/ 82 w 96"/>
                    <a:gd name="T35" fmla="*/ 92 h 96"/>
                    <a:gd name="T36" fmla="*/ 93 w 96"/>
                    <a:gd name="T37" fmla="*/ 82 h 96"/>
                    <a:gd name="T38" fmla="*/ 93 w 96"/>
                    <a:gd name="T39" fmla="*/ 71 h 96"/>
                    <a:gd name="T40" fmla="*/ 69 w 96"/>
                    <a:gd name="T41"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69" y="47"/>
                      </a:moveTo>
                      <a:lnTo>
                        <a:pt x="93" y="23"/>
                      </a:lnTo>
                      <a:cubicBezTo>
                        <a:pt x="95" y="21"/>
                        <a:pt x="95" y="15"/>
                        <a:pt x="93" y="13"/>
                      </a:cubicBezTo>
                      <a:lnTo>
                        <a:pt x="82" y="2"/>
                      </a:lnTo>
                      <a:cubicBezTo>
                        <a:pt x="79" y="0"/>
                        <a:pt x="74" y="0"/>
                        <a:pt x="71" y="2"/>
                      </a:cubicBezTo>
                      <a:lnTo>
                        <a:pt x="48" y="26"/>
                      </a:lnTo>
                      <a:lnTo>
                        <a:pt x="24" y="2"/>
                      </a:lnTo>
                      <a:cubicBezTo>
                        <a:pt x="21" y="0"/>
                        <a:pt x="16" y="0"/>
                        <a:pt x="13" y="2"/>
                      </a:cubicBezTo>
                      <a:lnTo>
                        <a:pt x="3" y="13"/>
                      </a:lnTo>
                      <a:cubicBezTo>
                        <a:pt x="0" y="15"/>
                        <a:pt x="0" y="21"/>
                        <a:pt x="3" y="23"/>
                      </a:cubicBezTo>
                      <a:lnTo>
                        <a:pt x="26" y="47"/>
                      </a:lnTo>
                      <a:lnTo>
                        <a:pt x="3" y="71"/>
                      </a:lnTo>
                      <a:cubicBezTo>
                        <a:pt x="0" y="74"/>
                        <a:pt x="0" y="79"/>
                        <a:pt x="3" y="82"/>
                      </a:cubicBezTo>
                      <a:lnTo>
                        <a:pt x="13" y="92"/>
                      </a:lnTo>
                      <a:cubicBezTo>
                        <a:pt x="16" y="95"/>
                        <a:pt x="21" y="95"/>
                        <a:pt x="24" y="92"/>
                      </a:cubicBezTo>
                      <a:lnTo>
                        <a:pt x="48" y="68"/>
                      </a:lnTo>
                      <a:lnTo>
                        <a:pt x="71" y="92"/>
                      </a:lnTo>
                      <a:cubicBezTo>
                        <a:pt x="74" y="95"/>
                        <a:pt x="79" y="95"/>
                        <a:pt x="82" y="92"/>
                      </a:cubicBezTo>
                      <a:lnTo>
                        <a:pt x="93" y="82"/>
                      </a:lnTo>
                      <a:cubicBezTo>
                        <a:pt x="95" y="79"/>
                        <a:pt x="95" y="74"/>
                        <a:pt x="93" y="71"/>
                      </a:cubicBezTo>
                      <a:lnTo>
                        <a:pt x="69" y="47"/>
                      </a:lnTo>
                    </a:path>
                  </a:pathLst>
                </a:custGeom>
                <a:grpFill/>
                <a:ln>
                  <a:noFill/>
                </a:ln>
                <a:effectLst/>
                <a:extLst>
                  <a:ext uri="{91240B29-F687-4f45-9708-019B960494DF}">
                    <a14:hiddenLine xmlns:a14="http://schemas.microsoft.com/office/drawing/2010/main" xmlns="" w="9525" cap="rnd">
                      <a:solidFill>
                        <a:srgbClr val="333333"/>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sp>
              <p:nvSpPr>
                <p:cNvPr id="245" name="Oval 244"/>
                <p:cNvSpPr/>
                <p:nvPr/>
              </p:nvSpPr>
              <p:spPr>
                <a:xfrm>
                  <a:off x="4295681" y="5985062"/>
                  <a:ext cx="229313" cy="229313"/>
                </a:xfrm>
                <a:prstGeom prst="ellipse">
                  <a:avLst/>
                </a:prstGeom>
                <a:grpFill/>
                <a:ln w="12700" cap="rnd">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47" name="Freeform 93"/>
                <p:cNvSpPr>
                  <a:spLocks noChangeArrowheads="1"/>
                </p:cNvSpPr>
                <p:nvPr/>
              </p:nvSpPr>
              <p:spPr bwMode="auto">
                <a:xfrm>
                  <a:off x="4353976" y="6043357"/>
                  <a:ext cx="112722" cy="112723"/>
                </a:xfrm>
                <a:custGeom>
                  <a:avLst/>
                  <a:gdLst>
                    <a:gd name="T0" fmla="*/ 69 w 96"/>
                    <a:gd name="T1" fmla="*/ 47 h 96"/>
                    <a:gd name="T2" fmla="*/ 93 w 96"/>
                    <a:gd name="T3" fmla="*/ 23 h 96"/>
                    <a:gd name="T4" fmla="*/ 93 w 96"/>
                    <a:gd name="T5" fmla="*/ 13 h 96"/>
                    <a:gd name="T6" fmla="*/ 82 w 96"/>
                    <a:gd name="T7" fmla="*/ 2 h 96"/>
                    <a:gd name="T8" fmla="*/ 71 w 96"/>
                    <a:gd name="T9" fmla="*/ 2 h 96"/>
                    <a:gd name="T10" fmla="*/ 48 w 96"/>
                    <a:gd name="T11" fmla="*/ 26 h 96"/>
                    <a:gd name="T12" fmla="*/ 24 w 96"/>
                    <a:gd name="T13" fmla="*/ 2 h 96"/>
                    <a:gd name="T14" fmla="*/ 13 w 96"/>
                    <a:gd name="T15" fmla="*/ 2 h 96"/>
                    <a:gd name="T16" fmla="*/ 3 w 96"/>
                    <a:gd name="T17" fmla="*/ 13 h 96"/>
                    <a:gd name="T18" fmla="*/ 3 w 96"/>
                    <a:gd name="T19" fmla="*/ 23 h 96"/>
                    <a:gd name="T20" fmla="*/ 26 w 96"/>
                    <a:gd name="T21" fmla="*/ 47 h 96"/>
                    <a:gd name="T22" fmla="*/ 3 w 96"/>
                    <a:gd name="T23" fmla="*/ 71 h 96"/>
                    <a:gd name="T24" fmla="*/ 3 w 96"/>
                    <a:gd name="T25" fmla="*/ 82 h 96"/>
                    <a:gd name="T26" fmla="*/ 13 w 96"/>
                    <a:gd name="T27" fmla="*/ 92 h 96"/>
                    <a:gd name="T28" fmla="*/ 24 w 96"/>
                    <a:gd name="T29" fmla="*/ 92 h 96"/>
                    <a:gd name="T30" fmla="*/ 48 w 96"/>
                    <a:gd name="T31" fmla="*/ 68 h 96"/>
                    <a:gd name="T32" fmla="*/ 71 w 96"/>
                    <a:gd name="T33" fmla="*/ 92 h 96"/>
                    <a:gd name="T34" fmla="*/ 82 w 96"/>
                    <a:gd name="T35" fmla="*/ 92 h 96"/>
                    <a:gd name="T36" fmla="*/ 93 w 96"/>
                    <a:gd name="T37" fmla="*/ 82 h 96"/>
                    <a:gd name="T38" fmla="*/ 93 w 96"/>
                    <a:gd name="T39" fmla="*/ 71 h 96"/>
                    <a:gd name="T40" fmla="*/ 69 w 96"/>
                    <a:gd name="T41"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69" y="47"/>
                      </a:moveTo>
                      <a:lnTo>
                        <a:pt x="93" y="23"/>
                      </a:lnTo>
                      <a:cubicBezTo>
                        <a:pt x="95" y="21"/>
                        <a:pt x="95" y="15"/>
                        <a:pt x="93" y="13"/>
                      </a:cubicBezTo>
                      <a:lnTo>
                        <a:pt x="82" y="2"/>
                      </a:lnTo>
                      <a:cubicBezTo>
                        <a:pt x="79" y="0"/>
                        <a:pt x="74" y="0"/>
                        <a:pt x="71" y="2"/>
                      </a:cubicBezTo>
                      <a:lnTo>
                        <a:pt x="48" y="26"/>
                      </a:lnTo>
                      <a:lnTo>
                        <a:pt x="24" y="2"/>
                      </a:lnTo>
                      <a:cubicBezTo>
                        <a:pt x="21" y="0"/>
                        <a:pt x="16" y="0"/>
                        <a:pt x="13" y="2"/>
                      </a:cubicBezTo>
                      <a:lnTo>
                        <a:pt x="3" y="13"/>
                      </a:lnTo>
                      <a:cubicBezTo>
                        <a:pt x="0" y="15"/>
                        <a:pt x="0" y="21"/>
                        <a:pt x="3" y="23"/>
                      </a:cubicBezTo>
                      <a:lnTo>
                        <a:pt x="26" y="47"/>
                      </a:lnTo>
                      <a:lnTo>
                        <a:pt x="3" y="71"/>
                      </a:lnTo>
                      <a:cubicBezTo>
                        <a:pt x="0" y="74"/>
                        <a:pt x="0" y="79"/>
                        <a:pt x="3" y="82"/>
                      </a:cubicBezTo>
                      <a:lnTo>
                        <a:pt x="13" y="92"/>
                      </a:lnTo>
                      <a:cubicBezTo>
                        <a:pt x="16" y="95"/>
                        <a:pt x="21" y="95"/>
                        <a:pt x="24" y="92"/>
                      </a:cubicBezTo>
                      <a:lnTo>
                        <a:pt x="48" y="68"/>
                      </a:lnTo>
                      <a:lnTo>
                        <a:pt x="71" y="92"/>
                      </a:lnTo>
                      <a:cubicBezTo>
                        <a:pt x="74" y="95"/>
                        <a:pt x="79" y="95"/>
                        <a:pt x="82" y="92"/>
                      </a:cubicBezTo>
                      <a:lnTo>
                        <a:pt x="93" y="82"/>
                      </a:lnTo>
                      <a:cubicBezTo>
                        <a:pt x="95" y="79"/>
                        <a:pt x="95" y="74"/>
                        <a:pt x="93" y="71"/>
                      </a:cubicBezTo>
                      <a:lnTo>
                        <a:pt x="69" y="47"/>
                      </a:lnTo>
                    </a:path>
                  </a:pathLst>
                </a:custGeom>
                <a:grpFill/>
                <a:ln>
                  <a:noFill/>
                </a:ln>
                <a:effectLst/>
                <a:extLst>
                  <a:ext uri="{91240B29-F687-4f45-9708-019B960494DF}">
                    <a14:hiddenLine xmlns:a14="http://schemas.microsoft.com/office/drawing/2010/main" xmlns="" w="9525" cap="rnd">
                      <a:solidFill>
                        <a:srgbClr val="333333"/>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sp>
              <p:nvSpPr>
                <p:cNvPr id="259" name="Oval 258"/>
                <p:cNvSpPr/>
                <p:nvPr/>
              </p:nvSpPr>
              <p:spPr>
                <a:xfrm>
                  <a:off x="4295681" y="6378150"/>
                  <a:ext cx="229313" cy="229313"/>
                </a:xfrm>
                <a:prstGeom prst="ellipse">
                  <a:avLst/>
                </a:prstGeom>
                <a:solidFill>
                  <a:schemeClr val="tx1">
                    <a:lumMod val="50000"/>
                    <a:lumOff val="50000"/>
                  </a:schemeClr>
                </a:solidFill>
                <a:ln w="12700" cap="rnd">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60" name="Freeform 93"/>
                <p:cNvSpPr>
                  <a:spLocks noChangeArrowheads="1"/>
                </p:cNvSpPr>
                <p:nvPr/>
              </p:nvSpPr>
              <p:spPr bwMode="auto">
                <a:xfrm>
                  <a:off x="4353976" y="6436445"/>
                  <a:ext cx="112722" cy="112723"/>
                </a:xfrm>
                <a:custGeom>
                  <a:avLst/>
                  <a:gdLst>
                    <a:gd name="T0" fmla="*/ 69 w 96"/>
                    <a:gd name="T1" fmla="*/ 47 h 96"/>
                    <a:gd name="T2" fmla="*/ 93 w 96"/>
                    <a:gd name="T3" fmla="*/ 23 h 96"/>
                    <a:gd name="T4" fmla="*/ 93 w 96"/>
                    <a:gd name="T5" fmla="*/ 13 h 96"/>
                    <a:gd name="T6" fmla="*/ 82 w 96"/>
                    <a:gd name="T7" fmla="*/ 2 h 96"/>
                    <a:gd name="T8" fmla="*/ 71 w 96"/>
                    <a:gd name="T9" fmla="*/ 2 h 96"/>
                    <a:gd name="T10" fmla="*/ 48 w 96"/>
                    <a:gd name="T11" fmla="*/ 26 h 96"/>
                    <a:gd name="T12" fmla="*/ 24 w 96"/>
                    <a:gd name="T13" fmla="*/ 2 h 96"/>
                    <a:gd name="T14" fmla="*/ 13 w 96"/>
                    <a:gd name="T15" fmla="*/ 2 h 96"/>
                    <a:gd name="T16" fmla="*/ 3 w 96"/>
                    <a:gd name="T17" fmla="*/ 13 h 96"/>
                    <a:gd name="T18" fmla="*/ 3 w 96"/>
                    <a:gd name="T19" fmla="*/ 23 h 96"/>
                    <a:gd name="T20" fmla="*/ 26 w 96"/>
                    <a:gd name="T21" fmla="*/ 47 h 96"/>
                    <a:gd name="T22" fmla="*/ 3 w 96"/>
                    <a:gd name="T23" fmla="*/ 71 h 96"/>
                    <a:gd name="T24" fmla="*/ 3 w 96"/>
                    <a:gd name="T25" fmla="*/ 82 h 96"/>
                    <a:gd name="T26" fmla="*/ 13 w 96"/>
                    <a:gd name="T27" fmla="*/ 92 h 96"/>
                    <a:gd name="T28" fmla="*/ 24 w 96"/>
                    <a:gd name="T29" fmla="*/ 92 h 96"/>
                    <a:gd name="T30" fmla="*/ 48 w 96"/>
                    <a:gd name="T31" fmla="*/ 68 h 96"/>
                    <a:gd name="T32" fmla="*/ 71 w 96"/>
                    <a:gd name="T33" fmla="*/ 92 h 96"/>
                    <a:gd name="T34" fmla="*/ 82 w 96"/>
                    <a:gd name="T35" fmla="*/ 92 h 96"/>
                    <a:gd name="T36" fmla="*/ 93 w 96"/>
                    <a:gd name="T37" fmla="*/ 82 h 96"/>
                    <a:gd name="T38" fmla="*/ 93 w 96"/>
                    <a:gd name="T39" fmla="*/ 71 h 96"/>
                    <a:gd name="T40" fmla="*/ 69 w 96"/>
                    <a:gd name="T41"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69" y="47"/>
                      </a:moveTo>
                      <a:lnTo>
                        <a:pt x="93" y="23"/>
                      </a:lnTo>
                      <a:cubicBezTo>
                        <a:pt x="95" y="21"/>
                        <a:pt x="95" y="15"/>
                        <a:pt x="93" y="13"/>
                      </a:cubicBezTo>
                      <a:lnTo>
                        <a:pt x="82" y="2"/>
                      </a:lnTo>
                      <a:cubicBezTo>
                        <a:pt x="79" y="0"/>
                        <a:pt x="74" y="0"/>
                        <a:pt x="71" y="2"/>
                      </a:cubicBezTo>
                      <a:lnTo>
                        <a:pt x="48" y="26"/>
                      </a:lnTo>
                      <a:lnTo>
                        <a:pt x="24" y="2"/>
                      </a:lnTo>
                      <a:cubicBezTo>
                        <a:pt x="21" y="0"/>
                        <a:pt x="16" y="0"/>
                        <a:pt x="13" y="2"/>
                      </a:cubicBezTo>
                      <a:lnTo>
                        <a:pt x="3" y="13"/>
                      </a:lnTo>
                      <a:cubicBezTo>
                        <a:pt x="0" y="15"/>
                        <a:pt x="0" y="21"/>
                        <a:pt x="3" y="23"/>
                      </a:cubicBezTo>
                      <a:lnTo>
                        <a:pt x="26" y="47"/>
                      </a:lnTo>
                      <a:lnTo>
                        <a:pt x="3" y="71"/>
                      </a:lnTo>
                      <a:cubicBezTo>
                        <a:pt x="0" y="74"/>
                        <a:pt x="0" y="79"/>
                        <a:pt x="3" y="82"/>
                      </a:cubicBezTo>
                      <a:lnTo>
                        <a:pt x="13" y="92"/>
                      </a:lnTo>
                      <a:cubicBezTo>
                        <a:pt x="16" y="95"/>
                        <a:pt x="21" y="95"/>
                        <a:pt x="24" y="92"/>
                      </a:cubicBezTo>
                      <a:lnTo>
                        <a:pt x="48" y="68"/>
                      </a:lnTo>
                      <a:lnTo>
                        <a:pt x="71" y="92"/>
                      </a:lnTo>
                      <a:cubicBezTo>
                        <a:pt x="74" y="95"/>
                        <a:pt x="79" y="95"/>
                        <a:pt x="82" y="92"/>
                      </a:cubicBezTo>
                      <a:lnTo>
                        <a:pt x="93" y="82"/>
                      </a:lnTo>
                      <a:cubicBezTo>
                        <a:pt x="95" y="79"/>
                        <a:pt x="95" y="74"/>
                        <a:pt x="93" y="71"/>
                      </a:cubicBezTo>
                      <a:lnTo>
                        <a:pt x="69" y="47"/>
                      </a:lnTo>
                    </a:path>
                  </a:pathLst>
                </a:custGeom>
                <a:grpFill/>
                <a:ln>
                  <a:noFill/>
                </a:ln>
                <a:effectLst/>
                <a:extLst>
                  <a:ext uri="{91240B29-F687-4f45-9708-019B960494DF}">
                    <a14:hiddenLine xmlns:a14="http://schemas.microsoft.com/office/drawing/2010/main" xmlns="" w="9525" cap="rnd">
                      <a:solidFill>
                        <a:srgbClr val="333333"/>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grpSp>
          <p:grpSp>
            <p:nvGrpSpPr>
              <p:cNvPr id="277" name="Group 276"/>
              <p:cNvGrpSpPr/>
              <p:nvPr/>
            </p:nvGrpSpPr>
            <p:grpSpPr>
              <a:xfrm>
                <a:off x="4673297" y="4673263"/>
                <a:ext cx="229313" cy="2208049"/>
                <a:chOff x="4295681" y="4399414"/>
                <a:chExt cx="229313" cy="2208049"/>
              </a:xfrm>
              <a:grpFill/>
            </p:grpSpPr>
            <p:sp>
              <p:nvSpPr>
                <p:cNvPr id="278" name="Oval 277"/>
                <p:cNvSpPr/>
                <p:nvPr/>
              </p:nvSpPr>
              <p:spPr>
                <a:xfrm>
                  <a:off x="4295681" y="4399414"/>
                  <a:ext cx="229313" cy="229313"/>
                </a:xfrm>
                <a:prstGeom prst="ellipse">
                  <a:avLst/>
                </a:prstGeom>
                <a:solidFill>
                  <a:schemeClr val="tx1">
                    <a:lumMod val="50000"/>
                    <a:lumOff val="50000"/>
                  </a:schemeClr>
                </a:solidFill>
                <a:ln w="12700" cap="rnd">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79" name="Freeform 93"/>
                <p:cNvSpPr>
                  <a:spLocks noChangeArrowheads="1"/>
                </p:cNvSpPr>
                <p:nvPr/>
              </p:nvSpPr>
              <p:spPr bwMode="auto">
                <a:xfrm>
                  <a:off x="4353976" y="4457709"/>
                  <a:ext cx="112722" cy="112723"/>
                </a:xfrm>
                <a:custGeom>
                  <a:avLst/>
                  <a:gdLst>
                    <a:gd name="T0" fmla="*/ 69 w 96"/>
                    <a:gd name="T1" fmla="*/ 47 h 96"/>
                    <a:gd name="T2" fmla="*/ 93 w 96"/>
                    <a:gd name="T3" fmla="*/ 23 h 96"/>
                    <a:gd name="T4" fmla="*/ 93 w 96"/>
                    <a:gd name="T5" fmla="*/ 13 h 96"/>
                    <a:gd name="T6" fmla="*/ 82 w 96"/>
                    <a:gd name="T7" fmla="*/ 2 h 96"/>
                    <a:gd name="T8" fmla="*/ 71 w 96"/>
                    <a:gd name="T9" fmla="*/ 2 h 96"/>
                    <a:gd name="T10" fmla="*/ 48 w 96"/>
                    <a:gd name="T11" fmla="*/ 26 h 96"/>
                    <a:gd name="T12" fmla="*/ 24 w 96"/>
                    <a:gd name="T13" fmla="*/ 2 h 96"/>
                    <a:gd name="T14" fmla="*/ 13 w 96"/>
                    <a:gd name="T15" fmla="*/ 2 h 96"/>
                    <a:gd name="T16" fmla="*/ 3 w 96"/>
                    <a:gd name="T17" fmla="*/ 13 h 96"/>
                    <a:gd name="T18" fmla="*/ 3 w 96"/>
                    <a:gd name="T19" fmla="*/ 23 h 96"/>
                    <a:gd name="T20" fmla="*/ 26 w 96"/>
                    <a:gd name="T21" fmla="*/ 47 h 96"/>
                    <a:gd name="T22" fmla="*/ 3 w 96"/>
                    <a:gd name="T23" fmla="*/ 71 h 96"/>
                    <a:gd name="T24" fmla="*/ 3 w 96"/>
                    <a:gd name="T25" fmla="*/ 82 h 96"/>
                    <a:gd name="T26" fmla="*/ 13 w 96"/>
                    <a:gd name="T27" fmla="*/ 92 h 96"/>
                    <a:gd name="T28" fmla="*/ 24 w 96"/>
                    <a:gd name="T29" fmla="*/ 92 h 96"/>
                    <a:gd name="T30" fmla="*/ 48 w 96"/>
                    <a:gd name="T31" fmla="*/ 68 h 96"/>
                    <a:gd name="T32" fmla="*/ 71 w 96"/>
                    <a:gd name="T33" fmla="*/ 92 h 96"/>
                    <a:gd name="T34" fmla="*/ 82 w 96"/>
                    <a:gd name="T35" fmla="*/ 92 h 96"/>
                    <a:gd name="T36" fmla="*/ 93 w 96"/>
                    <a:gd name="T37" fmla="*/ 82 h 96"/>
                    <a:gd name="T38" fmla="*/ 93 w 96"/>
                    <a:gd name="T39" fmla="*/ 71 h 96"/>
                    <a:gd name="T40" fmla="*/ 69 w 96"/>
                    <a:gd name="T41"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69" y="47"/>
                      </a:moveTo>
                      <a:lnTo>
                        <a:pt x="93" y="23"/>
                      </a:lnTo>
                      <a:cubicBezTo>
                        <a:pt x="95" y="21"/>
                        <a:pt x="95" y="15"/>
                        <a:pt x="93" y="13"/>
                      </a:cubicBezTo>
                      <a:lnTo>
                        <a:pt x="82" y="2"/>
                      </a:lnTo>
                      <a:cubicBezTo>
                        <a:pt x="79" y="0"/>
                        <a:pt x="74" y="0"/>
                        <a:pt x="71" y="2"/>
                      </a:cubicBezTo>
                      <a:lnTo>
                        <a:pt x="48" y="26"/>
                      </a:lnTo>
                      <a:lnTo>
                        <a:pt x="24" y="2"/>
                      </a:lnTo>
                      <a:cubicBezTo>
                        <a:pt x="21" y="0"/>
                        <a:pt x="16" y="0"/>
                        <a:pt x="13" y="2"/>
                      </a:cubicBezTo>
                      <a:lnTo>
                        <a:pt x="3" y="13"/>
                      </a:lnTo>
                      <a:cubicBezTo>
                        <a:pt x="0" y="15"/>
                        <a:pt x="0" y="21"/>
                        <a:pt x="3" y="23"/>
                      </a:cubicBezTo>
                      <a:lnTo>
                        <a:pt x="26" y="47"/>
                      </a:lnTo>
                      <a:lnTo>
                        <a:pt x="3" y="71"/>
                      </a:lnTo>
                      <a:cubicBezTo>
                        <a:pt x="0" y="74"/>
                        <a:pt x="0" y="79"/>
                        <a:pt x="3" y="82"/>
                      </a:cubicBezTo>
                      <a:lnTo>
                        <a:pt x="13" y="92"/>
                      </a:lnTo>
                      <a:cubicBezTo>
                        <a:pt x="16" y="95"/>
                        <a:pt x="21" y="95"/>
                        <a:pt x="24" y="92"/>
                      </a:cubicBezTo>
                      <a:lnTo>
                        <a:pt x="48" y="68"/>
                      </a:lnTo>
                      <a:lnTo>
                        <a:pt x="71" y="92"/>
                      </a:lnTo>
                      <a:cubicBezTo>
                        <a:pt x="74" y="95"/>
                        <a:pt x="79" y="95"/>
                        <a:pt x="82" y="92"/>
                      </a:cubicBezTo>
                      <a:lnTo>
                        <a:pt x="93" y="82"/>
                      </a:lnTo>
                      <a:cubicBezTo>
                        <a:pt x="95" y="79"/>
                        <a:pt x="95" y="74"/>
                        <a:pt x="93" y="71"/>
                      </a:cubicBezTo>
                      <a:lnTo>
                        <a:pt x="69" y="47"/>
                      </a:lnTo>
                    </a:path>
                  </a:pathLst>
                </a:custGeom>
                <a:grpFill/>
                <a:ln>
                  <a:noFill/>
                </a:ln>
                <a:effectLst/>
                <a:extLst>
                  <a:ext uri="{91240B29-F687-4f45-9708-019B960494DF}">
                    <a14:hiddenLine xmlns:a14="http://schemas.microsoft.com/office/drawing/2010/main" xmlns="" w="9525" cap="rnd">
                      <a:solidFill>
                        <a:srgbClr val="333333"/>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sp>
              <p:nvSpPr>
                <p:cNvPr id="235" name="Oval 234"/>
                <p:cNvSpPr/>
                <p:nvPr/>
              </p:nvSpPr>
              <p:spPr>
                <a:xfrm>
                  <a:off x="4295681" y="5194106"/>
                  <a:ext cx="229313" cy="229313"/>
                </a:xfrm>
                <a:prstGeom prst="ellipse">
                  <a:avLst/>
                </a:prstGeom>
                <a:solidFill>
                  <a:schemeClr val="tx1">
                    <a:lumMod val="50000"/>
                    <a:lumOff val="50000"/>
                  </a:schemeClr>
                </a:solidFill>
                <a:ln w="12700" cap="rnd">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36" name="Freeform 93"/>
                <p:cNvSpPr>
                  <a:spLocks noChangeArrowheads="1"/>
                </p:cNvSpPr>
                <p:nvPr/>
              </p:nvSpPr>
              <p:spPr bwMode="auto">
                <a:xfrm>
                  <a:off x="4353976" y="5252401"/>
                  <a:ext cx="112722" cy="112723"/>
                </a:xfrm>
                <a:custGeom>
                  <a:avLst/>
                  <a:gdLst>
                    <a:gd name="T0" fmla="*/ 69 w 96"/>
                    <a:gd name="T1" fmla="*/ 47 h 96"/>
                    <a:gd name="T2" fmla="*/ 93 w 96"/>
                    <a:gd name="T3" fmla="*/ 23 h 96"/>
                    <a:gd name="T4" fmla="*/ 93 w 96"/>
                    <a:gd name="T5" fmla="*/ 13 h 96"/>
                    <a:gd name="T6" fmla="*/ 82 w 96"/>
                    <a:gd name="T7" fmla="*/ 2 h 96"/>
                    <a:gd name="T8" fmla="*/ 71 w 96"/>
                    <a:gd name="T9" fmla="*/ 2 h 96"/>
                    <a:gd name="T10" fmla="*/ 48 w 96"/>
                    <a:gd name="T11" fmla="*/ 26 h 96"/>
                    <a:gd name="T12" fmla="*/ 24 w 96"/>
                    <a:gd name="T13" fmla="*/ 2 h 96"/>
                    <a:gd name="T14" fmla="*/ 13 w 96"/>
                    <a:gd name="T15" fmla="*/ 2 h 96"/>
                    <a:gd name="T16" fmla="*/ 3 w 96"/>
                    <a:gd name="T17" fmla="*/ 13 h 96"/>
                    <a:gd name="T18" fmla="*/ 3 w 96"/>
                    <a:gd name="T19" fmla="*/ 23 h 96"/>
                    <a:gd name="T20" fmla="*/ 26 w 96"/>
                    <a:gd name="T21" fmla="*/ 47 h 96"/>
                    <a:gd name="T22" fmla="*/ 3 w 96"/>
                    <a:gd name="T23" fmla="*/ 71 h 96"/>
                    <a:gd name="T24" fmla="*/ 3 w 96"/>
                    <a:gd name="T25" fmla="*/ 82 h 96"/>
                    <a:gd name="T26" fmla="*/ 13 w 96"/>
                    <a:gd name="T27" fmla="*/ 92 h 96"/>
                    <a:gd name="T28" fmla="*/ 24 w 96"/>
                    <a:gd name="T29" fmla="*/ 92 h 96"/>
                    <a:gd name="T30" fmla="*/ 48 w 96"/>
                    <a:gd name="T31" fmla="*/ 68 h 96"/>
                    <a:gd name="T32" fmla="*/ 71 w 96"/>
                    <a:gd name="T33" fmla="*/ 92 h 96"/>
                    <a:gd name="T34" fmla="*/ 82 w 96"/>
                    <a:gd name="T35" fmla="*/ 92 h 96"/>
                    <a:gd name="T36" fmla="*/ 93 w 96"/>
                    <a:gd name="T37" fmla="*/ 82 h 96"/>
                    <a:gd name="T38" fmla="*/ 93 w 96"/>
                    <a:gd name="T39" fmla="*/ 71 h 96"/>
                    <a:gd name="T40" fmla="*/ 69 w 96"/>
                    <a:gd name="T41"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69" y="47"/>
                      </a:moveTo>
                      <a:lnTo>
                        <a:pt x="93" y="23"/>
                      </a:lnTo>
                      <a:cubicBezTo>
                        <a:pt x="95" y="21"/>
                        <a:pt x="95" y="15"/>
                        <a:pt x="93" y="13"/>
                      </a:cubicBezTo>
                      <a:lnTo>
                        <a:pt x="82" y="2"/>
                      </a:lnTo>
                      <a:cubicBezTo>
                        <a:pt x="79" y="0"/>
                        <a:pt x="74" y="0"/>
                        <a:pt x="71" y="2"/>
                      </a:cubicBezTo>
                      <a:lnTo>
                        <a:pt x="48" y="26"/>
                      </a:lnTo>
                      <a:lnTo>
                        <a:pt x="24" y="2"/>
                      </a:lnTo>
                      <a:cubicBezTo>
                        <a:pt x="21" y="0"/>
                        <a:pt x="16" y="0"/>
                        <a:pt x="13" y="2"/>
                      </a:cubicBezTo>
                      <a:lnTo>
                        <a:pt x="3" y="13"/>
                      </a:lnTo>
                      <a:cubicBezTo>
                        <a:pt x="0" y="15"/>
                        <a:pt x="0" y="21"/>
                        <a:pt x="3" y="23"/>
                      </a:cubicBezTo>
                      <a:lnTo>
                        <a:pt x="26" y="47"/>
                      </a:lnTo>
                      <a:lnTo>
                        <a:pt x="3" y="71"/>
                      </a:lnTo>
                      <a:cubicBezTo>
                        <a:pt x="0" y="74"/>
                        <a:pt x="0" y="79"/>
                        <a:pt x="3" y="82"/>
                      </a:cubicBezTo>
                      <a:lnTo>
                        <a:pt x="13" y="92"/>
                      </a:lnTo>
                      <a:cubicBezTo>
                        <a:pt x="16" y="95"/>
                        <a:pt x="21" y="95"/>
                        <a:pt x="24" y="92"/>
                      </a:cubicBezTo>
                      <a:lnTo>
                        <a:pt x="48" y="68"/>
                      </a:lnTo>
                      <a:lnTo>
                        <a:pt x="71" y="92"/>
                      </a:lnTo>
                      <a:cubicBezTo>
                        <a:pt x="74" y="95"/>
                        <a:pt x="79" y="95"/>
                        <a:pt x="82" y="92"/>
                      </a:cubicBezTo>
                      <a:lnTo>
                        <a:pt x="93" y="82"/>
                      </a:lnTo>
                      <a:cubicBezTo>
                        <a:pt x="95" y="79"/>
                        <a:pt x="95" y="74"/>
                        <a:pt x="93" y="71"/>
                      </a:cubicBezTo>
                      <a:lnTo>
                        <a:pt x="69" y="47"/>
                      </a:lnTo>
                    </a:path>
                  </a:pathLst>
                </a:custGeom>
                <a:grpFill/>
                <a:ln>
                  <a:noFill/>
                </a:ln>
                <a:effectLst/>
                <a:extLst>
                  <a:ext uri="{91240B29-F687-4f45-9708-019B960494DF}">
                    <a14:hiddenLine xmlns:a14="http://schemas.microsoft.com/office/drawing/2010/main" xmlns="" w="9525" cap="rnd">
                      <a:solidFill>
                        <a:srgbClr val="333333"/>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sp>
              <p:nvSpPr>
                <p:cNvPr id="261" name="Oval 260"/>
                <p:cNvSpPr/>
                <p:nvPr/>
              </p:nvSpPr>
              <p:spPr>
                <a:xfrm>
                  <a:off x="4295681" y="6378150"/>
                  <a:ext cx="229313" cy="229313"/>
                </a:xfrm>
                <a:prstGeom prst="ellipse">
                  <a:avLst/>
                </a:prstGeom>
                <a:solidFill>
                  <a:schemeClr val="tx1">
                    <a:lumMod val="50000"/>
                    <a:lumOff val="50000"/>
                  </a:schemeClr>
                </a:solidFill>
                <a:ln w="12700" cap="rnd">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62" name="Freeform 93"/>
                <p:cNvSpPr>
                  <a:spLocks noChangeArrowheads="1"/>
                </p:cNvSpPr>
                <p:nvPr/>
              </p:nvSpPr>
              <p:spPr bwMode="auto">
                <a:xfrm>
                  <a:off x="4353976" y="6436445"/>
                  <a:ext cx="112722" cy="112723"/>
                </a:xfrm>
                <a:custGeom>
                  <a:avLst/>
                  <a:gdLst>
                    <a:gd name="T0" fmla="*/ 69 w 96"/>
                    <a:gd name="T1" fmla="*/ 47 h 96"/>
                    <a:gd name="T2" fmla="*/ 93 w 96"/>
                    <a:gd name="T3" fmla="*/ 23 h 96"/>
                    <a:gd name="T4" fmla="*/ 93 w 96"/>
                    <a:gd name="T5" fmla="*/ 13 h 96"/>
                    <a:gd name="T6" fmla="*/ 82 w 96"/>
                    <a:gd name="T7" fmla="*/ 2 h 96"/>
                    <a:gd name="T8" fmla="*/ 71 w 96"/>
                    <a:gd name="T9" fmla="*/ 2 h 96"/>
                    <a:gd name="T10" fmla="*/ 48 w 96"/>
                    <a:gd name="T11" fmla="*/ 26 h 96"/>
                    <a:gd name="T12" fmla="*/ 24 w 96"/>
                    <a:gd name="T13" fmla="*/ 2 h 96"/>
                    <a:gd name="T14" fmla="*/ 13 w 96"/>
                    <a:gd name="T15" fmla="*/ 2 h 96"/>
                    <a:gd name="T16" fmla="*/ 3 w 96"/>
                    <a:gd name="T17" fmla="*/ 13 h 96"/>
                    <a:gd name="T18" fmla="*/ 3 w 96"/>
                    <a:gd name="T19" fmla="*/ 23 h 96"/>
                    <a:gd name="T20" fmla="*/ 26 w 96"/>
                    <a:gd name="T21" fmla="*/ 47 h 96"/>
                    <a:gd name="T22" fmla="*/ 3 w 96"/>
                    <a:gd name="T23" fmla="*/ 71 h 96"/>
                    <a:gd name="T24" fmla="*/ 3 w 96"/>
                    <a:gd name="T25" fmla="*/ 82 h 96"/>
                    <a:gd name="T26" fmla="*/ 13 w 96"/>
                    <a:gd name="T27" fmla="*/ 92 h 96"/>
                    <a:gd name="T28" fmla="*/ 24 w 96"/>
                    <a:gd name="T29" fmla="*/ 92 h 96"/>
                    <a:gd name="T30" fmla="*/ 48 w 96"/>
                    <a:gd name="T31" fmla="*/ 68 h 96"/>
                    <a:gd name="T32" fmla="*/ 71 w 96"/>
                    <a:gd name="T33" fmla="*/ 92 h 96"/>
                    <a:gd name="T34" fmla="*/ 82 w 96"/>
                    <a:gd name="T35" fmla="*/ 92 h 96"/>
                    <a:gd name="T36" fmla="*/ 93 w 96"/>
                    <a:gd name="T37" fmla="*/ 82 h 96"/>
                    <a:gd name="T38" fmla="*/ 93 w 96"/>
                    <a:gd name="T39" fmla="*/ 71 h 96"/>
                    <a:gd name="T40" fmla="*/ 69 w 96"/>
                    <a:gd name="T41"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69" y="47"/>
                      </a:moveTo>
                      <a:lnTo>
                        <a:pt x="93" y="23"/>
                      </a:lnTo>
                      <a:cubicBezTo>
                        <a:pt x="95" y="21"/>
                        <a:pt x="95" y="15"/>
                        <a:pt x="93" y="13"/>
                      </a:cubicBezTo>
                      <a:lnTo>
                        <a:pt x="82" y="2"/>
                      </a:lnTo>
                      <a:cubicBezTo>
                        <a:pt x="79" y="0"/>
                        <a:pt x="74" y="0"/>
                        <a:pt x="71" y="2"/>
                      </a:cubicBezTo>
                      <a:lnTo>
                        <a:pt x="48" y="26"/>
                      </a:lnTo>
                      <a:lnTo>
                        <a:pt x="24" y="2"/>
                      </a:lnTo>
                      <a:cubicBezTo>
                        <a:pt x="21" y="0"/>
                        <a:pt x="16" y="0"/>
                        <a:pt x="13" y="2"/>
                      </a:cubicBezTo>
                      <a:lnTo>
                        <a:pt x="3" y="13"/>
                      </a:lnTo>
                      <a:cubicBezTo>
                        <a:pt x="0" y="15"/>
                        <a:pt x="0" y="21"/>
                        <a:pt x="3" y="23"/>
                      </a:cubicBezTo>
                      <a:lnTo>
                        <a:pt x="26" y="47"/>
                      </a:lnTo>
                      <a:lnTo>
                        <a:pt x="3" y="71"/>
                      </a:lnTo>
                      <a:cubicBezTo>
                        <a:pt x="0" y="74"/>
                        <a:pt x="0" y="79"/>
                        <a:pt x="3" y="82"/>
                      </a:cubicBezTo>
                      <a:lnTo>
                        <a:pt x="13" y="92"/>
                      </a:lnTo>
                      <a:cubicBezTo>
                        <a:pt x="16" y="95"/>
                        <a:pt x="21" y="95"/>
                        <a:pt x="24" y="92"/>
                      </a:cubicBezTo>
                      <a:lnTo>
                        <a:pt x="48" y="68"/>
                      </a:lnTo>
                      <a:lnTo>
                        <a:pt x="71" y="92"/>
                      </a:lnTo>
                      <a:cubicBezTo>
                        <a:pt x="74" y="95"/>
                        <a:pt x="79" y="95"/>
                        <a:pt x="82" y="92"/>
                      </a:cubicBezTo>
                      <a:lnTo>
                        <a:pt x="93" y="82"/>
                      </a:lnTo>
                      <a:cubicBezTo>
                        <a:pt x="95" y="79"/>
                        <a:pt x="95" y="74"/>
                        <a:pt x="93" y="71"/>
                      </a:cubicBezTo>
                      <a:lnTo>
                        <a:pt x="69" y="47"/>
                      </a:lnTo>
                    </a:path>
                  </a:pathLst>
                </a:custGeom>
                <a:grpFill/>
                <a:ln>
                  <a:noFill/>
                </a:ln>
                <a:effectLst/>
                <a:extLst>
                  <a:ext uri="{91240B29-F687-4f45-9708-019B960494DF}">
                    <a14:hiddenLine xmlns:a14="http://schemas.microsoft.com/office/drawing/2010/main" xmlns="" w="9525" cap="rnd">
                      <a:solidFill>
                        <a:srgbClr val="333333"/>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grpSp>
        </p:grpSp>
      </p:grpSp>
      <p:sp>
        <p:nvSpPr>
          <p:cNvPr id="84" name="Freeform 83"/>
          <p:cNvSpPr/>
          <p:nvPr/>
        </p:nvSpPr>
        <p:spPr>
          <a:xfrm rot="10800000">
            <a:off x="4420117" y="2534243"/>
            <a:ext cx="3346492" cy="3929572"/>
          </a:xfrm>
          <a:custGeom>
            <a:avLst/>
            <a:gdLst>
              <a:gd name="connsiteX0" fmla="*/ 1233028 w 2466056"/>
              <a:gd name="connsiteY0" fmla="*/ 2797262 h 2797262"/>
              <a:gd name="connsiteX1" fmla="*/ 0 w 2466056"/>
              <a:gd name="connsiteY1" fmla="*/ 2603707 h 2797262"/>
              <a:gd name="connsiteX2" fmla="*/ 6366 w 2466056"/>
              <a:gd name="connsiteY2" fmla="*/ 2583917 h 2797262"/>
              <a:gd name="connsiteX3" fmla="*/ 7188 w 2466056"/>
              <a:gd name="connsiteY3" fmla="*/ 2583072 h 2797262"/>
              <a:gd name="connsiteX4" fmla="*/ 880555 w 2466056"/>
              <a:gd name="connsiteY4" fmla="*/ 75137 h 2797262"/>
              <a:gd name="connsiteX5" fmla="*/ 892625 w 2466056"/>
              <a:gd name="connsiteY5" fmla="*/ 75137 h 2797262"/>
              <a:gd name="connsiteX6" fmla="*/ 889485 w 2466056"/>
              <a:gd name="connsiteY6" fmla="*/ 68890 h 2797262"/>
              <a:gd name="connsiteX7" fmla="*/ 1233028 w 2466056"/>
              <a:gd name="connsiteY7" fmla="*/ 0 h 2797262"/>
              <a:gd name="connsiteX8" fmla="*/ 1576571 w 2466056"/>
              <a:gd name="connsiteY8" fmla="*/ 68890 h 2797262"/>
              <a:gd name="connsiteX9" fmla="*/ 1573431 w 2466056"/>
              <a:gd name="connsiteY9" fmla="*/ 75137 h 2797262"/>
              <a:gd name="connsiteX10" fmla="*/ 1585502 w 2466056"/>
              <a:gd name="connsiteY10" fmla="*/ 75137 h 2797262"/>
              <a:gd name="connsiteX11" fmla="*/ 2458870 w 2466056"/>
              <a:gd name="connsiteY11" fmla="*/ 2583074 h 2797262"/>
              <a:gd name="connsiteX12" fmla="*/ 2459690 w 2466056"/>
              <a:gd name="connsiteY12" fmla="*/ 2583917 h 2797262"/>
              <a:gd name="connsiteX13" fmla="*/ 2466056 w 2466056"/>
              <a:gd name="connsiteY13" fmla="*/ 2603707 h 2797262"/>
              <a:gd name="connsiteX14" fmla="*/ 2466056 w 2466056"/>
              <a:gd name="connsiteY14" fmla="*/ 2603708 h 2797262"/>
              <a:gd name="connsiteX15" fmla="*/ 2466056 w 2466056"/>
              <a:gd name="connsiteY15" fmla="*/ 2603709 h 2797262"/>
              <a:gd name="connsiteX16" fmla="*/ 2466055 w 2466056"/>
              <a:gd name="connsiteY16" fmla="*/ 2603709 h 2797262"/>
              <a:gd name="connsiteX17" fmla="*/ 2459690 w 2466056"/>
              <a:gd name="connsiteY17" fmla="*/ 2623497 h 2797262"/>
              <a:gd name="connsiteX18" fmla="*/ 1233028 w 2466056"/>
              <a:gd name="connsiteY18" fmla="*/ 2797262 h 2797262"/>
              <a:gd name="connsiteX0" fmla="*/ 1355562 w 2558445"/>
              <a:gd name="connsiteY0" fmla="*/ 2415424 h 2642727"/>
              <a:gd name="connsiteX1" fmla="*/ 92389 w 2558445"/>
              <a:gd name="connsiteY1" fmla="*/ 2603707 h 2642727"/>
              <a:gd name="connsiteX2" fmla="*/ 98755 w 2558445"/>
              <a:gd name="connsiteY2" fmla="*/ 2583917 h 2642727"/>
              <a:gd name="connsiteX3" fmla="*/ 99577 w 2558445"/>
              <a:gd name="connsiteY3" fmla="*/ 2583072 h 2642727"/>
              <a:gd name="connsiteX4" fmla="*/ 972944 w 2558445"/>
              <a:gd name="connsiteY4" fmla="*/ 75137 h 2642727"/>
              <a:gd name="connsiteX5" fmla="*/ 985014 w 2558445"/>
              <a:gd name="connsiteY5" fmla="*/ 75137 h 2642727"/>
              <a:gd name="connsiteX6" fmla="*/ 981874 w 2558445"/>
              <a:gd name="connsiteY6" fmla="*/ 68890 h 2642727"/>
              <a:gd name="connsiteX7" fmla="*/ 1325417 w 2558445"/>
              <a:gd name="connsiteY7" fmla="*/ 0 h 2642727"/>
              <a:gd name="connsiteX8" fmla="*/ 1668960 w 2558445"/>
              <a:gd name="connsiteY8" fmla="*/ 68890 h 2642727"/>
              <a:gd name="connsiteX9" fmla="*/ 1665820 w 2558445"/>
              <a:gd name="connsiteY9" fmla="*/ 75137 h 2642727"/>
              <a:gd name="connsiteX10" fmla="*/ 1677891 w 2558445"/>
              <a:gd name="connsiteY10" fmla="*/ 75137 h 2642727"/>
              <a:gd name="connsiteX11" fmla="*/ 2551259 w 2558445"/>
              <a:gd name="connsiteY11" fmla="*/ 2583074 h 2642727"/>
              <a:gd name="connsiteX12" fmla="*/ 2552079 w 2558445"/>
              <a:gd name="connsiteY12" fmla="*/ 2583917 h 2642727"/>
              <a:gd name="connsiteX13" fmla="*/ 2558445 w 2558445"/>
              <a:gd name="connsiteY13" fmla="*/ 2603707 h 2642727"/>
              <a:gd name="connsiteX14" fmla="*/ 2558445 w 2558445"/>
              <a:gd name="connsiteY14" fmla="*/ 2603708 h 2642727"/>
              <a:gd name="connsiteX15" fmla="*/ 2558445 w 2558445"/>
              <a:gd name="connsiteY15" fmla="*/ 2603709 h 2642727"/>
              <a:gd name="connsiteX16" fmla="*/ 2558444 w 2558445"/>
              <a:gd name="connsiteY16" fmla="*/ 2603709 h 2642727"/>
              <a:gd name="connsiteX17" fmla="*/ 2552079 w 2558445"/>
              <a:gd name="connsiteY17" fmla="*/ 2623497 h 2642727"/>
              <a:gd name="connsiteX18" fmla="*/ 1355562 w 2558445"/>
              <a:gd name="connsiteY18" fmla="*/ 2415424 h 2642727"/>
              <a:gd name="connsiteX0" fmla="*/ 1355562 w 2558445"/>
              <a:gd name="connsiteY0" fmla="*/ 2415424 h 2642727"/>
              <a:gd name="connsiteX1" fmla="*/ 92389 w 2558445"/>
              <a:gd name="connsiteY1" fmla="*/ 2603707 h 2642727"/>
              <a:gd name="connsiteX2" fmla="*/ 98755 w 2558445"/>
              <a:gd name="connsiteY2" fmla="*/ 2583917 h 2642727"/>
              <a:gd name="connsiteX3" fmla="*/ 99577 w 2558445"/>
              <a:gd name="connsiteY3" fmla="*/ 2583072 h 2642727"/>
              <a:gd name="connsiteX4" fmla="*/ 972944 w 2558445"/>
              <a:gd name="connsiteY4" fmla="*/ 75137 h 2642727"/>
              <a:gd name="connsiteX5" fmla="*/ 985014 w 2558445"/>
              <a:gd name="connsiteY5" fmla="*/ 75137 h 2642727"/>
              <a:gd name="connsiteX6" fmla="*/ 981874 w 2558445"/>
              <a:gd name="connsiteY6" fmla="*/ 68890 h 2642727"/>
              <a:gd name="connsiteX7" fmla="*/ 1325417 w 2558445"/>
              <a:gd name="connsiteY7" fmla="*/ 0 h 2642727"/>
              <a:gd name="connsiteX8" fmla="*/ 1668960 w 2558445"/>
              <a:gd name="connsiteY8" fmla="*/ 68890 h 2642727"/>
              <a:gd name="connsiteX9" fmla="*/ 1665820 w 2558445"/>
              <a:gd name="connsiteY9" fmla="*/ 75137 h 2642727"/>
              <a:gd name="connsiteX10" fmla="*/ 1677891 w 2558445"/>
              <a:gd name="connsiteY10" fmla="*/ 75137 h 2642727"/>
              <a:gd name="connsiteX11" fmla="*/ 2551259 w 2558445"/>
              <a:gd name="connsiteY11" fmla="*/ 2583074 h 2642727"/>
              <a:gd name="connsiteX12" fmla="*/ 2552079 w 2558445"/>
              <a:gd name="connsiteY12" fmla="*/ 2583917 h 2642727"/>
              <a:gd name="connsiteX13" fmla="*/ 2558445 w 2558445"/>
              <a:gd name="connsiteY13" fmla="*/ 2603707 h 2642727"/>
              <a:gd name="connsiteX14" fmla="*/ 2558445 w 2558445"/>
              <a:gd name="connsiteY14" fmla="*/ 2603708 h 2642727"/>
              <a:gd name="connsiteX15" fmla="*/ 2558445 w 2558445"/>
              <a:gd name="connsiteY15" fmla="*/ 2603709 h 2642727"/>
              <a:gd name="connsiteX16" fmla="*/ 2558444 w 2558445"/>
              <a:gd name="connsiteY16" fmla="*/ 2603709 h 2642727"/>
              <a:gd name="connsiteX17" fmla="*/ 2552079 w 2558445"/>
              <a:gd name="connsiteY17" fmla="*/ 2623497 h 2642727"/>
              <a:gd name="connsiteX18" fmla="*/ 1355562 w 2558445"/>
              <a:gd name="connsiteY18" fmla="*/ 2415424 h 2642727"/>
              <a:gd name="connsiteX0" fmla="*/ 1355562 w 2558445"/>
              <a:gd name="connsiteY0" fmla="*/ 2415424 h 2642246"/>
              <a:gd name="connsiteX1" fmla="*/ 92389 w 2558445"/>
              <a:gd name="connsiteY1" fmla="*/ 2603707 h 2642246"/>
              <a:gd name="connsiteX2" fmla="*/ 98755 w 2558445"/>
              <a:gd name="connsiteY2" fmla="*/ 2583917 h 2642246"/>
              <a:gd name="connsiteX3" fmla="*/ 99577 w 2558445"/>
              <a:gd name="connsiteY3" fmla="*/ 2583072 h 2642246"/>
              <a:gd name="connsiteX4" fmla="*/ 972944 w 2558445"/>
              <a:gd name="connsiteY4" fmla="*/ 75137 h 2642246"/>
              <a:gd name="connsiteX5" fmla="*/ 985014 w 2558445"/>
              <a:gd name="connsiteY5" fmla="*/ 75137 h 2642246"/>
              <a:gd name="connsiteX6" fmla="*/ 981874 w 2558445"/>
              <a:gd name="connsiteY6" fmla="*/ 68890 h 2642246"/>
              <a:gd name="connsiteX7" fmla="*/ 1325417 w 2558445"/>
              <a:gd name="connsiteY7" fmla="*/ 0 h 2642246"/>
              <a:gd name="connsiteX8" fmla="*/ 1668960 w 2558445"/>
              <a:gd name="connsiteY8" fmla="*/ 68890 h 2642246"/>
              <a:gd name="connsiteX9" fmla="*/ 1665820 w 2558445"/>
              <a:gd name="connsiteY9" fmla="*/ 75137 h 2642246"/>
              <a:gd name="connsiteX10" fmla="*/ 1677891 w 2558445"/>
              <a:gd name="connsiteY10" fmla="*/ 75137 h 2642246"/>
              <a:gd name="connsiteX11" fmla="*/ 2551259 w 2558445"/>
              <a:gd name="connsiteY11" fmla="*/ 2583074 h 2642246"/>
              <a:gd name="connsiteX12" fmla="*/ 2552079 w 2558445"/>
              <a:gd name="connsiteY12" fmla="*/ 2583917 h 2642246"/>
              <a:gd name="connsiteX13" fmla="*/ 2558445 w 2558445"/>
              <a:gd name="connsiteY13" fmla="*/ 2603707 h 2642246"/>
              <a:gd name="connsiteX14" fmla="*/ 2558445 w 2558445"/>
              <a:gd name="connsiteY14" fmla="*/ 2603708 h 2642246"/>
              <a:gd name="connsiteX15" fmla="*/ 2558445 w 2558445"/>
              <a:gd name="connsiteY15" fmla="*/ 2603709 h 2642246"/>
              <a:gd name="connsiteX16" fmla="*/ 2558444 w 2558445"/>
              <a:gd name="connsiteY16" fmla="*/ 2603709 h 2642246"/>
              <a:gd name="connsiteX17" fmla="*/ 2552079 w 2558445"/>
              <a:gd name="connsiteY17" fmla="*/ 2623497 h 2642246"/>
              <a:gd name="connsiteX18" fmla="*/ 1355562 w 2558445"/>
              <a:gd name="connsiteY18" fmla="*/ 2415424 h 2642246"/>
              <a:gd name="connsiteX0" fmla="*/ 1355562 w 2558445"/>
              <a:gd name="connsiteY0" fmla="*/ 2415424 h 2613377"/>
              <a:gd name="connsiteX1" fmla="*/ 92389 w 2558445"/>
              <a:gd name="connsiteY1" fmla="*/ 2603707 h 2613377"/>
              <a:gd name="connsiteX2" fmla="*/ 98755 w 2558445"/>
              <a:gd name="connsiteY2" fmla="*/ 2583917 h 2613377"/>
              <a:gd name="connsiteX3" fmla="*/ 99577 w 2558445"/>
              <a:gd name="connsiteY3" fmla="*/ 2583072 h 2613377"/>
              <a:gd name="connsiteX4" fmla="*/ 972944 w 2558445"/>
              <a:gd name="connsiteY4" fmla="*/ 75137 h 2613377"/>
              <a:gd name="connsiteX5" fmla="*/ 985014 w 2558445"/>
              <a:gd name="connsiteY5" fmla="*/ 75137 h 2613377"/>
              <a:gd name="connsiteX6" fmla="*/ 981874 w 2558445"/>
              <a:gd name="connsiteY6" fmla="*/ 68890 h 2613377"/>
              <a:gd name="connsiteX7" fmla="*/ 1325417 w 2558445"/>
              <a:gd name="connsiteY7" fmla="*/ 0 h 2613377"/>
              <a:gd name="connsiteX8" fmla="*/ 1668960 w 2558445"/>
              <a:gd name="connsiteY8" fmla="*/ 68890 h 2613377"/>
              <a:gd name="connsiteX9" fmla="*/ 1665820 w 2558445"/>
              <a:gd name="connsiteY9" fmla="*/ 75137 h 2613377"/>
              <a:gd name="connsiteX10" fmla="*/ 1677891 w 2558445"/>
              <a:gd name="connsiteY10" fmla="*/ 75137 h 2613377"/>
              <a:gd name="connsiteX11" fmla="*/ 2551259 w 2558445"/>
              <a:gd name="connsiteY11" fmla="*/ 2583074 h 2613377"/>
              <a:gd name="connsiteX12" fmla="*/ 2552079 w 2558445"/>
              <a:gd name="connsiteY12" fmla="*/ 2583917 h 2613377"/>
              <a:gd name="connsiteX13" fmla="*/ 2558445 w 2558445"/>
              <a:gd name="connsiteY13" fmla="*/ 2603707 h 2613377"/>
              <a:gd name="connsiteX14" fmla="*/ 2558445 w 2558445"/>
              <a:gd name="connsiteY14" fmla="*/ 2603708 h 2613377"/>
              <a:gd name="connsiteX15" fmla="*/ 2558445 w 2558445"/>
              <a:gd name="connsiteY15" fmla="*/ 2603709 h 2613377"/>
              <a:gd name="connsiteX16" fmla="*/ 2558444 w 2558445"/>
              <a:gd name="connsiteY16" fmla="*/ 2603709 h 2613377"/>
              <a:gd name="connsiteX17" fmla="*/ 1355562 w 2558445"/>
              <a:gd name="connsiteY17" fmla="*/ 2415424 h 2613377"/>
              <a:gd name="connsiteX0" fmla="*/ 1355562 w 2558445"/>
              <a:gd name="connsiteY0" fmla="*/ 2415424 h 2613377"/>
              <a:gd name="connsiteX1" fmla="*/ 92389 w 2558445"/>
              <a:gd name="connsiteY1" fmla="*/ 2603707 h 2613377"/>
              <a:gd name="connsiteX2" fmla="*/ 98755 w 2558445"/>
              <a:gd name="connsiteY2" fmla="*/ 2583917 h 2613377"/>
              <a:gd name="connsiteX3" fmla="*/ 99577 w 2558445"/>
              <a:gd name="connsiteY3" fmla="*/ 2583072 h 2613377"/>
              <a:gd name="connsiteX4" fmla="*/ 972944 w 2558445"/>
              <a:gd name="connsiteY4" fmla="*/ 75137 h 2613377"/>
              <a:gd name="connsiteX5" fmla="*/ 985014 w 2558445"/>
              <a:gd name="connsiteY5" fmla="*/ 75137 h 2613377"/>
              <a:gd name="connsiteX6" fmla="*/ 981874 w 2558445"/>
              <a:gd name="connsiteY6" fmla="*/ 68890 h 2613377"/>
              <a:gd name="connsiteX7" fmla="*/ 1325417 w 2558445"/>
              <a:gd name="connsiteY7" fmla="*/ 0 h 2613377"/>
              <a:gd name="connsiteX8" fmla="*/ 1668960 w 2558445"/>
              <a:gd name="connsiteY8" fmla="*/ 68890 h 2613377"/>
              <a:gd name="connsiteX9" fmla="*/ 1665820 w 2558445"/>
              <a:gd name="connsiteY9" fmla="*/ 75137 h 2613377"/>
              <a:gd name="connsiteX10" fmla="*/ 1677891 w 2558445"/>
              <a:gd name="connsiteY10" fmla="*/ 75137 h 2613377"/>
              <a:gd name="connsiteX11" fmla="*/ 2551259 w 2558445"/>
              <a:gd name="connsiteY11" fmla="*/ 2583074 h 2613377"/>
              <a:gd name="connsiteX12" fmla="*/ 2552079 w 2558445"/>
              <a:gd name="connsiteY12" fmla="*/ 2583917 h 2613377"/>
              <a:gd name="connsiteX13" fmla="*/ 2558445 w 2558445"/>
              <a:gd name="connsiteY13" fmla="*/ 2603707 h 2613377"/>
              <a:gd name="connsiteX14" fmla="*/ 2558445 w 2558445"/>
              <a:gd name="connsiteY14" fmla="*/ 2603708 h 2613377"/>
              <a:gd name="connsiteX15" fmla="*/ 2558445 w 2558445"/>
              <a:gd name="connsiteY15" fmla="*/ 2603709 h 2613377"/>
              <a:gd name="connsiteX16" fmla="*/ 1355562 w 2558445"/>
              <a:gd name="connsiteY16" fmla="*/ 2415424 h 2613377"/>
              <a:gd name="connsiteX0" fmla="*/ 1355562 w 2558445"/>
              <a:gd name="connsiteY0" fmla="*/ 2415424 h 2613377"/>
              <a:gd name="connsiteX1" fmla="*/ 92389 w 2558445"/>
              <a:gd name="connsiteY1" fmla="*/ 2603707 h 2613377"/>
              <a:gd name="connsiteX2" fmla="*/ 98755 w 2558445"/>
              <a:gd name="connsiteY2" fmla="*/ 2583917 h 2613377"/>
              <a:gd name="connsiteX3" fmla="*/ 99577 w 2558445"/>
              <a:gd name="connsiteY3" fmla="*/ 2583072 h 2613377"/>
              <a:gd name="connsiteX4" fmla="*/ 972944 w 2558445"/>
              <a:gd name="connsiteY4" fmla="*/ 75137 h 2613377"/>
              <a:gd name="connsiteX5" fmla="*/ 985014 w 2558445"/>
              <a:gd name="connsiteY5" fmla="*/ 75137 h 2613377"/>
              <a:gd name="connsiteX6" fmla="*/ 981874 w 2558445"/>
              <a:gd name="connsiteY6" fmla="*/ 68890 h 2613377"/>
              <a:gd name="connsiteX7" fmla="*/ 1325417 w 2558445"/>
              <a:gd name="connsiteY7" fmla="*/ 0 h 2613377"/>
              <a:gd name="connsiteX8" fmla="*/ 1668960 w 2558445"/>
              <a:gd name="connsiteY8" fmla="*/ 68890 h 2613377"/>
              <a:gd name="connsiteX9" fmla="*/ 1665820 w 2558445"/>
              <a:gd name="connsiteY9" fmla="*/ 75137 h 2613377"/>
              <a:gd name="connsiteX10" fmla="*/ 1677891 w 2558445"/>
              <a:gd name="connsiteY10" fmla="*/ 75137 h 2613377"/>
              <a:gd name="connsiteX11" fmla="*/ 2551259 w 2558445"/>
              <a:gd name="connsiteY11" fmla="*/ 2583074 h 2613377"/>
              <a:gd name="connsiteX12" fmla="*/ 2552079 w 2558445"/>
              <a:gd name="connsiteY12" fmla="*/ 2583917 h 2613377"/>
              <a:gd name="connsiteX13" fmla="*/ 2558445 w 2558445"/>
              <a:gd name="connsiteY13" fmla="*/ 2603707 h 2613377"/>
              <a:gd name="connsiteX14" fmla="*/ 2558445 w 2558445"/>
              <a:gd name="connsiteY14" fmla="*/ 2603708 h 2613377"/>
              <a:gd name="connsiteX15" fmla="*/ 1355562 w 2558445"/>
              <a:gd name="connsiteY15" fmla="*/ 2415424 h 2613377"/>
              <a:gd name="connsiteX0" fmla="*/ 1355562 w 2558445"/>
              <a:gd name="connsiteY0" fmla="*/ 2415424 h 2613377"/>
              <a:gd name="connsiteX1" fmla="*/ 92389 w 2558445"/>
              <a:gd name="connsiteY1" fmla="*/ 2603707 h 2613377"/>
              <a:gd name="connsiteX2" fmla="*/ 98755 w 2558445"/>
              <a:gd name="connsiteY2" fmla="*/ 2583917 h 2613377"/>
              <a:gd name="connsiteX3" fmla="*/ 972944 w 2558445"/>
              <a:gd name="connsiteY3" fmla="*/ 75137 h 2613377"/>
              <a:gd name="connsiteX4" fmla="*/ 985014 w 2558445"/>
              <a:gd name="connsiteY4" fmla="*/ 75137 h 2613377"/>
              <a:gd name="connsiteX5" fmla="*/ 981874 w 2558445"/>
              <a:gd name="connsiteY5" fmla="*/ 68890 h 2613377"/>
              <a:gd name="connsiteX6" fmla="*/ 1325417 w 2558445"/>
              <a:gd name="connsiteY6" fmla="*/ 0 h 2613377"/>
              <a:gd name="connsiteX7" fmla="*/ 1668960 w 2558445"/>
              <a:gd name="connsiteY7" fmla="*/ 68890 h 2613377"/>
              <a:gd name="connsiteX8" fmla="*/ 1665820 w 2558445"/>
              <a:gd name="connsiteY8" fmla="*/ 75137 h 2613377"/>
              <a:gd name="connsiteX9" fmla="*/ 1677891 w 2558445"/>
              <a:gd name="connsiteY9" fmla="*/ 75137 h 2613377"/>
              <a:gd name="connsiteX10" fmla="*/ 2551259 w 2558445"/>
              <a:gd name="connsiteY10" fmla="*/ 2583074 h 2613377"/>
              <a:gd name="connsiteX11" fmla="*/ 2552079 w 2558445"/>
              <a:gd name="connsiteY11" fmla="*/ 2583917 h 2613377"/>
              <a:gd name="connsiteX12" fmla="*/ 2558445 w 2558445"/>
              <a:gd name="connsiteY12" fmla="*/ 2603707 h 2613377"/>
              <a:gd name="connsiteX13" fmla="*/ 2558445 w 2558445"/>
              <a:gd name="connsiteY13" fmla="*/ 2603708 h 2613377"/>
              <a:gd name="connsiteX14" fmla="*/ 1355562 w 2558445"/>
              <a:gd name="connsiteY14" fmla="*/ 2415424 h 2613377"/>
              <a:gd name="connsiteX0" fmla="*/ 1266804 w 2469687"/>
              <a:gd name="connsiteY0" fmla="*/ 2415424 h 2740294"/>
              <a:gd name="connsiteX1" fmla="*/ 3631 w 2469687"/>
              <a:gd name="connsiteY1" fmla="*/ 2603707 h 2740294"/>
              <a:gd name="connsiteX2" fmla="*/ 884186 w 2469687"/>
              <a:gd name="connsiteY2" fmla="*/ 75137 h 2740294"/>
              <a:gd name="connsiteX3" fmla="*/ 896256 w 2469687"/>
              <a:gd name="connsiteY3" fmla="*/ 75137 h 2740294"/>
              <a:gd name="connsiteX4" fmla="*/ 893116 w 2469687"/>
              <a:gd name="connsiteY4" fmla="*/ 68890 h 2740294"/>
              <a:gd name="connsiteX5" fmla="*/ 1236659 w 2469687"/>
              <a:gd name="connsiteY5" fmla="*/ 0 h 2740294"/>
              <a:gd name="connsiteX6" fmla="*/ 1580202 w 2469687"/>
              <a:gd name="connsiteY6" fmla="*/ 68890 h 2740294"/>
              <a:gd name="connsiteX7" fmla="*/ 1577062 w 2469687"/>
              <a:gd name="connsiteY7" fmla="*/ 75137 h 2740294"/>
              <a:gd name="connsiteX8" fmla="*/ 1589133 w 2469687"/>
              <a:gd name="connsiteY8" fmla="*/ 75137 h 2740294"/>
              <a:gd name="connsiteX9" fmla="*/ 2462501 w 2469687"/>
              <a:gd name="connsiteY9" fmla="*/ 2583074 h 2740294"/>
              <a:gd name="connsiteX10" fmla="*/ 2463321 w 2469687"/>
              <a:gd name="connsiteY10" fmla="*/ 2583917 h 2740294"/>
              <a:gd name="connsiteX11" fmla="*/ 2469687 w 2469687"/>
              <a:gd name="connsiteY11" fmla="*/ 2603707 h 2740294"/>
              <a:gd name="connsiteX12" fmla="*/ 2469687 w 2469687"/>
              <a:gd name="connsiteY12" fmla="*/ 2603708 h 2740294"/>
              <a:gd name="connsiteX13" fmla="*/ 1266804 w 2469687"/>
              <a:gd name="connsiteY13" fmla="*/ 2415424 h 2740294"/>
              <a:gd name="connsiteX0" fmla="*/ 1341030 w 2543913"/>
              <a:gd name="connsiteY0" fmla="*/ 2415424 h 2706049"/>
              <a:gd name="connsiteX1" fmla="*/ 77857 w 2543913"/>
              <a:gd name="connsiteY1" fmla="*/ 2603707 h 2706049"/>
              <a:gd name="connsiteX2" fmla="*/ 958412 w 2543913"/>
              <a:gd name="connsiteY2" fmla="*/ 75137 h 2706049"/>
              <a:gd name="connsiteX3" fmla="*/ 970482 w 2543913"/>
              <a:gd name="connsiteY3" fmla="*/ 75137 h 2706049"/>
              <a:gd name="connsiteX4" fmla="*/ 967342 w 2543913"/>
              <a:gd name="connsiteY4" fmla="*/ 68890 h 2706049"/>
              <a:gd name="connsiteX5" fmla="*/ 1310885 w 2543913"/>
              <a:gd name="connsiteY5" fmla="*/ 0 h 2706049"/>
              <a:gd name="connsiteX6" fmla="*/ 1654428 w 2543913"/>
              <a:gd name="connsiteY6" fmla="*/ 68890 h 2706049"/>
              <a:gd name="connsiteX7" fmla="*/ 1651288 w 2543913"/>
              <a:gd name="connsiteY7" fmla="*/ 75137 h 2706049"/>
              <a:gd name="connsiteX8" fmla="*/ 1663359 w 2543913"/>
              <a:gd name="connsiteY8" fmla="*/ 75137 h 2706049"/>
              <a:gd name="connsiteX9" fmla="*/ 2536727 w 2543913"/>
              <a:gd name="connsiteY9" fmla="*/ 2583074 h 2706049"/>
              <a:gd name="connsiteX10" fmla="*/ 2537547 w 2543913"/>
              <a:gd name="connsiteY10" fmla="*/ 2583917 h 2706049"/>
              <a:gd name="connsiteX11" fmla="*/ 2543913 w 2543913"/>
              <a:gd name="connsiteY11" fmla="*/ 2603707 h 2706049"/>
              <a:gd name="connsiteX12" fmla="*/ 2543913 w 2543913"/>
              <a:gd name="connsiteY12" fmla="*/ 2603708 h 2706049"/>
              <a:gd name="connsiteX13" fmla="*/ 1341030 w 2543913"/>
              <a:gd name="connsiteY13" fmla="*/ 2415424 h 2706049"/>
              <a:gd name="connsiteX0" fmla="*/ 1264677 w 2467560"/>
              <a:gd name="connsiteY0" fmla="*/ 2415424 h 2604782"/>
              <a:gd name="connsiteX1" fmla="*/ 1504 w 2467560"/>
              <a:gd name="connsiteY1" fmla="*/ 2603707 h 2604782"/>
              <a:gd name="connsiteX2" fmla="*/ 882059 w 2467560"/>
              <a:gd name="connsiteY2" fmla="*/ 75137 h 2604782"/>
              <a:gd name="connsiteX3" fmla="*/ 894129 w 2467560"/>
              <a:gd name="connsiteY3" fmla="*/ 75137 h 2604782"/>
              <a:gd name="connsiteX4" fmla="*/ 890989 w 2467560"/>
              <a:gd name="connsiteY4" fmla="*/ 68890 h 2604782"/>
              <a:gd name="connsiteX5" fmla="*/ 1234532 w 2467560"/>
              <a:gd name="connsiteY5" fmla="*/ 0 h 2604782"/>
              <a:gd name="connsiteX6" fmla="*/ 1578075 w 2467560"/>
              <a:gd name="connsiteY6" fmla="*/ 68890 h 2604782"/>
              <a:gd name="connsiteX7" fmla="*/ 1574935 w 2467560"/>
              <a:gd name="connsiteY7" fmla="*/ 75137 h 2604782"/>
              <a:gd name="connsiteX8" fmla="*/ 1587006 w 2467560"/>
              <a:gd name="connsiteY8" fmla="*/ 75137 h 2604782"/>
              <a:gd name="connsiteX9" fmla="*/ 2460374 w 2467560"/>
              <a:gd name="connsiteY9" fmla="*/ 2583074 h 2604782"/>
              <a:gd name="connsiteX10" fmla="*/ 2461194 w 2467560"/>
              <a:gd name="connsiteY10" fmla="*/ 2583917 h 2604782"/>
              <a:gd name="connsiteX11" fmla="*/ 2467560 w 2467560"/>
              <a:gd name="connsiteY11" fmla="*/ 2603707 h 2604782"/>
              <a:gd name="connsiteX12" fmla="*/ 2467560 w 2467560"/>
              <a:gd name="connsiteY12" fmla="*/ 2603708 h 2604782"/>
              <a:gd name="connsiteX13" fmla="*/ 1264677 w 2467560"/>
              <a:gd name="connsiteY13" fmla="*/ 2415424 h 2604782"/>
              <a:gd name="connsiteX0" fmla="*/ 1263381 w 2466264"/>
              <a:gd name="connsiteY0" fmla="*/ 2415424 h 2854917"/>
              <a:gd name="connsiteX1" fmla="*/ 208 w 2466264"/>
              <a:gd name="connsiteY1" fmla="*/ 2603707 h 2854917"/>
              <a:gd name="connsiteX2" fmla="*/ 880763 w 2466264"/>
              <a:gd name="connsiteY2" fmla="*/ 75137 h 2854917"/>
              <a:gd name="connsiteX3" fmla="*/ 892833 w 2466264"/>
              <a:gd name="connsiteY3" fmla="*/ 75137 h 2854917"/>
              <a:gd name="connsiteX4" fmla="*/ 889693 w 2466264"/>
              <a:gd name="connsiteY4" fmla="*/ 68890 h 2854917"/>
              <a:gd name="connsiteX5" fmla="*/ 1233236 w 2466264"/>
              <a:gd name="connsiteY5" fmla="*/ 0 h 2854917"/>
              <a:gd name="connsiteX6" fmla="*/ 1576779 w 2466264"/>
              <a:gd name="connsiteY6" fmla="*/ 68890 h 2854917"/>
              <a:gd name="connsiteX7" fmla="*/ 1573639 w 2466264"/>
              <a:gd name="connsiteY7" fmla="*/ 75137 h 2854917"/>
              <a:gd name="connsiteX8" fmla="*/ 1585710 w 2466264"/>
              <a:gd name="connsiteY8" fmla="*/ 75137 h 2854917"/>
              <a:gd name="connsiteX9" fmla="*/ 2459078 w 2466264"/>
              <a:gd name="connsiteY9" fmla="*/ 2583074 h 2854917"/>
              <a:gd name="connsiteX10" fmla="*/ 2459898 w 2466264"/>
              <a:gd name="connsiteY10" fmla="*/ 2583917 h 2854917"/>
              <a:gd name="connsiteX11" fmla="*/ 2466264 w 2466264"/>
              <a:gd name="connsiteY11" fmla="*/ 2603707 h 2854917"/>
              <a:gd name="connsiteX12" fmla="*/ 2365780 w 2466264"/>
              <a:gd name="connsiteY12" fmla="*/ 2854917 h 2854917"/>
              <a:gd name="connsiteX13" fmla="*/ 1263381 w 2466264"/>
              <a:gd name="connsiteY13" fmla="*/ 2415424 h 2854917"/>
              <a:gd name="connsiteX0" fmla="*/ 1263381 w 2482134"/>
              <a:gd name="connsiteY0" fmla="*/ 2415424 h 2857080"/>
              <a:gd name="connsiteX1" fmla="*/ 208 w 2482134"/>
              <a:gd name="connsiteY1" fmla="*/ 2603707 h 2857080"/>
              <a:gd name="connsiteX2" fmla="*/ 880763 w 2482134"/>
              <a:gd name="connsiteY2" fmla="*/ 75137 h 2857080"/>
              <a:gd name="connsiteX3" fmla="*/ 892833 w 2482134"/>
              <a:gd name="connsiteY3" fmla="*/ 75137 h 2857080"/>
              <a:gd name="connsiteX4" fmla="*/ 889693 w 2482134"/>
              <a:gd name="connsiteY4" fmla="*/ 68890 h 2857080"/>
              <a:gd name="connsiteX5" fmla="*/ 1233236 w 2482134"/>
              <a:gd name="connsiteY5" fmla="*/ 0 h 2857080"/>
              <a:gd name="connsiteX6" fmla="*/ 1576779 w 2482134"/>
              <a:gd name="connsiteY6" fmla="*/ 68890 h 2857080"/>
              <a:gd name="connsiteX7" fmla="*/ 1573639 w 2482134"/>
              <a:gd name="connsiteY7" fmla="*/ 75137 h 2857080"/>
              <a:gd name="connsiteX8" fmla="*/ 1585710 w 2482134"/>
              <a:gd name="connsiteY8" fmla="*/ 75137 h 2857080"/>
              <a:gd name="connsiteX9" fmla="*/ 2459078 w 2482134"/>
              <a:gd name="connsiteY9" fmla="*/ 2583074 h 2857080"/>
              <a:gd name="connsiteX10" fmla="*/ 2459898 w 2482134"/>
              <a:gd name="connsiteY10" fmla="*/ 2583917 h 2857080"/>
              <a:gd name="connsiteX11" fmla="*/ 2365780 w 2482134"/>
              <a:gd name="connsiteY11" fmla="*/ 2854917 h 2857080"/>
              <a:gd name="connsiteX12" fmla="*/ 1263381 w 2482134"/>
              <a:gd name="connsiteY12" fmla="*/ 2415424 h 2857080"/>
              <a:gd name="connsiteX0" fmla="*/ 1263381 w 2459898"/>
              <a:gd name="connsiteY0" fmla="*/ 2415424 h 2604568"/>
              <a:gd name="connsiteX1" fmla="*/ 208 w 2459898"/>
              <a:gd name="connsiteY1" fmla="*/ 2603707 h 2604568"/>
              <a:gd name="connsiteX2" fmla="*/ 880763 w 2459898"/>
              <a:gd name="connsiteY2" fmla="*/ 75137 h 2604568"/>
              <a:gd name="connsiteX3" fmla="*/ 892833 w 2459898"/>
              <a:gd name="connsiteY3" fmla="*/ 75137 h 2604568"/>
              <a:gd name="connsiteX4" fmla="*/ 889693 w 2459898"/>
              <a:gd name="connsiteY4" fmla="*/ 68890 h 2604568"/>
              <a:gd name="connsiteX5" fmla="*/ 1233236 w 2459898"/>
              <a:gd name="connsiteY5" fmla="*/ 0 h 2604568"/>
              <a:gd name="connsiteX6" fmla="*/ 1576779 w 2459898"/>
              <a:gd name="connsiteY6" fmla="*/ 68890 h 2604568"/>
              <a:gd name="connsiteX7" fmla="*/ 1573639 w 2459898"/>
              <a:gd name="connsiteY7" fmla="*/ 75137 h 2604568"/>
              <a:gd name="connsiteX8" fmla="*/ 1585710 w 2459898"/>
              <a:gd name="connsiteY8" fmla="*/ 75137 h 2604568"/>
              <a:gd name="connsiteX9" fmla="*/ 2459078 w 2459898"/>
              <a:gd name="connsiteY9" fmla="*/ 2583074 h 2604568"/>
              <a:gd name="connsiteX10" fmla="*/ 2459898 w 2459898"/>
              <a:gd name="connsiteY10" fmla="*/ 2583917 h 2604568"/>
              <a:gd name="connsiteX11" fmla="*/ 1263381 w 2459898"/>
              <a:gd name="connsiteY11" fmla="*/ 2415424 h 2604568"/>
              <a:gd name="connsiteX0" fmla="*/ 1263381 w 2459898"/>
              <a:gd name="connsiteY0" fmla="*/ 2415424 h 2604568"/>
              <a:gd name="connsiteX1" fmla="*/ 208 w 2459898"/>
              <a:gd name="connsiteY1" fmla="*/ 2603707 h 2604568"/>
              <a:gd name="connsiteX2" fmla="*/ 880763 w 2459898"/>
              <a:gd name="connsiteY2" fmla="*/ 75137 h 2604568"/>
              <a:gd name="connsiteX3" fmla="*/ 892833 w 2459898"/>
              <a:gd name="connsiteY3" fmla="*/ 75137 h 2604568"/>
              <a:gd name="connsiteX4" fmla="*/ 889693 w 2459898"/>
              <a:gd name="connsiteY4" fmla="*/ 68890 h 2604568"/>
              <a:gd name="connsiteX5" fmla="*/ 1233236 w 2459898"/>
              <a:gd name="connsiteY5" fmla="*/ 0 h 2604568"/>
              <a:gd name="connsiteX6" fmla="*/ 1576779 w 2459898"/>
              <a:gd name="connsiteY6" fmla="*/ 68890 h 2604568"/>
              <a:gd name="connsiteX7" fmla="*/ 1573639 w 2459898"/>
              <a:gd name="connsiteY7" fmla="*/ 75137 h 2604568"/>
              <a:gd name="connsiteX8" fmla="*/ 1585710 w 2459898"/>
              <a:gd name="connsiteY8" fmla="*/ 75137 h 2604568"/>
              <a:gd name="connsiteX9" fmla="*/ 2459078 w 2459898"/>
              <a:gd name="connsiteY9" fmla="*/ 2583074 h 2604568"/>
              <a:gd name="connsiteX10" fmla="*/ 2459898 w 2459898"/>
              <a:gd name="connsiteY10" fmla="*/ 2583917 h 2604568"/>
              <a:gd name="connsiteX11" fmla="*/ 1263381 w 2459898"/>
              <a:gd name="connsiteY11" fmla="*/ 2415424 h 2604568"/>
              <a:gd name="connsiteX0" fmla="*/ 1273431 w 2469948"/>
              <a:gd name="connsiteY0" fmla="*/ 2415424 h 2583917"/>
              <a:gd name="connsiteX1" fmla="*/ 209 w 2469948"/>
              <a:gd name="connsiteY1" fmla="*/ 2553465 h 2583917"/>
              <a:gd name="connsiteX2" fmla="*/ 890813 w 2469948"/>
              <a:gd name="connsiteY2" fmla="*/ 75137 h 2583917"/>
              <a:gd name="connsiteX3" fmla="*/ 902883 w 2469948"/>
              <a:gd name="connsiteY3" fmla="*/ 75137 h 2583917"/>
              <a:gd name="connsiteX4" fmla="*/ 899743 w 2469948"/>
              <a:gd name="connsiteY4" fmla="*/ 68890 h 2583917"/>
              <a:gd name="connsiteX5" fmla="*/ 1243286 w 2469948"/>
              <a:gd name="connsiteY5" fmla="*/ 0 h 2583917"/>
              <a:gd name="connsiteX6" fmla="*/ 1586829 w 2469948"/>
              <a:gd name="connsiteY6" fmla="*/ 68890 h 2583917"/>
              <a:gd name="connsiteX7" fmla="*/ 1583689 w 2469948"/>
              <a:gd name="connsiteY7" fmla="*/ 75137 h 2583917"/>
              <a:gd name="connsiteX8" fmla="*/ 1595760 w 2469948"/>
              <a:gd name="connsiteY8" fmla="*/ 75137 h 2583917"/>
              <a:gd name="connsiteX9" fmla="*/ 2469128 w 2469948"/>
              <a:gd name="connsiteY9" fmla="*/ 2583074 h 2583917"/>
              <a:gd name="connsiteX10" fmla="*/ 2469948 w 2469948"/>
              <a:gd name="connsiteY10" fmla="*/ 2583917 h 2583917"/>
              <a:gd name="connsiteX11" fmla="*/ 1273431 w 2469948"/>
              <a:gd name="connsiteY11" fmla="*/ 2415424 h 2583917"/>
              <a:gd name="connsiteX0" fmla="*/ 1273431 w 2469948"/>
              <a:gd name="connsiteY0" fmla="*/ 2415424 h 2583917"/>
              <a:gd name="connsiteX1" fmla="*/ 209 w 2469948"/>
              <a:gd name="connsiteY1" fmla="*/ 2553465 h 2583917"/>
              <a:gd name="connsiteX2" fmla="*/ 890813 w 2469948"/>
              <a:gd name="connsiteY2" fmla="*/ 75137 h 2583917"/>
              <a:gd name="connsiteX3" fmla="*/ 902883 w 2469948"/>
              <a:gd name="connsiteY3" fmla="*/ 75137 h 2583917"/>
              <a:gd name="connsiteX4" fmla="*/ 899743 w 2469948"/>
              <a:gd name="connsiteY4" fmla="*/ 68890 h 2583917"/>
              <a:gd name="connsiteX5" fmla="*/ 1243286 w 2469948"/>
              <a:gd name="connsiteY5" fmla="*/ 0 h 2583917"/>
              <a:gd name="connsiteX6" fmla="*/ 1586829 w 2469948"/>
              <a:gd name="connsiteY6" fmla="*/ 68890 h 2583917"/>
              <a:gd name="connsiteX7" fmla="*/ 1583689 w 2469948"/>
              <a:gd name="connsiteY7" fmla="*/ 75137 h 2583917"/>
              <a:gd name="connsiteX8" fmla="*/ 2125696 w 2469948"/>
              <a:gd name="connsiteY8" fmla="*/ 54355 h 2583917"/>
              <a:gd name="connsiteX9" fmla="*/ 2469128 w 2469948"/>
              <a:gd name="connsiteY9" fmla="*/ 2583074 h 2583917"/>
              <a:gd name="connsiteX10" fmla="*/ 2469948 w 2469948"/>
              <a:gd name="connsiteY10" fmla="*/ 2583917 h 2583917"/>
              <a:gd name="connsiteX11" fmla="*/ 1273431 w 2469948"/>
              <a:gd name="connsiteY11" fmla="*/ 2415424 h 2583917"/>
              <a:gd name="connsiteX0" fmla="*/ 1273431 w 2469948"/>
              <a:gd name="connsiteY0" fmla="*/ 2415424 h 2583917"/>
              <a:gd name="connsiteX1" fmla="*/ 209 w 2469948"/>
              <a:gd name="connsiteY1" fmla="*/ 2553465 h 2583917"/>
              <a:gd name="connsiteX2" fmla="*/ 890813 w 2469948"/>
              <a:gd name="connsiteY2" fmla="*/ 75137 h 2583917"/>
              <a:gd name="connsiteX3" fmla="*/ 902883 w 2469948"/>
              <a:gd name="connsiteY3" fmla="*/ 75137 h 2583917"/>
              <a:gd name="connsiteX4" fmla="*/ 899743 w 2469948"/>
              <a:gd name="connsiteY4" fmla="*/ 68890 h 2583917"/>
              <a:gd name="connsiteX5" fmla="*/ 1243286 w 2469948"/>
              <a:gd name="connsiteY5" fmla="*/ 0 h 2583917"/>
              <a:gd name="connsiteX6" fmla="*/ 1586829 w 2469948"/>
              <a:gd name="connsiteY6" fmla="*/ 68890 h 2583917"/>
              <a:gd name="connsiteX7" fmla="*/ 1583689 w 2469948"/>
              <a:gd name="connsiteY7" fmla="*/ 75137 h 2583917"/>
              <a:gd name="connsiteX8" fmla="*/ 2427032 w 2469948"/>
              <a:gd name="connsiteY8" fmla="*/ 54355 h 2583917"/>
              <a:gd name="connsiteX9" fmla="*/ 2469128 w 2469948"/>
              <a:gd name="connsiteY9" fmla="*/ 2583074 h 2583917"/>
              <a:gd name="connsiteX10" fmla="*/ 2469948 w 2469948"/>
              <a:gd name="connsiteY10" fmla="*/ 2583917 h 2583917"/>
              <a:gd name="connsiteX11" fmla="*/ 1273431 w 2469948"/>
              <a:gd name="connsiteY11" fmla="*/ 2415424 h 2583917"/>
              <a:gd name="connsiteX0" fmla="*/ 1273431 w 2469948"/>
              <a:gd name="connsiteY0" fmla="*/ 2477604 h 2646097"/>
              <a:gd name="connsiteX1" fmla="*/ 209 w 2469948"/>
              <a:gd name="connsiteY1" fmla="*/ 2615645 h 2646097"/>
              <a:gd name="connsiteX2" fmla="*/ 890813 w 2469948"/>
              <a:gd name="connsiteY2" fmla="*/ 137317 h 2646097"/>
              <a:gd name="connsiteX3" fmla="*/ 902883 w 2469948"/>
              <a:gd name="connsiteY3" fmla="*/ 137317 h 2646097"/>
              <a:gd name="connsiteX4" fmla="*/ 1000643 w 2469948"/>
              <a:gd name="connsiteY4" fmla="*/ 11252 h 2646097"/>
              <a:gd name="connsiteX5" fmla="*/ 1243286 w 2469948"/>
              <a:gd name="connsiteY5" fmla="*/ 62180 h 2646097"/>
              <a:gd name="connsiteX6" fmla="*/ 1586829 w 2469948"/>
              <a:gd name="connsiteY6" fmla="*/ 131070 h 2646097"/>
              <a:gd name="connsiteX7" fmla="*/ 1583689 w 2469948"/>
              <a:gd name="connsiteY7" fmla="*/ 137317 h 2646097"/>
              <a:gd name="connsiteX8" fmla="*/ 2427032 w 2469948"/>
              <a:gd name="connsiteY8" fmla="*/ 116535 h 2646097"/>
              <a:gd name="connsiteX9" fmla="*/ 2469128 w 2469948"/>
              <a:gd name="connsiteY9" fmla="*/ 2645254 h 2646097"/>
              <a:gd name="connsiteX10" fmla="*/ 2469948 w 2469948"/>
              <a:gd name="connsiteY10" fmla="*/ 2646097 h 2646097"/>
              <a:gd name="connsiteX11" fmla="*/ 1273431 w 2469948"/>
              <a:gd name="connsiteY11" fmla="*/ 2477604 h 2646097"/>
              <a:gd name="connsiteX0" fmla="*/ 1273431 w 2469948"/>
              <a:gd name="connsiteY0" fmla="*/ 2477604 h 2646097"/>
              <a:gd name="connsiteX1" fmla="*/ 209 w 2469948"/>
              <a:gd name="connsiteY1" fmla="*/ 2615645 h 2646097"/>
              <a:gd name="connsiteX2" fmla="*/ 890813 w 2469948"/>
              <a:gd name="connsiteY2" fmla="*/ 137317 h 2646097"/>
              <a:gd name="connsiteX3" fmla="*/ 984864 w 2469948"/>
              <a:gd name="connsiteY3" fmla="*/ 30111 h 2646097"/>
              <a:gd name="connsiteX4" fmla="*/ 1000643 w 2469948"/>
              <a:gd name="connsiteY4" fmla="*/ 11252 h 2646097"/>
              <a:gd name="connsiteX5" fmla="*/ 1243286 w 2469948"/>
              <a:gd name="connsiteY5" fmla="*/ 62180 h 2646097"/>
              <a:gd name="connsiteX6" fmla="*/ 1586829 w 2469948"/>
              <a:gd name="connsiteY6" fmla="*/ 131070 h 2646097"/>
              <a:gd name="connsiteX7" fmla="*/ 1583689 w 2469948"/>
              <a:gd name="connsiteY7" fmla="*/ 137317 h 2646097"/>
              <a:gd name="connsiteX8" fmla="*/ 2427032 w 2469948"/>
              <a:gd name="connsiteY8" fmla="*/ 116535 h 2646097"/>
              <a:gd name="connsiteX9" fmla="*/ 2469128 w 2469948"/>
              <a:gd name="connsiteY9" fmla="*/ 2645254 h 2646097"/>
              <a:gd name="connsiteX10" fmla="*/ 2469948 w 2469948"/>
              <a:gd name="connsiteY10" fmla="*/ 2646097 h 2646097"/>
              <a:gd name="connsiteX11" fmla="*/ 1273431 w 2469948"/>
              <a:gd name="connsiteY11" fmla="*/ 2477604 h 2646097"/>
              <a:gd name="connsiteX0" fmla="*/ 1578582 w 2775099"/>
              <a:gd name="connsiteY0" fmla="*/ 2477604 h 2763887"/>
              <a:gd name="connsiteX1" fmla="*/ 305360 w 2775099"/>
              <a:gd name="connsiteY1" fmla="*/ 2615645 h 2763887"/>
              <a:gd name="connsiteX2" fmla="*/ 60847 w 2775099"/>
              <a:gd name="connsiteY2" fmla="*/ 61643 h 2763887"/>
              <a:gd name="connsiteX3" fmla="*/ 1290015 w 2775099"/>
              <a:gd name="connsiteY3" fmla="*/ 30111 h 2763887"/>
              <a:gd name="connsiteX4" fmla="*/ 1305794 w 2775099"/>
              <a:gd name="connsiteY4" fmla="*/ 11252 h 2763887"/>
              <a:gd name="connsiteX5" fmla="*/ 1548437 w 2775099"/>
              <a:gd name="connsiteY5" fmla="*/ 62180 h 2763887"/>
              <a:gd name="connsiteX6" fmla="*/ 1891980 w 2775099"/>
              <a:gd name="connsiteY6" fmla="*/ 131070 h 2763887"/>
              <a:gd name="connsiteX7" fmla="*/ 1888840 w 2775099"/>
              <a:gd name="connsiteY7" fmla="*/ 137317 h 2763887"/>
              <a:gd name="connsiteX8" fmla="*/ 2732183 w 2775099"/>
              <a:gd name="connsiteY8" fmla="*/ 116535 h 2763887"/>
              <a:gd name="connsiteX9" fmla="*/ 2774279 w 2775099"/>
              <a:gd name="connsiteY9" fmla="*/ 2645254 h 2763887"/>
              <a:gd name="connsiteX10" fmla="*/ 2775099 w 2775099"/>
              <a:gd name="connsiteY10" fmla="*/ 2646097 h 2763887"/>
              <a:gd name="connsiteX11" fmla="*/ 1578582 w 2775099"/>
              <a:gd name="connsiteY11" fmla="*/ 2477604 h 2763887"/>
              <a:gd name="connsiteX0" fmla="*/ 1520678 w 2717195"/>
              <a:gd name="connsiteY0" fmla="*/ 2477604 h 2763887"/>
              <a:gd name="connsiteX1" fmla="*/ 247456 w 2717195"/>
              <a:gd name="connsiteY1" fmla="*/ 2615645 h 2763887"/>
              <a:gd name="connsiteX2" fmla="*/ 2943 w 2717195"/>
              <a:gd name="connsiteY2" fmla="*/ 61643 h 2763887"/>
              <a:gd name="connsiteX3" fmla="*/ 1232111 w 2717195"/>
              <a:gd name="connsiteY3" fmla="*/ 30111 h 2763887"/>
              <a:gd name="connsiteX4" fmla="*/ 1247890 w 2717195"/>
              <a:gd name="connsiteY4" fmla="*/ 11252 h 2763887"/>
              <a:gd name="connsiteX5" fmla="*/ 1490533 w 2717195"/>
              <a:gd name="connsiteY5" fmla="*/ 62180 h 2763887"/>
              <a:gd name="connsiteX6" fmla="*/ 1834076 w 2717195"/>
              <a:gd name="connsiteY6" fmla="*/ 131070 h 2763887"/>
              <a:gd name="connsiteX7" fmla="*/ 1830936 w 2717195"/>
              <a:gd name="connsiteY7" fmla="*/ 137317 h 2763887"/>
              <a:gd name="connsiteX8" fmla="*/ 2674279 w 2717195"/>
              <a:gd name="connsiteY8" fmla="*/ 116535 h 2763887"/>
              <a:gd name="connsiteX9" fmla="*/ 2716375 w 2717195"/>
              <a:gd name="connsiteY9" fmla="*/ 2645254 h 2763887"/>
              <a:gd name="connsiteX10" fmla="*/ 2717195 w 2717195"/>
              <a:gd name="connsiteY10" fmla="*/ 2646097 h 2763887"/>
              <a:gd name="connsiteX11" fmla="*/ 1520678 w 2717195"/>
              <a:gd name="connsiteY11" fmla="*/ 2477604 h 2763887"/>
              <a:gd name="connsiteX0" fmla="*/ 1380852 w 2577369"/>
              <a:gd name="connsiteY0" fmla="*/ 2477604 h 2765248"/>
              <a:gd name="connsiteX1" fmla="*/ 107630 w 2577369"/>
              <a:gd name="connsiteY1" fmla="*/ 2615645 h 2765248"/>
              <a:gd name="connsiteX2" fmla="*/ 77528 w 2577369"/>
              <a:gd name="connsiteY2" fmla="*/ 42725 h 2765248"/>
              <a:gd name="connsiteX3" fmla="*/ 1092285 w 2577369"/>
              <a:gd name="connsiteY3" fmla="*/ 30111 h 2765248"/>
              <a:gd name="connsiteX4" fmla="*/ 1108064 w 2577369"/>
              <a:gd name="connsiteY4" fmla="*/ 11252 h 2765248"/>
              <a:gd name="connsiteX5" fmla="*/ 1350707 w 2577369"/>
              <a:gd name="connsiteY5" fmla="*/ 62180 h 2765248"/>
              <a:gd name="connsiteX6" fmla="*/ 1694250 w 2577369"/>
              <a:gd name="connsiteY6" fmla="*/ 131070 h 2765248"/>
              <a:gd name="connsiteX7" fmla="*/ 1691110 w 2577369"/>
              <a:gd name="connsiteY7" fmla="*/ 137317 h 2765248"/>
              <a:gd name="connsiteX8" fmla="*/ 2534453 w 2577369"/>
              <a:gd name="connsiteY8" fmla="*/ 116535 h 2765248"/>
              <a:gd name="connsiteX9" fmla="*/ 2576549 w 2577369"/>
              <a:gd name="connsiteY9" fmla="*/ 2645254 h 2765248"/>
              <a:gd name="connsiteX10" fmla="*/ 2577369 w 2577369"/>
              <a:gd name="connsiteY10" fmla="*/ 2646097 h 2765248"/>
              <a:gd name="connsiteX11" fmla="*/ 1380852 w 2577369"/>
              <a:gd name="connsiteY11" fmla="*/ 2477604 h 2765248"/>
              <a:gd name="connsiteX0" fmla="*/ 1383352 w 2579869"/>
              <a:gd name="connsiteY0" fmla="*/ 2477604 h 2758901"/>
              <a:gd name="connsiteX1" fmla="*/ 110130 w 2579869"/>
              <a:gd name="connsiteY1" fmla="*/ 2615645 h 2758901"/>
              <a:gd name="connsiteX2" fmla="*/ 73722 w 2579869"/>
              <a:gd name="connsiteY2" fmla="*/ 131012 h 2758901"/>
              <a:gd name="connsiteX3" fmla="*/ 1094785 w 2579869"/>
              <a:gd name="connsiteY3" fmla="*/ 30111 h 2758901"/>
              <a:gd name="connsiteX4" fmla="*/ 1110564 w 2579869"/>
              <a:gd name="connsiteY4" fmla="*/ 11252 h 2758901"/>
              <a:gd name="connsiteX5" fmla="*/ 1353207 w 2579869"/>
              <a:gd name="connsiteY5" fmla="*/ 62180 h 2758901"/>
              <a:gd name="connsiteX6" fmla="*/ 1696750 w 2579869"/>
              <a:gd name="connsiteY6" fmla="*/ 131070 h 2758901"/>
              <a:gd name="connsiteX7" fmla="*/ 1693610 w 2579869"/>
              <a:gd name="connsiteY7" fmla="*/ 137317 h 2758901"/>
              <a:gd name="connsiteX8" fmla="*/ 2536953 w 2579869"/>
              <a:gd name="connsiteY8" fmla="*/ 116535 h 2758901"/>
              <a:gd name="connsiteX9" fmla="*/ 2579049 w 2579869"/>
              <a:gd name="connsiteY9" fmla="*/ 2645254 h 2758901"/>
              <a:gd name="connsiteX10" fmla="*/ 2579869 w 2579869"/>
              <a:gd name="connsiteY10" fmla="*/ 2646097 h 2758901"/>
              <a:gd name="connsiteX11" fmla="*/ 1383352 w 2579869"/>
              <a:gd name="connsiteY11" fmla="*/ 2477604 h 2758901"/>
              <a:gd name="connsiteX0" fmla="*/ 1383352 w 2579869"/>
              <a:gd name="connsiteY0" fmla="*/ 2447493 h 2728790"/>
              <a:gd name="connsiteX1" fmla="*/ 110130 w 2579869"/>
              <a:gd name="connsiteY1" fmla="*/ 2585534 h 2728790"/>
              <a:gd name="connsiteX2" fmla="*/ 73722 w 2579869"/>
              <a:gd name="connsiteY2" fmla="*/ 100901 h 2728790"/>
              <a:gd name="connsiteX3" fmla="*/ 1094785 w 2579869"/>
              <a:gd name="connsiteY3" fmla="*/ 0 h 2728790"/>
              <a:gd name="connsiteX4" fmla="*/ 959215 w 2579869"/>
              <a:gd name="connsiteY4" fmla="*/ 100959 h 2728790"/>
              <a:gd name="connsiteX5" fmla="*/ 1353207 w 2579869"/>
              <a:gd name="connsiteY5" fmla="*/ 32069 h 2728790"/>
              <a:gd name="connsiteX6" fmla="*/ 1696750 w 2579869"/>
              <a:gd name="connsiteY6" fmla="*/ 100959 h 2728790"/>
              <a:gd name="connsiteX7" fmla="*/ 1693610 w 2579869"/>
              <a:gd name="connsiteY7" fmla="*/ 107206 h 2728790"/>
              <a:gd name="connsiteX8" fmla="*/ 2536953 w 2579869"/>
              <a:gd name="connsiteY8" fmla="*/ 86424 h 2728790"/>
              <a:gd name="connsiteX9" fmla="*/ 2579049 w 2579869"/>
              <a:gd name="connsiteY9" fmla="*/ 2615143 h 2728790"/>
              <a:gd name="connsiteX10" fmla="*/ 2579869 w 2579869"/>
              <a:gd name="connsiteY10" fmla="*/ 2615986 h 2728790"/>
              <a:gd name="connsiteX11" fmla="*/ 1383352 w 2579869"/>
              <a:gd name="connsiteY11" fmla="*/ 2447493 h 2728790"/>
              <a:gd name="connsiteX0" fmla="*/ 1383352 w 2579869"/>
              <a:gd name="connsiteY0" fmla="*/ 2415424 h 2696721"/>
              <a:gd name="connsiteX1" fmla="*/ 110130 w 2579869"/>
              <a:gd name="connsiteY1" fmla="*/ 2553465 h 2696721"/>
              <a:gd name="connsiteX2" fmla="*/ 73722 w 2579869"/>
              <a:gd name="connsiteY2" fmla="*/ 68832 h 2696721"/>
              <a:gd name="connsiteX3" fmla="*/ 959215 w 2579869"/>
              <a:gd name="connsiteY3" fmla="*/ 68890 h 2696721"/>
              <a:gd name="connsiteX4" fmla="*/ 1353207 w 2579869"/>
              <a:gd name="connsiteY4" fmla="*/ 0 h 2696721"/>
              <a:gd name="connsiteX5" fmla="*/ 1696750 w 2579869"/>
              <a:gd name="connsiteY5" fmla="*/ 68890 h 2696721"/>
              <a:gd name="connsiteX6" fmla="*/ 1693610 w 2579869"/>
              <a:gd name="connsiteY6" fmla="*/ 75137 h 2696721"/>
              <a:gd name="connsiteX7" fmla="*/ 2536953 w 2579869"/>
              <a:gd name="connsiteY7" fmla="*/ 54355 h 2696721"/>
              <a:gd name="connsiteX8" fmla="*/ 2579049 w 2579869"/>
              <a:gd name="connsiteY8" fmla="*/ 2583074 h 2696721"/>
              <a:gd name="connsiteX9" fmla="*/ 2579869 w 2579869"/>
              <a:gd name="connsiteY9" fmla="*/ 2583917 h 2696721"/>
              <a:gd name="connsiteX10" fmla="*/ 1383352 w 2579869"/>
              <a:gd name="connsiteY10" fmla="*/ 2415424 h 2696721"/>
              <a:gd name="connsiteX0" fmla="*/ 1409953 w 2606470"/>
              <a:gd name="connsiteY0" fmla="*/ 2415424 h 2723647"/>
              <a:gd name="connsiteX1" fmla="*/ 98894 w 2606470"/>
              <a:gd name="connsiteY1" fmla="*/ 2584996 h 2723647"/>
              <a:gd name="connsiteX2" fmla="*/ 100323 w 2606470"/>
              <a:gd name="connsiteY2" fmla="*/ 68832 h 2723647"/>
              <a:gd name="connsiteX3" fmla="*/ 985816 w 2606470"/>
              <a:gd name="connsiteY3" fmla="*/ 68890 h 2723647"/>
              <a:gd name="connsiteX4" fmla="*/ 1379808 w 2606470"/>
              <a:gd name="connsiteY4" fmla="*/ 0 h 2723647"/>
              <a:gd name="connsiteX5" fmla="*/ 1723351 w 2606470"/>
              <a:gd name="connsiteY5" fmla="*/ 68890 h 2723647"/>
              <a:gd name="connsiteX6" fmla="*/ 1720211 w 2606470"/>
              <a:gd name="connsiteY6" fmla="*/ 75137 h 2723647"/>
              <a:gd name="connsiteX7" fmla="*/ 2563554 w 2606470"/>
              <a:gd name="connsiteY7" fmla="*/ 54355 h 2723647"/>
              <a:gd name="connsiteX8" fmla="*/ 2605650 w 2606470"/>
              <a:gd name="connsiteY8" fmla="*/ 2583074 h 2723647"/>
              <a:gd name="connsiteX9" fmla="*/ 2606470 w 2606470"/>
              <a:gd name="connsiteY9" fmla="*/ 2583917 h 2723647"/>
              <a:gd name="connsiteX10" fmla="*/ 1409953 w 2606470"/>
              <a:gd name="connsiteY10" fmla="*/ 2415424 h 2723647"/>
              <a:gd name="connsiteX0" fmla="*/ 1475920 w 2672437"/>
              <a:gd name="connsiteY0" fmla="*/ 2415424 h 2602604"/>
              <a:gd name="connsiteX1" fmla="*/ 164861 w 2672437"/>
              <a:gd name="connsiteY1" fmla="*/ 2584996 h 2602604"/>
              <a:gd name="connsiteX2" fmla="*/ 166290 w 2672437"/>
              <a:gd name="connsiteY2" fmla="*/ 68832 h 2602604"/>
              <a:gd name="connsiteX3" fmla="*/ 1051783 w 2672437"/>
              <a:gd name="connsiteY3" fmla="*/ 68890 h 2602604"/>
              <a:gd name="connsiteX4" fmla="*/ 1445775 w 2672437"/>
              <a:gd name="connsiteY4" fmla="*/ 0 h 2602604"/>
              <a:gd name="connsiteX5" fmla="*/ 1789318 w 2672437"/>
              <a:gd name="connsiteY5" fmla="*/ 68890 h 2602604"/>
              <a:gd name="connsiteX6" fmla="*/ 1786178 w 2672437"/>
              <a:gd name="connsiteY6" fmla="*/ 75137 h 2602604"/>
              <a:gd name="connsiteX7" fmla="*/ 2629521 w 2672437"/>
              <a:gd name="connsiteY7" fmla="*/ 54355 h 2602604"/>
              <a:gd name="connsiteX8" fmla="*/ 2671617 w 2672437"/>
              <a:gd name="connsiteY8" fmla="*/ 2583074 h 2602604"/>
              <a:gd name="connsiteX9" fmla="*/ 2672437 w 2672437"/>
              <a:gd name="connsiteY9" fmla="*/ 2583917 h 2602604"/>
              <a:gd name="connsiteX10" fmla="*/ 1475920 w 2672437"/>
              <a:gd name="connsiteY10" fmla="*/ 2415424 h 2602604"/>
              <a:gd name="connsiteX0" fmla="*/ 1475920 w 2672437"/>
              <a:gd name="connsiteY0" fmla="*/ 2415424 h 2602604"/>
              <a:gd name="connsiteX1" fmla="*/ 164861 w 2672437"/>
              <a:gd name="connsiteY1" fmla="*/ 2584996 h 2602604"/>
              <a:gd name="connsiteX2" fmla="*/ 166290 w 2672437"/>
              <a:gd name="connsiteY2" fmla="*/ 68832 h 2602604"/>
              <a:gd name="connsiteX3" fmla="*/ 1051783 w 2672437"/>
              <a:gd name="connsiteY3" fmla="*/ 68890 h 2602604"/>
              <a:gd name="connsiteX4" fmla="*/ 1445775 w 2672437"/>
              <a:gd name="connsiteY4" fmla="*/ 0 h 2602604"/>
              <a:gd name="connsiteX5" fmla="*/ 1789318 w 2672437"/>
              <a:gd name="connsiteY5" fmla="*/ 68890 h 2602604"/>
              <a:gd name="connsiteX6" fmla="*/ 1786178 w 2672437"/>
              <a:gd name="connsiteY6" fmla="*/ 75137 h 2602604"/>
              <a:gd name="connsiteX7" fmla="*/ 2629521 w 2672437"/>
              <a:gd name="connsiteY7" fmla="*/ 54355 h 2602604"/>
              <a:gd name="connsiteX8" fmla="*/ 2671617 w 2672437"/>
              <a:gd name="connsiteY8" fmla="*/ 2583074 h 2602604"/>
              <a:gd name="connsiteX9" fmla="*/ 2672437 w 2672437"/>
              <a:gd name="connsiteY9" fmla="*/ 2583917 h 2602604"/>
              <a:gd name="connsiteX10" fmla="*/ 1475920 w 2672437"/>
              <a:gd name="connsiteY10" fmla="*/ 2415424 h 2602604"/>
              <a:gd name="connsiteX0" fmla="*/ 1316833 w 2513350"/>
              <a:gd name="connsiteY0" fmla="*/ 2415424 h 2584996"/>
              <a:gd name="connsiteX1" fmla="*/ 5774 w 2513350"/>
              <a:gd name="connsiteY1" fmla="*/ 2584996 h 2584996"/>
              <a:gd name="connsiteX2" fmla="*/ 7203 w 2513350"/>
              <a:gd name="connsiteY2" fmla="*/ 68832 h 2584996"/>
              <a:gd name="connsiteX3" fmla="*/ 892696 w 2513350"/>
              <a:gd name="connsiteY3" fmla="*/ 68890 h 2584996"/>
              <a:gd name="connsiteX4" fmla="*/ 1286688 w 2513350"/>
              <a:gd name="connsiteY4" fmla="*/ 0 h 2584996"/>
              <a:gd name="connsiteX5" fmla="*/ 1630231 w 2513350"/>
              <a:gd name="connsiteY5" fmla="*/ 68890 h 2584996"/>
              <a:gd name="connsiteX6" fmla="*/ 1627091 w 2513350"/>
              <a:gd name="connsiteY6" fmla="*/ 75137 h 2584996"/>
              <a:gd name="connsiteX7" fmla="*/ 2470434 w 2513350"/>
              <a:gd name="connsiteY7" fmla="*/ 54355 h 2584996"/>
              <a:gd name="connsiteX8" fmla="*/ 2512530 w 2513350"/>
              <a:gd name="connsiteY8" fmla="*/ 2583074 h 2584996"/>
              <a:gd name="connsiteX9" fmla="*/ 2513350 w 2513350"/>
              <a:gd name="connsiteY9" fmla="*/ 2583917 h 2584996"/>
              <a:gd name="connsiteX10" fmla="*/ 1316833 w 2513350"/>
              <a:gd name="connsiteY10" fmla="*/ 2415424 h 2584996"/>
              <a:gd name="connsiteX0" fmla="*/ 1313352 w 2509869"/>
              <a:gd name="connsiteY0" fmla="*/ 2775017 h 2944589"/>
              <a:gd name="connsiteX1" fmla="*/ 2293 w 2509869"/>
              <a:gd name="connsiteY1" fmla="*/ 2944589 h 2944589"/>
              <a:gd name="connsiteX2" fmla="*/ 16511 w 2509869"/>
              <a:gd name="connsiteY2" fmla="*/ 0 h 2944589"/>
              <a:gd name="connsiteX3" fmla="*/ 889215 w 2509869"/>
              <a:gd name="connsiteY3" fmla="*/ 428483 h 2944589"/>
              <a:gd name="connsiteX4" fmla="*/ 1283207 w 2509869"/>
              <a:gd name="connsiteY4" fmla="*/ 359593 h 2944589"/>
              <a:gd name="connsiteX5" fmla="*/ 1626750 w 2509869"/>
              <a:gd name="connsiteY5" fmla="*/ 428483 h 2944589"/>
              <a:gd name="connsiteX6" fmla="*/ 1623610 w 2509869"/>
              <a:gd name="connsiteY6" fmla="*/ 434730 h 2944589"/>
              <a:gd name="connsiteX7" fmla="*/ 2466953 w 2509869"/>
              <a:gd name="connsiteY7" fmla="*/ 413948 h 2944589"/>
              <a:gd name="connsiteX8" fmla="*/ 2509049 w 2509869"/>
              <a:gd name="connsiteY8" fmla="*/ 2942667 h 2944589"/>
              <a:gd name="connsiteX9" fmla="*/ 2509869 w 2509869"/>
              <a:gd name="connsiteY9" fmla="*/ 2943510 h 2944589"/>
              <a:gd name="connsiteX10" fmla="*/ 1313352 w 2509869"/>
              <a:gd name="connsiteY10" fmla="*/ 2775017 h 2944589"/>
              <a:gd name="connsiteX0" fmla="*/ 1313352 w 2509869"/>
              <a:gd name="connsiteY0" fmla="*/ 2775017 h 2944589"/>
              <a:gd name="connsiteX1" fmla="*/ 2293 w 2509869"/>
              <a:gd name="connsiteY1" fmla="*/ 2944589 h 2944589"/>
              <a:gd name="connsiteX2" fmla="*/ 16511 w 2509869"/>
              <a:gd name="connsiteY2" fmla="*/ 0 h 2944589"/>
              <a:gd name="connsiteX3" fmla="*/ 889215 w 2509869"/>
              <a:gd name="connsiteY3" fmla="*/ 428483 h 2944589"/>
              <a:gd name="connsiteX4" fmla="*/ 1283207 w 2509869"/>
              <a:gd name="connsiteY4" fmla="*/ 359593 h 2944589"/>
              <a:gd name="connsiteX5" fmla="*/ 1626750 w 2509869"/>
              <a:gd name="connsiteY5" fmla="*/ 428483 h 2944589"/>
              <a:gd name="connsiteX6" fmla="*/ 1623610 w 2509869"/>
              <a:gd name="connsiteY6" fmla="*/ 434730 h 2944589"/>
              <a:gd name="connsiteX7" fmla="*/ 2466953 w 2509869"/>
              <a:gd name="connsiteY7" fmla="*/ 413948 h 2944589"/>
              <a:gd name="connsiteX8" fmla="*/ 2509049 w 2509869"/>
              <a:gd name="connsiteY8" fmla="*/ 2942667 h 2944589"/>
              <a:gd name="connsiteX9" fmla="*/ 2509869 w 2509869"/>
              <a:gd name="connsiteY9" fmla="*/ 2943510 h 2944589"/>
              <a:gd name="connsiteX10" fmla="*/ 1313352 w 2509869"/>
              <a:gd name="connsiteY10" fmla="*/ 2775017 h 2944589"/>
              <a:gd name="connsiteX0" fmla="*/ 1313352 w 2509869"/>
              <a:gd name="connsiteY0" fmla="*/ 2775017 h 2944589"/>
              <a:gd name="connsiteX1" fmla="*/ 2293 w 2509869"/>
              <a:gd name="connsiteY1" fmla="*/ 2944589 h 2944589"/>
              <a:gd name="connsiteX2" fmla="*/ 16511 w 2509869"/>
              <a:gd name="connsiteY2" fmla="*/ 0 h 2944589"/>
              <a:gd name="connsiteX3" fmla="*/ 889215 w 2509869"/>
              <a:gd name="connsiteY3" fmla="*/ 428483 h 2944589"/>
              <a:gd name="connsiteX4" fmla="*/ 1283207 w 2509869"/>
              <a:gd name="connsiteY4" fmla="*/ 359593 h 2944589"/>
              <a:gd name="connsiteX5" fmla="*/ 1626750 w 2509869"/>
              <a:gd name="connsiteY5" fmla="*/ 428483 h 2944589"/>
              <a:gd name="connsiteX6" fmla="*/ 1623610 w 2509869"/>
              <a:gd name="connsiteY6" fmla="*/ 434730 h 2944589"/>
              <a:gd name="connsiteX7" fmla="*/ 2466953 w 2509869"/>
              <a:gd name="connsiteY7" fmla="*/ 413948 h 2944589"/>
              <a:gd name="connsiteX8" fmla="*/ 2509049 w 2509869"/>
              <a:gd name="connsiteY8" fmla="*/ 2942667 h 2944589"/>
              <a:gd name="connsiteX9" fmla="*/ 2509869 w 2509869"/>
              <a:gd name="connsiteY9" fmla="*/ 2943510 h 2944589"/>
              <a:gd name="connsiteX10" fmla="*/ 1313352 w 2509869"/>
              <a:gd name="connsiteY10" fmla="*/ 2775017 h 2944589"/>
              <a:gd name="connsiteX0" fmla="*/ 1313352 w 2509869"/>
              <a:gd name="connsiteY0" fmla="*/ 2775017 h 2944589"/>
              <a:gd name="connsiteX1" fmla="*/ 2293 w 2509869"/>
              <a:gd name="connsiteY1" fmla="*/ 2944589 h 2944589"/>
              <a:gd name="connsiteX2" fmla="*/ 16511 w 2509869"/>
              <a:gd name="connsiteY2" fmla="*/ 0 h 2944589"/>
              <a:gd name="connsiteX3" fmla="*/ 889215 w 2509869"/>
              <a:gd name="connsiteY3" fmla="*/ 428483 h 2944589"/>
              <a:gd name="connsiteX4" fmla="*/ 1283207 w 2509869"/>
              <a:gd name="connsiteY4" fmla="*/ 359593 h 2944589"/>
              <a:gd name="connsiteX5" fmla="*/ 1626750 w 2509869"/>
              <a:gd name="connsiteY5" fmla="*/ 428483 h 2944589"/>
              <a:gd name="connsiteX6" fmla="*/ 1623610 w 2509869"/>
              <a:gd name="connsiteY6" fmla="*/ 434730 h 2944589"/>
              <a:gd name="connsiteX7" fmla="*/ 2466953 w 2509869"/>
              <a:gd name="connsiteY7" fmla="*/ 413948 h 2944589"/>
              <a:gd name="connsiteX8" fmla="*/ 2509049 w 2509869"/>
              <a:gd name="connsiteY8" fmla="*/ 2942667 h 2944589"/>
              <a:gd name="connsiteX9" fmla="*/ 2509869 w 2509869"/>
              <a:gd name="connsiteY9" fmla="*/ 2943510 h 2944589"/>
              <a:gd name="connsiteX10" fmla="*/ 1313352 w 2509869"/>
              <a:gd name="connsiteY10" fmla="*/ 2775017 h 2944589"/>
              <a:gd name="connsiteX0" fmla="*/ 1313352 w 2509869"/>
              <a:gd name="connsiteY0" fmla="*/ 2833159 h 3002731"/>
              <a:gd name="connsiteX1" fmla="*/ 2293 w 2509869"/>
              <a:gd name="connsiteY1" fmla="*/ 3002731 h 3002731"/>
              <a:gd name="connsiteX2" fmla="*/ 16511 w 2509869"/>
              <a:gd name="connsiteY2" fmla="*/ 58142 h 3002731"/>
              <a:gd name="connsiteX3" fmla="*/ 889215 w 2509869"/>
              <a:gd name="connsiteY3" fmla="*/ 486625 h 3002731"/>
              <a:gd name="connsiteX4" fmla="*/ 1283207 w 2509869"/>
              <a:gd name="connsiteY4" fmla="*/ 417735 h 3002731"/>
              <a:gd name="connsiteX5" fmla="*/ 1626750 w 2509869"/>
              <a:gd name="connsiteY5" fmla="*/ 486625 h 3002731"/>
              <a:gd name="connsiteX6" fmla="*/ 1623610 w 2509869"/>
              <a:gd name="connsiteY6" fmla="*/ 492872 h 3002731"/>
              <a:gd name="connsiteX7" fmla="*/ 2466953 w 2509869"/>
              <a:gd name="connsiteY7" fmla="*/ 472090 h 3002731"/>
              <a:gd name="connsiteX8" fmla="*/ 2509049 w 2509869"/>
              <a:gd name="connsiteY8" fmla="*/ 3000809 h 3002731"/>
              <a:gd name="connsiteX9" fmla="*/ 2509869 w 2509869"/>
              <a:gd name="connsiteY9" fmla="*/ 3001652 h 3002731"/>
              <a:gd name="connsiteX10" fmla="*/ 1313352 w 2509869"/>
              <a:gd name="connsiteY10" fmla="*/ 2833159 h 3002731"/>
              <a:gd name="connsiteX0" fmla="*/ 1313352 w 2509869"/>
              <a:gd name="connsiteY0" fmla="*/ 3015613 h 3185185"/>
              <a:gd name="connsiteX1" fmla="*/ 2293 w 2509869"/>
              <a:gd name="connsiteY1" fmla="*/ 3185185 h 3185185"/>
              <a:gd name="connsiteX2" fmla="*/ 16511 w 2509869"/>
              <a:gd name="connsiteY2" fmla="*/ 240596 h 3185185"/>
              <a:gd name="connsiteX3" fmla="*/ 728615 w 2509869"/>
              <a:gd name="connsiteY3" fmla="*/ 225217 h 3185185"/>
              <a:gd name="connsiteX4" fmla="*/ 889215 w 2509869"/>
              <a:gd name="connsiteY4" fmla="*/ 669079 h 3185185"/>
              <a:gd name="connsiteX5" fmla="*/ 1283207 w 2509869"/>
              <a:gd name="connsiteY5" fmla="*/ 600189 h 3185185"/>
              <a:gd name="connsiteX6" fmla="*/ 1626750 w 2509869"/>
              <a:gd name="connsiteY6" fmla="*/ 669079 h 3185185"/>
              <a:gd name="connsiteX7" fmla="*/ 1623610 w 2509869"/>
              <a:gd name="connsiteY7" fmla="*/ 675326 h 3185185"/>
              <a:gd name="connsiteX8" fmla="*/ 2466953 w 2509869"/>
              <a:gd name="connsiteY8" fmla="*/ 654544 h 3185185"/>
              <a:gd name="connsiteX9" fmla="*/ 2509049 w 2509869"/>
              <a:gd name="connsiteY9" fmla="*/ 3183263 h 3185185"/>
              <a:gd name="connsiteX10" fmla="*/ 2509869 w 2509869"/>
              <a:gd name="connsiteY10" fmla="*/ 3184106 h 3185185"/>
              <a:gd name="connsiteX11" fmla="*/ 1313352 w 2509869"/>
              <a:gd name="connsiteY11" fmla="*/ 3015613 h 3185185"/>
              <a:gd name="connsiteX0" fmla="*/ 1313352 w 2509869"/>
              <a:gd name="connsiteY0" fmla="*/ 3015613 h 3185185"/>
              <a:gd name="connsiteX1" fmla="*/ 2293 w 2509869"/>
              <a:gd name="connsiteY1" fmla="*/ 3185185 h 3185185"/>
              <a:gd name="connsiteX2" fmla="*/ 16511 w 2509869"/>
              <a:gd name="connsiteY2" fmla="*/ 240596 h 3185185"/>
              <a:gd name="connsiteX3" fmla="*/ 728615 w 2509869"/>
              <a:gd name="connsiteY3" fmla="*/ 225217 h 3185185"/>
              <a:gd name="connsiteX4" fmla="*/ 889215 w 2509869"/>
              <a:gd name="connsiteY4" fmla="*/ 669079 h 3185185"/>
              <a:gd name="connsiteX5" fmla="*/ 1283207 w 2509869"/>
              <a:gd name="connsiteY5" fmla="*/ 600189 h 3185185"/>
              <a:gd name="connsiteX6" fmla="*/ 1626750 w 2509869"/>
              <a:gd name="connsiteY6" fmla="*/ 669079 h 3185185"/>
              <a:gd name="connsiteX7" fmla="*/ 1623610 w 2509869"/>
              <a:gd name="connsiteY7" fmla="*/ 675326 h 3185185"/>
              <a:gd name="connsiteX8" fmla="*/ 2466953 w 2509869"/>
              <a:gd name="connsiteY8" fmla="*/ 654544 h 3185185"/>
              <a:gd name="connsiteX9" fmla="*/ 2509049 w 2509869"/>
              <a:gd name="connsiteY9" fmla="*/ 3183263 h 3185185"/>
              <a:gd name="connsiteX10" fmla="*/ 2509869 w 2509869"/>
              <a:gd name="connsiteY10" fmla="*/ 3184106 h 3185185"/>
              <a:gd name="connsiteX11" fmla="*/ 1313352 w 2509869"/>
              <a:gd name="connsiteY11" fmla="*/ 3015613 h 3185185"/>
              <a:gd name="connsiteX0" fmla="*/ 1313352 w 2509869"/>
              <a:gd name="connsiteY0" fmla="*/ 3015613 h 3185185"/>
              <a:gd name="connsiteX1" fmla="*/ 2293 w 2509869"/>
              <a:gd name="connsiteY1" fmla="*/ 3185185 h 3185185"/>
              <a:gd name="connsiteX2" fmla="*/ 16511 w 2509869"/>
              <a:gd name="connsiteY2" fmla="*/ 240596 h 3185185"/>
              <a:gd name="connsiteX3" fmla="*/ 728615 w 2509869"/>
              <a:gd name="connsiteY3" fmla="*/ 225217 h 3185185"/>
              <a:gd name="connsiteX4" fmla="*/ 889215 w 2509869"/>
              <a:gd name="connsiteY4" fmla="*/ 669079 h 3185185"/>
              <a:gd name="connsiteX5" fmla="*/ 1283207 w 2509869"/>
              <a:gd name="connsiteY5" fmla="*/ 600189 h 3185185"/>
              <a:gd name="connsiteX6" fmla="*/ 1626750 w 2509869"/>
              <a:gd name="connsiteY6" fmla="*/ 669079 h 3185185"/>
              <a:gd name="connsiteX7" fmla="*/ 1623610 w 2509869"/>
              <a:gd name="connsiteY7" fmla="*/ 675326 h 3185185"/>
              <a:gd name="connsiteX8" fmla="*/ 2466953 w 2509869"/>
              <a:gd name="connsiteY8" fmla="*/ 654544 h 3185185"/>
              <a:gd name="connsiteX9" fmla="*/ 2509049 w 2509869"/>
              <a:gd name="connsiteY9" fmla="*/ 3183263 h 3185185"/>
              <a:gd name="connsiteX10" fmla="*/ 2509869 w 2509869"/>
              <a:gd name="connsiteY10" fmla="*/ 3184106 h 3185185"/>
              <a:gd name="connsiteX11" fmla="*/ 1313352 w 2509869"/>
              <a:gd name="connsiteY11" fmla="*/ 3015613 h 3185185"/>
              <a:gd name="connsiteX0" fmla="*/ 1313352 w 2509869"/>
              <a:gd name="connsiteY0" fmla="*/ 3013685 h 3183257"/>
              <a:gd name="connsiteX1" fmla="*/ 2293 w 2509869"/>
              <a:gd name="connsiteY1" fmla="*/ 3183257 h 3183257"/>
              <a:gd name="connsiteX2" fmla="*/ 16511 w 2509869"/>
              <a:gd name="connsiteY2" fmla="*/ 238668 h 3183257"/>
              <a:gd name="connsiteX3" fmla="*/ 837320 w 2509869"/>
              <a:gd name="connsiteY3" fmla="*/ 229684 h 3183257"/>
              <a:gd name="connsiteX4" fmla="*/ 889215 w 2509869"/>
              <a:gd name="connsiteY4" fmla="*/ 667151 h 3183257"/>
              <a:gd name="connsiteX5" fmla="*/ 1283207 w 2509869"/>
              <a:gd name="connsiteY5" fmla="*/ 598261 h 3183257"/>
              <a:gd name="connsiteX6" fmla="*/ 1626750 w 2509869"/>
              <a:gd name="connsiteY6" fmla="*/ 667151 h 3183257"/>
              <a:gd name="connsiteX7" fmla="*/ 1623610 w 2509869"/>
              <a:gd name="connsiteY7" fmla="*/ 673398 h 3183257"/>
              <a:gd name="connsiteX8" fmla="*/ 2466953 w 2509869"/>
              <a:gd name="connsiteY8" fmla="*/ 652616 h 3183257"/>
              <a:gd name="connsiteX9" fmla="*/ 2509049 w 2509869"/>
              <a:gd name="connsiteY9" fmla="*/ 3181335 h 3183257"/>
              <a:gd name="connsiteX10" fmla="*/ 2509869 w 2509869"/>
              <a:gd name="connsiteY10" fmla="*/ 3182178 h 3183257"/>
              <a:gd name="connsiteX11" fmla="*/ 1313352 w 2509869"/>
              <a:gd name="connsiteY11" fmla="*/ 3013685 h 3183257"/>
              <a:gd name="connsiteX0" fmla="*/ 1313352 w 2509869"/>
              <a:gd name="connsiteY0" fmla="*/ 3013685 h 3183257"/>
              <a:gd name="connsiteX1" fmla="*/ 2293 w 2509869"/>
              <a:gd name="connsiteY1" fmla="*/ 3183257 h 3183257"/>
              <a:gd name="connsiteX2" fmla="*/ 16511 w 2509869"/>
              <a:gd name="connsiteY2" fmla="*/ 238668 h 3183257"/>
              <a:gd name="connsiteX3" fmla="*/ 837320 w 2509869"/>
              <a:gd name="connsiteY3" fmla="*/ 229684 h 3183257"/>
              <a:gd name="connsiteX4" fmla="*/ 889215 w 2509869"/>
              <a:gd name="connsiteY4" fmla="*/ 667151 h 3183257"/>
              <a:gd name="connsiteX5" fmla="*/ 1283207 w 2509869"/>
              <a:gd name="connsiteY5" fmla="*/ 598261 h 3183257"/>
              <a:gd name="connsiteX6" fmla="*/ 1626750 w 2509869"/>
              <a:gd name="connsiteY6" fmla="*/ 667151 h 3183257"/>
              <a:gd name="connsiteX7" fmla="*/ 1623610 w 2509869"/>
              <a:gd name="connsiteY7" fmla="*/ 673398 h 3183257"/>
              <a:gd name="connsiteX8" fmla="*/ 2466953 w 2509869"/>
              <a:gd name="connsiteY8" fmla="*/ 652616 h 3183257"/>
              <a:gd name="connsiteX9" fmla="*/ 2509049 w 2509869"/>
              <a:gd name="connsiteY9" fmla="*/ 3181335 h 3183257"/>
              <a:gd name="connsiteX10" fmla="*/ 2509869 w 2509869"/>
              <a:gd name="connsiteY10" fmla="*/ 3182178 h 3183257"/>
              <a:gd name="connsiteX11" fmla="*/ 1313352 w 2509869"/>
              <a:gd name="connsiteY11" fmla="*/ 3013685 h 3183257"/>
              <a:gd name="connsiteX0" fmla="*/ 1313352 w 2509869"/>
              <a:gd name="connsiteY0" fmla="*/ 3011786 h 3181358"/>
              <a:gd name="connsiteX1" fmla="*/ 2293 w 2509869"/>
              <a:gd name="connsiteY1" fmla="*/ 3181358 h 3181358"/>
              <a:gd name="connsiteX2" fmla="*/ 16511 w 2509869"/>
              <a:gd name="connsiteY2" fmla="*/ 236769 h 3181358"/>
              <a:gd name="connsiteX3" fmla="*/ 869292 w 2509869"/>
              <a:gd name="connsiteY3" fmla="*/ 234179 h 3181358"/>
              <a:gd name="connsiteX4" fmla="*/ 889215 w 2509869"/>
              <a:gd name="connsiteY4" fmla="*/ 665252 h 3181358"/>
              <a:gd name="connsiteX5" fmla="*/ 1283207 w 2509869"/>
              <a:gd name="connsiteY5" fmla="*/ 596362 h 3181358"/>
              <a:gd name="connsiteX6" fmla="*/ 1626750 w 2509869"/>
              <a:gd name="connsiteY6" fmla="*/ 665252 h 3181358"/>
              <a:gd name="connsiteX7" fmla="*/ 1623610 w 2509869"/>
              <a:gd name="connsiteY7" fmla="*/ 671499 h 3181358"/>
              <a:gd name="connsiteX8" fmla="*/ 2466953 w 2509869"/>
              <a:gd name="connsiteY8" fmla="*/ 650717 h 3181358"/>
              <a:gd name="connsiteX9" fmla="*/ 2509049 w 2509869"/>
              <a:gd name="connsiteY9" fmla="*/ 3179436 h 3181358"/>
              <a:gd name="connsiteX10" fmla="*/ 2509869 w 2509869"/>
              <a:gd name="connsiteY10" fmla="*/ 3180279 h 3181358"/>
              <a:gd name="connsiteX11" fmla="*/ 1313352 w 2509869"/>
              <a:gd name="connsiteY11" fmla="*/ 3011786 h 3181358"/>
              <a:gd name="connsiteX0" fmla="*/ 1313352 w 2509869"/>
              <a:gd name="connsiteY0" fmla="*/ 2992354 h 3161926"/>
              <a:gd name="connsiteX1" fmla="*/ 2293 w 2509869"/>
              <a:gd name="connsiteY1" fmla="*/ 3161926 h 3161926"/>
              <a:gd name="connsiteX2" fmla="*/ 16511 w 2509869"/>
              <a:gd name="connsiteY2" fmla="*/ 217337 h 3161926"/>
              <a:gd name="connsiteX3" fmla="*/ 869292 w 2509869"/>
              <a:gd name="connsiteY3" fmla="*/ 214747 h 3161926"/>
              <a:gd name="connsiteX4" fmla="*/ 889215 w 2509869"/>
              <a:gd name="connsiteY4" fmla="*/ 645820 h 3161926"/>
              <a:gd name="connsiteX5" fmla="*/ 1283207 w 2509869"/>
              <a:gd name="connsiteY5" fmla="*/ 576930 h 3161926"/>
              <a:gd name="connsiteX6" fmla="*/ 1626750 w 2509869"/>
              <a:gd name="connsiteY6" fmla="*/ 645820 h 3161926"/>
              <a:gd name="connsiteX7" fmla="*/ 1623610 w 2509869"/>
              <a:gd name="connsiteY7" fmla="*/ 652067 h 3161926"/>
              <a:gd name="connsiteX8" fmla="*/ 2466953 w 2509869"/>
              <a:gd name="connsiteY8" fmla="*/ 631285 h 3161926"/>
              <a:gd name="connsiteX9" fmla="*/ 2509049 w 2509869"/>
              <a:gd name="connsiteY9" fmla="*/ 3160004 h 3161926"/>
              <a:gd name="connsiteX10" fmla="*/ 2509869 w 2509869"/>
              <a:gd name="connsiteY10" fmla="*/ 3160847 h 3161926"/>
              <a:gd name="connsiteX11" fmla="*/ 1313352 w 2509869"/>
              <a:gd name="connsiteY11" fmla="*/ 2992354 h 3161926"/>
              <a:gd name="connsiteX0" fmla="*/ 1313352 w 2509869"/>
              <a:gd name="connsiteY0" fmla="*/ 2777607 h 2947179"/>
              <a:gd name="connsiteX1" fmla="*/ 2293 w 2509869"/>
              <a:gd name="connsiteY1" fmla="*/ 2947179 h 2947179"/>
              <a:gd name="connsiteX2" fmla="*/ 16511 w 2509869"/>
              <a:gd name="connsiteY2" fmla="*/ 2590 h 2947179"/>
              <a:gd name="connsiteX3" fmla="*/ 869292 w 2509869"/>
              <a:gd name="connsiteY3" fmla="*/ 0 h 2947179"/>
              <a:gd name="connsiteX4" fmla="*/ 889215 w 2509869"/>
              <a:gd name="connsiteY4" fmla="*/ 431073 h 2947179"/>
              <a:gd name="connsiteX5" fmla="*/ 1283207 w 2509869"/>
              <a:gd name="connsiteY5" fmla="*/ 362183 h 2947179"/>
              <a:gd name="connsiteX6" fmla="*/ 1626750 w 2509869"/>
              <a:gd name="connsiteY6" fmla="*/ 431073 h 2947179"/>
              <a:gd name="connsiteX7" fmla="*/ 1623610 w 2509869"/>
              <a:gd name="connsiteY7" fmla="*/ 437320 h 2947179"/>
              <a:gd name="connsiteX8" fmla="*/ 2466953 w 2509869"/>
              <a:gd name="connsiteY8" fmla="*/ 416538 h 2947179"/>
              <a:gd name="connsiteX9" fmla="*/ 2509049 w 2509869"/>
              <a:gd name="connsiteY9" fmla="*/ 2945257 h 2947179"/>
              <a:gd name="connsiteX10" fmla="*/ 2509869 w 2509869"/>
              <a:gd name="connsiteY10" fmla="*/ 2946100 h 2947179"/>
              <a:gd name="connsiteX11" fmla="*/ 1313352 w 2509869"/>
              <a:gd name="connsiteY11" fmla="*/ 2777607 h 2947179"/>
              <a:gd name="connsiteX0" fmla="*/ 1313352 w 2509869"/>
              <a:gd name="connsiteY0" fmla="*/ 2777607 h 2947179"/>
              <a:gd name="connsiteX1" fmla="*/ 2293 w 2509869"/>
              <a:gd name="connsiteY1" fmla="*/ 2947179 h 2947179"/>
              <a:gd name="connsiteX2" fmla="*/ 16511 w 2509869"/>
              <a:gd name="connsiteY2" fmla="*/ 2590 h 2947179"/>
              <a:gd name="connsiteX3" fmla="*/ 869292 w 2509869"/>
              <a:gd name="connsiteY3" fmla="*/ 0 h 2947179"/>
              <a:gd name="connsiteX4" fmla="*/ 889215 w 2509869"/>
              <a:gd name="connsiteY4" fmla="*/ 431073 h 2947179"/>
              <a:gd name="connsiteX5" fmla="*/ 1283207 w 2509869"/>
              <a:gd name="connsiteY5" fmla="*/ 362183 h 2947179"/>
              <a:gd name="connsiteX6" fmla="*/ 1626750 w 2509869"/>
              <a:gd name="connsiteY6" fmla="*/ 431073 h 2947179"/>
              <a:gd name="connsiteX7" fmla="*/ 1623610 w 2509869"/>
              <a:gd name="connsiteY7" fmla="*/ 437320 h 2947179"/>
              <a:gd name="connsiteX8" fmla="*/ 1905185 w 2509869"/>
              <a:gd name="connsiteY8" fmla="*/ 434819 h 2947179"/>
              <a:gd name="connsiteX9" fmla="*/ 2466953 w 2509869"/>
              <a:gd name="connsiteY9" fmla="*/ 416538 h 2947179"/>
              <a:gd name="connsiteX10" fmla="*/ 2509049 w 2509869"/>
              <a:gd name="connsiteY10" fmla="*/ 2945257 h 2947179"/>
              <a:gd name="connsiteX11" fmla="*/ 2509869 w 2509869"/>
              <a:gd name="connsiteY11" fmla="*/ 2946100 h 2947179"/>
              <a:gd name="connsiteX12" fmla="*/ 1313352 w 2509869"/>
              <a:gd name="connsiteY12" fmla="*/ 2777607 h 2947179"/>
              <a:gd name="connsiteX0" fmla="*/ 1313352 w 2509869"/>
              <a:gd name="connsiteY0" fmla="*/ 2777607 h 2947179"/>
              <a:gd name="connsiteX1" fmla="*/ 2293 w 2509869"/>
              <a:gd name="connsiteY1" fmla="*/ 2947179 h 2947179"/>
              <a:gd name="connsiteX2" fmla="*/ 16511 w 2509869"/>
              <a:gd name="connsiteY2" fmla="*/ 2590 h 2947179"/>
              <a:gd name="connsiteX3" fmla="*/ 869292 w 2509869"/>
              <a:gd name="connsiteY3" fmla="*/ 0 h 2947179"/>
              <a:gd name="connsiteX4" fmla="*/ 889215 w 2509869"/>
              <a:gd name="connsiteY4" fmla="*/ 431073 h 2947179"/>
              <a:gd name="connsiteX5" fmla="*/ 1283207 w 2509869"/>
              <a:gd name="connsiteY5" fmla="*/ 362183 h 2947179"/>
              <a:gd name="connsiteX6" fmla="*/ 1626750 w 2509869"/>
              <a:gd name="connsiteY6" fmla="*/ 431073 h 2947179"/>
              <a:gd name="connsiteX7" fmla="*/ 1623610 w 2509869"/>
              <a:gd name="connsiteY7" fmla="*/ 437320 h 2947179"/>
              <a:gd name="connsiteX8" fmla="*/ 1623831 w 2509869"/>
              <a:gd name="connsiteY8" fmla="*/ 12788 h 2947179"/>
              <a:gd name="connsiteX9" fmla="*/ 2466953 w 2509869"/>
              <a:gd name="connsiteY9" fmla="*/ 416538 h 2947179"/>
              <a:gd name="connsiteX10" fmla="*/ 2509049 w 2509869"/>
              <a:gd name="connsiteY10" fmla="*/ 2945257 h 2947179"/>
              <a:gd name="connsiteX11" fmla="*/ 2509869 w 2509869"/>
              <a:gd name="connsiteY11" fmla="*/ 2946100 h 2947179"/>
              <a:gd name="connsiteX12" fmla="*/ 1313352 w 2509869"/>
              <a:gd name="connsiteY12" fmla="*/ 2777607 h 2947179"/>
              <a:gd name="connsiteX0" fmla="*/ 1313352 w 2509869"/>
              <a:gd name="connsiteY0" fmla="*/ 2777607 h 2947179"/>
              <a:gd name="connsiteX1" fmla="*/ 2293 w 2509869"/>
              <a:gd name="connsiteY1" fmla="*/ 2947179 h 2947179"/>
              <a:gd name="connsiteX2" fmla="*/ 16511 w 2509869"/>
              <a:gd name="connsiteY2" fmla="*/ 2590 h 2947179"/>
              <a:gd name="connsiteX3" fmla="*/ 869292 w 2509869"/>
              <a:gd name="connsiteY3" fmla="*/ 0 h 2947179"/>
              <a:gd name="connsiteX4" fmla="*/ 889215 w 2509869"/>
              <a:gd name="connsiteY4" fmla="*/ 431073 h 2947179"/>
              <a:gd name="connsiteX5" fmla="*/ 1283207 w 2509869"/>
              <a:gd name="connsiteY5" fmla="*/ 362183 h 2947179"/>
              <a:gd name="connsiteX6" fmla="*/ 1626750 w 2509869"/>
              <a:gd name="connsiteY6" fmla="*/ 431073 h 2947179"/>
              <a:gd name="connsiteX7" fmla="*/ 1623610 w 2509869"/>
              <a:gd name="connsiteY7" fmla="*/ 437320 h 2947179"/>
              <a:gd name="connsiteX8" fmla="*/ 1623831 w 2509869"/>
              <a:gd name="connsiteY8" fmla="*/ 12788 h 2947179"/>
              <a:gd name="connsiteX9" fmla="*/ 2492531 w 2509869"/>
              <a:gd name="connsiteY9" fmla="*/ 39268 h 2947179"/>
              <a:gd name="connsiteX10" fmla="*/ 2509049 w 2509869"/>
              <a:gd name="connsiteY10" fmla="*/ 2945257 h 2947179"/>
              <a:gd name="connsiteX11" fmla="*/ 2509869 w 2509869"/>
              <a:gd name="connsiteY11" fmla="*/ 2946100 h 2947179"/>
              <a:gd name="connsiteX12" fmla="*/ 1313352 w 2509869"/>
              <a:gd name="connsiteY12" fmla="*/ 2777607 h 2947179"/>
              <a:gd name="connsiteX0" fmla="*/ 1313352 w 2509869"/>
              <a:gd name="connsiteY0" fmla="*/ 2777607 h 2947179"/>
              <a:gd name="connsiteX1" fmla="*/ 2293 w 2509869"/>
              <a:gd name="connsiteY1" fmla="*/ 2947179 h 2947179"/>
              <a:gd name="connsiteX2" fmla="*/ 16511 w 2509869"/>
              <a:gd name="connsiteY2" fmla="*/ 2590 h 2947179"/>
              <a:gd name="connsiteX3" fmla="*/ 869292 w 2509869"/>
              <a:gd name="connsiteY3" fmla="*/ 0 h 2947179"/>
              <a:gd name="connsiteX4" fmla="*/ 889215 w 2509869"/>
              <a:gd name="connsiteY4" fmla="*/ 431073 h 2947179"/>
              <a:gd name="connsiteX5" fmla="*/ 1283207 w 2509869"/>
              <a:gd name="connsiteY5" fmla="*/ 362183 h 2947179"/>
              <a:gd name="connsiteX6" fmla="*/ 1626750 w 2509869"/>
              <a:gd name="connsiteY6" fmla="*/ 431073 h 2947179"/>
              <a:gd name="connsiteX7" fmla="*/ 1623610 w 2509869"/>
              <a:gd name="connsiteY7" fmla="*/ 437320 h 2947179"/>
              <a:gd name="connsiteX8" fmla="*/ 1623831 w 2509869"/>
              <a:gd name="connsiteY8" fmla="*/ 12788 h 2947179"/>
              <a:gd name="connsiteX9" fmla="*/ 2473348 w 2509869"/>
              <a:gd name="connsiteY9" fmla="*/ 13691 h 2947179"/>
              <a:gd name="connsiteX10" fmla="*/ 2509049 w 2509869"/>
              <a:gd name="connsiteY10" fmla="*/ 2945257 h 2947179"/>
              <a:gd name="connsiteX11" fmla="*/ 2509869 w 2509869"/>
              <a:gd name="connsiteY11" fmla="*/ 2946100 h 2947179"/>
              <a:gd name="connsiteX12" fmla="*/ 1313352 w 2509869"/>
              <a:gd name="connsiteY12" fmla="*/ 2777607 h 2947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09869" h="2947179">
                <a:moveTo>
                  <a:pt x="1313352" y="2777607"/>
                </a:moveTo>
                <a:cubicBezTo>
                  <a:pt x="895423" y="2777787"/>
                  <a:pt x="289934" y="2745494"/>
                  <a:pt x="2293" y="2947179"/>
                </a:cubicBezTo>
                <a:cubicBezTo>
                  <a:pt x="-4974" y="2794409"/>
                  <a:pt x="6477" y="133932"/>
                  <a:pt x="16511" y="2590"/>
                </a:cubicBezTo>
                <a:cubicBezTo>
                  <a:pt x="35255" y="14420"/>
                  <a:pt x="870912" y="11713"/>
                  <a:pt x="869292" y="0"/>
                </a:cubicBezTo>
                <a:cubicBezTo>
                  <a:pt x="867672" y="13865"/>
                  <a:pt x="873516" y="368578"/>
                  <a:pt x="889215" y="431073"/>
                </a:cubicBezTo>
                <a:cubicBezTo>
                  <a:pt x="958321" y="374329"/>
                  <a:pt x="1160285" y="362183"/>
                  <a:pt x="1283207" y="362183"/>
                </a:cubicBezTo>
                <a:cubicBezTo>
                  <a:pt x="1406129" y="362183"/>
                  <a:pt x="1626750" y="393026"/>
                  <a:pt x="1626750" y="431073"/>
                </a:cubicBezTo>
                <a:lnTo>
                  <a:pt x="1623610" y="437320"/>
                </a:lnTo>
                <a:cubicBezTo>
                  <a:pt x="1623684" y="295809"/>
                  <a:pt x="1623757" y="154299"/>
                  <a:pt x="1623831" y="12788"/>
                </a:cubicBezTo>
                <a:lnTo>
                  <a:pt x="2473348" y="13691"/>
                </a:lnTo>
                <a:lnTo>
                  <a:pt x="2509049" y="2945257"/>
                </a:lnTo>
                <a:lnTo>
                  <a:pt x="2509869" y="2946100"/>
                </a:lnTo>
                <a:cubicBezTo>
                  <a:pt x="2370876" y="2837771"/>
                  <a:pt x="1731281" y="2777427"/>
                  <a:pt x="1313352" y="2777607"/>
                </a:cubicBezTo>
                <a:close/>
              </a:path>
            </a:pathLst>
          </a:custGeom>
          <a:solidFill>
            <a:schemeClr val="bg2"/>
          </a:solidFill>
          <a:ln cap="rnd">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cxnSp>
        <p:nvCxnSpPr>
          <p:cNvPr id="14" name="Straight Connector 13"/>
          <p:cNvCxnSpPr/>
          <p:nvPr/>
        </p:nvCxnSpPr>
        <p:spPr>
          <a:xfrm flipH="1">
            <a:off x="6570935" y="2559791"/>
            <a:ext cx="1185980" cy="3320931"/>
          </a:xfrm>
          <a:prstGeom prst="line">
            <a:avLst/>
          </a:prstGeom>
          <a:ln w="76200" cap="rnd">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478035" y="2559791"/>
            <a:ext cx="1185980" cy="3320931"/>
          </a:xfrm>
          <a:prstGeom prst="line">
            <a:avLst/>
          </a:prstGeom>
          <a:ln w="63500" cap="rnd">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sp>
        <p:nvSpPr>
          <p:cNvPr id="195" name="Freeform 194"/>
          <p:cNvSpPr/>
          <p:nvPr/>
        </p:nvSpPr>
        <p:spPr>
          <a:xfrm>
            <a:off x="4478036" y="2539555"/>
            <a:ext cx="3288073" cy="245328"/>
          </a:xfrm>
          <a:custGeom>
            <a:avLst/>
            <a:gdLst>
              <a:gd name="connsiteX0" fmla="*/ 0 w 1949666"/>
              <a:gd name="connsiteY0" fmla="*/ 0 h 213206"/>
              <a:gd name="connsiteX1" fmla="*/ 1949666 w 1949666"/>
              <a:gd name="connsiteY1" fmla="*/ 0 h 213206"/>
              <a:gd name="connsiteX2" fmla="*/ 1943179 w 1949666"/>
              <a:gd name="connsiteY2" fmla="*/ 10895 h 213206"/>
              <a:gd name="connsiteX3" fmla="*/ 974833 w 1949666"/>
              <a:gd name="connsiteY3" fmla="*/ 213206 h 213206"/>
              <a:gd name="connsiteX4" fmla="*/ 6486 w 1949666"/>
              <a:gd name="connsiteY4" fmla="*/ 10895 h 213206"/>
              <a:gd name="connsiteX5" fmla="*/ 0 w 1949666"/>
              <a:gd name="connsiteY5" fmla="*/ 0 h 213206"/>
              <a:gd name="connsiteX0" fmla="*/ 0 w 1949666"/>
              <a:gd name="connsiteY0" fmla="*/ 0 h 213206"/>
              <a:gd name="connsiteX1" fmla="*/ 1221371 w 1949666"/>
              <a:gd name="connsiteY1" fmla="*/ 0 h 213206"/>
              <a:gd name="connsiteX2" fmla="*/ 1949666 w 1949666"/>
              <a:gd name="connsiteY2" fmla="*/ 0 h 213206"/>
              <a:gd name="connsiteX3" fmla="*/ 1943179 w 1949666"/>
              <a:gd name="connsiteY3" fmla="*/ 10895 h 213206"/>
              <a:gd name="connsiteX4" fmla="*/ 974833 w 1949666"/>
              <a:gd name="connsiteY4" fmla="*/ 213206 h 213206"/>
              <a:gd name="connsiteX5" fmla="*/ 6486 w 1949666"/>
              <a:gd name="connsiteY5" fmla="*/ 10895 h 213206"/>
              <a:gd name="connsiteX6" fmla="*/ 0 w 1949666"/>
              <a:gd name="connsiteY6" fmla="*/ 0 h 213206"/>
              <a:gd name="connsiteX0" fmla="*/ 1221371 w 1949666"/>
              <a:gd name="connsiteY0" fmla="*/ 0 h 213206"/>
              <a:gd name="connsiteX1" fmla="*/ 1949666 w 1949666"/>
              <a:gd name="connsiteY1" fmla="*/ 0 h 213206"/>
              <a:gd name="connsiteX2" fmla="*/ 1943179 w 1949666"/>
              <a:gd name="connsiteY2" fmla="*/ 10895 h 213206"/>
              <a:gd name="connsiteX3" fmla="*/ 974833 w 1949666"/>
              <a:gd name="connsiteY3" fmla="*/ 213206 h 213206"/>
              <a:gd name="connsiteX4" fmla="*/ 6486 w 1949666"/>
              <a:gd name="connsiteY4" fmla="*/ 10895 h 213206"/>
              <a:gd name="connsiteX5" fmla="*/ 0 w 1949666"/>
              <a:gd name="connsiteY5" fmla="*/ 0 h 213206"/>
              <a:gd name="connsiteX6" fmla="*/ 1312811 w 1949666"/>
              <a:gd name="connsiteY6" fmla="*/ 91440 h 213206"/>
              <a:gd name="connsiteX0" fmla="*/ 1221371 w 1949666"/>
              <a:gd name="connsiteY0" fmla="*/ 0 h 213206"/>
              <a:gd name="connsiteX1" fmla="*/ 1949666 w 1949666"/>
              <a:gd name="connsiteY1" fmla="*/ 0 h 213206"/>
              <a:gd name="connsiteX2" fmla="*/ 1943179 w 1949666"/>
              <a:gd name="connsiteY2" fmla="*/ 10895 h 213206"/>
              <a:gd name="connsiteX3" fmla="*/ 974833 w 1949666"/>
              <a:gd name="connsiteY3" fmla="*/ 213206 h 213206"/>
              <a:gd name="connsiteX4" fmla="*/ 6486 w 1949666"/>
              <a:gd name="connsiteY4" fmla="*/ 10895 h 213206"/>
              <a:gd name="connsiteX5" fmla="*/ 0 w 1949666"/>
              <a:gd name="connsiteY5" fmla="*/ 0 h 213206"/>
              <a:gd name="connsiteX0" fmla="*/ 1949666 w 1949666"/>
              <a:gd name="connsiteY0" fmla="*/ 0 h 213206"/>
              <a:gd name="connsiteX1" fmla="*/ 1943179 w 1949666"/>
              <a:gd name="connsiteY1" fmla="*/ 10895 h 213206"/>
              <a:gd name="connsiteX2" fmla="*/ 974833 w 1949666"/>
              <a:gd name="connsiteY2" fmla="*/ 213206 h 213206"/>
              <a:gd name="connsiteX3" fmla="*/ 6486 w 1949666"/>
              <a:gd name="connsiteY3" fmla="*/ 10895 h 213206"/>
              <a:gd name="connsiteX4" fmla="*/ 0 w 1949666"/>
              <a:gd name="connsiteY4" fmla="*/ 0 h 213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9666" h="213206">
                <a:moveTo>
                  <a:pt x="1949666" y="0"/>
                </a:moveTo>
                <a:lnTo>
                  <a:pt x="1943179" y="10895"/>
                </a:lnTo>
                <a:cubicBezTo>
                  <a:pt x="1851012" y="126354"/>
                  <a:pt x="1452490" y="213206"/>
                  <a:pt x="974833" y="213206"/>
                </a:cubicBezTo>
                <a:cubicBezTo>
                  <a:pt x="497175" y="213206"/>
                  <a:pt x="98654" y="126354"/>
                  <a:pt x="6486" y="10895"/>
                </a:cubicBezTo>
                <a:lnTo>
                  <a:pt x="0" y="0"/>
                </a:lnTo>
              </a:path>
            </a:pathLst>
          </a:custGeom>
          <a:noFill/>
          <a:ln w="76200" cap="rnd">
            <a:solidFill>
              <a:schemeClr val="tx1">
                <a:lumMod val="25000"/>
                <a:lumOff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grpSp>
        <p:nvGrpSpPr>
          <p:cNvPr id="6" name="Group 5"/>
          <p:cNvGrpSpPr/>
          <p:nvPr/>
        </p:nvGrpSpPr>
        <p:grpSpPr>
          <a:xfrm>
            <a:off x="5729635" y="3776037"/>
            <a:ext cx="642309" cy="730904"/>
            <a:chOff x="6577012" y="795893"/>
            <a:chExt cx="534972" cy="608761"/>
          </a:xfrm>
        </p:grpSpPr>
        <p:sp>
          <p:nvSpPr>
            <p:cNvPr id="56" name="Freeform 79"/>
            <p:cNvSpPr>
              <a:spLocks noChangeArrowheads="1"/>
            </p:cNvSpPr>
            <p:nvPr/>
          </p:nvSpPr>
          <p:spPr bwMode="auto">
            <a:xfrm>
              <a:off x="6577012" y="1028328"/>
              <a:ext cx="195541" cy="195543"/>
            </a:xfrm>
            <a:custGeom>
              <a:avLst/>
              <a:gdLst>
                <a:gd name="T0" fmla="*/ 174 w 235"/>
                <a:gd name="T1" fmla="*/ 15 h 234"/>
                <a:gd name="T2" fmla="*/ 217 w 235"/>
                <a:gd name="T3" fmla="*/ 57 h 234"/>
                <a:gd name="T4" fmla="*/ 233 w 235"/>
                <a:gd name="T5" fmla="*/ 115 h 234"/>
                <a:gd name="T6" fmla="*/ 218 w 235"/>
                <a:gd name="T7" fmla="*/ 174 h 234"/>
                <a:gd name="T8" fmla="*/ 176 w 235"/>
                <a:gd name="T9" fmla="*/ 217 h 234"/>
                <a:gd name="T10" fmla="*/ 118 w 235"/>
                <a:gd name="T11" fmla="*/ 233 h 234"/>
                <a:gd name="T12" fmla="*/ 60 w 235"/>
                <a:gd name="T13" fmla="*/ 218 h 234"/>
                <a:gd name="T14" fmla="*/ 16 w 235"/>
                <a:gd name="T15" fmla="*/ 176 h 234"/>
                <a:gd name="T16" fmla="*/ 0 w 235"/>
                <a:gd name="T17" fmla="*/ 118 h 234"/>
                <a:gd name="T18" fmla="*/ 15 w 235"/>
                <a:gd name="T19" fmla="*/ 59 h 234"/>
                <a:gd name="T20" fmla="*/ 58 w 235"/>
                <a:gd name="T21" fmla="*/ 16 h 234"/>
                <a:gd name="T22" fmla="*/ 116 w 235"/>
                <a:gd name="T23" fmla="*/ 0 h 234"/>
                <a:gd name="T24" fmla="*/ 174 w 235"/>
                <a:gd name="T25" fmla="*/ 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5" h="234">
                  <a:moveTo>
                    <a:pt x="174" y="15"/>
                  </a:moveTo>
                  <a:cubicBezTo>
                    <a:pt x="193" y="26"/>
                    <a:pt x="206" y="39"/>
                    <a:pt x="217" y="57"/>
                  </a:cubicBezTo>
                  <a:cubicBezTo>
                    <a:pt x="228" y="76"/>
                    <a:pt x="233" y="94"/>
                    <a:pt x="233" y="115"/>
                  </a:cubicBezTo>
                  <a:cubicBezTo>
                    <a:pt x="234" y="137"/>
                    <a:pt x="228" y="156"/>
                    <a:pt x="218" y="174"/>
                  </a:cubicBezTo>
                  <a:cubicBezTo>
                    <a:pt x="207" y="193"/>
                    <a:pt x="194" y="206"/>
                    <a:pt x="176" y="217"/>
                  </a:cubicBezTo>
                  <a:cubicBezTo>
                    <a:pt x="157" y="228"/>
                    <a:pt x="139" y="233"/>
                    <a:pt x="118" y="233"/>
                  </a:cubicBezTo>
                  <a:cubicBezTo>
                    <a:pt x="97" y="233"/>
                    <a:pt x="78" y="229"/>
                    <a:pt x="60" y="218"/>
                  </a:cubicBezTo>
                  <a:cubicBezTo>
                    <a:pt x="41" y="207"/>
                    <a:pt x="26" y="195"/>
                    <a:pt x="16" y="176"/>
                  </a:cubicBezTo>
                  <a:cubicBezTo>
                    <a:pt x="5" y="158"/>
                    <a:pt x="1" y="139"/>
                    <a:pt x="0" y="118"/>
                  </a:cubicBezTo>
                  <a:cubicBezTo>
                    <a:pt x="0" y="96"/>
                    <a:pt x="4" y="78"/>
                    <a:pt x="15" y="59"/>
                  </a:cubicBezTo>
                  <a:cubicBezTo>
                    <a:pt x="25" y="41"/>
                    <a:pt x="39" y="27"/>
                    <a:pt x="58" y="16"/>
                  </a:cubicBezTo>
                  <a:cubicBezTo>
                    <a:pt x="76" y="5"/>
                    <a:pt x="94" y="0"/>
                    <a:pt x="116" y="0"/>
                  </a:cubicBezTo>
                  <a:cubicBezTo>
                    <a:pt x="137" y="0"/>
                    <a:pt x="155" y="5"/>
                    <a:pt x="174" y="15"/>
                  </a:cubicBezTo>
                </a:path>
              </a:pathLst>
            </a:custGeom>
            <a:solidFill>
              <a:schemeClr val="bg2">
                <a:lumMod val="65000"/>
              </a:schemeClr>
            </a:solidFill>
            <a:ln w="25400" cap="flat">
              <a:no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sp>
          <p:nvSpPr>
            <p:cNvPr id="57" name="Freeform 80"/>
            <p:cNvSpPr>
              <a:spLocks noChangeArrowheads="1"/>
            </p:cNvSpPr>
            <p:nvPr/>
          </p:nvSpPr>
          <p:spPr bwMode="auto">
            <a:xfrm>
              <a:off x="6894306" y="1209113"/>
              <a:ext cx="195541" cy="195541"/>
            </a:xfrm>
            <a:custGeom>
              <a:avLst/>
              <a:gdLst>
                <a:gd name="T0" fmla="*/ 173 w 234"/>
                <a:gd name="T1" fmla="*/ 16 h 235"/>
                <a:gd name="T2" fmla="*/ 216 w 234"/>
                <a:gd name="T3" fmla="*/ 58 h 235"/>
                <a:gd name="T4" fmla="*/ 232 w 234"/>
                <a:gd name="T5" fmla="*/ 116 h 235"/>
                <a:gd name="T6" fmla="*/ 217 w 234"/>
                <a:gd name="T7" fmla="*/ 174 h 235"/>
                <a:gd name="T8" fmla="*/ 175 w 234"/>
                <a:gd name="T9" fmla="*/ 217 h 235"/>
                <a:gd name="T10" fmla="*/ 117 w 234"/>
                <a:gd name="T11" fmla="*/ 234 h 235"/>
                <a:gd name="T12" fmla="*/ 59 w 234"/>
                <a:gd name="T13" fmla="*/ 219 h 235"/>
                <a:gd name="T14" fmla="*/ 16 w 234"/>
                <a:gd name="T15" fmla="*/ 176 h 235"/>
                <a:gd name="T16" fmla="*/ 0 w 234"/>
                <a:gd name="T17" fmla="*/ 118 h 235"/>
                <a:gd name="T18" fmla="*/ 14 w 234"/>
                <a:gd name="T19" fmla="*/ 60 h 235"/>
                <a:gd name="T20" fmla="*/ 57 w 234"/>
                <a:gd name="T21" fmla="*/ 17 h 235"/>
                <a:gd name="T22" fmla="*/ 115 w 234"/>
                <a:gd name="T23" fmla="*/ 1 h 235"/>
                <a:gd name="T24" fmla="*/ 173 w 234"/>
                <a:gd name="T25" fmla="*/ 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235">
                  <a:moveTo>
                    <a:pt x="173" y="16"/>
                  </a:moveTo>
                  <a:cubicBezTo>
                    <a:pt x="192" y="26"/>
                    <a:pt x="205" y="40"/>
                    <a:pt x="216" y="58"/>
                  </a:cubicBezTo>
                  <a:cubicBezTo>
                    <a:pt x="227" y="77"/>
                    <a:pt x="232" y="94"/>
                    <a:pt x="232" y="116"/>
                  </a:cubicBezTo>
                  <a:cubicBezTo>
                    <a:pt x="233" y="137"/>
                    <a:pt x="228" y="156"/>
                    <a:pt x="217" y="174"/>
                  </a:cubicBezTo>
                  <a:cubicBezTo>
                    <a:pt x="207" y="193"/>
                    <a:pt x="194" y="206"/>
                    <a:pt x="175" y="217"/>
                  </a:cubicBezTo>
                  <a:cubicBezTo>
                    <a:pt x="157" y="228"/>
                    <a:pt x="138" y="233"/>
                    <a:pt x="117" y="234"/>
                  </a:cubicBezTo>
                  <a:cubicBezTo>
                    <a:pt x="96" y="234"/>
                    <a:pt x="78" y="230"/>
                    <a:pt x="59" y="219"/>
                  </a:cubicBezTo>
                  <a:cubicBezTo>
                    <a:pt x="41" y="209"/>
                    <a:pt x="27" y="195"/>
                    <a:pt x="16" y="176"/>
                  </a:cubicBezTo>
                  <a:cubicBezTo>
                    <a:pt x="6" y="158"/>
                    <a:pt x="1" y="140"/>
                    <a:pt x="0" y="118"/>
                  </a:cubicBezTo>
                  <a:cubicBezTo>
                    <a:pt x="0" y="97"/>
                    <a:pt x="4" y="79"/>
                    <a:pt x="14" y="60"/>
                  </a:cubicBezTo>
                  <a:cubicBezTo>
                    <a:pt x="25" y="42"/>
                    <a:pt x="39" y="28"/>
                    <a:pt x="57" y="17"/>
                  </a:cubicBezTo>
                  <a:cubicBezTo>
                    <a:pt x="76" y="6"/>
                    <a:pt x="93" y="1"/>
                    <a:pt x="115" y="1"/>
                  </a:cubicBezTo>
                  <a:cubicBezTo>
                    <a:pt x="136" y="0"/>
                    <a:pt x="154" y="5"/>
                    <a:pt x="173" y="16"/>
                  </a:cubicBezTo>
                </a:path>
              </a:pathLst>
            </a:custGeom>
            <a:solidFill>
              <a:schemeClr val="bg2">
                <a:lumMod val="65000"/>
              </a:schemeClr>
            </a:solidFill>
            <a:ln w="25400" cap="flat">
              <a:no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sp>
          <p:nvSpPr>
            <p:cNvPr id="58" name="Freeform 81"/>
            <p:cNvSpPr>
              <a:spLocks noChangeArrowheads="1"/>
            </p:cNvSpPr>
            <p:nvPr/>
          </p:nvSpPr>
          <p:spPr bwMode="auto">
            <a:xfrm>
              <a:off x="6916443" y="795893"/>
              <a:ext cx="195541" cy="195541"/>
            </a:xfrm>
            <a:custGeom>
              <a:avLst/>
              <a:gdLst>
                <a:gd name="T0" fmla="*/ 174 w 235"/>
                <a:gd name="T1" fmla="*/ 15 h 234"/>
                <a:gd name="T2" fmla="*/ 217 w 235"/>
                <a:gd name="T3" fmla="*/ 57 h 234"/>
                <a:gd name="T4" fmla="*/ 234 w 235"/>
                <a:gd name="T5" fmla="*/ 116 h 234"/>
                <a:gd name="T6" fmla="*/ 219 w 235"/>
                <a:gd name="T7" fmla="*/ 174 h 234"/>
                <a:gd name="T8" fmla="*/ 176 w 235"/>
                <a:gd name="T9" fmla="*/ 217 h 234"/>
                <a:gd name="T10" fmla="*/ 118 w 235"/>
                <a:gd name="T11" fmla="*/ 233 h 234"/>
                <a:gd name="T12" fmla="*/ 60 w 235"/>
                <a:gd name="T13" fmla="*/ 218 h 234"/>
                <a:gd name="T14" fmla="*/ 17 w 235"/>
                <a:gd name="T15" fmla="*/ 176 h 234"/>
                <a:gd name="T16" fmla="*/ 1 w 235"/>
                <a:gd name="T17" fmla="*/ 118 h 234"/>
                <a:gd name="T18" fmla="*/ 16 w 235"/>
                <a:gd name="T19" fmla="*/ 59 h 234"/>
                <a:gd name="T20" fmla="*/ 58 w 235"/>
                <a:gd name="T21" fmla="*/ 16 h 234"/>
                <a:gd name="T22" fmla="*/ 116 w 235"/>
                <a:gd name="T23" fmla="*/ 0 h 234"/>
                <a:gd name="T24" fmla="*/ 174 w 235"/>
                <a:gd name="T25" fmla="*/ 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5" h="234">
                  <a:moveTo>
                    <a:pt x="174" y="15"/>
                  </a:moveTo>
                  <a:cubicBezTo>
                    <a:pt x="193" y="26"/>
                    <a:pt x="207" y="39"/>
                    <a:pt x="217" y="57"/>
                  </a:cubicBezTo>
                  <a:cubicBezTo>
                    <a:pt x="228" y="76"/>
                    <a:pt x="233" y="94"/>
                    <a:pt x="234" y="116"/>
                  </a:cubicBezTo>
                  <a:cubicBezTo>
                    <a:pt x="234" y="137"/>
                    <a:pt x="230" y="155"/>
                    <a:pt x="219" y="174"/>
                  </a:cubicBezTo>
                  <a:cubicBezTo>
                    <a:pt x="209" y="193"/>
                    <a:pt x="195" y="206"/>
                    <a:pt x="176" y="217"/>
                  </a:cubicBezTo>
                  <a:cubicBezTo>
                    <a:pt x="158" y="228"/>
                    <a:pt x="140" y="233"/>
                    <a:pt x="118" y="233"/>
                  </a:cubicBezTo>
                  <a:cubicBezTo>
                    <a:pt x="97" y="233"/>
                    <a:pt x="79" y="229"/>
                    <a:pt x="60" y="218"/>
                  </a:cubicBezTo>
                  <a:cubicBezTo>
                    <a:pt x="41" y="208"/>
                    <a:pt x="28" y="195"/>
                    <a:pt x="17" y="176"/>
                  </a:cubicBezTo>
                  <a:cubicBezTo>
                    <a:pt x="6" y="158"/>
                    <a:pt x="1" y="139"/>
                    <a:pt x="1" y="118"/>
                  </a:cubicBezTo>
                  <a:cubicBezTo>
                    <a:pt x="0" y="96"/>
                    <a:pt x="6" y="78"/>
                    <a:pt x="16" y="59"/>
                  </a:cubicBezTo>
                  <a:cubicBezTo>
                    <a:pt x="27" y="41"/>
                    <a:pt x="40" y="27"/>
                    <a:pt x="58" y="16"/>
                  </a:cubicBezTo>
                  <a:cubicBezTo>
                    <a:pt x="77" y="5"/>
                    <a:pt x="95" y="0"/>
                    <a:pt x="116" y="0"/>
                  </a:cubicBezTo>
                  <a:cubicBezTo>
                    <a:pt x="137" y="0"/>
                    <a:pt x="156" y="5"/>
                    <a:pt x="174" y="15"/>
                  </a:cubicBezTo>
                </a:path>
              </a:pathLst>
            </a:custGeom>
            <a:solidFill>
              <a:schemeClr val="bg2">
                <a:lumMod val="65000"/>
              </a:schemeClr>
            </a:solidFill>
            <a:ln w="25400" cap="flat">
              <a:no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sp>
          <p:nvSpPr>
            <p:cNvPr id="59" name="Line 82"/>
            <p:cNvSpPr>
              <a:spLocks noChangeShapeType="1"/>
            </p:cNvSpPr>
            <p:nvPr/>
          </p:nvSpPr>
          <p:spPr bwMode="auto">
            <a:xfrm>
              <a:off x="6757795" y="1172219"/>
              <a:ext cx="151269" cy="84857"/>
            </a:xfrm>
            <a:prstGeom prst="line">
              <a:avLst/>
            </a:prstGeom>
            <a:noFill/>
            <a:ln w="25400" cap="flat">
              <a:solidFill>
                <a:schemeClr val="bg2">
                  <a:lumMod val="65000"/>
                </a:schemeClr>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sp>
          <p:nvSpPr>
            <p:cNvPr id="60" name="Line 83"/>
            <p:cNvSpPr>
              <a:spLocks noChangeShapeType="1"/>
            </p:cNvSpPr>
            <p:nvPr/>
          </p:nvSpPr>
          <p:spPr bwMode="auto">
            <a:xfrm flipH="1">
              <a:off x="6997611" y="991434"/>
              <a:ext cx="18446" cy="213989"/>
            </a:xfrm>
            <a:prstGeom prst="line">
              <a:avLst/>
            </a:prstGeom>
            <a:noFill/>
            <a:ln w="25400" cap="flat">
              <a:solidFill>
                <a:schemeClr val="bg2">
                  <a:lumMod val="65000"/>
                </a:schemeClr>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sp>
          <p:nvSpPr>
            <p:cNvPr id="61" name="Line 84"/>
            <p:cNvSpPr>
              <a:spLocks noChangeShapeType="1"/>
            </p:cNvSpPr>
            <p:nvPr/>
          </p:nvSpPr>
          <p:spPr bwMode="auto">
            <a:xfrm flipH="1">
              <a:off x="6743037" y="943472"/>
              <a:ext cx="188164" cy="121751"/>
            </a:xfrm>
            <a:prstGeom prst="line">
              <a:avLst/>
            </a:prstGeom>
            <a:noFill/>
            <a:ln w="25400" cap="flat">
              <a:solidFill>
                <a:schemeClr val="bg2">
                  <a:lumMod val="65000"/>
                </a:schemeClr>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333333"/>
                </a:solidFill>
                <a:effectLst/>
                <a:uLnTx/>
                <a:uFillTx/>
                <a:latin typeface="Arial" charset="0"/>
                <a:ea typeface="ＭＳ Ｐゴシック" pitchFamily="34" charset="-128"/>
                <a:cs typeface="Arial"/>
                <a:sym typeface="Arial"/>
              </a:endParaRPr>
            </a:p>
          </p:txBody>
        </p:sp>
      </p:grpSp>
      <p:sp>
        <p:nvSpPr>
          <p:cNvPr id="5" name="Rectangle 4">
            <a:extLst>
              <a:ext uri="{FF2B5EF4-FFF2-40B4-BE49-F238E27FC236}">
                <a16:creationId xmlns:a16="http://schemas.microsoft.com/office/drawing/2014/main" id="{8457043B-5338-794F-84E1-41E508BB746E}"/>
              </a:ext>
            </a:extLst>
          </p:cNvPr>
          <p:cNvSpPr/>
          <p:nvPr/>
        </p:nvSpPr>
        <p:spPr>
          <a:xfrm>
            <a:off x="1" y="-41019"/>
            <a:ext cx="12032105" cy="127508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CiscoSansTT ExtraLight"/>
              <a:ea typeface="+mn-ea"/>
              <a:cs typeface="+mn-cs"/>
              <a:sym typeface="Arial"/>
            </a:endParaRPr>
          </a:p>
        </p:txBody>
      </p:sp>
      <p:sp>
        <p:nvSpPr>
          <p:cNvPr id="36" name="Freeform 35"/>
          <p:cNvSpPr/>
          <p:nvPr/>
        </p:nvSpPr>
        <p:spPr>
          <a:xfrm>
            <a:off x="5670478" y="5884424"/>
            <a:ext cx="901551" cy="95157"/>
          </a:xfrm>
          <a:custGeom>
            <a:avLst/>
            <a:gdLst>
              <a:gd name="connsiteX0" fmla="*/ 0 w 1949666"/>
              <a:gd name="connsiteY0" fmla="*/ 0 h 213206"/>
              <a:gd name="connsiteX1" fmla="*/ 1949666 w 1949666"/>
              <a:gd name="connsiteY1" fmla="*/ 0 h 213206"/>
              <a:gd name="connsiteX2" fmla="*/ 1943179 w 1949666"/>
              <a:gd name="connsiteY2" fmla="*/ 10895 h 213206"/>
              <a:gd name="connsiteX3" fmla="*/ 974833 w 1949666"/>
              <a:gd name="connsiteY3" fmla="*/ 213206 h 213206"/>
              <a:gd name="connsiteX4" fmla="*/ 6486 w 1949666"/>
              <a:gd name="connsiteY4" fmla="*/ 10895 h 213206"/>
              <a:gd name="connsiteX5" fmla="*/ 0 w 1949666"/>
              <a:gd name="connsiteY5" fmla="*/ 0 h 213206"/>
              <a:gd name="connsiteX0" fmla="*/ 0 w 1949666"/>
              <a:gd name="connsiteY0" fmla="*/ 0 h 213206"/>
              <a:gd name="connsiteX1" fmla="*/ 1221371 w 1949666"/>
              <a:gd name="connsiteY1" fmla="*/ 0 h 213206"/>
              <a:gd name="connsiteX2" fmla="*/ 1949666 w 1949666"/>
              <a:gd name="connsiteY2" fmla="*/ 0 h 213206"/>
              <a:gd name="connsiteX3" fmla="*/ 1943179 w 1949666"/>
              <a:gd name="connsiteY3" fmla="*/ 10895 h 213206"/>
              <a:gd name="connsiteX4" fmla="*/ 974833 w 1949666"/>
              <a:gd name="connsiteY4" fmla="*/ 213206 h 213206"/>
              <a:gd name="connsiteX5" fmla="*/ 6486 w 1949666"/>
              <a:gd name="connsiteY5" fmla="*/ 10895 h 213206"/>
              <a:gd name="connsiteX6" fmla="*/ 0 w 1949666"/>
              <a:gd name="connsiteY6" fmla="*/ 0 h 213206"/>
              <a:gd name="connsiteX0" fmla="*/ 1221371 w 1949666"/>
              <a:gd name="connsiteY0" fmla="*/ 0 h 213206"/>
              <a:gd name="connsiteX1" fmla="*/ 1949666 w 1949666"/>
              <a:gd name="connsiteY1" fmla="*/ 0 h 213206"/>
              <a:gd name="connsiteX2" fmla="*/ 1943179 w 1949666"/>
              <a:gd name="connsiteY2" fmla="*/ 10895 h 213206"/>
              <a:gd name="connsiteX3" fmla="*/ 974833 w 1949666"/>
              <a:gd name="connsiteY3" fmla="*/ 213206 h 213206"/>
              <a:gd name="connsiteX4" fmla="*/ 6486 w 1949666"/>
              <a:gd name="connsiteY4" fmla="*/ 10895 h 213206"/>
              <a:gd name="connsiteX5" fmla="*/ 0 w 1949666"/>
              <a:gd name="connsiteY5" fmla="*/ 0 h 213206"/>
              <a:gd name="connsiteX6" fmla="*/ 1312811 w 1949666"/>
              <a:gd name="connsiteY6" fmla="*/ 91440 h 213206"/>
              <a:gd name="connsiteX0" fmla="*/ 1221371 w 1949666"/>
              <a:gd name="connsiteY0" fmla="*/ 0 h 213206"/>
              <a:gd name="connsiteX1" fmla="*/ 1949666 w 1949666"/>
              <a:gd name="connsiteY1" fmla="*/ 0 h 213206"/>
              <a:gd name="connsiteX2" fmla="*/ 1943179 w 1949666"/>
              <a:gd name="connsiteY2" fmla="*/ 10895 h 213206"/>
              <a:gd name="connsiteX3" fmla="*/ 974833 w 1949666"/>
              <a:gd name="connsiteY3" fmla="*/ 213206 h 213206"/>
              <a:gd name="connsiteX4" fmla="*/ 6486 w 1949666"/>
              <a:gd name="connsiteY4" fmla="*/ 10895 h 213206"/>
              <a:gd name="connsiteX5" fmla="*/ 0 w 1949666"/>
              <a:gd name="connsiteY5" fmla="*/ 0 h 213206"/>
              <a:gd name="connsiteX0" fmla="*/ 1949666 w 1949666"/>
              <a:gd name="connsiteY0" fmla="*/ 0 h 213206"/>
              <a:gd name="connsiteX1" fmla="*/ 1943179 w 1949666"/>
              <a:gd name="connsiteY1" fmla="*/ 10895 h 213206"/>
              <a:gd name="connsiteX2" fmla="*/ 974833 w 1949666"/>
              <a:gd name="connsiteY2" fmla="*/ 213206 h 213206"/>
              <a:gd name="connsiteX3" fmla="*/ 6486 w 1949666"/>
              <a:gd name="connsiteY3" fmla="*/ 10895 h 213206"/>
              <a:gd name="connsiteX4" fmla="*/ 0 w 1949666"/>
              <a:gd name="connsiteY4" fmla="*/ 0 h 213206"/>
              <a:gd name="connsiteX0" fmla="*/ 1943191 w 1943191"/>
              <a:gd name="connsiteY0" fmla="*/ 27028 h 240234"/>
              <a:gd name="connsiteX1" fmla="*/ 1936704 w 1943191"/>
              <a:gd name="connsiteY1" fmla="*/ 37923 h 240234"/>
              <a:gd name="connsiteX2" fmla="*/ 968358 w 1943191"/>
              <a:gd name="connsiteY2" fmla="*/ 240234 h 240234"/>
              <a:gd name="connsiteX3" fmla="*/ 11 w 1943191"/>
              <a:gd name="connsiteY3" fmla="*/ 37923 h 240234"/>
              <a:gd name="connsiteX4" fmla="*/ 299843 w 1943191"/>
              <a:gd name="connsiteY4" fmla="*/ 0 h 240234"/>
              <a:gd name="connsiteX0" fmla="*/ 1943180 w 1943180"/>
              <a:gd name="connsiteY0" fmla="*/ 0 h 213206"/>
              <a:gd name="connsiteX1" fmla="*/ 1936693 w 1943180"/>
              <a:gd name="connsiteY1" fmla="*/ 10895 h 213206"/>
              <a:gd name="connsiteX2" fmla="*/ 968347 w 1943180"/>
              <a:gd name="connsiteY2" fmla="*/ 213206 h 213206"/>
              <a:gd name="connsiteX3" fmla="*/ 0 w 1943180"/>
              <a:gd name="connsiteY3" fmla="*/ 10895 h 213206"/>
              <a:gd name="connsiteX0" fmla="*/ 1943180 w 1943180"/>
              <a:gd name="connsiteY0" fmla="*/ 0 h 218413"/>
              <a:gd name="connsiteX1" fmla="*/ 1918675 w 1943180"/>
              <a:gd name="connsiteY1" fmla="*/ 100989 h 218413"/>
              <a:gd name="connsiteX2" fmla="*/ 968347 w 1943180"/>
              <a:gd name="connsiteY2" fmla="*/ 213206 h 218413"/>
              <a:gd name="connsiteX3" fmla="*/ 0 w 1943180"/>
              <a:gd name="connsiteY3" fmla="*/ 10895 h 218413"/>
              <a:gd name="connsiteX0" fmla="*/ 1918675 w 1918675"/>
              <a:gd name="connsiteY0" fmla="*/ 90093 h 207517"/>
              <a:gd name="connsiteX1" fmla="*/ 968347 w 1918675"/>
              <a:gd name="connsiteY1" fmla="*/ 202310 h 207517"/>
              <a:gd name="connsiteX2" fmla="*/ 0 w 1918675"/>
              <a:gd name="connsiteY2" fmla="*/ -1 h 207517"/>
              <a:gd name="connsiteX0" fmla="*/ 1918675 w 1918675"/>
              <a:gd name="connsiteY0" fmla="*/ 18019 h 202401"/>
              <a:gd name="connsiteX1" fmla="*/ 968347 w 1918675"/>
              <a:gd name="connsiteY1" fmla="*/ 202310 h 202401"/>
              <a:gd name="connsiteX2" fmla="*/ 0 w 1918675"/>
              <a:gd name="connsiteY2" fmla="*/ -1 h 202401"/>
              <a:gd name="connsiteX0" fmla="*/ 1918675 w 1918675"/>
              <a:gd name="connsiteY0" fmla="*/ 18019 h 202412"/>
              <a:gd name="connsiteX1" fmla="*/ 968347 w 1918675"/>
              <a:gd name="connsiteY1" fmla="*/ 202310 h 202412"/>
              <a:gd name="connsiteX2" fmla="*/ 0 w 1918675"/>
              <a:gd name="connsiteY2" fmla="*/ -1 h 202412"/>
              <a:gd name="connsiteX0" fmla="*/ 1918675 w 1918675"/>
              <a:gd name="connsiteY0" fmla="*/ 18019 h 202412"/>
              <a:gd name="connsiteX1" fmla="*/ 968347 w 1918675"/>
              <a:gd name="connsiteY1" fmla="*/ 202310 h 202412"/>
              <a:gd name="connsiteX2" fmla="*/ 0 w 1918675"/>
              <a:gd name="connsiteY2" fmla="*/ -1 h 202412"/>
              <a:gd name="connsiteX0" fmla="*/ 1918675 w 1918675"/>
              <a:gd name="connsiteY0" fmla="*/ 18019 h 202412"/>
              <a:gd name="connsiteX1" fmla="*/ 968347 w 1918675"/>
              <a:gd name="connsiteY1" fmla="*/ 202310 h 202412"/>
              <a:gd name="connsiteX2" fmla="*/ 0 w 1918675"/>
              <a:gd name="connsiteY2" fmla="*/ -1 h 202412"/>
              <a:gd name="connsiteX0" fmla="*/ 1918675 w 1918675"/>
              <a:gd name="connsiteY0" fmla="*/ 18019 h 202412"/>
              <a:gd name="connsiteX1" fmla="*/ 968347 w 1918675"/>
              <a:gd name="connsiteY1" fmla="*/ 202310 h 202412"/>
              <a:gd name="connsiteX2" fmla="*/ 0 w 1918675"/>
              <a:gd name="connsiteY2" fmla="*/ -1 h 202412"/>
              <a:gd name="connsiteX0" fmla="*/ 1918675 w 1918675"/>
              <a:gd name="connsiteY0" fmla="*/ 18019 h 202375"/>
              <a:gd name="connsiteX1" fmla="*/ 968347 w 1918675"/>
              <a:gd name="connsiteY1" fmla="*/ 202310 h 202375"/>
              <a:gd name="connsiteX2" fmla="*/ 0 w 1918675"/>
              <a:gd name="connsiteY2" fmla="*/ -1 h 202375"/>
              <a:gd name="connsiteX0" fmla="*/ 1918675 w 1918675"/>
              <a:gd name="connsiteY0" fmla="*/ 18019 h 204793"/>
              <a:gd name="connsiteX1" fmla="*/ 968347 w 1918675"/>
              <a:gd name="connsiteY1" fmla="*/ 202310 h 204793"/>
              <a:gd name="connsiteX2" fmla="*/ 0 w 1918675"/>
              <a:gd name="connsiteY2" fmla="*/ -1 h 204793"/>
              <a:gd name="connsiteX0" fmla="*/ 1918675 w 1918675"/>
              <a:gd name="connsiteY0" fmla="*/ 18019 h 202375"/>
              <a:gd name="connsiteX1" fmla="*/ 968347 w 1918675"/>
              <a:gd name="connsiteY1" fmla="*/ 202310 h 202375"/>
              <a:gd name="connsiteX2" fmla="*/ 0 w 1918675"/>
              <a:gd name="connsiteY2" fmla="*/ -1 h 202375"/>
              <a:gd name="connsiteX0" fmla="*/ 1918675 w 1918675"/>
              <a:gd name="connsiteY0" fmla="*/ 18019 h 202511"/>
              <a:gd name="connsiteX1" fmla="*/ 968347 w 1918675"/>
              <a:gd name="connsiteY1" fmla="*/ 202310 h 202511"/>
              <a:gd name="connsiteX2" fmla="*/ 0 w 1918675"/>
              <a:gd name="connsiteY2" fmla="*/ -1 h 202511"/>
            </a:gdLst>
            <a:ahLst/>
            <a:cxnLst>
              <a:cxn ang="0">
                <a:pos x="connsiteX0" y="connsiteY0"/>
              </a:cxn>
              <a:cxn ang="0">
                <a:pos x="connsiteX1" y="connsiteY1"/>
              </a:cxn>
              <a:cxn ang="0">
                <a:pos x="connsiteX2" y="connsiteY2"/>
              </a:cxn>
            </a:cxnLst>
            <a:rect l="l" t="t" r="r" b="b"/>
            <a:pathLst>
              <a:path w="1918675" h="202511">
                <a:moveTo>
                  <a:pt x="1918675" y="18019"/>
                </a:moveTo>
                <a:cubicBezTo>
                  <a:pt x="1844526" y="106451"/>
                  <a:pt x="1495340" y="196303"/>
                  <a:pt x="968347" y="202310"/>
                </a:cubicBezTo>
                <a:cubicBezTo>
                  <a:pt x="441354" y="208317"/>
                  <a:pt x="83158" y="79421"/>
                  <a:pt x="0" y="-1"/>
                </a:cubicBezTo>
              </a:path>
            </a:pathLst>
          </a:custGeom>
          <a:noFill/>
          <a:ln w="76200" cap="rnd">
            <a:solidFill>
              <a:schemeClr val="tx1">
                <a:lumMod val="25000"/>
                <a:lumOff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23" name="Text Placeholder 3"/>
          <p:cNvSpPr txBox="1">
            <a:spLocks/>
          </p:cNvSpPr>
          <p:nvPr/>
        </p:nvSpPr>
        <p:spPr>
          <a:xfrm>
            <a:off x="648102" y="3395918"/>
            <a:ext cx="4161700" cy="1021213"/>
          </a:xfrm>
          <a:prstGeom prst="rect">
            <a:avLst/>
          </a:prstGeom>
        </p:spPr>
        <p:txBody>
          <a:bodyPr lIns="121893" tIns="60947" rIns="121893" bIns="60947">
            <a:noAutofit/>
          </a:bodyPr>
          <a:lstStyle>
            <a:lvl1pPr marL="0" indent="0" algn="l" defTabSz="684213" rtl="0" eaLnBrk="1" fontAlgn="base" hangingPunct="1">
              <a:lnSpc>
                <a:spcPct val="100000"/>
              </a:lnSpc>
              <a:spcBef>
                <a:spcPts val="1800"/>
              </a:spcBef>
              <a:spcAft>
                <a:spcPct val="0"/>
              </a:spcAft>
              <a:buClr>
                <a:schemeClr val="tx2"/>
              </a:buClr>
              <a:buSzPct val="80000"/>
              <a:buFont typeface="Arial"/>
              <a:buNone/>
              <a:defRPr lang="en-US" sz="1800" b="0" i="0" kern="1200">
                <a:solidFill>
                  <a:schemeClr val="tx1"/>
                </a:solidFill>
                <a:latin typeface="+mn-lt"/>
                <a:ea typeface="ＭＳ Ｐゴシック" charset="0"/>
                <a:cs typeface="CiscoSans ExtraLight"/>
              </a:defRPr>
            </a:lvl1pPr>
            <a:lvl2pPr marL="274320" indent="-274320" algn="l" defTabSz="684213" rtl="0" eaLnBrk="1" fontAlgn="base" hangingPunct="1">
              <a:lnSpc>
                <a:spcPct val="100000"/>
              </a:lnSpc>
              <a:spcBef>
                <a:spcPts val="900"/>
              </a:spcBef>
              <a:spcAft>
                <a:spcPct val="0"/>
              </a:spcAft>
              <a:buClr>
                <a:schemeClr val="tx1"/>
              </a:buClr>
              <a:buSzPct val="100000"/>
              <a:buFont typeface="Wingdings" charset="2"/>
              <a:buChar char="§"/>
              <a:defRPr lang="en-US" sz="1800" b="0" i="0" kern="1200">
                <a:solidFill>
                  <a:schemeClr val="tx1"/>
                </a:solidFill>
                <a:latin typeface="+mn-lt"/>
                <a:ea typeface="ＭＳ Ｐゴシック" charset="0"/>
                <a:cs typeface="CiscoSans ExtraLight"/>
              </a:defRPr>
            </a:lvl2pPr>
            <a:lvl3pPr marL="548640" indent="-274320" algn="l" defTabSz="684213" rtl="0" eaLnBrk="1" fontAlgn="base" hangingPunct="1">
              <a:lnSpc>
                <a:spcPct val="100000"/>
              </a:lnSpc>
              <a:spcBef>
                <a:spcPts val="700"/>
              </a:spcBef>
              <a:spcAft>
                <a:spcPct val="0"/>
              </a:spcAft>
              <a:buClrTx/>
              <a:buSzPct val="100000"/>
              <a:buFont typeface=".AppleSystemUIFont" charset="-120"/>
              <a:buChar char="–"/>
              <a:defRPr lang="en-US" sz="1400" b="0" i="0" kern="1200">
                <a:solidFill>
                  <a:schemeClr val="tx1"/>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2"/>
              </a:buClr>
              <a:buSzPct val="80000"/>
              <a:buFont typeface="Arial"/>
              <a:buChar char="•"/>
              <a:defRPr lang="en-US" sz="1800" b="0" i="0" kern="1200">
                <a:solidFill>
                  <a:schemeClr val="tx2"/>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2"/>
              </a:buClr>
              <a:buSzPct val="80000"/>
              <a:buFont typeface="Arial"/>
              <a:buChar char="•"/>
              <a:defRPr lang="en-US" sz="1800" b="0" i="0" kern="1200">
                <a:solidFill>
                  <a:schemeClr val="tx2"/>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912261" rtl="0" eaLnBrk="1" fontAlgn="base" latinLnBrk="0" hangingPunct="1">
              <a:lnSpc>
                <a:spcPct val="100000"/>
              </a:lnSpc>
              <a:spcBef>
                <a:spcPts val="2400"/>
              </a:spcBef>
              <a:spcAft>
                <a:spcPct val="0"/>
              </a:spcAft>
              <a:buClr>
                <a:srgbClr val="666666"/>
              </a:buClr>
              <a:buSzPct val="80000"/>
              <a:buFont typeface="Arial"/>
              <a:buNone/>
              <a:tabLst/>
              <a:defRPr/>
            </a:pPr>
            <a:r>
              <a:rPr kumimoji="0" lang="en-US" sz="1867" b="0" i="0" u="none" strike="noStrike" kern="1200" cap="none" spc="0" normalizeH="0" baseline="0" noProof="0">
                <a:ln>
                  <a:noFill/>
                </a:ln>
                <a:solidFill>
                  <a:srgbClr val="00BCEB"/>
                </a:solidFill>
                <a:effectLst/>
                <a:uLnTx/>
                <a:uFillTx/>
                <a:latin typeface="CiscoSans Light" panose="020B0503020201020303" pitchFamily="34" charset="0"/>
                <a:ea typeface="ＭＳ Ｐゴシック" charset="0"/>
                <a:sym typeface="Arial"/>
              </a:rPr>
              <a:t>Co-occurrence model</a:t>
            </a:r>
          </a:p>
          <a:p>
            <a:pPr marL="0" marR="0" lvl="0" indent="0" algn="l" defTabSz="912261" rtl="0" eaLnBrk="1" fontAlgn="base" latinLnBrk="0" hangingPunct="1">
              <a:lnSpc>
                <a:spcPct val="100000"/>
              </a:lnSpc>
              <a:spcBef>
                <a:spcPts val="0"/>
              </a:spcBef>
              <a:spcAft>
                <a:spcPct val="0"/>
              </a:spcAft>
              <a:buClr>
                <a:srgbClr val="666666"/>
              </a:buClr>
              <a:buSzPct val="80000"/>
              <a:buFont typeface="Arial"/>
              <a:buNone/>
              <a:tabLst/>
              <a:defRPr/>
            </a:pPr>
            <a:r>
              <a:rPr kumimoji="0" lang="en-US" sz="1600" b="0" i="0" u="none" strike="noStrike" kern="1200" cap="none" spc="0" normalizeH="0" baseline="0" noProof="0">
                <a:ln>
                  <a:noFill/>
                </a:ln>
                <a:solidFill>
                  <a:srgbClr val="333333"/>
                </a:solidFill>
                <a:effectLst/>
                <a:uLnTx/>
                <a:uFillTx/>
                <a:latin typeface="CiscoSans Light" panose="020B0503020201020303" pitchFamily="34" charset="0"/>
                <a:ea typeface="ＭＳ Ｐゴシック" charset="0"/>
                <a:cs typeface="ＭＳ Ｐゴシック" charset="0"/>
                <a:sym typeface="Arial"/>
              </a:rPr>
              <a:t>Identifies other domains looked up in </a:t>
            </a:r>
            <a:br>
              <a:rPr kumimoji="0" lang="en-US" sz="1600" b="0" i="0" u="none" strike="noStrike" kern="1200" cap="none" spc="0" normalizeH="0" baseline="0" noProof="0">
                <a:ln>
                  <a:noFill/>
                </a:ln>
                <a:solidFill>
                  <a:srgbClr val="333333"/>
                </a:solidFill>
                <a:effectLst/>
                <a:uLnTx/>
                <a:uFillTx/>
                <a:latin typeface="CiscoSans Light" panose="020B0503020201020303" pitchFamily="34" charset="0"/>
                <a:ea typeface="ＭＳ Ｐゴシック" charset="0"/>
                <a:cs typeface="ＭＳ Ｐゴシック" charset="0"/>
                <a:sym typeface="Arial"/>
              </a:rPr>
            </a:br>
            <a:r>
              <a:rPr kumimoji="0" lang="en-US" sz="1600" b="0" i="0" u="none" strike="noStrike" kern="1200" cap="none" spc="0" normalizeH="0" baseline="0" noProof="0">
                <a:ln>
                  <a:noFill/>
                </a:ln>
                <a:solidFill>
                  <a:srgbClr val="333333"/>
                </a:solidFill>
                <a:effectLst/>
                <a:uLnTx/>
                <a:uFillTx/>
                <a:latin typeface="CiscoSans Light" panose="020B0503020201020303" pitchFamily="34" charset="0"/>
                <a:ea typeface="ＭＳ Ｐゴシック" charset="0"/>
                <a:cs typeface="ＭＳ Ｐゴシック" charset="0"/>
                <a:sym typeface="Arial"/>
              </a:rPr>
              <a:t>rapid succession of a given domain</a:t>
            </a:r>
          </a:p>
          <a:p>
            <a:pPr marL="0" marR="0" lvl="0" indent="0" algn="l" defTabSz="912261" rtl="0" eaLnBrk="1" fontAlgn="base" latinLnBrk="0" hangingPunct="1">
              <a:lnSpc>
                <a:spcPct val="100000"/>
              </a:lnSpc>
              <a:spcBef>
                <a:spcPts val="0"/>
              </a:spcBef>
              <a:spcAft>
                <a:spcPct val="0"/>
              </a:spcAft>
              <a:buClr>
                <a:srgbClr val="666666"/>
              </a:buClr>
              <a:buSzPct val="80000"/>
              <a:buFont typeface="Arial"/>
              <a:buNone/>
              <a:tabLst/>
              <a:defRPr/>
            </a:pPr>
            <a:endParaRPr kumimoji="0" lang="en-US" sz="1600" b="0" i="0" u="none" strike="noStrike" kern="1200" cap="none" spc="0" normalizeH="0" baseline="0" noProof="0">
              <a:ln>
                <a:noFill/>
              </a:ln>
              <a:solidFill>
                <a:srgbClr val="049FD9"/>
              </a:solidFill>
              <a:effectLst/>
              <a:uLnTx/>
              <a:uFillTx/>
              <a:latin typeface="CiscoSans Light" panose="020B0503020201020303" pitchFamily="34" charset="0"/>
              <a:ea typeface="ＭＳ Ｐゴシック" charset="0"/>
              <a:cs typeface="ＭＳ Ｐゴシック" charset="0"/>
              <a:sym typeface="Arial"/>
            </a:endParaRPr>
          </a:p>
          <a:p>
            <a:pPr marL="0" marR="0" lvl="0" indent="0" algn="l" defTabSz="912261" rtl="0" eaLnBrk="1" fontAlgn="base" latinLnBrk="0" hangingPunct="1">
              <a:lnSpc>
                <a:spcPct val="100000"/>
              </a:lnSpc>
              <a:spcBef>
                <a:spcPts val="0"/>
              </a:spcBef>
              <a:spcAft>
                <a:spcPct val="0"/>
              </a:spcAft>
              <a:buClr>
                <a:srgbClr val="666666"/>
              </a:buClr>
              <a:buSzPct val="80000"/>
              <a:buFont typeface="Arial"/>
              <a:buNone/>
              <a:tabLst/>
              <a:defRPr/>
            </a:pPr>
            <a:r>
              <a:rPr kumimoji="0" lang="en-US" sz="1867" b="0" i="0" u="none" strike="noStrike" kern="1200" cap="none" spc="0" normalizeH="0" baseline="0" noProof="0">
                <a:ln>
                  <a:noFill/>
                </a:ln>
                <a:solidFill>
                  <a:srgbClr val="00BCEB"/>
                </a:solidFill>
                <a:effectLst/>
                <a:uLnTx/>
                <a:uFillTx/>
                <a:latin typeface="CiscoSans Light" panose="020B0503020201020303" pitchFamily="34" charset="0"/>
                <a:ea typeface="ＭＳ Ｐゴシック" charset="0"/>
                <a:cs typeface="ＭＳ Ｐゴシック" charset="0"/>
                <a:sym typeface="Arial"/>
              </a:rPr>
              <a:t>Natural language processing model</a:t>
            </a:r>
          </a:p>
          <a:p>
            <a:pPr marL="0" marR="0" lvl="0" indent="0" algn="l" defTabSz="912261" rtl="0" eaLnBrk="1" fontAlgn="base" latinLnBrk="0" hangingPunct="1">
              <a:lnSpc>
                <a:spcPct val="100000"/>
              </a:lnSpc>
              <a:spcBef>
                <a:spcPts val="0"/>
              </a:spcBef>
              <a:spcAft>
                <a:spcPct val="0"/>
              </a:spcAft>
              <a:buClr>
                <a:srgbClr val="666666"/>
              </a:buClr>
              <a:buSzPct val="80000"/>
              <a:buFont typeface="Arial"/>
              <a:buNone/>
              <a:tabLst/>
              <a:defRPr/>
            </a:pPr>
            <a:r>
              <a:rPr kumimoji="0" lang="en-US" sz="1600" b="0" i="0" u="none" strike="noStrike" kern="1200" cap="none" spc="0" normalizeH="0" baseline="0" noProof="0">
                <a:ln>
                  <a:noFill/>
                </a:ln>
                <a:solidFill>
                  <a:srgbClr val="333333"/>
                </a:solidFill>
                <a:effectLst/>
                <a:uLnTx/>
                <a:uFillTx/>
                <a:latin typeface="CiscoSans Light" panose="020B0503020201020303" pitchFamily="34" charset="0"/>
                <a:ea typeface="ＭＳ Ｐゴシック" charset="0"/>
                <a:cs typeface="ＭＳ Ｐゴシック" charset="0"/>
                <a:sym typeface="Arial"/>
              </a:rPr>
              <a:t>Detect domain names that spoof terms and brands</a:t>
            </a:r>
            <a:endParaRPr kumimoji="0" lang="en-US" sz="1600" b="0" i="0" u="none" strike="noStrike" kern="1200" cap="none" spc="0" normalizeH="0" baseline="0" noProof="0">
              <a:ln>
                <a:noFill/>
              </a:ln>
              <a:solidFill>
                <a:srgbClr val="049FD9"/>
              </a:solidFill>
              <a:effectLst/>
              <a:uLnTx/>
              <a:uFillTx/>
              <a:latin typeface="CiscoSans Light" panose="020B0503020201020303" pitchFamily="34" charset="0"/>
              <a:ea typeface="ＭＳ Ｐゴシック" charset="0"/>
              <a:sym typeface="Arial"/>
            </a:endParaRPr>
          </a:p>
          <a:p>
            <a:pPr marL="0" marR="0" lvl="0" indent="0" algn="l" defTabSz="912261" rtl="0" eaLnBrk="1" fontAlgn="base" latinLnBrk="0" hangingPunct="1">
              <a:lnSpc>
                <a:spcPct val="100000"/>
              </a:lnSpc>
              <a:spcBef>
                <a:spcPts val="0"/>
              </a:spcBef>
              <a:spcAft>
                <a:spcPct val="0"/>
              </a:spcAft>
              <a:buClr>
                <a:srgbClr val="666666"/>
              </a:buClr>
              <a:buSzPct val="80000"/>
              <a:buFont typeface="Arial"/>
              <a:buNone/>
              <a:tabLst/>
              <a:defRPr/>
            </a:pPr>
            <a:endParaRPr kumimoji="0" lang="en-US" sz="1600" b="0" i="0" u="none" strike="noStrike" kern="1200" cap="none" spc="0" normalizeH="0" baseline="0" noProof="0">
              <a:ln>
                <a:noFill/>
              </a:ln>
              <a:solidFill>
                <a:srgbClr val="049FD9"/>
              </a:solidFill>
              <a:effectLst/>
              <a:uLnTx/>
              <a:uFillTx/>
              <a:latin typeface="CiscoSans Light" panose="020B0503020201020303" pitchFamily="34" charset="0"/>
              <a:ea typeface="ＭＳ Ｐゴシック" charset="0"/>
              <a:sym typeface="Arial"/>
            </a:endParaRPr>
          </a:p>
        </p:txBody>
      </p:sp>
      <p:sp>
        <p:nvSpPr>
          <p:cNvPr id="230" name="Text Placeholder 3"/>
          <p:cNvSpPr txBox="1">
            <a:spLocks/>
          </p:cNvSpPr>
          <p:nvPr/>
        </p:nvSpPr>
        <p:spPr>
          <a:xfrm>
            <a:off x="8183976" y="2876361"/>
            <a:ext cx="3753971" cy="864847"/>
          </a:xfrm>
          <a:prstGeom prst="rect">
            <a:avLst/>
          </a:prstGeom>
        </p:spPr>
        <p:txBody>
          <a:bodyPr lIns="121893" tIns="60947" rIns="121893" bIns="60947">
            <a:noAutofit/>
          </a:bodyPr>
          <a:lstStyle>
            <a:lvl1pPr marL="0" indent="0" algn="l" defTabSz="684213" rtl="0" eaLnBrk="1" fontAlgn="base" hangingPunct="1">
              <a:lnSpc>
                <a:spcPct val="100000"/>
              </a:lnSpc>
              <a:spcBef>
                <a:spcPts val="1800"/>
              </a:spcBef>
              <a:spcAft>
                <a:spcPct val="0"/>
              </a:spcAft>
              <a:buClr>
                <a:schemeClr val="tx2"/>
              </a:buClr>
              <a:buSzPct val="80000"/>
              <a:buFont typeface="Arial"/>
              <a:buNone/>
              <a:defRPr lang="en-US" sz="1800" b="0" i="0" kern="1200">
                <a:solidFill>
                  <a:schemeClr val="tx1"/>
                </a:solidFill>
                <a:latin typeface="+mn-lt"/>
                <a:ea typeface="ＭＳ Ｐゴシック" charset="0"/>
                <a:cs typeface="CiscoSans ExtraLight"/>
              </a:defRPr>
            </a:lvl1pPr>
            <a:lvl2pPr marL="274320" indent="-274320" algn="l" defTabSz="684213" rtl="0" eaLnBrk="1" fontAlgn="base" hangingPunct="1">
              <a:lnSpc>
                <a:spcPct val="100000"/>
              </a:lnSpc>
              <a:spcBef>
                <a:spcPts val="900"/>
              </a:spcBef>
              <a:spcAft>
                <a:spcPct val="0"/>
              </a:spcAft>
              <a:buClr>
                <a:schemeClr val="tx1"/>
              </a:buClr>
              <a:buSzPct val="100000"/>
              <a:buFont typeface="Wingdings" charset="2"/>
              <a:buChar char="§"/>
              <a:defRPr lang="en-US" sz="1800" b="0" i="0" kern="1200">
                <a:solidFill>
                  <a:schemeClr val="tx1"/>
                </a:solidFill>
                <a:latin typeface="+mn-lt"/>
                <a:ea typeface="ＭＳ Ｐゴシック" charset="0"/>
                <a:cs typeface="CiscoSans ExtraLight"/>
              </a:defRPr>
            </a:lvl2pPr>
            <a:lvl3pPr marL="548640" indent="-274320" algn="l" defTabSz="684213" rtl="0" eaLnBrk="1" fontAlgn="base" hangingPunct="1">
              <a:lnSpc>
                <a:spcPct val="100000"/>
              </a:lnSpc>
              <a:spcBef>
                <a:spcPts val="700"/>
              </a:spcBef>
              <a:spcAft>
                <a:spcPct val="0"/>
              </a:spcAft>
              <a:buClrTx/>
              <a:buSzPct val="100000"/>
              <a:buFont typeface=".AppleSystemUIFont" charset="-120"/>
              <a:buChar char="–"/>
              <a:defRPr lang="en-US" sz="1400" b="0" i="0" kern="1200">
                <a:solidFill>
                  <a:schemeClr val="tx1"/>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2"/>
              </a:buClr>
              <a:buSzPct val="80000"/>
              <a:buFont typeface="Arial"/>
              <a:buChar char="•"/>
              <a:defRPr lang="en-US" sz="1800" b="0" i="0" kern="1200">
                <a:solidFill>
                  <a:schemeClr val="tx2"/>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2"/>
              </a:buClr>
              <a:buSzPct val="80000"/>
              <a:buFont typeface="Arial"/>
              <a:buChar char="•"/>
              <a:defRPr lang="en-US" sz="1800" b="0" i="0" kern="1200">
                <a:solidFill>
                  <a:schemeClr val="tx2"/>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912261" rtl="0" eaLnBrk="1" fontAlgn="base" latinLnBrk="0" hangingPunct="1">
              <a:lnSpc>
                <a:spcPct val="100000"/>
              </a:lnSpc>
              <a:spcBef>
                <a:spcPts val="2400"/>
              </a:spcBef>
              <a:spcAft>
                <a:spcPct val="0"/>
              </a:spcAft>
              <a:buClr>
                <a:srgbClr val="666666"/>
              </a:buClr>
              <a:buSzPct val="80000"/>
              <a:buFont typeface="Arial"/>
              <a:buNone/>
              <a:tabLst/>
              <a:defRPr/>
            </a:pPr>
            <a:r>
              <a:rPr kumimoji="0" lang="en-US" sz="1867" b="0" i="0" u="none" strike="noStrike" kern="1200" cap="none" spc="0" normalizeH="0" baseline="0" noProof="0">
                <a:ln>
                  <a:noFill/>
                </a:ln>
                <a:solidFill>
                  <a:srgbClr val="00BCEB"/>
                </a:solidFill>
                <a:effectLst/>
                <a:uLnTx/>
                <a:uFillTx/>
                <a:latin typeface="CiscoSans Light" panose="020B0503020201020303" pitchFamily="34" charset="0"/>
                <a:ea typeface="ＭＳ Ｐゴシック" charset="0"/>
                <a:cs typeface="ＭＳ Ｐゴシック" charset="0"/>
                <a:sym typeface="Arial"/>
              </a:rPr>
              <a:t>Spike rank model</a:t>
            </a:r>
          </a:p>
          <a:p>
            <a:pPr marL="0" marR="0" lvl="0" indent="0" algn="l" defTabSz="912261" rtl="0" eaLnBrk="1" fontAlgn="base" latinLnBrk="0" hangingPunct="1">
              <a:lnSpc>
                <a:spcPct val="100000"/>
              </a:lnSpc>
              <a:spcBef>
                <a:spcPts val="0"/>
              </a:spcBef>
              <a:spcAft>
                <a:spcPct val="0"/>
              </a:spcAft>
              <a:buClr>
                <a:srgbClr val="666666"/>
              </a:buClr>
              <a:buSzPct val="80000"/>
              <a:buFont typeface="Arial"/>
              <a:buNone/>
              <a:tabLst/>
              <a:defRPr/>
            </a:pPr>
            <a:r>
              <a:rPr kumimoji="0" lang="en-US" sz="1600" b="0" i="0" u="none" strike="noStrike" kern="1200" cap="none" spc="0" normalizeH="0" baseline="0" noProof="0">
                <a:ln>
                  <a:noFill/>
                </a:ln>
                <a:solidFill>
                  <a:srgbClr val="333333"/>
                </a:solidFill>
                <a:effectLst/>
                <a:uLnTx/>
                <a:uFillTx/>
                <a:latin typeface="CiscoSans Light" panose="020B0503020201020303" pitchFamily="34" charset="0"/>
                <a:ea typeface="ＭＳ Ｐゴシック" charset="0"/>
                <a:cs typeface="ＭＳ Ｐゴシック" charset="0"/>
                <a:sym typeface="Arial"/>
              </a:rPr>
              <a:t>Detect domains with sudden </a:t>
            </a:r>
          </a:p>
          <a:p>
            <a:pPr marL="0" marR="0" lvl="0" indent="0" algn="l" defTabSz="912261" rtl="0" eaLnBrk="1" fontAlgn="base" latinLnBrk="0" hangingPunct="1">
              <a:lnSpc>
                <a:spcPct val="100000"/>
              </a:lnSpc>
              <a:spcBef>
                <a:spcPts val="0"/>
              </a:spcBef>
              <a:spcAft>
                <a:spcPct val="0"/>
              </a:spcAft>
              <a:buClr>
                <a:srgbClr val="666666"/>
              </a:buClr>
              <a:buSzPct val="80000"/>
              <a:buFont typeface="Arial"/>
              <a:buNone/>
              <a:tabLst/>
              <a:defRPr/>
            </a:pPr>
            <a:r>
              <a:rPr kumimoji="0" lang="en-US" sz="1600" b="0" i="0" u="none" strike="noStrike" kern="1200" cap="none" spc="0" normalizeH="0" baseline="0" noProof="0">
                <a:ln>
                  <a:noFill/>
                </a:ln>
                <a:solidFill>
                  <a:srgbClr val="333333"/>
                </a:solidFill>
                <a:effectLst/>
                <a:uLnTx/>
                <a:uFillTx/>
                <a:latin typeface="CiscoSans Light" panose="020B0503020201020303" pitchFamily="34" charset="0"/>
                <a:ea typeface="ＭＳ Ｐゴシック" charset="0"/>
                <a:cs typeface="ＭＳ Ｐゴシック" charset="0"/>
                <a:sym typeface="Arial"/>
              </a:rPr>
              <a:t>spikes in traffic</a:t>
            </a:r>
          </a:p>
          <a:p>
            <a:pPr marL="0" marR="0" lvl="0" indent="0" algn="l" defTabSz="912261" rtl="0" eaLnBrk="1" fontAlgn="base" latinLnBrk="0" hangingPunct="1">
              <a:lnSpc>
                <a:spcPct val="100000"/>
              </a:lnSpc>
              <a:spcBef>
                <a:spcPts val="0"/>
              </a:spcBef>
              <a:spcAft>
                <a:spcPct val="0"/>
              </a:spcAft>
              <a:buClr>
                <a:srgbClr val="666666"/>
              </a:buClr>
              <a:buSzPct val="80000"/>
              <a:buFont typeface="Arial"/>
              <a:buNone/>
              <a:tabLst/>
              <a:defRPr/>
            </a:pPr>
            <a:endParaRPr kumimoji="0" lang="en-US" sz="1600" b="0" i="0" u="none" strike="noStrike" kern="1200" cap="none" spc="0" normalizeH="0" baseline="0" noProof="0">
              <a:ln>
                <a:noFill/>
              </a:ln>
              <a:solidFill>
                <a:srgbClr val="049FD9"/>
              </a:solidFill>
              <a:effectLst/>
              <a:uLnTx/>
              <a:uFillTx/>
              <a:latin typeface="CiscoSans Light" panose="020B0503020201020303" pitchFamily="34" charset="0"/>
              <a:ea typeface="ＭＳ Ｐゴシック" charset="0"/>
              <a:cs typeface="ＭＳ Ｐゴシック" charset="0"/>
              <a:sym typeface="Arial"/>
            </a:endParaRPr>
          </a:p>
          <a:p>
            <a:pPr marL="0" marR="0" lvl="0" indent="0" algn="l" defTabSz="912261" rtl="0" eaLnBrk="1" fontAlgn="base" latinLnBrk="0" hangingPunct="1">
              <a:lnSpc>
                <a:spcPct val="100000"/>
              </a:lnSpc>
              <a:spcBef>
                <a:spcPts val="0"/>
              </a:spcBef>
              <a:spcAft>
                <a:spcPct val="0"/>
              </a:spcAft>
              <a:buClr>
                <a:srgbClr val="666666"/>
              </a:buClr>
              <a:buSzPct val="80000"/>
              <a:buFont typeface="Arial"/>
              <a:buNone/>
              <a:tabLst/>
              <a:defRPr/>
            </a:pPr>
            <a:r>
              <a:rPr kumimoji="0" lang="en-US" sz="1867" b="0" i="0" u="none" strike="noStrike" kern="1200" cap="none" spc="0" normalizeH="0" baseline="0" noProof="0">
                <a:ln>
                  <a:noFill/>
                </a:ln>
                <a:solidFill>
                  <a:srgbClr val="00BCEB"/>
                </a:solidFill>
                <a:effectLst/>
                <a:uLnTx/>
                <a:uFillTx/>
                <a:latin typeface="CiscoSans Light" panose="020B0503020201020303" pitchFamily="34" charset="0"/>
                <a:ea typeface="ＭＳ Ｐゴシック" charset="0"/>
                <a:cs typeface="ＭＳ Ｐゴシック" charset="0"/>
                <a:sym typeface="Arial"/>
              </a:rPr>
              <a:t>Predictive IP space monitoring</a:t>
            </a:r>
          </a:p>
          <a:p>
            <a:pPr marL="0" marR="0" lvl="0" indent="0" algn="l" defTabSz="912261" rtl="0" eaLnBrk="1" fontAlgn="base" latinLnBrk="0" hangingPunct="1">
              <a:lnSpc>
                <a:spcPct val="100000"/>
              </a:lnSpc>
              <a:spcBef>
                <a:spcPts val="0"/>
              </a:spcBef>
              <a:spcAft>
                <a:spcPct val="0"/>
              </a:spcAft>
              <a:buClr>
                <a:srgbClr val="666666"/>
              </a:buClr>
              <a:buSzPct val="80000"/>
              <a:buFont typeface="Arial"/>
              <a:buNone/>
              <a:tabLst/>
              <a:defRPr/>
            </a:pPr>
            <a:r>
              <a:rPr kumimoji="1" lang="en-US" sz="1600" b="0" i="0" u="none" strike="noStrike" kern="0" cap="none" spc="0" normalizeH="0" baseline="0" noProof="0">
                <a:ln>
                  <a:noFill/>
                </a:ln>
                <a:solidFill>
                  <a:srgbClr val="000000"/>
                </a:solidFill>
                <a:effectLst/>
                <a:uLnTx/>
                <a:uFillTx/>
                <a:latin typeface="CiscoSans Light" panose="020B0503020201020303" pitchFamily="34" charset="0"/>
                <a:ea typeface="ＭＳ Ｐゴシック" charset="0"/>
                <a:sym typeface="Arial"/>
              </a:rPr>
              <a:t>Analyzes how servers are hosted </a:t>
            </a:r>
            <a:br>
              <a:rPr kumimoji="1" lang="en-US" sz="1600" b="0" i="0" u="none" strike="noStrike" kern="0" cap="none" spc="0" normalizeH="0" baseline="0" noProof="0">
                <a:ln>
                  <a:noFill/>
                </a:ln>
                <a:solidFill>
                  <a:srgbClr val="000000"/>
                </a:solidFill>
                <a:effectLst/>
                <a:uLnTx/>
                <a:uFillTx/>
                <a:latin typeface="CiscoSans Light" panose="020B0503020201020303" pitchFamily="34" charset="0"/>
                <a:ea typeface="ＭＳ Ｐゴシック" charset="0"/>
                <a:sym typeface="Arial"/>
              </a:rPr>
            </a:br>
            <a:r>
              <a:rPr kumimoji="1" lang="en-US" sz="1600" b="0" i="0" u="none" strike="noStrike" kern="0" cap="none" spc="0" normalizeH="0" baseline="0" noProof="0">
                <a:ln>
                  <a:noFill/>
                </a:ln>
                <a:solidFill>
                  <a:srgbClr val="000000"/>
                </a:solidFill>
                <a:effectLst/>
                <a:uLnTx/>
                <a:uFillTx/>
                <a:latin typeface="CiscoSans Light" panose="020B0503020201020303" pitchFamily="34" charset="0"/>
                <a:ea typeface="ＭＳ Ｐゴシック" charset="0"/>
                <a:sym typeface="Arial"/>
              </a:rPr>
              <a:t>to detect future malicious domains</a:t>
            </a:r>
          </a:p>
          <a:p>
            <a:pPr marL="0" marR="0" lvl="0" indent="0" algn="l" defTabSz="609585" rtl="0" eaLnBrk="1" fontAlgn="base" latinLnBrk="0" hangingPunct="1">
              <a:lnSpc>
                <a:spcPct val="100000"/>
              </a:lnSpc>
              <a:spcBef>
                <a:spcPts val="0"/>
              </a:spcBef>
              <a:spcAft>
                <a:spcPct val="0"/>
              </a:spcAft>
              <a:buClrTx/>
              <a:buSzTx/>
              <a:buFont typeface="Arial"/>
              <a:buNone/>
              <a:tabLst/>
              <a:defRPr/>
            </a:pPr>
            <a:endParaRPr kumimoji="0" lang="en-US" sz="1600" b="0" i="0" u="none" strike="noStrike" kern="1200" cap="none" spc="0" normalizeH="0" baseline="0" noProof="0">
              <a:ln>
                <a:noFill/>
              </a:ln>
              <a:solidFill>
                <a:srgbClr val="049FD9"/>
              </a:solidFill>
              <a:effectLst/>
              <a:uLnTx/>
              <a:uFillTx/>
              <a:latin typeface="CiscoSans Light" panose="020B0503020201020303" pitchFamily="34" charset="0"/>
              <a:ea typeface="ＭＳ Ｐゴシック" pitchFamily="34" charset="-128"/>
              <a:cs typeface="ＭＳ Ｐゴシック" charset="0"/>
              <a:sym typeface="Arial"/>
            </a:endParaRPr>
          </a:p>
          <a:p>
            <a:pPr marL="0" marR="0" lvl="0" indent="0" algn="l" defTabSz="609585" rtl="0" eaLnBrk="1" fontAlgn="base" latinLnBrk="0" hangingPunct="1">
              <a:lnSpc>
                <a:spcPct val="100000"/>
              </a:lnSpc>
              <a:spcBef>
                <a:spcPts val="0"/>
              </a:spcBef>
              <a:spcAft>
                <a:spcPct val="0"/>
              </a:spcAft>
              <a:buClr>
                <a:srgbClr val="666666"/>
              </a:buClr>
              <a:buSzTx/>
              <a:buFont typeface="Arial"/>
              <a:buNone/>
              <a:tabLst/>
              <a:defRPr/>
            </a:pPr>
            <a:r>
              <a:rPr kumimoji="0" lang="en-US" sz="1867" b="0" i="0" u="none" strike="noStrike" kern="1200" cap="none" spc="0" normalizeH="0" baseline="0" noProof="0">
                <a:ln>
                  <a:noFill/>
                </a:ln>
                <a:solidFill>
                  <a:srgbClr val="00BCEB"/>
                </a:solidFill>
                <a:effectLst/>
                <a:uLnTx/>
                <a:uFillTx/>
                <a:latin typeface="CiscoSans Light" panose="020B0503020201020303" pitchFamily="34" charset="0"/>
                <a:ea typeface="ＭＳ Ｐゴシック" pitchFamily="34" charset="-128"/>
                <a:cs typeface="ＭＳ Ｐゴシック" charset="0"/>
                <a:sym typeface="Arial"/>
              </a:rPr>
              <a:t>Dozens more models</a:t>
            </a:r>
            <a:endParaRPr kumimoji="0" lang="en-US" sz="1600" b="0" i="0" u="none" strike="noStrike" kern="1200" cap="none" spc="0" normalizeH="0" baseline="0" noProof="0">
              <a:ln>
                <a:noFill/>
              </a:ln>
              <a:solidFill>
                <a:srgbClr val="00BCEB"/>
              </a:solidFill>
              <a:effectLst/>
              <a:uLnTx/>
              <a:uFillTx/>
              <a:latin typeface="CiscoSans Light" panose="020B0503020201020303" pitchFamily="34" charset="0"/>
              <a:ea typeface="ＭＳ Ｐゴシック" charset="0"/>
              <a:sym typeface="Arial"/>
            </a:endParaRPr>
          </a:p>
        </p:txBody>
      </p:sp>
      <p:cxnSp>
        <p:nvCxnSpPr>
          <p:cNvPr id="232" name="Straight Connector 231"/>
          <p:cNvCxnSpPr/>
          <p:nvPr/>
        </p:nvCxnSpPr>
        <p:spPr>
          <a:xfrm flipH="1">
            <a:off x="7263539" y="3093828"/>
            <a:ext cx="916725" cy="0"/>
          </a:xfrm>
          <a:prstGeom prst="line">
            <a:avLst/>
          </a:prstGeom>
          <a:ln w="12700" cap="rnd">
            <a:tailEnd type="oval" w="sm" len="sm"/>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p:nvPr/>
        </p:nvCxnSpPr>
        <p:spPr>
          <a:xfrm flipH="1">
            <a:off x="6901911" y="4109673"/>
            <a:ext cx="1278356" cy="0"/>
          </a:xfrm>
          <a:prstGeom prst="line">
            <a:avLst/>
          </a:prstGeom>
          <a:ln w="12700" cap="rnd">
            <a:tailEnd type="oval" w="sm" len="sm"/>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flipH="1">
            <a:off x="6536814" y="5125519"/>
            <a:ext cx="1643452" cy="0"/>
          </a:xfrm>
          <a:prstGeom prst="line">
            <a:avLst/>
          </a:prstGeom>
          <a:ln w="12700" cap="rnd">
            <a:tailEnd type="oval" w="sm" len="sm"/>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a:cxnSpLocks/>
          </p:cNvCxnSpPr>
          <p:nvPr/>
        </p:nvCxnSpPr>
        <p:spPr>
          <a:xfrm>
            <a:off x="3318235" y="3601751"/>
            <a:ext cx="1810147" cy="0"/>
          </a:xfrm>
          <a:prstGeom prst="line">
            <a:avLst/>
          </a:prstGeom>
          <a:ln w="12700" cap="rnd">
            <a:tailEnd type="oval" w="sm" len="sm"/>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a:cxnSpLocks/>
          </p:cNvCxnSpPr>
          <p:nvPr/>
        </p:nvCxnSpPr>
        <p:spPr>
          <a:xfrm>
            <a:off x="4688264" y="4617596"/>
            <a:ext cx="892275" cy="0"/>
          </a:xfrm>
          <a:prstGeom prst="line">
            <a:avLst/>
          </a:prstGeom>
          <a:ln w="12700" cap="rnd">
            <a:tailEnd type="oval" w="sm" len="sm"/>
          </a:ln>
        </p:spPr>
        <p:style>
          <a:lnRef idx="1">
            <a:schemeClr val="accent1"/>
          </a:lnRef>
          <a:fillRef idx="0">
            <a:schemeClr val="accent1"/>
          </a:fillRef>
          <a:effectRef idx="0">
            <a:schemeClr val="accent1"/>
          </a:effectRef>
          <a:fontRef idx="minor">
            <a:schemeClr val="tx1"/>
          </a:fontRef>
        </p:style>
      </p:cxnSp>
      <p:sp>
        <p:nvSpPr>
          <p:cNvPr id="148" name="Rectangle 147"/>
          <p:cNvSpPr/>
          <p:nvPr/>
        </p:nvSpPr>
        <p:spPr>
          <a:xfrm>
            <a:off x="648102" y="1663071"/>
            <a:ext cx="4345756" cy="830997"/>
          </a:xfrm>
          <a:prstGeom prst="rect">
            <a:avLst/>
          </a:prstGeom>
        </p:spPr>
        <p:txBody>
          <a:bodyPr wrap="square">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BCEB"/>
                </a:solidFill>
                <a:effectLst/>
                <a:uLnTx/>
                <a:uFillTx/>
                <a:latin typeface="CiscoSansTT ExtraLight" panose="020B0303020201020303" pitchFamily="34" charset="0"/>
                <a:ea typeface="ＭＳ Ｐゴシック" charset="0"/>
                <a:cs typeface="CiscoSansTT ExtraLight" panose="020B0303020201020303" pitchFamily="34" charset="0"/>
                <a:sym typeface="Arial"/>
              </a:rPr>
              <a:t>Using multiple </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BCEB"/>
                </a:solidFill>
                <a:effectLst/>
                <a:uLnTx/>
                <a:uFillTx/>
                <a:latin typeface="CiscoSansTT ExtraLight" panose="020B0303020201020303" pitchFamily="34" charset="0"/>
                <a:ea typeface="ＭＳ Ｐゴシック" charset="0"/>
                <a:cs typeface="CiscoSansTT ExtraLight" panose="020B0303020201020303" pitchFamily="34" charset="0"/>
                <a:sym typeface="Arial"/>
              </a:rPr>
              <a:t>statistical models</a:t>
            </a:r>
            <a:endParaRPr kumimoji="0" lang="en-US" sz="2400" b="0" i="0" u="none" strike="noStrike" kern="1200" cap="none" spc="0" normalizeH="0" baseline="0" noProof="0">
              <a:ln>
                <a:noFill/>
              </a:ln>
              <a:solidFill>
                <a:srgbClr val="00BCEB"/>
              </a:solidFill>
              <a:effectLst/>
              <a:uLnTx/>
              <a:uFillTx/>
              <a:latin typeface="Arial" charset="0"/>
              <a:ea typeface="ＭＳ Ｐゴシック" charset="0"/>
              <a:cs typeface="Arial"/>
              <a:sym typeface="Arial"/>
            </a:endParaRPr>
          </a:p>
        </p:txBody>
      </p:sp>
      <p:sp>
        <p:nvSpPr>
          <p:cNvPr id="266" name="Title 1">
            <a:extLst>
              <a:ext uri="{FF2B5EF4-FFF2-40B4-BE49-F238E27FC236}">
                <a16:creationId xmlns:a16="http://schemas.microsoft.com/office/drawing/2014/main" id="{7E6393E4-FD78-C248-8E48-27F14ADD4FC9}"/>
              </a:ext>
            </a:extLst>
          </p:cNvPr>
          <p:cNvSpPr txBox="1">
            <a:spLocks/>
          </p:cNvSpPr>
          <p:nvPr/>
        </p:nvSpPr>
        <p:spPr bwMode="auto">
          <a:xfrm>
            <a:off x="583687" y="439611"/>
            <a:ext cx="1098872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9" tIns="60949" rIns="121899" bIns="60949"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kern="120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ctr" defTabSz="912261" rtl="0" eaLnBrk="1" fontAlgn="base" latinLnBrk="0" hangingPunct="1">
              <a:lnSpc>
                <a:spcPct val="80000"/>
              </a:lnSpc>
              <a:spcBef>
                <a:spcPct val="0"/>
              </a:spcBef>
              <a:spcAft>
                <a:spcPct val="0"/>
              </a:spcAft>
              <a:buClrTx/>
              <a:buSzTx/>
              <a:buFontTx/>
              <a:buNone/>
              <a:tabLst/>
              <a:defRPr/>
            </a:pPr>
            <a:r>
              <a:rPr kumimoji="0" lang="en-US" sz="3733" b="0" i="0" u="none" strike="noStrike" kern="1200" cap="none" spc="0" normalizeH="0" baseline="0" noProof="0">
                <a:ln>
                  <a:noFill/>
                </a:ln>
                <a:solidFill>
                  <a:srgbClr val="005073"/>
                </a:solidFill>
                <a:effectLst/>
                <a:uLnTx/>
                <a:uFillTx/>
                <a:latin typeface="CiscoSansTT ExtraLight" panose="020B0303020201020303" pitchFamily="34" charset="0"/>
                <a:cs typeface="CiscoSansTT ExtraLight" panose="020B0303020201020303" pitchFamily="34" charset="0"/>
                <a:sym typeface="Arial"/>
              </a:rPr>
              <a:t>Gain insights into the attacker’s infrastructure</a:t>
            </a:r>
          </a:p>
        </p:txBody>
      </p:sp>
      <p:sp>
        <p:nvSpPr>
          <p:cNvPr id="155" name="Rectangle 154">
            <a:extLst>
              <a:ext uri="{FF2B5EF4-FFF2-40B4-BE49-F238E27FC236}">
                <a16:creationId xmlns:a16="http://schemas.microsoft.com/office/drawing/2014/main" id="{3C16EBDD-959F-3947-B0FE-B07F56997281}"/>
              </a:ext>
            </a:extLst>
          </p:cNvPr>
          <p:cNvSpPr/>
          <p:nvPr/>
        </p:nvSpPr>
        <p:spPr>
          <a:xfrm>
            <a:off x="7965099" y="1665761"/>
            <a:ext cx="4345756" cy="882293"/>
          </a:xfrm>
          <a:prstGeom prst="rect">
            <a:avLst/>
          </a:prstGeom>
        </p:spPr>
        <p:txBody>
          <a:bodyPr wrap="square">
            <a:spAutoFit/>
          </a:bodyPr>
          <a:lstStyle/>
          <a:p>
            <a:pPr marL="0" marR="0" lvl="0" indent="0" algn="l" defTabSz="1218072" rtl="0" eaLnBrk="1" fontAlgn="base" latinLnBrk="0" hangingPunct="1">
              <a:lnSpc>
                <a:spcPct val="100000"/>
              </a:lnSpc>
              <a:spcBef>
                <a:spcPts val="400"/>
              </a:spcBef>
              <a:spcAft>
                <a:spcPct val="0"/>
              </a:spcAft>
              <a:buClr>
                <a:srgbClr val="333333"/>
              </a:buClr>
              <a:buSzPct val="100000"/>
              <a:buFontTx/>
              <a:buNone/>
              <a:tabLst/>
              <a:defRPr/>
            </a:pPr>
            <a:r>
              <a:rPr kumimoji="1" lang="en-US" sz="2400" b="0" i="0" u="none" strike="noStrike" kern="1200" cap="none" spc="0" normalizeH="0" baseline="0" noProof="0">
                <a:ln>
                  <a:noFill/>
                </a:ln>
                <a:solidFill>
                  <a:srgbClr val="6EBE4A"/>
                </a:solidFill>
                <a:effectLst/>
                <a:uLnTx/>
                <a:uFillTx/>
                <a:latin typeface="CiscoSans ExtraLight" panose="020B0303020201020303" pitchFamily="34" charset="0"/>
                <a:ea typeface="ＭＳ Ｐゴシック" pitchFamily="34" charset="-128"/>
                <a:cs typeface="Arial"/>
                <a:sym typeface="Arial"/>
              </a:rPr>
              <a:t>2M+ live events per second </a:t>
            </a:r>
          </a:p>
          <a:p>
            <a:pPr marL="0" marR="0" lvl="0" indent="0" algn="l" defTabSz="1218072" rtl="0" eaLnBrk="1" fontAlgn="base" latinLnBrk="0" hangingPunct="1">
              <a:lnSpc>
                <a:spcPct val="100000"/>
              </a:lnSpc>
              <a:spcBef>
                <a:spcPts val="400"/>
              </a:spcBef>
              <a:spcAft>
                <a:spcPct val="0"/>
              </a:spcAft>
              <a:buClr>
                <a:srgbClr val="333333"/>
              </a:buClr>
              <a:buSzPct val="100000"/>
              <a:buFontTx/>
              <a:buNone/>
              <a:tabLst/>
              <a:defRPr/>
            </a:pPr>
            <a:r>
              <a:rPr kumimoji="1" lang="en-US" sz="2400" b="0" i="0" u="none" strike="noStrike" kern="1200" cap="none" spc="0" normalizeH="0" baseline="0" noProof="0">
                <a:ln>
                  <a:noFill/>
                </a:ln>
                <a:solidFill>
                  <a:srgbClr val="6EBE4A"/>
                </a:solidFill>
                <a:effectLst/>
                <a:uLnTx/>
                <a:uFillTx/>
                <a:latin typeface="CiscoSans ExtraLight" panose="020B0303020201020303" pitchFamily="34" charset="0"/>
                <a:ea typeface="ＭＳ Ｐゴシック" pitchFamily="34" charset="-128"/>
                <a:cs typeface="Arial"/>
                <a:sym typeface="Arial"/>
              </a:rPr>
              <a:t>11B+ historical events </a:t>
            </a:r>
          </a:p>
        </p:txBody>
      </p:sp>
    </p:spTree>
    <p:extLst>
      <p:ext uri="{BB962C8B-B14F-4D97-AF65-F5344CB8AC3E}">
        <p14:creationId xmlns:p14="http://schemas.microsoft.com/office/powerpoint/2010/main" val="3385051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2.5E-6 -1.97531E-6 L 2.5E-6 0.46266 " pathEditMode="relative" rAng="0" ptsTypes="AA">
                                      <p:cBhvr>
                                        <p:cTn id="6" dur="2000" fill="hold"/>
                                        <p:tgtEl>
                                          <p:spTgt spid="19"/>
                                        </p:tgtEl>
                                        <p:attrNameLst>
                                          <p:attrName>ppt_x</p:attrName>
                                          <p:attrName>ppt_y</p:attrName>
                                        </p:attrNameLst>
                                      </p:cBhvr>
                                      <p:rCtr x="0" y="2311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Google Shape;1865;p260">
            <a:extLst>
              <a:ext uri="{FF2B5EF4-FFF2-40B4-BE49-F238E27FC236}">
                <a16:creationId xmlns:a16="http://schemas.microsoft.com/office/drawing/2014/main" id="{B7194E71-BBEF-8C47-849F-B1684A09AD74}"/>
              </a:ext>
            </a:extLst>
          </p:cNvPr>
          <p:cNvPicPr preferRelativeResize="0">
            <a:picLocks noChangeAspect="1"/>
          </p:cNvPicPr>
          <p:nvPr/>
        </p:nvPicPr>
        <p:blipFill rotWithShape="1">
          <a:blip r:embed="rId3">
            <a:alphaModFix/>
          </a:blip>
          <a:srcRect/>
          <a:stretch/>
        </p:blipFill>
        <p:spPr>
          <a:xfrm>
            <a:off x="2301788" y="3120001"/>
            <a:ext cx="1223999" cy="1223999"/>
          </a:xfrm>
          <a:prstGeom prst="rect">
            <a:avLst/>
          </a:prstGeom>
          <a:noFill/>
          <a:ln>
            <a:noFill/>
          </a:ln>
        </p:spPr>
      </p:pic>
      <p:pic>
        <p:nvPicPr>
          <p:cNvPr id="26" name="Google Shape;1869;p260">
            <a:extLst>
              <a:ext uri="{FF2B5EF4-FFF2-40B4-BE49-F238E27FC236}">
                <a16:creationId xmlns:a16="http://schemas.microsoft.com/office/drawing/2014/main" id="{1567C836-D707-B14C-8C35-0D4F4E07C00E}"/>
              </a:ext>
            </a:extLst>
          </p:cNvPr>
          <p:cNvPicPr preferRelativeResize="0">
            <a:picLocks noChangeAspect="1"/>
          </p:cNvPicPr>
          <p:nvPr/>
        </p:nvPicPr>
        <p:blipFill rotWithShape="1">
          <a:blip r:embed="rId4">
            <a:alphaModFix/>
          </a:blip>
          <a:srcRect/>
          <a:stretch/>
        </p:blipFill>
        <p:spPr>
          <a:xfrm>
            <a:off x="5490860" y="3120001"/>
            <a:ext cx="1223999" cy="1223999"/>
          </a:xfrm>
          <a:prstGeom prst="rect">
            <a:avLst/>
          </a:prstGeom>
          <a:noFill/>
          <a:ln>
            <a:noFill/>
          </a:ln>
        </p:spPr>
      </p:pic>
      <p:pic>
        <p:nvPicPr>
          <p:cNvPr id="20" name="Google Shape;1596;p248">
            <a:extLst>
              <a:ext uri="{FF2B5EF4-FFF2-40B4-BE49-F238E27FC236}">
                <a16:creationId xmlns:a16="http://schemas.microsoft.com/office/drawing/2014/main" id="{D449B7A6-9F6C-7E4A-AD30-8BF40C94121D}"/>
              </a:ext>
            </a:extLst>
          </p:cNvPr>
          <p:cNvPicPr preferRelativeResize="0">
            <a:picLocks noChangeAspect="1"/>
          </p:cNvPicPr>
          <p:nvPr/>
        </p:nvPicPr>
        <p:blipFill rotWithShape="1">
          <a:blip r:embed="rId5">
            <a:alphaModFix/>
          </a:blip>
          <a:srcRect/>
          <a:stretch/>
        </p:blipFill>
        <p:spPr>
          <a:xfrm>
            <a:off x="8634357" y="3120001"/>
            <a:ext cx="1223999" cy="1223999"/>
          </a:xfrm>
          <a:prstGeom prst="rect">
            <a:avLst/>
          </a:prstGeom>
          <a:noFill/>
          <a:ln>
            <a:noFill/>
          </a:ln>
        </p:spPr>
      </p:pic>
      <p:sp>
        <p:nvSpPr>
          <p:cNvPr id="2" name="Text Placeholder 1">
            <a:extLst>
              <a:ext uri="{FF2B5EF4-FFF2-40B4-BE49-F238E27FC236}">
                <a16:creationId xmlns:a16="http://schemas.microsoft.com/office/drawing/2014/main" id="{B43C0756-4487-CD40-BE21-6905C86BC8B8}"/>
              </a:ext>
            </a:extLst>
          </p:cNvPr>
          <p:cNvSpPr>
            <a:spLocks noGrp="1"/>
          </p:cNvSpPr>
          <p:nvPr>
            <p:ph type="body" idx="1"/>
          </p:nvPr>
        </p:nvSpPr>
        <p:spPr>
          <a:xfrm>
            <a:off x="719666" y="719997"/>
            <a:ext cx="10620873" cy="960000"/>
          </a:xfrm>
        </p:spPr>
        <p:txBody>
          <a:bodyPr/>
          <a:lstStyle/>
          <a:p>
            <a:r>
              <a:rPr lang="en-US" dirty="0"/>
              <a:t>MDR customer portal</a:t>
            </a:r>
          </a:p>
        </p:txBody>
      </p:sp>
      <p:sp>
        <p:nvSpPr>
          <p:cNvPr id="3" name="TextBox 2">
            <a:extLst>
              <a:ext uri="{FF2B5EF4-FFF2-40B4-BE49-F238E27FC236}">
                <a16:creationId xmlns:a16="http://schemas.microsoft.com/office/drawing/2014/main" id="{B0C06896-ED83-2140-89A5-E2EBD1C5D602}"/>
              </a:ext>
            </a:extLst>
          </p:cNvPr>
          <p:cNvSpPr txBox="1"/>
          <p:nvPr/>
        </p:nvSpPr>
        <p:spPr>
          <a:xfrm>
            <a:off x="1831812" y="2400001"/>
            <a:ext cx="2160000" cy="550415"/>
          </a:xfrm>
          <a:prstGeom prst="rect">
            <a:avLst/>
          </a:prstGeom>
          <a:noFill/>
        </p:spPr>
        <p:txBody>
          <a:bodyPr wrap="square" lIns="0" tIns="0" rIns="0" bIns="0" rtlCol="0">
            <a:noAutofit/>
          </a:bodyPr>
          <a:lstStyle/>
          <a:p>
            <a:pPr algn="ctr">
              <a:lnSpc>
                <a:spcPts val="2133"/>
              </a:lnSpc>
            </a:pPr>
            <a:r>
              <a:rPr lang="en-US" sz="2000" b="1" dirty="0">
                <a:solidFill>
                  <a:schemeClr val="accent1"/>
                </a:solidFill>
                <a:latin typeface="CiscoSansTT ExtraLight" panose="020B0303020201020303" pitchFamily="34" charset="0"/>
                <a:cs typeface="CiscoSansTT ExtraLight" panose="020B0303020201020303" pitchFamily="34" charset="0"/>
              </a:rPr>
              <a:t>Ticketing and case management</a:t>
            </a:r>
          </a:p>
        </p:txBody>
      </p:sp>
      <p:sp>
        <p:nvSpPr>
          <p:cNvPr id="5" name="TextBox 4">
            <a:extLst>
              <a:ext uri="{FF2B5EF4-FFF2-40B4-BE49-F238E27FC236}">
                <a16:creationId xmlns:a16="http://schemas.microsoft.com/office/drawing/2014/main" id="{242A7FBB-5C3F-D744-8D62-B160227CF3D8}"/>
              </a:ext>
            </a:extLst>
          </p:cNvPr>
          <p:cNvSpPr txBox="1"/>
          <p:nvPr/>
        </p:nvSpPr>
        <p:spPr>
          <a:xfrm>
            <a:off x="5030087" y="2400001"/>
            <a:ext cx="2160000" cy="550415"/>
          </a:xfrm>
          <a:prstGeom prst="rect">
            <a:avLst/>
          </a:prstGeom>
          <a:noFill/>
        </p:spPr>
        <p:txBody>
          <a:bodyPr wrap="square" lIns="0" tIns="0" rIns="0" bIns="0" rtlCol="0">
            <a:noAutofit/>
          </a:bodyPr>
          <a:lstStyle/>
          <a:p>
            <a:pPr algn="ctr">
              <a:lnSpc>
                <a:spcPts val="2133"/>
              </a:lnSpc>
            </a:pPr>
            <a:r>
              <a:rPr lang="en-US" sz="2000" b="1">
                <a:solidFill>
                  <a:schemeClr val="accent1"/>
                </a:solidFill>
                <a:latin typeface="CiscoSansTT ExtraLight" panose="020B0303020201020303" pitchFamily="34" charset="0"/>
                <a:cs typeface="CiscoSansTT ExtraLight" panose="020B0303020201020303" pitchFamily="34" charset="0"/>
              </a:rPr>
              <a:t>Threat and vulnerability details</a:t>
            </a:r>
          </a:p>
        </p:txBody>
      </p:sp>
      <p:sp>
        <p:nvSpPr>
          <p:cNvPr id="7" name="TextBox 6">
            <a:extLst>
              <a:ext uri="{FF2B5EF4-FFF2-40B4-BE49-F238E27FC236}">
                <a16:creationId xmlns:a16="http://schemas.microsoft.com/office/drawing/2014/main" id="{678CFB78-4414-9E47-BE02-C3048C5517CE}"/>
              </a:ext>
            </a:extLst>
          </p:cNvPr>
          <p:cNvSpPr txBox="1"/>
          <p:nvPr/>
        </p:nvSpPr>
        <p:spPr>
          <a:xfrm>
            <a:off x="8158787" y="2400001"/>
            <a:ext cx="2160000" cy="550415"/>
          </a:xfrm>
          <a:prstGeom prst="rect">
            <a:avLst/>
          </a:prstGeom>
          <a:noFill/>
        </p:spPr>
        <p:txBody>
          <a:bodyPr wrap="square" lIns="0" tIns="0" rIns="0" bIns="0" rtlCol="0">
            <a:noAutofit/>
          </a:bodyPr>
          <a:lstStyle/>
          <a:p>
            <a:pPr algn="ctr">
              <a:lnSpc>
                <a:spcPts val="2133"/>
              </a:lnSpc>
            </a:pPr>
            <a:r>
              <a:rPr lang="en-US" sz="2000" b="1">
                <a:solidFill>
                  <a:schemeClr val="accent1"/>
                </a:solidFill>
                <a:latin typeface="CiscoSansTT ExtraLight" panose="020B0303020201020303" pitchFamily="34" charset="0"/>
                <a:cs typeface="CiscoSansTT ExtraLight" panose="020B0303020201020303" pitchFamily="34" charset="0"/>
              </a:rPr>
              <a:t>Reporting</a:t>
            </a:r>
          </a:p>
        </p:txBody>
      </p:sp>
      <p:sp>
        <p:nvSpPr>
          <p:cNvPr id="10" name="TextBox 9">
            <a:extLst>
              <a:ext uri="{FF2B5EF4-FFF2-40B4-BE49-F238E27FC236}">
                <a16:creationId xmlns:a16="http://schemas.microsoft.com/office/drawing/2014/main" id="{114E43B0-8333-6049-B296-DB0DE366389A}"/>
              </a:ext>
            </a:extLst>
          </p:cNvPr>
          <p:cNvSpPr txBox="1"/>
          <p:nvPr/>
        </p:nvSpPr>
        <p:spPr>
          <a:xfrm>
            <a:off x="1831811" y="4608000"/>
            <a:ext cx="2160000" cy="1128000"/>
          </a:xfrm>
          <a:prstGeom prst="rect">
            <a:avLst/>
          </a:prstGeom>
          <a:noFill/>
        </p:spPr>
        <p:txBody>
          <a:bodyPr wrap="square" lIns="0" tIns="0" rIns="0" bIns="0" rtlCol="0">
            <a:noAutofit/>
          </a:bodyPr>
          <a:lstStyle/>
          <a:p>
            <a:pPr algn="ctr">
              <a:lnSpc>
                <a:spcPts val="1867"/>
              </a:lnSpc>
            </a:pPr>
            <a:r>
              <a:rPr lang="en-US" sz="1600" dirty="0">
                <a:latin typeface="CiscoSansTT ExtraLight" panose="020B0303020201020303" pitchFamily="34" charset="0"/>
                <a:cs typeface="CiscoSansTT ExtraLight" panose="020B0303020201020303" pitchFamily="34" charset="0"/>
              </a:rPr>
              <a:t>Robust ticket detail provides both insights and tracking </a:t>
            </a:r>
            <a:br>
              <a:rPr lang="en-US" sz="1600" dirty="0">
                <a:latin typeface="CiscoSansTT ExtraLight" panose="020B0303020201020303" pitchFamily="34" charset="0"/>
                <a:cs typeface="CiscoSansTT ExtraLight" panose="020B0303020201020303" pitchFamily="34" charset="0"/>
              </a:rPr>
            </a:br>
            <a:r>
              <a:rPr lang="en-US" sz="1600" dirty="0">
                <a:latin typeface="CiscoSansTT ExtraLight" panose="020B0303020201020303" pitchFamily="34" charset="0"/>
                <a:cs typeface="CiscoSansTT ExtraLight" panose="020B0303020201020303" pitchFamily="34" charset="0"/>
              </a:rPr>
              <a:t>for every activity</a:t>
            </a:r>
          </a:p>
        </p:txBody>
      </p:sp>
      <p:sp>
        <p:nvSpPr>
          <p:cNvPr id="11" name="TextBox 10">
            <a:extLst>
              <a:ext uri="{FF2B5EF4-FFF2-40B4-BE49-F238E27FC236}">
                <a16:creationId xmlns:a16="http://schemas.microsoft.com/office/drawing/2014/main" id="{CEA4FBDC-F2CB-BA40-BAB5-F2AF5E854C03}"/>
              </a:ext>
            </a:extLst>
          </p:cNvPr>
          <p:cNvSpPr txBox="1"/>
          <p:nvPr/>
        </p:nvSpPr>
        <p:spPr>
          <a:xfrm>
            <a:off x="5030084" y="4607999"/>
            <a:ext cx="2160000" cy="1128000"/>
          </a:xfrm>
          <a:prstGeom prst="rect">
            <a:avLst/>
          </a:prstGeom>
          <a:noFill/>
        </p:spPr>
        <p:txBody>
          <a:bodyPr wrap="square" lIns="0" tIns="0" rIns="0" bIns="0" rtlCol="0">
            <a:noAutofit/>
          </a:bodyPr>
          <a:lstStyle/>
          <a:p>
            <a:pPr algn="ctr">
              <a:lnSpc>
                <a:spcPts val="1867"/>
              </a:lnSpc>
            </a:pPr>
            <a:r>
              <a:rPr lang="en-US" sz="1600">
                <a:latin typeface="CiscoSansTT ExtraLight" panose="020B0303020201020303" pitchFamily="34" charset="0"/>
                <a:cs typeface="CiscoSansTT ExtraLight" panose="020B0303020201020303" pitchFamily="34" charset="0"/>
              </a:rPr>
              <a:t>Maximum visibility to details of the most relevant and related threats</a:t>
            </a:r>
          </a:p>
        </p:txBody>
      </p:sp>
      <p:sp>
        <p:nvSpPr>
          <p:cNvPr id="12" name="TextBox 11">
            <a:extLst>
              <a:ext uri="{FF2B5EF4-FFF2-40B4-BE49-F238E27FC236}">
                <a16:creationId xmlns:a16="http://schemas.microsoft.com/office/drawing/2014/main" id="{8F87303B-3F42-644E-ACB1-9404A5E7C652}"/>
              </a:ext>
            </a:extLst>
          </p:cNvPr>
          <p:cNvSpPr txBox="1"/>
          <p:nvPr/>
        </p:nvSpPr>
        <p:spPr>
          <a:xfrm>
            <a:off x="8158787" y="4607999"/>
            <a:ext cx="2160000" cy="1128000"/>
          </a:xfrm>
          <a:prstGeom prst="rect">
            <a:avLst/>
          </a:prstGeom>
          <a:noFill/>
        </p:spPr>
        <p:txBody>
          <a:bodyPr wrap="square" lIns="0" tIns="0" rIns="0" bIns="0" rtlCol="0">
            <a:noAutofit/>
          </a:bodyPr>
          <a:lstStyle/>
          <a:p>
            <a:pPr algn="ctr">
              <a:lnSpc>
                <a:spcPts val="1867"/>
              </a:lnSpc>
            </a:pPr>
            <a:r>
              <a:rPr lang="en-US" sz="1600">
                <a:latin typeface="CiscoSansTT ExtraLight" panose="020B0303020201020303" pitchFamily="34" charset="0"/>
                <a:cs typeface="CiscoSansTT ExtraLight" panose="020B0303020201020303" pitchFamily="34" charset="0"/>
              </a:rPr>
              <a:t>Actionable reporting against actions, trending responses, </a:t>
            </a:r>
            <a:br>
              <a:rPr lang="en-US" sz="1600">
                <a:latin typeface="CiscoSansTT ExtraLight" panose="020B0303020201020303" pitchFamily="34" charset="0"/>
                <a:cs typeface="CiscoSansTT ExtraLight" panose="020B0303020201020303" pitchFamily="34" charset="0"/>
              </a:rPr>
            </a:br>
            <a:r>
              <a:rPr lang="en-US" sz="1600">
                <a:latin typeface="CiscoSansTT ExtraLight" panose="020B0303020201020303" pitchFamily="34" charset="0"/>
                <a:cs typeface="CiscoSansTT ExtraLight" panose="020B0303020201020303" pitchFamily="34" charset="0"/>
              </a:rPr>
              <a:t>and threat details</a:t>
            </a:r>
          </a:p>
        </p:txBody>
      </p:sp>
      <p:cxnSp>
        <p:nvCxnSpPr>
          <p:cNvPr id="16" name="Straight Connector 15">
            <a:extLst>
              <a:ext uri="{FF2B5EF4-FFF2-40B4-BE49-F238E27FC236}">
                <a16:creationId xmlns:a16="http://schemas.microsoft.com/office/drawing/2014/main" id="{8533C578-9635-0D4C-94C7-28AADF88BE16}"/>
              </a:ext>
            </a:extLst>
          </p:cNvPr>
          <p:cNvCxnSpPr/>
          <p:nvPr/>
        </p:nvCxnSpPr>
        <p:spPr>
          <a:xfrm>
            <a:off x="4285284" y="2159726"/>
            <a:ext cx="0" cy="3640183"/>
          </a:xfrm>
          <a:prstGeom prst="line">
            <a:avLst/>
          </a:prstGeom>
          <a:ln w="12700">
            <a:solidFill>
              <a:srgbClr val="EDF1F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65ECA8B-E523-3E4D-A7C4-E03B212C7DF2}"/>
              </a:ext>
            </a:extLst>
          </p:cNvPr>
          <p:cNvCxnSpPr/>
          <p:nvPr/>
        </p:nvCxnSpPr>
        <p:spPr>
          <a:xfrm>
            <a:off x="7933372" y="2159726"/>
            <a:ext cx="0" cy="3640183"/>
          </a:xfrm>
          <a:prstGeom prst="line">
            <a:avLst/>
          </a:prstGeom>
          <a:ln w="12700">
            <a:solidFill>
              <a:srgbClr val="EDF1F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49150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9340D-DC4E-413E-A237-ECC6990ADCF4}"/>
              </a:ext>
            </a:extLst>
          </p:cNvPr>
          <p:cNvPicPr>
            <a:picLocks noChangeAspect="1"/>
          </p:cNvPicPr>
          <p:nvPr/>
        </p:nvPicPr>
        <p:blipFill>
          <a:blip r:embed="rId3"/>
          <a:stretch>
            <a:fillRect/>
          </a:stretch>
        </p:blipFill>
        <p:spPr>
          <a:xfrm>
            <a:off x="378369" y="393593"/>
            <a:ext cx="11477299" cy="5881012"/>
          </a:xfrm>
          <a:prstGeom prst="rect">
            <a:avLst/>
          </a:prstGeom>
        </p:spPr>
      </p:pic>
      <p:grpSp>
        <p:nvGrpSpPr>
          <p:cNvPr id="6" name="Group 5">
            <a:extLst>
              <a:ext uri="{FF2B5EF4-FFF2-40B4-BE49-F238E27FC236}">
                <a16:creationId xmlns:a16="http://schemas.microsoft.com/office/drawing/2014/main" id="{FA510A09-1C94-4F98-81C3-699EBEE832D5}"/>
              </a:ext>
            </a:extLst>
          </p:cNvPr>
          <p:cNvGrpSpPr/>
          <p:nvPr/>
        </p:nvGrpSpPr>
        <p:grpSpPr>
          <a:xfrm>
            <a:off x="-1477315" y="-65101"/>
            <a:ext cx="15141012" cy="6930788"/>
            <a:chOff x="-1107987" y="-40943"/>
            <a:chExt cx="11355759" cy="5198091"/>
          </a:xfrm>
        </p:grpSpPr>
        <p:pic>
          <p:nvPicPr>
            <p:cNvPr id="7" name="Picture 6">
              <a:extLst>
                <a:ext uri="{FF2B5EF4-FFF2-40B4-BE49-F238E27FC236}">
                  <a16:creationId xmlns:a16="http://schemas.microsoft.com/office/drawing/2014/main" id="{969BF577-7D69-4581-B5E8-8BCCC18E671C}"/>
                </a:ext>
              </a:extLst>
            </p:cNvPr>
            <p:cNvPicPr>
              <a:picLocks noChangeAspect="1"/>
            </p:cNvPicPr>
            <p:nvPr/>
          </p:nvPicPr>
          <p:blipFill rotWithShape="1">
            <a:blip r:embed="rId4"/>
            <a:srcRect t="95244"/>
            <a:stretch/>
          </p:blipFill>
          <p:spPr>
            <a:xfrm>
              <a:off x="284812" y="4690239"/>
              <a:ext cx="8638471" cy="208442"/>
            </a:xfrm>
            <a:prstGeom prst="rect">
              <a:avLst/>
            </a:prstGeom>
          </p:spPr>
        </p:pic>
        <p:pic>
          <p:nvPicPr>
            <p:cNvPr id="8" name="Picture 7">
              <a:extLst>
                <a:ext uri="{FF2B5EF4-FFF2-40B4-BE49-F238E27FC236}">
                  <a16:creationId xmlns:a16="http://schemas.microsoft.com/office/drawing/2014/main" id="{22E2759B-114D-40C1-829D-B10D8C00B997}"/>
                </a:ext>
              </a:extLst>
            </p:cNvPr>
            <p:cNvPicPr>
              <a:picLocks noChangeAspect="1"/>
            </p:cNvPicPr>
            <p:nvPr/>
          </p:nvPicPr>
          <p:blipFill rotWithShape="1">
            <a:blip r:embed="rId5"/>
            <a:srcRect l="-511" t="4165" b="9489"/>
            <a:stretch/>
          </p:blipFill>
          <p:spPr>
            <a:xfrm>
              <a:off x="-1107987" y="-40943"/>
              <a:ext cx="11355759" cy="5198091"/>
            </a:xfrm>
            <a:prstGeom prst="rect">
              <a:avLst/>
            </a:prstGeom>
          </p:spPr>
        </p:pic>
      </p:grpSp>
      <p:sp>
        <p:nvSpPr>
          <p:cNvPr id="2" name="TextBox 1">
            <a:extLst>
              <a:ext uri="{FF2B5EF4-FFF2-40B4-BE49-F238E27FC236}">
                <a16:creationId xmlns:a16="http://schemas.microsoft.com/office/drawing/2014/main" id="{DE6F2DC9-E23A-4A2A-BE92-9EAB3E1B7831}"/>
              </a:ext>
            </a:extLst>
          </p:cNvPr>
          <p:cNvSpPr txBox="1"/>
          <p:nvPr/>
        </p:nvSpPr>
        <p:spPr>
          <a:xfrm>
            <a:off x="441436" y="776536"/>
            <a:ext cx="2736480" cy="215444"/>
          </a:xfrm>
          <a:prstGeom prst="rect">
            <a:avLst/>
          </a:prstGeom>
          <a:solidFill>
            <a:schemeClr val="bg1"/>
          </a:solidFill>
        </p:spPr>
        <p:txBody>
          <a:bodyPr wrap="square" rtlCol="0">
            <a:spAutoFit/>
          </a:bodyPr>
          <a:lstStyle/>
          <a:p>
            <a:pPr algn="ctr" defTabSz="609585" fontAlgn="base">
              <a:spcBef>
                <a:spcPct val="0"/>
              </a:spcBef>
              <a:spcAft>
                <a:spcPct val="0"/>
              </a:spcAft>
              <a:defRPr/>
            </a:pPr>
            <a:r>
              <a:rPr lang="en-US" sz="800">
                <a:solidFill>
                  <a:srgbClr val="FFFFFF"/>
                </a:solidFill>
                <a:latin typeface="CiscoSansTT ExtraLight"/>
                <a:ea typeface="ＭＳ Ｐゴシック" charset="0"/>
                <a:cs typeface="Arial"/>
                <a:sym typeface="Arial"/>
              </a:rPr>
              <a:t>Active Incidents </a:t>
            </a:r>
          </a:p>
        </p:txBody>
      </p:sp>
      <p:sp>
        <p:nvSpPr>
          <p:cNvPr id="9" name="TextBox 8">
            <a:extLst>
              <a:ext uri="{FF2B5EF4-FFF2-40B4-BE49-F238E27FC236}">
                <a16:creationId xmlns:a16="http://schemas.microsoft.com/office/drawing/2014/main" id="{A798715D-0964-4E5F-B228-3ED27B18407F}"/>
              </a:ext>
            </a:extLst>
          </p:cNvPr>
          <p:cNvSpPr txBox="1"/>
          <p:nvPr/>
        </p:nvSpPr>
        <p:spPr>
          <a:xfrm>
            <a:off x="3304157" y="776536"/>
            <a:ext cx="2748915" cy="215444"/>
          </a:xfrm>
          <a:prstGeom prst="rect">
            <a:avLst/>
          </a:prstGeom>
          <a:solidFill>
            <a:schemeClr val="bg1"/>
          </a:solidFill>
        </p:spPr>
        <p:txBody>
          <a:bodyPr wrap="square" rtlCol="0">
            <a:spAutoFit/>
          </a:bodyPr>
          <a:lstStyle/>
          <a:p>
            <a:pPr algn="ctr" defTabSz="609585" fontAlgn="base">
              <a:spcBef>
                <a:spcPct val="0"/>
              </a:spcBef>
              <a:spcAft>
                <a:spcPct val="0"/>
              </a:spcAft>
              <a:defRPr/>
            </a:pPr>
            <a:r>
              <a:rPr lang="en-US" sz="800">
                <a:solidFill>
                  <a:srgbClr val="FFFFFF"/>
                </a:solidFill>
                <a:latin typeface="CiscoSansTT ExtraLight"/>
                <a:ea typeface="ＭＳ Ｐゴシック" charset="0"/>
                <a:cs typeface="Arial"/>
                <a:sym typeface="Arial"/>
              </a:rPr>
              <a:t>Active Threats by Category</a:t>
            </a:r>
          </a:p>
        </p:txBody>
      </p:sp>
      <p:sp>
        <p:nvSpPr>
          <p:cNvPr id="10" name="TextBox 9">
            <a:extLst>
              <a:ext uri="{FF2B5EF4-FFF2-40B4-BE49-F238E27FC236}">
                <a16:creationId xmlns:a16="http://schemas.microsoft.com/office/drawing/2014/main" id="{07629B16-6A33-4A65-8981-753D58931B96}"/>
              </a:ext>
            </a:extLst>
          </p:cNvPr>
          <p:cNvSpPr txBox="1"/>
          <p:nvPr/>
        </p:nvSpPr>
        <p:spPr>
          <a:xfrm>
            <a:off x="6179313" y="776536"/>
            <a:ext cx="2748915" cy="215444"/>
          </a:xfrm>
          <a:prstGeom prst="rect">
            <a:avLst/>
          </a:prstGeom>
          <a:solidFill>
            <a:schemeClr val="bg1"/>
          </a:solidFill>
        </p:spPr>
        <p:txBody>
          <a:bodyPr wrap="square" rtlCol="0">
            <a:spAutoFit/>
          </a:bodyPr>
          <a:lstStyle/>
          <a:p>
            <a:pPr algn="ctr" defTabSz="609585" fontAlgn="base">
              <a:spcBef>
                <a:spcPct val="0"/>
              </a:spcBef>
              <a:spcAft>
                <a:spcPct val="0"/>
              </a:spcAft>
              <a:defRPr/>
            </a:pPr>
            <a:r>
              <a:rPr lang="en-US" sz="800">
                <a:solidFill>
                  <a:srgbClr val="FFFFFF"/>
                </a:solidFill>
                <a:latin typeface="CiscoSansTT ExtraLight"/>
                <a:ea typeface="ＭＳ Ｐゴシック" charset="0"/>
                <a:cs typeface="Arial"/>
                <a:sym typeface="Arial"/>
              </a:rPr>
              <a:t>Active Threats – Products Involved in Detection</a:t>
            </a:r>
          </a:p>
        </p:txBody>
      </p:sp>
      <p:sp>
        <p:nvSpPr>
          <p:cNvPr id="11" name="TextBox 10">
            <a:extLst>
              <a:ext uri="{FF2B5EF4-FFF2-40B4-BE49-F238E27FC236}">
                <a16:creationId xmlns:a16="http://schemas.microsoft.com/office/drawing/2014/main" id="{ED6C8AAD-A05A-49E7-BBBE-68FAC19D463E}"/>
              </a:ext>
            </a:extLst>
          </p:cNvPr>
          <p:cNvSpPr txBox="1"/>
          <p:nvPr/>
        </p:nvSpPr>
        <p:spPr>
          <a:xfrm>
            <a:off x="9029113" y="776536"/>
            <a:ext cx="2748915" cy="215444"/>
          </a:xfrm>
          <a:prstGeom prst="rect">
            <a:avLst/>
          </a:prstGeom>
          <a:solidFill>
            <a:schemeClr val="bg1"/>
          </a:solidFill>
        </p:spPr>
        <p:txBody>
          <a:bodyPr wrap="square" rtlCol="0">
            <a:spAutoFit/>
          </a:bodyPr>
          <a:lstStyle/>
          <a:p>
            <a:pPr algn="ctr" defTabSz="609585" fontAlgn="base">
              <a:spcBef>
                <a:spcPct val="0"/>
              </a:spcBef>
              <a:spcAft>
                <a:spcPct val="0"/>
              </a:spcAft>
              <a:defRPr/>
            </a:pPr>
            <a:r>
              <a:rPr lang="en-US" sz="800">
                <a:solidFill>
                  <a:srgbClr val="FFFFFF"/>
                </a:solidFill>
                <a:latin typeface="CiscoSansTT ExtraLight"/>
                <a:ea typeface="ＭＳ Ｐゴシック" charset="0"/>
                <a:cs typeface="Arial"/>
                <a:sym typeface="Arial"/>
              </a:rPr>
              <a:t>Active Threats – Products Involved in Response</a:t>
            </a:r>
          </a:p>
        </p:txBody>
      </p:sp>
      <p:sp>
        <p:nvSpPr>
          <p:cNvPr id="12" name="TextBox 11">
            <a:extLst>
              <a:ext uri="{FF2B5EF4-FFF2-40B4-BE49-F238E27FC236}">
                <a16:creationId xmlns:a16="http://schemas.microsoft.com/office/drawing/2014/main" id="{BF1D1E27-FE36-49FF-95FB-989134442929}"/>
              </a:ext>
            </a:extLst>
          </p:cNvPr>
          <p:cNvSpPr txBox="1"/>
          <p:nvPr/>
        </p:nvSpPr>
        <p:spPr>
          <a:xfrm>
            <a:off x="441437" y="3270363"/>
            <a:ext cx="5611636" cy="215444"/>
          </a:xfrm>
          <a:prstGeom prst="rect">
            <a:avLst/>
          </a:prstGeom>
          <a:solidFill>
            <a:schemeClr val="bg1"/>
          </a:solidFill>
        </p:spPr>
        <p:txBody>
          <a:bodyPr wrap="square" rtlCol="0">
            <a:spAutoFit/>
          </a:bodyPr>
          <a:lstStyle/>
          <a:p>
            <a:pPr algn="ctr" defTabSz="609585" fontAlgn="base">
              <a:spcBef>
                <a:spcPct val="0"/>
              </a:spcBef>
              <a:spcAft>
                <a:spcPct val="0"/>
              </a:spcAft>
              <a:defRPr/>
            </a:pPr>
            <a:r>
              <a:rPr lang="en-US" sz="800">
                <a:solidFill>
                  <a:srgbClr val="FFFFFF"/>
                </a:solidFill>
                <a:latin typeface="CiscoSansTT ExtraLight"/>
                <a:ea typeface="ＭＳ Ｐゴシック" charset="0"/>
                <a:cs typeface="Arial"/>
                <a:sym typeface="Arial"/>
              </a:rPr>
              <a:t>Incident State Trending </a:t>
            </a:r>
          </a:p>
        </p:txBody>
      </p:sp>
      <p:sp>
        <p:nvSpPr>
          <p:cNvPr id="13" name="TextBox 12">
            <a:extLst>
              <a:ext uri="{FF2B5EF4-FFF2-40B4-BE49-F238E27FC236}">
                <a16:creationId xmlns:a16="http://schemas.microsoft.com/office/drawing/2014/main" id="{018B2FED-9B1A-46A0-9124-CE20C07B530C}"/>
              </a:ext>
            </a:extLst>
          </p:cNvPr>
          <p:cNvSpPr txBox="1"/>
          <p:nvPr/>
        </p:nvSpPr>
        <p:spPr>
          <a:xfrm>
            <a:off x="6179314" y="3270363"/>
            <a:ext cx="5596767" cy="215444"/>
          </a:xfrm>
          <a:prstGeom prst="rect">
            <a:avLst/>
          </a:prstGeom>
          <a:solidFill>
            <a:schemeClr val="bg1"/>
          </a:solidFill>
        </p:spPr>
        <p:txBody>
          <a:bodyPr wrap="square" rtlCol="0">
            <a:spAutoFit/>
          </a:bodyPr>
          <a:lstStyle/>
          <a:p>
            <a:pPr algn="ctr" defTabSz="609585" fontAlgn="base">
              <a:spcBef>
                <a:spcPct val="0"/>
              </a:spcBef>
              <a:spcAft>
                <a:spcPct val="0"/>
              </a:spcAft>
              <a:defRPr/>
            </a:pPr>
            <a:r>
              <a:rPr lang="en-US" sz="800">
                <a:solidFill>
                  <a:srgbClr val="FFFFFF"/>
                </a:solidFill>
                <a:latin typeface="CiscoSansTT ExtraLight"/>
                <a:ea typeface="ＭＳ Ｐゴシック" charset="0"/>
                <a:cs typeface="Arial"/>
                <a:sym typeface="Arial"/>
              </a:rPr>
              <a:t>Cyber Threat Kill Chain Trending </a:t>
            </a:r>
          </a:p>
        </p:txBody>
      </p:sp>
      <p:sp>
        <p:nvSpPr>
          <p:cNvPr id="14" name="TextBox 13">
            <a:extLst>
              <a:ext uri="{FF2B5EF4-FFF2-40B4-BE49-F238E27FC236}">
                <a16:creationId xmlns:a16="http://schemas.microsoft.com/office/drawing/2014/main" id="{E26D0A6A-7F72-4DF7-9E3C-EB15B63F7DD7}"/>
              </a:ext>
            </a:extLst>
          </p:cNvPr>
          <p:cNvSpPr txBox="1"/>
          <p:nvPr/>
        </p:nvSpPr>
        <p:spPr>
          <a:xfrm>
            <a:off x="441437" y="5390501"/>
            <a:ext cx="5611636" cy="215444"/>
          </a:xfrm>
          <a:prstGeom prst="rect">
            <a:avLst/>
          </a:prstGeom>
          <a:solidFill>
            <a:schemeClr val="bg1"/>
          </a:solidFill>
        </p:spPr>
        <p:txBody>
          <a:bodyPr wrap="square" rtlCol="0">
            <a:spAutoFit/>
          </a:bodyPr>
          <a:lstStyle/>
          <a:p>
            <a:pPr algn="ctr" defTabSz="609585" fontAlgn="base">
              <a:spcBef>
                <a:spcPct val="0"/>
              </a:spcBef>
              <a:spcAft>
                <a:spcPct val="0"/>
              </a:spcAft>
              <a:defRPr/>
            </a:pPr>
            <a:r>
              <a:rPr lang="en-US" sz="800">
                <a:solidFill>
                  <a:srgbClr val="FFFFFF"/>
                </a:solidFill>
                <a:latin typeface="CiscoSansTT ExtraLight"/>
                <a:ea typeface="ＭＳ Ｐゴシック" charset="0"/>
                <a:cs typeface="Arial"/>
                <a:sym typeface="Arial"/>
              </a:rPr>
              <a:t>Next Steps</a:t>
            </a:r>
          </a:p>
        </p:txBody>
      </p:sp>
    </p:spTree>
    <p:extLst>
      <p:ext uri="{BB962C8B-B14F-4D97-AF65-F5344CB8AC3E}">
        <p14:creationId xmlns:p14="http://schemas.microsoft.com/office/powerpoint/2010/main" val="1124244134"/>
      </p:ext>
    </p:extLst>
  </p:cSld>
  <p:clrMapOvr>
    <a:masterClrMapping/>
  </p:clrMapOvr>
  <p:transition spd="slow">
    <p:wipe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2E0CBA-AC6D-4E1C-B1C5-C7B1C6D10718}"/>
              </a:ext>
            </a:extLst>
          </p:cNvPr>
          <p:cNvSpPr>
            <a:spLocks noGrp="1"/>
          </p:cNvSpPr>
          <p:nvPr>
            <p:ph type="body" idx="1"/>
          </p:nvPr>
        </p:nvSpPr>
        <p:spPr>
          <a:xfrm>
            <a:off x="6186315" y="2089197"/>
            <a:ext cx="5080399" cy="429911"/>
          </a:xfrm>
        </p:spPr>
        <p:txBody>
          <a:bodyPr/>
          <a:lstStyle/>
          <a:p>
            <a:r>
              <a:rPr lang="en-US"/>
              <a:t>Cisco Managed Services background </a:t>
            </a:r>
            <a:endParaRPr lang="en-US" dirty="0"/>
          </a:p>
        </p:txBody>
      </p:sp>
      <p:sp>
        <p:nvSpPr>
          <p:cNvPr id="3" name="Text Placeholder 2">
            <a:extLst>
              <a:ext uri="{FF2B5EF4-FFF2-40B4-BE49-F238E27FC236}">
                <a16:creationId xmlns:a16="http://schemas.microsoft.com/office/drawing/2014/main" id="{1EB5BC3E-81F9-405E-8FCA-571F70A70092}"/>
              </a:ext>
            </a:extLst>
          </p:cNvPr>
          <p:cNvSpPr>
            <a:spLocks noGrp="1"/>
          </p:cNvSpPr>
          <p:nvPr>
            <p:ph type="body" idx="2"/>
          </p:nvPr>
        </p:nvSpPr>
        <p:spPr>
          <a:xfrm>
            <a:off x="6186315" y="2929848"/>
            <a:ext cx="4710284" cy="374685"/>
          </a:xfrm>
        </p:spPr>
        <p:txBody>
          <a:bodyPr/>
          <a:lstStyle/>
          <a:p>
            <a:r>
              <a:rPr lang="en-US"/>
              <a:t>Cisco Managed Detection </a:t>
            </a:r>
            <a:br>
              <a:rPr lang="en-US"/>
            </a:br>
            <a:r>
              <a:rPr lang="en-US"/>
              <a:t>and Response (MDR) overview </a:t>
            </a:r>
          </a:p>
        </p:txBody>
      </p:sp>
      <p:sp>
        <p:nvSpPr>
          <p:cNvPr id="4" name="Text Placeholder 3">
            <a:extLst>
              <a:ext uri="{FF2B5EF4-FFF2-40B4-BE49-F238E27FC236}">
                <a16:creationId xmlns:a16="http://schemas.microsoft.com/office/drawing/2014/main" id="{E127CB09-7616-4FB1-A534-847CA77DBE6E}"/>
              </a:ext>
            </a:extLst>
          </p:cNvPr>
          <p:cNvSpPr>
            <a:spLocks noGrp="1"/>
          </p:cNvSpPr>
          <p:nvPr>
            <p:ph type="body" idx="3"/>
          </p:nvPr>
        </p:nvSpPr>
        <p:spPr>
          <a:xfrm>
            <a:off x="6186316" y="3783721"/>
            <a:ext cx="3864400" cy="377600"/>
          </a:xfrm>
        </p:spPr>
        <p:txBody>
          <a:bodyPr/>
          <a:lstStyle/>
          <a:p>
            <a:r>
              <a:rPr lang="en-US" dirty="0"/>
              <a:t>MDR use case demo</a:t>
            </a:r>
          </a:p>
        </p:txBody>
      </p:sp>
      <p:sp>
        <p:nvSpPr>
          <p:cNvPr id="5" name="Text Placeholder 4">
            <a:extLst>
              <a:ext uri="{FF2B5EF4-FFF2-40B4-BE49-F238E27FC236}">
                <a16:creationId xmlns:a16="http://schemas.microsoft.com/office/drawing/2014/main" id="{99F7135D-DA2E-4309-B15B-9388FCC56C89}"/>
              </a:ext>
            </a:extLst>
          </p:cNvPr>
          <p:cNvSpPr>
            <a:spLocks noGrp="1"/>
          </p:cNvSpPr>
          <p:nvPr>
            <p:ph type="body" idx="4"/>
          </p:nvPr>
        </p:nvSpPr>
        <p:spPr>
          <a:xfrm>
            <a:off x="6186316" y="4489116"/>
            <a:ext cx="5396084" cy="374685"/>
          </a:xfrm>
        </p:spPr>
        <p:txBody>
          <a:bodyPr/>
          <a:lstStyle/>
          <a:p>
            <a:r>
              <a:rPr lang="en-US" dirty="0"/>
              <a:t>Reporting / Service Activation </a:t>
            </a:r>
            <a:br>
              <a:rPr lang="en-US" dirty="0"/>
            </a:br>
            <a:r>
              <a:rPr lang="en-US" dirty="0"/>
              <a:t>Contract and Terms </a:t>
            </a:r>
          </a:p>
        </p:txBody>
      </p:sp>
      <p:sp>
        <p:nvSpPr>
          <p:cNvPr id="7" name="Text Placeholder 6">
            <a:extLst>
              <a:ext uri="{FF2B5EF4-FFF2-40B4-BE49-F238E27FC236}">
                <a16:creationId xmlns:a16="http://schemas.microsoft.com/office/drawing/2014/main" id="{02EFDBA1-9557-4A2E-BE0B-78E42C075B14}"/>
              </a:ext>
            </a:extLst>
          </p:cNvPr>
          <p:cNvSpPr>
            <a:spLocks noGrp="1"/>
          </p:cNvSpPr>
          <p:nvPr>
            <p:ph type="body" sz="quarter" idx="11"/>
          </p:nvPr>
        </p:nvSpPr>
        <p:spPr/>
        <p:txBody>
          <a:bodyPr/>
          <a:lstStyle/>
          <a:p>
            <a:r>
              <a:rPr lang="en-US"/>
              <a:t>today’s conversation </a:t>
            </a:r>
          </a:p>
        </p:txBody>
      </p:sp>
    </p:spTree>
    <p:extLst>
      <p:ext uri="{BB962C8B-B14F-4D97-AF65-F5344CB8AC3E}">
        <p14:creationId xmlns:p14="http://schemas.microsoft.com/office/powerpoint/2010/main" val="3097815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Google Shape;1621;p249">
            <a:extLst>
              <a:ext uri="{FF2B5EF4-FFF2-40B4-BE49-F238E27FC236}">
                <a16:creationId xmlns:a16="http://schemas.microsoft.com/office/drawing/2014/main" id="{3B540C69-EEB4-0F42-B71C-1FBDC5CC9EE4}"/>
              </a:ext>
            </a:extLst>
          </p:cNvPr>
          <p:cNvPicPr preferRelativeResize="0">
            <a:picLocks noChangeAspect="1"/>
          </p:cNvPicPr>
          <p:nvPr/>
        </p:nvPicPr>
        <p:blipFill rotWithShape="1">
          <a:blip r:embed="rId3">
            <a:alphaModFix/>
          </a:blip>
          <a:srcRect/>
          <a:stretch/>
        </p:blipFill>
        <p:spPr>
          <a:xfrm>
            <a:off x="1395576" y="3009808"/>
            <a:ext cx="1223999" cy="1223999"/>
          </a:xfrm>
          <a:prstGeom prst="rect">
            <a:avLst/>
          </a:prstGeom>
          <a:noFill/>
          <a:ln>
            <a:noFill/>
          </a:ln>
        </p:spPr>
      </p:pic>
      <p:pic>
        <p:nvPicPr>
          <p:cNvPr id="22" name="Google Shape;1808;p257">
            <a:extLst>
              <a:ext uri="{FF2B5EF4-FFF2-40B4-BE49-F238E27FC236}">
                <a16:creationId xmlns:a16="http://schemas.microsoft.com/office/drawing/2014/main" id="{8C427DFA-C6FD-FD4A-8C26-932A9ACD19C9}"/>
              </a:ext>
            </a:extLst>
          </p:cNvPr>
          <p:cNvPicPr preferRelativeResize="0">
            <a:picLocks noChangeAspect="1"/>
          </p:cNvPicPr>
          <p:nvPr/>
        </p:nvPicPr>
        <p:blipFill rotWithShape="1">
          <a:blip r:embed="rId4">
            <a:alphaModFix/>
          </a:blip>
          <a:srcRect/>
          <a:stretch/>
        </p:blipFill>
        <p:spPr>
          <a:xfrm>
            <a:off x="4147274" y="3009808"/>
            <a:ext cx="1223999" cy="1223999"/>
          </a:xfrm>
          <a:prstGeom prst="rect">
            <a:avLst/>
          </a:prstGeom>
          <a:noFill/>
          <a:ln>
            <a:noFill/>
          </a:ln>
        </p:spPr>
      </p:pic>
      <p:pic>
        <p:nvPicPr>
          <p:cNvPr id="23" name="Google Shape;1745;p254">
            <a:extLst>
              <a:ext uri="{FF2B5EF4-FFF2-40B4-BE49-F238E27FC236}">
                <a16:creationId xmlns:a16="http://schemas.microsoft.com/office/drawing/2014/main" id="{96955801-541F-BE47-9B0C-D6B8F8681E59}"/>
              </a:ext>
            </a:extLst>
          </p:cNvPr>
          <p:cNvPicPr preferRelativeResize="0">
            <a:picLocks noChangeAspect="1"/>
          </p:cNvPicPr>
          <p:nvPr/>
        </p:nvPicPr>
        <p:blipFill rotWithShape="1">
          <a:blip r:embed="rId5">
            <a:alphaModFix/>
          </a:blip>
          <a:srcRect/>
          <a:stretch/>
        </p:blipFill>
        <p:spPr>
          <a:xfrm>
            <a:off x="6906959" y="3009808"/>
            <a:ext cx="1223999" cy="1223999"/>
          </a:xfrm>
          <a:prstGeom prst="rect">
            <a:avLst/>
          </a:prstGeom>
          <a:noFill/>
          <a:ln>
            <a:noFill/>
          </a:ln>
        </p:spPr>
      </p:pic>
      <p:pic>
        <p:nvPicPr>
          <p:cNvPr id="24" name="Google Shape;1603;p248">
            <a:extLst>
              <a:ext uri="{FF2B5EF4-FFF2-40B4-BE49-F238E27FC236}">
                <a16:creationId xmlns:a16="http://schemas.microsoft.com/office/drawing/2014/main" id="{59FF07CC-D0CD-FA40-92F9-50C5569F76C6}"/>
              </a:ext>
            </a:extLst>
          </p:cNvPr>
          <p:cNvPicPr preferRelativeResize="0">
            <a:picLocks noChangeAspect="1"/>
          </p:cNvPicPr>
          <p:nvPr/>
        </p:nvPicPr>
        <p:blipFill rotWithShape="1">
          <a:blip r:embed="rId6">
            <a:alphaModFix/>
          </a:blip>
          <a:srcRect/>
          <a:stretch/>
        </p:blipFill>
        <p:spPr>
          <a:xfrm>
            <a:off x="9628061" y="3009808"/>
            <a:ext cx="1223999" cy="1223999"/>
          </a:xfrm>
          <a:prstGeom prst="rect">
            <a:avLst/>
          </a:prstGeom>
          <a:noFill/>
          <a:ln>
            <a:noFill/>
          </a:ln>
        </p:spPr>
      </p:pic>
      <p:sp>
        <p:nvSpPr>
          <p:cNvPr id="2" name="Text Placeholder 1">
            <a:extLst>
              <a:ext uri="{FF2B5EF4-FFF2-40B4-BE49-F238E27FC236}">
                <a16:creationId xmlns:a16="http://schemas.microsoft.com/office/drawing/2014/main" id="{B43C0756-4487-CD40-BE21-6905C86BC8B8}"/>
              </a:ext>
            </a:extLst>
          </p:cNvPr>
          <p:cNvSpPr>
            <a:spLocks noGrp="1"/>
          </p:cNvSpPr>
          <p:nvPr>
            <p:ph type="body" idx="1"/>
          </p:nvPr>
        </p:nvSpPr>
        <p:spPr>
          <a:xfrm>
            <a:off x="268359" y="719998"/>
            <a:ext cx="11658591" cy="480000"/>
          </a:xfrm>
        </p:spPr>
        <p:txBody>
          <a:bodyPr/>
          <a:lstStyle/>
          <a:p>
            <a:r>
              <a:rPr lang="en-US" dirty="0"/>
              <a:t>Why choose Cisco MDR</a:t>
            </a:r>
          </a:p>
        </p:txBody>
      </p:sp>
      <p:cxnSp>
        <p:nvCxnSpPr>
          <p:cNvPr id="16" name="Straight Connector 15">
            <a:extLst>
              <a:ext uri="{FF2B5EF4-FFF2-40B4-BE49-F238E27FC236}">
                <a16:creationId xmlns:a16="http://schemas.microsoft.com/office/drawing/2014/main" id="{8533C578-9635-0D4C-94C7-28AADF88BE16}"/>
              </a:ext>
            </a:extLst>
          </p:cNvPr>
          <p:cNvCxnSpPr>
            <a:cxnSpLocks/>
          </p:cNvCxnSpPr>
          <p:nvPr/>
        </p:nvCxnSpPr>
        <p:spPr>
          <a:xfrm>
            <a:off x="3335494" y="2706379"/>
            <a:ext cx="4860" cy="2422215"/>
          </a:xfrm>
          <a:prstGeom prst="line">
            <a:avLst/>
          </a:prstGeom>
          <a:ln w="12700">
            <a:solidFill>
              <a:srgbClr val="EDF1F7"/>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B0C06896-ED83-2140-89A5-E2EBD1C5D602}"/>
              </a:ext>
            </a:extLst>
          </p:cNvPr>
          <p:cNvSpPr txBox="1">
            <a:spLocks/>
          </p:cNvSpPr>
          <p:nvPr/>
        </p:nvSpPr>
        <p:spPr>
          <a:xfrm>
            <a:off x="1027695" y="2167000"/>
            <a:ext cx="1920000" cy="550415"/>
          </a:xfrm>
          <a:prstGeom prst="rect">
            <a:avLst/>
          </a:prstGeom>
          <a:noFill/>
        </p:spPr>
        <p:txBody>
          <a:bodyPr wrap="square" lIns="0" tIns="0" rIns="0" bIns="0" rtlCol="0">
            <a:noAutofit/>
          </a:bodyPr>
          <a:lstStyle/>
          <a:p>
            <a:pPr algn="ctr">
              <a:lnSpc>
                <a:spcPts val="2133"/>
              </a:lnSpc>
            </a:pPr>
            <a:r>
              <a:rPr lang="en-US" sz="1500" b="1" dirty="0">
                <a:solidFill>
                  <a:schemeClr val="accent1"/>
                </a:solidFill>
                <a:latin typeface="CiscoSansTT ExtraLight" panose="020B0303020201020303" pitchFamily="34" charset="0"/>
                <a:cs typeface="CiscoSansTT ExtraLight" panose="020B0303020201020303" pitchFamily="34" charset="0"/>
              </a:rPr>
              <a:t>Stronger </a:t>
            </a:r>
            <a:br>
              <a:rPr lang="en-US" sz="1500" b="1" dirty="0">
                <a:solidFill>
                  <a:schemeClr val="accent1"/>
                </a:solidFill>
                <a:latin typeface="CiscoSansTT ExtraLight" panose="020B0303020201020303" pitchFamily="34" charset="0"/>
                <a:cs typeface="CiscoSansTT ExtraLight" panose="020B0303020201020303" pitchFamily="34" charset="0"/>
              </a:rPr>
            </a:br>
            <a:r>
              <a:rPr lang="en-US" sz="1500" b="1" dirty="0">
                <a:solidFill>
                  <a:schemeClr val="accent1"/>
                </a:solidFill>
                <a:latin typeface="CiscoSansTT ExtraLight" panose="020B0303020201020303" pitchFamily="34" charset="0"/>
                <a:cs typeface="CiscoSansTT ExtraLight" panose="020B0303020201020303" pitchFamily="34" charset="0"/>
              </a:rPr>
              <a:t>Security Posture</a:t>
            </a:r>
          </a:p>
        </p:txBody>
      </p:sp>
      <p:sp>
        <p:nvSpPr>
          <p:cNvPr id="5" name="TextBox 4">
            <a:extLst>
              <a:ext uri="{FF2B5EF4-FFF2-40B4-BE49-F238E27FC236}">
                <a16:creationId xmlns:a16="http://schemas.microsoft.com/office/drawing/2014/main" id="{242A7FBB-5C3F-D744-8D62-B160227CF3D8}"/>
              </a:ext>
            </a:extLst>
          </p:cNvPr>
          <p:cNvSpPr txBox="1">
            <a:spLocks/>
          </p:cNvSpPr>
          <p:nvPr/>
        </p:nvSpPr>
        <p:spPr>
          <a:xfrm>
            <a:off x="3383837" y="2167000"/>
            <a:ext cx="2662463" cy="550415"/>
          </a:xfrm>
          <a:prstGeom prst="rect">
            <a:avLst/>
          </a:prstGeom>
          <a:noFill/>
        </p:spPr>
        <p:txBody>
          <a:bodyPr wrap="square" lIns="0" tIns="0" rIns="0" bIns="0" rtlCol="0">
            <a:noAutofit/>
          </a:bodyPr>
          <a:lstStyle/>
          <a:p>
            <a:pPr algn="ctr">
              <a:lnSpc>
                <a:spcPts val="2133"/>
              </a:lnSpc>
            </a:pPr>
            <a:r>
              <a:rPr lang="en-US" sz="1500" b="1" dirty="0">
                <a:solidFill>
                  <a:schemeClr val="accent1"/>
                </a:solidFill>
                <a:latin typeface="CiscoSansTT ExtraLight" panose="020B0303020201020303" pitchFamily="34" charset="0"/>
                <a:cs typeface="CiscoSansTT ExtraLight" panose="020B0303020201020303" pitchFamily="34" charset="0"/>
              </a:rPr>
              <a:t>Advanced </a:t>
            </a:r>
            <a:br>
              <a:rPr lang="en-US" sz="1500" b="1" dirty="0">
                <a:solidFill>
                  <a:schemeClr val="accent1"/>
                </a:solidFill>
                <a:latin typeface="CiscoSansTT ExtraLight" panose="020B0303020201020303" pitchFamily="34" charset="0"/>
                <a:cs typeface="CiscoSansTT ExtraLight" panose="020B0303020201020303" pitchFamily="34" charset="0"/>
              </a:rPr>
            </a:br>
            <a:r>
              <a:rPr lang="en-US" sz="1500" b="1" dirty="0">
                <a:solidFill>
                  <a:schemeClr val="accent1"/>
                </a:solidFill>
                <a:latin typeface="CiscoSansTT ExtraLight" panose="020B0303020201020303" pitchFamily="34" charset="0"/>
                <a:cs typeface="CiscoSansTT ExtraLight" panose="020B0303020201020303" pitchFamily="34" charset="0"/>
              </a:rPr>
              <a:t>security operations capabilities </a:t>
            </a:r>
          </a:p>
        </p:txBody>
      </p:sp>
      <p:sp>
        <p:nvSpPr>
          <p:cNvPr id="7" name="TextBox 6">
            <a:extLst>
              <a:ext uri="{FF2B5EF4-FFF2-40B4-BE49-F238E27FC236}">
                <a16:creationId xmlns:a16="http://schemas.microsoft.com/office/drawing/2014/main" id="{678CFB78-4414-9E47-BE02-C3048C5517CE}"/>
              </a:ext>
            </a:extLst>
          </p:cNvPr>
          <p:cNvSpPr txBox="1">
            <a:spLocks/>
          </p:cNvSpPr>
          <p:nvPr/>
        </p:nvSpPr>
        <p:spPr>
          <a:xfrm>
            <a:off x="6288601" y="2167000"/>
            <a:ext cx="2476376" cy="550415"/>
          </a:xfrm>
          <a:prstGeom prst="rect">
            <a:avLst/>
          </a:prstGeom>
          <a:noFill/>
        </p:spPr>
        <p:txBody>
          <a:bodyPr wrap="square" lIns="0" tIns="0" rIns="0" bIns="0" rtlCol="0">
            <a:noAutofit/>
          </a:bodyPr>
          <a:lstStyle/>
          <a:p>
            <a:pPr algn="ctr">
              <a:lnSpc>
                <a:spcPts val="2133"/>
              </a:lnSpc>
            </a:pPr>
            <a:r>
              <a:rPr lang="en-US" sz="1500" b="1" dirty="0">
                <a:solidFill>
                  <a:schemeClr val="accent1"/>
                </a:solidFill>
                <a:latin typeface="CiscoSansTT ExtraLight" panose="020B0303020201020303" pitchFamily="34" charset="0"/>
                <a:cs typeface="CiscoSansTT ExtraLight" panose="020B0303020201020303" pitchFamily="34" charset="0"/>
              </a:rPr>
              <a:t>Management </a:t>
            </a:r>
            <a:br>
              <a:rPr lang="en-US" sz="1500" b="1" dirty="0">
                <a:solidFill>
                  <a:schemeClr val="accent1"/>
                </a:solidFill>
                <a:latin typeface="CiscoSansTT ExtraLight" panose="020B0303020201020303" pitchFamily="34" charset="0"/>
                <a:cs typeface="CiscoSansTT ExtraLight" panose="020B0303020201020303" pitchFamily="34" charset="0"/>
              </a:rPr>
            </a:br>
            <a:r>
              <a:rPr lang="en-US" sz="1500" b="1" dirty="0">
                <a:solidFill>
                  <a:schemeClr val="accent1"/>
                </a:solidFill>
                <a:latin typeface="CiscoSansTT ExtraLight" panose="020B0303020201020303" pitchFamily="34" charset="0"/>
                <a:cs typeface="CiscoSansTT ExtraLight" panose="020B0303020201020303" pitchFamily="34" charset="0"/>
              </a:rPr>
              <a:t>and prioritization of alerts</a:t>
            </a:r>
          </a:p>
        </p:txBody>
      </p:sp>
      <p:sp>
        <p:nvSpPr>
          <p:cNvPr id="25" name="TextBox 24">
            <a:extLst>
              <a:ext uri="{FF2B5EF4-FFF2-40B4-BE49-F238E27FC236}">
                <a16:creationId xmlns:a16="http://schemas.microsoft.com/office/drawing/2014/main" id="{018A2C9E-33BE-5844-9929-432039E19871}"/>
              </a:ext>
            </a:extLst>
          </p:cNvPr>
          <p:cNvSpPr txBox="1">
            <a:spLocks/>
          </p:cNvSpPr>
          <p:nvPr/>
        </p:nvSpPr>
        <p:spPr>
          <a:xfrm>
            <a:off x="9329757" y="2167000"/>
            <a:ext cx="1920000" cy="550415"/>
          </a:xfrm>
          <a:prstGeom prst="rect">
            <a:avLst/>
          </a:prstGeom>
          <a:noFill/>
        </p:spPr>
        <p:txBody>
          <a:bodyPr wrap="square" lIns="0" tIns="0" rIns="0" bIns="0" rtlCol="0">
            <a:noAutofit/>
          </a:bodyPr>
          <a:lstStyle/>
          <a:p>
            <a:pPr algn="ctr">
              <a:lnSpc>
                <a:spcPts val="2133"/>
              </a:lnSpc>
            </a:pPr>
            <a:r>
              <a:rPr lang="en-US" sz="1500" b="1" dirty="0">
                <a:solidFill>
                  <a:schemeClr val="accent1"/>
                </a:solidFill>
                <a:latin typeface="CiscoSansTT ExtraLight" panose="020B0303020201020303" pitchFamily="34" charset="0"/>
                <a:cs typeface="CiscoSansTT ExtraLight" panose="020B0303020201020303" pitchFamily="34" charset="0"/>
              </a:rPr>
              <a:t>Powerful integrated security architecture  </a:t>
            </a:r>
          </a:p>
        </p:txBody>
      </p:sp>
      <p:sp>
        <p:nvSpPr>
          <p:cNvPr id="15" name="TextBox 14">
            <a:extLst>
              <a:ext uri="{FF2B5EF4-FFF2-40B4-BE49-F238E27FC236}">
                <a16:creationId xmlns:a16="http://schemas.microsoft.com/office/drawing/2014/main" id="{F51B0901-7BF4-4ED8-9985-D948B38D9A02}"/>
              </a:ext>
            </a:extLst>
          </p:cNvPr>
          <p:cNvSpPr txBox="1"/>
          <p:nvPr/>
        </p:nvSpPr>
        <p:spPr>
          <a:xfrm>
            <a:off x="9084366" y="4672845"/>
            <a:ext cx="2458261" cy="735242"/>
          </a:xfrm>
          <a:prstGeom prst="rect">
            <a:avLst/>
          </a:prstGeom>
          <a:noFill/>
        </p:spPr>
        <p:txBody>
          <a:bodyPr wrap="square" lIns="0" tIns="0" rIns="0" bIns="0" rtlCol="0">
            <a:noAutofit/>
          </a:bodyPr>
          <a:lstStyle/>
          <a:p>
            <a:pPr algn="ctr">
              <a:lnSpc>
                <a:spcPts val="1300"/>
              </a:lnSpc>
            </a:pPr>
            <a:r>
              <a:rPr lang="en-US" sz="1400" dirty="0">
                <a:latin typeface="CiscoSansTT ExtraLight"/>
              </a:rPr>
              <a:t>Greater visibility </a:t>
            </a:r>
            <a:br>
              <a:rPr lang="en-US" sz="1400" dirty="0">
                <a:latin typeface="CiscoSansTT ExtraLight"/>
              </a:rPr>
            </a:br>
            <a:r>
              <a:rPr lang="en-US" sz="1400" dirty="0">
                <a:latin typeface="CiscoSansTT ExtraLight"/>
              </a:rPr>
              <a:t>with integrated </a:t>
            </a:r>
            <a:br>
              <a:rPr lang="en-US" sz="1400" dirty="0">
                <a:latin typeface="CiscoSansTT ExtraLight"/>
              </a:rPr>
            </a:br>
            <a:r>
              <a:rPr lang="en-US" sz="1400" dirty="0">
                <a:latin typeface="CiscoSansTT ExtraLight"/>
              </a:rPr>
              <a:t>and innovative technologies</a:t>
            </a:r>
            <a:endParaRPr lang="en-US" sz="1400" dirty="0">
              <a:latin typeface="CiscoSansTT ExtraLight" panose="020B0303020201020303" pitchFamily="34" charset="0"/>
              <a:cs typeface="CiscoSansTT ExtraLight" panose="020B0303020201020303" pitchFamily="34" charset="0"/>
            </a:endParaRPr>
          </a:p>
        </p:txBody>
      </p:sp>
      <p:sp>
        <p:nvSpPr>
          <p:cNvPr id="18" name="TextBox 17">
            <a:extLst>
              <a:ext uri="{FF2B5EF4-FFF2-40B4-BE49-F238E27FC236}">
                <a16:creationId xmlns:a16="http://schemas.microsoft.com/office/drawing/2014/main" id="{A77EBDDC-027D-4122-80A9-CDF4E89EC466}"/>
              </a:ext>
            </a:extLst>
          </p:cNvPr>
          <p:cNvSpPr txBox="1"/>
          <p:nvPr/>
        </p:nvSpPr>
        <p:spPr>
          <a:xfrm>
            <a:off x="715628" y="4672845"/>
            <a:ext cx="2533726" cy="735242"/>
          </a:xfrm>
          <a:prstGeom prst="rect">
            <a:avLst/>
          </a:prstGeom>
          <a:noFill/>
        </p:spPr>
        <p:txBody>
          <a:bodyPr wrap="square" lIns="0" tIns="0" rIns="0" bIns="0" rtlCol="0">
            <a:noAutofit/>
          </a:bodyPr>
          <a:lstStyle>
            <a:defPPr marR="0" lvl="0" algn="l" rtl="0">
              <a:lnSpc>
                <a:spcPct val="100000"/>
              </a:lnSpc>
              <a:spcBef>
                <a:spcPts val="0"/>
              </a:spcBef>
              <a:spcAft>
                <a:spcPts val="0"/>
              </a:spcAft>
            </a:defPPr>
            <a:lvl1pPr algn="ctr">
              <a:lnSpc>
                <a:spcPts val="1300"/>
              </a:lnSpc>
              <a:defRPr sz="1200">
                <a:solidFill>
                  <a:schemeClr val="tx1"/>
                </a:solidFill>
                <a:latin typeface="CiscoSansTT ExtraLight" panose="020B0303020201020303" pitchFamily="34" charset="0"/>
                <a:cs typeface="CiscoSansTT ExtraLight" panose="020B0303020201020303" pitchFamily="34" charset="0"/>
              </a:defRPr>
            </a:lvl1pPr>
          </a:lstStyle>
          <a:p>
            <a:r>
              <a:rPr lang="en-US" sz="1400" dirty="0"/>
              <a:t>Expert team of researchers, investigators, and responders</a:t>
            </a:r>
          </a:p>
        </p:txBody>
      </p:sp>
      <p:sp>
        <p:nvSpPr>
          <p:cNvPr id="19" name="TextBox 18">
            <a:extLst>
              <a:ext uri="{FF2B5EF4-FFF2-40B4-BE49-F238E27FC236}">
                <a16:creationId xmlns:a16="http://schemas.microsoft.com/office/drawing/2014/main" id="{0DC3AB31-7ED9-4492-8440-BD2EB416F31B}"/>
              </a:ext>
            </a:extLst>
          </p:cNvPr>
          <p:cNvSpPr txBox="1"/>
          <p:nvPr/>
        </p:nvSpPr>
        <p:spPr>
          <a:xfrm>
            <a:off x="6288601" y="4672845"/>
            <a:ext cx="2398185" cy="735242"/>
          </a:xfrm>
          <a:prstGeom prst="rect">
            <a:avLst/>
          </a:prstGeom>
          <a:noFill/>
        </p:spPr>
        <p:txBody>
          <a:bodyPr wrap="square" lIns="0" tIns="0" rIns="0" bIns="0" rtlCol="0">
            <a:noAutofit/>
          </a:bodyPr>
          <a:lstStyle/>
          <a:p>
            <a:pPr algn="ctr">
              <a:lnSpc>
                <a:spcPts val="1300"/>
              </a:lnSpc>
            </a:pPr>
            <a:r>
              <a:rPr lang="en-US" sz="1400" dirty="0">
                <a:latin typeface="CiscoSansTT ExtraLight" panose="020B0303020201020303" pitchFamily="34" charset="0"/>
                <a:cs typeface="CiscoSansTT ExtraLight" panose="020B0303020201020303" pitchFamily="34" charset="0"/>
              </a:rPr>
              <a:t>Defined investigations </a:t>
            </a:r>
            <a:br>
              <a:rPr lang="en-US" sz="1400" dirty="0">
                <a:latin typeface="CiscoSansTT ExtraLight" panose="020B0303020201020303" pitchFamily="34" charset="0"/>
                <a:cs typeface="CiscoSansTT ExtraLight" panose="020B0303020201020303" pitchFamily="34" charset="0"/>
              </a:rPr>
            </a:br>
            <a:r>
              <a:rPr lang="en-US" sz="1400" dirty="0">
                <a:latin typeface="CiscoSansTT ExtraLight" panose="020B0303020201020303" pitchFamily="34" charset="0"/>
                <a:cs typeface="CiscoSansTT ExtraLight" panose="020B0303020201020303" pitchFamily="34" charset="0"/>
              </a:rPr>
              <a:t>and response playbooks </a:t>
            </a:r>
          </a:p>
        </p:txBody>
      </p:sp>
      <p:sp>
        <p:nvSpPr>
          <p:cNvPr id="26" name="TextBox 25">
            <a:extLst>
              <a:ext uri="{FF2B5EF4-FFF2-40B4-BE49-F238E27FC236}">
                <a16:creationId xmlns:a16="http://schemas.microsoft.com/office/drawing/2014/main" id="{A2F51EBA-728E-4461-A62C-C951C59C31AC}"/>
              </a:ext>
            </a:extLst>
          </p:cNvPr>
          <p:cNvSpPr txBox="1"/>
          <p:nvPr/>
        </p:nvSpPr>
        <p:spPr>
          <a:xfrm>
            <a:off x="3446310" y="4672845"/>
            <a:ext cx="2587756" cy="735242"/>
          </a:xfrm>
          <a:prstGeom prst="rect">
            <a:avLst/>
          </a:prstGeom>
          <a:noFill/>
        </p:spPr>
        <p:txBody>
          <a:bodyPr wrap="square" lIns="0" tIns="0" rIns="0" bIns="0" rtlCol="0">
            <a:noAutofit/>
          </a:bodyPr>
          <a:lstStyle/>
          <a:p>
            <a:pPr algn="ctr">
              <a:lnSpc>
                <a:spcPts val="1300"/>
              </a:lnSpc>
            </a:pPr>
            <a:r>
              <a:rPr lang="en-US" sz="1400" dirty="0">
                <a:latin typeface="CiscoSansTT ExtraLight" panose="020B0303020201020303" pitchFamily="34" charset="0"/>
                <a:cs typeface="CiscoSansTT ExtraLight" panose="020B0303020201020303" pitchFamily="34" charset="0"/>
              </a:rPr>
              <a:t>Cisco® MDR Threat Intelligence </a:t>
            </a:r>
            <a:br>
              <a:rPr lang="en-US" sz="1400" dirty="0">
                <a:latin typeface="CiscoSansTT ExtraLight" panose="020B0303020201020303" pitchFamily="34" charset="0"/>
                <a:cs typeface="CiscoSansTT ExtraLight" panose="020B0303020201020303" pitchFamily="34" charset="0"/>
              </a:rPr>
            </a:br>
            <a:r>
              <a:rPr lang="en-US" sz="1400" dirty="0">
                <a:latin typeface="CiscoSansTT ExtraLight" panose="020B0303020201020303" pitchFamily="34" charset="0"/>
                <a:cs typeface="CiscoSansTT ExtraLight" panose="020B0303020201020303" pitchFamily="34" charset="0"/>
              </a:rPr>
              <a:t>and Automation Platform</a:t>
            </a:r>
          </a:p>
        </p:txBody>
      </p:sp>
      <p:cxnSp>
        <p:nvCxnSpPr>
          <p:cNvPr id="29" name="Straight Connector 28">
            <a:extLst>
              <a:ext uri="{FF2B5EF4-FFF2-40B4-BE49-F238E27FC236}">
                <a16:creationId xmlns:a16="http://schemas.microsoft.com/office/drawing/2014/main" id="{95A35497-3179-4783-8A55-94D0D11C605A}"/>
              </a:ext>
            </a:extLst>
          </p:cNvPr>
          <p:cNvCxnSpPr>
            <a:cxnSpLocks/>
          </p:cNvCxnSpPr>
          <p:nvPr/>
        </p:nvCxnSpPr>
        <p:spPr>
          <a:xfrm>
            <a:off x="6105198" y="2706379"/>
            <a:ext cx="0" cy="2422215"/>
          </a:xfrm>
          <a:prstGeom prst="line">
            <a:avLst/>
          </a:prstGeom>
          <a:ln w="12700">
            <a:solidFill>
              <a:srgbClr val="EDF1F7"/>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F1D95F4-D238-4CA1-BCE5-3CEC0482EE0B}"/>
              </a:ext>
            </a:extLst>
          </p:cNvPr>
          <p:cNvCxnSpPr>
            <a:cxnSpLocks/>
          </p:cNvCxnSpPr>
          <p:nvPr/>
        </p:nvCxnSpPr>
        <p:spPr>
          <a:xfrm>
            <a:off x="8961042" y="2706379"/>
            <a:ext cx="0" cy="2422215"/>
          </a:xfrm>
          <a:prstGeom prst="line">
            <a:avLst/>
          </a:prstGeom>
          <a:ln w="12700">
            <a:solidFill>
              <a:srgbClr val="EDF1F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9138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47C4353-D0D8-4804-9F5B-C1366C29AD9F}"/>
              </a:ext>
            </a:extLst>
          </p:cNvPr>
          <p:cNvSpPr>
            <a:spLocks noGrp="1"/>
          </p:cNvSpPr>
          <p:nvPr>
            <p:ph type="body" idx="1"/>
          </p:nvPr>
        </p:nvSpPr>
        <p:spPr>
          <a:xfrm>
            <a:off x="893934" y="2522079"/>
            <a:ext cx="10404132" cy="1223999"/>
          </a:xfrm>
        </p:spPr>
        <p:txBody>
          <a:bodyPr/>
          <a:lstStyle/>
          <a:p>
            <a:r>
              <a:rPr lang="en-US" sz="4267" dirty="0"/>
              <a:t>MDR Use Case Demo</a:t>
            </a:r>
          </a:p>
          <a:p>
            <a:r>
              <a:rPr lang="en-US" sz="4267" dirty="0">
                <a:latin typeface="CiscoSansTT ExtraLight"/>
              </a:rPr>
              <a:t>Domain Generating Algorithm (DGA) Activity</a:t>
            </a:r>
            <a:endParaRPr lang="en-US" sz="4267" dirty="0"/>
          </a:p>
        </p:txBody>
      </p:sp>
    </p:spTree>
    <p:extLst>
      <p:ext uri="{BB962C8B-B14F-4D97-AF65-F5344CB8AC3E}">
        <p14:creationId xmlns:p14="http://schemas.microsoft.com/office/powerpoint/2010/main" val="30998028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2EF536B-DDAD-4224-83B3-6F6A25A7F91D}"/>
              </a:ext>
            </a:extLst>
          </p:cNvPr>
          <p:cNvSpPr/>
          <p:nvPr/>
        </p:nvSpPr>
        <p:spPr>
          <a:xfrm>
            <a:off x="1" y="0"/>
            <a:ext cx="6016052" cy="6858000"/>
          </a:xfrm>
          <a:prstGeom prst="rect">
            <a:avLst/>
          </a:prstGeom>
          <a:solidFill>
            <a:srgbClr val="0D28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7" name="Oval 6">
            <a:extLst>
              <a:ext uri="{FF2B5EF4-FFF2-40B4-BE49-F238E27FC236}">
                <a16:creationId xmlns:a16="http://schemas.microsoft.com/office/drawing/2014/main" id="{E6791D49-2EBC-F340-87BD-C2824DA696EB}"/>
              </a:ext>
            </a:extLst>
          </p:cNvPr>
          <p:cNvSpPr/>
          <p:nvPr/>
        </p:nvSpPr>
        <p:spPr>
          <a:xfrm>
            <a:off x="6520037" y="1986966"/>
            <a:ext cx="445671" cy="44567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defRPr/>
            </a:pPr>
            <a:r>
              <a:rPr lang="en-US" sz="2133">
                <a:solidFill>
                  <a:srgbClr val="FFFFFF"/>
                </a:solidFill>
                <a:latin typeface="CiscoSansTT ExtraLight"/>
                <a:sym typeface="Arial"/>
              </a:rPr>
              <a:t>2</a:t>
            </a:r>
          </a:p>
        </p:txBody>
      </p:sp>
      <p:sp>
        <p:nvSpPr>
          <p:cNvPr id="8" name="Oval 7">
            <a:extLst>
              <a:ext uri="{FF2B5EF4-FFF2-40B4-BE49-F238E27FC236}">
                <a16:creationId xmlns:a16="http://schemas.microsoft.com/office/drawing/2014/main" id="{72E1D32C-3466-8249-8395-9CFB2E673CA5}"/>
              </a:ext>
            </a:extLst>
          </p:cNvPr>
          <p:cNvSpPr/>
          <p:nvPr/>
        </p:nvSpPr>
        <p:spPr>
          <a:xfrm>
            <a:off x="6530833" y="2936346"/>
            <a:ext cx="445671" cy="44567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defRPr/>
            </a:pPr>
            <a:r>
              <a:rPr lang="en-US" sz="2133">
                <a:solidFill>
                  <a:srgbClr val="FFFFFF"/>
                </a:solidFill>
                <a:latin typeface="CiscoSansTT ExtraLight"/>
                <a:sym typeface="Arial"/>
              </a:rPr>
              <a:t>3</a:t>
            </a:r>
          </a:p>
        </p:txBody>
      </p:sp>
      <p:sp>
        <p:nvSpPr>
          <p:cNvPr id="9" name="Oval 8">
            <a:extLst>
              <a:ext uri="{FF2B5EF4-FFF2-40B4-BE49-F238E27FC236}">
                <a16:creationId xmlns:a16="http://schemas.microsoft.com/office/drawing/2014/main" id="{0E09E832-D8C2-1941-AD65-4C2AE3D1BD68}"/>
              </a:ext>
            </a:extLst>
          </p:cNvPr>
          <p:cNvSpPr/>
          <p:nvPr/>
        </p:nvSpPr>
        <p:spPr>
          <a:xfrm>
            <a:off x="6530833" y="3874717"/>
            <a:ext cx="445671" cy="44567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defRPr/>
            </a:pPr>
            <a:r>
              <a:rPr lang="en-US" sz="2133">
                <a:solidFill>
                  <a:srgbClr val="FFFFFF"/>
                </a:solidFill>
                <a:latin typeface="CiscoSansTT ExtraLight"/>
                <a:sym typeface="Arial"/>
              </a:rPr>
              <a:t>4</a:t>
            </a:r>
          </a:p>
        </p:txBody>
      </p:sp>
      <p:sp>
        <p:nvSpPr>
          <p:cNvPr id="10" name="Oval 9">
            <a:extLst>
              <a:ext uri="{FF2B5EF4-FFF2-40B4-BE49-F238E27FC236}">
                <a16:creationId xmlns:a16="http://schemas.microsoft.com/office/drawing/2014/main" id="{47C7D0C3-7545-4342-BD0B-192E999C6268}"/>
              </a:ext>
            </a:extLst>
          </p:cNvPr>
          <p:cNvSpPr/>
          <p:nvPr/>
        </p:nvSpPr>
        <p:spPr>
          <a:xfrm>
            <a:off x="6520037" y="5042778"/>
            <a:ext cx="445671" cy="44567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defRPr/>
            </a:pPr>
            <a:r>
              <a:rPr lang="en-US" sz="2400">
                <a:solidFill>
                  <a:srgbClr val="FFFFFF"/>
                </a:solidFill>
                <a:latin typeface="CiscoSansTT ExtraLight"/>
                <a:sym typeface="Arial"/>
              </a:rPr>
              <a:t>5</a:t>
            </a:r>
          </a:p>
        </p:txBody>
      </p:sp>
      <p:sp>
        <p:nvSpPr>
          <p:cNvPr id="5" name="Oval 4">
            <a:extLst>
              <a:ext uri="{FF2B5EF4-FFF2-40B4-BE49-F238E27FC236}">
                <a16:creationId xmlns:a16="http://schemas.microsoft.com/office/drawing/2014/main" id="{870F71A5-B55C-2647-BFAA-2CB1F1F122E6}"/>
              </a:ext>
            </a:extLst>
          </p:cNvPr>
          <p:cNvSpPr/>
          <p:nvPr/>
        </p:nvSpPr>
        <p:spPr>
          <a:xfrm>
            <a:off x="6530833" y="1189654"/>
            <a:ext cx="445671" cy="44567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defRPr/>
            </a:pPr>
            <a:r>
              <a:rPr lang="en-US" sz="2400">
                <a:solidFill>
                  <a:srgbClr val="FFFFFF"/>
                </a:solidFill>
                <a:latin typeface="CiscoSansTT ExtraLight"/>
                <a:sym typeface="Arial"/>
              </a:rPr>
              <a:t>1</a:t>
            </a:r>
          </a:p>
        </p:txBody>
      </p:sp>
      <p:sp>
        <p:nvSpPr>
          <p:cNvPr id="3" name="Title 2">
            <a:extLst>
              <a:ext uri="{FF2B5EF4-FFF2-40B4-BE49-F238E27FC236}">
                <a16:creationId xmlns:a16="http://schemas.microsoft.com/office/drawing/2014/main" id="{D5458172-63A6-1A45-81F5-A08FF7BB32E9}"/>
              </a:ext>
            </a:extLst>
          </p:cNvPr>
          <p:cNvSpPr>
            <a:spLocks noGrp="1"/>
          </p:cNvSpPr>
          <p:nvPr>
            <p:ph type="title"/>
          </p:nvPr>
        </p:nvSpPr>
        <p:spPr>
          <a:xfrm>
            <a:off x="543384" y="3354146"/>
            <a:ext cx="5138616" cy="2438400"/>
          </a:xfrm>
        </p:spPr>
        <p:txBody>
          <a:bodyPr/>
          <a:lstStyle/>
          <a:p>
            <a:r>
              <a:rPr lang="en-US" sz="4000" dirty="0">
                <a:latin typeface="CiscoSansTT ExtraLight" panose="020B0303020201020303" pitchFamily="34" charset="0"/>
                <a:cs typeface="CiscoSansTT ExtraLight" panose="020B0303020201020303" pitchFamily="34" charset="0"/>
              </a:rPr>
              <a:t>Lots of questions</a:t>
            </a:r>
            <a:br>
              <a:rPr lang="en-US" sz="4000" dirty="0">
                <a:latin typeface="CiscoSansTT ExtraLight" panose="020B0303020201020303" pitchFamily="34" charset="0"/>
                <a:cs typeface="CiscoSansTT ExtraLight" panose="020B0303020201020303" pitchFamily="34" charset="0"/>
              </a:rPr>
            </a:br>
            <a:r>
              <a:rPr lang="en-US" sz="4000" dirty="0">
                <a:latin typeface="CiscoSansTT ExtraLight" panose="020B0303020201020303" pitchFamily="34" charset="0"/>
                <a:cs typeface="CiscoSansTT ExtraLight" panose="020B0303020201020303" pitchFamily="34" charset="0"/>
              </a:rPr>
              <a:t>to be answered…</a:t>
            </a:r>
            <a:br>
              <a:rPr lang="en-US" sz="4000" dirty="0">
                <a:latin typeface="CiscoSansTT ExtraLight" panose="020B0303020201020303" pitchFamily="34" charset="0"/>
                <a:cs typeface="CiscoSansTT ExtraLight" panose="020B0303020201020303" pitchFamily="34" charset="0"/>
              </a:rPr>
            </a:br>
            <a:r>
              <a:rPr lang="en-US" sz="4000" dirty="0">
                <a:latin typeface="CiscoSansTT ExtraLight" panose="020B0303020201020303" pitchFamily="34" charset="0"/>
                <a:cs typeface="CiscoSansTT ExtraLight" panose="020B0303020201020303" pitchFamily="34" charset="0"/>
              </a:rPr>
              <a:t>and fast!</a:t>
            </a:r>
          </a:p>
        </p:txBody>
      </p:sp>
      <p:sp>
        <p:nvSpPr>
          <p:cNvPr id="2" name="Text Placeholder 1">
            <a:extLst>
              <a:ext uri="{FF2B5EF4-FFF2-40B4-BE49-F238E27FC236}">
                <a16:creationId xmlns:a16="http://schemas.microsoft.com/office/drawing/2014/main" id="{F92D28FF-48AB-5546-B0B3-8BD31E69669E}"/>
              </a:ext>
            </a:extLst>
          </p:cNvPr>
          <p:cNvSpPr>
            <a:spLocks noGrp="1"/>
          </p:cNvSpPr>
          <p:nvPr>
            <p:ph type="body" sz="quarter" idx="10"/>
          </p:nvPr>
        </p:nvSpPr>
        <p:spPr>
          <a:xfrm>
            <a:off x="7258899" y="716334"/>
            <a:ext cx="4597823" cy="5412316"/>
          </a:xfrm>
        </p:spPr>
        <p:txBody>
          <a:bodyPr/>
          <a:lstStyle/>
          <a:p>
            <a:pPr marL="76197" indent="0">
              <a:spcBef>
                <a:spcPts val="2767"/>
              </a:spcBef>
              <a:buClr>
                <a:schemeClr val="bg2"/>
              </a:buClr>
              <a:buSzPct val="80000"/>
              <a:buNone/>
            </a:pPr>
            <a:r>
              <a:rPr lang="en-US" sz="2133" dirty="0">
                <a:solidFill>
                  <a:schemeClr val="tx1"/>
                </a:solidFill>
                <a:latin typeface="CiscoSansTT ExtraLight" panose="020B0303020201020303" pitchFamily="34" charset="0"/>
                <a:cs typeface="CiscoSansTT ExtraLight" panose="020B0303020201020303" pitchFamily="34" charset="0"/>
              </a:rPr>
              <a:t>Do we care about this threat?</a:t>
            </a:r>
          </a:p>
          <a:p>
            <a:pPr marL="76197" indent="0">
              <a:spcBef>
                <a:spcPts val="2767"/>
              </a:spcBef>
              <a:buClr>
                <a:schemeClr val="bg2"/>
              </a:buClr>
              <a:buSzPct val="80000"/>
              <a:buNone/>
            </a:pPr>
            <a:r>
              <a:rPr lang="en-US" sz="2133" dirty="0">
                <a:solidFill>
                  <a:schemeClr val="tx1"/>
                </a:solidFill>
                <a:latin typeface="CiscoSansTT ExtraLight" panose="020B0303020201020303" pitchFamily="34" charset="0"/>
                <a:cs typeface="CiscoSansTT ExtraLight" panose="020B0303020201020303" pitchFamily="34" charset="0"/>
              </a:rPr>
              <a:t>What departments and machines have been infected?</a:t>
            </a:r>
          </a:p>
          <a:p>
            <a:pPr marL="76197" indent="0">
              <a:spcBef>
                <a:spcPts val="2767"/>
              </a:spcBef>
              <a:buClr>
                <a:schemeClr val="bg2"/>
              </a:buClr>
              <a:buSzPct val="80000"/>
              <a:buNone/>
            </a:pPr>
            <a:r>
              <a:rPr lang="en-US" sz="2133" dirty="0">
                <a:solidFill>
                  <a:schemeClr val="tx1"/>
                </a:solidFill>
                <a:latin typeface="CiscoSansTT ExtraLight" panose="020B0303020201020303" pitchFamily="34" charset="0"/>
                <a:cs typeface="CiscoSansTT ExtraLight" panose="020B0303020201020303" pitchFamily="34" charset="0"/>
              </a:rPr>
              <a:t>Who was patient 0?</a:t>
            </a:r>
          </a:p>
          <a:p>
            <a:pPr marL="76197" indent="0">
              <a:spcBef>
                <a:spcPts val="2767"/>
              </a:spcBef>
              <a:buClr>
                <a:schemeClr val="bg2"/>
              </a:buClr>
              <a:buSzPct val="80000"/>
              <a:buNone/>
            </a:pPr>
            <a:r>
              <a:rPr lang="en-US" sz="2133" dirty="0">
                <a:solidFill>
                  <a:schemeClr val="tx1"/>
                </a:solidFill>
                <a:latin typeface="CiscoSansTT ExtraLight" panose="020B0303020201020303" pitchFamily="34" charset="0"/>
                <a:cs typeface="CiscoSansTT ExtraLight" panose="020B0303020201020303" pitchFamily="34" charset="0"/>
              </a:rPr>
              <a:t>Are there any related attacks or attack components we need to be concerned with?</a:t>
            </a:r>
          </a:p>
          <a:p>
            <a:pPr marL="76197" indent="0">
              <a:spcBef>
                <a:spcPts val="2767"/>
              </a:spcBef>
              <a:buClr>
                <a:schemeClr val="bg2"/>
              </a:buClr>
              <a:buSzPct val="80000"/>
              <a:buNone/>
            </a:pPr>
            <a:r>
              <a:rPr lang="en-US" sz="2133" dirty="0">
                <a:solidFill>
                  <a:schemeClr val="tx1"/>
                </a:solidFill>
                <a:latin typeface="CiscoSansTT ExtraLight" panose="020B0303020201020303" pitchFamily="34" charset="0"/>
                <a:cs typeface="CiscoSansTT ExtraLight" panose="020B0303020201020303" pitchFamily="34" charset="0"/>
              </a:rPr>
              <a:t>How can we block this attack, and prevent potential future attacks?</a:t>
            </a:r>
          </a:p>
        </p:txBody>
      </p:sp>
      <p:sp>
        <p:nvSpPr>
          <p:cNvPr id="11" name="Freeform 56">
            <a:extLst>
              <a:ext uri="{FF2B5EF4-FFF2-40B4-BE49-F238E27FC236}">
                <a16:creationId xmlns:a16="http://schemas.microsoft.com/office/drawing/2014/main" id="{229238E1-E09B-45C0-B52F-07AC62AC4C21}"/>
              </a:ext>
            </a:extLst>
          </p:cNvPr>
          <p:cNvSpPr/>
          <p:nvPr/>
        </p:nvSpPr>
        <p:spPr>
          <a:xfrm>
            <a:off x="3080235" y="1406278"/>
            <a:ext cx="504770" cy="519777"/>
          </a:xfrm>
          <a:custGeom>
            <a:avLst/>
            <a:gdLst>
              <a:gd name="connsiteX0" fmla="*/ 236918 w 473836"/>
              <a:gd name="connsiteY0" fmla="*/ 0 h 473836"/>
              <a:gd name="connsiteX1" fmla="*/ 473836 w 473836"/>
              <a:gd name="connsiteY1" fmla="*/ 236918 h 473836"/>
              <a:gd name="connsiteX2" fmla="*/ 236918 w 473836"/>
              <a:gd name="connsiteY2" fmla="*/ 473836 h 473836"/>
              <a:gd name="connsiteX3" fmla="*/ 225795 w 473836"/>
              <a:gd name="connsiteY3" fmla="*/ 472715 h 473836"/>
              <a:gd name="connsiteX4" fmla="*/ 226445 w 473836"/>
              <a:gd name="connsiteY4" fmla="*/ 473836 h 473836"/>
              <a:gd name="connsiteX5" fmla="*/ 0 w 473836"/>
              <a:gd name="connsiteY5" fmla="*/ 473836 h 473836"/>
              <a:gd name="connsiteX6" fmla="*/ 52278 w 473836"/>
              <a:gd name="connsiteY6" fmla="*/ 383702 h 473836"/>
              <a:gd name="connsiteX7" fmla="*/ 40462 w 473836"/>
              <a:gd name="connsiteY7" fmla="*/ 369381 h 473836"/>
              <a:gd name="connsiteX8" fmla="*/ 0 w 473836"/>
              <a:gd name="connsiteY8" fmla="*/ 236918 h 473836"/>
              <a:gd name="connsiteX9" fmla="*/ 236918 w 473836"/>
              <a:gd name="connsiteY9" fmla="*/ 0 h 473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3836" h="473836">
                <a:moveTo>
                  <a:pt x="236918" y="0"/>
                </a:moveTo>
                <a:cubicBezTo>
                  <a:pt x="367764" y="0"/>
                  <a:pt x="473836" y="106072"/>
                  <a:pt x="473836" y="236918"/>
                </a:cubicBezTo>
                <a:cubicBezTo>
                  <a:pt x="473836" y="367764"/>
                  <a:pt x="367764" y="473836"/>
                  <a:pt x="236918" y="473836"/>
                </a:cubicBezTo>
                <a:lnTo>
                  <a:pt x="225795" y="472715"/>
                </a:lnTo>
                <a:lnTo>
                  <a:pt x="226445" y="473836"/>
                </a:lnTo>
                <a:lnTo>
                  <a:pt x="0" y="473836"/>
                </a:lnTo>
                <a:lnTo>
                  <a:pt x="52278" y="383702"/>
                </a:lnTo>
                <a:lnTo>
                  <a:pt x="40462" y="369381"/>
                </a:lnTo>
                <a:cubicBezTo>
                  <a:pt x="14917" y="331569"/>
                  <a:pt x="0" y="285985"/>
                  <a:pt x="0" y="236918"/>
                </a:cubicBezTo>
                <a:cubicBezTo>
                  <a:pt x="0" y="106072"/>
                  <a:pt x="106072" y="0"/>
                  <a:pt x="236918"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r>
              <a:rPr lang="en-US" sz="1200" dirty="0">
                <a:latin typeface="CiscoSans Thin" panose="020B0203020201020303"/>
              </a:rPr>
              <a:t>Who?</a:t>
            </a:r>
          </a:p>
        </p:txBody>
      </p:sp>
      <p:grpSp>
        <p:nvGrpSpPr>
          <p:cNvPr id="12" name="Group 11">
            <a:extLst>
              <a:ext uri="{FF2B5EF4-FFF2-40B4-BE49-F238E27FC236}">
                <a16:creationId xmlns:a16="http://schemas.microsoft.com/office/drawing/2014/main" id="{12E15B88-22F5-48FE-8DF6-A3937838CE08}"/>
              </a:ext>
            </a:extLst>
          </p:cNvPr>
          <p:cNvGrpSpPr>
            <a:grpSpLocks noChangeAspect="1"/>
          </p:cNvGrpSpPr>
          <p:nvPr/>
        </p:nvGrpSpPr>
        <p:grpSpPr>
          <a:xfrm>
            <a:off x="2068256" y="1945581"/>
            <a:ext cx="1369513" cy="1371600"/>
            <a:chOff x="732264" y="1428789"/>
            <a:chExt cx="1095611" cy="1097280"/>
          </a:xfrm>
        </p:grpSpPr>
        <p:sp>
          <p:nvSpPr>
            <p:cNvPr id="13" name="Oval 12">
              <a:extLst>
                <a:ext uri="{FF2B5EF4-FFF2-40B4-BE49-F238E27FC236}">
                  <a16:creationId xmlns:a16="http://schemas.microsoft.com/office/drawing/2014/main" id="{AD75AA1D-7375-4B2E-B16E-B5920C2C792F}"/>
                </a:ext>
              </a:extLst>
            </p:cNvPr>
            <p:cNvSpPr>
              <a:spLocks noChangeAspect="1"/>
            </p:cNvSpPr>
            <p:nvPr/>
          </p:nvSpPr>
          <p:spPr>
            <a:xfrm>
              <a:off x="732264" y="1428789"/>
              <a:ext cx="1095611" cy="109561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Thin" panose="020B0203020201020303"/>
              </a:endParaRPr>
            </a:p>
          </p:txBody>
        </p:sp>
        <p:sp>
          <p:nvSpPr>
            <p:cNvPr id="14" name="Oval 13">
              <a:extLst>
                <a:ext uri="{FF2B5EF4-FFF2-40B4-BE49-F238E27FC236}">
                  <a16:creationId xmlns:a16="http://schemas.microsoft.com/office/drawing/2014/main" id="{0FF5BB30-AF80-4603-9795-44CD2088B6D3}"/>
                </a:ext>
              </a:extLst>
            </p:cNvPr>
            <p:cNvSpPr>
              <a:spLocks noChangeAspect="1"/>
            </p:cNvSpPr>
            <p:nvPr/>
          </p:nvSpPr>
          <p:spPr>
            <a:xfrm>
              <a:off x="1088338" y="1552515"/>
              <a:ext cx="383464" cy="38346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Thin" panose="020B0203020201020303"/>
              </a:endParaRPr>
            </a:p>
          </p:txBody>
        </p:sp>
        <p:sp>
          <p:nvSpPr>
            <p:cNvPr id="15" name="Freeform: Shape 89">
              <a:extLst>
                <a:ext uri="{FF2B5EF4-FFF2-40B4-BE49-F238E27FC236}">
                  <a16:creationId xmlns:a16="http://schemas.microsoft.com/office/drawing/2014/main" id="{57BA8EF0-26B8-4C1F-9BCF-D5F3B87C505D}"/>
                </a:ext>
              </a:extLst>
            </p:cNvPr>
            <p:cNvSpPr/>
            <p:nvPr/>
          </p:nvSpPr>
          <p:spPr>
            <a:xfrm>
              <a:off x="969646" y="2033067"/>
              <a:ext cx="620846" cy="493002"/>
            </a:xfrm>
            <a:custGeom>
              <a:avLst/>
              <a:gdLst>
                <a:gd name="connsiteX0" fmla="*/ 155775 w 621792"/>
                <a:gd name="connsiteY0" fmla="*/ 0 h 493753"/>
                <a:gd name="connsiteX1" fmla="*/ 466017 w 621792"/>
                <a:gd name="connsiteY1" fmla="*/ 0 h 493753"/>
                <a:gd name="connsiteX2" fmla="*/ 621792 w 621792"/>
                <a:gd name="connsiteY2" fmla="*/ 155775 h 493753"/>
                <a:gd name="connsiteX3" fmla="*/ 621792 w 621792"/>
                <a:gd name="connsiteY3" fmla="*/ 396634 h 493753"/>
                <a:gd name="connsiteX4" fmla="*/ 617646 w 621792"/>
                <a:gd name="connsiteY4" fmla="*/ 400054 h 493753"/>
                <a:gd name="connsiteX5" fmla="*/ 310896 w 621792"/>
                <a:gd name="connsiteY5" fmla="*/ 493753 h 493753"/>
                <a:gd name="connsiteX6" fmla="*/ 4146 w 621792"/>
                <a:gd name="connsiteY6" fmla="*/ 400054 h 493753"/>
                <a:gd name="connsiteX7" fmla="*/ 0 w 621792"/>
                <a:gd name="connsiteY7" fmla="*/ 396634 h 493753"/>
                <a:gd name="connsiteX8" fmla="*/ 0 w 621792"/>
                <a:gd name="connsiteY8" fmla="*/ 155775 h 493753"/>
                <a:gd name="connsiteX9" fmla="*/ 155775 w 621792"/>
                <a:gd name="connsiteY9" fmla="*/ 0 h 493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1792" h="493753">
                  <a:moveTo>
                    <a:pt x="155775" y="0"/>
                  </a:moveTo>
                  <a:lnTo>
                    <a:pt x="466017" y="0"/>
                  </a:lnTo>
                  <a:cubicBezTo>
                    <a:pt x="552049" y="0"/>
                    <a:pt x="621792" y="69743"/>
                    <a:pt x="621792" y="155775"/>
                  </a:cubicBezTo>
                  <a:lnTo>
                    <a:pt x="621792" y="396634"/>
                  </a:lnTo>
                  <a:lnTo>
                    <a:pt x="617646" y="400054"/>
                  </a:lnTo>
                  <a:cubicBezTo>
                    <a:pt x="530083" y="459211"/>
                    <a:pt x="424524" y="493753"/>
                    <a:pt x="310896" y="493753"/>
                  </a:cubicBezTo>
                  <a:cubicBezTo>
                    <a:pt x="197269" y="493753"/>
                    <a:pt x="91710" y="459211"/>
                    <a:pt x="4146" y="400054"/>
                  </a:cubicBezTo>
                  <a:lnTo>
                    <a:pt x="0" y="396634"/>
                  </a:lnTo>
                  <a:lnTo>
                    <a:pt x="0" y="155775"/>
                  </a:lnTo>
                  <a:cubicBezTo>
                    <a:pt x="0" y="69743"/>
                    <a:pt x="69743" y="0"/>
                    <a:pt x="155775" y="0"/>
                  </a:cubicBez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Thin" panose="020B0203020201020303"/>
              </a:endParaRPr>
            </a:p>
          </p:txBody>
        </p:sp>
      </p:grpSp>
      <p:sp>
        <p:nvSpPr>
          <p:cNvPr id="17" name="Freeform 50">
            <a:extLst>
              <a:ext uri="{FF2B5EF4-FFF2-40B4-BE49-F238E27FC236}">
                <a16:creationId xmlns:a16="http://schemas.microsoft.com/office/drawing/2014/main" id="{455A8994-32F8-4C20-9ECD-393FFE34A215}"/>
              </a:ext>
            </a:extLst>
          </p:cNvPr>
          <p:cNvSpPr>
            <a:spLocks noChangeAspect="1"/>
          </p:cNvSpPr>
          <p:nvPr/>
        </p:nvSpPr>
        <p:spPr>
          <a:xfrm>
            <a:off x="3585056" y="1855792"/>
            <a:ext cx="733944" cy="733944"/>
          </a:xfrm>
          <a:custGeom>
            <a:avLst/>
            <a:gdLst>
              <a:gd name="connsiteX0" fmla="*/ 366972 w 733944"/>
              <a:gd name="connsiteY0" fmla="*/ 0 h 733944"/>
              <a:gd name="connsiteX1" fmla="*/ 733944 w 733944"/>
              <a:gd name="connsiteY1" fmla="*/ 366972 h 733944"/>
              <a:gd name="connsiteX2" fmla="*/ 366972 w 733944"/>
              <a:gd name="connsiteY2" fmla="*/ 733944 h 733944"/>
              <a:gd name="connsiteX3" fmla="*/ 345823 w 733944"/>
              <a:gd name="connsiteY3" fmla="*/ 731812 h 733944"/>
              <a:gd name="connsiteX4" fmla="*/ 6838 w 733944"/>
              <a:gd name="connsiteY4" fmla="*/ 731812 h 733944"/>
              <a:gd name="connsiteX5" fmla="*/ 84265 w 733944"/>
              <a:gd name="connsiteY5" fmla="*/ 598319 h 733944"/>
              <a:gd name="connsiteX6" fmla="*/ 62673 w 733944"/>
              <a:gd name="connsiteY6" fmla="*/ 572150 h 733944"/>
              <a:gd name="connsiteX7" fmla="*/ 0 w 733944"/>
              <a:gd name="connsiteY7" fmla="*/ 366972 h 733944"/>
              <a:gd name="connsiteX8" fmla="*/ 366972 w 733944"/>
              <a:gd name="connsiteY8" fmla="*/ 0 h 73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3944" h="733944">
                <a:moveTo>
                  <a:pt x="366972" y="0"/>
                </a:moveTo>
                <a:cubicBezTo>
                  <a:pt x="569645" y="0"/>
                  <a:pt x="733944" y="164299"/>
                  <a:pt x="733944" y="366972"/>
                </a:cubicBezTo>
                <a:cubicBezTo>
                  <a:pt x="733944" y="569645"/>
                  <a:pt x="569645" y="733944"/>
                  <a:pt x="366972" y="733944"/>
                </a:cubicBezTo>
                <a:lnTo>
                  <a:pt x="345823" y="731812"/>
                </a:lnTo>
                <a:lnTo>
                  <a:pt x="6838" y="731812"/>
                </a:lnTo>
                <a:lnTo>
                  <a:pt x="84265" y="598319"/>
                </a:lnTo>
                <a:lnTo>
                  <a:pt x="62673" y="572150"/>
                </a:lnTo>
                <a:cubicBezTo>
                  <a:pt x="23105" y="513580"/>
                  <a:pt x="0" y="442974"/>
                  <a:pt x="0" y="366972"/>
                </a:cubicBezTo>
                <a:cubicBezTo>
                  <a:pt x="0" y="164299"/>
                  <a:pt x="164299" y="0"/>
                  <a:pt x="366972"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US" sz="1200" dirty="0">
                <a:latin typeface="CiscoSans Thin" panose="020B0203020201020303"/>
              </a:rPr>
              <a:t>Has it </a:t>
            </a:r>
            <a:br>
              <a:rPr lang="en-US" sz="1200" dirty="0">
                <a:latin typeface="CiscoSans Thin" panose="020B0203020201020303"/>
              </a:rPr>
            </a:br>
            <a:r>
              <a:rPr lang="en-US" sz="1200" dirty="0">
                <a:latin typeface="CiscoSans Thin" panose="020B0203020201020303"/>
              </a:rPr>
              <a:t>affected</a:t>
            </a:r>
            <a:br>
              <a:rPr lang="en-US" sz="1200" dirty="0">
                <a:latin typeface="CiscoSans Thin" panose="020B0203020201020303"/>
              </a:rPr>
            </a:br>
            <a:r>
              <a:rPr lang="en-US" sz="1200" dirty="0">
                <a:latin typeface="CiscoSans Thin" panose="020B0203020201020303"/>
              </a:rPr>
              <a:t>us?</a:t>
            </a:r>
          </a:p>
        </p:txBody>
      </p:sp>
      <p:sp>
        <p:nvSpPr>
          <p:cNvPr id="18" name="Freeform 53">
            <a:extLst>
              <a:ext uri="{FF2B5EF4-FFF2-40B4-BE49-F238E27FC236}">
                <a16:creationId xmlns:a16="http://schemas.microsoft.com/office/drawing/2014/main" id="{808B79CC-39DA-4BE3-BDFC-FB43D341D3E6}"/>
              </a:ext>
            </a:extLst>
          </p:cNvPr>
          <p:cNvSpPr/>
          <p:nvPr/>
        </p:nvSpPr>
        <p:spPr>
          <a:xfrm>
            <a:off x="2061400" y="1417185"/>
            <a:ext cx="473836" cy="519777"/>
          </a:xfrm>
          <a:custGeom>
            <a:avLst/>
            <a:gdLst>
              <a:gd name="connsiteX0" fmla="*/ 236918 w 473836"/>
              <a:gd name="connsiteY0" fmla="*/ 0 h 473836"/>
              <a:gd name="connsiteX1" fmla="*/ 473836 w 473836"/>
              <a:gd name="connsiteY1" fmla="*/ 236918 h 473836"/>
              <a:gd name="connsiteX2" fmla="*/ 433374 w 473836"/>
              <a:gd name="connsiteY2" fmla="*/ 369381 h 473836"/>
              <a:gd name="connsiteX3" fmla="*/ 410528 w 473836"/>
              <a:gd name="connsiteY3" fmla="*/ 397071 h 473836"/>
              <a:gd name="connsiteX4" fmla="*/ 455051 w 473836"/>
              <a:gd name="connsiteY4" fmla="*/ 473836 h 473836"/>
              <a:gd name="connsiteX5" fmla="*/ 236918 w 473836"/>
              <a:gd name="connsiteY5" fmla="*/ 473836 h 473836"/>
              <a:gd name="connsiteX6" fmla="*/ 228606 w 473836"/>
              <a:gd name="connsiteY6" fmla="*/ 473836 h 473836"/>
              <a:gd name="connsiteX7" fmla="*/ 229065 w 473836"/>
              <a:gd name="connsiteY7" fmla="*/ 473044 h 473836"/>
              <a:gd name="connsiteX8" fmla="*/ 189171 w 473836"/>
              <a:gd name="connsiteY8" fmla="*/ 469023 h 473836"/>
              <a:gd name="connsiteX9" fmla="*/ 0 w 473836"/>
              <a:gd name="connsiteY9" fmla="*/ 236918 h 473836"/>
              <a:gd name="connsiteX10" fmla="*/ 236918 w 473836"/>
              <a:gd name="connsiteY10" fmla="*/ 0 h 473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3836" h="473836">
                <a:moveTo>
                  <a:pt x="236918" y="0"/>
                </a:moveTo>
                <a:cubicBezTo>
                  <a:pt x="367764" y="0"/>
                  <a:pt x="473836" y="106072"/>
                  <a:pt x="473836" y="236918"/>
                </a:cubicBezTo>
                <a:cubicBezTo>
                  <a:pt x="473836" y="285985"/>
                  <a:pt x="458920" y="331569"/>
                  <a:pt x="433374" y="369381"/>
                </a:cubicBezTo>
                <a:lnTo>
                  <a:pt x="410528" y="397071"/>
                </a:lnTo>
                <a:lnTo>
                  <a:pt x="455051" y="473836"/>
                </a:lnTo>
                <a:lnTo>
                  <a:pt x="236918" y="473836"/>
                </a:lnTo>
                <a:lnTo>
                  <a:pt x="228606" y="473836"/>
                </a:lnTo>
                <a:lnTo>
                  <a:pt x="229065" y="473044"/>
                </a:lnTo>
                <a:lnTo>
                  <a:pt x="189171" y="469023"/>
                </a:lnTo>
                <a:cubicBezTo>
                  <a:pt x="81212" y="446931"/>
                  <a:pt x="0" y="351408"/>
                  <a:pt x="0" y="236918"/>
                </a:cubicBezTo>
                <a:cubicBezTo>
                  <a:pt x="0" y="106072"/>
                  <a:pt x="106072" y="0"/>
                  <a:pt x="236918"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r>
              <a:rPr lang="en-US" sz="1200" dirty="0">
                <a:latin typeface="CiscoSans Thin" panose="020B0203020201020303"/>
              </a:rPr>
              <a:t>How?</a:t>
            </a:r>
          </a:p>
        </p:txBody>
      </p:sp>
      <p:sp>
        <p:nvSpPr>
          <p:cNvPr id="19" name="Freeform 55">
            <a:extLst>
              <a:ext uri="{FF2B5EF4-FFF2-40B4-BE49-F238E27FC236}">
                <a16:creationId xmlns:a16="http://schemas.microsoft.com/office/drawing/2014/main" id="{3B5B6CB4-E73B-44C6-85A5-1746255CEE91}"/>
              </a:ext>
            </a:extLst>
          </p:cNvPr>
          <p:cNvSpPr>
            <a:spLocks noChangeAspect="1"/>
          </p:cNvSpPr>
          <p:nvPr/>
        </p:nvSpPr>
        <p:spPr>
          <a:xfrm>
            <a:off x="1193041" y="1760792"/>
            <a:ext cx="742462" cy="733944"/>
          </a:xfrm>
          <a:custGeom>
            <a:avLst/>
            <a:gdLst>
              <a:gd name="connsiteX0" fmla="*/ 366972 w 742462"/>
              <a:gd name="connsiteY0" fmla="*/ 0 h 733944"/>
              <a:gd name="connsiteX1" fmla="*/ 733944 w 742462"/>
              <a:gd name="connsiteY1" fmla="*/ 366972 h 733944"/>
              <a:gd name="connsiteX2" fmla="*/ 671271 w 742462"/>
              <a:gd name="connsiteY2" fmla="*/ 572150 h 733944"/>
              <a:gd name="connsiteX3" fmla="*/ 658697 w 742462"/>
              <a:gd name="connsiteY3" fmla="*/ 587389 h 733944"/>
              <a:gd name="connsiteX4" fmla="*/ 742462 w 742462"/>
              <a:gd name="connsiteY4" fmla="*/ 731812 h 733944"/>
              <a:gd name="connsiteX5" fmla="*/ 388121 w 742462"/>
              <a:gd name="connsiteY5" fmla="*/ 731812 h 733944"/>
              <a:gd name="connsiteX6" fmla="*/ 366972 w 742462"/>
              <a:gd name="connsiteY6" fmla="*/ 733944 h 733944"/>
              <a:gd name="connsiteX7" fmla="*/ 0 w 742462"/>
              <a:gd name="connsiteY7" fmla="*/ 366972 h 733944"/>
              <a:gd name="connsiteX8" fmla="*/ 366972 w 742462"/>
              <a:gd name="connsiteY8" fmla="*/ 0 h 73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2462" h="733944">
                <a:moveTo>
                  <a:pt x="366972" y="0"/>
                </a:moveTo>
                <a:cubicBezTo>
                  <a:pt x="569645" y="0"/>
                  <a:pt x="733944" y="164299"/>
                  <a:pt x="733944" y="366972"/>
                </a:cubicBezTo>
                <a:cubicBezTo>
                  <a:pt x="733944" y="442974"/>
                  <a:pt x="710840" y="513580"/>
                  <a:pt x="671271" y="572150"/>
                </a:cubicBezTo>
                <a:lnTo>
                  <a:pt x="658697" y="587389"/>
                </a:lnTo>
                <a:lnTo>
                  <a:pt x="742462" y="731812"/>
                </a:lnTo>
                <a:lnTo>
                  <a:pt x="388121" y="731812"/>
                </a:lnTo>
                <a:lnTo>
                  <a:pt x="366972" y="733944"/>
                </a:lnTo>
                <a:cubicBezTo>
                  <a:pt x="164299" y="733944"/>
                  <a:pt x="0" y="569645"/>
                  <a:pt x="0" y="366972"/>
                </a:cubicBezTo>
                <a:cubicBezTo>
                  <a:pt x="0" y="164299"/>
                  <a:pt x="164299" y="0"/>
                  <a:pt x="366972"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US" sz="1200" dirty="0">
                <a:latin typeface="CiscoSans Thin" panose="020B0203020201020303"/>
              </a:rPr>
              <a:t>Is it bad?</a:t>
            </a:r>
          </a:p>
        </p:txBody>
      </p:sp>
    </p:spTree>
    <p:extLst>
      <p:ext uri="{BB962C8B-B14F-4D97-AF65-F5344CB8AC3E}">
        <p14:creationId xmlns:p14="http://schemas.microsoft.com/office/powerpoint/2010/main" val="714392326"/>
      </p:ext>
    </p:extLst>
  </p:cSld>
  <p:clrMapOvr>
    <a:masterClrMapping/>
  </p:clrMapOvr>
  <p:transition spd="slow">
    <p:wipe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7" grpId="0" animBg="1"/>
      <p:bldP spid="18" grpId="0" animBg="1"/>
      <p:bldP spid="1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D64A76E2-0461-9F48-BFC4-61FB740F7CFB}"/>
              </a:ext>
            </a:extLst>
          </p:cNvPr>
          <p:cNvGrpSpPr/>
          <p:nvPr/>
        </p:nvGrpSpPr>
        <p:grpSpPr>
          <a:xfrm>
            <a:off x="5452388" y="1596675"/>
            <a:ext cx="1287225" cy="975359"/>
            <a:chOff x="4277283" y="1568391"/>
            <a:chExt cx="965419" cy="731519"/>
          </a:xfrm>
        </p:grpSpPr>
        <p:grpSp>
          <p:nvGrpSpPr>
            <p:cNvPr id="244" name="Group 243">
              <a:extLst>
                <a:ext uri="{FF2B5EF4-FFF2-40B4-BE49-F238E27FC236}">
                  <a16:creationId xmlns:a16="http://schemas.microsoft.com/office/drawing/2014/main" id="{711DFC7E-860F-49FE-8D87-9F45409A9488}"/>
                </a:ext>
              </a:extLst>
            </p:cNvPr>
            <p:cNvGrpSpPr>
              <a:grpSpLocks noChangeAspect="1"/>
            </p:cNvGrpSpPr>
            <p:nvPr/>
          </p:nvGrpSpPr>
          <p:grpSpPr>
            <a:xfrm>
              <a:off x="4277283" y="1568391"/>
              <a:ext cx="965419" cy="731519"/>
              <a:chOff x="5800408" y="1304400"/>
              <a:chExt cx="846700" cy="629075"/>
            </a:xfrm>
          </p:grpSpPr>
          <p:sp>
            <p:nvSpPr>
              <p:cNvPr id="245" name="Freeform 594">
                <a:extLst>
                  <a:ext uri="{FF2B5EF4-FFF2-40B4-BE49-F238E27FC236}">
                    <a16:creationId xmlns:a16="http://schemas.microsoft.com/office/drawing/2014/main" id="{CB7F30F5-1731-4161-B37B-320F8BC829A0}"/>
                  </a:ext>
                </a:extLst>
              </p:cNvPr>
              <p:cNvSpPr>
                <a:spLocks noChangeAspect="1" noEditPoints="1"/>
              </p:cNvSpPr>
              <p:nvPr/>
            </p:nvSpPr>
            <p:spPr bwMode="auto">
              <a:xfrm>
                <a:off x="5939121" y="1304400"/>
                <a:ext cx="566983" cy="564984"/>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246" name="Freeform 81">
                <a:extLst>
                  <a:ext uri="{FF2B5EF4-FFF2-40B4-BE49-F238E27FC236}">
                    <a16:creationId xmlns:a16="http://schemas.microsoft.com/office/drawing/2014/main" id="{A20820A0-BC79-4887-8DF1-A5375EAB59E1}"/>
                  </a:ext>
                </a:extLst>
              </p:cNvPr>
              <p:cNvSpPr>
                <a:spLocks/>
              </p:cNvSpPr>
              <p:nvPr/>
            </p:nvSpPr>
            <p:spPr bwMode="auto">
              <a:xfrm>
                <a:off x="5800408" y="1518714"/>
                <a:ext cx="846700" cy="414761"/>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dirty="0">
                  <a:solidFill>
                    <a:srgbClr val="282828"/>
                  </a:solidFill>
                  <a:latin typeface="Arial" charset="0"/>
                  <a:ea typeface="ＭＳ Ｐゴシック" charset="0"/>
                  <a:cs typeface="Arial"/>
                  <a:sym typeface="Arial"/>
                </a:endParaRPr>
              </a:p>
            </p:txBody>
          </p:sp>
        </p:grpSp>
        <p:pic>
          <p:nvPicPr>
            <p:cNvPr id="99" name="Picture 98">
              <a:extLst>
                <a:ext uri="{FF2B5EF4-FFF2-40B4-BE49-F238E27FC236}">
                  <a16:creationId xmlns:a16="http://schemas.microsoft.com/office/drawing/2014/main" id="{DDB3552D-CD03-294B-806D-04397AD3F729}"/>
                </a:ext>
              </a:extLst>
            </p:cNvPr>
            <p:cNvPicPr>
              <a:picLocks noChangeAspect="1"/>
            </p:cNvPicPr>
            <p:nvPr/>
          </p:nvPicPr>
          <p:blipFill>
            <a:blip r:embed="rId3"/>
            <a:stretch>
              <a:fillRect/>
            </a:stretch>
          </p:blipFill>
          <p:spPr>
            <a:xfrm>
              <a:off x="4593810" y="1700814"/>
              <a:ext cx="330958" cy="330957"/>
            </a:xfrm>
            <a:prstGeom prst="rect">
              <a:avLst/>
            </a:prstGeom>
          </p:spPr>
        </p:pic>
      </p:grpSp>
      <p:sp>
        <p:nvSpPr>
          <p:cNvPr id="97" name="Rectangle 96">
            <a:extLst>
              <a:ext uri="{FF2B5EF4-FFF2-40B4-BE49-F238E27FC236}">
                <a16:creationId xmlns:a16="http://schemas.microsoft.com/office/drawing/2014/main" id="{2AEDF9AF-5B1A-954D-AFF8-99B91D6EEDA9}"/>
              </a:ext>
            </a:extLst>
          </p:cNvPr>
          <p:cNvSpPr/>
          <p:nvPr/>
        </p:nvSpPr>
        <p:spPr>
          <a:xfrm>
            <a:off x="5665818" y="3959187"/>
            <a:ext cx="860364" cy="533939"/>
          </a:xfrm>
          <a:prstGeom prst="rect">
            <a:avLst/>
          </a:prstGeom>
          <a:solidFill>
            <a:schemeClr val="accent6">
              <a:lumMod val="20000"/>
              <a:lumOff val="80000"/>
              <a:alpha val="65000"/>
            </a:schemeClr>
          </a:solidFill>
          <a:ln w="25400" cap="flat" cmpd="sng" algn="ctr">
            <a:noFill/>
            <a:prstDash val="solid"/>
          </a:ln>
          <a:effectLst/>
        </p:spPr>
        <p:txBody>
          <a:bodyPr rtlCol="0" anchor="ctr"/>
          <a:lstStyle/>
          <a:p>
            <a:pPr algn="ctr" defTabSz="609555" fontAlgn="base">
              <a:spcBef>
                <a:spcPct val="0"/>
              </a:spcBef>
              <a:spcAft>
                <a:spcPct val="0"/>
              </a:spcAft>
              <a:defRPr/>
            </a:pPr>
            <a:endParaRPr lang="en-US" sz="2400" kern="0">
              <a:solidFill>
                <a:srgbClr val="005073"/>
              </a:solidFill>
              <a:latin typeface="CiscoSansTT ExtraLight"/>
              <a:ea typeface="ＭＳ Ｐゴシック" charset="0"/>
              <a:cs typeface="Arial"/>
              <a:sym typeface="Arial"/>
            </a:endParaRPr>
          </a:p>
        </p:txBody>
      </p:sp>
      <p:sp>
        <p:nvSpPr>
          <p:cNvPr id="13" name="TextBox 12">
            <a:extLst>
              <a:ext uri="{FF2B5EF4-FFF2-40B4-BE49-F238E27FC236}">
                <a16:creationId xmlns:a16="http://schemas.microsoft.com/office/drawing/2014/main" id="{A9F3F76D-D696-5543-8697-82F6FE3B20B8}"/>
              </a:ext>
            </a:extLst>
          </p:cNvPr>
          <p:cNvSpPr txBox="1"/>
          <p:nvPr/>
        </p:nvSpPr>
        <p:spPr>
          <a:xfrm>
            <a:off x="-961016" y="-1864658"/>
            <a:ext cx="184731" cy="461665"/>
          </a:xfrm>
          <a:prstGeom prst="rect">
            <a:avLst/>
          </a:prstGeom>
          <a:noFill/>
        </p:spPr>
        <p:txBody>
          <a:bodyPr wrap="none" rtlCol="0">
            <a:spAutoFit/>
          </a:bodyPr>
          <a:lstStyle/>
          <a:p>
            <a:pPr defTabSz="60955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9" name="Title 8">
            <a:extLst>
              <a:ext uri="{FF2B5EF4-FFF2-40B4-BE49-F238E27FC236}">
                <a16:creationId xmlns:a16="http://schemas.microsoft.com/office/drawing/2014/main" id="{C966620F-2363-FC49-B00B-809E94262FE6}"/>
              </a:ext>
            </a:extLst>
          </p:cNvPr>
          <p:cNvSpPr>
            <a:spLocks noGrp="1"/>
          </p:cNvSpPr>
          <p:nvPr>
            <p:ph type="title"/>
          </p:nvPr>
        </p:nvSpPr>
        <p:spPr/>
        <p:txBody>
          <a:bodyPr/>
          <a:lstStyle/>
          <a:p>
            <a:r>
              <a:rPr lang="en-US" dirty="0"/>
              <a:t>Threat Story: DGA</a:t>
            </a:r>
          </a:p>
        </p:txBody>
      </p:sp>
      <p:sp>
        <p:nvSpPr>
          <p:cNvPr id="249" name="TextBox 248">
            <a:extLst>
              <a:ext uri="{FF2B5EF4-FFF2-40B4-BE49-F238E27FC236}">
                <a16:creationId xmlns:a16="http://schemas.microsoft.com/office/drawing/2014/main" id="{317096ED-8D1B-4F9F-B195-79DF6503810D}"/>
              </a:ext>
            </a:extLst>
          </p:cNvPr>
          <p:cNvSpPr txBox="1"/>
          <p:nvPr/>
        </p:nvSpPr>
        <p:spPr>
          <a:xfrm>
            <a:off x="5452389" y="2229024"/>
            <a:ext cx="1287223" cy="297454"/>
          </a:xfrm>
          <a:prstGeom prst="rect">
            <a:avLst/>
          </a:prstGeom>
          <a:noFill/>
        </p:spPr>
        <p:txBody>
          <a:bodyPr wrap="square" rtlCol="0">
            <a:spAutoFit/>
          </a:bodyPr>
          <a:lstStyle/>
          <a:p>
            <a:pPr defTabSz="609555" fontAlgn="base">
              <a:spcBef>
                <a:spcPct val="0"/>
              </a:spcBef>
              <a:spcAft>
                <a:spcPct val="0"/>
              </a:spcAft>
              <a:defRPr/>
            </a:pPr>
            <a:r>
              <a:rPr lang="en-US" sz="1333" dirty="0">
                <a:solidFill>
                  <a:srgbClr val="676767"/>
                </a:solidFill>
                <a:latin typeface="CiscoSansTT ExtraLight"/>
                <a:ea typeface="ＭＳ Ｐゴシック" charset="0"/>
                <a:cs typeface="Arial"/>
                <a:sym typeface="Arial"/>
              </a:rPr>
              <a:t>*.7asel7[.]top</a:t>
            </a:r>
          </a:p>
        </p:txBody>
      </p:sp>
      <p:cxnSp>
        <p:nvCxnSpPr>
          <p:cNvPr id="252" name="Straight Connector 251">
            <a:extLst>
              <a:ext uri="{FF2B5EF4-FFF2-40B4-BE49-F238E27FC236}">
                <a16:creationId xmlns:a16="http://schemas.microsoft.com/office/drawing/2014/main" id="{965188DA-D0E6-4070-8906-6F699336E87C}"/>
              </a:ext>
            </a:extLst>
          </p:cNvPr>
          <p:cNvCxnSpPr>
            <a:cxnSpLocks/>
          </p:cNvCxnSpPr>
          <p:nvPr/>
        </p:nvCxnSpPr>
        <p:spPr>
          <a:xfrm>
            <a:off x="5884917" y="2718232"/>
            <a:ext cx="0" cy="1054905"/>
          </a:xfrm>
          <a:prstGeom prst="line">
            <a:avLst/>
          </a:prstGeom>
          <a:noFill/>
          <a:ln w="19050" cap="flat" cmpd="sng" algn="ctr">
            <a:solidFill>
              <a:schemeClr val="accent6">
                <a:lumMod val="75000"/>
              </a:schemeClr>
            </a:solidFill>
            <a:prstDash val="dash"/>
            <a:headEnd type="arrow" w="med" len="med"/>
            <a:tailEnd type="none" w="med" len="med"/>
          </a:ln>
          <a:effectLst/>
        </p:spPr>
      </p:cxnSp>
      <p:sp>
        <p:nvSpPr>
          <p:cNvPr id="253" name="TextBox 252">
            <a:extLst>
              <a:ext uri="{FF2B5EF4-FFF2-40B4-BE49-F238E27FC236}">
                <a16:creationId xmlns:a16="http://schemas.microsoft.com/office/drawing/2014/main" id="{AFA77C16-11DE-48A9-BFCF-FF11C06A724F}"/>
              </a:ext>
            </a:extLst>
          </p:cNvPr>
          <p:cNvSpPr txBox="1"/>
          <p:nvPr/>
        </p:nvSpPr>
        <p:spPr>
          <a:xfrm rot="16200000">
            <a:off x="5558857" y="3117410"/>
            <a:ext cx="1077343" cy="256545"/>
          </a:xfrm>
          <a:prstGeom prst="rect">
            <a:avLst/>
          </a:prstGeom>
          <a:noFill/>
        </p:spPr>
        <p:txBody>
          <a:bodyPr wrap="square" rtlCol="0">
            <a:spAutoFit/>
          </a:bodyPr>
          <a:lstStyle/>
          <a:p>
            <a:pPr algn="ctr" defTabSz="609555" fontAlgn="base">
              <a:spcBef>
                <a:spcPct val="0"/>
              </a:spcBef>
              <a:spcAft>
                <a:spcPct val="0"/>
              </a:spcAft>
              <a:defRPr/>
            </a:pPr>
            <a:r>
              <a:rPr lang="en-US" sz="1067" dirty="0">
                <a:solidFill>
                  <a:srgbClr val="676767"/>
                </a:solidFill>
                <a:latin typeface="CiscoSansTT ExtraLight"/>
                <a:ea typeface="ＭＳ Ｐゴシック" charset="0"/>
                <a:cs typeface="Arial"/>
                <a:sym typeface="Arial"/>
              </a:rPr>
              <a:t>1011010110</a:t>
            </a:r>
          </a:p>
        </p:txBody>
      </p:sp>
      <p:sp>
        <p:nvSpPr>
          <p:cNvPr id="299" name="TextBox 298">
            <a:extLst>
              <a:ext uri="{FF2B5EF4-FFF2-40B4-BE49-F238E27FC236}">
                <a16:creationId xmlns:a16="http://schemas.microsoft.com/office/drawing/2014/main" id="{BE71FAF9-4158-4AF7-B558-B4F0F476F423}"/>
              </a:ext>
            </a:extLst>
          </p:cNvPr>
          <p:cNvSpPr txBox="1"/>
          <p:nvPr/>
        </p:nvSpPr>
        <p:spPr>
          <a:xfrm>
            <a:off x="5314588" y="4706932"/>
            <a:ext cx="1495922" cy="297454"/>
          </a:xfrm>
          <a:prstGeom prst="rect">
            <a:avLst/>
          </a:prstGeom>
          <a:noFill/>
        </p:spPr>
        <p:txBody>
          <a:bodyPr wrap="none" rtlCol="0">
            <a:spAutoFit/>
          </a:bodyPr>
          <a:lstStyle/>
          <a:p>
            <a:pPr defTabSz="609555" fontAlgn="base">
              <a:spcBef>
                <a:spcPct val="0"/>
              </a:spcBef>
              <a:spcAft>
                <a:spcPct val="0"/>
              </a:spcAft>
              <a:defRPr/>
            </a:pPr>
            <a:r>
              <a:rPr lang="en-US" sz="1333" kern="0" dirty="0">
                <a:solidFill>
                  <a:srgbClr val="676767"/>
                </a:solidFill>
                <a:latin typeface="CiscoSansTT ExtraLight"/>
                <a:ea typeface="ＭＳ Ｐゴシック" charset="0"/>
                <a:cs typeface="Arial"/>
                <a:sym typeface="Arial"/>
              </a:rPr>
              <a:t>IP: 10.201.3.153</a:t>
            </a:r>
          </a:p>
        </p:txBody>
      </p:sp>
      <p:grpSp>
        <p:nvGrpSpPr>
          <p:cNvPr id="300" name="Group 299">
            <a:extLst>
              <a:ext uri="{FF2B5EF4-FFF2-40B4-BE49-F238E27FC236}">
                <a16:creationId xmlns:a16="http://schemas.microsoft.com/office/drawing/2014/main" id="{72CE16A6-42ED-4F2E-8B00-53D3CCD84EDD}"/>
              </a:ext>
            </a:extLst>
          </p:cNvPr>
          <p:cNvGrpSpPr/>
          <p:nvPr/>
        </p:nvGrpSpPr>
        <p:grpSpPr>
          <a:xfrm>
            <a:off x="5508329" y="3899630"/>
            <a:ext cx="1175339" cy="734780"/>
            <a:chOff x="1031296" y="3563973"/>
            <a:chExt cx="1612995" cy="924759"/>
          </a:xfrm>
        </p:grpSpPr>
        <p:sp>
          <p:nvSpPr>
            <p:cNvPr id="303" name="Freeform 222">
              <a:extLst>
                <a:ext uri="{FF2B5EF4-FFF2-40B4-BE49-F238E27FC236}">
                  <a16:creationId xmlns:a16="http://schemas.microsoft.com/office/drawing/2014/main" id="{4510116E-D156-45B1-A6B0-00895F9B0DFD}"/>
                </a:ext>
              </a:extLst>
            </p:cNvPr>
            <p:cNvSpPr>
              <a:spLocks/>
            </p:cNvSpPr>
            <p:nvPr/>
          </p:nvSpPr>
          <p:spPr bwMode="auto">
            <a:xfrm flipH="1">
              <a:off x="1031296" y="4421847"/>
              <a:ext cx="1612995" cy="66885"/>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304" name="Freeform 224">
              <a:extLst>
                <a:ext uri="{FF2B5EF4-FFF2-40B4-BE49-F238E27FC236}">
                  <a16:creationId xmlns:a16="http://schemas.microsoft.com/office/drawing/2014/main" id="{84ADCE95-58A1-40CB-80EA-E76641A0A047}"/>
                </a:ext>
              </a:extLst>
            </p:cNvPr>
            <p:cNvSpPr>
              <a:spLocks noEditPoints="1"/>
            </p:cNvSpPr>
            <p:nvPr/>
          </p:nvSpPr>
          <p:spPr bwMode="auto">
            <a:xfrm flipH="1">
              <a:off x="1165066" y="3563973"/>
              <a:ext cx="1343516" cy="809406"/>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rgbClr val="005073"/>
            </a:solidFill>
            <a:ln w="9525">
              <a:solidFill>
                <a:srgbClr val="005073"/>
              </a:solidFill>
              <a:round/>
              <a:headEnd/>
              <a:tailEnd/>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grpSp>
      <p:pic>
        <p:nvPicPr>
          <p:cNvPr id="302" name="Picture 301">
            <a:extLst>
              <a:ext uri="{FF2B5EF4-FFF2-40B4-BE49-F238E27FC236}">
                <a16:creationId xmlns:a16="http://schemas.microsoft.com/office/drawing/2014/main" id="{674F4EF3-3D72-4658-B614-0D7CBAFB3BDF}"/>
              </a:ext>
            </a:extLst>
          </p:cNvPr>
          <p:cNvPicPr>
            <a:picLocks noChangeAspect="1"/>
          </p:cNvPicPr>
          <p:nvPr/>
        </p:nvPicPr>
        <p:blipFill>
          <a:blip r:embed="rId3"/>
          <a:stretch>
            <a:fillRect/>
          </a:stretch>
        </p:blipFill>
        <p:spPr>
          <a:xfrm>
            <a:off x="5867931" y="3991920"/>
            <a:ext cx="451104" cy="451104"/>
          </a:xfrm>
          <a:prstGeom prst="rect">
            <a:avLst/>
          </a:prstGeom>
        </p:spPr>
      </p:pic>
      <p:pic>
        <p:nvPicPr>
          <p:cNvPr id="308" name="Picture 307">
            <a:extLst>
              <a:ext uri="{FF2B5EF4-FFF2-40B4-BE49-F238E27FC236}">
                <a16:creationId xmlns:a16="http://schemas.microsoft.com/office/drawing/2014/main" id="{47833DED-35E8-4562-AF5C-511C36DE9277}"/>
              </a:ext>
            </a:extLst>
          </p:cNvPr>
          <p:cNvPicPr>
            <a:picLocks noChangeAspect="1"/>
          </p:cNvPicPr>
          <p:nvPr/>
        </p:nvPicPr>
        <p:blipFill>
          <a:blip r:embed="rId4"/>
          <a:stretch>
            <a:fillRect/>
          </a:stretch>
        </p:blipFill>
        <p:spPr>
          <a:xfrm>
            <a:off x="5442980" y="3776307"/>
            <a:ext cx="365760" cy="365760"/>
          </a:xfrm>
          <a:prstGeom prst="rect">
            <a:avLst/>
          </a:prstGeom>
        </p:spPr>
      </p:pic>
      <p:sp>
        <p:nvSpPr>
          <p:cNvPr id="414" name="TextBox 413">
            <a:extLst>
              <a:ext uri="{FF2B5EF4-FFF2-40B4-BE49-F238E27FC236}">
                <a16:creationId xmlns:a16="http://schemas.microsoft.com/office/drawing/2014/main" id="{7D19BA7D-6B29-4BEB-B4D3-075F76124167}"/>
              </a:ext>
            </a:extLst>
          </p:cNvPr>
          <p:cNvSpPr txBox="1"/>
          <p:nvPr/>
        </p:nvSpPr>
        <p:spPr>
          <a:xfrm>
            <a:off x="3533641" y="2916922"/>
            <a:ext cx="1898387" cy="451534"/>
          </a:xfrm>
          <a:prstGeom prst="rect">
            <a:avLst/>
          </a:prstGeom>
          <a:noFill/>
        </p:spPr>
        <p:txBody>
          <a:bodyPr wrap="square" lIns="0" tIns="0" rIns="0" bIns="0" rtlCol="0">
            <a:spAutoFit/>
          </a:bodyPr>
          <a:lstStyle/>
          <a:p>
            <a:pPr algn="ctr" defTabSz="609555" fontAlgn="base">
              <a:spcBef>
                <a:spcPct val="0"/>
              </a:spcBef>
              <a:spcAft>
                <a:spcPct val="0"/>
              </a:spcAft>
              <a:defRPr/>
            </a:pPr>
            <a:r>
              <a:rPr lang="en-US" sz="1467" kern="0" dirty="0">
                <a:solidFill>
                  <a:srgbClr val="282828"/>
                </a:solidFill>
                <a:latin typeface="CiscoSansTT ExtraLight"/>
                <a:ea typeface="ＭＳ Ｐゴシック" charset="0"/>
                <a:cs typeface="Arial"/>
                <a:sym typeface="Arial"/>
              </a:rPr>
              <a:t>Infected system joins the network </a:t>
            </a:r>
          </a:p>
        </p:txBody>
      </p:sp>
      <p:sp>
        <p:nvSpPr>
          <p:cNvPr id="415" name="TextBox 414">
            <a:extLst>
              <a:ext uri="{FF2B5EF4-FFF2-40B4-BE49-F238E27FC236}">
                <a16:creationId xmlns:a16="http://schemas.microsoft.com/office/drawing/2014/main" id="{377B634F-A5D3-43E1-8269-CB137DED8AB1}"/>
              </a:ext>
            </a:extLst>
          </p:cNvPr>
          <p:cNvSpPr txBox="1"/>
          <p:nvPr/>
        </p:nvSpPr>
        <p:spPr>
          <a:xfrm>
            <a:off x="5174326" y="5064499"/>
            <a:ext cx="1843349" cy="1128835"/>
          </a:xfrm>
          <a:prstGeom prst="rect">
            <a:avLst/>
          </a:prstGeom>
          <a:noFill/>
        </p:spPr>
        <p:txBody>
          <a:bodyPr wrap="square" lIns="0" tIns="0" rIns="0" bIns="0" rtlCol="0">
            <a:spAutoFit/>
          </a:bodyPr>
          <a:lstStyle/>
          <a:p>
            <a:pPr algn="ctr" defTabSz="609555" fontAlgn="base">
              <a:spcBef>
                <a:spcPct val="0"/>
              </a:spcBef>
              <a:spcAft>
                <a:spcPct val="0"/>
              </a:spcAft>
              <a:defRPr/>
            </a:pPr>
            <a:r>
              <a:rPr lang="en-US" sz="1467" kern="0" dirty="0">
                <a:solidFill>
                  <a:srgbClr val="282828"/>
                </a:solidFill>
                <a:latin typeface="CiscoSansTT ExtraLight"/>
                <a:ea typeface="ＭＳ Ｐゴシック" charset="0"/>
                <a:cs typeface="Arial"/>
                <a:sym typeface="Arial"/>
              </a:rPr>
              <a:t>Contacts home and sends instructions to deliver phishing email to valid internal user account</a:t>
            </a:r>
          </a:p>
        </p:txBody>
      </p:sp>
      <p:cxnSp>
        <p:nvCxnSpPr>
          <p:cNvPr id="417" name="Straight Connector 416">
            <a:extLst>
              <a:ext uri="{FF2B5EF4-FFF2-40B4-BE49-F238E27FC236}">
                <a16:creationId xmlns:a16="http://schemas.microsoft.com/office/drawing/2014/main" id="{2A8368A8-433B-492B-9193-801A2B593932}"/>
              </a:ext>
            </a:extLst>
          </p:cNvPr>
          <p:cNvCxnSpPr>
            <a:cxnSpLocks/>
          </p:cNvCxnSpPr>
          <p:nvPr/>
        </p:nvCxnSpPr>
        <p:spPr>
          <a:xfrm flipV="1">
            <a:off x="6324993" y="2726904"/>
            <a:ext cx="0" cy="1037561"/>
          </a:xfrm>
          <a:prstGeom prst="line">
            <a:avLst/>
          </a:prstGeom>
          <a:noFill/>
          <a:ln w="19050" cap="flat" cmpd="sng" algn="ctr">
            <a:solidFill>
              <a:srgbClr val="E3241B"/>
            </a:solidFill>
            <a:prstDash val="dash"/>
            <a:headEnd type="arrow" w="med" len="med"/>
            <a:tailEnd type="none" w="med" len="med"/>
          </a:ln>
          <a:effectLst/>
        </p:spPr>
      </p:cxnSp>
      <p:grpSp>
        <p:nvGrpSpPr>
          <p:cNvPr id="448" name="Group 44">
            <a:extLst>
              <a:ext uri="{FF2B5EF4-FFF2-40B4-BE49-F238E27FC236}">
                <a16:creationId xmlns:a16="http://schemas.microsoft.com/office/drawing/2014/main" id="{1FD472D3-34E6-1849-8855-1D9051093CB5}"/>
              </a:ext>
            </a:extLst>
          </p:cNvPr>
          <p:cNvGrpSpPr>
            <a:grpSpLocks noChangeAspect="1"/>
          </p:cNvGrpSpPr>
          <p:nvPr/>
        </p:nvGrpSpPr>
        <p:grpSpPr bwMode="auto">
          <a:xfrm>
            <a:off x="2542946" y="4028261"/>
            <a:ext cx="370655" cy="356337"/>
            <a:chOff x="4199" y="1840"/>
            <a:chExt cx="466" cy="448"/>
          </a:xfrm>
        </p:grpSpPr>
        <p:sp>
          <p:nvSpPr>
            <p:cNvPr id="449" name="Freeform 45">
              <a:extLst>
                <a:ext uri="{FF2B5EF4-FFF2-40B4-BE49-F238E27FC236}">
                  <a16:creationId xmlns:a16="http://schemas.microsoft.com/office/drawing/2014/main" id="{34CC8FF1-EA44-E849-B1B4-300D1B9F26F1}"/>
                </a:ext>
              </a:extLst>
            </p:cNvPr>
            <p:cNvSpPr>
              <a:spLocks/>
            </p:cNvSpPr>
            <p:nvPr/>
          </p:nvSpPr>
          <p:spPr bwMode="auto">
            <a:xfrm>
              <a:off x="4199" y="1840"/>
              <a:ext cx="466" cy="448"/>
            </a:xfrm>
            <a:custGeom>
              <a:avLst/>
              <a:gdLst>
                <a:gd name="T0" fmla="*/ 671 w 671"/>
                <a:gd name="T1" fmla="*/ 248 h 661"/>
                <a:gd name="T2" fmla="*/ 349 w 671"/>
                <a:gd name="T3" fmla="*/ 7 h 661"/>
                <a:gd name="T4" fmla="*/ 322 w 671"/>
                <a:gd name="T5" fmla="*/ 7 h 661"/>
                <a:gd name="T6" fmla="*/ 0 w 671"/>
                <a:gd name="T7" fmla="*/ 246 h 661"/>
                <a:gd name="T8" fmla="*/ 0 w 671"/>
                <a:gd name="T9" fmla="*/ 246 h 661"/>
                <a:gd name="T10" fmla="*/ 0 w 671"/>
                <a:gd name="T11" fmla="*/ 627 h 661"/>
                <a:gd name="T12" fmla="*/ 34 w 671"/>
                <a:gd name="T13" fmla="*/ 660 h 661"/>
                <a:gd name="T14" fmla="*/ 637 w 671"/>
                <a:gd name="T15" fmla="*/ 661 h 661"/>
                <a:gd name="T16" fmla="*/ 671 w 671"/>
                <a:gd name="T17" fmla="*/ 627 h 661"/>
                <a:gd name="T18" fmla="*/ 671 w 671"/>
                <a:gd name="T19" fmla="*/ 248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1" h="661">
                  <a:moveTo>
                    <a:pt x="671" y="248"/>
                  </a:moveTo>
                  <a:cubicBezTo>
                    <a:pt x="349" y="7"/>
                    <a:pt x="349" y="7"/>
                    <a:pt x="349" y="7"/>
                  </a:cubicBezTo>
                  <a:cubicBezTo>
                    <a:pt x="341" y="0"/>
                    <a:pt x="330" y="0"/>
                    <a:pt x="322" y="7"/>
                  </a:cubicBezTo>
                  <a:cubicBezTo>
                    <a:pt x="0" y="246"/>
                    <a:pt x="0" y="246"/>
                    <a:pt x="0" y="246"/>
                  </a:cubicBezTo>
                  <a:cubicBezTo>
                    <a:pt x="0" y="246"/>
                    <a:pt x="0" y="246"/>
                    <a:pt x="0" y="246"/>
                  </a:cubicBezTo>
                  <a:cubicBezTo>
                    <a:pt x="0" y="627"/>
                    <a:pt x="0" y="627"/>
                    <a:pt x="0" y="627"/>
                  </a:cubicBezTo>
                  <a:cubicBezTo>
                    <a:pt x="0" y="645"/>
                    <a:pt x="15" y="660"/>
                    <a:pt x="34" y="660"/>
                  </a:cubicBezTo>
                  <a:cubicBezTo>
                    <a:pt x="637" y="661"/>
                    <a:pt x="637" y="661"/>
                    <a:pt x="637" y="661"/>
                  </a:cubicBezTo>
                  <a:cubicBezTo>
                    <a:pt x="656" y="661"/>
                    <a:pt x="671" y="645"/>
                    <a:pt x="671" y="627"/>
                  </a:cubicBezTo>
                  <a:cubicBezTo>
                    <a:pt x="671" y="248"/>
                    <a:pt x="671" y="248"/>
                    <a:pt x="671" y="248"/>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450" name="Freeform 46">
              <a:extLst>
                <a:ext uri="{FF2B5EF4-FFF2-40B4-BE49-F238E27FC236}">
                  <a16:creationId xmlns:a16="http://schemas.microsoft.com/office/drawing/2014/main" id="{441162D7-FAD0-024A-B2BF-E7BB9BB57888}"/>
                </a:ext>
              </a:extLst>
            </p:cNvPr>
            <p:cNvSpPr>
              <a:spLocks/>
            </p:cNvSpPr>
            <p:nvPr/>
          </p:nvSpPr>
          <p:spPr bwMode="auto">
            <a:xfrm>
              <a:off x="4273" y="1880"/>
              <a:ext cx="311" cy="376"/>
            </a:xfrm>
            <a:custGeom>
              <a:avLst/>
              <a:gdLst>
                <a:gd name="T0" fmla="*/ 411 w 448"/>
                <a:gd name="T1" fmla="*/ 0 h 555"/>
                <a:gd name="T2" fmla="*/ 311 w 448"/>
                <a:gd name="T3" fmla="*/ 0 h 555"/>
                <a:gd name="T4" fmla="*/ 137 w 448"/>
                <a:gd name="T5" fmla="*/ 0 h 555"/>
                <a:gd name="T6" fmla="*/ 37 w 448"/>
                <a:gd name="T7" fmla="*/ 0 h 555"/>
                <a:gd name="T8" fmla="*/ 0 w 448"/>
                <a:gd name="T9" fmla="*/ 37 h 555"/>
                <a:gd name="T10" fmla="*/ 0 w 448"/>
                <a:gd name="T11" fmla="*/ 139 h 555"/>
                <a:gd name="T12" fmla="*/ 0 w 448"/>
                <a:gd name="T13" fmla="*/ 518 h 555"/>
                <a:gd name="T14" fmla="*/ 37 w 448"/>
                <a:gd name="T15" fmla="*/ 555 h 555"/>
                <a:gd name="T16" fmla="*/ 411 w 448"/>
                <a:gd name="T17" fmla="*/ 555 h 555"/>
                <a:gd name="T18" fmla="*/ 448 w 448"/>
                <a:gd name="T19" fmla="*/ 518 h 555"/>
                <a:gd name="T20" fmla="*/ 448 w 448"/>
                <a:gd name="T21" fmla="*/ 139 h 555"/>
                <a:gd name="T22" fmla="*/ 448 w 448"/>
                <a:gd name="T23" fmla="*/ 37 h 555"/>
                <a:gd name="T24" fmla="*/ 411 w 448"/>
                <a:gd name="T25" fmla="*/ 0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 h="555">
                  <a:moveTo>
                    <a:pt x="411" y="0"/>
                  </a:moveTo>
                  <a:cubicBezTo>
                    <a:pt x="311" y="0"/>
                    <a:pt x="311" y="0"/>
                    <a:pt x="311" y="0"/>
                  </a:cubicBezTo>
                  <a:cubicBezTo>
                    <a:pt x="137" y="0"/>
                    <a:pt x="137" y="0"/>
                    <a:pt x="137" y="0"/>
                  </a:cubicBezTo>
                  <a:cubicBezTo>
                    <a:pt x="37" y="0"/>
                    <a:pt x="37" y="0"/>
                    <a:pt x="37" y="0"/>
                  </a:cubicBezTo>
                  <a:cubicBezTo>
                    <a:pt x="17" y="0"/>
                    <a:pt x="0" y="16"/>
                    <a:pt x="0" y="37"/>
                  </a:cubicBezTo>
                  <a:cubicBezTo>
                    <a:pt x="0" y="139"/>
                    <a:pt x="0" y="139"/>
                    <a:pt x="0" y="139"/>
                  </a:cubicBezTo>
                  <a:cubicBezTo>
                    <a:pt x="0" y="518"/>
                    <a:pt x="0" y="518"/>
                    <a:pt x="0" y="518"/>
                  </a:cubicBezTo>
                  <a:cubicBezTo>
                    <a:pt x="0" y="538"/>
                    <a:pt x="17" y="555"/>
                    <a:pt x="37" y="555"/>
                  </a:cubicBezTo>
                  <a:cubicBezTo>
                    <a:pt x="411" y="555"/>
                    <a:pt x="411" y="555"/>
                    <a:pt x="411" y="555"/>
                  </a:cubicBezTo>
                  <a:cubicBezTo>
                    <a:pt x="431" y="555"/>
                    <a:pt x="448" y="538"/>
                    <a:pt x="448" y="518"/>
                  </a:cubicBezTo>
                  <a:cubicBezTo>
                    <a:pt x="448" y="139"/>
                    <a:pt x="448" y="139"/>
                    <a:pt x="448" y="139"/>
                  </a:cubicBezTo>
                  <a:cubicBezTo>
                    <a:pt x="448" y="37"/>
                    <a:pt x="448" y="37"/>
                    <a:pt x="448" y="37"/>
                  </a:cubicBezTo>
                  <a:cubicBezTo>
                    <a:pt x="448" y="16"/>
                    <a:pt x="431" y="0"/>
                    <a:pt x="411" y="0"/>
                  </a:cubicBez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451" name="Freeform 47">
              <a:extLst>
                <a:ext uri="{FF2B5EF4-FFF2-40B4-BE49-F238E27FC236}">
                  <a16:creationId xmlns:a16="http://schemas.microsoft.com/office/drawing/2014/main" id="{A8A5494B-EC6A-6446-95AC-615C50F753FD}"/>
                </a:ext>
              </a:extLst>
            </p:cNvPr>
            <p:cNvSpPr>
              <a:spLocks/>
            </p:cNvSpPr>
            <p:nvPr/>
          </p:nvSpPr>
          <p:spPr bwMode="auto">
            <a:xfrm>
              <a:off x="4317" y="1949"/>
              <a:ext cx="138" cy="27"/>
            </a:xfrm>
            <a:custGeom>
              <a:avLst/>
              <a:gdLst>
                <a:gd name="T0" fmla="*/ 21 w 199"/>
                <a:gd name="T1" fmla="*/ 41 h 41"/>
                <a:gd name="T2" fmla="*/ 178 w 199"/>
                <a:gd name="T3" fmla="*/ 41 h 41"/>
                <a:gd name="T4" fmla="*/ 199 w 199"/>
                <a:gd name="T5" fmla="*/ 20 h 41"/>
                <a:gd name="T6" fmla="*/ 178 w 199"/>
                <a:gd name="T7" fmla="*/ 0 h 41"/>
                <a:gd name="T8" fmla="*/ 21 w 199"/>
                <a:gd name="T9" fmla="*/ 0 h 41"/>
                <a:gd name="T10" fmla="*/ 0 w 199"/>
                <a:gd name="T11" fmla="*/ 20 h 41"/>
                <a:gd name="T12" fmla="*/ 21 w 199"/>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99" h="41">
                  <a:moveTo>
                    <a:pt x="21" y="41"/>
                  </a:moveTo>
                  <a:cubicBezTo>
                    <a:pt x="178" y="41"/>
                    <a:pt x="178" y="41"/>
                    <a:pt x="178" y="41"/>
                  </a:cubicBezTo>
                  <a:cubicBezTo>
                    <a:pt x="190" y="41"/>
                    <a:pt x="199" y="32"/>
                    <a:pt x="199" y="20"/>
                  </a:cubicBezTo>
                  <a:cubicBezTo>
                    <a:pt x="199" y="9"/>
                    <a:pt x="190" y="0"/>
                    <a:pt x="178" y="0"/>
                  </a:cubicBezTo>
                  <a:cubicBezTo>
                    <a:pt x="21" y="0"/>
                    <a:pt x="21" y="0"/>
                    <a:pt x="21" y="0"/>
                  </a:cubicBezTo>
                  <a:cubicBezTo>
                    <a:pt x="9" y="0"/>
                    <a:pt x="0" y="9"/>
                    <a:pt x="0" y="20"/>
                  </a:cubicBezTo>
                  <a:cubicBezTo>
                    <a:pt x="0" y="32"/>
                    <a:pt x="9" y="41"/>
                    <a:pt x="21" y="4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452" name="Freeform 48">
              <a:extLst>
                <a:ext uri="{FF2B5EF4-FFF2-40B4-BE49-F238E27FC236}">
                  <a16:creationId xmlns:a16="http://schemas.microsoft.com/office/drawing/2014/main" id="{BD2B831A-FB6B-6B42-9E8A-B84A1B89E8AB}"/>
                </a:ext>
              </a:extLst>
            </p:cNvPr>
            <p:cNvSpPr>
              <a:spLocks/>
            </p:cNvSpPr>
            <p:nvPr/>
          </p:nvSpPr>
          <p:spPr bwMode="auto">
            <a:xfrm>
              <a:off x="4317" y="2018"/>
              <a:ext cx="221" cy="28"/>
            </a:xfrm>
            <a:custGeom>
              <a:avLst/>
              <a:gdLst>
                <a:gd name="T0" fmla="*/ 21 w 319"/>
                <a:gd name="T1" fmla="*/ 41 h 41"/>
                <a:gd name="T2" fmla="*/ 299 w 319"/>
                <a:gd name="T3" fmla="*/ 41 h 41"/>
                <a:gd name="T4" fmla="*/ 319 w 319"/>
                <a:gd name="T5" fmla="*/ 20 h 41"/>
                <a:gd name="T6" fmla="*/ 299 w 319"/>
                <a:gd name="T7" fmla="*/ 0 h 41"/>
                <a:gd name="T8" fmla="*/ 21 w 319"/>
                <a:gd name="T9" fmla="*/ 0 h 41"/>
                <a:gd name="T10" fmla="*/ 0 w 319"/>
                <a:gd name="T11" fmla="*/ 20 h 41"/>
                <a:gd name="T12" fmla="*/ 21 w 319"/>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319" h="41">
                  <a:moveTo>
                    <a:pt x="21" y="41"/>
                  </a:moveTo>
                  <a:cubicBezTo>
                    <a:pt x="299" y="41"/>
                    <a:pt x="299" y="41"/>
                    <a:pt x="299" y="41"/>
                  </a:cubicBezTo>
                  <a:cubicBezTo>
                    <a:pt x="310" y="41"/>
                    <a:pt x="319" y="32"/>
                    <a:pt x="319" y="20"/>
                  </a:cubicBezTo>
                  <a:cubicBezTo>
                    <a:pt x="319" y="9"/>
                    <a:pt x="310" y="0"/>
                    <a:pt x="299" y="0"/>
                  </a:cubicBezTo>
                  <a:cubicBezTo>
                    <a:pt x="21" y="0"/>
                    <a:pt x="21" y="0"/>
                    <a:pt x="21" y="0"/>
                  </a:cubicBezTo>
                  <a:cubicBezTo>
                    <a:pt x="9" y="0"/>
                    <a:pt x="0" y="9"/>
                    <a:pt x="0" y="20"/>
                  </a:cubicBezTo>
                  <a:cubicBezTo>
                    <a:pt x="0" y="32"/>
                    <a:pt x="9" y="41"/>
                    <a:pt x="21" y="4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453" name="Freeform 49">
              <a:extLst>
                <a:ext uri="{FF2B5EF4-FFF2-40B4-BE49-F238E27FC236}">
                  <a16:creationId xmlns:a16="http://schemas.microsoft.com/office/drawing/2014/main" id="{CCEC0C40-9F84-C34F-B199-B2616506EC38}"/>
                </a:ext>
              </a:extLst>
            </p:cNvPr>
            <p:cNvSpPr>
              <a:spLocks/>
            </p:cNvSpPr>
            <p:nvPr/>
          </p:nvSpPr>
          <p:spPr bwMode="auto">
            <a:xfrm>
              <a:off x="4317" y="2087"/>
              <a:ext cx="221" cy="28"/>
            </a:xfrm>
            <a:custGeom>
              <a:avLst/>
              <a:gdLst>
                <a:gd name="T0" fmla="*/ 21 w 319"/>
                <a:gd name="T1" fmla="*/ 41 h 41"/>
                <a:gd name="T2" fmla="*/ 299 w 319"/>
                <a:gd name="T3" fmla="*/ 41 h 41"/>
                <a:gd name="T4" fmla="*/ 319 w 319"/>
                <a:gd name="T5" fmla="*/ 21 h 41"/>
                <a:gd name="T6" fmla="*/ 299 w 319"/>
                <a:gd name="T7" fmla="*/ 0 h 41"/>
                <a:gd name="T8" fmla="*/ 21 w 319"/>
                <a:gd name="T9" fmla="*/ 0 h 41"/>
                <a:gd name="T10" fmla="*/ 0 w 319"/>
                <a:gd name="T11" fmla="*/ 21 h 41"/>
                <a:gd name="T12" fmla="*/ 21 w 319"/>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319" h="41">
                  <a:moveTo>
                    <a:pt x="21" y="41"/>
                  </a:moveTo>
                  <a:cubicBezTo>
                    <a:pt x="299" y="41"/>
                    <a:pt x="299" y="41"/>
                    <a:pt x="299" y="41"/>
                  </a:cubicBezTo>
                  <a:cubicBezTo>
                    <a:pt x="310" y="41"/>
                    <a:pt x="319" y="32"/>
                    <a:pt x="319" y="21"/>
                  </a:cubicBezTo>
                  <a:cubicBezTo>
                    <a:pt x="319" y="9"/>
                    <a:pt x="310" y="0"/>
                    <a:pt x="299" y="0"/>
                  </a:cubicBezTo>
                  <a:cubicBezTo>
                    <a:pt x="21" y="0"/>
                    <a:pt x="21" y="0"/>
                    <a:pt x="21" y="0"/>
                  </a:cubicBezTo>
                  <a:cubicBezTo>
                    <a:pt x="9" y="0"/>
                    <a:pt x="0" y="9"/>
                    <a:pt x="0" y="21"/>
                  </a:cubicBezTo>
                  <a:cubicBezTo>
                    <a:pt x="0" y="32"/>
                    <a:pt x="9" y="41"/>
                    <a:pt x="21" y="4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454" name="Freeform 50">
              <a:extLst>
                <a:ext uri="{FF2B5EF4-FFF2-40B4-BE49-F238E27FC236}">
                  <a16:creationId xmlns:a16="http://schemas.microsoft.com/office/drawing/2014/main" id="{76B9E0D6-8821-9A43-9AB9-4597470CA84F}"/>
                </a:ext>
              </a:extLst>
            </p:cNvPr>
            <p:cNvSpPr>
              <a:spLocks/>
            </p:cNvSpPr>
            <p:nvPr/>
          </p:nvSpPr>
          <p:spPr bwMode="auto">
            <a:xfrm>
              <a:off x="4317" y="2156"/>
              <a:ext cx="67" cy="28"/>
            </a:xfrm>
            <a:custGeom>
              <a:avLst/>
              <a:gdLst>
                <a:gd name="T0" fmla="*/ 21 w 97"/>
                <a:gd name="T1" fmla="*/ 41 h 41"/>
                <a:gd name="T2" fmla="*/ 76 w 97"/>
                <a:gd name="T3" fmla="*/ 41 h 41"/>
                <a:gd name="T4" fmla="*/ 97 w 97"/>
                <a:gd name="T5" fmla="*/ 21 h 41"/>
                <a:gd name="T6" fmla="*/ 76 w 97"/>
                <a:gd name="T7" fmla="*/ 0 h 41"/>
                <a:gd name="T8" fmla="*/ 21 w 97"/>
                <a:gd name="T9" fmla="*/ 0 h 41"/>
                <a:gd name="T10" fmla="*/ 0 w 97"/>
                <a:gd name="T11" fmla="*/ 21 h 41"/>
                <a:gd name="T12" fmla="*/ 21 w 97"/>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97" h="41">
                  <a:moveTo>
                    <a:pt x="21" y="41"/>
                  </a:moveTo>
                  <a:cubicBezTo>
                    <a:pt x="76" y="41"/>
                    <a:pt x="76" y="41"/>
                    <a:pt x="76" y="41"/>
                  </a:cubicBezTo>
                  <a:cubicBezTo>
                    <a:pt x="88" y="41"/>
                    <a:pt x="97" y="32"/>
                    <a:pt x="97" y="21"/>
                  </a:cubicBezTo>
                  <a:cubicBezTo>
                    <a:pt x="97" y="9"/>
                    <a:pt x="88" y="0"/>
                    <a:pt x="76" y="0"/>
                  </a:cubicBezTo>
                  <a:cubicBezTo>
                    <a:pt x="21" y="0"/>
                    <a:pt x="21" y="0"/>
                    <a:pt x="21" y="0"/>
                  </a:cubicBezTo>
                  <a:cubicBezTo>
                    <a:pt x="9" y="0"/>
                    <a:pt x="0" y="9"/>
                    <a:pt x="0" y="21"/>
                  </a:cubicBezTo>
                  <a:cubicBezTo>
                    <a:pt x="0" y="32"/>
                    <a:pt x="9" y="41"/>
                    <a:pt x="21" y="41"/>
                  </a:cubicBezTo>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455" name="Freeform 51">
              <a:extLst>
                <a:ext uri="{FF2B5EF4-FFF2-40B4-BE49-F238E27FC236}">
                  <a16:creationId xmlns:a16="http://schemas.microsoft.com/office/drawing/2014/main" id="{7CB7564D-507E-664C-8B18-E3F642308FD6}"/>
                </a:ext>
              </a:extLst>
            </p:cNvPr>
            <p:cNvSpPr>
              <a:spLocks/>
            </p:cNvSpPr>
            <p:nvPr/>
          </p:nvSpPr>
          <p:spPr bwMode="auto">
            <a:xfrm>
              <a:off x="4199" y="2007"/>
              <a:ext cx="466" cy="281"/>
            </a:xfrm>
            <a:custGeom>
              <a:avLst/>
              <a:gdLst>
                <a:gd name="T0" fmla="*/ 307 w 671"/>
                <a:gd name="T1" fmla="*/ 197 h 415"/>
                <a:gd name="T2" fmla="*/ 0 w 671"/>
                <a:gd name="T3" fmla="*/ 0 h 415"/>
                <a:gd name="T4" fmla="*/ 0 w 671"/>
                <a:gd name="T5" fmla="*/ 382 h 415"/>
                <a:gd name="T6" fmla="*/ 33 w 671"/>
                <a:gd name="T7" fmla="*/ 414 h 415"/>
                <a:gd name="T8" fmla="*/ 638 w 671"/>
                <a:gd name="T9" fmla="*/ 415 h 415"/>
                <a:gd name="T10" fmla="*/ 671 w 671"/>
                <a:gd name="T11" fmla="*/ 382 h 415"/>
                <a:gd name="T12" fmla="*/ 671 w 671"/>
                <a:gd name="T13" fmla="*/ 2 h 415"/>
                <a:gd name="T14" fmla="*/ 352 w 671"/>
                <a:gd name="T15" fmla="*/ 197 h 415"/>
                <a:gd name="T16" fmla="*/ 307 w 671"/>
                <a:gd name="T17" fmla="*/ 197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1" h="415">
                  <a:moveTo>
                    <a:pt x="307" y="197"/>
                  </a:moveTo>
                  <a:cubicBezTo>
                    <a:pt x="0" y="0"/>
                    <a:pt x="0" y="0"/>
                    <a:pt x="0" y="0"/>
                  </a:cubicBezTo>
                  <a:cubicBezTo>
                    <a:pt x="0" y="382"/>
                    <a:pt x="0" y="382"/>
                    <a:pt x="0" y="382"/>
                  </a:cubicBezTo>
                  <a:cubicBezTo>
                    <a:pt x="0" y="400"/>
                    <a:pt x="15" y="414"/>
                    <a:pt x="33" y="414"/>
                  </a:cubicBezTo>
                  <a:cubicBezTo>
                    <a:pt x="638" y="415"/>
                    <a:pt x="638" y="415"/>
                    <a:pt x="638" y="415"/>
                  </a:cubicBezTo>
                  <a:cubicBezTo>
                    <a:pt x="656" y="415"/>
                    <a:pt x="671" y="400"/>
                    <a:pt x="671" y="382"/>
                  </a:cubicBezTo>
                  <a:cubicBezTo>
                    <a:pt x="671" y="2"/>
                    <a:pt x="671" y="2"/>
                    <a:pt x="671" y="2"/>
                  </a:cubicBezTo>
                  <a:cubicBezTo>
                    <a:pt x="352" y="197"/>
                    <a:pt x="352" y="197"/>
                    <a:pt x="352" y="197"/>
                  </a:cubicBezTo>
                  <a:cubicBezTo>
                    <a:pt x="338" y="206"/>
                    <a:pt x="321" y="206"/>
                    <a:pt x="307" y="19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nvGrpSpPr>
          <p:cNvPr id="456" name="Group 455">
            <a:extLst>
              <a:ext uri="{FF2B5EF4-FFF2-40B4-BE49-F238E27FC236}">
                <a16:creationId xmlns:a16="http://schemas.microsoft.com/office/drawing/2014/main" id="{832BAFEC-D9CD-FA4A-9C73-9833DE904EF6}"/>
              </a:ext>
            </a:extLst>
          </p:cNvPr>
          <p:cNvGrpSpPr>
            <a:grpSpLocks noChangeAspect="1"/>
          </p:cNvGrpSpPr>
          <p:nvPr/>
        </p:nvGrpSpPr>
        <p:grpSpPr>
          <a:xfrm>
            <a:off x="2533200" y="3976798"/>
            <a:ext cx="390144" cy="471685"/>
            <a:chOff x="2580256" y="3274939"/>
            <a:chExt cx="185526" cy="224302"/>
          </a:xfrm>
        </p:grpSpPr>
        <p:sp>
          <p:nvSpPr>
            <p:cNvPr id="457" name="Freeform 46">
              <a:extLst>
                <a:ext uri="{FF2B5EF4-FFF2-40B4-BE49-F238E27FC236}">
                  <a16:creationId xmlns:a16="http://schemas.microsoft.com/office/drawing/2014/main" id="{D8948F34-B4ED-E346-905E-58EEB0F55AA0}"/>
                </a:ext>
              </a:extLst>
            </p:cNvPr>
            <p:cNvSpPr>
              <a:spLocks/>
            </p:cNvSpPr>
            <p:nvPr/>
          </p:nvSpPr>
          <p:spPr bwMode="auto">
            <a:xfrm>
              <a:off x="2580256" y="3274939"/>
              <a:ext cx="185526" cy="224302"/>
            </a:xfrm>
            <a:custGeom>
              <a:avLst/>
              <a:gdLst>
                <a:gd name="T0" fmla="*/ 411 w 448"/>
                <a:gd name="T1" fmla="*/ 0 h 555"/>
                <a:gd name="T2" fmla="*/ 311 w 448"/>
                <a:gd name="T3" fmla="*/ 0 h 555"/>
                <a:gd name="T4" fmla="*/ 137 w 448"/>
                <a:gd name="T5" fmla="*/ 0 h 555"/>
                <a:gd name="T6" fmla="*/ 37 w 448"/>
                <a:gd name="T7" fmla="*/ 0 h 555"/>
                <a:gd name="T8" fmla="*/ 0 w 448"/>
                <a:gd name="T9" fmla="*/ 37 h 555"/>
                <a:gd name="T10" fmla="*/ 0 w 448"/>
                <a:gd name="T11" fmla="*/ 139 h 555"/>
                <a:gd name="T12" fmla="*/ 0 w 448"/>
                <a:gd name="T13" fmla="*/ 518 h 555"/>
                <a:gd name="T14" fmla="*/ 37 w 448"/>
                <a:gd name="T15" fmla="*/ 555 h 555"/>
                <a:gd name="T16" fmla="*/ 411 w 448"/>
                <a:gd name="T17" fmla="*/ 555 h 555"/>
                <a:gd name="T18" fmla="*/ 448 w 448"/>
                <a:gd name="T19" fmla="*/ 518 h 555"/>
                <a:gd name="T20" fmla="*/ 448 w 448"/>
                <a:gd name="T21" fmla="*/ 139 h 555"/>
                <a:gd name="T22" fmla="*/ 448 w 448"/>
                <a:gd name="T23" fmla="*/ 37 h 555"/>
                <a:gd name="T24" fmla="*/ 411 w 448"/>
                <a:gd name="T25" fmla="*/ 0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 h="555">
                  <a:moveTo>
                    <a:pt x="411" y="0"/>
                  </a:moveTo>
                  <a:cubicBezTo>
                    <a:pt x="311" y="0"/>
                    <a:pt x="311" y="0"/>
                    <a:pt x="311" y="0"/>
                  </a:cubicBezTo>
                  <a:cubicBezTo>
                    <a:pt x="137" y="0"/>
                    <a:pt x="137" y="0"/>
                    <a:pt x="137" y="0"/>
                  </a:cubicBezTo>
                  <a:cubicBezTo>
                    <a:pt x="37" y="0"/>
                    <a:pt x="37" y="0"/>
                    <a:pt x="37" y="0"/>
                  </a:cubicBezTo>
                  <a:cubicBezTo>
                    <a:pt x="17" y="0"/>
                    <a:pt x="0" y="16"/>
                    <a:pt x="0" y="37"/>
                  </a:cubicBezTo>
                  <a:cubicBezTo>
                    <a:pt x="0" y="139"/>
                    <a:pt x="0" y="139"/>
                    <a:pt x="0" y="139"/>
                  </a:cubicBezTo>
                  <a:cubicBezTo>
                    <a:pt x="0" y="518"/>
                    <a:pt x="0" y="518"/>
                    <a:pt x="0" y="518"/>
                  </a:cubicBezTo>
                  <a:cubicBezTo>
                    <a:pt x="0" y="538"/>
                    <a:pt x="17" y="555"/>
                    <a:pt x="37" y="555"/>
                  </a:cubicBezTo>
                  <a:cubicBezTo>
                    <a:pt x="411" y="555"/>
                    <a:pt x="411" y="555"/>
                    <a:pt x="411" y="555"/>
                  </a:cubicBezTo>
                  <a:cubicBezTo>
                    <a:pt x="431" y="555"/>
                    <a:pt x="448" y="538"/>
                    <a:pt x="448" y="518"/>
                  </a:cubicBezTo>
                  <a:cubicBezTo>
                    <a:pt x="448" y="139"/>
                    <a:pt x="448" y="139"/>
                    <a:pt x="448" y="139"/>
                  </a:cubicBezTo>
                  <a:cubicBezTo>
                    <a:pt x="448" y="37"/>
                    <a:pt x="448" y="37"/>
                    <a:pt x="448" y="37"/>
                  </a:cubicBezTo>
                  <a:cubicBezTo>
                    <a:pt x="448" y="16"/>
                    <a:pt x="431" y="0"/>
                    <a:pt x="411" y="0"/>
                  </a:cubicBez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458" name="Freeform 47">
              <a:extLst>
                <a:ext uri="{FF2B5EF4-FFF2-40B4-BE49-F238E27FC236}">
                  <a16:creationId xmlns:a16="http://schemas.microsoft.com/office/drawing/2014/main" id="{D81CD8DB-CC9A-E34C-8F01-AB11A3DB1E0D}"/>
                </a:ext>
              </a:extLst>
            </p:cNvPr>
            <p:cNvSpPr>
              <a:spLocks/>
            </p:cNvSpPr>
            <p:nvPr/>
          </p:nvSpPr>
          <p:spPr bwMode="auto">
            <a:xfrm>
              <a:off x="2606505" y="3316101"/>
              <a:ext cx="82324" cy="16107"/>
            </a:xfrm>
            <a:custGeom>
              <a:avLst/>
              <a:gdLst>
                <a:gd name="T0" fmla="*/ 21 w 199"/>
                <a:gd name="T1" fmla="*/ 41 h 41"/>
                <a:gd name="T2" fmla="*/ 178 w 199"/>
                <a:gd name="T3" fmla="*/ 41 h 41"/>
                <a:gd name="T4" fmla="*/ 199 w 199"/>
                <a:gd name="T5" fmla="*/ 20 h 41"/>
                <a:gd name="T6" fmla="*/ 178 w 199"/>
                <a:gd name="T7" fmla="*/ 0 h 41"/>
                <a:gd name="T8" fmla="*/ 21 w 199"/>
                <a:gd name="T9" fmla="*/ 0 h 41"/>
                <a:gd name="T10" fmla="*/ 0 w 199"/>
                <a:gd name="T11" fmla="*/ 20 h 41"/>
                <a:gd name="T12" fmla="*/ 21 w 199"/>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99" h="41">
                  <a:moveTo>
                    <a:pt x="21" y="41"/>
                  </a:moveTo>
                  <a:cubicBezTo>
                    <a:pt x="178" y="41"/>
                    <a:pt x="178" y="41"/>
                    <a:pt x="178" y="41"/>
                  </a:cubicBezTo>
                  <a:cubicBezTo>
                    <a:pt x="190" y="41"/>
                    <a:pt x="199" y="32"/>
                    <a:pt x="199" y="20"/>
                  </a:cubicBezTo>
                  <a:cubicBezTo>
                    <a:pt x="199" y="9"/>
                    <a:pt x="190" y="0"/>
                    <a:pt x="178" y="0"/>
                  </a:cubicBezTo>
                  <a:cubicBezTo>
                    <a:pt x="21" y="0"/>
                    <a:pt x="21" y="0"/>
                    <a:pt x="21" y="0"/>
                  </a:cubicBezTo>
                  <a:cubicBezTo>
                    <a:pt x="9" y="0"/>
                    <a:pt x="0" y="9"/>
                    <a:pt x="0" y="20"/>
                  </a:cubicBezTo>
                  <a:cubicBezTo>
                    <a:pt x="0" y="32"/>
                    <a:pt x="9" y="41"/>
                    <a:pt x="21" y="4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459" name="Freeform 48">
              <a:extLst>
                <a:ext uri="{FF2B5EF4-FFF2-40B4-BE49-F238E27FC236}">
                  <a16:creationId xmlns:a16="http://schemas.microsoft.com/office/drawing/2014/main" id="{0724D057-5D8B-584F-A235-B63276B395C4}"/>
                </a:ext>
              </a:extLst>
            </p:cNvPr>
            <p:cNvSpPr>
              <a:spLocks/>
            </p:cNvSpPr>
            <p:nvPr/>
          </p:nvSpPr>
          <p:spPr bwMode="auto">
            <a:xfrm>
              <a:off x="2606505" y="3357262"/>
              <a:ext cx="131837" cy="16703"/>
            </a:xfrm>
            <a:custGeom>
              <a:avLst/>
              <a:gdLst>
                <a:gd name="T0" fmla="*/ 21 w 319"/>
                <a:gd name="T1" fmla="*/ 41 h 41"/>
                <a:gd name="T2" fmla="*/ 299 w 319"/>
                <a:gd name="T3" fmla="*/ 41 h 41"/>
                <a:gd name="T4" fmla="*/ 319 w 319"/>
                <a:gd name="T5" fmla="*/ 20 h 41"/>
                <a:gd name="T6" fmla="*/ 299 w 319"/>
                <a:gd name="T7" fmla="*/ 0 h 41"/>
                <a:gd name="T8" fmla="*/ 21 w 319"/>
                <a:gd name="T9" fmla="*/ 0 h 41"/>
                <a:gd name="T10" fmla="*/ 0 w 319"/>
                <a:gd name="T11" fmla="*/ 20 h 41"/>
                <a:gd name="T12" fmla="*/ 21 w 319"/>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319" h="41">
                  <a:moveTo>
                    <a:pt x="21" y="41"/>
                  </a:moveTo>
                  <a:cubicBezTo>
                    <a:pt x="299" y="41"/>
                    <a:pt x="299" y="41"/>
                    <a:pt x="299" y="41"/>
                  </a:cubicBezTo>
                  <a:cubicBezTo>
                    <a:pt x="310" y="41"/>
                    <a:pt x="319" y="32"/>
                    <a:pt x="319" y="20"/>
                  </a:cubicBezTo>
                  <a:cubicBezTo>
                    <a:pt x="319" y="9"/>
                    <a:pt x="310" y="0"/>
                    <a:pt x="299" y="0"/>
                  </a:cubicBezTo>
                  <a:cubicBezTo>
                    <a:pt x="21" y="0"/>
                    <a:pt x="21" y="0"/>
                    <a:pt x="21" y="0"/>
                  </a:cubicBezTo>
                  <a:cubicBezTo>
                    <a:pt x="9" y="0"/>
                    <a:pt x="0" y="9"/>
                    <a:pt x="0" y="20"/>
                  </a:cubicBezTo>
                  <a:cubicBezTo>
                    <a:pt x="0" y="32"/>
                    <a:pt x="9" y="41"/>
                    <a:pt x="21" y="4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460" name="Freeform 49">
              <a:extLst>
                <a:ext uri="{FF2B5EF4-FFF2-40B4-BE49-F238E27FC236}">
                  <a16:creationId xmlns:a16="http://schemas.microsoft.com/office/drawing/2014/main" id="{4770B6EE-C090-D84D-8CEB-B7372613E07E}"/>
                </a:ext>
              </a:extLst>
            </p:cNvPr>
            <p:cNvSpPr>
              <a:spLocks/>
            </p:cNvSpPr>
            <p:nvPr/>
          </p:nvSpPr>
          <p:spPr bwMode="auto">
            <a:xfrm>
              <a:off x="2606505" y="3398424"/>
              <a:ext cx="131837" cy="16703"/>
            </a:xfrm>
            <a:custGeom>
              <a:avLst/>
              <a:gdLst>
                <a:gd name="T0" fmla="*/ 21 w 319"/>
                <a:gd name="T1" fmla="*/ 41 h 41"/>
                <a:gd name="T2" fmla="*/ 299 w 319"/>
                <a:gd name="T3" fmla="*/ 41 h 41"/>
                <a:gd name="T4" fmla="*/ 319 w 319"/>
                <a:gd name="T5" fmla="*/ 21 h 41"/>
                <a:gd name="T6" fmla="*/ 299 w 319"/>
                <a:gd name="T7" fmla="*/ 0 h 41"/>
                <a:gd name="T8" fmla="*/ 21 w 319"/>
                <a:gd name="T9" fmla="*/ 0 h 41"/>
                <a:gd name="T10" fmla="*/ 0 w 319"/>
                <a:gd name="T11" fmla="*/ 21 h 41"/>
                <a:gd name="T12" fmla="*/ 21 w 319"/>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319" h="41">
                  <a:moveTo>
                    <a:pt x="21" y="41"/>
                  </a:moveTo>
                  <a:cubicBezTo>
                    <a:pt x="299" y="41"/>
                    <a:pt x="299" y="41"/>
                    <a:pt x="299" y="41"/>
                  </a:cubicBezTo>
                  <a:cubicBezTo>
                    <a:pt x="310" y="41"/>
                    <a:pt x="319" y="32"/>
                    <a:pt x="319" y="21"/>
                  </a:cubicBezTo>
                  <a:cubicBezTo>
                    <a:pt x="319" y="9"/>
                    <a:pt x="310" y="0"/>
                    <a:pt x="299" y="0"/>
                  </a:cubicBezTo>
                  <a:cubicBezTo>
                    <a:pt x="21" y="0"/>
                    <a:pt x="21" y="0"/>
                    <a:pt x="21" y="0"/>
                  </a:cubicBezTo>
                  <a:cubicBezTo>
                    <a:pt x="9" y="0"/>
                    <a:pt x="0" y="9"/>
                    <a:pt x="0" y="21"/>
                  </a:cubicBezTo>
                  <a:cubicBezTo>
                    <a:pt x="0" y="32"/>
                    <a:pt x="9" y="41"/>
                    <a:pt x="21" y="4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461" name="Freeform 50">
              <a:extLst>
                <a:ext uri="{FF2B5EF4-FFF2-40B4-BE49-F238E27FC236}">
                  <a16:creationId xmlns:a16="http://schemas.microsoft.com/office/drawing/2014/main" id="{6B02D3CD-C5DA-4C47-AEE1-C0E3D73FE305}"/>
                </a:ext>
              </a:extLst>
            </p:cNvPr>
            <p:cNvSpPr>
              <a:spLocks/>
            </p:cNvSpPr>
            <p:nvPr/>
          </p:nvSpPr>
          <p:spPr bwMode="auto">
            <a:xfrm>
              <a:off x="2698373" y="3439586"/>
              <a:ext cx="39969" cy="16703"/>
            </a:xfrm>
            <a:custGeom>
              <a:avLst/>
              <a:gdLst>
                <a:gd name="T0" fmla="*/ 21 w 97"/>
                <a:gd name="T1" fmla="*/ 41 h 41"/>
                <a:gd name="T2" fmla="*/ 76 w 97"/>
                <a:gd name="T3" fmla="*/ 41 h 41"/>
                <a:gd name="T4" fmla="*/ 97 w 97"/>
                <a:gd name="T5" fmla="*/ 21 h 41"/>
                <a:gd name="T6" fmla="*/ 76 w 97"/>
                <a:gd name="T7" fmla="*/ 0 h 41"/>
                <a:gd name="T8" fmla="*/ 21 w 97"/>
                <a:gd name="T9" fmla="*/ 0 h 41"/>
                <a:gd name="T10" fmla="*/ 0 w 97"/>
                <a:gd name="T11" fmla="*/ 21 h 41"/>
                <a:gd name="T12" fmla="*/ 21 w 97"/>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97" h="41">
                  <a:moveTo>
                    <a:pt x="21" y="41"/>
                  </a:moveTo>
                  <a:cubicBezTo>
                    <a:pt x="76" y="41"/>
                    <a:pt x="76" y="41"/>
                    <a:pt x="76" y="41"/>
                  </a:cubicBezTo>
                  <a:cubicBezTo>
                    <a:pt x="88" y="41"/>
                    <a:pt x="97" y="32"/>
                    <a:pt x="97" y="21"/>
                  </a:cubicBezTo>
                  <a:cubicBezTo>
                    <a:pt x="97" y="9"/>
                    <a:pt x="88" y="0"/>
                    <a:pt x="76" y="0"/>
                  </a:cubicBezTo>
                  <a:cubicBezTo>
                    <a:pt x="21" y="0"/>
                    <a:pt x="21" y="0"/>
                    <a:pt x="21" y="0"/>
                  </a:cubicBezTo>
                  <a:cubicBezTo>
                    <a:pt x="9" y="0"/>
                    <a:pt x="0" y="9"/>
                    <a:pt x="0" y="21"/>
                  </a:cubicBezTo>
                  <a:cubicBezTo>
                    <a:pt x="0" y="32"/>
                    <a:pt x="9" y="41"/>
                    <a:pt x="21" y="41"/>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462" name="Freeform 49">
              <a:extLst>
                <a:ext uri="{FF2B5EF4-FFF2-40B4-BE49-F238E27FC236}">
                  <a16:creationId xmlns:a16="http://schemas.microsoft.com/office/drawing/2014/main" id="{8A0E85B6-A61E-0145-A179-A90FC99E774F}"/>
                </a:ext>
              </a:extLst>
            </p:cNvPr>
            <p:cNvSpPr>
              <a:spLocks/>
            </p:cNvSpPr>
            <p:nvPr/>
          </p:nvSpPr>
          <p:spPr bwMode="auto">
            <a:xfrm>
              <a:off x="2606505" y="3439699"/>
              <a:ext cx="82296" cy="16703"/>
            </a:xfrm>
            <a:custGeom>
              <a:avLst/>
              <a:gdLst>
                <a:gd name="T0" fmla="*/ 21 w 319"/>
                <a:gd name="T1" fmla="*/ 41 h 41"/>
                <a:gd name="T2" fmla="*/ 299 w 319"/>
                <a:gd name="T3" fmla="*/ 41 h 41"/>
                <a:gd name="T4" fmla="*/ 319 w 319"/>
                <a:gd name="T5" fmla="*/ 21 h 41"/>
                <a:gd name="T6" fmla="*/ 299 w 319"/>
                <a:gd name="T7" fmla="*/ 0 h 41"/>
                <a:gd name="T8" fmla="*/ 21 w 319"/>
                <a:gd name="T9" fmla="*/ 0 h 41"/>
                <a:gd name="T10" fmla="*/ 0 w 319"/>
                <a:gd name="T11" fmla="*/ 21 h 41"/>
                <a:gd name="T12" fmla="*/ 21 w 319"/>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319" h="41">
                  <a:moveTo>
                    <a:pt x="21" y="41"/>
                  </a:moveTo>
                  <a:cubicBezTo>
                    <a:pt x="299" y="41"/>
                    <a:pt x="299" y="41"/>
                    <a:pt x="299" y="41"/>
                  </a:cubicBezTo>
                  <a:cubicBezTo>
                    <a:pt x="310" y="41"/>
                    <a:pt x="319" y="32"/>
                    <a:pt x="319" y="21"/>
                  </a:cubicBezTo>
                  <a:cubicBezTo>
                    <a:pt x="319" y="9"/>
                    <a:pt x="310" y="0"/>
                    <a:pt x="299" y="0"/>
                  </a:cubicBezTo>
                  <a:cubicBezTo>
                    <a:pt x="21" y="0"/>
                    <a:pt x="21" y="0"/>
                    <a:pt x="21" y="0"/>
                  </a:cubicBezTo>
                  <a:cubicBezTo>
                    <a:pt x="9" y="0"/>
                    <a:pt x="0" y="9"/>
                    <a:pt x="0" y="21"/>
                  </a:cubicBezTo>
                  <a:cubicBezTo>
                    <a:pt x="0" y="32"/>
                    <a:pt x="9" y="41"/>
                    <a:pt x="21" y="4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sp>
        <p:nvSpPr>
          <p:cNvPr id="463" name="Rectangle 462">
            <a:extLst>
              <a:ext uri="{FF2B5EF4-FFF2-40B4-BE49-F238E27FC236}">
                <a16:creationId xmlns:a16="http://schemas.microsoft.com/office/drawing/2014/main" id="{244AEC9F-D584-804C-920C-F3520F208AC6}"/>
              </a:ext>
            </a:extLst>
          </p:cNvPr>
          <p:cNvSpPr/>
          <p:nvPr/>
        </p:nvSpPr>
        <p:spPr>
          <a:xfrm>
            <a:off x="2294466" y="3948321"/>
            <a:ext cx="860364" cy="533939"/>
          </a:xfrm>
          <a:prstGeom prst="rect">
            <a:avLst/>
          </a:prstGeom>
          <a:solidFill>
            <a:schemeClr val="accent6">
              <a:lumMod val="20000"/>
              <a:lumOff val="80000"/>
              <a:alpha val="65000"/>
            </a:schemeClr>
          </a:solidFill>
          <a:ln w="25400" cap="flat" cmpd="sng" algn="ctr">
            <a:noFill/>
            <a:prstDash val="solid"/>
          </a:ln>
          <a:effectLst/>
        </p:spPr>
        <p:txBody>
          <a:bodyPr rtlCol="0" anchor="ctr"/>
          <a:lstStyle/>
          <a:p>
            <a:pPr algn="ctr" defTabSz="609555" fontAlgn="base">
              <a:spcBef>
                <a:spcPct val="0"/>
              </a:spcBef>
              <a:spcAft>
                <a:spcPct val="0"/>
              </a:spcAft>
              <a:defRPr/>
            </a:pPr>
            <a:endParaRPr lang="en-US" sz="2400" kern="0">
              <a:solidFill>
                <a:srgbClr val="005073"/>
              </a:solidFill>
              <a:latin typeface="CiscoSansTT ExtraLight"/>
              <a:ea typeface="ＭＳ Ｐゴシック" charset="0"/>
              <a:cs typeface="Arial"/>
              <a:sym typeface="Arial"/>
            </a:endParaRPr>
          </a:p>
        </p:txBody>
      </p:sp>
      <p:sp>
        <p:nvSpPr>
          <p:cNvPr id="464" name="TextBox 463">
            <a:extLst>
              <a:ext uri="{FF2B5EF4-FFF2-40B4-BE49-F238E27FC236}">
                <a16:creationId xmlns:a16="http://schemas.microsoft.com/office/drawing/2014/main" id="{7C1769DE-01A9-FA46-9411-35F34FC9CBBC}"/>
              </a:ext>
            </a:extLst>
          </p:cNvPr>
          <p:cNvSpPr txBox="1"/>
          <p:nvPr/>
        </p:nvSpPr>
        <p:spPr>
          <a:xfrm>
            <a:off x="1946861" y="4706932"/>
            <a:ext cx="1495922" cy="297454"/>
          </a:xfrm>
          <a:prstGeom prst="rect">
            <a:avLst/>
          </a:prstGeom>
          <a:noFill/>
        </p:spPr>
        <p:txBody>
          <a:bodyPr wrap="none" rtlCol="0">
            <a:spAutoFit/>
          </a:bodyPr>
          <a:lstStyle/>
          <a:p>
            <a:pPr defTabSz="609555" fontAlgn="base">
              <a:spcBef>
                <a:spcPct val="0"/>
              </a:spcBef>
              <a:spcAft>
                <a:spcPct val="0"/>
              </a:spcAft>
              <a:defRPr/>
            </a:pPr>
            <a:r>
              <a:rPr lang="en-US" sz="1333" kern="0" dirty="0">
                <a:solidFill>
                  <a:srgbClr val="676767"/>
                </a:solidFill>
                <a:latin typeface="CiscoSansTT ExtraLight"/>
                <a:ea typeface="ＭＳ Ｐゴシック" charset="0"/>
                <a:cs typeface="Arial"/>
                <a:sym typeface="Arial"/>
              </a:rPr>
              <a:t>IP: 10.201.3.149</a:t>
            </a:r>
          </a:p>
        </p:txBody>
      </p:sp>
      <p:grpSp>
        <p:nvGrpSpPr>
          <p:cNvPr id="465" name="Group 464">
            <a:extLst>
              <a:ext uri="{FF2B5EF4-FFF2-40B4-BE49-F238E27FC236}">
                <a16:creationId xmlns:a16="http://schemas.microsoft.com/office/drawing/2014/main" id="{C3997F85-81A7-8C43-B047-D273767BF302}"/>
              </a:ext>
            </a:extLst>
          </p:cNvPr>
          <p:cNvGrpSpPr/>
          <p:nvPr/>
        </p:nvGrpSpPr>
        <p:grpSpPr>
          <a:xfrm>
            <a:off x="2140603" y="3899628"/>
            <a:ext cx="1175339" cy="734781"/>
            <a:chOff x="1031296" y="3563973"/>
            <a:chExt cx="1612995" cy="924759"/>
          </a:xfrm>
        </p:grpSpPr>
        <p:sp>
          <p:nvSpPr>
            <p:cNvPr id="466" name="Freeform 222">
              <a:extLst>
                <a:ext uri="{FF2B5EF4-FFF2-40B4-BE49-F238E27FC236}">
                  <a16:creationId xmlns:a16="http://schemas.microsoft.com/office/drawing/2014/main" id="{C0778147-E563-0C49-8C52-481795F62958}"/>
                </a:ext>
              </a:extLst>
            </p:cNvPr>
            <p:cNvSpPr>
              <a:spLocks/>
            </p:cNvSpPr>
            <p:nvPr/>
          </p:nvSpPr>
          <p:spPr bwMode="auto">
            <a:xfrm flipH="1">
              <a:off x="1031296" y="4421847"/>
              <a:ext cx="1612995" cy="66885"/>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rgbClr val="00BCEB"/>
            </a:solidFill>
            <a:ln w="9525">
              <a:solidFill>
                <a:srgbClr val="00BCEB"/>
              </a:solidFill>
              <a:round/>
              <a:headEnd/>
              <a:tailEnd/>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467" name="Freeform 224">
              <a:extLst>
                <a:ext uri="{FF2B5EF4-FFF2-40B4-BE49-F238E27FC236}">
                  <a16:creationId xmlns:a16="http://schemas.microsoft.com/office/drawing/2014/main" id="{5C9060B1-AA4D-E244-8389-C56F05BC87BF}"/>
                </a:ext>
              </a:extLst>
            </p:cNvPr>
            <p:cNvSpPr>
              <a:spLocks noEditPoints="1"/>
            </p:cNvSpPr>
            <p:nvPr/>
          </p:nvSpPr>
          <p:spPr bwMode="auto">
            <a:xfrm flipH="1">
              <a:off x="1165066" y="3563973"/>
              <a:ext cx="1343516" cy="809406"/>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rgbClr val="00BCEB"/>
            </a:solidFill>
            <a:ln w="9525">
              <a:solidFill>
                <a:srgbClr val="00BCEB"/>
              </a:solidFill>
              <a:round/>
              <a:headEnd/>
              <a:tailEnd/>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grpSp>
      <p:cxnSp>
        <p:nvCxnSpPr>
          <p:cNvPr id="468" name="Straight Connector 467">
            <a:extLst>
              <a:ext uri="{FF2B5EF4-FFF2-40B4-BE49-F238E27FC236}">
                <a16:creationId xmlns:a16="http://schemas.microsoft.com/office/drawing/2014/main" id="{8272A9D4-7D16-F346-98E2-F32D7CFBA5E9}"/>
              </a:ext>
            </a:extLst>
          </p:cNvPr>
          <p:cNvCxnSpPr>
            <a:cxnSpLocks/>
          </p:cNvCxnSpPr>
          <p:nvPr/>
        </p:nvCxnSpPr>
        <p:spPr>
          <a:xfrm>
            <a:off x="3585516" y="4311991"/>
            <a:ext cx="1959957" cy="12123"/>
          </a:xfrm>
          <a:prstGeom prst="line">
            <a:avLst/>
          </a:prstGeom>
          <a:noFill/>
          <a:ln w="19050" cap="flat" cmpd="sng" algn="ctr">
            <a:solidFill>
              <a:srgbClr val="E3241B"/>
            </a:solidFill>
            <a:prstDash val="dash"/>
            <a:headEnd type="arrow" w="med" len="med"/>
            <a:tailEnd type="none" w="med" len="med"/>
          </a:ln>
          <a:effectLst/>
        </p:spPr>
      </p:cxnSp>
      <p:sp>
        <p:nvSpPr>
          <p:cNvPr id="469" name="TextBox 468">
            <a:extLst>
              <a:ext uri="{FF2B5EF4-FFF2-40B4-BE49-F238E27FC236}">
                <a16:creationId xmlns:a16="http://schemas.microsoft.com/office/drawing/2014/main" id="{993713B1-7804-004C-9E76-0E9D3B56D26E}"/>
              </a:ext>
            </a:extLst>
          </p:cNvPr>
          <p:cNvSpPr txBox="1"/>
          <p:nvPr/>
        </p:nvSpPr>
        <p:spPr>
          <a:xfrm>
            <a:off x="3334071" y="3751095"/>
            <a:ext cx="2177237" cy="451534"/>
          </a:xfrm>
          <a:prstGeom prst="rect">
            <a:avLst/>
          </a:prstGeom>
          <a:noFill/>
        </p:spPr>
        <p:txBody>
          <a:bodyPr wrap="square" lIns="0" tIns="0" rIns="0" bIns="0" rtlCol="0">
            <a:spAutoFit/>
          </a:bodyPr>
          <a:lstStyle/>
          <a:p>
            <a:pPr algn="ctr" defTabSz="609555" fontAlgn="base">
              <a:spcBef>
                <a:spcPct val="0"/>
              </a:spcBef>
              <a:spcAft>
                <a:spcPct val="0"/>
              </a:spcAft>
              <a:defRPr/>
            </a:pPr>
            <a:r>
              <a:rPr lang="en-US" sz="1467" kern="0" dirty="0">
                <a:solidFill>
                  <a:srgbClr val="282828"/>
                </a:solidFill>
                <a:latin typeface="CiscoSansTT ExtraLight"/>
                <a:ea typeface="ＭＳ Ｐゴシック" charset="0"/>
                <a:cs typeface="Arial"/>
                <a:sym typeface="Arial"/>
              </a:rPr>
              <a:t>Threat spreads and infects another host</a:t>
            </a:r>
          </a:p>
        </p:txBody>
      </p:sp>
      <p:sp>
        <p:nvSpPr>
          <p:cNvPr id="471" name="TextBox 470">
            <a:extLst>
              <a:ext uri="{FF2B5EF4-FFF2-40B4-BE49-F238E27FC236}">
                <a16:creationId xmlns:a16="http://schemas.microsoft.com/office/drawing/2014/main" id="{25415ACA-B979-7246-BDE4-0E7755D1B1AE}"/>
              </a:ext>
            </a:extLst>
          </p:cNvPr>
          <p:cNvSpPr txBox="1"/>
          <p:nvPr/>
        </p:nvSpPr>
        <p:spPr>
          <a:xfrm>
            <a:off x="1873907" y="5064499"/>
            <a:ext cx="1890976" cy="451534"/>
          </a:xfrm>
          <a:prstGeom prst="rect">
            <a:avLst/>
          </a:prstGeom>
          <a:noFill/>
        </p:spPr>
        <p:txBody>
          <a:bodyPr wrap="square" lIns="0" tIns="0" rIns="0" bIns="0" rtlCol="0">
            <a:spAutoFit/>
          </a:bodyPr>
          <a:lstStyle/>
          <a:p>
            <a:pPr algn="ctr" defTabSz="609555" fontAlgn="base">
              <a:spcBef>
                <a:spcPct val="0"/>
              </a:spcBef>
              <a:spcAft>
                <a:spcPct val="0"/>
              </a:spcAft>
              <a:defRPr/>
            </a:pPr>
            <a:r>
              <a:rPr lang="en-US" sz="1467" kern="0" dirty="0">
                <a:solidFill>
                  <a:srgbClr val="282828"/>
                </a:solidFill>
                <a:latin typeface="CiscoSansTT ExtraLight"/>
                <a:ea typeface="ＭＳ Ｐゴシック" charset="0"/>
                <a:cs typeface="Arial"/>
                <a:sym typeface="Arial"/>
              </a:rPr>
              <a:t>User receives email and clicks link</a:t>
            </a:r>
          </a:p>
        </p:txBody>
      </p:sp>
      <p:pic>
        <p:nvPicPr>
          <p:cNvPr id="472" name="Picture 471">
            <a:extLst>
              <a:ext uri="{FF2B5EF4-FFF2-40B4-BE49-F238E27FC236}">
                <a16:creationId xmlns:a16="http://schemas.microsoft.com/office/drawing/2014/main" id="{601F1D3B-76B4-8146-89AD-F7C1576D0224}"/>
              </a:ext>
            </a:extLst>
          </p:cNvPr>
          <p:cNvPicPr>
            <a:picLocks noChangeAspect="1"/>
          </p:cNvPicPr>
          <p:nvPr/>
        </p:nvPicPr>
        <p:blipFill>
          <a:blip r:embed="rId3"/>
          <a:stretch>
            <a:fillRect/>
          </a:stretch>
        </p:blipFill>
        <p:spPr>
          <a:xfrm>
            <a:off x="3057265" y="3981056"/>
            <a:ext cx="456137" cy="456137"/>
          </a:xfrm>
          <a:prstGeom prst="rect">
            <a:avLst/>
          </a:prstGeom>
        </p:spPr>
      </p:pic>
      <p:pic>
        <p:nvPicPr>
          <p:cNvPr id="473" name="Graphic 472">
            <a:extLst>
              <a:ext uri="{FF2B5EF4-FFF2-40B4-BE49-F238E27FC236}">
                <a16:creationId xmlns:a16="http://schemas.microsoft.com/office/drawing/2014/main" id="{C2841E73-9A71-D448-898D-781ECD0A38A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50472" y="4295380"/>
            <a:ext cx="355600" cy="355600"/>
          </a:xfrm>
          <a:prstGeom prst="rect">
            <a:avLst/>
          </a:prstGeom>
        </p:spPr>
      </p:pic>
      <p:pic>
        <p:nvPicPr>
          <p:cNvPr id="477" name="Picture 476">
            <a:extLst>
              <a:ext uri="{FF2B5EF4-FFF2-40B4-BE49-F238E27FC236}">
                <a16:creationId xmlns:a16="http://schemas.microsoft.com/office/drawing/2014/main" id="{7313DE40-5F2F-E745-A5C0-E910122F5889}"/>
              </a:ext>
            </a:extLst>
          </p:cNvPr>
          <p:cNvPicPr>
            <a:picLocks noChangeAspect="1"/>
          </p:cNvPicPr>
          <p:nvPr/>
        </p:nvPicPr>
        <p:blipFill>
          <a:blip r:embed="rId4"/>
          <a:stretch>
            <a:fillRect/>
          </a:stretch>
        </p:blipFill>
        <p:spPr>
          <a:xfrm>
            <a:off x="2050423" y="3776307"/>
            <a:ext cx="365760" cy="365760"/>
          </a:xfrm>
          <a:prstGeom prst="rect">
            <a:avLst/>
          </a:prstGeom>
        </p:spPr>
      </p:pic>
      <p:cxnSp>
        <p:nvCxnSpPr>
          <p:cNvPr id="478" name="Straight Connector 477">
            <a:extLst>
              <a:ext uri="{FF2B5EF4-FFF2-40B4-BE49-F238E27FC236}">
                <a16:creationId xmlns:a16="http://schemas.microsoft.com/office/drawing/2014/main" id="{3B18CDF5-CF91-F843-9737-7E7F7224266F}"/>
              </a:ext>
            </a:extLst>
          </p:cNvPr>
          <p:cNvCxnSpPr>
            <a:cxnSpLocks/>
          </p:cNvCxnSpPr>
          <p:nvPr/>
        </p:nvCxnSpPr>
        <p:spPr>
          <a:xfrm>
            <a:off x="2530224" y="2718232"/>
            <a:ext cx="0" cy="1054905"/>
          </a:xfrm>
          <a:prstGeom prst="line">
            <a:avLst/>
          </a:prstGeom>
          <a:noFill/>
          <a:ln w="19050" cap="flat" cmpd="sng" algn="ctr">
            <a:solidFill>
              <a:schemeClr val="accent6">
                <a:lumMod val="75000"/>
              </a:schemeClr>
            </a:solidFill>
            <a:prstDash val="dash"/>
            <a:headEnd type="arrow" w="med" len="med"/>
            <a:tailEnd type="none" w="med" len="med"/>
          </a:ln>
          <a:effectLst/>
        </p:spPr>
      </p:cxnSp>
      <p:sp>
        <p:nvSpPr>
          <p:cNvPr id="479" name="TextBox 478">
            <a:extLst>
              <a:ext uri="{FF2B5EF4-FFF2-40B4-BE49-F238E27FC236}">
                <a16:creationId xmlns:a16="http://schemas.microsoft.com/office/drawing/2014/main" id="{0D3289D6-811A-1B4D-876E-296671A07CEE}"/>
              </a:ext>
            </a:extLst>
          </p:cNvPr>
          <p:cNvSpPr txBox="1"/>
          <p:nvPr/>
        </p:nvSpPr>
        <p:spPr>
          <a:xfrm rot="16200000">
            <a:off x="2204163" y="3117410"/>
            <a:ext cx="1077343" cy="256545"/>
          </a:xfrm>
          <a:prstGeom prst="rect">
            <a:avLst/>
          </a:prstGeom>
          <a:noFill/>
        </p:spPr>
        <p:txBody>
          <a:bodyPr wrap="square" rtlCol="0">
            <a:spAutoFit/>
          </a:bodyPr>
          <a:lstStyle/>
          <a:p>
            <a:pPr algn="ctr" defTabSz="609555" fontAlgn="base">
              <a:spcBef>
                <a:spcPct val="0"/>
              </a:spcBef>
              <a:spcAft>
                <a:spcPct val="0"/>
              </a:spcAft>
              <a:defRPr/>
            </a:pPr>
            <a:r>
              <a:rPr lang="en-US" sz="1067" dirty="0">
                <a:solidFill>
                  <a:srgbClr val="676767"/>
                </a:solidFill>
                <a:latin typeface="CiscoSansTT ExtraLight"/>
                <a:ea typeface="ＭＳ Ｐゴシック" charset="0"/>
                <a:cs typeface="Arial"/>
                <a:sym typeface="Arial"/>
              </a:rPr>
              <a:t>1011010110</a:t>
            </a:r>
          </a:p>
        </p:txBody>
      </p:sp>
      <p:cxnSp>
        <p:nvCxnSpPr>
          <p:cNvPr id="480" name="Straight Connector 479">
            <a:extLst>
              <a:ext uri="{FF2B5EF4-FFF2-40B4-BE49-F238E27FC236}">
                <a16:creationId xmlns:a16="http://schemas.microsoft.com/office/drawing/2014/main" id="{3F6BC56B-D682-7042-873A-C8BC63D7DE1E}"/>
              </a:ext>
            </a:extLst>
          </p:cNvPr>
          <p:cNvCxnSpPr>
            <a:cxnSpLocks/>
          </p:cNvCxnSpPr>
          <p:nvPr/>
        </p:nvCxnSpPr>
        <p:spPr>
          <a:xfrm flipV="1">
            <a:off x="2970300" y="2726904"/>
            <a:ext cx="0" cy="1037561"/>
          </a:xfrm>
          <a:prstGeom prst="line">
            <a:avLst/>
          </a:prstGeom>
          <a:noFill/>
          <a:ln w="19050" cap="flat" cmpd="sng" algn="ctr">
            <a:solidFill>
              <a:srgbClr val="E3241B"/>
            </a:solidFill>
            <a:prstDash val="dash"/>
            <a:headEnd type="arrow" w="med" len="med"/>
            <a:tailEnd type="none" w="med" len="med"/>
          </a:ln>
          <a:effectLst/>
        </p:spPr>
      </p:cxnSp>
      <p:grpSp>
        <p:nvGrpSpPr>
          <p:cNvPr id="481" name="Group 480">
            <a:extLst>
              <a:ext uri="{FF2B5EF4-FFF2-40B4-BE49-F238E27FC236}">
                <a16:creationId xmlns:a16="http://schemas.microsoft.com/office/drawing/2014/main" id="{4F025F19-5AAC-F34C-AC45-2554B546667C}"/>
              </a:ext>
            </a:extLst>
          </p:cNvPr>
          <p:cNvGrpSpPr/>
          <p:nvPr/>
        </p:nvGrpSpPr>
        <p:grpSpPr>
          <a:xfrm>
            <a:off x="79930" y="1496786"/>
            <a:ext cx="5314985" cy="1161740"/>
            <a:chOff x="331430" y="1428605"/>
            <a:chExt cx="3986239" cy="871305"/>
          </a:xfrm>
        </p:grpSpPr>
        <p:grpSp>
          <p:nvGrpSpPr>
            <p:cNvPr id="482" name="Group 481">
              <a:extLst>
                <a:ext uri="{FF2B5EF4-FFF2-40B4-BE49-F238E27FC236}">
                  <a16:creationId xmlns:a16="http://schemas.microsoft.com/office/drawing/2014/main" id="{5A8C7D22-03C3-E242-B757-6879FBEA40EB}"/>
                </a:ext>
              </a:extLst>
            </p:cNvPr>
            <p:cNvGrpSpPr/>
            <p:nvPr/>
          </p:nvGrpSpPr>
          <p:grpSpPr>
            <a:xfrm>
              <a:off x="331430" y="1428605"/>
              <a:ext cx="852447" cy="793611"/>
              <a:chOff x="98347" y="1291990"/>
              <a:chExt cx="852447" cy="793611"/>
            </a:xfrm>
          </p:grpSpPr>
          <p:sp>
            <p:nvSpPr>
              <p:cNvPr id="593" name="Freeform 594">
                <a:extLst>
                  <a:ext uri="{FF2B5EF4-FFF2-40B4-BE49-F238E27FC236}">
                    <a16:creationId xmlns:a16="http://schemas.microsoft.com/office/drawing/2014/main" id="{7AAB59D1-51E0-2D43-BBEA-1854D7FDE01A}"/>
                  </a:ext>
                </a:extLst>
              </p:cNvPr>
              <p:cNvSpPr>
                <a:spLocks noChangeAspect="1" noEditPoints="1"/>
              </p:cNvSpPr>
              <p:nvPr/>
            </p:nvSpPr>
            <p:spPr bwMode="auto">
              <a:xfrm>
                <a:off x="138132" y="12919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94" name="Freeform 75">
                <a:extLst>
                  <a:ext uri="{FF2B5EF4-FFF2-40B4-BE49-F238E27FC236}">
                    <a16:creationId xmlns:a16="http://schemas.microsoft.com/office/drawing/2014/main" id="{91C38F81-9BA2-B747-BA34-EB228A62E48F}"/>
                  </a:ext>
                </a:extLst>
              </p:cNvPr>
              <p:cNvSpPr>
                <a:spLocks/>
              </p:cNvSpPr>
              <p:nvPr/>
            </p:nvSpPr>
            <p:spPr bwMode="auto">
              <a:xfrm>
                <a:off x="98347" y="13546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95" name="Freeform 594">
                <a:extLst>
                  <a:ext uri="{FF2B5EF4-FFF2-40B4-BE49-F238E27FC236}">
                    <a16:creationId xmlns:a16="http://schemas.microsoft.com/office/drawing/2014/main" id="{2045345B-B0D4-E44E-A869-F9EFF43A15E9}"/>
                  </a:ext>
                </a:extLst>
              </p:cNvPr>
              <p:cNvSpPr>
                <a:spLocks noChangeAspect="1" noEditPoints="1"/>
              </p:cNvSpPr>
              <p:nvPr/>
            </p:nvSpPr>
            <p:spPr bwMode="auto">
              <a:xfrm>
                <a:off x="290532" y="14443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96" name="Freeform 75">
                <a:extLst>
                  <a:ext uri="{FF2B5EF4-FFF2-40B4-BE49-F238E27FC236}">
                    <a16:creationId xmlns:a16="http://schemas.microsoft.com/office/drawing/2014/main" id="{CB60DE17-9B7F-B84C-9293-379EC5906537}"/>
                  </a:ext>
                </a:extLst>
              </p:cNvPr>
              <p:cNvSpPr>
                <a:spLocks/>
              </p:cNvSpPr>
              <p:nvPr/>
            </p:nvSpPr>
            <p:spPr bwMode="auto">
              <a:xfrm>
                <a:off x="250747" y="15070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97" name="Freeform 594">
                <a:extLst>
                  <a:ext uri="{FF2B5EF4-FFF2-40B4-BE49-F238E27FC236}">
                    <a16:creationId xmlns:a16="http://schemas.microsoft.com/office/drawing/2014/main" id="{C53832E8-FC6C-8C45-9120-8745367424F0}"/>
                  </a:ext>
                </a:extLst>
              </p:cNvPr>
              <p:cNvSpPr>
                <a:spLocks noChangeAspect="1" noEditPoints="1"/>
              </p:cNvSpPr>
              <p:nvPr/>
            </p:nvSpPr>
            <p:spPr bwMode="auto">
              <a:xfrm>
                <a:off x="442932" y="15967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98" name="Freeform 75">
                <a:extLst>
                  <a:ext uri="{FF2B5EF4-FFF2-40B4-BE49-F238E27FC236}">
                    <a16:creationId xmlns:a16="http://schemas.microsoft.com/office/drawing/2014/main" id="{E469265E-8FD4-EE44-BE07-CA9D6263CD52}"/>
                  </a:ext>
                </a:extLst>
              </p:cNvPr>
              <p:cNvSpPr>
                <a:spLocks/>
              </p:cNvSpPr>
              <p:nvPr/>
            </p:nvSpPr>
            <p:spPr bwMode="auto">
              <a:xfrm>
                <a:off x="403147" y="16594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99" name="Freeform 594">
                <a:extLst>
                  <a:ext uri="{FF2B5EF4-FFF2-40B4-BE49-F238E27FC236}">
                    <a16:creationId xmlns:a16="http://schemas.microsoft.com/office/drawing/2014/main" id="{D4CA52F2-30F1-3D4C-B7BE-2DBA7A3DE264}"/>
                  </a:ext>
                </a:extLst>
              </p:cNvPr>
              <p:cNvSpPr>
                <a:spLocks noChangeAspect="1" noEditPoints="1"/>
              </p:cNvSpPr>
              <p:nvPr/>
            </p:nvSpPr>
            <p:spPr bwMode="auto">
              <a:xfrm>
                <a:off x="595332" y="17491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600" name="Freeform 75">
                <a:extLst>
                  <a:ext uri="{FF2B5EF4-FFF2-40B4-BE49-F238E27FC236}">
                    <a16:creationId xmlns:a16="http://schemas.microsoft.com/office/drawing/2014/main" id="{D59FB881-0A51-7046-83FB-99DC65954008}"/>
                  </a:ext>
                </a:extLst>
              </p:cNvPr>
              <p:cNvSpPr>
                <a:spLocks/>
              </p:cNvSpPr>
              <p:nvPr/>
            </p:nvSpPr>
            <p:spPr bwMode="auto">
              <a:xfrm>
                <a:off x="555547" y="18118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601" name="Freeform 594">
                <a:extLst>
                  <a:ext uri="{FF2B5EF4-FFF2-40B4-BE49-F238E27FC236}">
                    <a16:creationId xmlns:a16="http://schemas.microsoft.com/office/drawing/2014/main" id="{DBCCC567-87DF-D041-BBB3-D14FFA05D494}"/>
                  </a:ext>
                </a:extLst>
              </p:cNvPr>
              <p:cNvSpPr>
                <a:spLocks noChangeAspect="1" noEditPoints="1"/>
              </p:cNvSpPr>
              <p:nvPr/>
            </p:nvSpPr>
            <p:spPr bwMode="auto">
              <a:xfrm>
                <a:off x="747732" y="19015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602" name="Freeform 75">
                <a:extLst>
                  <a:ext uri="{FF2B5EF4-FFF2-40B4-BE49-F238E27FC236}">
                    <a16:creationId xmlns:a16="http://schemas.microsoft.com/office/drawing/2014/main" id="{157110A9-F631-BD44-933F-51A80EB4F651}"/>
                  </a:ext>
                </a:extLst>
              </p:cNvPr>
              <p:cNvSpPr>
                <a:spLocks/>
              </p:cNvSpPr>
              <p:nvPr/>
            </p:nvSpPr>
            <p:spPr bwMode="auto">
              <a:xfrm>
                <a:off x="707947" y="19642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grpSp>
        <p:grpSp>
          <p:nvGrpSpPr>
            <p:cNvPr id="483" name="Group 482">
              <a:extLst>
                <a:ext uri="{FF2B5EF4-FFF2-40B4-BE49-F238E27FC236}">
                  <a16:creationId xmlns:a16="http://schemas.microsoft.com/office/drawing/2014/main" id="{F1294700-E503-8D4C-9BBB-01F097211633}"/>
                </a:ext>
              </a:extLst>
            </p:cNvPr>
            <p:cNvGrpSpPr/>
            <p:nvPr/>
          </p:nvGrpSpPr>
          <p:grpSpPr>
            <a:xfrm>
              <a:off x="719900" y="1506299"/>
              <a:ext cx="852447" cy="793611"/>
              <a:chOff x="98347" y="1291990"/>
              <a:chExt cx="852447" cy="793611"/>
            </a:xfrm>
          </p:grpSpPr>
          <p:sp>
            <p:nvSpPr>
              <p:cNvPr id="583" name="Freeform 594">
                <a:extLst>
                  <a:ext uri="{FF2B5EF4-FFF2-40B4-BE49-F238E27FC236}">
                    <a16:creationId xmlns:a16="http://schemas.microsoft.com/office/drawing/2014/main" id="{42A64E0B-5A56-7C47-8852-480FD96C6F9A}"/>
                  </a:ext>
                </a:extLst>
              </p:cNvPr>
              <p:cNvSpPr>
                <a:spLocks noChangeAspect="1" noEditPoints="1"/>
              </p:cNvSpPr>
              <p:nvPr/>
            </p:nvSpPr>
            <p:spPr bwMode="auto">
              <a:xfrm>
                <a:off x="138132" y="12919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84" name="Freeform 75">
                <a:extLst>
                  <a:ext uri="{FF2B5EF4-FFF2-40B4-BE49-F238E27FC236}">
                    <a16:creationId xmlns:a16="http://schemas.microsoft.com/office/drawing/2014/main" id="{6A4A383B-052E-B247-941C-57A95A7F6760}"/>
                  </a:ext>
                </a:extLst>
              </p:cNvPr>
              <p:cNvSpPr>
                <a:spLocks/>
              </p:cNvSpPr>
              <p:nvPr/>
            </p:nvSpPr>
            <p:spPr bwMode="auto">
              <a:xfrm>
                <a:off x="98347" y="13546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85" name="Freeform 594">
                <a:extLst>
                  <a:ext uri="{FF2B5EF4-FFF2-40B4-BE49-F238E27FC236}">
                    <a16:creationId xmlns:a16="http://schemas.microsoft.com/office/drawing/2014/main" id="{8256C93A-9441-B749-9527-11DECEC15213}"/>
                  </a:ext>
                </a:extLst>
              </p:cNvPr>
              <p:cNvSpPr>
                <a:spLocks noChangeAspect="1" noEditPoints="1"/>
              </p:cNvSpPr>
              <p:nvPr/>
            </p:nvSpPr>
            <p:spPr bwMode="auto">
              <a:xfrm>
                <a:off x="290532" y="14443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86" name="Freeform 75">
                <a:extLst>
                  <a:ext uri="{FF2B5EF4-FFF2-40B4-BE49-F238E27FC236}">
                    <a16:creationId xmlns:a16="http://schemas.microsoft.com/office/drawing/2014/main" id="{663D3C6E-0281-0949-ACA7-27A17B5ADD5D}"/>
                  </a:ext>
                </a:extLst>
              </p:cNvPr>
              <p:cNvSpPr>
                <a:spLocks/>
              </p:cNvSpPr>
              <p:nvPr/>
            </p:nvSpPr>
            <p:spPr bwMode="auto">
              <a:xfrm>
                <a:off x="250747" y="15070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87" name="Freeform 594">
                <a:extLst>
                  <a:ext uri="{FF2B5EF4-FFF2-40B4-BE49-F238E27FC236}">
                    <a16:creationId xmlns:a16="http://schemas.microsoft.com/office/drawing/2014/main" id="{F5767446-243E-B44F-8450-AC332DB1008E}"/>
                  </a:ext>
                </a:extLst>
              </p:cNvPr>
              <p:cNvSpPr>
                <a:spLocks noChangeAspect="1" noEditPoints="1"/>
              </p:cNvSpPr>
              <p:nvPr/>
            </p:nvSpPr>
            <p:spPr bwMode="auto">
              <a:xfrm>
                <a:off x="442932" y="15967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88" name="Freeform 75">
                <a:extLst>
                  <a:ext uri="{FF2B5EF4-FFF2-40B4-BE49-F238E27FC236}">
                    <a16:creationId xmlns:a16="http://schemas.microsoft.com/office/drawing/2014/main" id="{C25AA24B-6A12-214D-AF29-CAF8CA5009C5}"/>
                  </a:ext>
                </a:extLst>
              </p:cNvPr>
              <p:cNvSpPr>
                <a:spLocks/>
              </p:cNvSpPr>
              <p:nvPr/>
            </p:nvSpPr>
            <p:spPr bwMode="auto">
              <a:xfrm>
                <a:off x="403147" y="16594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89" name="Freeform 594">
                <a:extLst>
                  <a:ext uri="{FF2B5EF4-FFF2-40B4-BE49-F238E27FC236}">
                    <a16:creationId xmlns:a16="http://schemas.microsoft.com/office/drawing/2014/main" id="{6C856CCC-3EA6-9C43-9E72-D710E4455135}"/>
                  </a:ext>
                </a:extLst>
              </p:cNvPr>
              <p:cNvSpPr>
                <a:spLocks noChangeAspect="1" noEditPoints="1"/>
              </p:cNvSpPr>
              <p:nvPr/>
            </p:nvSpPr>
            <p:spPr bwMode="auto">
              <a:xfrm>
                <a:off x="595332" y="17491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90" name="Freeform 75">
                <a:extLst>
                  <a:ext uri="{FF2B5EF4-FFF2-40B4-BE49-F238E27FC236}">
                    <a16:creationId xmlns:a16="http://schemas.microsoft.com/office/drawing/2014/main" id="{F7C36D21-80A0-A748-B999-D3162AD0BFA7}"/>
                  </a:ext>
                </a:extLst>
              </p:cNvPr>
              <p:cNvSpPr>
                <a:spLocks/>
              </p:cNvSpPr>
              <p:nvPr/>
            </p:nvSpPr>
            <p:spPr bwMode="auto">
              <a:xfrm>
                <a:off x="555547" y="18118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91" name="Freeform 594">
                <a:extLst>
                  <a:ext uri="{FF2B5EF4-FFF2-40B4-BE49-F238E27FC236}">
                    <a16:creationId xmlns:a16="http://schemas.microsoft.com/office/drawing/2014/main" id="{4BED0750-6AAF-7742-8087-58BF7CEBEC2E}"/>
                  </a:ext>
                </a:extLst>
              </p:cNvPr>
              <p:cNvSpPr>
                <a:spLocks noChangeAspect="1" noEditPoints="1"/>
              </p:cNvSpPr>
              <p:nvPr/>
            </p:nvSpPr>
            <p:spPr bwMode="auto">
              <a:xfrm>
                <a:off x="747732" y="19015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92" name="Freeform 75">
                <a:extLst>
                  <a:ext uri="{FF2B5EF4-FFF2-40B4-BE49-F238E27FC236}">
                    <a16:creationId xmlns:a16="http://schemas.microsoft.com/office/drawing/2014/main" id="{1545F5C9-0236-5F4A-9B4B-D7C83E4684A0}"/>
                  </a:ext>
                </a:extLst>
              </p:cNvPr>
              <p:cNvSpPr>
                <a:spLocks/>
              </p:cNvSpPr>
              <p:nvPr/>
            </p:nvSpPr>
            <p:spPr bwMode="auto">
              <a:xfrm>
                <a:off x="707947" y="19642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grpSp>
        <p:grpSp>
          <p:nvGrpSpPr>
            <p:cNvPr id="484" name="Group 483">
              <a:extLst>
                <a:ext uri="{FF2B5EF4-FFF2-40B4-BE49-F238E27FC236}">
                  <a16:creationId xmlns:a16="http://schemas.microsoft.com/office/drawing/2014/main" id="{1827582E-92B9-B645-9962-B494DF9CA8BF}"/>
                </a:ext>
              </a:extLst>
            </p:cNvPr>
            <p:cNvGrpSpPr/>
            <p:nvPr/>
          </p:nvGrpSpPr>
          <p:grpSpPr>
            <a:xfrm>
              <a:off x="952983" y="1428605"/>
              <a:ext cx="852447" cy="793611"/>
              <a:chOff x="98347" y="1291990"/>
              <a:chExt cx="852447" cy="793611"/>
            </a:xfrm>
          </p:grpSpPr>
          <p:sp>
            <p:nvSpPr>
              <p:cNvPr id="573" name="Freeform 594">
                <a:extLst>
                  <a:ext uri="{FF2B5EF4-FFF2-40B4-BE49-F238E27FC236}">
                    <a16:creationId xmlns:a16="http://schemas.microsoft.com/office/drawing/2014/main" id="{BD2CCF0F-894E-AC44-9145-457E4B49E89A}"/>
                  </a:ext>
                </a:extLst>
              </p:cNvPr>
              <p:cNvSpPr>
                <a:spLocks noChangeAspect="1" noEditPoints="1"/>
              </p:cNvSpPr>
              <p:nvPr/>
            </p:nvSpPr>
            <p:spPr bwMode="auto">
              <a:xfrm>
                <a:off x="138132" y="12919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74" name="Freeform 75">
                <a:extLst>
                  <a:ext uri="{FF2B5EF4-FFF2-40B4-BE49-F238E27FC236}">
                    <a16:creationId xmlns:a16="http://schemas.microsoft.com/office/drawing/2014/main" id="{315564C7-49CE-7642-9EC8-78666A673221}"/>
                  </a:ext>
                </a:extLst>
              </p:cNvPr>
              <p:cNvSpPr>
                <a:spLocks/>
              </p:cNvSpPr>
              <p:nvPr/>
            </p:nvSpPr>
            <p:spPr bwMode="auto">
              <a:xfrm>
                <a:off x="98347" y="13546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75" name="Freeform 594">
                <a:extLst>
                  <a:ext uri="{FF2B5EF4-FFF2-40B4-BE49-F238E27FC236}">
                    <a16:creationId xmlns:a16="http://schemas.microsoft.com/office/drawing/2014/main" id="{61DA30F9-F01F-1441-B6AD-C1CEB7A643CA}"/>
                  </a:ext>
                </a:extLst>
              </p:cNvPr>
              <p:cNvSpPr>
                <a:spLocks noChangeAspect="1" noEditPoints="1"/>
              </p:cNvSpPr>
              <p:nvPr/>
            </p:nvSpPr>
            <p:spPr bwMode="auto">
              <a:xfrm>
                <a:off x="290532" y="14443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76" name="Freeform 75">
                <a:extLst>
                  <a:ext uri="{FF2B5EF4-FFF2-40B4-BE49-F238E27FC236}">
                    <a16:creationId xmlns:a16="http://schemas.microsoft.com/office/drawing/2014/main" id="{40554D80-9BC7-B849-AF10-218B5946E730}"/>
                  </a:ext>
                </a:extLst>
              </p:cNvPr>
              <p:cNvSpPr>
                <a:spLocks/>
              </p:cNvSpPr>
              <p:nvPr/>
            </p:nvSpPr>
            <p:spPr bwMode="auto">
              <a:xfrm>
                <a:off x="250747" y="15070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77" name="Freeform 594">
                <a:extLst>
                  <a:ext uri="{FF2B5EF4-FFF2-40B4-BE49-F238E27FC236}">
                    <a16:creationId xmlns:a16="http://schemas.microsoft.com/office/drawing/2014/main" id="{EC52F4DF-C2FE-FF49-AE0D-9E144D09A322}"/>
                  </a:ext>
                </a:extLst>
              </p:cNvPr>
              <p:cNvSpPr>
                <a:spLocks noChangeAspect="1" noEditPoints="1"/>
              </p:cNvSpPr>
              <p:nvPr/>
            </p:nvSpPr>
            <p:spPr bwMode="auto">
              <a:xfrm>
                <a:off x="442932" y="15967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78" name="Freeform 75">
                <a:extLst>
                  <a:ext uri="{FF2B5EF4-FFF2-40B4-BE49-F238E27FC236}">
                    <a16:creationId xmlns:a16="http://schemas.microsoft.com/office/drawing/2014/main" id="{15988EA9-66CC-AC47-B6BD-0F237AF95453}"/>
                  </a:ext>
                </a:extLst>
              </p:cNvPr>
              <p:cNvSpPr>
                <a:spLocks/>
              </p:cNvSpPr>
              <p:nvPr/>
            </p:nvSpPr>
            <p:spPr bwMode="auto">
              <a:xfrm>
                <a:off x="403147" y="16594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79" name="Freeform 594">
                <a:extLst>
                  <a:ext uri="{FF2B5EF4-FFF2-40B4-BE49-F238E27FC236}">
                    <a16:creationId xmlns:a16="http://schemas.microsoft.com/office/drawing/2014/main" id="{2E722F35-1909-D443-9C7E-94F33013F3D5}"/>
                  </a:ext>
                </a:extLst>
              </p:cNvPr>
              <p:cNvSpPr>
                <a:spLocks noChangeAspect="1" noEditPoints="1"/>
              </p:cNvSpPr>
              <p:nvPr/>
            </p:nvSpPr>
            <p:spPr bwMode="auto">
              <a:xfrm>
                <a:off x="595332" y="17491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80" name="Freeform 75">
                <a:extLst>
                  <a:ext uri="{FF2B5EF4-FFF2-40B4-BE49-F238E27FC236}">
                    <a16:creationId xmlns:a16="http://schemas.microsoft.com/office/drawing/2014/main" id="{CF44FBF0-9580-7C43-80DB-9B4D1CFF15F7}"/>
                  </a:ext>
                </a:extLst>
              </p:cNvPr>
              <p:cNvSpPr>
                <a:spLocks/>
              </p:cNvSpPr>
              <p:nvPr/>
            </p:nvSpPr>
            <p:spPr bwMode="auto">
              <a:xfrm>
                <a:off x="555547" y="18118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81" name="Freeform 594">
                <a:extLst>
                  <a:ext uri="{FF2B5EF4-FFF2-40B4-BE49-F238E27FC236}">
                    <a16:creationId xmlns:a16="http://schemas.microsoft.com/office/drawing/2014/main" id="{B2542969-0F02-A14C-922C-BD5A880CDC4D}"/>
                  </a:ext>
                </a:extLst>
              </p:cNvPr>
              <p:cNvSpPr>
                <a:spLocks noChangeAspect="1" noEditPoints="1"/>
              </p:cNvSpPr>
              <p:nvPr/>
            </p:nvSpPr>
            <p:spPr bwMode="auto">
              <a:xfrm>
                <a:off x="747732" y="19015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82" name="Freeform 75">
                <a:extLst>
                  <a:ext uri="{FF2B5EF4-FFF2-40B4-BE49-F238E27FC236}">
                    <a16:creationId xmlns:a16="http://schemas.microsoft.com/office/drawing/2014/main" id="{B2817B72-C7A1-FB40-8915-C6B8B8E242BD}"/>
                  </a:ext>
                </a:extLst>
              </p:cNvPr>
              <p:cNvSpPr>
                <a:spLocks/>
              </p:cNvSpPr>
              <p:nvPr/>
            </p:nvSpPr>
            <p:spPr bwMode="auto">
              <a:xfrm>
                <a:off x="707947" y="19642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grpSp>
        <p:grpSp>
          <p:nvGrpSpPr>
            <p:cNvPr id="485" name="Group 484">
              <a:extLst>
                <a:ext uri="{FF2B5EF4-FFF2-40B4-BE49-F238E27FC236}">
                  <a16:creationId xmlns:a16="http://schemas.microsoft.com/office/drawing/2014/main" id="{B3866619-6EB4-8943-8B06-57728A4CDA04}"/>
                </a:ext>
              </a:extLst>
            </p:cNvPr>
            <p:cNvGrpSpPr/>
            <p:nvPr/>
          </p:nvGrpSpPr>
          <p:grpSpPr>
            <a:xfrm>
              <a:off x="1353406" y="1506299"/>
              <a:ext cx="852447" cy="793611"/>
              <a:chOff x="98347" y="1291990"/>
              <a:chExt cx="852447" cy="793611"/>
            </a:xfrm>
          </p:grpSpPr>
          <p:sp>
            <p:nvSpPr>
              <p:cNvPr id="563" name="Freeform 594">
                <a:extLst>
                  <a:ext uri="{FF2B5EF4-FFF2-40B4-BE49-F238E27FC236}">
                    <a16:creationId xmlns:a16="http://schemas.microsoft.com/office/drawing/2014/main" id="{B1EA33C0-3DB3-B942-9A5B-9C4B528A8341}"/>
                  </a:ext>
                </a:extLst>
              </p:cNvPr>
              <p:cNvSpPr>
                <a:spLocks noChangeAspect="1" noEditPoints="1"/>
              </p:cNvSpPr>
              <p:nvPr/>
            </p:nvSpPr>
            <p:spPr bwMode="auto">
              <a:xfrm>
                <a:off x="138132" y="12919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64" name="Freeform 75">
                <a:extLst>
                  <a:ext uri="{FF2B5EF4-FFF2-40B4-BE49-F238E27FC236}">
                    <a16:creationId xmlns:a16="http://schemas.microsoft.com/office/drawing/2014/main" id="{F11107A6-92C0-A847-9866-52BE94448709}"/>
                  </a:ext>
                </a:extLst>
              </p:cNvPr>
              <p:cNvSpPr>
                <a:spLocks/>
              </p:cNvSpPr>
              <p:nvPr/>
            </p:nvSpPr>
            <p:spPr bwMode="auto">
              <a:xfrm>
                <a:off x="98347" y="13546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65" name="Freeform 594">
                <a:extLst>
                  <a:ext uri="{FF2B5EF4-FFF2-40B4-BE49-F238E27FC236}">
                    <a16:creationId xmlns:a16="http://schemas.microsoft.com/office/drawing/2014/main" id="{D0EA786C-FC22-4D4E-8F8E-57C08BCD58E8}"/>
                  </a:ext>
                </a:extLst>
              </p:cNvPr>
              <p:cNvSpPr>
                <a:spLocks noChangeAspect="1" noEditPoints="1"/>
              </p:cNvSpPr>
              <p:nvPr/>
            </p:nvSpPr>
            <p:spPr bwMode="auto">
              <a:xfrm>
                <a:off x="290532" y="14443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66" name="Freeform 75">
                <a:extLst>
                  <a:ext uri="{FF2B5EF4-FFF2-40B4-BE49-F238E27FC236}">
                    <a16:creationId xmlns:a16="http://schemas.microsoft.com/office/drawing/2014/main" id="{EB3AC3FC-0036-4E42-8A92-45F042D86208}"/>
                  </a:ext>
                </a:extLst>
              </p:cNvPr>
              <p:cNvSpPr>
                <a:spLocks/>
              </p:cNvSpPr>
              <p:nvPr/>
            </p:nvSpPr>
            <p:spPr bwMode="auto">
              <a:xfrm>
                <a:off x="250747" y="15070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67" name="Freeform 594">
                <a:extLst>
                  <a:ext uri="{FF2B5EF4-FFF2-40B4-BE49-F238E27FC236}">
                    <a16:creationId xmlns:a16="http://schemas.microsoft.com/office/drawing/2014/main" id="{05EE1C9B-7FB4-624A-A379-9C4856B52EB6}"/>
                  </a:ext>
                </a:extLst>
              </p:cNvPr>
              <p:cNvSpPr>
                <a:spLocks noChangeAspect="1" noEditPoints="1"/>
              </p:cNvSpPr>
              <p:nvPr/>
            </p:nvSpPr>
            <p:spPr bwMode="auto">
              <a:xfrm>
                <a:off x="442932" y="15967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68" name="Freeform 75">
                <a:extLst>
                  <a:ext uri="{FF2B5EF4-FFF2-40B4-BE49-F238E27FC236}">
                    <a16:creationId xmlns:a16="http://schemas.microsoft.com/office/drawing/2014/main" id="{505ADCBF-583F-584A-9D8D-23E22DF7D8FB}"/>
                  </a:ext>
                </a:extLst>
              </p:cNvPr>
              <p:cNvSpPr>
                <a:spLocks/>
              </p:cNvSpPr>
              <p:nvPr/>
            </p:nvSpPr>
            <p:spPr bwMode="auto">
              <a:xfrm>
                <a:off x="403147" y="16594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69" name="Freeform 594">
                <a:extLst>
                  <a:ext uri="{FF2B5EF4-FFF2-40B4-BE49-F238E27FC236}">
                    <a16:creationId xmlns:a16="http://schemas.microsoft.com/office/drawing/2014/main" id="{7CD8426E-3CB9-3644-9AA4-1149E295F829}"/>
                  </a:ext>
                </a:extLst>
              </p:cNvPr>
              <p:cNvSpPr>
                <a:spLocks noChangeAspect="1" noEditPoints="1"/>
              </p:cNvSpPr>
              <p:nvPr/>
            </p:nvSpPr>
            <p:spPr bwMode="auto">
              <a:xfrm>
                <a:off x="595332" y="17491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70" name="Freeform 75">
                <a:extLst>
                  <a:ext uri="{FF2B5EF4-FFF2-40B4-BE49-F238E27FC236}">
                    <a16:creationId xmlns:a16="http://schemas.microsoft.com/office/drawing/2014/main" id="{0C8F5424-CBCC-9C4B-95AB-BFBC5F54F2DA}"/>
                  </a:ext>
                </a:extLst>
              </p:cNvPr>
              <p:cNvSpPr>
                <a:spLocks/>
              </p:cNvSpPr>
              <p:nvPr/>
            </p:nvSpPr>
            <p:spPr bwMode="auto">
              <a:xfrm>
                <a:off x="555547" y="18118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71" name="Freeform 594">
                <a:extLst>
                  <a:ext uri="{FF2B5EF4-FFF2-40B4-BE49-F238E27FC236}">
                    <a16:creationId xmlns:a16="http://schemas.microsoft.com/office/drawing/2014/main" id="{37C5D5B1-E852-1448-86A4-5C50853891E0}"/>
                  </a:ext>
                </a:extLst>
              </p:cNvPr>
              <p:cNvSpPr>
                <a:spLocks noChangeAspect="1" noEditPoints="1"/>
              </p:cNvSpPr>
              <p:nvPr/>
            </p:nvSpPr>
            <p:spPr bwMode="auto">
              <a:xfrm>
                <a:off x="747732" y="19015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72" name="Freeform 75">
                <a:extLst>
                  <a:ext uri="{FF2B5EF4-FFF2-40B4-BE49-F238E27FC236}">
                    <a16:creationId xmlns:a16="http://schemas.microsoft.com/office/drawing/2014/main" id="{D91D2CEB-1EC9-864C-91AE-B25DC72A1DD1}"/>
                  </a:ext>
                </a:extLst>
              </p:cNvPr>
              <p:cNvSpPr>
                <a:spLocks/>
              </p:cNvSpPr>
              <p:nvPr/>
            </p:nvSpPr>
            <p:spPr bwMode="auto">
              <a:xfrm>
                <a:off x="707947" y="19642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grpSp>
        <p:grpSp>
          <p:nvGrpSpPr>
            <p:cNvPr id="486" name="Group 485">
              <a:extLst>
                <a:ext uri="{FF2B5EF4-FFF2-40B4-BE49-F238E27FC236}">
                  <a16:creationId xmlns:a16="http://schemas.microsoft.com/office/drawing/2014/main" id="{1A5C6D49-64B5-0B49-AA8F-4D94D454AB7F}"/>
                </a:ext>
              </a:extLst>
            </p:cNvPr>
            <p:cNvGrpSpPr/>
            <p:nvPr/>
          </p:nvGrpSpPr>
          <p:grpSpPr>
            <a:xfrm>
              <a:off x="1586489" y="1428605"/>
              <a:ext cx="852447" cy="793611"/>
              <a:chOff x="98347" y="1291990"/>
              <a:chExt cx="852447" cy="793611"/>
            </a:xfrm>
          </p:grpSpPr>
          <p:sp>
            <p:nvSpPr>
              <p:cNvPr id="553" name="Freeform 594">
                <a:extLst>
                  <a:ext uri="{FF2B5EF4-FFF2-40B4-BE49-F238E27FC236}">
                    <a16:creationId xmlns:a16="http://schemas.microsoft.com/office/drawing/2014/main" id="{125AE473-7B88-DA4D-BFCD-054C926EBDEF}"/>
                  </a:ext>
                </a:extLst>
              </p:cNvPr>
              <p:cNvSpPr>
                <a:spLocks noChangeAspect="1" noEditPoints="1"/>
              </p:cNvSpPr>
              <p:nvPr/>
            </p:nvSpPr>
            <p:spPr bwMode="auto">
              <a:xfrm>
                <a:off x="138132" y="12919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54" name="Freeform 75">
                <a:extLst>
                  <a:ext uri="{FF2B5EF4-FFF2-40B4-BE49-F238E27FC236}">
                    <a16:creationId xmlns:a16="http://schemas.microsoft.com/office/drawing/2014/main" id="{6F642F79-AD54-4445-94AF-9A227CE602CF}"/>
                  </a:ext>
                </a:extLst>
              </p:cNvPr>
              <p:cNvSpPr>
                <a:spLocks/>
              </p:cNvSpPr>
              <p:nvPr/>
            </p:nvSpPr>
            <p:spPr bwMode="auto">
              <a:xfrm>
                <a:off x="98347" y="13546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55" name="Freeform 594">
                <a:extLst>
                  <a:ext uri="{FF2B5EF4-FFF2-40B4-BE49-F238E27FC236}">
                    <a16:creationId xmlns:a16="http://schemas.microsoft.com/office/drawing/2014/main" id="{9021F22C-C1B4-8E43-8D1A-0A7C9319D0B7}"/>
                  </a:ext>
                </a:extLst>
              </p:cNvPr>
              <p:cNvSpPr>
                <a:spLocks noChangeAspect="1" noEditPoints="1"/>
              </p:cNvSpPr>
              <p:nvPr/>
            </p:nvSpPr>
            <p:spPr bwMode="auto">
              <a:xfrm>
                <a:off x="290532" y="14443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56" name="Freeform 75">
                <a:extLst>
                  <a:ext uri="{FF2B5EF4-FFF2-40B4-BE49-F238E27FC236}">
                    <a16:creationId xmlns:a16="http://schemas.microsoft.com/office/drawing/2014/main" id="{D810A13A-4A94-6E4F-B156-D4779220FCAA}"/>
                  </a:ext>
                </a:extLst>
              </p:cNvPr>
              <p:cNvSpPr>
                <a:spLocks/>
              </p:cNvSpPr>
              <p:nvPr/>
            </p:nvSpPr>
            <p:spPr bwMode="auto">
              <a:xfrm>
                <a:off x="250747" y="15070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57" name="Freeform 594">
                <a:extLst>
                  <a:ext uri="{FF2B5EF4-FFF2-40B4-BE49-F238E27FC236}">
                    <a16:creationId xmlns:a16="http://schemas.microsoft.com/office/drawing/2014/main" id="{003467DA-4F40-7B40-875A-1782AD744DB3}"/>
                  </a:ext>
                </a:extLst>
              </p:cNvPr>
              <p:cNvSpPr>
                <a:spLocks noChangeAspect="1" noEditPoints="1"/>
              </p:cNvSpPr>
              <p:nvPr/>
            </p:nvSpPr>
            <p:spPr bwMode="auto">
              <a:xfrm>
                <a:off x="442932" y="15967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58" name="Freeform 75">
                <a:extLst>
                  <a:ext uri="{FF2B5EF4-FFF2-40B4-BE49-F238E27FC236}">
                    <a16:creationId xmlns:a16="http://schemas.microsoft.com/office/drawing/2014/main" id="{4216A50F-B8DB-3845-9444-9624CEA3AE36}"/>
                  </a:ext>
                </a:extLst>
              </p:cNvPr>
              <p:cNvSpPr>
                <a:spLocks/>
              </p:cNvSpPr>
              <p:nvPr/>
            </p:nvSpPr>
            <p:spPr bwMode="auto">
              <a:xfrm>
                <a:off x="403147" y="16594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59" name="Freeform 594">
                <a:extLst>
                  <a:ext uri="{FF2B5EF4-FFF2-40B4-BE49-F238E27FC236}">
                    <a16:creationId xmlns:a16="http://schemas.microsoft.com/office/drawing/2014/main" id="{B87A4657-A08F-0240-ADC8-4C5448EEAD6F}"/>
                  </a:ext>
                </a:extLst>
              </p:cNvPr>
              <p:cNvSpPr>
                <a:spLocks noChangeAspect="1" noEditPoints="1"/>
              </p:cNvSpPr>
              <p:nvPr/>
            </p:nvSpPr>
            <p:spPr bwMode="auto">
              <a:xfrm>
                <a:off x="595332" y="17491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60" name="Freeform 75">
                <a:extLst>
                  <a:ext uri="{FF2B5EF4-FFF2-40B4-BE49-F238E27FC236}">
                    <a16:creationId xmlns:a16="http://schemas.microsoft.com/office/drawing/2014/main" id="{5F9824F3-5F3B-1940-8E03-57BDC54F943B}"/>
                  </a:ext>
                </a:extLst>
              </p:cNvPr>
              <p:cNvSpPr>
                <a:spLocks/>
              </p:cNvSpPr>
              <p:nvPr/>
            </p:nvSpPr>
            <p:spPr bwMode="auto">
              <a:xfrm>
                <a:off x="555547" y="18118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61" name="Freeform 594">
                <a:extLst>
                  <a:ext uri="{FF2B5EF4-FFF2-40B4-BE49-F238E27FC236}">
                    <a16:creationId xmlns:a16="http://schemas.microsoft.com/office/drawing/2014/main" id="{A4CCAFB5-E32A-B54B-8BFA-2A97790F4F17}"/>
                  </a:ext>
                </a:extLst>
              </p:cNvPr>
              <p:cNvSpPr>
                <a:spLocks noChangeAspect="1" noEditPoints="1"/>
              </p:cNvSpPr>
              <p:nvPr/>
            </p:nvSpPr>
            <p:spPr bwMode="auto">
              <a:xfrm>
                <a:off x="747732" y="19015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62" name="Freeform 75">
                <a:extLst>
                  <a:ext uri="{FF2B5EF4-FFF2-40B4-BE49-F238E27FC236}">
                    <a16:creationId xmlns:a16="http://schemas.microsoft.com/office/drawing/2014/main" id="{0E30C4AF-DBBA-9342-B5F3-49B16458D2D7}"/>
                  </a:ext>
                </a:extLst>
              </p:cNvPr>
              <p:cNvSpPr>
                <a:spLocks/>
              </p:cNvSpPr>
              <p:nvPr/>
            </p:nvSpPr>
            <p:spPr bwMode="auto">
              <a:xfrm>
                <a:off x="707947" y="19642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grpSp>
        <p:grpSp>
          <p:nvGrpSpPr>
            <p:cNvPr id="487" name="Group 486">
              <a:extLst>
                <a:ext uri="{FF2B5EF4-FFF2-40B4-BE49-F238E27FC236}">
                  <a16:creationId xmlns:a16="http://schemas.microsoft.com/office/drawing/2014/main" id="{AC07E475-FFFD-6A47-B448-61042A4298AC}"/>
                </a:ext>
              </a:extLst>
            </p:cNvPr>
            <p:cNvGrpSpPr/>
            <p:nvPr/>
          </p:nvGrpSpPr>
          <p:grpSpPr>
            <a:xfrm>
              <a:off x="1974959" y="1506299"/>
              <a:ext cx="852447" cy="793611"/>
              <a:chOff x="98347" y="1291990"/>
              <a:chExt cx="852447" cy="793611"/>
            </a:xfrm>
          </p:grpSpPr>
          <p:sp>
            <p:nvSpPr>
              <p:cNvPr id="543" name="Freeform 594">
                <a:extLst>
                  <a:ext uri="{FF2B5EF4-FFF2-40B4-BE49-F238E27FC236}">
                    <a16:creationId xmlns:a16="http://schemas.microsoft.com/office/drawing/2014/main" id="{1F1728C1-4B0C-9547-8AB9-9B82AE5F2F29}"/>
                  </a:ext>
                </a:extLst>
              </p:cNvPr>
              <p:cNvSpPr>
                <a:spLocks noChangeAspect="1" noEditPoints="1"/>
              </p:cNvSpPr>
              <p:nvPr/>
            </p:nvSpPr>
            <p:spPr bwMode="auto">
              <a:xfrm>
                <a:off x="138132" y="12919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44" name="Freeform 75">
                <a:extLst>
                  <a:ext uri="{FF2B5EF4-FFF2-40B4-BE49-F238E27FC236}">
                    <a16:creationId xmlns:a16="http://schemas.microsoft.com/office/drawing/2014/main" id="{0532A0C1-C8C9-D943-8334-B4D21F5FA1F6}"/>
                  </a:ext>
                </a:extLst>
              </p:cNvPr>
              <p:cNvSpPr>
                <a:spLocks/>
              </p:cNvSpPr>
              <p:nvPr/>
            </p:nvSpPr>
            <p:spPr bwMode="auto">
              <a:xfrm>
                <a:off x="98347" y="13546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45" name="Freeform 594">
                <a:extLst>
                  <a:ext uri="{FF2B5EF4-FFF2-40B4-BE49-F238E27FC236}">
                    <a16:creationId xmlns:a16="http://schemas.microsoft.com/office/drawing/2014/main" id="{97E8A14B-C96A-8447-8773-9FE99AFF7DE1}"/>
                  </a:ext>
                </a:extLst>
              </p:cNvPr>
              <p:cNvSpPr>
                <a:spLocks noChangeAspect="1" noEditPoints="1"/>
              </p:cNvSpPr>
              <p:nvPr/>
            </p:nvSpPr>
            <p:spPr bwMode="auto">
              <a:xfrm>
                <a:off x="290532" y="14443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46" name="Freeform 75">
                <a:extLst>
                  <a:ext uri="{FF2B5EF4-FFF2-40B4-BE49-F238E27FC236}">
                    <a16:creationId xmlns:a16="http://schemas.microsoft.com/office/drawing/2014/main" id="{5932B807-9810-C74A-8943-7E5D39D5E390}"/>
                  </a:ext>
                </a:extLst>
              </p:cNvPr>
              <p:cNvSpPr>
                <a:spLocks/>
              </p:cNvSpPr>
              <p:nvPr/>
            </p:nvSpPr>
            <p:spPr bwMode="auto">
              <a:xfrm>
                <a:off x="250747" y="15070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47" name="Freeform 594">
                <a:extLst>
                  <a:ext uri="{FF2B5EF4-FFF2-40B4-BE49-F238E27FC236}">
                    <a16:creationId xmlns:a16="http://schemas.microsoft.com/office/drawing/2014/main" id="{99BF688C-0EA2-0443-BB2F-499B30DFC8C2}"/>
                  </a:ext>
                </a:extLst>
              </p:cNvPr>
              <p:cNvSpPr>
                <a:spLocks noChangeAspect="1" noEditPoints="1"/>
              </p:cNvSpPr>
              <p:nvPr/>
            </p:nvSpPr>
            <p:spPr bwMode="auto">
              <a:xfrm>
                <a:off x="442932" y="15967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48" name="Freeform 75">
                <a:extLst>
                  <a:ext uri="{FF2B5EF4-FFF2-40B4-BE49-F238E27FC236}">
                    <a16:creationId xmlns:a16="http://schemas.microsoft.com/office/drawing/2014/main" id="{55781377-6C93-5B46-8A2A-C88D5BA965AC}"/>
                  </a:ext>
                </a:extLst>
              </p:cNvPr>
              <p:cNvSpPr>
                <a:spLocks/>
              </p:cNvSpPr>
              <p:nvPr/>
            </p:nvSpPr>
            <p:spPr bwMode="auto">
              <a:xfrm>
                <a:off x="403147" y="16594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49" name="Freeform 594">
                <a:extLst>
                  <a:ext uri="{FF2B5EF4-FFF2-40B4-BE49-F238E27FC236}">
                    <a16:creationId xmlns:a16="http://schemas.microsoft.com/office/drawing/2014/main" id="{C06DD52F-D3AF-6942-93F5-197C3006C84F}"/>
                  </a:ext>
                </a:extLst>
              </p:cNvPr>
              <p:cNvSpPr>
                <a:spLocks noChangeAspect="1" noEditPoints="1"/>
              </p:cNvSpPr>
              <p:nvPr/>
            </p:nvSpPr>
            <p:spPr bwMode="auto">
              <a:xfrm>
                <a:off x="595332" y="17491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50" name="Freeform 75">
                <a:extLst>
                  <a:ext uri="{FF2B5EF4-FFF2-40B4-BE49-F238E27FC236}">
                    <a16:creationId xmlns:a16="http://schemas.microsoft.com/office/drawing/2014/main" id="{B72DF0AA-06A5-F84C-AAF5-91E14FC6036A}"/>
                  </a:ext>
                </a:extLst>
              </p:cNvPr>
              <p:cNvSpPr>
                <a:spLocks/>
              </p:cNvSpPr>
              <p:nvPr/>
            </p:nvSpPr>
            <p:spPr bwMode="auto">
              <a:xfrm>
                <a:off x="555547" y="18118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51" name="Freeform 594">
                <a:extLst>
                  <a:ext uri="{FF2B5EF4-FFF2-40B4-BE49-F238E27FC236}">
                    <a16:creationId xmlns:a16="http://schemas.microsoft.com/office/drawing/2014/main" id="{BBA3B0E8-CD1E-5C4D-94DC-497D2528D444}"/>
                  </a:ext>
                </a:extLst>
              </p:cNvPr>
              <p:cNvSpPr>
                <a:spLocks noChangeAspect="1" noEditPoints="1"/>
              </p:cNvSpPr>
              <p:nvPr/>
            </p:nvSpPr>
            <p:spPr bwMode="auto">
              <a:xfrm>
                <a:off x="747732" y="19015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52" name="Freeform 75">
                <a:extLst>
                  <a:ext uri="{FF2B5EF4-FFF2-40B4-BE49-F238E27FC236}">
                    <a16:creationId xmlns:a16="http://schemas.microsoft.com/office/drawing/2014/main" id="{B105060C-737B-1A4B-A6C6-97BB8A6791B8}"/>
                  </a:ext>
                </a:extLst>
              </p:cNvPr>
              <p:cNvSpPr>
                <a:spLocks/>
              </p:cNvSpPr>
              <p:nvPr/>
            </p:nvSpPr>
            <p:spPr bwMode="auto">
              <a:xfrm>
                <a:off x="707947" y="19642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grpSp>
        <p:grpSp>
          <p:nvGrpSpPr>
            <p:cNvPr id="488" name="Group 487">
              <a:extLst>
                <a:ext uri="{FF2B5EF4-FFF2-40B4-BE49-F238E27FC236}">
                  <a16:creationId xmlns:a16="http://schemas.microsoft.com/office/drawing/2014/main" id="{CD85F257-CE97-0340-890F-06FD4A38DB41}"/>
                </a:ext>
              </a:extLst>
            </p:cNvPr>
            <p:cNvGrpSpPr/>
            <p:nvPr/>
          </p:nvGrpSpPr>
          <p:grpSpPr>
            <a:xfrm>
              <a:off x="2208042" y="1428605"/>
              <a:ext cx="852447" cy="793611"/>
              <a:chOff x="98347" y="1291990"/>
              <a:chExt cx="852447" cy="793611"/>
            </a:xfrm>
          </p:grpSpPr>
          <p:sp>
            <p:nvSpPr>
              <p:cNvPr id="533" name="Freeform 594">
                <a:extLst>
                  <a:ext uri="{FF2B5EF4-FFF2-40B4-BE49-F238E27FC236}">
                    <a16:creationId xmlns:a16="http://schemas.microsoft.com/office/drawing/2014/main" id="{16CDFB9B-2AB1-2D4B-B77C-1277017C4A69}"/>
                  </a:ext>
                </a:extLst>
              </p:cNvPr>
              <p:cNvSpPr>
                <a:spLocks noChangeAspect="1" noEditPoints="1"/>
              </p:cNvSpPr>
              <p:nvPr/>
            </p:nvSpPr>
            <p:spPr bwMode="auto">
              <a:xfrm>
                <a:off x="138132" y="12919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34" name="Freeform 75">
                <a:extLst>
                  <a:ext uri="{FF2B5EF4-FFF2-40B4-BE49-F238E27FC236}">
                    <a16:creationId xmlns:a16="http://schemas.microsoft.com/office/drawing/2014/main" id="{73034731-0775-A84F-AEEC-FE97BD6B7402}"/>
                  </a:ext>
                </a:extLst>
              </p:cNvPr>
              <p:cNvSpPr>
                <a:spLocks/>
              </p:cNvSpPr>
              <p:nvPr/>
            </p:nvSpPr>
            <p:spPr bwMode="auto">
              <a:xfrm>
                <a:off x="98347" y="13546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35" name="Freeform 594">
                <a:extLst>
                  <a:ext uri="{FF2B5EF4-FFF2-40B4-BE49-F238E27FC236}">
                    <a16:creationId xmlns:a16="http://schemas.microsoft.com/office/drawing/2014/main" id="{49A44788-4C3D-6043-BB95-B4F1B3E641A9}"/>
                  </a:ext>
                </a:extLst>
              </p:cNvPr>
              <p:cNvSpPr>
                <a:spLocks noChangeAspect="1" noEditPoints="1"/>
              </p:cNvSpPr>
              <p:nvPr/>
            </p:nvSpPr>
            <p:spPr bwMode="auto">
              <a:xfrm>
                <a:off x="290532" y="14443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36" name="Freeform 75">
                <a:extLst>
                  <a:ext uri="{FF2B5EF4-FFF2-40B4-BE49-F238E27FC236}">
                    <a16:creationId xmlns:a16="http://schemas.microsoft.com/office/drawing/2014/main" id="{9B0FE352-A76E-A84E-B625-F4AA595DBCF2}"/>
                  </a:ext>
                </a:extLst>
              </p:cNvPr>
              <p:cNvSpPr>
                <a:spLocks/>
              </p:cNvSpPr>
              <p:nvPr/>
            </p:nvSpPr>
            <p:spPr bwMode="auto">
              <a:xfrm>
                <a:off x="250747" y="15070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37" name="Freeform 594">
                <a:extLst>
                  <a:ext uri="{FF2B5EF4-FFF2-40B4-BE49-F238E27FC236}">
                    <a16:creationId xmlns:a16="http://schemas.microsoft.com/office/drawing/2014/main" id="{44118664-5B52-D648-BD88-5DC790187772}"/>
                  </a:ext>
                </a:extLst>
              </p:cNvPr>
              <p:cNvSpPr>
                <a:spLocks noChangeAspect="1" noEditPoints="1"/>
              </p:cNvSpPr>
              <p:nvPr/>
            </p:nvSpPr>
            <p:spPr bwMode="auto">
              <a:xfrm>
                <a:off x="442932" y="15967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38" name="Freeform 75">
                <a:extLst>
                  <a:ext uri="{FF2B5EF4-FFF2-40B4-BE49-F238E27FC236}">
                    <a16:creationId xmlns:a16="http://schemas.microsoft.com/office/drawing/2014/main" id="{CA22149E-370B-B34E-815F-813BB8B27819}"/>
                  </a:ext>
                </a:extLst>
              </p:cNvPr>
              <p:cNvSpPr>
                <a:spLocks/>
              </p:cNvSpPr>
              <p:nvPr/>
            </p:nvSpPr>
            <p:spPr bwMode="auto">
              <a:xfrm>
                <a:off x="403147" y="16594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39" name="Freeform 594">
                <a:extLst>
                  <a:ext uri="{FF2B5EF4-FFF2-40B4-BE49-F238E27FC236}">
                    <a16:creationId xmlns:a16="http://schemas.microsoft.com/office/drawing/2014/main" id="{7FAC7B31-1E7E-3340-B62A-A660422B2F28}"/>
                  </a:ext>
                </a:extLst>
              </p:cNvPr>
              <p:cNvSpPr>
                <a:spLocks noChangeAspect="1" noEditPoints="1"/>
              </p:cNvSpPr>
              <p:nvPr/>
            </p:nvSpPr>
            <p:spPr bwMode="auto">
              <a:xfrm>
                <a:off x="595332" y="17491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40" name="Freeform 75">
                <a:extLst>
                  <a:ext uri="{FF2B5EF4-FFF2-40B4-BE49-F238E27FC236}">
                    <a16:creationId xmlns:a16="http://schemas.microsoft.com/office/drawing/2014/main" id="{485FBDB4-C39D-414B-8E55-5F49404E3751}"/>
                  </a:ext>
                </a:extLst>
              </p:cNvPr>
              <p:cNvSpPr>
                <a:spLocks/>
              </p:cNvSpPr>
              <p:nvPr/>
            </p:nvSpPr>
            <p:spPr bwMode="auto">
              <a:xfrm>
                <a:off x="555547" y="18118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41" name="Freeform 594">
                <a:extLst>
                  <a:ext uri="{FF2B5EF4-FFF2-40B4-BE49-F238E27FC236}">
                    <a16:creationId xmlns:a16="http://schemas.microsoft.com/office/drawing/2014/main" id="{ECFA2E70-1C67-1747-B4F5-3F397065958B}"/>
                  </a:ext>
                </a:extLst>
              </p:cNvPr>
              <p:cNvSpPr>
                <a:spLocks noChangeAspect="1" noEditPoints="1"/>
              </p:cNvSpPr>
              <p:nvPr/>
            </p:nvSpPr>
            <p:spPr bwMode="auto">
              <a:xfrm>
                <a:off x="747732" y="19015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42" name="Freeform 75">
                <a:extLst>
                  <a:ext uri="{FF2B5EF4-FFF2-40B4-BE49-F238E27FC236}">
                    <a16:creationId xmlns:a16="http://schemas.microsoft.com/office/drawing/2014/main" id="{476A0D0F-8F72-DC46-8718-C3E4B84D8974}"/>
                  </a:ext>
                </a:extLst>
              </p:cNvPr>
              <p:cNvSpPr>
                <a:spLocks/>
              </p:cNvSpPr>
              <p:nvPr/>
            </p:nvSpPr>
            <p:spPr bwMode="auto">
              <a:xfrm>
                <a:off x="707947" y="19642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grpSp>
        <p:grpSp>
          <p:nvGrpSpPr>
            <p:cNvPr id="489" name="Group 488">
              <a:extLst>
                <a:ext uri="{FF2B5EF4-FFF2-40B4-BE49-F238E27FC236}">
                  <a16:creationId xmlns:a16="http://schemas.microsoft.com/office/drawing/2014/main" id="{EC75ACBA-AA25-9846-A279-2487DBD4FE8F}"/>
                </a:ext>
              </a:extLst>
            </p:cNvPr>
            <p:cNvGrpSpPr/>
            <p:nvPr/>
          </p:nvGrpSpPr>
          <p:grpSpPr>
            <a:xfrm>
              <a:off x="2596512" y="1506299"/>
              <a:ext cx="852447" cy="793611"/>
              <a:chOff x="98347" y="1291990"/>
              <a:chExt cx="852447" cy="793611"/>
            </a:xfrm>
          </p:grpSpPr>
          <p:sp>
            <p:nvSpPr>
              <p:cNvPr id="523" name="Freeform 594">
                <a:extLst>
                  <a:ext uri="{FF2B5EF4-FFF2-40B4-BE49-F238E27FC236}">
                    <a16:creationId xmlns:a16="http://schemas.microsoft.com/office/drawing/2014/main" id="{4AD96A2C-838A-EE40-9C2C-9EB016EC9308}"/>
                  </a:ext>
                </a:extLst>
              </p:cNvPr>
              <p:cNvSpPr>
                <a:spLocks noChangeAspect="1" noEditPoints="1"/>
              </p:cNvSpPr>
              <p:nvPr/>
            </p:nvSpPr>
            <p:spPr bwMode="auto">
              <a:xfrm>
                <a:off x="138132" y="12919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24" name="Freeform 75">
                <a:extLst>
                  <a:ext uri="{FF2B5EF4-FFF2-40B4-BE49-F238E27FC236}">
                    <a16:creationId xmlns:a16="http://schemas.microsoft.com/office/drawing/2014/main" id="{29C5C60F-4147-0B47-8C9F-021621BE1113}"/>
                  </a:ext>
                </a:extLst>
              </p:cNvPr>
              <p:cNvSpPr>
                <a:spLocks/>
              </p:cNvSpPr>
              <p:nvPr/>
            </p:nvSpPr>
            <p:spPr bwMode="auto">
              <a:xfrm>
                <a:off x="98347" y="13546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25" name="Freeform 594">
                <a:extLst>
                  <a:ext uri="{FF2B5EF4-FFF2-40B4-BE49-F238E27FC236}">
                    <a16:creationId xmlns:a16="http://schemas.microsoft.com/office/drawing/2014/main" id="{97A1A28E-16CD-6149-BE56-AAC16042CAE4}"/>
                  </a:ext>
                </a:extLst>
              </p:cNvPr>
              <p:cNvSpPr>
                <a:spLocks noChangeAspect="1" noEditPoints="1"/>
              </p:cNvSpPr>
              <p:nvPr/>
            </p:nvSpPr>
            <p:spPr bwMode="auto">
              <a:xfrm>
                <a:off x="290532" y="14443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26" name="Freeform 75">
                <a:extLst>
                  <a:ext uri="{FF2B5EF4-FFF2-40B4-BE49-F238E27FC236}">
                    <a16:creationId xmlns:a16="http://schemas.microsoft.com/office/drawing/2014/main" id="{F2D15167-800B-9A4D-BE97-A7A84E3467C6}"/>
                  </a:ext>
                </a:extLst>
              </p:cNvPr>
              <p:cNvSpPr>
                <a:spLocks/>
              </p:cNvSpPr>
              <p:nvPr/>
            </p:nvSpPr>
            <p:spPr bwMode="auto">
              <a:xfrm>
                <a:off x="250747" y="15070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27" name="Freeform 594">
                <a:extLst>
                  <a:ext uri="{FF2B5EF4-FFF2-40B4-BE49-F238E27FC236}">
                    <a16:creationId xmlns:a16="http://schemas.microsoft.com/office/drawing/2014/main" id="{2A00746F-CB61-DE41-8AD8-A06E40E5AD05}"/>
                  </a:ext>
                </a:extLst>
              </p:cNvPr>
              <p:cNvSpPr>
                <a:spLocks noChangeAspect="1" noEditPoints="1"/>
              </p:cNvSpPr>
              <p:nvPr/>
            </p:nvSpPr>
            <p:spPr bwMode="auto">
              <a:xfrm>
                <a:off x="442932" y="15967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28" name="Freeform 75">
                <a:extLst>
                  <a:ext uri="{FF2B5EF4-FFF2-40B4-BE49-F238E27FC236}">
                    <a16:creationId xmlns:a16="http://schemas.microsoft.com/office/drawing/2014/main" id="{3DEF99F8-31FE-924E-B3F2-3730306A34A2}"/>
                  </a:ext>
                </a:extLst>
              </p:cNvPr>
              <p:cNvSpPr>
                <a:spLocks/>
              </p:cNvSpPr>
              <p:nvPr/>
            </p:nvSpPr>
            <p:spPr bwMode="auto">
              <a:xfrm>
                <a:off x="403147" y="16594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29" name="Freeform 594">
                <a:extLst>
                  <a:ext uri="{FF2B5EF4-FFF2-40B4-BE49-F238E27FC236}">
                    <a16:creationId xmlns:a16="http://schemas.microsoft.com/office/drawing/2014/main" id="{A8690294-12BD-084E-B0DB-C477CF15F7BF}"/>
                  </a:ext>
                </a:extLst>
              </p:cNvPr>
              <p:cNvSpPr>
                <a:spLocks noChangeAspect="1" noEditPoints="1"/>
              </p:cNvSpPr>
              <p:nvPr/>
            </p:nvSpPr>
            <p:spPr bwMode="auto">
              <a:xfrm>
                <a:off x="595332" y="17491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30" name="Freeform 75">
                <a:extLst>
                  <a:ext uri="{FF2B5EF4-FFF2-40B4-BE49-F238E27FC236}">
                    <a16:creationId xmlns:a16="http://schemas.microsoft.com/office/drawing/2014/main" id="{7AC079C7-8FEE-2945-B91C-46075D8B7BB8}"/>
                  </a:ext>
                </a:extLst>
              </p:cNvPr>
              <p:cNvSpPr>
                <a:spLocks/>
              </p:cNvSpPr>
              <p:nvPr/>
            </p:nvSpPr>
            <p:spPr bwMode="auto">
              <a:xfrm>
                <a:off x="555547" y="18118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31" name="Freeform 594">
                <a:extLst>
                  <a:ext uri="{FF2B5EF4-FFF2-40B4-BE49-F238E27FC236}">
                    <a16:creationId xmlns:a16="http://schemas.microsoft.com/office/drawing/2014/main" id="{A28AEB5C-84CE-FC45-A0AB-48279A9FB3B6}"/>
                  </a:ext>
                </a:extLst>
              </p:cNvPr>
              <p:cNvSpPr>
                <a:spLocks noChangeAspect="1" noEditPoints="1"/>
              </p:cNvSpPr>
              <p:nvPr/>
            </p:nvSpPr>
            <p:spPr bwMode="auto">
              <a:xfrm>
                <a:off x="747732" y="19015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32" name="Freeform 75">
                <a:extLst>
                  <a:ext uri="{FF2B5EF4-FFF2-40B4-BE49-F238E27FC236}">
                    <a16:creationId xmlns:a16="http://schemas.microsoft.com/office/drawing/2014/main" id="{845DFE95-1983-554D-A882-750BE53F0824}"/>
                  </a:ext>
                </a:extLst>
              </p:cNvPr>
              <p:cNvSpPr>
                <a:spLocks/>
              </p:cNvSpPr>
              <p:nvPr/>
            </p:nvSpPr>
            <p:spPr bwMode="auto">
              <a:xfrm>
                <a:off x="707947" y="19642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grpSp>
        <p:grpSp>
          <p:nvGrpSpPr>
            <p:cNvPr id="490" name="Group 489">
              <a:extLst>
                <a:ext uri="{FF2B5EF4-FFF2-40B4-BE49-F238E27FC236}">
                  <a16:creationId xmlns:a16="http://schemas.microsoft.com/office/drawing/2014/main" id="{A3F4275F-907E-1E4E-86C1-1B2F9D3414A8}"/>
                </a:ext>
              </a:extLst>
            </p:cNvPr>
            <p:cNvGrpSpPr/>
            <p:nvPr/>
          </p:nvGrpSpPr>
          <p:grpSpPr>
            <a:xfrm>
              <a:off x="2829595" y="1428605"/>
              <a:ext cx="852447" cy="793611"/>
              <a:chOff x="98347" y="1291990"/>
              <a:chExt cx="852447" cy="793611"/>
            </a:xfrm>
          </p:grpSpPr>
          <p:sp>
            <p:nvSpPr>
              <p:cNvPr id="513" name="Freeform 594">
                <a:extLst>
                  <a:ext uri="{FF2B5EF4-FFF2-40B4-BE49-F238E27FC236}">
                    <a16:creationId xmlns:a16="http://schemas.microsoft.com/office/drawing/2014/main" id="{0E203EC1-783E-7242-9BFC-B0D282DD2CE7}"/>
                  </a:ext>
                </a:extLst>
              </p:cNvPr>
              <p:cNvSpPr>
                <a:spLocks noChangeAspect="1" noEditPoints="1"/>
              </p:cNvSpPr>
              <p:nvPr/>
            </p:nvSpPr>
            <p:spPr bwMode="auto">
              <a:xfrm>
                <a:off x="138132" y="12919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14" name="Freeform 75">
                <a:extLst>
                  <a:ext uri="{FF2B5EF4-FFF2-40B4-BE49-F238E27FC236}">
                    <a16:creationId xmlns:a16="http://schemas.microsoft.com/office/drawing/2014/main" id="{52B4D33A-2250-1342-A101-E632424990D5}"/>
                  </a:ext>
                </a:extLst>
              </p:cNvPr>
              <p:cNvSpPr>
                <a:spLocks/>
              </p:cNvSpPr>
              <p:nvPr/>
            </p:nvSpPr>
            <p:spPr bwMode="auto">
              <a:xfrm>
                <a:off x="98347" y="13546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15" name="Freeform 594">
                <a:extLst>
                  <a:ext uri="{FF2B5EF4-FFF2-40B4-BE49-F238E27FC236}">
                    <a16:creationId xmlns:a16="http://schemas.microsoft.com/office/drawing/2014/main" id="{C149015A-DD37-AE40-81B1-DF67FA610801}"/>
                  </a:ext>
                </a:extLst>
              </p:cNvPr>
              <p:cNvSpPr>
                <a:spLocks noChangeAspect="1" noEditPoints="1"/>
              </p:cNvSpPr>
              <p:nvPr/>
            </p:nvSpPr>
            <p:spPr bwMode="auto">
              <a:xfrm>
                <a:off x="290532" y="14443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16" name="Freeform 75">
                <a:extLst>
                  <a:ext uri="{FF2B5EF4-FFF2-40B4-BE49-F238E27FC236}">
                    <a16:creationId xmlns:a16="http://schemas.microsoft.com/office/drawing/2014/main" id="{AA68544D-750B-5146-8700-543832E0F38D}"/>
                  </a:ext>
                </a:extLst>
              </p:cNvPr>
              <p:cNvSpPr>
                <a:spLocks/>
              </p:cNvSpPr>
              <p:nvPr/>
            </p:nvSpPr>
            <p:spPr bwMode="auto">
              <a:xfrm>
                <a:off x="250747" y="15070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17" name="Freeform 594">
                <a:extLst>
                  <a:ext uri="{FF2B5EF4-FFF2-40B4-BE49-F238E27FC236}">
                    <a16:creationId xmlns:a16="http://schemas.microsoft.com/office/drawing/2014/main" id="{1171DEE4-2813-4C4A-AF44-E2775AEB3496}"/>
                  </a:ext>
                </a:extLst>
              </p:cNvPr>
              <p:cNvSpPr>
                <a:spLocks noChangeAspect="1" noEditPoints="1"/>
              </p:cNvSpPr>
              <p:nvPr/>
            </p:nvSpPr>
            <p:spPr bwMode="auto">
              <a:xfrm>
                <a:off x="442932" y="15967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18" name="Freeform 75">
                <a:extLst>
                  <a:ext uri="{FF2B5EF4-FFF2-40B4-BE49-F238E27FC236}">
                    <a16:creationId xmlns:a16="http://schemas.microsoft.com/office/drawing/2014/main" id="{9D97ACE6-3D97-8A49-9879-876D394637F0}"/>
                  </a:ext>
                </a:extLst>
              </p:cNvPr>
              <p:cNvSpPr>
                <a:spLocks/>
              </p:cNvSpPr>
              <p:nvPr/>
            </p:nvSpPr>
            <p:spPr bwMode="auto">
              <a:xfrm>
                <a:off x="403147" y="16594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19" name="Freeform 594">
                <a:extLst>
                  <a:ext uri="{FF2B5EF4-FFF2-40B4-BE49-F238E27FC236}">
                    <a16:creationId xmlns:a16="http://schemas.microsoft.com/office/drawing/2014/main" id="{15FE5356-320C-DC41-B676-5CEF42537766}"/>
                  </a:ext>
                </a:extLst>
              </p:cNvPr>
              <p:cNvSpPr>
                <a:spLocks noChangeAspect="1" noEditPoints="1"/>
              </p:cNvSpPr>
              <p:nvPr/>
            </p:nvSpPr>
            <p:spPr bwMode="auto">
              <a:xfrm>
                <a:off x="595332" y="17491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20" name="Freeform 75">
                <a:extLst>
                  <a:ext uri="{FF2B5EF4-FFF2-40B4-BE49-F238E27FC236}">
                    <a16:creationId xmlns:a16="http://schemas.microsoft.com/office/drawing/2014/main" id="{A36F577C-8BFA-A743-9155-F84B9FEA53AD}"/>
                  </a:ext>
                </a:extLst>
              </p:cNvPr>
              <p:cNvSpPr>
                <a:spLocks/>
              </p:cNvSpPr>
              <p:nvPr/>
            </p:nvSpPr>
            <p:spPr bwMode="auto">
              <a:xfrm>
                <a:off x="555547" y="18118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21" name="Freeform 594">
                <a:extLst>
                  <a:ext uri="{FF2B5EF4-FFF2-40B4-BE49-F238E27FC236}">
                    <a16:creationId xmlns:a16="http://schemas.microsoft.com/office/drawing/2014/main" id="{D239A9F5-B18A-BE4B-A6CE-D4149ACCFFDC}"/>
                  </a:ext>
                </a:extLst>
              </p:cNvPr>
              <p:cNvSpPr>
                <a:spLocks noChangeAspect="1" noEditPoints="1"/>
              </p:cNvSpPr>
              <p:nvPr/>
            </p:nvSpPr>
            <p:spPr bwMode="auto">
              <a:xfrm>
                <a:off x="747732" y="19015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22" name="Freeform 75">
                <a:extLst>
                  <a:ext uri="{FF2B5EF4-FFF2-40B4-BE49-F238E27FC236}">
                    <a16:creationId xmlns:a16="http://schemas.microsoft.com/office/drawing/2014/main" id="{561ED70A-52D5-724C-AF6E-BDC8067DBE31}"/>
                  </a:ext>
                </a:extLst>
              </p:cNvPr>
              <p:cNvSpPr>
                <a:spLocks/>
              </p:cNvSpPr>
              <p:nvPr/>
            </p:nvSpPr>
            <p:spPr bwMode="auto">
              <a:xfrm>
                <a:off x="707947" y="19642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grpSp>
        <p:grpSp>
          <p:nvGrpSpPr>
            <p:cNvPr id="491" name="Group 490">
              <a:extLst>
                <a:ext uri="{FF2B5EF4-FFF2-40B4-BE49-F238E27FC236}">
                  <a16:creationId xmlns:a16="http://schemas.microsoft.com/office/drawing/2014/main" id="{C619F1EE-BA00-274D-8760-87539F6C0664}"/>
                </a:ext>
              </a:extLst>
            </p:cNvPr>
            <p:cNvGrpSpPr/>
            <p:nvPr/>
          </p:nvGrpSpPr>
          <p:grpSpPr>
            <a:xfrm>
              <a:off x="3218065" y="1506299"/>
              <a:ext cx="852447" cy="793611"/>
              <a:chOff x="98347" y="1291990"/>
              <a:chExt cx="852447" cy="793611"/>
            </a:xfrm>
          </p:grpSpPr>
          <p:sp>
            <p:nvSpPr>
              <p:cNvPr id="503" name="Freeform 594">
                <a:extLst>
                  <a:ext uri="{FF2B5EF4-FFF2-40B4-BE49-F238E27FC236}">
                    <a16:creationId xmlns:a16="http://schemas.microsoft.com/office/drawing/2014/main" id="{EBD8BB1F-776D-524E-82A0-70B76F660EDF}"/>
                  </a:ext>
                </a:extLst>
              </p:cNvPr>
              <p:cNvSpPr>
                <a:spLocks noChangeAspect="1" noEditPoints="1"/>
              </p:cNvSpPr>
              <p:nvPr/>
            </p:nvSpPr>
            <p:spPr bwMode="auto">
              <a:xfrm>
                <a:off x="138132" y="12919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04" name="Freeform 75">
                <a:extLst>
                  <a:ext uri="{FF2B5EF4-FFF2-40B4-BE49-F238E27FC236}">
                    <a16:creationId xmlns:a16="http://schemas.microsoft.com/office/drawing/2014/main" id="{355EF5B9-9CD2-1C41-BC20-E5378BEBCC6E}"/>
                  </a:ext>
                </a:extLst>
              </p:cNvPr>
              <p:cNvSpPr>
                <a:spLocks/>
              </p:cNvSpPr>
              <p:nvPr/>
            </p:nvSpPr>
            <p:spPr bwMode="auto">
              <a:xfrm>
                <a:off x="98347" y="13546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05" name="Freeform 594">
                <a:extLst>
                  <a:ext uri="{FF2B5EF4-FFF2-40B4-BE49-F238E27FC236}">
                    <a16:creationId xmlns:a16="http://schemas.microsoft.com/office/drawing/2014/main" id="{43AB88A9-2CC4-2A4B-BE0F-BB6C54397502}"/>
                  </a:ext>
                </a:extLst>
              </p:cNvPr>
              <p:cNvSpPr>
                <a:spLocks noChangeAspect="1" noEditPoints="1"/>
              </p:cNvSpPr>
              <p:nvPr/>
            </p:nvSpPr>
            <p:spPr bwMode="auto">
              <a:xfrm>
                <a:off x="290532" y="14443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06" name="Freeform 75">
                <a:extLst>
                  <a:ext uri="{FF2B5EF4-FFF2-40B4-BE49-F238E27FC236}">
                    <a16:creationId xmlns:a16="http://schemas.microsoft.com/office/drawing/2014/main" id="{02685579-59D1-B64E-8E7F-C2CA4DC3AFD9}"/>
                  </a:ext>
                </a:extLst>
              </p:cNvPr>
              <p:cNvSpPr>
                <a:spLocks/>
              </p:cNvSpPr>
              <p:nvPr/>
            </p:nvSpPr>
            <p:spPr bwMode="auto">
              <a:xfrm>
                <a:off x="250747" y="15070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07" name="Freeform 594">
                <a:extLst>
                  <a:ext uri="{FF2B5EF4-FFF2-40B4-BE49-F238E27FC236}">
                    <a16:creationId xmlns:a16="http://schemas.microsoft.com/office/drawing/2014/main" id="{F9139EA4-825B-674A-948B-003D6753BBA0}"/>
                  </a:ext>
                </a:extLst>
              </p:cNvPr>
              <p:cNvSpPr>
                <a:spLocks noChangeAspect="1" noEditPoints="1"/>
              </p:cNvSpPr>
              <p:nvPr/>
            </p:nvSpPr>
            <p:spPr bwMode="auto">
              <a:xfrm>
                <a:off x="442932" y="15967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08" name="Freeform 75">
                <a:extLst>
                  <a:ext uri="{FF2B5EF4-FFF2-40B4-BE49-F238E27FC236}">
                    <a16:creationId xmlns:a16="http://schemas.microsoft.com/office/drawing/2014/main" id="{F76C4100-B5E9-A348-B0ED-1F277F9C6F54}"/>
                  </a:ext>
                </a:extLst>
              </p:cNvPr>
              <p:cNvSpPr>
                <a:spLocks/>
              </p:cNvSpPr>
              <p:nvPr/>
            </p:nvSpPr>
            <p:spPr bwMode="auto">
              <a:xfrm>
                <a:off x="403147" y="16594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09" name="Freeform 594">
                <a:extLst>
                  <a:ext uri="{FF2B5EF4-FFF2-40B4-BE49-F238E27FC236}">
                    <a16:creationId xmlns:a16="http://schemas.microsoft.com/office/drawing/2014/main" id="{E5D2664A-1D46-8D4F-834F-1177D53F77E0}"/>
                  </a:ext>
                </a:extLst>
              </p:cNvPr>
              <p:cNvSpPr>
                <a:spLocks noChangeAspect="1" noEditPoints="1"/>
              </p:cNvSpPr>
              <p:nvPr/>
            </p:nvSpPr>
            <p:spPr bwMode="auto">
              <a:xfrm>
                <a:off x="595332" y="17491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10" name="Freeform 75">
                <a:extLst>
                  <a:ext uri="{FF2B5EF4-FFF2-40B4-BE49-F238E27FC236}">
                    <a16:creationId xmlns:a16="http://schemas.microsoft.com/office/drawing/2014/main" id="{122AB421-0DE1-2B46-AD63-1C9F97753758}"/>
                  </a:ext>
                </a:extLst>
              </p:cNvPr>
              <p:cNvSpPr>
                <a:spLocks/>
              </p:cNvSpPr>
              <p:nvPr/>
            </p:nvSpPr>
            <p:spPr bwMode="auto">
              <a:xfrm>
                <a:off x="555547" y="18118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11" name="Freeform 594">
                <a:extLst>
                  <a:ext uri="{FF2B5EF4-FFF2-40B4-BE49-F238E27FC236}">
                    <a16:creationId xmlns:a16="http://schemas.microsoft.com/office/drawing/2014/main" id="{D71B1B8E-02A5-8145-8DCF-C3857D98213F}"/>
                  </a:ext>
                </a:extLst>
              </p:cNvPr>
              <p:cNvSpPr>
                <a:spLocks noChangeAspect="1" noEditPoints="1"/>
              </p:cNvSpPr>
              <p:nvPr/>
            </p:nvSpPr>
            <p:spPr bwMode="auto">
              <a:xfrm>
                <a:off x="747732" y="19015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12" name="Freeform 75">
                <a:extLst>
                  <a:ext uri="{FF2B5EF4-FFF2-40B4-BE49-F238E27FC236}">
                    <a16:creationId xmlns:a16="http://schemas.microsoft.com/office/drawing/2014/main" id="{0502B9C6-5E56-2045-8937-2814489C0B79}"/>
                  </a:ext>
                </a:extLst>
              </p:cNvPr>
              <p:cNvSpPr>
                <a:spLocks/>
              </p:cNvSpPr>
              <p:nvPr/>
            </p:nvSpPr>
            <p:spPr bwMode="auto">
              <a:xfrm>
                <a:off x="707947" y="19642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grpSp>
        <p:grpSp>
          <p:nvGrpSpPr>
            <p:cNvPr id="492" name="Group 491">
              <a:extLst>
                <a:ext uri="{FF2B5EF4-FFF2-40B4-BE49-F238E27FC236}">
                  <a16:creationId xmlns:a16="http://schemas.microsoft.com/office/drawing/2014/main" id="{FD6D692C-1A2C-B845-BA4C-32D32227D22A}"/>
                </a:ext>
              </a:extLst>
            </p:cNvPr>
            <p:cNvGrpSpPr/>
            <p:nvPr/>
          </p:nvGrpSpPr>
          <p:grpSpPr>
            <a:xfrm>
              <a:off x="3465222" y="1428605"/>
              <a:ext cx="852447" cy="793611"/>
              <a:chOff x="98347" y="1291990"/>
              <a:chExt cx="852447" cy="793611"/>
            </a:xfrm>
          </p:grpSpPr>
          <p:sp>
            <p:nvSpPr>
              <p:cNvPr id="493" name="Freeform 594">
                <a:extLst>
                  <a:ext uri="{FF2B5EF4-FFF2-40B4-BE49-F238E27FC236}">
                    <a16:creationId xmlns:a16="http://schemas.microsoft.com/office/drawing/2014/main" id="{A11159C1-DD1B-D546-A594-0CBE85E89DD6}"/>
                  </a:ext>
                </a:extLst>
              </p:cNvPr>
              <p:cNvSpPr>
                <a:spLocks noChangeAspect="1" noEditPoints="1"/>
              </p:cNvSpPr>
              <p:nvPr/>
            </p:nvSpPr>
            <p:spPr bwMode="auto">
              <a:xfrm>
                <a:off x="138132" y="12919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494" name="Freeform 75">
                <a:extLst>
                  <a:ext uri="{FF2B5EF4-FFF2-40B4-BE49-F238E27FC236}">
                    <a16:creationId xmlns:a16="http://schemas.microsoft.com/office/drawing/2014/main" id="{5ED3E37C-047D-4645-BAF9-6709E5C75884}"/>
                  </a:ext>
                </a:extLst>
              </p:cNvPr>
              <p:cNvSpPr>
                <a:spLocks/>
              </p:cNvSpPr>
              <p:nvPr/>
            </p:nvSpPr>
            <p:spPr bwMode="auto">
              <a:xfrm>
                <a:off x="98347" y="13546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495" name="Freeform 594">
                <a:extLst>
                  <a:ext uri="{FF2B5EF4-FFF2-40B4-BE49-F238E27FC236}">
                    <a16:creationId xmlns:a16="http://schemas.microsoft.com/office/drawing/2014/main" id="{66854AA6-917A-6B45-B262-D00C6810A4C8}"/>
                  </a:ext>
                </a:extLst>
              </p:cNvPr>
              <p:cNvSpPr>
                <a:spLocks noChangeAspect="1" noEditPoints="1"/>
              </p:cNvSpPr>
              <p:nvPr/>
            </p:nvSpPr>
            <p:spPr bwMode="auto">
              <a:xfrm>
                <a:off x="290532" y="14443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496" name="Freeform 75">
                <a:extLst>
                  <a:ext uri="{FF2B5EF4-FFF2-40B4-BE49-F238E27FC236}">
                    <a16:creationId xmlns:a16="http://schemas.microsoft.com/office/drawing/2014/main" id="{C90B9443-9FDB-2043-9527-3011D818C383}"/>
                  </a:ext>
                </a:extLst>
              </p:cNvPr>
              <p:cNvSpPr>
                <a:spLocks/>
              </p:cNvSpPr>
              <p:nvPr/>
            </p:nvSpPr>
            <p:spPr bwMode="auto">
              <a:xfrm>
                <a:off x="250747" y="15070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497" name="Freeform 594">
                <a:extLst>
                  <a:ext uri="{FF2B5EF4-FFF2-40B4-BE49-F238E27FC236}">
                    <a16:creationId xmlns:a16="http://schemas.microsoft.com/office/drawing/2014/main" id="{BC4AD741-E88C-FE42-B3F1-3D810EB12133}"/>
                  </a:ext>
                </a:extLst>
              </p:cNvPr>
              <p:cNvSpPr>
                <a:spLocks noChangeAspect="1" noEditPoints="1"/>
              </p:cNvSpPr>
              <p:nvPr/>
            </p:nvSpPr>
            <p:spPr bwMode="auto">
              <a:xfrm>
                <a:off x="442932" y="15967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498" name="Freeform 75">
                <a:extLst>
                  <a:ext uri="{FF2B5EF4-FFF2-40B4-BE49-F238E27FC236}">
                    <a16:creationId xmlns:a16="http://schemas.microsoft.com/office/drawing/2014/main" id="{46DC9216-0A81-684B-BA3C-3E74EB1B77E6}"/>
                  </a:ext>
                </a:extLst>
              </p:cNvPr>
              <p:cNvSpPr>
                <a:spLocks/>
              </p:cNvSpPr>
              <p:nvPr/>
            </p:nvSpPr>
            <p:spPr bwMode="auto">
              <a:xfrm>
                <a:off x="403147" y="16594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499" name="Freeform 594">
                <a:extLst>
                  <a:ext uri="{FF2B5EF4-FFF2-40B4-BE49-F238E27FC236}">
                    <a16:creationId xmlns:a16="http://schemas.microsoft.com/office/drawing/2014/main" id="{24DD5227-E3DC-224B-A2B5-71BCA35C5063}"/>
                  </a:ext>
                </a:extLst>
              </p:cNvPr>
              <p:cNvSpPr>
                <a:spLocks noChangeAspect="1" noEditPoints="1"/>
              </p:cNvSpPr>
              <p:nvPr/>
            </p:nvSpPr>
            <p:spPr bwMode="auto">
              <a:xfrm>
                <a:off x="595332" y="17491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00" name="Freeform 75">
                <a:extLst>
                  <a:ext uri="{FF2B5EF4-FFF2-40B4-BE49-F238E27FC236}">
                    <a16:creationId xmlns:a16="http://schemas.microsoft.com/office/drawing/2014/main" id="{1CE0989E-B947-F341-B42B-AD9DD3ADC8C6}"/>
                  </a:ext>
                </a:extLst>
              </p:cNvPr>
              <p:cNvSpPr>
                <a:spLocks/>
              </p:cNvSpPr>
              <p:nvPr/>
            </p:nvSpPr>
            <p:spPr bwMode="auto">
              <a:xfrm>
                <a:off x="555547" y="18118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01" name="Freeform 594">
                <a:extLst>
                  <a:ext uri="{FF2B5EF4-FFF2-40B4-BE49-F238E27FC236}">
                    <a16:creationId xmlns:a16="http://schemas.microsoft.com/office/drawing/2014/main" id="{0288B87C-EBC3-344E-B3FB-5D20A863F25B}"/>
                  </a:ext>
                </a:extLst>
              </p:cNvPr>
              <p:cNvSpPr>
                <a:spLocks noChangeAspect="1" noEditPoints="1"/>
              </p:cNvSpPr>
              <p:nvPr/>
            </p:nvSpPr>
            <p:spPr bwMode="auto">
              <a:xfrm>
                <a:off x="747732" y="1901590"/>
                <a:ext cx="162620" cy="165263"/>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502" name="Freeform 75">
                <a:extLst>
                  <a:ext uri="{FF2B5EF4-FFF2-40B4-BE49-F238E27FC236}">
                    <a16:creationId xmlns:a16="http://schemas.microsoft.com/office/drawing/2014/main" id="{4FBCE28C-DC08-2543-BE94-49675BEB2073}"/>
                  </a:ext>
                </a:extLst>
              </p:cNvPr>
              <p:cNvSpPr>
                <a:spLocks/>
              </p:cNvSpPr>
              <p:nvPr/>
            </p:nvSpPr>
            <p:spPr bwMode="auto">
              <a:xfrm>
                <a:off x="707947" y="1964279"/>
                <a:ext cx="242847" cy="121322"/>
              </a:xfrm>
              <a:custGeom>
                <a:avLst/>
                <a:gdLst>
                  <a:gd name="connsiteX0" fmla="*/ 365522 w 601852"/>
                  <a:gd name="connsiteY0" fmla="*/ 0 h 294821"/>
                  <a:gd name="connsiteX1" fmla="*/ 438692 w 601852"/>
                  <a:gd name="connsiteY1" fmla="*/ 0 h 294821"/>
                  <a:gd name="connsiteX2" fmla="*/ 503578 w 601852"/>
                  <a:gd name="connsiteY2" fmla="*/ 65128 h 294821"/>
                  <a:gd name="connsiteX3" fmla="*/ 495986 w 601852"/>
                  <a:gd name="connsiteY3" fmla="*/ 83557 h 294821"/>
                  <a:gd name="connsiteX4" fmla="*/ 519249 w 601852"/>
                  <a:gd name="connsiteY4" fmla="*/ 88250 h 294821"/>
                  <a:gd name="connsiteX5" fmla="*/ 558821 w 601852"/>
                  <a:gd name="connsiteY5" fmla="*/ 148101 h 294821"/>
                  <a:gd name="connsiteX6" fmla="*/ 549994 w 601852"/>
                  <a:gd name="connsiteY6" fmla="*/ 168922 h 294821"/>
                  <a:gd name="connsiteX7" fmla="*/ 562252 w 601852"/>
                  <a:gd name="connsiteY7" fmla="*/ 171383 h 294821"/>
                  <a:gd name="connsiteX8" fmla="*/ 601852 w 601852"/>
                  <a:gd name="connsiteY8" fmla="*/ 229874 h 294821"/>
                  <a:gd name="connsiteX9" fmla="*/ 536974 w 601852"/>
                  <a:gd name="connsiteY9" fmla="*/ 294821 h 294821"/>
                  <a:gd name="connsiteX10" fmla="*/ 64878 w 601852"/>
                  <a:gd name="connsiteY10" fmla="*/ 294821 h 294821"/>
                  <a:gd name="connsiteX11" fmla="*/ 0 w 601852"/>
                  <a:gd name="connsiteY11" fmla="*/ 229874 h 294821"/>
                  <a:gd name="connsiteX12" fmla="*/ 64878 w 601852"/>
                  <a:gd name="connsiteY12" fmla="*/ 166309 h 294821"/>
                  <a:gd name="connsiteX13" fmla="*/ 140231 w 601852"/>
                  <a:gd name="connsiteY13" fmla="*/ 166309 h 294821"/>
                  <a:gd name="connsiteX14" fmla="*/ 132582 w 601852"/>
                  <a:gd name="connsiteY14" fmla="*/ 148101 h 294821"/>
                  <a:gd name="connsiteX15" fmla="*/ 196035 w 601852"/>
                  <a:gd name="connsiteY15" fmla="*/ 83154 h 294821"/>
                  <a:gd name="connsiteX16" fmla="*/ 294383 w 601852"/>
                  <a:gd name="connsiteY16" fmla="*/ 83154 h 294821"/>
                  <a:gd name="connsiteX17" fmla="*/ 308062 w 601852"/>
                  <a:gd name="connsiteY17" fmla="*/ 83154 h 294821"/>
                  <a:gd name="connsiteX18" fmla="*/ 300635 w 601852"/>
                  <a:gd name="connsiteY18" fmla="*/ 65128 h 294821"/>
                  <a:gd name="connsiteX19" fmla="*/ 365522 w 601852"/>
                  <a:gd name="connsiteY19" fmla="*/ 0 h 29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1852" h="294821">
                    <a:moveTo>
                      <a:pt x="365522" y="0"/>
                    </a:moveTo>
                    <a:cubicBezTo>
                      <a:pt x="438692" y="0"/>
                      <a:pt x="438692" y="0"/>
                      <a:pt x="438692" y="0"/>
                    </a:cubicBezTo>
                    <a:cubicBezTo>
                      <a:pt x="474586" y="0"/>
                      <a:pt x="503578" y="29100"/>
                      <a:pt x="503578" y="65128"/>
                    </a:cubicBezTo>
                    <a:lnTo>
                      <a:pt x="495986" y="83557"/>
                    </a:lnTo>
                    <a:lnTo>
                      <a:pt x="519249" y="88250"/>
                    </a:lnTo>
                    <a:cubicBezTo>
                      <a:pt x="542527" y="98095"/>
                      <a:pt x="558821" y="121155"/>
                      <a:pt x="558821" y="148101"/>
                    </a:cubicBezTo>
                    <a:lnTo>
                      <a:pt x="549994" y="168922"/>
                    </a:lnTo>
                    <a:lnTo>
                      <a:pt x="562252" y="171383"/>
                    </a:lnTo>
                    <a:cubicBezTo>
                      <a:pt x="585546" y="181164"/>
                      <a:pt x="601852" y="203964"/>
                      <a:pt x="601852" y="229874"/>
                    </a:cubicBezTo>
                    <a:cubicBezTo>
                      <a:pt x="601852" y="265802"/>
                      <a:pt x="572864" y="294821"/>
                      <a:pt x="536974" y="294821"/>
                    </a:cubicBezTo>
                    <a:cubicBezTo>
                      <a:pt x="64878" y="294821"/>
                      <a:pt x="64878" y="294821"/>
                      <a:pt x="64878" y="294821"/>
                    </a:cubicBezTo>
                    <a:cubicBezTo>
                      <a:pt x="28988" y="294821"/>
                      <a:pt x="0" y="265802"/>
                      <a:pt x="0" y="229874"/>
                    </a:cubicBezTo>
                    <a:cubicBezTo>
                      <a:pt x="0" y="195328"/>
                      <a:pt x="28988" y="166309"/>
                      <a:pt x="64878" y="166309"/>
                    </a:cubicBezTo>
                    <a:lnTo>
                      <a:pt x="140231" y="166309"/>
                    </a:lnTo>
                    <a:lnTo>
                      <a:pt x="132582" y="148101"/>
                    </a:lnTo>
                    <a:cubicBezTo>
                      <a:pt x="132582" y="112173"/>
                      <a:pt x="161549" y="83154"/>
                      <a:pt x="196035" y="83154"/>
                    </a:cubicBezTo>
                    <a:cubicBezTo>
                      <a:pt x="233279" y="83154"/>
                      <a:pt x="265868" y="83154"/>
                      <a:pt x="294383" y="83154"/>
                    </a:cubicBezTo>
                    <a:lnTo>
                      <a:pt x="308062" y="83154"/>
                    </a:lnTo>
                    <a:lnTo>
                      <a:pt x="300635" y="65128"/>
                    </a:lnTo>
                    <a:cubicBezTo>
                      <a:pt x="300635" y="29100"/>
                      <a:pt x="329627" y="0"/>
                      <a:pt x="365522" y="0"/>
                    </a:cubicBezTo>
                    <a:close/>
                  </a:path>
                </a:pathLst>
              </a:custGeom>
              <a:solidFill>
                <a:srgbClr val="FFFFFF"/>
              </a:solidFill>
              <a:ln w="6350">
                <a:solidFill>
                  <a:srgbClr val="00BCEB"/>
                </a:solidFill>
              </a:ln>
            </p:spPr>
            <p:txBody>
              <a:bodyPr vert="horz" wrap="square" lIns="121920" tIns="60960" rIns="121920" bIns="60960" numCol="1" anchor="t" anchorCtr="0" compatLnSpc="1">
                <a:prstTxWarp prst="textNoShape">
                  <a:avLst/>
                </a:prstTxWarp>
                <a:noAutofit/>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grpSp>
      </p:grpSp>
      <p:sp>
        <p:nvSpPr>
          <p:cNvPr id="725" name="TextBox 724">
            <a:extLst>
              <a:ext uri="{FF2B5EF4-FFF2-40B4-BE49-F238E27FC236}">
                <a16:creationId xmlns:a16="http://schemas.microsoft.com/office/drawing/2014/main" id="{9BCEA76D-1163-6D41-B2AA-18711B7FFDD7}"/>
              </a:ext>
            </a:extLst>
          </p:cNvPr>
          <p:cNvSpPr txBox="1"/>
          <p:nvPr/>
        </p:nvSpPr>
        <p:spPr>
          <a:xfrm>
            <a:off x="9367406" y="4931176"/>
            <a:ext cx="1522885" cy="769634"/>
          </a:xfrm>
          <a:prstGeom prst="rect">
            <a:avLst/>
          </a:prstGeom>
          <a:noFill/>
        </p:spPr>
        <p:txBody>
          <a:bodyPr wrap="square" rtlCol="0">
            <a:spAutoFit/>
          </a:bodyPr>
          <a:lstStyle/>
          <a:p>
            <a:pPr algn="ctr" defTabSz="609555" fontAlgn="base">
              <a:spcBef>
                <a:spcPct val="0"/>
              </a:spcBef>
              <a:spcAft>
                <a:spcPct val="0"/>
              </a:spcAft>
              <a:defRPr/>
            </a:pPr>
            <a:r>
              <a:rPr lang="en-US" sz="1467" dirty="0">
                <a:solidFill>
                  <a:srgbClr val="282828"/>
                </a:solidFill>
                <a:latin typeface="CiscoSansTT ExtraLight"/>
                <a:ea typeface="ＭＳ Ｐゴシック" charset="0"/>
                <a:cs typeface="Arial"/>
                <a:sym typeface="Arial"/>
              </a:rPr>
              <a:t>Server with sensitive employee data</a:t>
            </a:r>
          </a:p>
        </p:txBody>
      </p:sp>
      <p:cxnSp>
        <p:nvCxnSpPr>
          <p:cNvPr id="726" name="Straight Connector 725">
            <a:extLst>
              <a:ext uri="{FF2B5EF4-FFF2-40B4-BE49-F238E27FC236}">
                <a16:creationId xmlns:a16="http://schemas.microsoft.com/office/drawing/2014/main" id="{E9BAE9A5-89E2-8442-9E5C-8B9A259A8712}"/>
              </a:ext>
            </a:extLst>
          </p:cNvPr>
          <p:cNvCxnSpPr>
            <a:cxnSpLocks/>
          </p:cNvCxnSpPr>
          <p:nvPr/>
        </p:nvCxnSpPr>
        <p:spPr>
          <a:xfrm flipH="1">
            <a:off x="6793136" y="4374921"/>
            <a:ext cx="2438400" cy="0"/>
          </a:xfrm>
          <a:prstGeom prst="line">
            <a:avLst/>
          </a:prstGeom>
          <a:noFill/>
          <a:ln w="19050" cap="flat" cmpd="sng" algn="ctr">
            <a:solidFill>
              <a:srgbClr val="E3241B"/>
            </a:solidFill>
            <a:prstDash val="dash"/>
            <a:headEnd type="arrow" w="med" len="med"/>
            <a:tailEnd type="none" w="med" len="med"/>
          </a:ln>
          <a:effectLst/>
        </p:spPr>
      </p:cxnSp>
      <p:cxnSp>
        <p:nvCxnSpPr>
          <p:cNvPr id="727" name="Straight Connector 726">
            <a:extLst>
              <a:ext uri="{FF2B5EF4-FFF2-40B4-BE49-F238E27FC236}">
                <a16:creationId xmlns:a16="http://schemas.microsoft.com/office/drawing/2014/main" id="{CD657B99-122A-014E-B306-97CA8A4C02DB}"/>
              </a:ext>
            </a:extLst>
          </p:cNvPr>
          <p:cNvCxnSpPr>
            <a:cxnSpLocks/>
          </p:cNvCxnSpPr>
          <p:nvPr/>
        </p:nvCxnSpPr>
        <p:spPr>
          <a:xfrm flipH="1">
            <a:off x="6793136" y="4121111"/>
            <a:ext cx="2438400" cy="0"/>
          </a:xfrm>
          <a:prstGeom prst="line">
            <a:avLst/>
          </a:prstGeom>
          <a:noFill/>
          <a:ln w="19050" cap="flat" cmpd="sng" algn="ctr">
            <a:solidFill>
              <a:srgbClr val="FBAB18"/>
            </a:solidFill>
            <a:prstDash val="dash"/>
            <a:headEnd type="none" w="med" len="med"/>
            <a:tailEnd type="arrow" w="med" len="med"/>
          </a:ln>
          <a:effectLst/>
        </p:spPr>
      </p:cxnSp>
      <p:sp>
        <p:nvSpPr>
          <p:cNvPr id="728" name="TextBox 727">
            <a:extLst>
              <a:ext uri="{FF2B5EF4-FFF2-40B4-BE49-F238E27FC236}">
                <a16:creationId xmlns:a16="http://schemas.microsoft.com/office/drawing/2014/main" id="{835529A0-D713-D44E-B974-E3768799533E}"/>
              </a:ext>
            </a:extLst>
          </p:cNvPr>
          <p:cNvSpPr txBox="1"/>
          <p:nvPr/>
        </p:nvSpPr>
        <p:spPr>
          <a:xfrm>
            <a:off x="7320695" y="4485105"/>
            <a:ext cx="1329210" cy="256545"/>
          </a:xfrm>
          <a:prstGeom prst="rect">
            <a:avLst/>
          </a:prstGeom>
          <a:noFill/>
        </p:spPr>
        <p:txBody>
          <a:bodyPr wrap="none" rtlCol="0">
            <a:spAutoFit/>
          </a:bodyPr>
          <a:lstStyle/>
          <a:p>
            <a:pPr defTabSz="609555" fontAlgn="base">
              <a:spcBef>
                <a:spcPct val="0"/>
              </a:spcBef>
              <a:spcAft>
                <a:spcPct val="0"/>
              </a:spcAft>
              <a:defRPr/>
            </a:pPr>
            <a:r>
              <a:rPr lang="en-US" sz="1067">
                <a:solidFill>
                  <a:srgbClr val="676767"/>
                </a:solidFill>
                <a:latin typeface="CiscoSansTT ExtraLight"/>
                <a:ea typeface="ＭＳ Ｐゴシック" charset="0"/>
                <a:cs typeface="Arial"/>
                <a:sym typeface="Arial"/>
              </a:rPr>
              <a:t>10110101101011</a:t>
            </a:r>
          </a:p>
        </p:txBody>
      </p:sp>
      <p:sp>
        <p:nvSpPr>
          <p:cNvPr id="729" name="TextBox 728">
            <a:extLst>
              <a:ext uri="{FF2B5EF4-FFF2-40B4-BE49-F238E27FC236}">
                <a16:creationId xmlns:a16="http://schemas.microsoft.com/office/drawing/2014/main" id="{3BEC2E0A-65CB-AD45-84B0-8ECE496719EC}"/>
              </a:ext>
            </a:extLst>
          </p:cNvPr>
          <p:cNvSpPr txBox="1"/>
          <p:nvPr/>
        </p:nvSpPr>
        <p:spPr>
          <a:xfrm>
            <a:off x="7215515" y="4676801"/>
            <a:ext cx="1593643" cy="543867"/>
          </a:xfrm>
          <a:prstGeom prst="rect">
            <a:avLst/>
          </a:prstGeom>
          <a:noFill/>
        </p:spPr>
        <p:txBody>
          <a:bodyPr wrap="square" rtlCol="0">
            <a:spAutoFit/>
          </a:bodyPr>
          <a:lstStyle/>
          <a:p>
            <a:pPr algn="ctr" defTabSz="609555" fontAlgn="base">
              <a:spcBef>
                <a:spcPct val="0"/>
              </a:spcBef>
              <a:spcAft>
                <a:spcPct val="0"/>
              </a:spcAft>
              <a:defRPr/>
            </a:pPr>
            <a:r>
              <a:rPr lang="en-US" sz="1467" dirty="0">
                <a:solidFill>
                  <a:srgbClr val="282828"/>
                </a:solidFill>
                <a:latin typeface="CiscoSansTT ExtraLight"/>
                <a:ea typeface="ＭＳ Ｐゴシック" charset="0"/>
                <a:cs typeface="Arial"/>
                <a:sym typeface="Arial"/>
              </a:rPr>
              <a:t>Pinpoint lateral communication</a:t>
            </a:r>
          </a:p>
        </p:txBody>
      </p:sp>
      <p:grpSp>
        <p:nvGrpSpPr>
          <p:cNvPr id="730" name="Group 729">
            <a:extLst>
              <a:ext uri="{FF2B5EF4-FFF2-40B4-BE49-F238E27FC236}">
                <a16:creationId xmlns:a16="http://schemas.microsoft.com/office/drawing/2014/main" id="{7DE71FA4-4866-8B44-97F9-C950DBB0246E}"/>
              </a:ext>
            </a:extLst>
          </p:cNvPr>
          <p:cNvGrpSpPr>
            <a:grpSpLocks noChangeAspect="1"/>
          </p:cNvGrpSpPr>
          <p:nvPr/>
        </p:nvGrpSpPr>
        <p:grpSpPr>
          <a:xfrm>
            <a:off x="9517062" y="3757030"/>
            <a:ext cx="1224717" cy="1076908"/>
            <a:chOff x="6146801" y="2133602"/>
            <a:chExt cx="644525" cy="566738"/>
          </a:xfrm>
        </p:grpSpPr>
        <p:sp>
          <p:nvSpPr>
            <p:cNvPr id="731" name="Freeform 278">
              <a:extLst>
                <a:ext uri="{FF2B5EF4-FFF2-40B4-BE49-F238E27FC236}">
                  <a16:creationId xmlns:a16="http://schemas.microsoft.com/office/drawing/2014/main" id="{224D477F-4275-4E45-ACCE-8811898979E4}"/>
                </a:ext>
              </a:extLst>
            </p:cNvPr>
            <p:cNvSpPr>
              <a:spLocks/>
            </p:cNvSpPr>
            <p:nvPr/>
          </p:nvSpPr>
          <p:spPr bwMode="auto">
            <a:xfrm>
              <a:off x="6146801" y="2482852"/>
              <a:ext cx="644525" cy="103188"/>
            </a:xfrm>
            <a:custGeom>
              <a:avLst/>
              <a:gdLst>
                <a:gd name="T0" fmla="*/ 387 w 387"/>
                <a:gd name="T1" fmla="*/ 10 h 62"/>
                <a:gd name="T2" fmla="*/ 387 w 387"/>
                <a:gd name="T3" fmla="*/ 52 h 62"/>
                <a:gd name="T4" fmla="*/ 376 w 387"/>
                <a:gd name="T5" fmla="*/ 62 h 62"/>
                <a:gd name="T6" fmla="*/ 11 w 387"/>
                <a:gd name="T7" fmla="*/ 62 h 62"/>
                <a:gd name="T8" fmla="*/ 0 w 387"/>
                <a:gd name="T9" fmla="*/ 52 h 62"/>
                <a:gd name="T10" fmla="*/ 0 w 387"/>
                <a:gd name="T11" fmla="*/ 10 h 62"/>
                <a:gd name="T12" fmla="*/ 11 w 387"/>
                <a:gd name="T13" fmla="*/ 0 h 62"/>
                <a:gd name="T14" fmla="*/ 376 w 387"/>
                <a:gd name="T15" fmla="*/ 0 h 62"/>
                <a:gd name="T16" fmla="*/ 387 w 387"/>
                <a:gd name="T1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0"/>
                  </a:moveTo>
                  <a:cubicBezTo>
                    <a:pt x="387" y="52"/>
                    <a:pt x="387" y="52"/>
                    <a:pt x="387" y="52"/>
                  </a:cubicBezTo>
                  <a:cubicBezTo>
                    <a:pt x="387" y="57"/>
                    <a:pt x="382" y="62"/>
                    <a:pt x="376" y="62"/>
                  </a:cubicBezTo>
                  <a:cubicBezTo>
                    <a:pt x="11" y="62"/>
                    <a:pt x="11" y="62"/>
                    <a:pt x="11" y="62"/>
                  </a:cubicBezTo>
                  <a:cubicBezTo>
                    <a:pt x="5" y="62"/>
                    <a:pt x="0" y="57"/>
                    <a:pt x="0" y="52"/>
                  </a:cubicBezTo>
                  <a:cubicBezTo>
                    <a:pt x="0" y="10"/>
                    <a:pt x="0" y="10"/>
                    <a:pt x="0" y="10"/>
                  </a:cubicBezTo>
                  <a:cubicBezTo>
                    <a:pt x="0" y="5"/>
                    <a:pt x="5" y="0"/>
                    <a:pt x="11" y="0"/>
                  </a:cubicBezTo>
                  <a:cubicBezTo>
                    <a:pt x="376" y="0"/>
                    <a:pt x="376" y="0"/>
                    <a:pt x="376" y="0"/>
                  </a:cubicBezTo>
                  <a:cubicBezTo>
                    <a:pt x="382" y="0"/>
                    <a:pt x="387" y="5"/>
                    <a:pt x="387" y="10"/>
                  </a:cubicBezTo>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32" name="Line 279">
              <a:extLst>
                <a:ext uri="{FF2B5EF4-FFF2-40B4-BE49-F238E27FC236}">
                  <a16:creationId xmlns:a16="http://schemas.microsoft.com/office/drawing/2014/main" id="{B62C0AD9-CCF5-4441-9E81-19EEA288BBD5}"/>
                </a:ext>
              </a:extLst>
            </p:cNvPr>
            <p:cNvSpPr>
              <a:spLocks noChangeShapeType="1"/>
            </p:cNvSpPr>
            <p:nvPr/>
          </p:nvSpPr>
          <p:spPr bwMode="auto">
            <a:xfrm flipV="1">
              <a:off x="6176964" y="2508252"/>
              <a:ext cx="0" cy="50800"/>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33" name="Line 280">
              <a:extLst>
                <a:ext uri="{FF2B5EF4-FFF2-40B4-BE49-F238E27FC236}">
                  <a16:creationId xmlns:a16="http://schemas.microsoft.com/office/drawing/2014/main" id="{61FB58A3-BDD3-A041-9187-555AF682C74C}"/>
                </a:ext>
              </a:extLst>
            </p:cNvPr>
            <p:cNvSpPr>
              <a:spLocks noChangeShapeType="1"/>
            </p:cNvSpPr>
            <p:nvPr/>
          </p:nvSpPr>
          <p:spPr bwMode="auto">
            <a:xfrm flipV="1">
              <a:off x="6207126" y="2508252"/>
              <a:ext cx="0" cy="50800"/>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34" name="Line 281">
              <a:extLst>
                <a:ext uri="{FF2B5EF4-FFF2-40B4-BE49-F238E27FC236}">
                  <a16:creationId xmlns:a16="http://schemas.microsoft.com/office/drawing/2014/main" id="{C066BD8C-7635-A54A-B2EB-A4DAB2276444}"/>
                </a:ext>
              </a:extLst>
            </p:cNvPr>
            <p:cNvSpPr>
              <a:spLocks noChangeShapeType="1"/>
            </p:cNvSpPr>
            <p:nvPr/>
          </p:nvSpPr>
          <p:spPr bwMode="auto">
            <a:xfrm flipV="1">
              <a:off x="6238876" y="2508252"/>
              <a:ext cx="0" cy="50800"/>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35" name="Line 282">
              <a:extLst>
                <a:ext uri="{FF2B5EF4-FFF2-40B4-BE49-F238E27FC236}">
                  <a16:creationId xmlns:a16="http://schemas.microsoft.com/office/drawing/2014/main" id="{DC1D557B-AB98-E943-AB51-DAF1E5A46581}"/>
                </a:ext>
              </a:extLst>
            </p:cNvPr>
            <p:cNvSpPr>
              <a:spLocks noChangeShapeType="1"/>
            </p:cNvSpPr>
            <p:nvPr/>
          </p:nvSpPr>
          <p:spPr bwMode="auto">
            <a:xfrm flipV="1">
              <a:off x="6267451" y="2508252"/>
              <a:ext cx="0" cy="50800"/>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36" name="Line 283">
              <a:extLst>
                <a:ext uri="{FF2B5EF4-FFF2-40B4-BE49-F238E27FC236}">
                  <a16:creationId xmlns:a16="http://schemas.microsoft.com/office/drawing/2014/main" id="{E8C30EE3-F304-1A40-A46A-FF644F4B70B0}"/>
                </a:ext>
              </a:extLst>
            </p:cNvPr>
            <p:cNvSpPr>
              <a:spLocks noChangeShapeType="1"/>
            </p:cNvSpPr>
            <p:nvPr/>
          </p:nvSpPr>
          <p:spPr bwMode="auto">
            <a:xfrm flipV="1">
              <a:off x="6297614" y="2508252"/>
              <a:ext cx="0" cy="50800"/>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37" name="Freeform 284">
              <a:extLst>
                <a:ext uri="{FF2B5EF4-FFF2-40B4-BE49-F238E27FC236}">
                  <a16:creationId xmlns:a16="http://schemas.microsoft.com/office/drawing/2014/main" id="{66E63788-6B85-C448-86E4-062502F74F89}"/>
                </a:ext>
              </a:extLst>
            </p:cNvPr>
            <p:cNvSpPr>
              <a:spLocks/>
            </p:cNvSpPr>
            <p:nvPr/>
          </p:nvSpPr>
          <p:spPr bwMode="auto">
            <a:xfrm>
              <a:off x="6146801" y="2598740"/>
              <a:ext cx="644525" cy="101600"/>
            </a:xfrm>
            <a:custGeom>
              <a:avLst/>
              <a:gdLst>
                <a:gd name="T0" fmla="*/ 387 w 387"/>
                <a:gd name="T1" fmla="*/ 10 h 61"/>
                <a:gd name="T2" fmla="*/ 387 w 387"/>
                <a:gd name="T3" fmla="*/ 51 h 61"/>
                <a:gd name="T4" fmla="*/ 376 w 387"/>
                <a:gd name="T5" fmla="*/ 61 h 61"/>
                <a:gd name="T6" fmla="*/ 11 w 387"/>
                <a:gd name="T7" fmla="*/ 61 h 61"/>
                <a:gd name="T8" fmla="*/ 0 w 387"/>
                <a:gd name="T9" fmla="*/ 51 h 61"/>
                <a:gd name="T10" fmla="*/ 0 w 387"/>
                <a:gd name="T11" fmla="*/ 10 h 61"/>
                <a:gd name="T12" fmla="*/ 11 w 387"/>
                <a:gd name="T13" fmla="*/ 0 h 61"/>
                <a:gd name="T14" fmla="*/ 376 w 387"/>
                <a:gd name="T15" fmla="*/ 0 h 61"/>
                <a:gd name="T16" fmla="*/ 387 w 387"/>
                <a:gd name="T17"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1">
                  <a:moveTo>
                    <a:pt x="387" y="10"/>
                  </a:moveTo>
                  <a:cubicBezTo>
                    <a:pt x="387" y="51"/>
                    <a:pt x="387" y="51"/>
                    <a:pt x="387" y="51"/>
                  </a:cubicBezTo>
                  <a:cubicBezTo>
                    <a:pt x="387" y="57"/>
                    <a:pt x="382" y="61"/>
                    <a:pt x="376" y="61"/>
                  </a:cubicBezTo>
                  <a:cubicBezTo>
                    <a:pt x="11" y="61"/>
                    <a:pt x="11" y="61"/>
                    <a:pt x="11" y="61"/>
                  </a:cubicBezTo>
                  <a:cubicBezTo>
                    <a:pt x="5" y="61"/>
                    <a:pt x="0" y="57"/>
                    <a:pt x="0" y="51"/>
                  </a:cubicBezTo>
                  <a:cubicBezTo>
                    <a:pt x="0" y="10"/>
                    <a:pt x="0" y="10"/>
                    <a:pt x="0" y="10"/>
                  </a:cubicBezTo>
                  <a:cubicBezTo>
                    <a:pt x="0" y="4"/>
                    <a:pt x="5" y="0"/>
                    <a:pt x="11" y="0"/>
                  </a:cubicBezTo>
                  <a:cubicBezTo>
                    <a:pt x="376" y="0"/>
                    <a:pt x="376" y="0"/>
                    <a:pt x="376" y="0"/>
                  </a:cubicBezTo>
                  <a:cubicBezTo>
                    <a:pt x="382" y="0"/>
                    <a:pt x="387" y="4"/>
                    <a:pt x="387" y="10"/>
                  </a:cubicBezTo>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38" name="Line 285">
              <a:extLst>
                <a:ext uri="{FF2B5EF4-FFF2-40B4-BE49-F238E27FC236}">
                  <a16:creationId xmlns:a16="http://schemas.microsoft.com/office/drawing/2014/main" id="{31162306-D16F-8E4D-B48A-FE6ED26AB165}"/>
                </a:ext>
              </a:extLst>
            </p:cNvPr>
            <p:cNvSpPr>
              <a:spLocks noChangeShapeType="1"/>
            </p:cNvSpPr>
            <p:nvPr/>
          </p:nvSpPr>
          <p:spPr bwMode="auto">
            <a:xfrm flipV="1">
              <a:off x="6176964" y="2624140"/>
              <a:ext cx="0" cy="50800"/>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39" name="Line 286">
              <a:extLst>
                <a:ext uri="{FF2B5EF4-FFF2-40B4-BE49-F238E27FC236}">
                  <a16:creationId xmlns:a16="http://schemas.microsoft.com/office/drawing/2014/main" id="{74F1A8CC-6135-F249-B7B5-3D0B098F6FA6}"/>
                </a:ext>
              </a:extLst>
            </p:cNvPr>
            <p:cNvSpPr>
              <a:spLocks noChangeShapeType="1"/>
            </p:cNvSpPr>
            <p:nvPr/>
          </p:nvSpPr>
          <p:spPr bwMode="auto">
            <a:xfrm flipV="1">
              <a:off x="6207126" y="2624140"/>
              <a:ext cx="0" cy="50800"/>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40" name="Line 287">
              <a:extLst>
                <a:ext uri="{FF2B5EF4-FFF2-40B4-BE49-F238E27FC236}">
                  <a16:creationId xmlns:a16="http://schemas.microsoft.com/office/drawing/2014/main" id="{B3614554-1439-CA4E-98EC-18DE2C8BB49A}"/>
                </a:ext>
              </a:extLst>
            </p:cNvPr>
            <p:cNvSpPr>
              <a:spLocks noChangeShapeType="1"/>
            </p:cNvSpPr>
            <p:nvPr/>
          </p:nvSpPr>
          <p:spPr bwMode="auto">
            <a:xfrm flipV="1">
              <a:off x="6238876" y="2624140"/>
              <a:ext cx="0" cy="50800"/>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41" name="Line 288">
              <a:extLst>
                <a:ext uri="{FF2B5EF4-FFF2-40B4-BE49-F238E27FC236}">
                  <a16:creationId xmlns:a16="http://schemas.microsoft.com/office/drawing/2014/main" id="{8CD54D48-C645-3A45-90D2-089AC398D410}"/>
                </a:ext>
              </a:extLst>
            </p:cNvPr>
            <p:cNvSpPr>
              <a:spLocks noChangeShapeType="1"/>
            </p:cNvSpPr>
            <p:nvPr/>
          </p:nvSpPr>
          <p:spPr bwMode="auto">
            <a:xfrm flipV="1">
              <a:off x="6267451" y="2624140"/>
              <a:ext cx="0" cy="50800"/>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42" name="Line 289">
              <a:extLst>
                <a:ext uri="{FF2B5EF4-FFF2-40B4-BE49-F238E27FC236}">
                  <a16:creationId xmlns:a16="http://schemas.microsoft.com/office/drawing/2014/main" id="{EFD39D3E-200C-5F4E-BA61-0FC8C2FFCB1E}"/>
                </a:ext>
              </a:extLst>
            </p:cNvPr>
            <p:cNvSpPr>
              <a:spLocks noChangeShapeType="1"/>
            </p:cNvSpPr>
            <p:nvPr/>
          </p:nvSpPr>
          <p:spPr bwMode="auto">
            <a:xfrm flipV="1">
              <a:off x="6297614" y="2624140"/>
              <a:ext cx="0" cy="50800"/>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43" name="Freeform 290">
              <a:extLst>
                <a:ext uri="{FF2B5EF4-FFF2-40B4-BE49-F238E27FC236}">
                  <a16:creationId xmlns:a16="http://schemas.microsoft.com/office/drawing/2014/main" id="{475B5945-6DC8-FD4F-873A-07A1DADD5816}"/>
                </a:ext>
              </a:extLst>
            </p:cNvPr>
            <p:cNvSpPr>
              <a:spLocks/>
            </p:cNvSpPr>
            <p:nvPr/>
          </p:nvSpPr>
          <p:spPr bwMode="auto">
            <a:xfrm>
              <a:off x="6146801" y="2133602"/>
              <a:ext cx="644525" cy="103188"/>
            </a:xfrm>
            <a:custGeom>
              <a:avLst/>
              <a:gdLst>
                <a:gd name="T0" fmla="*/ 387 w 387"/>
                <a:gd name="T1" fmla="*/ 11 h 62"/>
                <a:gd name="T2" fmla="*/ 387 w 387"/>
                <a:gd name="T3" fmla="*/ 52 h 62"/>
                <a:gd name="T4" fmla="*/ 376 w 387"/>
                <a:gd name="T5" fmla="*/ 62 h 62"/>
                <a:gd name="T6" fmla="*/ 11 w 387"/>
                <a:gd name="T7" fmla="*/ 62 h 62"/>
                <a:gd name="T8" fmla="*/ 0 w 387"/>
                <a:gd name="T9" fmla="*/ 52 h 62"/>
                <a:gd name="T10" fmla="*/ 0 w 387"/>
                <a:gd name="T11" fmla="*/ 11 h 62"/>
                <a:gd name="T12" fmla="*/ 11 w 387"/>
                <a:gd name="T13" fmla="*/ 0 h 62"/>
                <a:gd name="T14" fmla="*/ 376 w 387"/>
                <a:gd name="T15" fmla="*/ 0 h 62"/>
                <a:gd name="T16" fmla="*/ 387 w 387"/>
                <a:gd name="T17"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1"/>
                  </a:moveTo>
                  <a:cubicBezTo>
                    <a:pt x="387" y="52"/>
                    <a:pt x="387" y="52"/>
                    <a:pt x="387" y="52"/>
                  </a:cubicBezTo>
                  <a:cubicBezTo>
                    <a:pt x="387" y="57"/>
                    <a:pt x="382" y="62"/>
                    <a:pt x="376" y="62"/>
                  </a:cubicBezTo>
                  <a:cubicBezTo>
                    <a:pt x="11" y="62"/>
                    <a:pt x="11" y="62"/>
                    <a:pt x="11" y="62"/>
                  </a:cubicBezTo>
                  <a:cubicBezTo>
                    <a:pt x="5" y="62"/>
                    <a:pt x="0" y="57"/>
                    <a:pt x="0" y="52"/>
                  </a:cubicBezTo>
                  <a:cubicBezTo>
                    <a:pt x="0" y="11"/>
                    <a:pt x="0" y="11"/>
                    <a:pt x="0" y="11"/>
                  </a:cubicBezTo>
                  <a:cubicBezTo>
                    <a:pt x="0" y="5"/>
                    <a:pt x="5" y="0"/>
                    <a:pt x="11" y="0"/>
                  </a:cubicBezTo>
                  <a:cubicBezTo>
                    <a:pt x="376" y="0"/>
                    <a:pt x="376" y="0"/>
                    <a:pt x="376" y="0"/>
                  </a:cubicBezTo>
                  <a:cubicBezTo>
                    <a:pt x="382" y="0"/>
                    <a:pt x="387" y="5"/>
                    <a:pt x="387" y="11"/>
                  </a:cubicBezTo>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44" name="Line 291">
              <a:extLst>
                <a:ext uri="{FF2B5EF4-FFF2-40B4-BE49-F238E27FC236}">
                  <a16:creationId xmlns:a16="http://schemas.microsoft.com/office/drawing/2014/main" id="{0FAC476E-1CDA-434C-906A-A5454254A86D}"/>
                </a:ext>
              </a:extLst>
            </p:cNvPr>
            <p:cNvSpPr>
              <a:spLocks noChangeShapeType="1"/>
            </p:cNvSpPr>
            <p:nvPr/>
          </p:nvSpPr>
          <p:spPr bwMode="auto">
            <a:xfrm flipV="1">
              <a:off x="6176964" y="2160590"/>
              <a:ext cx="0" cy="50800"/>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45" name="Line 292">
              <a:extLst>
                <a:ext uri="{FF2B5EF4-FFF2-40B4-BE49-F238E27FC236}">
                  <a16:creationId xmlns:a16="http://schemas.microsoft.com/office/drawing/2014/main" id="{2C1DD109-78F6-064F-A31C-3F36B08DA540}"/>
                </a:ext>
              </a:extLst>
            </p:cNvPr>
            <p:cNvSpPr>
              <a:spLocks noChangeShapeType="1"/>
            </p:cNvSpPr>
            <p:nvPr/>
          </p:nvSpPr>
          <p:spPr bwMode="auto">
            <a:xfrm flipV="1">
              <a:off x="6207126" y="2160590"/>
              <a:ext cx="0" cy="50800"/>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46" name="Line 293">
              <a:extLst>
                <a:ext uri="{FF2B5EF4-FFF2-40B4-BE49-F238E27FC236}">
                  <a16:creationId xmlns:a16="http://schemas.microsoft.com/office/drawing/2014/main" id="{F6764C51-4D2C-3B4D-B75C-72EA447AD893}"/>
                </a:ext>
              </a:extLst>
            </p:cNvPr>
            <p:cNvSpPr>
              <a:spLocks noChangeShapeType="1"/>
            </p:cNvSpPr>
            <p:nvPr/>
          </p:nvSpPr>
          <p:spPr bwMode="auto">
            <a:xfrm flipV="1">
              <a:off x="6238876" y="2160590"/>
              <a:ext cx="0" cy="50800"/>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47" name="Line 294">
              <a:extLst>
                <a:ext uri="{FF2B5EF4-FFF2-40B4-BE49-F238E27FC236}">
                  <a16:creationId xmlns:a16="http://schemas.microsoft.com/office/drawing/2014/main" id="{60B1830B-1D30-3443-B397-9B868EFDEE1C}"/>
                </a:ext>
              </a:extLst>
            </p:cNvPr>
            <p:cNvSpPr>
              <a:spLocks noChangeShapeType="1"/>
            </p:cNvSpPr>
            <p:nvPr/>
          </p:nvSpPr>
          <p:spPr bwMode="auto">
            <a:xfrm flipV="1">
              <a:off x="6267451" y="2160590"/>
              <a:ext cx="0" cy="50800"/>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48" name="Line 295">
              <a:extLst>
                <a:ext uri="{FF2B5EF4-FFF2-40B4-BE49-F238E27FC236}">
                  <a16:creationId xmlns:a16="http://schemas.microsoft.com/office/drawing/2014/main" id="{B3E02106-A43F-D246-9306-C05BEF9F9CEE}"/>
                </a:ext>
              </a:extLst>
            </p:cNvPr>
            <p:cNvSpPr>
              <a:spLocks noChangeShapeType="1"/>
            </p:cNvSpPr>
            <p:nvPr/>
          </p:nvSpPr>
          <p:spPr bwMode="auto">
            <a:xfrm flipV="1">
              <a:off x="6297614" y="2160590"/>
              <a:ext cx="0" cy="50800"/>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49" name="Freeform 296">
              <a:extLst>
                <a:ext uri="{FF2B5EF4-FFF2-40B4-BE49-F238E27FC236}">
                  <a16:creationId xmlns:a16="http://schemas.microsoft.com/office/drawing/2014/main" id="{3D303890-D34B-D64D-B324-92E1FCC626CB}"/>
                </a:ext>
              </a:extLst>
            </p:cNvPr>
            <p:cNvSpPr>
              <a:spLocks/>
            </p:cNvSpPr>
            <p:nvPr/>
          </p:nvSpPr>
          <p:spPr bwMode="auto">
            <a:xfrm>
              <a:off x="6146801" y="2365377"/>
              <a:ext cx="644525" cy="103188"/>
            </a:xfrm>
            <a:custGeom>
              <a:avLst/>
              <a:gdLst>
                <a:gd name="T0" fmla="*/ 387 w 387"/>
                <a:gd name="T1" fmla="*/ 11 h 62"/>
                <a:gd name="T2" fmla="*/ 387 w 387"/>
                <a:gd name="T3" fmla="*/ 52 h 62"/>
                <a:gd name="T4" fmla="*/ 376 w 387"/>
                <a:gd name="T5" fmla="*/ 62 h 62"/>
                <a:gd name="T6" fmla="*/ 11 w 387"/>
                <a:gd name="T7" fmla="*/ 62 h 62"/>
                <a:gd name="T8" fmla="*/ 0 w 387"/>
                <a:gd name="T9" fmla="*/ 52 h 62"/>
                <a:gd name="T10" fmla="*/ 0 w 387"/>
                <a:gd name="T11" fmla="*/ 11 h 62"/>
                <a:gd name="T12" fmla="*/ 11 w 387"/>
                <a:gd name="T13" fmla="*/ 0 h 62"/>
                <a:gd name="T14" fmla="*/ 376 w 387"/>
                <a:gd name="T15" fmla="*/ 0 h 62"/>
                <a:gd name="T16" fmla="*/ 387 w 387"/>
                <a:gd name="T17"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1"/>
                  </a:moveTo>
                  <a:cubicBezTo>
                    <a:pt x="387" y="52"/>
                    <a:pt x="387" y="52"/>
                    <a:pt x="387" y="52"/>
                  </a:cubicBezTo>
                  <a:cubicBezTo>
                    <a:pt x="387" y="58"/>
                    <a:pt x="382" y="62"/>
                    <a:pt x="376" y="62"/>
                  </a:cubicBezTo>
                  <a:cubicBezTo>
                    <a:pt x="11" y="62"/>
                    <a:pt x="11" y="62"/>
                    <a:pt x="11" y="62"/>
                  </a:cubicBezTo>
                  <a:cubicBezTo>
                    <a:pt x="5" y="62"/>
                    <a:pt x="0" y="58"/>
                    <a:pt x="0" y="52"/>
                  </a:cubicBezTo>
                  <a:cubicBezTo>
                    <a:pt x="0" y="11"/>
                    <a:pt x="0" y="11"/>
                    <a:pt x="0" y="11"/>
                  </a:cubicBezTo>
                  <a:cubicBezTo>
                    <a:pt x="0" y="5"/>
                    <a:pt x="5" y="0"/>
                    <a:pt x="11" y="0"/>
                  </a:cubicBezTo>
                  <a:cubicBezTo>
                    <a:pt x="376" y="0"/>
                    <a:pt x="376" y="0"/>
                    <a:pt x="376" y="0"/>
                  </a:cubicBezTo>
                  <a:cubicBezTo>
                    <a:pt x="382" y="0"/>
                    <a:pt x="387" y="5"/>
                    <a:pt x="387" y="11"/>
                  </a:cubicBezTo>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50" name="Line 297">
              <a:extLst>
                <a:ext uri="{FF2B5EF4-FFF2-40B4-BE49-F238E27FC236}">
                  <a16:creationId xmlns:a16="http://schemas.microsoft.com/office/drawing/2014/main" id="{D87436C4-0A9B-1846-B001-8833626003F2}"/>
                </a:ext>
              </a:extLst>
            </p:cNvPr>
            <p:cNvSpPr>
              <a:spLocks noChangeShapeType="1"/>
            </p:cNvSpPr>
            <p:nvPr/>
          </p:nvSpPr>
          <p:spPr bwMode="auto">
            <a:xfrm flipV="1">
              <a:off x="6176964" y="2392365"/>
              <a:ext cx="0" cy="50800"/>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51" name="Line 298">
              <a:extLst>
                <a:ext uri="{FF2B5EF4-FFF2-40B4-BE49-F238E27FC236}">
                  <a16:creationId xmlns:a16="http://schemas.microsoft.com/office/drawing/2014/main" id="{1F1D0AED-40ED-6649-A115-E80CCD2FF019}"/>
                </a:ext>
              </a:extLst>
            </p:cNvPr>
            <p:cNvSpPr>
              <a:spLocks noChangeShapeType="1"/>
            </p:cNvSpPr>
            <p:nvPr/>
          </p:nvSpPr>
          <p:spPr bwMode="auto">
            <a:xfrm flipV="1">
              <a:off x="6207126" y="2392365"/>
              <a:ext cx="0" cy="50800"/>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52" name="Line 299">
              <a:extLst>
                <a:ext uri="{FF2B5EF4-FFF2-40B4-BE49-F238E27FC236}">
                  <a16:creationId xmlns:a16="http://schemas.microsoft.com/office/drawing/2014/main" id="{7640F91A-6D35-914F-A71F-1D48AE2B3EBC}"/>
                </a:ext>
              </a:extLst>
            </p:cNvPr>
            <p:cNvSpPr>
              <a:spLocks noChangeShapeType="1"/>
            </p:cNvSpPr>
            <p:nvPr/>
          </p:nvSpPr>
          <p:spPr bwMode="auto">
            <a:xfrm flipV="1">
              <a:off x="6238876" y="2392365"/>
              <a:ext cx="0" cy="50800"/>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53" name="Line 300">
              <a:extLst>
                <a:ext uri="{FF2B5EF4-FFF2-40B4-BE49-F238E27FC236}">
                  <a16:creationId xmlns:a16="http://schemas.microsoft.com/office/drawing/2014/main" id="{0569738E-5957-5F48-A81A-BB35057658AA}"/>
                </a:ext>
              </a:extLst>
            </p:cNvPr>
            <p:cNvSpPr>
              <a:spLocks noChangeShapeType="1"/>
            </p:cNvSpPr>
            <p:nvPr/>
          </p:nvSpPr>
          <p:spPr bwMode="auto">
            <a:xfrm flipV="1">
              <a:off x="6267451" y="2392365"/>
              <a:ext cx="0" cy="50800"/>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54" name="Line 301">
              <a:extLst>
                <a:ext uri="{FF2B5EF4-FFF2-40B4-BE49-F238E27FC236}">
                  <a16:creationId xmlns:a16="http://schemas.microsoft.com/office/drawing/2014/main" id="{1F10C93A-D24C-BE44-BC60-EA44700F94F9}"/>
                </a:ext>
              </a:extLst>
            </p:cNvPr>
            <p:cNvSpPr>
              <a:spLocks noChangeShapeType="1"/>
            </p:cNvSpPr>
            <p:nvPr/>
          </p:nvSpPr>
          <p:spPr bwMode="auto">
            <a:xfrm flipV="1">
              <a:off x="6297614" y="2392365"/>
              <a:ext cx="0" cy="50800"/>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55" name="Freeform 302">
              <a:extLst>
                <a:ext uri="{FF2B5EF4-FFF2-40B4-BE49-F238E27FC236}">
                  <a16:creationId xmlns:a16="http://schemas.microsoft.com/office/drawing/2014/main" id="{F4FEF3FA-215D-F54C-B8C4-246099882F62}"/>
                </a:ext>
              </a:extLst>
            </p:cNvPr>
            <p:cNvSpPr>
              <a:spLocks/>
            </p:cNvSpPr>
            <p:nvPr/>
          </p:nvSpPr>
          <p:spPr bwMode="auto">
            <a:xfrm>
              <a:off x="6146801" y="2251077"/>
              <a:ext cx="644525" cy="103188"/>
            </a:xfrm>
            <a:custGeom>
              <a:avLst/>
              <a:gdLst>
                <a:gd name="T0" fmla="*/ 387 w 387"/>
                <a:gd name="T1" fmla="*/ 10 h 62"/>
                <a:gd name="T2" fmla="*/ 387 w 387"/>
                <a:gd name="T3" fmla="*/ 51 h 62"/>
                <a:gd name="T4" fmla="*/ 376 w 387"/>
                <a:gd name="T5" fmla="*/ 62 h 62"/>
                <a:gd name="T6" fmla="*/ 11 w 387"/>
                <a:gd name="T7" fmla="*/ 62 h 62"/>
                <a:gd name="T8" fmla="*/ 0 w 387"/>
                <a:gd name="T9" fmla="*/ 51 h 62"/>
                <a:gd name="T10" fmla="*/ 0 w 387"/>
                <a:gd name="T11" fmla="*/ 10 h 62"/>
                <a:gd name="T12" fmla="*/ 11 w 387"/>
                <a:gd name="T13" fmla="*/ 0 h 62"/>
                <a:gd name="T14" fmla="*/ 376 w 387"/>
                <a:gd name="T15" fmla="*/ 0 h 62"/>
                <a:gd name="T16" fmla="*/ 387 w 387"/>
                <a:gd name="T1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0"/>
                  </a:moveTo>
                  <a:cubicBezTo>
                    <a:pt x="387" y="51"/>
                    <a:pt x="387" y="51"/>
                    <a:pt x="387" y="51"/>
                  </a:cubicBezTo>
                  <a:cubicBezTo>
                    <a:pt x="387" y="57"/>
                    <a:pt x="382" y="62"/>
                    <a:pt x="376" y="62"/>
                  </a:cubicBezTo>
                  <a:cubicBezTo>
                    <a:pt x="11" y="62"/>
                    <a:pt x="11" y="62"/>
                    <a:pt x="11" y="62"/>
                  </a:cubicBezTo>
                  <a:cubicBezTo>
                    <a:pt x="5" y="62"/>
                    <a:pt x="0" y="57"/>
                    <a:pt x="0" y="51"/>
                  </a:cubicBezTo>
                  <a:cubicBezTo>
                    <a:pt x="0" y="10"/>
                    <a:pt x="0" y="10"/>
                    <a:pt x="0" y="10"/>
                  </a:cubicBezTo>
                  <a:cubicBezTo>
                    <a:pt x="0" y="4"/>
                    <a:pt x="5" y="0"/>
                    <a:pt x="11" y="0"/>
                  </a:cubicBezTo>
                  <a:cubicBezTo>
                    <a:pt x="376" y="0"/>
                    <a:pt x="376" y="0"/>
                    <a:pt x="376" y="0"/>
                  </a:cubicBezTo>
                  <a:cubicBezTo>
                    <a:pt x="382" y="0"/>
                    <a:pt x="387" y="4"/>
                    <a:pt x="387" y="10"/>
                  </a:cubicBezTo>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56" name="Line 303">
              <a:extLst>
                <a:ext uri="{FF2B5EF4-FFF2-40B4-BE49-F238E27FC236}">
                  <a16:creationId xmlns:a16="http://schemas.microsoft.com/office/drawing/2014/main" id="{255BE3CE-C7FE-1849-A147-9EFF3D48FE31}"/>
                </a:ext>
              </a:extLst>
            </p:cNvPr>
            <p:cNvSpPr>
              <a:spLocks noChangeShapeType="1"/>
            </p:cNvSpPr>
            <p:nvPr/>
          </p:nvSpPr>
          <p:spPr bwMode="auto">
            <a:xfrm flipV="1">
              <a:off x="6176964" y="2274890"/>
              <a:ext cx="0" cy="52388"/>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57" name="Line 304">
              <a:extLst>
                <a:ext uri="{FF2B5EF4-FFF2-40B4-BE49-F238E27FC236}">
                  <a16:creationId xmlns:a16="http://schemas.microsoft.com/office/drawing/2014/main" id="{6F7A47C9-6418-354C-86EF-47BA1AA8FA32}"/>
                </a:ext>
              </a:extLst>
            </p:cNvPr>
            <p:cNvSpPr>
              <a:spLocks noChangeShapeType="1"/>
            </p:cNvSpPr>
            <p:nvPr/>
          </p:nvSpPr>
          <p:spPr bwMode="auto">
            <a:xfrm flipV="1">
              <a:off x="6207126" y="2274890"/>
              <a:ext cx="0" cy="52388"/>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58" name="Line 305">
              <a:extLst>
                <a:ext uri="{FF2B5EF4-FFF2-40B4-BE49-F238E27FC236}">
                  <a16:creationId xmlns:a16="http://schemas.microsoft.com/office/drawing/2014/main" id="{CFB0E18B-9211-AF47-821E-27E70781629A}"/>
                </a:ext>
              </a:extLst>
            </p:cNvPr>
            <p:cNvSpPr>
              <a:spLocks noChangeShapeType="1"/>
            </p:cNvSpPr>
            <p:nvPr/>
          </p:nvSpPr>
          <p:spPr bwMode="auto">
            <a:xfrm flipV="1">
              <a:off x="6238876" y="2274890"/>
              <a:ext cx="0" cy="52388"/>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59" name="Line 306">
              <a:extLst>
                <a:ext uri="{FF2B5EF4-FFF2-40B4-BE49-F238E27FC236}">
                  <a16:creationId xmlns:a16="http://schemas.microsoft.com/office/drawing/2014/main" id="{2BC51BCB-CF1E-C047-BCDE-AC63C5529858}"/>
                </a:ext>
              </a:extLst>
            </p:cNvPr>
            <p:cNvSpPr>
              <a:spLocks noChangeShapeType="1"/>
            </p:cNvSpPr>
            <p:nvPr/>
          </p:nvSpPr>
          <p:spPr bwMode="auto">
            <a:xfrm flipV="1">
              <a:off x="6267451" y="2274890"/>
              <a:ext cx="0" cy="52388"/>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sp>
          <p:nvSpPr>
            <p:cNvPr id="760" name="Line 307">
              <a:extLst>
                <a:ext uri="{FF2B5EF4-FFF2-40B4-BE49-F238E27FC236}">
                  <a16:creationId xmlns:a16="http://schemas.microsoft.com/office/drawing/2014/main" id="{09D3F23C-5EA0-C24C-A631-182BBC556322}"/>
                </a:ext>
              </a:extLst>
            </p:cNvPr>
            <p:cNvSpPr>
              <a:spLocks noChangeShapeType="1"/>
            </p:cNvSpPr>
            <p:nvPr/>
          </p:nvSpPr>
          <p:spPr bwMode="auto">
            <a:xfrm flipV="1">
              <a:off x="6297614" y="2274890"/>
              <a:ext cx="0" cy="52388"/>
            </a:xfrm>
            <a:prstGeom prst="line">
              <a:avLst/>
            </a:prstGeom>
            <a:noFill/>
            <a:ln w="11113"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2400" kern="0">
                <a:solidFill>
                  <a:srgbClr val="282828"/>
                </a:solidFill>
                <a:latin typeface="Arial" charset="0"/>
                <a:ea typeface="ＭＳ Ｐゴシック" charset="0"/>
                <a:cs typeface="Arial"/>
                <a:sym typeface="Arial"/>
              </a:endParaRPr>
            </a:p>
          </p:txBody>
        </p:sp>
      </p:grpSp>
    </p:spTree>
    <p:extLst>
      <p:ext uri="{BB962C8B-B14F-4D97-AF65-F5344CB8AC3E}">
        <p14:creationId xmlns:p14="http://schemas.microsoft.com/office/powerpoint/2010/main" val="3827851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wipe(right)">
                                      <p:cBhvr>
                                        <p:cTn id="7" dur="500"/>
                                        <p:tgtEl>
                                          <p:spTgt spid="97"/>
                                        </p:tgtEl>
                                      </p:cBhvr>
                                    </p:animEffect>
                                  </p:childTnLst>
                                </p:cTn>
                              </p:par>
                              <p:par>
                                <p:cTn id="8" presetID="1" presetClass="entr" presetSubtype="0" fill="hold" nodeType="withEffect">
                                  <p:stCondLst>
                                    <p:cond delay="0"/>
                                  </p:stCondLst>
                                  <p:childTnLst>
                                    <p:set>
                                      <p:cBhvr>
                                        <p:cTn id="9" dur="1" fill="hold">
                                          <p:stCondLst>
                                            <p:cond delay="0"/>
                                          </p:stCondLst>
                                        </p:cTn>
                                        <p:tgtEl>
                                          <p:spTgt spid="302"/>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nodeType="clickEffect">
                                  <p:stCondLst>
                                    <p:cond delay="0"/>
                                  </p:stCondLst>
                                  <p:childTnLst>
                                    <p:set>
                                      <p:cBhvr>
                                        <p:cTn id="13" dur="1" fill="hold">
                                          <p:stCondLst>
                                            <p:cond delay="0"/>
                                          </p:stCondLst>
                                        </p:cTn>
                                        <p:tgtEl>
                                          <p:spTgt spid="252"/>
                                        </p:tgtEl>
                                        <p:attrNameLst>
                                          <p:attrName>style.visibility</p:attrName>
                                        </p:attrNameLst>
                                      </p:cBhvr>
                                      <p:to>
                                        <p:strVal val="visible"/>
                                      </p:to>
                                    </p:set>
                                    <p:animEffect transition="in" filter="wipe(down)">
                                      <p:cBhvr>
                                        <p:cTn id="14" dur="500"/>
                                        <p:tgtEl>
                                          <p:spTgt spid="252"/>
                                        </p:tgtEl>
                                      </p:cBhvr>
                                    </p:animEffect>
                                  </p:childTnLst>
                                </p:cTn>
                              </p:par>
                            </p:childTnLst>
                          </p:cTn>
                        </p:par>
                        <p:par>
                          <p:cTn id="15" fill="hold">
                            <p:stCondLst>
                              <p:cond delay="500"/>
                            </p:stCondLst>
                            <p:childTnLst>
                              <p:par>
                                <p:cTn id="16" presetID="1" presetClass="entr" presetSubtype="0" fill="hold" grpId="0" nodeType="afterEffect">
                                  <p:stCondLst>
                                    <p:cond delay="0"/>
                                  </p:stCondLst>
                                  <p:childTnLst>
                                    <p:set>
                                      <p:cBhvr>
                                        <p:cTn id="17" dur="1" fill="hold">
                                          <p:stCondLst>
                                            <p:cond delay="0"/>
                                          </p:stCondLst>
                                        </p:cTn>
                                        <p:tgtEl>
                                          <p:spTgt spid="414"/>
                                        </p:tgtEl>
                                        <p:attrNameLst>
                                          <p:attrName>style.visibility</p:attrName>
                                        </p:attrNameLst>
                                      </p:cBhvr>
                                      <p:to>
                                        <p:strVal val="visible"/>
                                      </p:to>
                                    </p:set>
                                  </p:childTnLst>
                                  <p:subTnLst>
                                    <p:set>
                                      <p:cBhvr override="childStyle">
                                        <p:cTn dur="1" fill="hold" display="0" masterRel="nextClick" afterEffect="1"/>
                                        <p:tgtEl>
                                          <p:spTgt spid="414"/>
                                        </p:tgtEl>
                                        <p:attrNameLst>
                                          <p:attrName>style.visibility</p:attrName>
                                        </p:attrNameLst>
                                      </p:cBhvr>
                                      <p:to>
                                        <p:strVal val="hidden"/>
                                      </p:to>
                                    </p:set>
                                  </p:subTnLst>
                                </p:cTn>
                              </p:par>
                              <p:par>
                                <p:cTn id="18" presetID="1" presetClass="entr" presetSubtype="0" fill="hold" grpId="0" nodeType="withEffect">
                                  <p:stCondLst>
                                    <p:cond delay="0"/>
                                  </p:stCondLst>
                                  <p:childTnLst>
                                    <p:set>
                                      <p:cBhvr>
                                        <p:cTn id="19" dur="1" fill="hold">
                                          <p:stCondLst>
                                            <p:cond delay="0"/>
                                          </p:stCondLst>
                                        </p:cTn>
                                        <p:tgtEl>
                                          <p:spTgt spid="253"/>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417"/>
                                        </p:tgtEl>
                                        <p:attrNameLst>
                                          <p:attrName>style.visibility</p:attrName>
                                        </p:attrNameLst>
                                      </p:cBhvr>
                                      <p:to>
                                        <p:strVal val="visible"/>
                                      </p:to>
                                    </p:set>
                                    <p:animEffect transition="in" filter="wipe(left)">
                                      <p:cBhvr>
                                        <p:cTn id="24" dur="500"/>
                                        <p:tgtEl>
                                          <p:spTgt spid="417"/>
                                        </p:tgtEl>
                                      </p:cBhvr>
                                    </p:animEffect>
                                  </p:childTnLst>
                                </p:cTn>
                              </p:par>
                            </p:childTnLst>
                          </p:cTn>
                        </p:par>
                        <p:par>
                          <p:cTn id="25" fill="hold">
                            <p:stCondLst>
                              <p:cond delay="500"/>
                            </p:stCondLst>
                            <p:childTnLst>
                              <p:par>
                                <p:cTn id="26" presetID="1" presetClass="entr" presetSubtype="0" fill="hold" grpId="0" nodeType="afterEffect">
                                  <p:stCondLst>
                                    <p:cond delay="0"/>
                                  </p:stCondLst>
                                  <p:childTnLst>
                                    <p:set>
                                      <p:cBhvr>
                                        <p:cTn id="27" dur="1" fill="hold">
                                          <p:stCondLst>
                                            <p:cond delay="0"/>
                                          </p:stCondLst>
                                        </p:cTn>
                                        <p:tgtEl>
                                          <p:spTgt spid="415"/>
                                        </p:tgtEl>
                                        <p:attrNameLst>
                                          <p:attrName>style.visibility</p:attrName>
                                        </p:attrNameLst>
                                      </p:cBhvr>
                                      <p:to>
                                        <p:strVal val="visible"/>
                                      </p:to>
                                    </p:set>
                                  </p:childTnLst>
                                </p:cTn>
                              </p:par>
                            </p:childTnLst>
                          </p:cTn>
                        </p:par>
                        <p:par>
                          <p:cTn id="28" fill="hold">
                            <p:stCondLst>
                              <p:cond delay="1000"/>
                            </p:stCondLst>
                            <p:childTnLst>
                              <p:par>
                                <p:cTn id="29" presetID="22" presetClass="entr" presetSubtype="2" fill="hold" nodeType="afterEffect">
                                  <p:stCondLst>
                                    <p:cond delay="0"/>
                                  </p:stCondLst>
                                  <p:childTnLst>
                                    <p:set>
                                      <p:cBhvr>
                                        <p:cTn id="30" dur="1" fill="hold">
                                          <p:stCondLst>
                                            <p:cond delay="0"/>
                                          </p:stCondLst>
                                        </p:cTn>
                                        <p:tgtEl>
                                          <p:spTgt spid="468"/>
                                        </p:tgtEl>
                                        <p:attrNameLst>
                                          <p:attrName>style.visibility</p:attrName>
                                        </p:attrNameLst>
                                      </p:cBhvr>
                                      <p:to>
                                        <p:strVal val="visible"/>
                                      </p:to>
                                    </p:set>
                                    <p:animEffect transition="in" filter="wipe(right)">
                                      <p:cBhvr>
                                        <p:cTn id="31" dur="500"/>
                                        <p:tgtEl>
                                          <p:spTgt spid="468"/>
                                        </p:tgtEl>
                                      </p:cBhvr>
                                    </p:animEffect>
                                  </p:childTnLst>
                                </p:cTn>
                              </p:par>
                              <p:par>
                                <p:cTn id="32" presetID="1" presetClass="entr" presetSubtype="0" fill="hold" grpId="0" nodeType="withEffect">
                                  <p:stCondLst>
                                    <p:cond delay="0"/>
                                  </p:stCondLst>
                                  <p:childTnLst>
                                    <p:set>
                                      <p:cBhvr>
                                        <p:cTn id="33" dur="1" fill="hold">
                                          <p:stCondLst>
                                            <p:cond delay="0"/>
                                          </p:stCondLst>
                                        </p:cTn>
                                        <p:tgtEl>
                                          <p:spTgt spid="469"/>
                                        </p:tgtEl>
                                        <p:attrNameLst>
                                          <p:attrName>style.visibility</p:attrName>
                                        </p:attrNameLst>
                                      </p:cBhvr>
                                      <p:to>
                                        <p:strVal val="visible"/>
                                      </p:to>
                                    </p:set>
                                  </p:childTnLst>
                                </p:cTn>
                              </p:par>
                            </p:childTnLst>
                          </p:cTn>
                        </p:par>
                        <p:par>
                          <p:cTn id="34" fill="hold">
                            <p:stCondLst>
                              <p:cond delay="1500"/>
                            </p:stCondLst>
                            <p:childTnLst>
                              <p:par>
                                <p:cTn id="35" presetID="2" presetClass="entr" presetSubtype="2" fill="hold" nodeType="afterEffect">
                                  <p:stCondLst>
                                    <p:cond delay="0"/>
                                  </p:stCondLst>
                                  <p:childTnLst>
                                    <p:set>
                                      <p:cBhvr>
                                        <p:cTn id="36" dur="1" fill="hold">
                                          <p:stCondLst>
                                            <p:cond delay="0"/>
                                          </p:stCondLst>
                                        </p:cTn>
                                        <p:tgtEl>
                                          <p:spTgt spid="448"/>
                                        </p:tgtEl>
                                        <p:attrNameLst>
                                          <p:attrName>style.visibility</p:attrName>
                                        </p:attrNameLst>
                                      </p:cBhvr>
                                      <p:to>
                                        <p:strVal val="visible"/>
                                      </p:to>
                                    </p:set>
                                    <p:anim calcmode="lin" valueType="num">
                                      <p:cBhvr additive="base">
                                        <p:cTn id="37" dur="500" fill="hold"/>
                                        <p:tgtEl>
                                          <p:spTgt spid="448"/>
                                        </p:tgtEl>
                                        <p:attrNameLst>
                                          <p:attrName>ppt_x</p:attrName>
                                        </p:attrNameLst>
                                      </p:cBhvr>
                                      <p:tavLst>
                                        <p:tav tm="0">
                                          <p:val>
                                            <p:strVal val="1+#ppt_w/2"/>
                                          </p:val>
                                        </p:tav>
                                        <p:tav tm="100000">
                                          <p:val>
                                            <p:strVal val="#ppt_x"/>
                                          </p:val>
                                        </p:tav>
                                      </p:tavLst>
                                    </p:anim>
                                    <p:anim calcmode="lin" valueType="num">
                                      <p:cBhvr additive="base">
                                        <p:cTn id="38" dur="500" fill="hold"/>
                                        <p:tgtEl>
                                          <p:spTgt spid="448"/>
                                        </p:tgtEl>
                                        <p:attrNameLst>
                                          <p:attrName>ppt_y</p:attrName>
                                        </p:attrNameLst>
                                      </p:cBhvr>
                                      <p:tavLst>
                                        <p:tav tm="0">
                                          <p:val>
                                            <p:strVal val="#ppt_y"/>
                                          </p:val>
                                        </p:tav>
                                        <p:tav tm="100000">
                                          <p:val>
                                            <p:strVal val="#ppt_y"/>
                                          </p:val>
                                        </p:tav>
                                      </p:tavLst>
                                    </p:anim>
                                  </p:childTnLst>
                                </p:cTn>
                              </p:par>
                            </p:childTnLst>
                          </p:cTn>
                        </p:par>
                        <p:par>
                          <p:cTn id="39" fill="hold">
                            <p:stCondLst>
                              <p:cond delay="2000"/>
                            </p:stCondLst>
                            <p:childTnLst>
                              <p:par>
                                <p:cTn id="40" presetID="53" presetClass="entr" presetSubtype="16" fill="hold" nodeType="afterEffect">
                                  <p:stCondLst>
                                    <p:cond delay="0"/>
                                  </p:stCondLst>
                                  <p:childTnLst>
                                    <p:set>
                                      <p:cBhvr>
                                        <p:cTn id="41" dur="1" fill="hold">
                                          <p:stCondLst>
                                            <p:cond delay="0"/>
                                          </p:stCondLst>
                                        </p:cTn>
                                        <p:tgtEl>
                                          <p:spTgt spid="456"/>
                                        </p:tgtEl>
                                        <p:attrNameLst>
                                          <p:attrName>style.visibility</p:attrName>
                                        </p:attrNameLst>
                                      </p:cBhvr>
                                      <p:to>
                                        <p:strVal val="visible"/>
                                      </p:to>
                                    </p:set>
                                    <p:anim calcmode="lin" valueType="num">
                                      <p:cBhvr>
                                        <p:cTn id="42" dur="500" fill="hold"/>
                                        <p:tgtEl>
                                          <p:spTgt spid="456"/>
                                        </p:tgtEl>
                                        <p:attrNameLst>
                                          <p:attrName>ppt_w</p:attrName>
                                        </p:attrNameLst>
                                      </p:cBhvr>
                                      <p:tavLst>
                                        <p:tav tm="0">
                                          <p:val>
                                            <p:fltVal val="0"/>
                                          </p:val>
                                        </p:tav>
                                        <p:tav tm="100000">
                                          <p:val>
                                            <p:strVal val="#ppt_w"/>
                                          </p:val>
                                        </p:tav>
                                      </p:tavLst>
                                    </p:anim>
                                    <p:anim calcmode="lin" valueType="num">
                                      <p:cBhvr>
                                        <p:cTn id="43" dur="500" fill="hold"/>
                                        <p:tgtEl>
                                          <p:spTgt spid="456"/>
                                        </p:tgtEl>
                                        <p:attrNameLst>
                                          <p:attrName>ppt_h</p:attrName>
                                        </p:attrNameLst>
                                      </p:cBhvr>
                                      <p:tavLst>
                                        <p:tav tm="0">
                                          <p:val>
                                            <p:fltVal val="0"/>
                                          </p:val>
                                        </p:tav>
                                        <p:tav tm="100000">
                                          <p:val>
                                            <p:strVal val="#ppt_h"/>
                                          </p:val>
                                        </p:tav>
                                      </p:tavLst>
                                    </p:anim>
                                    <p:animEffect transition="in" filter="fade">
                                      <p:cBhvr>
                                        <p:cTn id="44" dur="500"/>
                                        <p:tgtEl>
                                          <p:spTgt spid="456"/>
                                        </p:tgtEl>
                                      </p:cBhvr>
                                    </p:animEffect>
                                  </p:childTnLst>
                                </p:cTn>
                              </p:par>
                              <p:par>
                                <p:cTn id="45" presetID="1" presetClass="entr" presetSubtype="0" fill="hold" nodeType="withEffect">
                                  <p:stCondLst>
                                    <p:cond delay="0"/>
                                  </p:stCondLst>
                                  <p:childTnLst>
                                    <p:set>
                                      <p:cBhvr>
                                        <p:cTn id="46" dur="1" fill="hold">
                                          <p:stCondLst>
                                            <p:cond delay="0"/>
                                          </p:stCondLst>
                                        </p:cTn>
                                        <p:tgtEl>
                                          <p:spTgt spid="477"/>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73"/>
                                        </p:tgtEl>
                                        <p:attrNameLst>
                                          <p:attrName>style.visibility</p:attrName>
                                        </p:attrNameLst>
                                      </p:cBhvr>
                                      <p:to>
                                        <p:strVal val="visible"/>
                                      </p:to>
                                    </p:set>
                                  </p:childTnLst>
                                </p:cTn>
                              </p:par>
                              <p:par>
                                <p:cTn id="49" presetID="4" presetClass="entr" presetSubtype="32" fill="hold" grpId="0" nodeType="withEffect">
                                  <p:stCondLst>
                                    <p:cond delay="0"/>
                                  </p:stCondLst>
                                  <p:childTnLst>
                                    <p:set>
                                      <p:cBhvr>
                                        <p:cTn id="50" dur="1" fill="hold">
                                          <p:stCondLst>
                                            <p:cond delay="0"/>
                                          </p:stCondLst>
                                        </p:cTn>
                                        <p:tgtEl>
                                          <p:spTgt spid="463"/>
                                        </p:tgtEl>
                                        <p:attrNameLst>
                                          <p:attrName>style.visibility</p:attrName>
                                        </p:attrNameLst>
                                      </p:cBhvr>
                                      <p:to>
                                        <p:strVal val="visible"/>
                                      </p:to>
                                    </p:set>
                                    <p:animEffect transition="in" filter="box(out)">
                                      <p:cBhvr>
                                        <p:cTn id="51" dur="500"/>
                                        <p:tgtEl>
                                          <p:spTgt spid="463"/>
                                        </p:tgtEl>
                                      </p:cBhvr>
                                    </p:animEffect>
                                  </p:childTnLst>
                                </p:cTn>
                              </p:par>
                              <p:par>
                                <p:cTn id="52" presetID="1" presetClass="entr" presetSubtype="0" fill="hold" grpId="0" nodeType="withEffect">
                                  <p:stCondLst>
                                    <p:cond delay="0"/>
                                  </p:stCondLst>
                                  <p:childTnLst>
                                    <p:set>
                                      <p:cBhvr>
                                        <p:cTn id="53" dur="1" fill="hold">
                                          <p:stCondLst>
                                            <p:cond delay="0"/>
                                          </p:stCondLst>
                                        </p:cTn>
                                        <p:tgtEl>
                                          <p:spTgt spid="471"/>
                                        </p:tgtEl>
                                        <p:attrNameLst>
                                          <p:attrName>style.visibility</p:attrName>
                                        </p:attrNameLst>
                                      </p:cBhvr>
                                      <p:to>
                                        <p:strVal val="visible"/>
                                      </p:to>
                                    </p:set>
                                  </p:childTnLst>
                                </p:cTn>
                              </p:par>
                            </p:childTnLst>
                          </p:cTn>
                        </p:par>
                        <p:par>
                          <p:cTn id="54" fill="hold">
                            <p:stCondLst>
                              <p:cond delay="2500"/>
                            </p:stCondLst>
                            <p:childTnLst>
                              <p:par>
                                <p:cTn id="55" presetID="1" presetClass="entr" presetSubtype="0" fill="hold" nodeType="afterEffect">
                                  <p:stCondLst>
                                    <p:cond delay="0"/>
                                  </p:stCondLst>
                                  <p:childTnLst>
                                    <p:set>
                                      <p:cBhvr>
                                        <p:cTn id="56" dur="1" fill="hold">
                                          <p:stCondLst>
                                            <p:cond delay="0"/>
                                          </p:stCondLst>
                                        </p:cTn>
                                        <p:tgtEl>
                                          <p:spTgt spid="472"/>
                                        </p:tgtEl>
                                        <p:attrNameLst>
                                          <p:attrName>style.visibility</p:attrName>
                                        </p:attrNameLst>
                                      </p:cBhvr>
                                      <p:to>
                                        <p:strVal val="visible"/>
                                      </p:to>
                                    </p:set>
                                  </p:childTnLst>
                                </p:cTn>
                              </p:par>
                            </p:childTnLst>
                          </p:cTn>
                        </p:par>
                        <p:par>
                          <p:cTn id="57" fill="hold">
                            <p:stCondLst>
                              <p:cond delay="2500"/>
                            </p:stCondLst>
                            <p:childTnLst>
                              <p:par>
                                <p:cTn id="58" presetID="1" presetClass="entr" presetSubtype="0" fill="hold" grpId="0" nodeType="afterEffect">
                                  <p:stCondLst>
                                    <p:cond delay="0"/>
                                  </p:stCondLst>
                                  <p:childTnLst>
                                    <p:set>
                                      <p:cBhvr>
                                        <p:cTn id="59" dur="1" fill="hold">
                                          <p:stCondLst>
                                            <p:cond delay="0"/>
                                          </p:stCondLst>
                                        </p:cTn>
                                        <p:tgtEl>
                                          <p:spTgt spid="728"/>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22" presetClass="entr" presetSubtype="4" fill="hold" nodeType="clickEffect">
                                  <p:stCondLst>
                                    <p:cond delay="0"/>
                                  </p:stCondLst>
                                  <p:childTnLst>
                                    <p:set>
                                      <p:cBhvr>
                                        <p:cTn id="63" dur="1" fill="hold">
                                          <p:stCondLst>
                                            <p:cond delay="0"/>
                                          </p:stCondLst>
                                        </p:cTn>
                                        <p:tgtEl>
                                          <p:spTgt spid="478"/>
                                        </p:tgtEl>
                                        <p:attrNameLst>
                                          <p:attrName>style.visibility</p:attrName>
                                        </p:attrNameLst>
                                      </p:cBhvr>
                                      <p:to>
                                        <p:strVal val="visible"/>
                                      </p:to>
                                    </p:set>
                                    <p:animEffect transition="in" filter="wipe(down)">
                                      <p:cBhvr>
                                        <p:cTn id="64" dur="500"/>
                                        <p:tgtEl>
                                          <p:spTgt spid="478"/>
                                        </p:tgtEl>
                                      </p:cBhvr>
                                    </p:animEffect>
                                  </p:childTnLst>
                                </p:cTn>
                              </p:par>
                              <p:par>
                                <p:cTn id="65" presetID="22" presetClass="entr" presetSubtype="8" fill="hold" nodeType="withEffect">
                                  <p:stCondLst>
                                    <p:cond delay="0"/>
                                  </p:stCondLst>
                                  <p:childTnLst>
                                    <p:set>
                                      <p:cBhvr>
                                        <p:cTn id="66" dur="1" fill="hold">
                                          <p:stCondLst>
                                            <p:cond delay="0"/>
                                          </p:stCondLst>
                                        </p:cTn>
                                        <p:tgtEl>
                                          <p:spTgt spid="726"/>
                                        </p:tgtEl>
                                        <p:attrNameLst>
                                          <p:attrName>style.visibility</p:attrName>
                                        </p:attrNameLst>
                                      </p:cBhvr>
                                      <p:to>
                                        <p:strVal val="visible"/>
                                      </p:to>
                                    </p:set>
                                    <p:animEffect transition="in" filter="wipe(left)">
                                      <p:cBhvr>
                                        <p:cTn id="67" dur="500"/>
                                        <p:tgtEl>
                                          <p:spTgt spid="726"/>
                                        </p:tgtEl>
                                      </p:cBhvr>
                                    </p:animEffect>
                                  </p:childTnLst>
                                </p:cTn>
                              </p:par>
                              <p:par>
                                <p:cTn id="68" presetID="1" presetClass="entr" presetSubtype="0" fill="hold" grpId="0" nodeType="withEffect">
                                  <p:stCondLst>
                                    <p:cond delay="0"/>
                                  </p:stCondLst>
                                  <p:childTnLst>
                                    <p:set>
                                      <p:cBhvr>
                                        <p:cTn id="69" dur="1" fill="hold">
                                          <p:stCondLst>
                                            <p:cond delay="0"/>
                                          </p:stCondLst>
                                        </p:cTn>
                                        <p:tgtEl>
                                          <p:spTgt spid="729"/>
                                        </p:tgtEl>
                                        <p:attrNameLst>
                                          <p:attrName>style.visibility</p:attrName>
                                        </p:attrNameLst>
                                      </p:cBhvr>
                                      <p:to>
                                        <p:strVal val="visible"/>
                                      </p:to>
                                    </p:set>
                                  </p:childTnLst>
                                </p:cTn>
                              </p:par>
                            </p:childTnLst>
                          </p:cTn>
                        </p:par>
                        <p:par>
                          <p:cTn id="70" fill="hold">
                            <p:stCondLst>
                              <p:cond delay="500"/>
                            </p:stCondLst>
                            <p:childTnLst>
                              <p:par>
                                <p:cTn id="71" presetID="1" presetClass="entr" presetSubtype="0" fill="hold" grpId="0" nodeType="afterEffect">
                                  <p:stCondLst>
                                    <p:cond delay="0"/>
                                  </p:stCondLst>
                                  <p:childTnLst>
                                    <p:set>
                                      <p:cBhvr>
                                        <p:cTn id="72" dur="1" fill="hold">
                                          <p:stCondLst>
                                            <p:cond delay="0"/>
                                          </p:stCondLst>
                                        </p:cTn>
                                        <p:tgtEl>
                                          <p:spTgt spid="725"/>
                                        </p:tgtEl>
                                        <p:attrNameLst>
                                          <p:attrName>style.visibility</p:attrName>
                                        </p:attrNameLst>
                                      </p:cBhvr>
                                      <p:to>
                                        <p:strVal val="visible"/>
                                      </p:to>
                                    </p:set>
                                  </p:childTnLst>
                                </p:cTn>
                              </p:par>
                            </p:childTnLst>
                          </p:cTn>
                        </p:par>
                        <p:par>
                          <p:cTn id="73" fill="hold">
                            <p:stCondLst>
                              <p:cond delay="500"/>
                            </p:stCondLst>
                            <p:childTnLst>
                              <p:par>
                                <p:cTn id="74" presetID="22" presetClass="entr" presetSubtype="2" fill="hold" nodeType="afterEffect">
                                  <p:stCondLst>
                                    <p:cond delay="0"/>
                                  </p:stCondLst>
                                  <p:childTnLst>
                                    <p:set>
                                      <p:cBhvr>
                                        <p:cTn id="75" dur="1" fill="hold">
                                          <p:stCondLst>
                                            <p:cond delay="0"/>
                                          </p:stCondLst>
                                        </p:cTn>
                                        <p:tgtEl>
                                          <p:spTgt spid="727"/>
                                        </p:tgtEl>
                                        <p:attrNameLst>
                                          <p:attrName>style.visibility</p:attrName>
                                        </p:attrNameLst>
                                      </p:cBhvr>
                                      <p:to>
                                        <p:strVal val="visible"/>
                                      </p:to>
                                    </p:set>
                                    <p:animEffect transition="in" filter="wipe(right)">
                                      <p:cBhvr>
                                        <p:cTn id="76" dur="500"/>
                                        <p:tgtEl>
                                          <p:spTgt spid="727"/>
                                        </p:tgtEl>
                                      </p:cBhvr>
                                    </p:animEffect>
                                  </p:childTnLst>
                                </p:cTn>
                              </p:par>
                            </p:childTnLst>
                          </p:cTn>
                        </p:par>
                        <p:par>
                          <p:cTn id="77" fill="hold">
                            <p:stCondLst>
                              <p:cond delay="1000"/>
                            </p:stCondLst>
                            <p:childTnLst>
                              <p:par>
                                <p:cTn id="78" presetID="22" presetClass="entr" presetSubtype="2" fill="hold" nodeType="afterEffect">
                                  <p:stCondLst>
                                    <p:cond delay="0"/>
                                  </p:stCondLst>
                                  <p:childTnLst>
                                    <p:set>
                                      <p:cBhvr>
                                        <p:cTn id="79" dur="1" fill="hold">
                                          <p:stCondLst>
                                            <p:cond delay="0"/>
                                          </p:stCondLst>
                                        </p:cTn>
                                        <p:tgtEl>
                                          <p:spTgt spid="481"/>
                                        </p:tgtEl>
                                        <p:attrNameLst>
                                          <p:attrName>style.visibility</p:attrName>
                                        </p:attrNameLst>
                                      </p:cBhvr>
                                      <p:to>
                                        <p:strVal val="visible"/>
                                      </p:to>
                                    </p:set>
                                    <p:animEffect transition="in" filter="wipe(right)">
                                      <p:cBhvr>
                                        <p:cTn id="80" dur="500"/>
                                        <p:tgtEl>
                                          <p:spTgt spid="481"/>
                                        </p:tgtEl>
                                      </p:cBhvr>
                                    </p:animEffect>
                                  </p:childTnLst>
                                </p:cTn>
                              </p:par>
                              <p:par>
                                <p:cTn id="81" presetID="1" presetClass="entr" presetSubtype="0" fill="hold" grpId="0" nodeType="withEffect">
                                  <p:stCondLst>
                                    <p:cond delay="0"/>
                                  </p:stCondLst>
                                  <p:childTnLst>
                                    <p:set>
                                      <p:cBhvr>
                                        <p:cTn id="82" dur="1" fill="hold">
                                          <p:stCondLst>
                                            <p:cond delay="0"/>
                                          </p:stCondLst>
                                        </p:cTn>
                                        <p:tgtEl>
                                          <p:spTgt spid="479"/>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nodeType="clickEffect">
                                  <p:stCondLst>
                                    <p:cond delay="0"/>
                                  </p:stCondLst>
                                  <p:childTnLst>
                                    <p:set>
                                      <p:cBhvr>
                                        <p:cTn id="86" dur="1" fill="hold">
                                          <p:stCondLst>
                                            <p:cond delay="0"/>
                                          </p:stCondLst>
                                        </p:cTn>
                                        <p:tgtEl>
                                          <p:spTgt spid="480"/>
                                        </p:tgtEl>
                                        <p:attrNameLst>
                                          <p:attrName>style.visibility</p:attrName>
                                        </p:attrNameLst>
                                      </p:cBhvr>
                                      <p:to>
                                        <p:strVal val="visible"/>
                                      </p:to>
                                    </p:set>
                                    <p:animEffect transition="in" filter="wipe(left)">
                                      <p:cBhvr>
                                        <p:cTn id="87" dur="500"/>
                                        <p:tgtEl>
                                          <p:spTgt spid="480"/>
                                        </p:tgtEl>
                                      </p:cBhvr>
                                    </p:animEffect>
                                  </p:childTnLst>
                                </p:cTn>
                              </p:par>
                            </p:childTnLst>
                          </p:cTn>
                        </p:par>
                        <p:par>
                          <p:cTn id="88" fill="hold">
                            <p:stCondLst>
                              <p:cond delay="500"/>
                            </p:stCondLst>
                            <p:childTnLst>
                              <p:par>
                                <p:cTn id="89" presetID="1" presetClass="entr" presetSubtype="0" fill="hold" nodeType="afterEffect">
                                  <p:stCondLst>
                                    <p:cond delay="0"/>
                                  </p:stCondLst>
                                  <p:childTnLst>
                                    <p:set>
                                      <p:cBhvr>
                                        <p:cTn id="90" dur="1" fill="hold">
                                          <p:stCondLst>
                                            <p:cond delay="0"/>
                                          </p:stCondLst>
                                        </p:cTn>
                                        <p:tgtEl>
                                          <p:spTgt spid="4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animBg="1"/>
      <p:bldP spid="253" grpId="0"/>
      <p:bldP spid="414" grpId="0"/>
      <p:bldP spid="415" grpId="0"/>
      <p:bldP spid="463" grpId="0" animBg="1"/>
      <p:bldP spid="469" grpId="0"/>
      <p:bldP spid="471" grpId="0"/>
      <p:bldP spid="479" grpId="0"/>
      <p:bldP spid="725" grpId="0"/>
      <p:bldP spid="728" grpId="0"/>
      <p:bldP spid="72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B7C1AEA-2BBF-493B-8B73-F61D3C0555CD}"/>
              </a:ext>
            </a:extLst>
          </p:cNvPr>
          <p:cNvGrpSpPr/>
          <p:nvPr/>
        </p:nvGrpSpPr>
        <p:grpSpPr>
          <a:xfrm>
            <a:off x="8863872" y="2156835"/>
            <a:ext cx="2645769" cy="3001965"/>
            <a:chOff x="6647903" y="1483615"/>
            <a:chExt cx="1984327" cy="2251474"/>
          </a:xfrm>
        </p:grpSpPr>
        <p:sp>
          <p:nvSpPr>
            <p:cNvPr id="128" name="Rectangle 127">
              <a:extLst>
                <a:ext uri="{FF2B5EF4-FFF2-40B4-BE49-F238E27FC236}">
                  <a16:creationId xmlns:a16="http://schemas.microsoft.com/office/drawing/2014/main" id="{47DEBFBA-B697-44CD-B790-CE2E41CF10B2}"/>
                </a:ext>
              </a:extLst>
            </p:cNvPr>
            <p:cNvSpPr>
              <a:spLocks noChangeAspect="1"/>
            </p:cNvSpPr>
            <p:nvPr/>
          </p:nvSpPr>
          <p:spPr>
            <a:xfrm>
              <a:off x="6647903" y="1483615"/>
              <a:ext cx="1984327" cy="2251474"/>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21920" rtlCol="0" anchor="t"/>
            <a:lstStyle/>
            <a:p>
              <a:pPr algn="ctr" defTabSz="609585" fontAlgn="base">
                <a:spcBef>
                  <a:spcPct val="0"/>
                </a:spcBef>
                <a:spcAft>
                  <a:spcPct val="0"/>
                </a:spcAft>
                <a:defRPr/>
              </a:pPr>
              <a:r>
                <a:rPr lang="en-US" sz="1867" b="1">
                  <a:solidFill>
                    <a:srgbClr val="005073"/>
                  </a:solidFill>
                  <a:latin typeface="CiscoSansTT ExtraLight"/>
                  <a:sym typeface="Arial"/>
                </a:rPr>
                <a:t>Response</a:t>
              </a:r>
            </a:p>
          </p:txBody>
        </p:sp>
        <p:sp>
          <p:nvSpPr>
            <p:cNvPr id="264" name="TextBox 263">
              <a:extLst>
                <a:ext uri="{FF2B5EF4-FFF2-40B4-BE49-F238E27FC236}">
                  <a16:creationId xmlns:a16="http://schemas.microsoft.com/office/drawing/2014/main" id="{39E1D073-68C7-4993-AE21-6F946B812B4F}"/>
                </a:ext>
              </a:extLst>
            </p:cNvPr>
            <p:cNvSpPr txBox="1"/>
            <p:nvPr/>
          </p:nvSpPr>
          <p:spPr>
            <a:xfrm>
              <a:off x="6647903" y="3257090"/>
              <a:ext cx="1969915" cy="246173"/>
            </a:xfrm>
            <a:prstGeom prst="rect">
              <a:avLst/>
            </a:prstGeom>
            <a:noFill/>
          </p:spPr>
          <p:txBody>
            <a:bodyPr wrap="square" rtlCol="0">
              <a:spAutoFit/>
            </a:bodyPr>
            <a:lstStyle/>
            <a:p>
              <a:pPr algn="ctr" defTabSz="609585" fontAlgn="base">
                <a:spcBef>
                  <a:spcPct val="0"/>
                </a:spcBef>
                <a:spcAft>
                  <a:spcPct val="0"/>
                </a:spcAft>
                <a:defRPr/>
              </a:pPr>
              <a:r>
                <a:rPr lang="en-US" sz="1533">
                  <a:solidFill>
                    <a:srgbClr val="282828"/>
                  </a:solidFill>
                  <a:latin typeface="CiscoSansTT ExtraLight"/>
                  <a:ea typeface="ＭＳ Ｐゴシック" charset="0"/>
                  <a:cs typeface="Arial"/>
                  <a:sym typeface="Arial"/>
                </a:rPr>
                <a:t>Mitigation recommendation</a:t>
              </a:r>
            </a:p>
          </p:txBody>
        </p:sp>
        <p:grpSp>
          <p:nvGrpSpPr>
            <p:cNvPr id="311" name="Group 310">
              <a:extLst>
                <a:ext uri="{FF2B5EF4-FFF2-40B4-BE49-F238E27FC236}">
                  <a16:creationId xmlns:a16="http://schemas.microsoft.com/office/drawing/2014/main" id="{DAD3F5FF-70D4-4E25-AA78-15A2B12F73E4}"/>
                </a:ext>
              </a:extLst>
            </p:cNvPr>
            <p:cNvGrpSpPr/>
            <p:nvPr/>
          </p:nvGrpSpPr>
          <p:grpSpPr>
            <a:xfrm>
              <a:off x="6873061" y="2205930"/>
              <a:ext cx="1591618" cy="811966"/>
              <a:chOff x="6610736" y="2003565"/>
              <a:chExt cx="1591618" cy="811966"/>
            </a:xfrm>
          </p:grpSpPr>
          <p:sp>
            <p:nvSpPr>
              <p:cNvPr id="312" name="Oval 342">
                <a:extLst>
                  <a:ext uri="{FF2B5EF4-FFF2-40B4-BE49-F238E27FC236}">
                    <a16:creationId xmlns:a16="http://schemas.microsoft.com/office/drawing/2014/main" id="{3BCBAA89-60D2-43B1-963A-16019A33558C}"/>
                  </a:ext>
                </a:extLst>
              </p:cNvPr>
              <p:cNvSpPr>
                <a:spLocks noChangeAspect="1" noChangeArrowheads="1"/>
              </p:cNvSpPr>
              <p:nvPr/>
            </p:nvSpPr>
            <p:spPr bwMode="auto">
              <a:xfrm>
                <a:off x="6722287" y="2003565"/>
                <a:ext cx="307747" cy="304489"/>
              </a:xfrm>
              <a:prstGeom prst="ellipse">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nvGrpSpPr>
              <p:cNvPr id="313" name="Group 312">
                <a:extLst>
                  <a:ext uri="{FF2B5EF4-FFF2-40B4-BE49-F238E27FC236}">
                    <a16:creationId xmlns:a16="http://schemas.microsoft.com/office/drawing/2014/main" id="{CCA54A78-62D6-4913-B842-005B663252F0}"/>
                  </a:ext>
                </a:extLst>
              </p:cNvPr>
              <p:cNvGrpSpPr/>
              <p:nvPr/>
            </p:nvGrpSpPr>
            <p:grpSpPr>
              <a:xfrm>
                <a:off x="6610736" y="2102532"/>
                <a:ext cx="1591618" cy="712999"/>
                <a:chOff x="6610736" y="2102532"/>
                <a:chExt cx="1591618" cy="712999"/>
              </a:xfrm>
            </p:grpSpPr>
            <p:sp>
              <p:nvSpPr>
                <p:cNvPr id="314" name="Freeform 343">
                  <a:extLst>
                    <a:ext uri="{FF2B5EF4-FFF2-40B4-BE49-F238E27FC236}">
                      <a16:creationId xmlns:a16="http://schemas.microsoft.com/office/drawing/2014/main" id="{9CC3F18F-D478-4515-BEB3-24878F3FDFA3}"/>
                    </a:ext>
                  </a:extLst>
                </p:cNvPr>
                <p:cNvSpPr>
                  <a:spLocks noChangeAspect="1"/>
                </p:cNvSpPr>
                <p:nvPr/>
              </p:nvSpPr>
              <p:spPr bwMode="auto">
                <a:xfrm>
                  <a:off x="6610736" y="2372154"/>
                  <a:ext cx="529052" cy="443377"/>
                </a:xfrm>
                <a:custGeom>
                  <a:avLst/>
                  <a:gdLst>
                    <a:gd name="T0" fmla="*/ 28 w 28"/>
                    <a:gd name="T1" fmla="*/ 9 h 35"/>
                    <a:gd name="T2" fmla="*/ 19 w 28"/>
                    <a:gd name="T3" fmla="*/ 0 h 35"/>
                    <a:gd name="T4" fmla="*/ 9 w 28"/>
                    <a:gd name="T5" fmla="*/ 0 h 35"/>
                    <a:gd name="T6" fmla="*/ 0 w 28"/>
                    <a:gd name="T7" fmla="*/ 9 h 35"/>
                    <a:gd name="T8" fmla="*/ 0 w 28"/>
                    <a:gd name="T9" fmla="*/ 35 h 35"/>
                    <a:gd name="T10" fmla="*/ 28 w 28"/>
                    <a:gd name="T11" fmla="*/ 35 h 35"/>
                    <a:gd name="T12" fmla="*/ 28 w 28"/>
                    <a:gd name="T13" fmla="*/ 9 h 35"/>
                  </a:gdLst>
                  <a:ahLst/>
                  <a:cxnLst>
                    <a:cxn ang="0">
                      <a:pos x="T0" y="T1"/>
                    </a:cxn>
                    <a:cxn ang="0">
                      <a:pos x="T2" y="T3"/>
                    </a:cxn>
                    <a:cxn ang="0">
                      <a:pos x="T4" y="T5"/>
                    </a:cxn>
                    <a:cxn ang="0">
                      <a:pos x="T6" y="T7"/>
                    </a:cxn>
                    <a:cxn ang="0">
                      <a:pos x="T8" y="T9"/>
                    </a:cxn>
                    <a:cxn ang="0">
                      <a:pos x="T10" y="T11"/>
                    </a:cxn>
                    <a:cxn ang="0">
                      <a:pos x="T12" y="T13"/>
                    </a:cxn>
                  </a:cxnLst>
                  <a:rect l="0" t="0" r="r" b="b"/>
                  <a:pathLst>
                    <a:path w="28" h="35">
                      <a:moveTo>
                        <a:pt x="28" y="9"/>
                      </a:moveTo>
                      <a:cubicBezTo>
                        <a:pt x="28" y="4"/>
                        <a:pt x="24" y="0"/>
                        <a:pt x="19" y="0"/>
                      </a:cubicBezTo>
                      <a:cubicBezTo>
                        <a:pt x="9" y="0"/>
                        <a:pt x="9" y="0"/>
                        <a:pt x="9" y="0"/>
                      </a:cubicBezTo>
                      <a:cubicBezTo>
                        <a:pt x="4" y="0"/>
                        <a:pt x="0" y="4"/>
                        <a:pt x="0" y="9"/>
                      </a:cubicBezTo>
                      <a:cubicBezTo>
                        <a:pt x="0" y="35"/>
                        <a:pt x="0" y="35"/>
                        <a:pt x="0" y="35"/>
                      </a:cubicBezTo>
                      <a:cubicBezTo>
                        <a:pt x="28" y="35"/>
                        <a:pt x="28" y="35"/>
                        <a:pt x="28" y="35"/>
                      </a:cubicBezTo>
                      <a:lnTo>
                        <a:pt x="28" y="9"/>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315" name="Freeform: Shape 314">
                  <a:extLst>
                    <a:ext uri="{FF2B5EF4-FFF2-40B4-BE49-F238E27FC236}">
                      <a16:creationId xmlns:a16="http://schemas.microsoft.com/office/drawing/2014/main" id="{8E48E5CA-3866-4BEC-89A6-072D35FE0E4D}"/>
                    </a:ext>
                  </a:extLst>
                </p:cNvPr>
                <p:cNvSpPr/>
                <p:nvPr/>
              </p:nvSpPr>
              <p:spPr>
                <a:xfrm>
                  <a:off x="6937729" y="2102532"/>
                  <a:ext cx="214589" cy="622056"/>
                </a:xfrm>
                <a:custGeom>
                  <a:avLst/>
                  <a:gdLst>
                    <a:gd name="connsiteX0" fmla="*/ 0 w 235880"/>
                    <a:gd name="connsiteY0" fmla="*/ 454287 h 856158"/>
                    <a:gd name="connsiteX1" fmla="*/ 235880 w 235880"/>
                    <a:gd name="connsiteY1" fmla="*/ 0 h 856158"/>
                    <a:gd name="connsiteX2" fmla="*/ 227144 w 235880"/>
                    <a:gd name="connsiteY2" fmla="*/ 856158 h 856158"/>
                    <a:gd name="connsiteX3" fmla="*/ 0 w 235880"/>
                    <a:gd name="connsiteY3" fmla="*/ 454287 h 856158"/>
                    <a:gd name="connsiteX0" fmla="*/ 0 w 238792"/>
                    <a:gd name="connsiteY0" fmla="*/ 474672 h 856158"/>
                    <a:gd name="connsiteX1" fmla="*/ 238792 w 238792"/>
                    <a:gd name="connsiteY1" fmla="*/ 0 h 856158"/>
                    <a:gd name="connsiteX2" fmla="*/ 230056 w 238792"/>
                    <a:gd name="connsiteY2" fmla="*/ 856158 h 856158"/>
                    <a:gd name="connsiteX3" fmla="*/ 0 w 238792"/>
                    <a:gd name="connsiteY3" fmla="*/ 474672 h 856158"/>
                    <a:gd name="connsiteX0" fmla="*/ 0 w 230056"/>
                    <a:gd name="connsiteY0" fmla="*/ 474672 h 856158"/>
                    <a:gd name="connsiteX1" fmla="*/ 230056 w 230056"/>
                    <a:gd name="connsiteY1" fmla="*/ 0 h 856158"/>
                    <a:gd name="connsiteX2" fmla="*/ 230056 w 230056"/>
                    <a:gd name="connsiteY2" fmla="*/ 856158 h 856158"/>
                    <a:gd name="connsiteX3" fmla="*/ 0 w 230056"/>
                    <a:gd name="connsiteY3" fmla="*/ 474672 h 856158"/>
                  </a:gdLst>
                  <a:ahLst/>
                  <a:cxnLst>
                    <a:cxn ang="0">
                      <a:pos x="connsiteX0" y="connsiteY0"/>
                    </a:cxn>
                    <a:cxn ang="0">
                      <a:pos x="connsiteX1" y="connsiteY1"/>
                    </a:cxn>
                    <a:cxn ang="0">
                      <a:pos x="connsiteX2" y="connsiteY2"/>
                    </a:cxn>
                    <a:cxn ang="0">
                      <a:pos x="connsiteX3" y="connsiteY3"/>
                    </a:cxn>
                  </a:cxnLst>
                  <a:rect l="l" t="t" r="r" b="b"/>
                  <a:pathLst>
                    <a:path w="230056" h="856158">
                      <a:moveTo>
                        <a:pt x="0" y="474672"/>
                      </a:moveTo>
                      <a:lnTo>
                        <a:pt x="230056" y="0"/>
                      </a:lnTo>
                      <a:lnTo>
                        <a:pt x="230056" y="856158"/>
                      </a:lnTo>
                      <a:lnTo>
                        <a:pt x="0" y="474672"/>
                      </a:lnTo>
                      <a:close/>
                    </a:path>
                  </a:pathLst>
                </a:cu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grpSp>
              <p:nvGrpSpPr>
                <p:cNvPr id="317" name="Group 316">
                  <a:extLst>
                    <a:ext uri="{FF2B5EF4-FFF2-40B4-BE49-F238E27FC236}">
                      <a16:creationId xmlns:a16="http://schemas.microsoft.com/office/drawing/2014/main" id="{216F519D-D39C-4D1C-9D71-8BA472BCE167}"/>
                    </a:ext>
                  </a:extLst>
                </p:cNvPr>
                <p:cNvGrpSpPr/>
                <p:nvPr/>
              </p:nvGrpSpPr>
              <p:grpSpPr>
                <a:xfrm>
                  <a:off x="7048501" y="2116123"/>
                  <a:ext cx="1153853" cy="661525"/>
                  <a:chOff x="941418" y="3215019"/>
                  <a:chExt cx="1153853" cy="661525"/>
                </a:xfrm>
              </p:grpSpPr>
              <p:grpSp>
                <p:nvGrpSpPr>
                  <p:cNvPr id="318" name="Group 221">
                    <a:extLst>
                      <a:ext uri="{FF2B5EF4-FFF2-40B4-BE49-F238E27FC236}">
                        <a16:creationId xmlns:a16="http://schemas.microsoft.com/office/drawing/2014/main" id="{A3D732EA-912F-4CED-8B86-E05F205D1C99}"/>
                      </a:ext>
                    </a:extLst>
                  </p:cNvPr>
                  <p:cNvGrpSpPr>
                    <a:grpSpLocks noChangeAspect="1"/>
                  </p:cNvGrpSpPr>
                  <p:nvPr/>
                </p:nvGrpSpPr>
                <p:grpSpPr bwMode="auto">
                  <a:xfrm>
                    <a:off x="941418" y="3215019"/>
                    <a:ext cx="1153853" cy="661525"/>
                    <a:chOff x="2049" y="1143"/>
                    <a:chExt cx="1664" cy="954"/>
                  </a:xfrm>
                </p:grpSpPr>
                <p:sp>
                  <p:nvSpPr>
                    <p:cNvPr id="332" name="Freeform 222">
                      <a:extLst>
                        <a:ext uri="{FF2B5EF4-FFF2-40B4-BE49-F238E27FC236}">
                          <a16:creationId xmlns:a16="http://schemas.microsoft.com/office/drawing/2014/main" id="{3A4DA3F9-0F18-4F66-958C-7A674E957115}"/>
                        </a:ext>
                      </a:extLst>
                    </p:cNvPr>
                    <p:cNvSpPr>
                      <a:spLocks/>
                    </p:cNvSpPr>
                    <p:nvPr/>
                  </p:nvSpPr>
                  <p:spPr bwMode="auto">
                    <a:xfrm>
                      <a:off x="2049" y="2028"/>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333" name="Freeform 223">
                      <a:extLst>
                        <a:ext uri="{FF2B5EF4-FFF2-40B4-BE49-F238E27FC236}">
                          <a16:creationId xmlns:a16="http://schemas.microsoft.com/office/drawing/2014/main" id="{1CE79785-CFA7-46D8-A32E-41ABAB9EE575}"/>
                        </a:ext>
                      </a:extLst>
                    </p:cNvPr>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tx2"/>
                    </a:solidFill>
                    <a:ln w="9525">
                      <a:no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nvGrpSpPr>
                  <p:cNvPr id="319" name="Group 318">
                    <a:extLst>
                      <a:ext uri="{FF2B5EF4-FFF2-40B4-BE49-F238E27FC236}">
                        <a16:creationId xmlns:a16="http://schemas.microsoft.com/office/drawing/2014/main" id="{F53F12CC-81F9-4D8E-AB4B-470A0CEC9BC6}"/>
                      </a:ext>
                    </a:extLst>
                  </p:cNvPr>
                  <p:cNvGrpSpPr/>
                  <p:nvPr/>
                </p:nvGrpSpPr>
                <p:grpSpPr>
                  <a:xfrm>
                    <a:off x="1526844" y="3581264"/>
                    <a:ext cx="320982" cy="82100"/>
                    <a:chOff x="1526844" y="3544617"/>
                    <a:chExt cx="320982" cy="106532"/>
                  </a:xfrm>
                </p:grpSpPr>
                <p:sp>
                  <p:nvSpPr>
                    <p:cNvPr id="330" name="Freeform 54">
                      <a:extLst>
                        <a:ext uri="{FF2B5EF4-FFF2-40B4-BE49-F238E27FC236}">
                          <a16:creationId xmlns:a16="http://schemas.microsoft.com/office/drawing/2014/main" id="{E21916D6-2DEA-4270-85B2-FB8088F3F898}"/>
                        </a:ext>
                      </a:extLst>
                    </p:cNvPr>
                    <p:cNvSpPr>
                      <a:spLocks/>
                    </p:cNvSpPr>
                    <p:nvPr/>
                  </p:nvSpPr>
                  <p:spPr bwMode="auto">
                    <a:xfrm>
                      <a:off x="1526844" y="3544617"/>
                      <a:ext cx="320982" cy="31952"/>
                    </a:xfrm>
                    <a:prstGeom prst="roundRect">
                      <a:avLst>
                        <a:gd name="adj" fmla="val 50000"/>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331" name="Freeform 54">
                      <a:extLst>
                        <a:ext uri="{FF2B5EF4-FFF2-40B4-BE49-F238E27FC236}">
                          <a16:creationId xmlns:a16="http://schemas.microsoft.com/office/drawing/2014/main" id="{C9E96C14-8A5E-40BB-AD17-E5AE62AA906E}"/>
                        </a:ext>
                      </a:extLst>
                    </p:cNvPr>
                    <p:cNvSpPr>
                      <a:spLocks/>
                    </p:cNvSpPr>
                    <p:nvPr/>
                  </p:nvSpPr>
                  <p:spPr bwMode="auto">
                    <a:xfrm>
                      <a:off x="1526844" y="3619196"/>
                      <a:ext cx="267608" cy="31953"/>
                    </a:xfrm>
                    <a:prstGeom prst="roundRect">
                      <a:avLst>
                        <a:gd name="adj" fmla="val 50000"/>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nvGrpSpPr>
                  <p:cNvPr id="320" name="Group 319">
                    <a:extLst>
                      <a:ext uri="{FF2B5EF4-FFF2-40B4-BE49-F238E27FC236}">
                        <a16:creationId xmlns:a16="http://schemas.microsoft.com/office/drawing/2014/main" id="{C16B5F6B-DBF1-4271-90E0-107B9B7E1EF7}"/>
                      </a:ext>
                    </a:extLst>
                  </p:cNvPr>
                  <p:cNvGrpSpPr>
                    <a:grpSpLocks noChangeAspect="1"/>
                  </p:cNvGrpSpPr>
                  <p:nvPr/>
                </p:nvGrpSpPr>
                <p:grpSpPr>
                  <a:xfrm>
                    <a:off x="1178850" y="3332810"/>
                    <a:ext cx="267608" cy="334878"/>
                    <a:chOff x="3690937" y="1443038"/>
                    <a:chExt cx="2020888" cy="2528887"/>
                  </a:xfrm>
                  <a:solidFill>
                    <a:schemeClr val="accent5"/>
                  </a:solidFill>
                </p:grpSpPr>
                <p:sp>
                  <p:nvSpPr>
                    <p:cNvPr id="327" name="Freeform 19">
                      <a:extLst>
                        <a:ext uri="{FF2B5EF4-FFF2-40B4-BE49-F238E27FC236}">
                          <a16:creationId xmlns:a16="http://schemas.microsoft.com/office/drawing/2014/main" id="{3A2A771E-D717-42E1-B117-3A5BCE72070C}"/>
                        </a:ext>
                      </a:extLst>
                    </p:cNvPr>
                    <p:cNvSpPr>
                      <a:spLocks/>
                    </p:cNvSpPr>
                    <p:nvPr/>
                  </p:nvSpPr>
                  <p:spPr bwMode="auto">
                    <a:xfrm>
                      <a:off x="3690937" y="1443038"/>
                      <a:ext cx="2020888" cy="2005013"/>
                    </a:xfrm>
                    <a:custGeom>
                      <a:avLst/>
                      <a:gdLst>
                        <a:gd name="connsiteX0" fmla="*/ 1399705 w 2020888"/>
                        <a:gd name="connsiteY0" fmla="*/ 1944688 h 2005013"/>
                        <a:gd name="connsiteX1" fmla="*/ 1399945 w 2020888"/>
                        <a:gd name="connsiteY1" fmla="*/ 1944825 h 2005013"/>
                        <a:gd name="connsiteX2" fmla="*/ 1399945 w 2020888"/>
                        <a:gd name="connsiteY2" fmla="*/ 1944688 h 2005013"/>
                        <a:gd name="connsiteX3" fmla="*/ 620943 w 2020888"/>
                        <a:gd name="connsiteY3" fmla="*/ 1943298 h 2005013"/>
                        <a:gd name="connsiteX4" fmla="*/ 620943 w 2020888"/>
                        <a:gd name="connsiteY4" fmla="*/ 1943826 h 2005013"/>
                        <a:gd name="connsiteX5" fmla="*/ 620943 w 2020888"/>
                        <a:gd name="connsiteY5" fmla="*/ 1944825 h 2005013"/>
                        <a:gd name="connsiteX6" fmla="*/ 621584 w 2020888"/>
                        <a:gd name="connsiteY6" fmla="*/ 1944483 h 2005013"/>
                        <a:gd name="connsiteX7" fmla="*/ 621584 w 2020888"/>
                        <a:gd name="connsiteY7" fmla="*/ 1944483 h 2005013"/>
                        <a:gd name="connsiteX8" fmla="*/ 1012326 w 2020888"/>
                        <a:gd name="connsiteY8" fmla="*/ 0 h 2005013"/>
                        <a:gd name="connsiteX9" fmla="*/ 1727351 w 2020888"/>
                        <a:gd name="connsiteY9" fmla="*/ 293417 h 2005013"/>
                        <a:gd name="connsiteX10" fmla="*/ 2020888 w 2020888"/>
                        <a:gd name="connsiteY10" fmla="*/ 1008149 h 2005013"/>
                        <a:gd name="connsiteX11" fmla="*/ 1960676 w 2020888"/>
                        <a:gd name="connsiteY11" fmla="*/ 1309089 h 2005013"/>
                        <a:gd name="connsiteX12" fmla="*/ 1825197 w 2020888"/>
                        <a:gd name="connsiteY12" fmla="*/ 1546080 h 2005013"/>
                        <a:gd name="connsiteX13" fmla="*/ 1614453 w 2020888"/>
                        <a:gd name="connsiteY13" fmla="*/ 1768023 h 2005013"/>
                        <a:gd name="connsiteX14" fmla="*/ 1505317 w 2020888"/>
                        <a:gd name="connsiteY14" fmla="*/ 1895922 h 2005013"/>
                        <a:gd name="connsiteX15" fmla="*/ 1456394 w 2020888"/>
                        <a:gd name="connsiteY15" fmla="*/ 1971157 h 2005013"/>
                        <a:gd name="connsiteX16" fmla="*/ 1399945 w 2020888"/>
                        <a:gd name="connsiteY16" fmla="*/ 2005013 h 2005013"/>
                        <a:gd name="connsiteX17" fmla="*/ 620943 w 2020888"/>
                        <a:gd name="connsiteY17" fmla="*/ 2005013 h 2005013"/>
                        <a:gd name="connsiteX18" fmla="*/ 568257 w 2020888"/>
                        <a:gd name="connsiteY18" fmla="*/ 1974919 h 2005013"/>
                        <a:gd name="connsiteX19" fmla="*/ 568257 w 2020888"/>
                        <a:gd name="connsiteY19" fmla="*/ 1971157 h 2005013"/>
                        <a:gd name="connsiteX20" fmla="*/ 564494 w 2020888"/>
                        <a:gd name="connsiteY20" fmla="*/ 1971157 h 2005013"/>
                        <a:gd name="connsiteX21" fmla="*/ 560731 w 2020888"/>
                        <a:gd name="connsiteY21" fmla="*/ 1959872 h 2005013"/>
                        <a:gd name="connsiteX22" fmla="*/ 538151 w 2020888"/>
                        <a:gd name="connsiteY22" fmla="*/ 1926016 h 2005013"/>
                        <a:gd name="connsiteX23" fmla="*/ 466648 w 2020888"/>
                        <a:gd name="connsiteY23" fmla="*/ 1828211 h 2005013"/>
                        <a:gd name="connsiteX24" fmla="*/ 406436 w 2020888"/>
                        <a:gd name="connsiteY24" fmla="*/ 1768023 h 2005013"/>
                        <a:gd name="connsiteX25" fmla="*/ 270957 w 2020888"/>
                        <a:gd name="connsiteY25" fmla="*/ 1636362 h 2005013"/>
                        <a:gd name="connsiteX26" fmla="*/ 63976 w 2020888"/>
                        <a:gd name="connsiteY26" fmla="*/ 1309089 h 2005013"/>
                        <a:gd name="connsiteX27" fmla="*/ 0 w 2020888"/>
                        <a:gd name="connsiteY27" fmla="*/ 1008149 h 2005013"/>
                        <a:gd name="connsiteX28" fmla="*/ 297300 w 2020888"/>
                        <a:gd name="connsiteY28" fmla="*/ 293417 h 2005013"/>
                        <a:gd name="connsiteX29" fmla="*/ 1012326 w 2020888"/>
                        <a:gd name="connsiteY29" fmla="*/ 0 h 200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020888" h="2005013">
                          <a:moveTo>
                            <a:pt x="1399705" y="1944688"/>
                          </a:moveTo>
                          <a:lnTo>
                            <a:pt x="1399945" y="1944825"/>
                          </a:lnTo>
                          <a:lnTo>
                            <a:pt x="1399945" y="1944688"/>
                          </a:lnTo>
                          <a:close/>
                          <a:moveTo>
                            <a:pt x="620943" y="1943298"/>
                          </a:moveTo>
                          <a:lnTo>
                            <a:pt x="620943" y="1943826"/>
                          </a:lnTo>
                          <a:cubicBezTo>
                            <a:pt x="620943" y="1944825"/>
                            <a:pt x="620943" y="1944825"/>
                            <a:pt x="620943" y="1944825"/>
                          </a:cubicBezTo>
                          <a:lnTo>
                            <a:pt x="621584" y="1944483"/>
                          </a:lnTo>
                          <a:lnTo>
                            <a:pt x="621584" y="1944483"/>
                          </a:lnTo>
                          <a:close/>
                          <a:moveTo>
                            <a:pt x="1012326" y="0"/>
                          </a:moveTo>
                          <a:cubicBezTo>
                            <a:pt x="1290809" y="0"/>
                            <a:pt x="1542950" y="112853"/>
                            <a:pt x="1727351" y="293417"/>
                          </a:cubicBezTo>
                          <a:cubicBezTo>
                            <a:pt x="1907989" y="477742"/>
                            <a:pt x="2020888" y="729780"/>
                            <a:pt x="2020888" y="1008149"/>
                          </a:cubicBezTo>
                          <a:cubicBezTo>
                            <a:pt x="2020888" y="1117240"/>
                            <a:pt x="1998308" y="1218807"/>
                            <a:pt x="1960676" y="1309089"/>
                          </a:cubicBezTo>
                          <a:cubicBezTo>
                            <a:pt x="1923043" y="1399371"/>
                            <a:pt x="1874120" y="1482130"/>
                            <a:pt x="1825197" y="1546080"/>
                          </a:cubicBezTo>
                          <a:cubicBezTo>
                            <a:pt x="1727351" y="1677741"/>
                            <a:pt x="1625742" y="1760499"/>
                            <a:pt x="1614453" y="1768023"/>
                          </a:cubicBezTo>
                          <a:cubicBezTo>
                            <a:pt x="1573056" y="1801879"/>
                            <a:pt x="1531660" y="1850781"/>
                            <a:pt x="1505317" y="1895922"/>
                          </a:cubicBezTo>
                          <a:cubicBezTo>
                            <a:pt x="1475211" y="1937302"/>
                            <a:pt x="1456394" y="1971157"/>
                            <a:pt x="1456394" y="1971157"/>
                          </a:cubicBezTo>
                          <a:cubicBezTo>
                            <a:pt x="1445104" y="1993728"/>
                            <a:pt x="1426288" y="2005013"/>
                            <a:pt x="1399945" y="2005013"/>
                          </a:cubicBezTo>
                          <a:cubicBezTo>
                            <a:pt x="1399945" y="2005013"/>
                            <a:pt x="1399945" y="2005013"/>
                            <a:pt x="620943" y="2005013"/>
                          </a:cubicBezTo>
                          <a:cubicBezTo>
                            <a:pt x="598364" y="2005013"/>
                            <a:pt x="579547" y="1993728"/>
                            <a:pt x="568257" y="1974919"/>
                          </a:cubicBezTo>
                          <a:cubicBezTo>
                            <a:pt x="568257" y="1974919"/>
                            <a:pt x="568257" y="1974919"/>
                            <a:pt x="568257" y="1971157"/>
                          </a:cubicBezTo>
                          <a:cubicBezTo>
                            <a:pt x="568257" y="1971157"/>
                            <a:pt x="568257" y="1971157"/>
                            <a:pt x="564494" y="1971157"/>
                          </a:cubicBezTo>
                          <a:cubicBezTo>
                            <a:pt x="564494" y="1967396"/>
                            <a:pt x="560731" y="1963634"/>
                            <a:pt x="560731" y="1959872"/>
                          </a:cubicBezTo>
                          <a:cubicBezTo>
                            <a:pt x="553204" y="1952349"/>
                            <a:pt x="549441" y="1941063"/>
                            <a:pt x="538151" y="1926016"/>
                          </a:cubicBezTo>
                          <a:cubicBezTo>
                            <a:pt x="519335" y="1895922"/>
                            <a:pt x="496755" y="1862067"/>
                            <a:pt x="466648" y="1828211"/>
                          </a:cubicBezTo>
                          <a:cubicBezTo>
                            <a:pt x="447832" y="1805640"/>
                            <a:pt x="425252" y="1783070"/>
                            <a:pt x="406436" y="1768023"/>
                          </a:cubicBezTo>
                          <a:cubicBezTo>
                            <a:pt x="398909" y="1760499"/>
                            <a:pt x="342460" y="1715358"/>
                            <a:pt x="270957" y="1636362"/>
                          </a:cubicBezTo>
                          <a:cubicBezTo>
                            <a:pt x="203218" y="1557365"/>
                            <a:pt x="120425" y="1444512"/>
                            <a:pt x="63976" y="1309089"/>
                          </a:cubicBezTo>
                          <a:cubicBezTo>
                            <a:pt x="26343" y="1218807"/>
                            <a:pt x="0" y="1117240"/>
                            <a:pt x="0" y="1008149"/>
                          </a:cubicBezTo>
                          <a:cubicBezTo>
                            <a:pt x="0" y="729780"/>
                            <a:pt x="116662" y="477742"/>
                            <a:pt x="297300" y="293417"/>
                          </a:cubicBezTo>
                          <a:cubicBezTo>
                            <a:pt x="481702" y="112853"/>
                            <a:pt x="733842" y="0"/>
                            <a:pt x="1012326" y="0"/>
                          </a:cubicBezTo>
                          <a:close/>
                        </a:path>
                      </a:pathLst>
                    </a:custGeom>
                    <a:solidFill>
                      <a:schemeClr val="bg2"/>
                    </a:solidFill>
                    <a:ln>
                      <a:noFill/>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328" name="Freeform 8">
                      <a:extLst>
                        <a:ext uri="{FF2B5EF4-FFF2-40B4-BE49-F238E27FC236}">
                          <a16:creationId xmlns:a16="http://schemas.microsoft.com/office/drawing/2014/main" id="{6FBC2278-8E7D-4872-8C51-C0A3559633E8}"/>
                        </a:ext>
                      </a:extLst>
                    </p:cNvPr>
                    <p:cNvSpPr>
                      <a:spLocks/>
                    </p:cNvSpPr>
                    <p:nvPr/>
                  </p:nvSpPr>
                  <p:spPr bwMode="auto">
                    <a:xfrm>
                      <a:off x="4264025" y="3602038"/>
                      <a:ext cx="879475" cy="117475"/>
                    </a:xfrm>
                    <a:custGeom>
                      <a:avLst/>
                      <a:gdLst>
                        <a:gd name="T0" fmla="*/ 15 w 234"/>
                        <a:gd name="T1" fmla="*/ 31 h 31"/>
                        <a:gd name="T2" fmla="*/ 218 w 234"/>
                        <a:gd name="T3" fmla="*/ 31 h 31"/>
                        <a:gd name="T4" fmla="*/ 234 w 234"/>
                        <a:gd name="T5" fmla="*/ 15 h 31"/>
                        <a:gd name="T6" fmla="*/ 218 w 234"/>
                        <a:gd name="T7" fmla="*/ 0 h 31"/>
                        <a:gd name="T8" fmla="*/ 15 w 234"/>
                        <a:gd name="T9" fmla="*/ 0 h 31"/>
                        <a:gd name="T10" fmla="*/ 0 w 234"/>
                        <a:gd name="T11" fmla="*/ 15 h 31"/>
                        <a:gd name="T12" fmla="*/ 15 w 23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34" h="31">
                          <a:moveTo>
                            <a:pt x="15" y="31"/>
                          </a:moveTo>
                          <a:cubicBezTo>
                            <a:pt x="218" y="31"/>
                            <a:pt x="218" y="31"/>
                            <a:pt x="218" y="31"/>
                          </a:cubicBezTo>
                          <a:cubicBezTo>
                            <a:pt x="227" y="31"/>
                            <a:pt x="234" y="24"/>
                            <a:pt x="234" y="15"/>
                          </a:cubicBezTo>
                          <a:cubicBezTo>
                            <a:pt x="234" y="7"/>
                            <a:pt x="227" y="0"/>
                            <a:pt x="218" y="0"/>
                          </a:cubicBezTo>
                          <a:cubicBezTo>
                            <a:pt x="15" y="0"/>
                            <a:pt x="15" y="0"/>
                            <a:pt x="15" y="0"/>
                          </a:cubicBezTo>
                          <a:cubicBezTo>
                            <a:pt x="7" y="0"/>
                            <a:pt x="0" y="7"/>
                            <a:pt x="0" y="15"/>
                          </a:cubicBezTo>
                          <a:cubicBezTo>
                            <a:pt x="0" y="24"/>
                            <a:pt x="7" y="31"/>
                            <a:pt x="15"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329" name="Freeform 9">
                      <a:extLst>
                        <a:ext uri="{FF2B5EF4-FFF2-40B4-BE49-F238E27FC236}">
                          <a16:creationId xmlns:a16="http://schemas.microsoft.com/office/drawing/2014/main" id="{4204F424-904F-4D4F-8FD5-5B418B4A796E}"/>
                        </a:ext>
                      </a:extLst>
                    </p:cNvPr>
                    <p:cNvSpPr>
                      <a:spLocks/>
                    </p:cNvSpPr>
                    <p:nvPr/>
                  </p:nvSpPr>
                  <p:spPr bwMode="auto">
                    <a:xfrm>
                      <a:off x="4395788" y="3854450"/>
                      <a:ext cx="615950" cy="117475"/>
                    </a:xfrm>
                    <a:custGeom>
                      <a:avLst/>
                      <a:gdLst>
                        <a:gd name="T0" fmla="*/ 15 w 164"/>
                        <a:gd name="T1" fmla="*/ 31 h 31"/>
                        <a:gd name="T2" fmla="*/ 149 w 164"/>
                        <a:gd name="T3" fmla="*/ 31 h 31"/>
                        <a:gd name="T4" fmla="*/ 164 w 164"/>
                        <a:gd name="T5" fmla="*/ 15 h 31"/>
                        <a:gd name="T6" fmla="*/ 149 w 164"/>
                        <a:gd name="T7" fmla="*/ 0 h 31"/>
                        <a:gd name="T8" fmla="*/ 15 w 164"/>
                        <a:gd name="T9" fmla="*/ 0 h 31"/>
                        <a:gd name="T10" fmla="*/ 0 w 164"/>
                        <a:gd name="T11" fmla="*/ 15 h 31"/>
                        <a:gd name="T12" fmla="*/ 15 w 16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64" h="31">
                          <a:moveTo>
                            <a:pt x="15" y="31"/>
                          </a:moveTo>
                          <a:cubicBezTo>
                            <a:pt x="149" y="31"/>
                            <a:pt x="149" y="31"/>
                            <a:pt x="149" y="31"/>
                          </a:cubicBezTo>
                          <a:cubicBezTo>
                            <a:pt x="157" y="31"/>
                            <a:pt x="164" y="24"/>
                            <a:pt x="164" y="15"/>
                          </a:cubicBezTo>
                          <a:cubicBezTo>
                            <a:pt x="164" y="7"/>
                            <a:pt x="157" y="0"/>
                            <a:pt x="149" y="0"/>
                          </a:cubicBezTo>
                          <a:cubicBezTo>
                            <a:pt x="15" y="0"/>
                            <a:pt x="15" y="0"/>
                            <a:pt x="15" y="0"/>
                          </a:cubicBezTo>
                          <a:cubicBezTo>
                            <a:pt x="7" y="0"/>
                            <a:pt x="0" y="7"/>
                            <a:pt x="0" y="15"/>
                          </a:cubicBezTo>
                          <a:cubicBezTo>
                            <a:pt x="0" y="24"/>
                            <a:pt x="7" y="31"/>
                            <a:pt x="15"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nvGrpSpPr>
                  <p:cNvPr id="321" name="Group 320">
                    <a:extLst>
                      <a:ext uri="{FF2B5EF4-FFF2-40B4-BE49-F238E27FC236}">
                        <a16:creationId xmlns:a16="http://schemas.microsoft.com/office/drawing/2014/main" id="{C31222B5-CC6E-46C3-B1D4-A95B8A0F16CA}"/>
                      </a:ext>
                    </a:extLst>
                  </p:cNvPr>
                  <p:cNvGrpSpPr/>
                  <p:nvPr/>
                </p:nvGrpSpPr>
                <p:grpSpPr>
                  <a:xfrm>
                    <a:off x="1527968" y="3350395"/>
                    <a:ext cx="212562" cy="183567"/>
                    <a:chOff x="4135328" y="3656217"/>
                    <a:chExt cx="695711" cy="600811"/>
                  </a:xfrm>
                </p:grpSpPr>
                <p:sp>
                  <p:nvSpPr>
                    <p:cNvPr id="322" name="Freeform 45">
                      <a:extLst>
                        <a:ext uri="{FF2B5EF4-FFF2-40B4-BE49-F238E27FC236}">
                          <a16:creationId xmlns:a16="http://schemas.microsoft.com/office/drawing/2014/main" id="{07D2B3C0-027B-41B7-B097-63A0373D10FD}"/>
                        </a:ext>
                      </a:extLst>
                    </p:cNvPr>
                    <p:cNvSpPr>
                      <a:spLocks/>
                    </p:cNvSpPr>
                    <p:nvPr/>
                  </p:nvSpPr>
                  <p:spPr bwMode="auto">
                    <a:xfrm>
                      <a:off x="4135328" y="3656217"/>
                      <a:ext cx="695711" cy="600811"/>
                    </a:xfrm>
                    <a:custGeom>
                      <a:avLst/>
                      <a:gdLst>
                        <a:gd name="T0" fmla="*/ 218 w 449"/>
                        <a:gd name="T1" fmla="*/ 5 h 388"/>
                        <a:gd name="T2" fmla="*/ 3 w 449"/>
                        <a:gd name="T3" fmla="*/ 376 h 388"/>
                        <a:gd name="T4" fmla="*/ 10 w 449"/>
                        <a:gd name="T5" fmla="*/ 388 h 388"/>
                        <a:gd name="T6" fmla="*/ 439 w 449"/>
                        <a:gd name="T7" fmla="*/ 388 h 388"/>
                        <a:gd name="T8" fmla="*/ 446 w 449"/>
                        <a:gd name="T9" fmla="*/ 376 h 388"/>
                        <a:gd name="T10" fmla="*/ 231 w 449"/>
                        <a:gd name="T11" fmla="*/ 5 h 388"/>
                        <a:gd name="T12" fmla="*/ 218 w 449"/>
                        <a:gd name="T13" fmla="*/ 5 h 388"/>
                      </a:gdLst>
                      <a:ahLst/>
                      <a:cxnLst>
                        <a:cxn ang="0">
                          <a:pos x="T0" y="T1"/>
                        </a:cxn>
                        <a:cxn ang="0">
                          <a:pos x="T2" y="T3"/>
                        </a:cxn>
                        <a:cxn ang="0">
                          <a:pos x="T4" y="T5"/>
                        </a:cxn>
                        <a:cxn ang="0">
                          <a:pos x="T6" y="T7"/>
                        </a:cxn>
                        <a:cxn ang="0">
                          <a:pos x="T8" y="T9"/>
                        </a:cxn>
                        <a:cxn ang="0">
                          <a:pos x="T10" y="T11"/>
                        </a:cxn>
                        <a:cxn ang="0">
                          <a:pos x="T12" y="T13"/>
                        </a:cxn>
                      </a:cxnLst>
                      <a:rect l="0" t="0" r="r" b="b"/>
                      <a:pathLst>
                        <a:path w="449" h="388">
                          <a:moveTo>
                            <a:pt x="218" y="5"/>
                          </a:moveTo>
                          <a:cubicBezTo>
                            <a:pt x="3" y="376"/>
                            <a:pt x="3" y="376"/>
                            <a:pt x="3" y="376"/>
                          </a:cubicBezTo>
                          <a:cubicBezTo>
                            <a:pt x="0" y="381"/>
                            <a:pt x="4" y="388"/>
                            <a:pt x="10" y="388"/>
                          </a:cubicBezTo>
                          <a:cubicBezTo>
                            <a:pt x="439" y="388"/>
                            <a:pt x="439" y="388"/>
                            <a:pt x="439" y="388"/>
                          </a:cubicBezTo>
                          <a:cubicBezTo>
                            <a:pt x="445" y="388"/>
                            <a:pt x="449" y="381"/>
                            <a:pt x="446" y="376"/>
                          </a:cubicBezTo>
                          <a:cubicBezTo>
                            <a:pt x="231" y="5"/>
                            <a:pt x="231" y="5"/>
                            <a:pt x="231" y="5"/>
                          </a:cubicBezTo>
                          <a:cubicBezTo>
                            <a:pt x="228" y="0"/>
                            <a:pt x="221" y="0"/>
                            <a:pt x="218" y="5"/>
                          </a:cubicBezTo>
                          <a:close/>
                        </a:path>
                      </a:pathLst>
                    </a:custGeom>
                    <a:solidFill>
                      <a:srgbClr val="FAAC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323" name="Oval 47">
                      <a:extLst>
                        <a:ext uri="{FF2B5EF4-FFF2-40B4-BE49-F238E27FC236}">
                          <a16:creationId xmlns:a16="http://schemas.microsoft.com/office/drawing/2014/main" id="{F8ECBE73-8360-44BE-A12E-55AD24FB7253}"/>
                        </a:ext>
                      </a:extLst>
                    </p:cNvPr>
                    <p:cNvSpPr>
                      <a:spLocks noChangeArrowheads="1"/>
                    </p:cNvSpPr>
                    <p:nvPr/>
                  </p:nvSpPr>
                  <p:spPr bwMode="auto">
                    <a:xfrm>
                      <a:off x="4336613" y="3888919"/>
                      <a:ext cx="297720" cy="2977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324" name="Freeform 46">
                      <a:extLst>
                        <a:ext uri="{FF2B5EF4-FFF2-40B4-BE49-F238E27FC236}">
                          <a16:creationId xmlns:a16="http://schemas.microsoft.com/office/drawing/2014/main" id="{4F08E271-537A-4640-AAF6-60B1C8A39CBC}"/>
                        </a:ext>
                      </a:extLst>
                    </p:cNvPr>
                    <p:cNvSpPr>
                      <a:spLocks noEditPoints="1"/>
                    </p:cNvSpPr>
                    <p:nvPr/>
                  </p:nvSpPr>
                  <p:spPr bwMode="auto">
                    <a:xfrm>
                      <a:off x="4321200" y="3874813"/>
                      <a:ext cx="328548" cy="325931"/>
                    </a:xfrm>
                    <a:custGeom>
                      <a:avLst/>
                      <a:gdLst>
                        <a:gd name="T0" fmla="*/ 0 w 212"/>
                        <a:gd name="T1" fmla="*/ 106 h 211"/>
                        <a:gd name="T2" fmla="*/ 106 w 212"/>
                        <a:gd name="T3" fmla="*/ 0 h 211"/>
                        <a:gd name="T4" fmla="*/ 212 w 212"/>
                        <a:gd name="T5" fmla="*/ 106 h 211"/>
                        <a:gd name="T6" fmla="*/ 106 w 212"/>
                        <a:gd name="T7" fmla="*/ 211 h 211"/>
                        <a:gd name="T8" fmla="*/ 0 w 212"/>
                        <a:gd name="T9" fmla="*/ 106 h 211"/>
                        <a:gd name="T10" fmla="*/ 20 w 212"/>
                        <a:gd name="T11" fmla="*/ 106 h 211"/>
                        <a:gd name="T12" fmla="*/ 106 w 212"/>
                        <a:gd name="T13" fmla="*/ 192 h 211"/>
                        <a:gd name="T14" fmla="*/ 192 w 212"/>
                        <a:gd name="T15" fmla="*/ 106 h 211"/>
                        <a:gd name="T16" fmla="*/ 106 w 212"/>
                        <a:gd name="T17" fmla="*/ 19 h 211"/>
                        <a:gd name="T18" fmla="*/ 20 w 212"/>
                        <a:gd name="T1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1">
                          <a:moveTo>
                            <a:pt x="0" y="106"/>
                          </a:moveTo>
                          <a:cubicBezTo>
                            <a:pt x="0" y="47"/>
                            <a:pt x="48" y="0"/>
                            <a:pt x="106" y="0"/>
                          </a:cubicBezTo>
                          <a:cubicBezTo>
                            <a:pt x="165" y="0"/>
                            <a:pt x="212" y="47"/>
                            <a:pt x="212" y="106"/>
                          </a:cubicBezTo>
                          <a:cubicBezTo>
                            <a:pt x="212" y="164"/>
                            <a:pt x="165" y="211"/>
                            <a:pt x="106" y="211"/>
                          </a:cubicBezTo>
                          <a:cubicBezTo>
                            <a:pt x="48" y="211"/>
                            <a:pt x="0" y="164"/>
                            <a:pt x="0" y="106"/>
                          </a:cubicBezTo>
                          <a:close/>
                          <a:moveTo>
                            <a:pt x="20" y="106"/>
                          </a:moveTo>
                          <a:cubicBezTo>
                            <a:pt x="20" y="153"/>
                            <a:pt x="59" y="192"/>
                            <a:pt x="106" y="192"/>
                          </a:cubicBezTo>
                          <a:cubicBezTo>
                            <a:pt x="154" y="192"/>
                            <a:pt x="192" y="153"/>
                            <a:pt x="192" y="106"/>
                          </a:cubicBezTo>
                          <a:cubicBezTo>
                            <a:pt x="192" y="58"/>
                            <a:pt x="154" y="19"/>
                            <a:pt x="106" y="19"/>
                          </a:cubicBezTo>
                          <a:cubicBezTo>
                            <a:pt x="59" y="19"/>
                            <a:pt x="20" y="58"/>
                            <a:pt x="20" y="106"/>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325" name="Freeform 48">
                      <a:extLst>
                        <a:ext uri="{FF2B5EF4-FFF2-40B4-BE49-F238E27FC236}">
                          <a16:creationId xmlns:a16="http://schemas.microsoft.com/office/drawing/2014/main" id="{A56DD5E9-ACA7-4670-B730-5B2613D86179}"/>
                        </a:ext>
                      </a:extLst>
                    </p:cNvPr>
                    <p:cNvSpPr>
                      <a:spLocks/>
                    </p:cNvSpPr>
                    <p:nvPr/>
                  </p:nvSpPr>
                  <p:spPr bwMode="auto">
                    <a:xfrm>
                      <a:off x="4467558" y="3933050"/>
                      <a:ext cx="31250" cy="132723"/>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E3241B"/>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326" name="Oval 49">
                      <a:extLst>
                        <a:ext uri="{FF2B5EF4-FFF2-40B4-BE49-F238E27FC236}">
                          <a16:creationId xmlns:a16="http://schemas.microsoft.com/office/drawing/2014/main" id="{976D39B7-95C0-40F0-BC96-87CE166A497E}"/>
                        </a:ext>
                      </a:extLst>
                    </p:cNvPr>
                    <p:cNvSpPr>
                      <a:spLocks noChangeArrowheads="1"/>
                    </p:cNvSpPr>
                    <p:nvPr/>
                  </p:nvSpPr>
                  <p:spPr bwMode="auto">
                    <a:xfrm>
                      <a:off x="4466084" y="4095827"/>
                      <a:ext cx="32724" cy="32070"/>
                    </a:xfrm>
                    <a:prstGeom prst="ellipse">
                      <a:avLst/>
                    </a:prstGeom>
                    <a:solidFill>
                      <a:srgbClr val="E3241B"/>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grpSp>
        </p:grpSp>
        <p:sp>
          <p:nvSpPr>
            <p:cNvPr id="343" name="Freeform 224">
              <a:extLst>
                <a:ext uri="{FF2B5EF4-FFF2-40B4-BE49-F238E27FC236}">
                  <a16:creationId xmlns:a16="http://schemas.microsoft.com/office/drawing/2014/main" id="{990C4E6D-0B78-4691-A2AC-FEADB7E93B3C}"/>
                </a:ext>
              </a:extLst>
            </p:cNvPr>
            <p:cNvSpPr>
              <a:spLocks noEditPoints="1"/>
            </p:cNvSpPr>
            <p:nvPr/>
          </p:nvSpPr>
          <p:spPr bwMode="auto">
            <a:xfrm>
              <a:off x="7410257" y="2275212"/>
              <a:ext cx="951457" cy="623240"/>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sp>
        <p:nvSpPr>
          <p:cNvPr id="2" name="Title 1"/>
          <p:cNvSpPr>
            <a:spLocks noGrp="1"/>
          </p:cNvSpPr>
          <p:nvPr>
            <p:ph type="title"/>
          </p:nvPr>
        </p:nvSpPr>
        <p:spPr>
          <a:xfrm>
            <a:off x="583688" y="455085"/>
            <a:ext cx="11042256" cy="975783"/>
          </a:xfrm>
        </p:spPr>
        <p:txBody>
          <a:bodyPr/>
          <a:lstStyle/>
          <a:p>
            <a:pPr algn="ctr"/>
            <a:r>
              <a:rPr lang="en-US"/>
              <a:t>Detection and Response for Advanced Threats </a:t>
            </a:r>
          </a:p>
        </p:txBody>
      </p:sp>
      <p:grpSp>
        <p:nvGrpSpPr>
          <p:cNvPr id="20" name="Group 19">
            <a:extLst>
              <a:ext uri="{FF2B5EF4-FFF2-40B4-BE49-F238E27FC236}">
                <a16:creationId xmlns:a16="http://schemas.microsoft.com/office/drawing/2014/main" id="{203B8639-925B-4ED1-A64F-8895B618327D}"/>
              </a:ext>
            </a:extLst>
          </p:cNvPr>
          <p:cNvGrpSpPr/>
          <p:nvPr/>
        </p:nvGrpSpPr>
        <p:grpSpPr>
          <a:xfrm>
            <a:off x="701576" y="2156835"/>
            <a:ext cx="2645769" cy="3001965"/>
            <a:chOff x="526181" y="1617626"/>
            <a:chExt cx="1984327" cy="2251474"/>
          </a:xfrm>
        </p:grpSpPr>
        <p:sp>
          <p:nvSpPr>
            <p:cNvPr id="132" name="Rectangle 131">
              <a:extLst>
                <a:ext uri="{FF2B5EF4-FFF2-40B4-BE49-F238E27FC236}">
                  <a16:creationId xmlns:a16="http://schemas.microsoft.com/office/drawing/2014/main" id="{98562C0E-EF72-4419-B8BF-08CACEF44DB4}"/>
                </a:ext>
              </a:extLst>
            </p:cNvPr>
            <p:cNvSpPr>
              <a:spLocks noChangeAspect="1"/>
            </p:cNvSpPr>
            <p:nvPr/>
          </p:nvSpPr>
          <p:spPr>
            <a:xfrm>
              <a:off x="526181" y="1617626"/>
              <a:ext cx="1984327" cy="2251474"/>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21920" rtlCol="0" anchor="t"/>
            <a:lstStyle/>
            <a:p>
              <a:pPr algn="ctr" defTabSz="609585" fontAlgn="base">
                <a:spcBef>
                  <a:spcPct val="0"/>
                </a:spcBef>
                <a:spcAft>
                  <a:spcPct val="0"/>
                </a:spcAft>
                <a:defRPr/>
              </a:pPr>
              <a:r>
                <a:rPr lang="en-US" sz="1867" b="1">
                  <a:solidFill>
                    <a:srgbClr val="005073"/>
                  </a:solidFill>
                  <a:latin typeface="CiscoSansTT ExtraLight"/>
                  <a:sym typeface="Arial"/>
                </a:rPr>
                <a:t>Detection</a:t>
              </a:r>
            </a:p>
          </p:txBody>
        </p:sp>
        <p:grpSp>
          <p:nvGrpSpPr>
            <p:cNvPr id="13" name="Group 12">
              <a:extLst>
                <a:ext uri="{FF2B5EF4-FFF2-40B4-BE49-F238E27FC236}">
                  <a16:creationId xmlns:a16="http://schemas.microsoft.com/office/drawing/2014/main" id="{B83C41E6-F4AB-439C-8AF4-AB058FD83E24}"/>
                </a:ext>
              </a:extLst>
            </p:cNvPr>
            <p:cNvGrpSpPr/>
            <p:nvPr/>
          </p:nvGrpSpPr>
          <p:grpSpPr>
            <a:xfrm>
              <a:off x="623771" y="2253213"/>
              <a:ext cx="1738299" cy="935261"/>
              <a:chOff x="623771" y="2029262"/>
              <a:chExt cx="1738299" cy="935261"/>
            </a:xfrm>
          </p:grpSpPr>
          <p:grpSp>
            <p:nvGrpSpPr>
              <p:cNvPr id="227" name="Group 226">
                <a:extLst>
                  <a:ext uri="{FF2B5EF4-FFF2-40B4-BE49-F238E27FC236}">
                    <a16:creationId xmlns:a16="http://schemas.microsoft.com/office/drawing/2014/main" id="{E80BE431-6BB9-4DDB-A3FB-FF867B2FF460}"/>
                  </a:ext>
                </a:extLst>
              </p:cNvPr>
              <p:cNvGrpSpPr/>
              <p:nvPr/>
            </p:nvGrpSpPr>
            <p:grpSpPr>
              <a:xfrm>
                <a:off x="623771" y="2180532"/>
                <a:ext cx="1142297" cy="712061"/>
                <a:chOff x="1180743" y="1804285"/>
                <a:chExt cx="1048957" cy="601386"/>
              </a:xfrm>
            </p:grpSpPr>
            <p:grpSp>
              <p:nvGrpSpPr>
                <p:cNvPr id="228" name="Group 227">
                  <a:extLst>
                    <a:ext uri="{FF2B5EF4-FFF2-40B4-BE49-F238E27FC236}">
                      <a16:creationId xmlns:a16="http://schemas.microsoft.com/office/drawing/2014/main" id="{1A6E29A8-95FF-46A9-A1D0-34CD209C84D0}"/>
                    </a:ext>
                  </a:extLst>
                </p:cNvPr>
                <p:cNvGrpSpPr/>
                <p:nvPr/>
              </p:nvGrpSpPr>
              <p:grpSpPr>
                <a:xfrm>
                  <a:off x="1180743" y="1804285"/>
                  <a:ext cx="1048957" cy="601386"/>
                  <a:chOff x="1180743" y="1804285"/>
                  <a:chExt cx="1048957" cy="601386"/>
                </a:xfrm>
              </p:grpSpPr>
              <p:grpSp>
                <p:nvGrpSpPr>
                  <p:cNvPr id="240" name="Group 221">
                    <a:extLst>
                      <a:ext uri="{FF2B5EF4-FFF2-40B4-BE49-F238E27FC236}">
                        <a16:creationId xmlns:a16="http://schemas.microsoft.com/office/drawing/2014/main" id="{857C822E-25FB-49BF-B2B5-98BFF3B29C7E}"/>
                      </a:ext>
                    </a:extLst>
                  </p:cNvPr>
                  <p:cNvGrpSpPr>
                    <a:grpSpLocks noChangeAspect="1"/>
                  </p:cNvGrpSpPr>
                  <p:nvPr/>
                </p:nvGrpSpPr>
                <p:grpSpPr bwMode="auto">
                  <a:xfrm>
                    <a:off x="1180743" y="1804285"/>
                    <a:ext cx="1048957" cy="601386"/>
                    <a:chOff x="2049" y="1143"/>
                    <a:chExt cx="1664" cy="954"/>
                  </a:xfrm>
                </p:grpSpPr>
                <p:sp>
                  <p:nvSpPr>
                    <p:cNvPr id="259" name="Freeform 222">
                      <a:extLst>
                        <a:ext uri="{FF2B5EF4-FFF2-40B4-BE49-F238E27FC236}">
                          <a16:creationId xmlns:a16="http://schemas.microsoft.com/office/drawing/2014/main" id="{9B024F93-7800-4584-9F70-D500C9355F20}"/>
                        </a:ext>
                      </a:extLst>
                    </p:cNvPr>
                    <p:cNvSpPr>
                      <a:spLocks/>
                    </p:cNvSpPr>
                    <p:nvPr/>
                  </p:nvSpPr>
                  <p:spPr bwMode="auto">
                    <a:xfrm>
                      <a:off x="2049" y="2028"/>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260" name="Freeform 223">
                      <a:extLst>
                        <a:ext uri="{FF2B5EF4-FFF2-40B4-BE49-F238E27FC236}">
                          <a16:creationId xmlns:a16="http://schemas.microsoft.com/office/drawing/2014/main" id="{B2CFB3F4-CC28-487C-AA71-5BCDC67EC535}"/>
                        </a:ext>
                      </a:extLst>
                    </p:cNvPr>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tx2"/>
                    </a:solidFill>
                    <a:ln w="9525">
                      <a:no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261" name="Freeform 224">
                      <a:extLst>
                        <a:ext uri="{FF2B5EF4-FFF2-40B4-BE49-F238E27FC236}">
                          <a16:creationId xmlns:a16="http://schemas.microsoft.com/office/drawing/2014/main" id="{AEE51365-E573-4CEE-BE9C-3709F7213F3A}"/>
                        </a:ext>
                      </a:extLst>
                    </p:cNvPr>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nvGrpSpPr>
                  <p:cNvPr id="241" name="Group 240">
                    <a:extLst>
                      <a:ext uri="{FF2B5EF4-FFF2-40B4-BE49-F238E27FC236}">
                        <a16:creationId xmlns:a16="http://schemas.microsoft.com/office/drawing/2014/main" id="{2A1786B2-CD94-40AA-A2BD-91C7B0D44E7D}"/>
                      </a:ext>
                    </a:extLst>
                  </p:cNvPr>
                  <p:cNvGrpSpPr/>
                  <p:nvPr/>
                </p:nvGrpSpPr>
                <p:grpSpPr>
                  <a:xfrm>
                    <a:off x="1374140" y="1916576"/>
                    <a:ext cx="334104" cy="288530"/>
                    <a:chOff x="4135328" y="3656217"/>
                    <a:chExt cx="695711" cy="600811"/>
                  </a:xfrm>
                </p:grpSpPr>
                <p:sp>
                  <p:nvSpPr>
                    <p:cNvPr id="252" name="Freeform 45">
                      <a:extLst>
                        <a:ext uri="{FF2B5EF4-FFF2-40B4-BE49-F238E27FC236}">
                          <a16:creationId xmlns:a16="http://schemas.microsoft.com/office/drawing/2014/main" id="{467E3F9E-CD25-43CE-BA3C-56E55A6948EF}"/>
                        </a:ext>
                      </a:extLst>
                    </p:cNvPr>
                    <p:cNvSpPr>
                      <a:spLocks/>
                    </p:cNvSpPr>
                    <p:nvPr/>
                  </p:nvSpPr>
                  <p:spPr bwMode="auto">
                    <a:xfrm>
                      <a:off x="4135328" y="3656217"/>
                      <a:ext cx="695711" cy="600811"/>
                    </a:xfrm>
                    <a:custGeom>
                      <a:avLst/>
                      <a:gdLst>
                        <a:gd name="T0" fmla="*/ 218 w 449"/>
                        <a:gd name="T1" fmla="*/ 5 h 388"/>
                        <a:gd name="T2" fmla="*/ 3 w 449"/>
                        <a:gd name="T3" fmla="*/ 376 h 388"/>
                        <a:gd name="T4" fmla="*/ 10 w 449"/>
                        <a:gd name="T5" fmla="*/ 388 h 388"/>
                        <a:gd name="T6" fmla="*/ 439 w 449"/>
                        <a:gd name="T7" fmla="*/ 388 h 388"/>
                        <a:gd name="T8" fmla="*/ 446 w 449"/>
                        <a:gd name="T9" fmla="*/ 376 h 388"/>
                        <a:gd name="T10" fmla="*/ 231 w 449"/>
                        <a:gd name="T11" fmla="*/ 5 h 388"/>
                        <a:gd name="T12" fmla="*/ 218 w 449"/>
                        <a:gd name="T13" fmla="*/ 5 h 388"/>
                      </a:gdLst>
                      <a:ahLst/>
                      <a:cxnLst>
                        <a:cxn ang="0">
                          <a:pos x="T0" y="T1"/>
                        </a:cxn>
                        <a:cxn ang="0">
                          <a:pos x="T2" y="T3"/>
                        </a:cxn>
                        <a:cxn ang="0">
                          <a:pos x="T4" y="T5"/>
                        </a:cxn>
                        <a:cxn ang="0">
                          <a:pos x="T6" y="T7"/>
                        </a:cxn>
                        <a:cxn ang="0">
                          <a:pos x="T8" y="T9"/>
                        </a:cxn>
                        <a:cxn ang="0">
                          <a:pos x="T10" y="T11"/>
                        </a:cxn>
                        <a:cxn ang="0">
                          <a:pos x="T12" y="T13"/>
                        </a:cxn>
                      </a:cxnLst>
                      <a:rect l="0" t="0" r="r" b="b"/>
                      <a:pathLst>
                        <a:path w="449" h="388">
                          <a:moveTo>
                            <a:pt x="218" y="5"/>
                          </a:moveTo>
                          <a:cubicBezTo>
                            <a:pt x="3" y="376"/>
                            <a:pt x="3" y="376"/>
                            <a:pt x="3" y="376"/>
                          </a:cubicBezTo>
                          <a:cubicBezTo>
                            <a:pt x="0" y="381"/>
                            <a:pt x="4" y="388"/>
                            <a:pt x="10" y="388"/>
                          </a:cubicBezTo>
                          <a:cubicBezTo>
                            <a:pt x="439" y="388"/>
                            <a:pt x="439" y="388"/>
                            <a:pt x="439" y="388"/>
                          </a:cubicBezTo>
                          <a:cubicBezTo>
                            <a:pt x="445" y="388"/>
                            <a:pt x="449" y="381"/>
                            <a:pt x="446" y="376"/>
                          </a:cubicBezTo>
                          <a:cubicBezTo>
                            <a:pt x="231" y="5"/>
                            <a:pt x="231" y="5"/>
                            <a:pt x="231" y="5"/>
                          </a:cubicBezTo>
                          <a:cubicBezTo>
                            <a:pt x="228" y="0"/>
                            <a:pt x="221" y="0"/>
                            <a:pt x="218" y="5"/>
                          </a:cubicBezTo>
                          <a:close/>
                        </a:path>
                      </a:pathLst>
                    </a:custGeom>
                    <a:solidFill>
                      <a:srgbClr val="FAAC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53" name="Oval 47">
                      <a:extLst>
                        <a:ext uri="{FF2B5EF4-FFF2-40B4-BE49-F238E27FC236}">
                          <a16:creationId xmlns:a16="http://schemas.microsoft.com/office/drawing/2014/main" id="{E399103F-F228-4089-AE26-FF49E43A6878}"/>
                        </a:ext>
                      </a:extLst>
                    </p:cNvPr>
                    <p:cNvSpPr>
                      <a:spLocks noChangeArrowheads="1"/>
                    </p:cNvSpPr>
                    <p:nvPr/>
                  </p:nvSpPr>
                  <p:spPr bwMode="auto">
                    <a:xfrm>
                      <a:off x="4336613" y="3888919"/>
                      <a:ext cx="297720" cy="2977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54" name="Freeform 46">
                      <a:extLst>
                        <a:ext uri="{FF2B5EF4-FFF2-40B4-BE49-F238E27FC236}">
                          <a16:creationId xmlns:a16="http://schemas.microsoft.com/office/drawing/2014/main" id="{D76BE48C-8F08-4408-951C-51DFA44C5074}"/>
                        </a:ext>
                      </a:extLst>
                    </p:cNvPr>
                    <p:cNvSpPr>
                      <a:spLocks noEditPoints="1"/>
                    </p:cNvSpPr>
                    <p:nvPr/>
                  </p:nvSpPr>
                  <p:spPr bwMode="auto">
                    <a:xfrm>
                      <a:off x="4321200" y="3874813"/>
                      <a:ext cx="328548" cy="325931"/>
                    </a:xfrm>
                    <a:custGeom>
                      <a:avLst/>
                      <a:gdLst>
                        <a:gd name="T0" fmla="*/ 0 w 212"/>
                        <a:gd name="T1" fmla="*/ 106 h 211"/>
                        <a:gd name="T2" fmla="*/ 106 w 212"/>
                        <a:gd name="T3" fmla="*/ 0 h 211"/>
                        <a:gd name="T4" fmla="*/ 212 w 212"/>
                        <a:gd name="T5" fmla="*/ 106 h 211"/>
                        <a:gd name="T6" fmla="*/ 106 w 212"/>
                        <a:gd name="T7" fmla="*/ 211 h 211"/>
                        <a:gd name="T8" fmla="*/ 0 w 212"/>
                        <a:gd name="T9" fmla="*/ 106 h 211"/>
                        <a:gd name="T10" fmla="*/ 20 w 212"/>
                        <a:gd name="T11" fmla="*/ 106 h 211"/>
                        <a:gd name="T12" fmla="*/ 106 w 212"/>
                        <a:gd name="T13" fmla="*/ 192 h 211"/>
                        <a:gd name="T14" fmla="*/ 192 w 212"/>
                        <a:gd name="T15" fmla="*/ 106 h 211"/>
                        <a:gd name="T16" fmla="*/ 106 w 212"/>
                        <a:gd name="T17" fmla="*/ 19 h 211"/>
                        <a:gd name="T18" fmla="*/ 20 w 212"/>
                        <a:gd name="T1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1">
                          <a:moveTo>
                            <a:pt x="0" y="106"/>
                          </a:moveTo>
                          <a:cubicBezTo>
                            <a:pt x="0" y="47"/>
                            <a:pt x="48" y="0"/>
                            <a:pt x="106" y="0"/>
                          </a:cubicBezTo>
                          <a:cubicBezTo>
                            <a:pt x="165" y="0"/>
                            <a:pt x="212" y="47"/>
                            <a:pt x="212" y="106"/>
                          </a:cubicBezTo>
                          <a:cubicBezTo>
                            <a:pt x="212" y="164"/>
                            <a:pt x="165" y="211"/>
                            <a:pt x="106" y="211"/>
                          </a:cubicBezTo>
                          <a:cubicBezTo>
                            <a:pt x="48" y="211"/>
                            <a:pt x="0" y="164"/>
                            <a:pt x="0" y="106"/>
                          </a:cubicBezTo>
                          <a:close/>
                          <a:moveTo>
                            <a:pt x="20" y="106"/>
                          </a:moveTo>
                          <a:cubicBezTo>
                            <a:pt x="20" y="153"/>
                            <a:pt x="59" y="192"/>
                            <a:pt x="106" y="192"/>
                          </a:cubicBezTo>
                          <a:cubicBezTo>
                            <a:pt x="154" y="192"/>
                            <a:pt x="192" y="153"/>
                            <a:pt x="192" y="106"/>
                          </a:cubicBezTo>
                          <a:cubicBezTo>
                            <a:pt x="192" y="58"/>
                            <a:pt x="154" y="19"/>
                            <a:pt x="106" y="19"/>
                          </a:cubicBezTo>
                          <a:cubicBezTo>
                            <a:pt x="59" y="19"/>
                            <a:pt x="20" y="58"/>
                            <a:pt x="20" y="106"/>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55" name="Freeform 48">
                      <a:extLst>
                        <a:ext uri="{FF2B5EF4-FFF2-40B4-BE49-F238E27FC236}">
                          <a16:creationId xmlns:a16="http://schemas.microsoft.com/office/drawing/2014/main" id="{AC83F9B6-1FB5-47A7-9F1F-F145FF2DBAF6}"/>
                        </a:ext>
                      </a:extLst>
                    </p:cNvPr>
                    <p:cNvSpPr>
                      <a:spLocks/>
                    </p:cNvSpPr>
                    <p:nvPr/>
                  </p:nvSpPr>
                  <p:spPr bwMode="auto">
                    <a:xfrm>
                      <a:off x="4467558" y="3933050"/>
                      <a:ext cx="31250" cy="132723"/>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E3241B"/>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58" name="Oval 49">
                      <a:extLst>
                        <a:ext uri="{FF2B5EF4-FFF2-40B4-BE49-F238E27FC236}">
                          <a16:creationId xmlns:a16="http://schemas.microsoft.com/office/drawing/2014/main" id="{DF52281E-94D0-49CE-A007-3AB8E9DFDAAE}"/>
                        </a:ext>
                      </a:extLst>
                    </p:cNvPr>
                    <p:cNvSpPr>
                      <a:spLocks noChangeArrowheads="1"/>
                    </p:cNvSpPr>
                    <p:nvPr/>
                  </p:nvSpPr>
                  <p:spPr bwMode="auto">
                    <a:xfrm>
                      <a:off x="4466084" y="4095827"/>
                      <a:ext cx="32724" cy="32070"/>
                    </a:xfrm>
                    <a:prstGeom prst="ellipse">
                      <a:avLst/>
                    </a:prstGeom>
                    <a:solidFill>
                      <a:srgbClr val="E3241B"/>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grpSp>
              <p:nvGrpSpPr>
                <p:cNvPr id="230" name="Group 229">
                  <a:extLst>
                    <a:ext uri="{FF2B5EF4-FFF2-40B4-BE49-F238E27FC236}">
                      <a16:creationId xmlns:a16="http://schemas.microsoft.com/office/drawing/2014/main" id="{E34E748F-8753-41D6-833D-2FBC4BE33472}"/>
                    </a:ext>
                  </a:extLst>
                </p:cNvPr>
                <p:cNvGrpSpPr/>
                <p:nvPr/>
              </p:nvGrpSpPr>
              <p:grpSpPr>
                <a:xfrm>
                  <a:off x="1720387" y="2004601"/>
                  <a:ext cx="291802" cy="107263"/>
                  <a:chOff x="1753391" y="2016187"/>
                  <a:chExt cx="353062" cy="105101"/>
                </a:xfrm>
                <a:solidFill>
                  <a:schemeClr val="accent6"/>
                </a:solidFill>
              </p:grpSpPr>
              <p:sp>
                <p:nvSpPr>
                  <p:cNvPr id="238" name="Freeform 53">
                    <a:extLst>
                      <a:ext uri="{FF2B5EF4-FFF2-40B4-BE49-F238E27FC236}">
                        <a16:creationId xmlns:a16="http://schemas.microsoft.com/office/drawing/2014/main" id="{D737B66D-993B-46E1-A2FF-02BE03DB3347}"/>
                      </a:ext>
                    </a:extLst>
                  </p:cNvPr>
                  <p:cNvSpPr>
                    <a:spLocks/>
                  </p:cNvSpPr>
                  <p:nvPr/>
                </p:nvSpPr>
                <p:spPr bwMode="auto">
                  <a:xfrm>
                    <a:off x="1753391" y="2016187"/>
                    <a:ext cx="353062" cy="25807"/>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39" name="Freeform 54">
                    <a:extLst>
                      <a:ext uri="{FF2B5EF4-FFF2-40B4-BE49-F238E27FC236}">
                        <a16:creationId xmlns:a16="http://schemas.microsoft.com/office/drawing/2014/main" id="{F900F75C-0EA5-4138-89D2-44364105E263}"/>
                      </a:ext>
                    </a:extLst>
                  </p:cNvPr>
                  <p:cNvSpPr>
                    <a:spLocks/>
                  </p:cNvSpPr>
                  <p:nvPr/>
                </p:nvSpPr>
                <p:spPr bwMode="auto">
                  <a:xfrm>
                    <a:off x="1753391" y="2095479"/>
                    <a:ext cx="353062" cy="25809"/>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grpSp>
            <p:nvGrpSpPr>
              <p:cNvPr id="57" name="Group 56">
                <a:extLst>
                  <a:ext uri="{FF2B5EF4-FFF2-40B4-BE49-F238E27FC236}">
                    <a16:creationId xmlns:a16="http://schemas.microsoft.com/office/drawing/2014/main" id="{5B7552B3-4C18-4BAD-9689-506E4B329F0E}"/>
                  </a:ext>
                </a:extLst>
              </p:cNvPr>
              <p:cNvGrpSpPr/>
              <p:nvPr/>
            </p:nvGrpSpPr>
            <p:grpSpPr>
              <a:xfrm>
                <a:off x="1386633" y="2029262"/>
                <a:ext cx="975437" cy="935261"/>
                <a:chOff x="5273817" y="1755177"/>
                <a:chExt cx="1038760" cy="935261"/>
              </a:xfrm>
            </p:grpSpPr>
            <p:grpSp>
              <p:nvGrpSpPr>
                <p:cNvPr id="250" name="Group 21">
                  <a:extLst>
                    <a:ext uri="{FF2B5EF4-FFF2-40B4-BE49-F238E27FC236}">
                      <a16:creationId xmlns:a16="http://schemas.microsoft.com/office/drawing/2014/main" id="{90BEBCAA-E7BE-4E81-863C-480FB76E7650}"/>
                    </a:ext>
                  </a:extLst>
                </p:cNvPr>
                <p:cNvGrpSpPr>
                  <a:grpSpLocks noChangeAspect="1"/>
                </p:cNvGrpSpPr>
                <p:nvPr/>
              </p:nvGrpSpPr>
              <p:grpSpPr bwMode="auto">
                <a:xfrm>
                  <a:off x="5498066" y="1755177"/>
                  <a:ext cx="754527" cy="935261"/>
                  <a:chOff x="1556" y="444"/>
                  <a:chExt cx="1027" cy="1273"/>
                </a:xfrm>
              </p:grpSpPr>
              <p:sp>
                <p:nvSpPr>
                  <p:cNvPr id="251" name="Freeform 22">
                    <a:extLst>
                      <a:ext uri="{FF2B5EF4-FFF2-40B4-BE49-F238E27FC236}">
                        <a16:creationId xmlns:a16="http://schemas.microsoft.com/office/drawing/2014/main" id="{B6629C44-9C42-4162-BE79-4822D55903B1}"/>
                      </a:ext>
                    </a:extLst>
                  </p:cNvPr>
                  <p:cNvSpPr>
                    <a:spLocks/>
                  </p:cNvSpPr>
                  <p:nvPr/>
                </p:nvSpPr>
                <p:spPr bwMode="auto">
                  <a:xfrm>
                    <a:off x="1556" y="444"/>
                    <a:ext cx="1027" cy="1273"/>
                  </a:xfrm>
                  <a:custGeom>
                    <a:avLst/>
                    <a:gdLst>
                      <a:gd name="T0" fmla="*/ 36 w 432"/>
                      <a:gd name="T1" fmla="*/ 0 h 536"/>
                      <a:gd name="T2" fmla="*/ 0 w 432"/>
                      <a:gd name="T3" fmla="*/ 36 h 536"/>
                      <a:gd name="T4" fmla="*/ 0 w 432"/>
                      <a:gd name="T5" fmla="*/ 500 h 536"/>
                      <a:gd name="T6" fmla="*/ 36 w 432"/>
                      <a:gd name="T7" fmla="*/ 536 h 536"/>
                      <a:gd name="T8" fmla="*/ 396 w 432"/>
                      <a:gd name="T9" fmla="*/ 536 h 536"/>
                      <a:gd name="T10" fmla="*/ 432 w 432"/>
                      <a:gd name="T11" fmla="*/ 500 h 536"/>
                      <a:gd name="T12" fmla="*/ 432 w 432"/>
                      <a:gd name="T13" fmla="*/ 135 h 536"/>
                      <a:gd name="T14" fmla="*/ 299 w 432"/>
                      <a:gd name="T15" fmla="*/ 0 h 536"/>
                      <a:gd name="T16" fmla="*/ 36 w 432"/>
                      <a:gd name="T1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536">
                        <a:moveTo>
                          <a:pt x="36" y="0"/>
                        </a:moveTo>
                        <a:cubicBezTo>
                          <a:pt x="16" y="0"/>
                          <a:pt x="0" y="16"/>
                          <a:pt x="0" y="36"/>
                        </a:cubicBezTo>
                        <a:cubicBezTo>
                          <a:pt x="0" y="500"/>
                          <a:pt x="0" y="500"/>
                          <a:pt x="0" y="500"/>
                        </a:cubicBezTo>
                        <a:cubicBezTo>
                          <a:pt x="0" y="520"/>
                          <a:pt x="16" y="536"/>
                          <a:pt x="36" y="536"/>
                        </a:cubicBezTo>
                        <a:cubicBezTo>
                          <a:pt x="396" y="536"/>
                          <a:pt x="396" y="536"/>
                          <a:pt x="396" y="536"/>
                        </a:cubicBezTo>
                        <a:cubicBezTo>
                          <a:pt x="415" y="536"/>
                          <a:pt x="432" y="520"/>
                          <a:pt x="432" y="500"/>
                        </a:cubicBezTo>
                        <a:cubicBezTo>
                          <a:pt x="432" y="135"/>
                          <a:pt x="432" y="135"/>
                          <a:pt x="432" y="135"/>
                        </a:cubicBezTo>
                        <a:cubicBezTo>
                          <a:pt x="299" y="0"/>
                          <a:pt x="299" y="0"/>
                          <a:pt x="299" y="0"/>
                        </a:cubicBezTo>
                        <a:lnTo>
                          <a:pt x="36"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256" name="Freeform 27">
                    <a:extLst>
                      <a:ext uri="{FF2B5EF4-FFF2-40B4-BE49-F238E27FC236}">
                        <a16:creationId xmlns:a16="http://schemas.microsoft.com/office/drawing/2014/main" id="{47F5954A-7D61-44E6-9E26-A430A81B8F82}"/>
                      </a:ext>
                    </a:extLst>
                  </p:cNvPr>
                  <p:cNvSpPr>
                    <a:spLocks/>
                  </p:cNvSpPr>
                  <p:nvPr/>
                </p:nvSpPr>
                <p:spPr bwMode="auto">
                  <a:xfrm>
                    <a:off x="2267" y="444"/>
                    <a:ext cx="316" cy="320"/>
                  </a:xfrm>
                  <a:custGeom>
                    <a:avLst/>
                    <a:gdLst>
                      <a:gd name="T0" fmla="*/ 133 w 133"/>
                      <a:gd name="T1" fmla="*/ 135 h 135"/>
                      <a:gd name="T2" fmla="*/ 0 w 133"/>
                      <a:gd name="T3" fmla="*/ 0 h 135"/>
                      <a:gd name="T4" fmla="*/ 0 w 133"/>
                      <a:gd name="T5" fmla="*/ 0 h 135"/>
                      <a:gd name="T6" fmla="*/ 0 w 133"/>
                      <a:gd name="T7" fmla="*/ 99 h 135"/>
                      <a:gd name="T8" fmla="*/ 36 w 133"/>
                      <a:gd name="T9" fmla="*/ 135 h 135"/>
                      <a:gd name="T10" fmla="*/ 133 w 133"/>
                      <a:gd name="T11" fmla="*/ 135 h 135"/>
                    </a:gdLst>
                    <a:ahLst/>
                    <a:cxnLst>
                      <a:cxn ang="0">
                        <a:pos x="T0" y="T1"/>
                      </a:cxn>
                      <a:cxn ang="0">
                        <a:pos x="T2" y="T3"/>
                      </a:cxn>
                      <a:cxn ang="0">
                        <a:pos x="T4" y="T5"/>
                      </a:cxn>
                      <a:cxn ang="0">
                        <a:pos x="T6" y="T7"/>
                      </a:cxn>
                      <a:cxn ang="0">
                        <a:pos x="T8" y="T9"/>
                      </a:cxn>
                      <a:cxn ang="0">
                        <a:pos x="T10" y="T11"/>
                      </a:cxn>
                    </a:cxnLst>
                    <a:rect l="0" t="0" r="r" b="b"/>
                    <a:pathLst>
                      <a:path w="133" h="135">
                        <a:moveTo>
                          <a:pt x="133" y="135"/>
                        </a:moveTo>
                        <a:cubicBezTo>
                          <a:pt x="0" y="0"/>
                          <a:pt x="0" y="0"/>
                          <a:pt x="0" y="0"/>
                        </a:cubicBezTo>
                        <a:cubicBezTo>
                          <a:pt x="0" y="0"/>
                          <a:pt x="0" y="0"/>
                          <a:pt x="0" y="0"/>
                        </a:cubicBezTo>
                        <a:cubicBezTo>
                          <a:pt x="0" y="99"/>
                          <a:pt x="0" y="99"/>
                          <a:pt x="0" y="99"/>
                        </a:cubicBezTo>
                        <a:cubicBezTo>
                          <a:pt x="0" y="119"/>
                          <a:pt x="17" y="135"/>
                          <a:pt x="36" y="135"/>
                        </a:cubicBezTo>
                        <a:cubicBezTo>
                          <a:pt x="133" y="135"/>
                          <a:pt x="133" y="135"/>
                          <a:pt x="133" y="13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nvGrpSpPr>
                <p:cNvPr id="56" name="Group 55">
                  <a:extLst>
                    <a:ext uri="{FF2B5EF4-FFF2-40B4-BE49-F238E27FC236}">
                      <a16:creationId xmlns:a16="http://schemas.microsoft.com/office/drawing/2014/main" id="{2F714422-0794-4C7B-9635-3D24B1FB5622}"/>
                    </a:ext>
                  </a:extLst>
                </p:cNvPr>
                <p:cNvGrpSpPr/>
                <p:nvPr/>
              </p:nvGrpSpPr>
              <p:grpSpPr>
                <a:xfrm>
                  <a:off x="5273817" y="1770840"/>
                  <a:ext cx="1038760" cy="873349"/>
                  <a:chOff x="5273817" y="1770840"/>
                  <a:chExt cx="1038760" cy="873349"/>
                </a:xfrm>
              </p:grpSpPr>
              <p:sp>
                <p:nvSpPr>
                  <p:cNvPr id="55" name="Freeform: Shape 54">
                    <a:extLst>
                      <a:ext uri="{FF2B5EF4-FFF2-40B4-BE49-F238E27FC236}">
                        <a16:creationId xmlns:a16="http://schemas.microsoft.com/office/drawing/2014/main" id="{ACEFCE5A-F1C8-4FE6-9E6C-5CD18D22CEA3}"/>
                      </a:ext>
                    </a:extLst>
                  </p:cNvPr>
                  <p:cNvSpPr/>
                  <p:nvPr/>
                </p:nvSpPr>
                <p:spPr>
                  <a:xfrm>
                    <a:off x="5273817" y="1788031"/>
                    <a:ext cx="230056" cy="856158"/>
                  </a:xfrm>
                  <a:custGeom>
                    <a:avLst/>
                    <a:gdLst>
                      <a:gd name="connsiteX0" fmla="*/ 0 w 235880"/>
                      <a:gd name="connsiteY0" fmla="*/ 454287 h 856158"/>
                      <a:gd name="connsiteX1" fmla="*/ 235880 w 235880"/>
                      <a:gd name="connsiteY1" fmla="*/ 0 h 856158"/>
                      <a:gd name="connsiteX2" fmla="*/ 227144 w 235880"/>
                      <a:gd name="connsiteY2" fmla="*/ 856158 h 856158"/>
                      <a:gd name="connsiteX3" fmla="*/ 0 w 235880"/>
                      <a:gd name="connsiteY3" fmla="*/ 454287 h 856158"/>
                      <a:gd name="connsiteX0" fmla="*/ 0 w 238792"/>
                      <a:gd name="connsiteY0" fmla="*/ 474672 h 856158"/>
                      <a:gd name="connsiteX1" fmla="*/ 238792 w 238792"/>
                      <a:gd name="connsiteY1" fmla="*/ 0 h 856158"/>
                      <a:gd name="connsiteX2" fmla="*/ 230056 w 238792"/>
                      <a:gd name="connsiteY2" fmla="*/ 856158 h 856158"/>
                      <a:gd name="connsiteX3" fmla="*/ 0 w 238792"/>
                      <a:gd name="connsiteY3" fmla="*/ 474672 h 856158"/>
                      <a:gd name="connsiteX0" fmla="*/ 0 w 230056"/>
                      <a:gd name="connsiteY0" fmla="*/ 474672 h 856158"/>
                      <a:gd name="connsiteX1" fmla="*/ 230056 w 230056"/>
                      <a:gd name="connsiteY1" fmla="*/ 0 h 856158"/>
                      <a:gd name="connsiteX2" fmla="*/ 230056 w 230056"/>
                      <a:gd name="connsiteY2" fmla="*/ 856158 h 856158"/>
                      <a:gd name="connsiteX3" fmla="*/ 0 w 230056"/>
                      <a:gd name="connsiteY3" fmla="*/ 474672 h 856158"/>
                    </a:gdLst>
                    <a:ahLst/>
                    <a:cxnLst>
                      <a:cxn ang="0">
                        <a:pos x="connsiteX0" y="connsiteY0"/>
                      </a:cxn>
                      <a:cxn ang="0">
                        <a:pos x="connsiteX1" y="connsiteY1"/>
                      </a:cxn>
                      <a:cxn ang="0">
                        <a:pos x="connsiteX2" y="connsiteY2"/>
                      </a:cxn>
                      <a:cxn ang="0">
                        <a:pos x="connsiteX3" y="connsiteY3"/>
                      </a:cxn>
                    </a:cxnLst>
                    <a:rect l="l" t="t" r="r" b="b"/>
                    <a:pathLst>
                      <a:path w="230056" h="856158">
                        <a:moveTo>
                          <a:pt x="0" y="474672"/>
                        </a:moveTo>
                        <a:lnTo>
                          <a:pt x="230056" y="0"/>
                        </a:lnTo>
                        <a:lnTo>
                          <a:pt x="230056" y="856158"/>
                        </a:lnTo>
                        <a:lnTo>
                          <a:pt x="0" y="474672"/>
                        </a:lnTo>
                        <a:close/>
                      </a:path>
                    </a:pathLst>
                  </a:cu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7" name="Rectangle 6"/>
                  <p:cNvSpPr/>
                  <p:nvPr/>
                </p:nvSpPr>
                <p:spPr>
                  <a:xfrm>
                    <a:off x="5474393" y="1770840"/>
                    <a:ext cx="838184" cy="192409"/>
                  </a:xfrm>
                  <a:prstGeom prst="rect">
                    <a:avLst/>
                  </a:prstGeom>
                </p:spPr>
                <p:txBody>
                  <a:bodyPr wrap="square">
                    <a:spAutoFit/>
                  </a:bodyPr>
                  <a:lstStyle/>
                  <a:p>
                    <a:pPr defTabSz="609585" fontAlgn="base">
                      <a:spcBef>
                        <a:spcPct val="0"/>
                      </a:spcBef>
                      <a:spcAft>
                        <a:spcPts val="133"/>
                      </a:spcAft>
                      <a:defRPr/>
                    </a:pPr>
                    <a:endParaRPr lang="en-US" sz="1067">
                      <a:solidFill>
                        <a:srgbClr val="282828"/>
                      </a:solidFill>
                      <a:latin typeface="CiscoSansTT ExtraLight"/>
                      <a:ea typeface="ＭＳ Ｐゴシック" charset="0"/>
                      <a:cs typeface="Arial"/>
                      <a:sym typeface="Arial"/>
                    </a:endParaRPr>
                  </a:p>
                </p:txBody>
              </p:sp>
            </p:grpSp>
          </p:grpSp>
          <p:grpSp>
            <p:nvGrpSpPr>
              <p:cNvPr id="200" name="Group 199">
                <a:extLst>
                  <a:ext uri="{FF2B5EF4-FFF2-40B4-BE49-F238E27FC236}">
                    <a16:creationId xmlns:a16="http://schemas.microsoft.com/office/drawing/2014/main" id="{9A805B2A-47E8-4013-836A-ABE3467175B9}"/>
                  </a:ext>
                </a:extLst>
              </p:cNvPr>
              <p:cNvGrpSpPr/>
              <p:nvPr/>
            </p:nvGrpSpPr>
            <p:grpSpPr>
              <a:xfrm>
                <a:off x="1685160" y="2243946"/>
                <a:ext cx="291802" cy="107263"/>
                <a:chOff x="1753391" y="2016187"/>
                <a:chExt cx="353062" cy="105101"/>
              </a:xfrm>
              <a:solidFill>
                <a:schemeClr val="accent6"/>
              </a:solidFill>
            </p:grpSpPr>
            <p:sp>
              <p:nvSpPr>
                <p:cNvPr id="201" name="Freeform 53">
                  <a:extLst>
                    <a:ext uri="{FF2B5EF4-FFF2-40B4-BE49-F238E27FC236}">
                      <a16:creationId xmlns:a16="http://schemas.microsoft.com/office/drawing/2014/main" id="{411A111E-A2F9-493B-A668-7881848B9406}"/>
                    </a:ext>
                  </a:extLst>
                </p:cNvPr>
                <p:cNvSpPr>
                  <a:spLocks/>
                </p:cNvSpPr>
                <p:nvPr/>
              </p:nvSpPr>
              <p:spPr bwMode="auto">
                <a:xfrm>
                  <a:off x="1753391" y="2016187"/>
                  <a:ext cx="353062" cy="25807"/>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02" name="Freeform 54">
                  <a:extLst>
                    <a:ext uri="{FF2B5EF4-FFF2-40B4-BE49-F238E27FC236}">
                      <a16:creationId xmlns:a16="http://schemas.microsoft.com/office/drawing/2014/main" id="{E9FB2F11-67EA-4014-A88D-866F8CF8C3F2}"/>
                    </a:ext>
                  </a:extLst>
                </p:cNvPr>
                <p:cNvSpPr>
                  <a:spLocks/>
                </p:cNvSpPr>
                <p:nvPr/>
              </p:nvSpPr>
              <p:spPr bwMode="auto">
                <a:xfrm>
                  <a:off x="1753391" y="2095479"/>
                  <a:ext cx="353062" cy="25809"/>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nvGrpSpPr>
              <p:cNvPr id="203" name="Group 202">
                <a:extLst>
                  <a:ext uri="{FF2B5EF4-FFF2-40B4-BE49-F238E27FC236}">
                    <a16:creationId xmlns:a16="http://schemas.microsoft.com/office/drawing/2014/main" id="{F9527572-B7BD-402C-9EFD-B670DDD3F5E3}"/>
                  </a:ext>
                </a:extLst>
              </p:cNvPr>
              <p:cNvGrpSpPr/>
              <p:nvPr/>
            </p:nvGrpSpPr>
            <p:grpSpPr>
              <a:xfrm>
                <a:off x="1685160" y="2451240"/>
                <a:ext cx="417012" cy="135886"/>
                <a:chOff x="1753391" y="2016187"/>
                <a:chExt cx="353062" cy="105101"/>
              </a:xfrm>
              <a:solidFill>
                <a:schemeClr val="accent6"/>
              </a:solidFill>
            </p:grpSpPr>
            <p:sp>
              <p:nvSpPr>
                <p:cNvPr id="204" name="Freeform 53">
                  <a:extLst>
                    <a:ext uri="{FF2B5EF4-FFF2-40B4-BE49-F238E27FC236}">
                      <a16:creationId xmlns:a16="http://schemas.microsoft.com/office/drawing/2014/main" id="{6B21C4B7-8EF8-4F98-AE83-C222145F7581}"/>
                    </a:ext>
                  </a:extLst>
                </p:cNvPr>
                <p:cNvSpPr>
                  <a:spLocks/>
                </p:cNvSpPr>
                <p:nvPr/>
              </p:nvSpPr>
              <p:spPr bwMode="auto">
                <a:xfrm>
                  <a:off x="1753391" y="2016187"/>
                  <a:ext cx="353062" cy="25807"/>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11" name="Freeform 54">
                  <a:extLst>
                    <a:ext uri="{FF2B5EF4-FFF2-40B4-BE49-F238E27FC236}">
                      <a16:creationId xmlns:a16="http://schemas.microsoft.com/office/drawing/2014/main" id="{9228C7C4-67E0-4881-9EFC-8B6005868ACF}"/>
                    </a:ext>
                  </a:extLst>
                </p:cNvPr>
                <p:cNvSpPr>
                  <a:spLocks/>
                </p:cNvSpPr>
                <p:nvPr/>
              </p:nvSpPr>
              <p:spPr bwMode="auto">
                <a:xfrm>
                  <a:off x="1753391" y="2095479"/>
                  <a:ext cx="353062" cy="25809"/>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nvGrpSpPr>
              <p:cNvPr id="223" name="Group 222">
                <a:extLst>
                  <a:ext uri="{FF2B5EF4-FFF2-40B4-BE49-F238E27FC236}">
                    <a16:creationId xmlns:a16="http://schemas.microsoft.com/office/drawing/2014/main" id="{08D29570-0B3F-4097-A533-41E9F2F9B185}"/>
                  </a:ext>
                </a:extLst>
              </p:cNvPr>
              <p:cNvGrpSpPr/>
              <p:nvPr/>
            </p:nvGrpSpPr>
            <p:grpSpPr>
              <a:xfrm>
                <a:off x="1683494" y="2710056"/>
                <a:ext cx="473170" cy="107263"/>
                <a:chOff x="1753391" y="2016187"/>
                <a:chExt cx="353062" cy="105101"/>
              </a:xfrm>
              <a:solidFill>
                <a:schemeClr val="accent6"/>
              </a:solidFill>
            </p:grpSpPr>
            <p:sp>
              <p:nvSpPr>
                <p:cNvPr id="224" name="Freeform 53">
                  <a:extLst>
                    <a:ext uri="{FF2B5EF4-FFF2-40B4-BE49-F238E27FC236}">
                      <a16:creationId xmlns:a16="http://schemas.microsoft.com/office/drawing/2014/main" id="{CCDB568D-0CBF-4008-B78C-326E4CDF6817}"/>
                    </a:ext>
                  </a:extLst>
                </p:cNvPr>
                <p:cNvSpPr>
                  <a:spLocks/>
                </p:cNvSpPr>
                <p:nvPr/>
              </p:nvSpPr>
              <p:spPr bwMode="auto">
                <a:xfrm>
                  <a:off x="1753391" y="2016187"/>
                  <a:ext cx="353062" cy="25807"/>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25" name="Freeform 54">
                  <a:extLst>
                    <a:ext uri="{FF2B5EF4-FFF2-40B4-BE49-F238E27FC236}">
                      <a16:creationId xmlns:a16="http://schemas.microsoft.com/office/drawing/2014/main" id="{420EA91D-BA92-4A08-B449-1AF8AE8BC17F}"/>
                    </a:ext>
                  </a:extLst>
                </p:cNvPr>
                <p:cNvSpPr>
                  <a:spLocks/>
                </p:cNvSpPr>
                <p:nvPr/>
              </p:nvSpPr>
              <p:spPr bwMode="auto">
                <a:xfrm>
                  <a:off x="1753391" y="2095479"/>
                  <a:ext cx="353062" cy="25809"/>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sp>
          <p:nvSpPr>
            <p:cNvPr id="12" name="TextBox 11">
              <a:extLst>
                <a:ext uri="{FF2B5EF4-FFF2-40B4-BE49-F238E27FC236}">
                  <a16:creationId xmlns:a16="http://schemas.microsoft.com/office/drawing/2014/main" id="{2D0A9CE6-F144-4F17-8FA2-FE4F52EF5736}"/>
                </a:ext>
              </a:extLst>
            </p:cNvPr>
            <p:cNvSpPr txBox="1"/>
            <p:nvPr/>
          </p:nvSpPr>
          <p:spPr>
            <a:xfrm>
              <a:off x="526182" y="3391101"/>
              <a:ext cx="1984326" cy="246173"/>
            </a:xfrm>
            <a:prstGeom prst="rect">
              <a:avLst/>
            </a:prstGeom>
            <a:noFill/>
          </p:spPr>
          <p:txBody>
            <a:bodyPr wrap="square" rtlCol="0">
              <a:spAutoFit/>
            </a:bodyPr>
            <a:lstStyle/>
            <a:p>
              <a:pPr algn="ctr" defTabSz="609585" fontAlgn="base">
                <a:spcBef>
                  <a:spcPct val="0"/>
                </a:spcBef>
                <a:spcAft>
                  <a:spcPct val="0"/>
                </a:spcAft>
                <a:defRPr/>
              </a:pPr>
              <a:r>
                <a:rPr lang="en-US" sz="1533">
                  <a:solidFill>
                    <a:srgbClr val="282828"/>
                  </a:solidFill>
                  <a:latin typeface="CiscoSansTT ExtraLight"/>
                  <a:ea typeface="ＭＳ Ｐゴシック" charset="0"/>
                  <a:cs typeface="Arial"/>
                  <a:sym typeface="Arial"/>
                </a:rPr>
                <a:t>Alarm triggered  </a:t>
              </a:r>
            </a:p>
          </p:txBody>
        </p:sp>
      </p:grpSp>
      <p:grpSp>
        <p:nvGrpSpPr>
          <p:cNvPr id="17" name="Group 16">
            <a:extLst>
              <a:ext uri="{FF2B5EF4-FFF2-40B4-BE49-F238E27FC236}">
                <a16:creationId xmlns:a16="http://schemas.microsoft.com/office/drawing/2014/main" id="{1224AC5A-359C-4775-8C54-7683DF74041D}"/>
              </a:ext>
            </a:extLst>
          </p:cNvPr>
          <p:cNvGrpSpPr/>
          <p:nvPr/>
        </p:nvGrpSpPr>
        <p:grpSpPr>
          <a:xfrm>
            <a:off x="6143106" y="2156835"/>
            <a:ext cx="2912081" cy="3001965"/>
            <a:chOff x="4607329" y="1483615"/>
            <a:chExt cx="2184061" cy="2251474"/>
          </a:xfrm>
        </p:grpSpPr>
        <p:grpSp>
          <p:nvGrpSpPr>
            <p:cNvPr id="15" name="Group 14">
              <a:extLst>
                <a:ext uri="{FF2B5EF4-FFF2-40B4-BE49-F238E27FC236}">
                  <a16:creationId xmlns:a16="http://schemas.microsoft.com/office/drawing/2014/main" id="{0EE12A56-6C89-460D-A11D-368D48717425}"/>
                </a:ext>
              </a:extLst>
            </p:cNvPr>
            <p:cNvGrpSpPr/>
            <p:nvPr/>
          </p:nvGrpSpPr>
          <p:grpSpPr>
            <a:xfrm>
              <a:off x="4607329" y="1483615"/>
              <a:ext cx="2184061" cy="2251474"/>
              <a:chOff x="4607329" y="1483615"/>
              <a:chExt cx="2184061" cy="2251474"/>
            </a:xfrm>
          </p:grpSpPr>
          <p:grpSp>
            <p:nvGrpSpPr>
              <p:cNvPr id="4" name="Group 3">
                <a:extLst>
                  <a:ext uri="{FF2B5EF4-FFF2-40B4-BE49-F238E27FC236}">
                    <a16:creationId xmlns:a16="http://schemas.microsoft.com/office/drawing/2014/main" id="{DA7368D4-3394-45A0-AAB3-404A3DB070B1}"/>
                  </a:ext>
                </a:extLst>
              </p:cNvPr>
              <p:cNvGrpSpPr/>
              <p:nvPr/>
            </p:nvGrpSpPr>
            <p:grpSpPr>
              <a:xfrm>
                <a:off x="4607329" y="1483615"/>
                <a:ext cx="1984327" cy="2251474"/>
                <a:chOff x="4607329" y="1483615"/>
                <a:chExt cx="1984327" cy="2251474"/>
              </a:xfrm>
            </p:grpSpPr>
            <p:sp>
              <p:nvSpPr>
                <p:cNvPr id="126" name="Rectangle 125">
                  <a:extLst>
                    <a:ext uri="{FF2B5EF4-FFF2-40B4-BE49-F238E27FC236}">
                      <a16:creationId xmlns:a16="http://schemas.microsoft.com/office/drawing/2014/main" id="{47FD0BA6-C832-499D-A9D2-D23431C9AE51}"/>
                    </a:ext>
                  </a:extLst>
                </p:cNvPr>
                <p:cNvSpPr>
                  <a:spLocks noChangeAspect="1"/>
                </p:cNvSpPr>
                <p:nvPr/>
              </p:nvSpPr>
              <p:spPr>
                <a:xfrm>
                  <a:off x="4607329" y="1483615"/>
                  <a:ext cx="1984327" cy="2251474"/>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21920" rtlCol="0" anchor="t"/>
                <a:lstStyle/>
                <a:p>
                  <a:pPr algn="ctr" defTabSz="609585" fontAlgn="base">
                    <a:spcBef>
                      <a:spcPct val="0"/>
                    </a:spcBef>
                    <a:spcAft>
                      <a:spcPct val="0"/>
                    </a:spcAft>
                    <a:defRPr/>
                  </a:pPr>
                  <a:r>
                    <a:rPr lang="en-US" sz="1867" b="1">
                      <a:solidFill>
                        <a:srgbClr val="005073"/>
                      </a:solidFill>
                      <a:latin typeface="CiscoSansTT ExtraLight"/>
                      <a:sym typeface="Arial"/>
                    </a:rPr>
                    <a:t>Investigation</a:t>
                  </a:r>
                </a:p>
              </p:txBody>
            </p:sp>
            <p:grpSp>
              <p:nvGrpSpPr>
                <p:cNvPr id="5" name="Group 4">
                  <a:extLst>
                    <a:ext uri="{FF2B5EF4-FFF2-40B4-BE49-F238E27FC236}">
                      <a16:creationId xmlns:a16="http://schemas.microsoft.com/office/drawing/2014/main" id="{E7B6E504-6814-44F1-95C2-0F6E5FDC23CB}"/>
                    </a:ext>
                  </a:extLst>
                </p:cNvPr>
                <p:cNvGrpSpPr/>
                <p:nvPr/>
              </p:nvGrpSpPr>
              <p:grpSpPr>
                <a:xfrm>
                  <a:off x="4839926" y="2201805"/>
                  <a:ext cx="1510454" cy="811966"/>
                  <a:chOff x="4869906" y="1999440"/>
                  <a:chExt cx="1510454" cy="811966"/>
                </a:xfrm>
              </p:grpSpPr>
              <p:grpSp>
                <p:nvGrpSpPr>
                  <p:cNvPr id="272" name="Group 271">
                    <a:extLst>
                      <a:ext uri="{FF2B5EF4-FFF2-40B4-BE49-F238E27FC236}">
                        <a16:creationId xmlns:a16="http://schemas.microsoft.com/office/drawing/2014/main" id="{D56C7A66-D7C2-4ADB-A906-7E660234A0C2}"/>
                      </a:ext>
                    </a:extLst>
                  </p:cNvPr>
                  <p:cNvGrpSpPr/>
                  <p:nvPr/>
                </p:nvGrpSpPr>
                <p:grpSpPr>
                  <a:xfrm>
                    <a:off x="4869906" y="1999440"/>
                    <a:ext cx="529052" cy="811966"/>
                    <a:chOff x="7504946" y="1369403"/>
                    <a:chExt cx="390689" cy="616853"/>
                  </a:xfrm>
                  <a:solidFill>
                    <a:schemeClr val="tx2"/>
                  </a:solidFill>
                </p:grpSpPr>
                <p:sp>
                  <p:nvSpPr>
                    <p:cNvPr id="273" name="Oval 342">
                      <a:extLst>
                        <a:ext uri="{FF2B5EF4-FFF2-40B4-BE49-F238E27FC236}">
                          <a16:creationId xmlns:a16="http://schemas.microsoft.com/office/drawing/2014/main" id="{22225A7A-B78F-4958-8D25-C2E94AF65858}"/>
                        </a:ext>
                      </a:extLst>
                    </p:cNvPr>
                    <p:cNvSpPr>
                      <a:spLocks noChangeAspect="1" noChangeArrowheads="1"/>
                    </p:cNvSpPr>
                    <p:nvPr/>
                  </p:nvSpPr>
                  <p:spPr bwMode="auto">
                    <a:xfrm>
                      <a:off x="7587323" y="1369403"/>
                      <a:ext cx="227262" cy="231321"/>
                    </a:xfrm>
                    <a:prstGeom prst="ellipse">
                      <a:avLst/>
                    </a:pr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274" name="Freeform 343">
                      <a:extLst>
                        <a:ext uri="{FF2B5EF4-FFF2-40B4-BE49-F238E27FC236}">
                          <a16:creationId xmlns:a16="http://schemas.microsoft.com/office/drawing/2014/main" id="{107A7556-C4AF-426C-A9B4-72F3F23B5562}"/>
                        </a:ext>
                      </a:extLst>
                    </p:cNvPr>
                    <p:cNvSpPr>
                      <a:spLocks noChangeAspect="1"/>
                    </p:cNvSpPr>
                    <p:nvPr/>
                  </p:nvSpPr>
                  <p:spPr bwMode="auto">
                    <a:xfrm>
                      <a:off x="7504946" y="1649421"/>
                      <a:ext cx="390689" cy="336835"/>
                    </a:xfrm>
                    <a:custGeom>
                      <a:avLst/>
                      <a:gdLst>
                        <a:gd name="T0" fmla="*/ 28 w 28"/>
                        <a:gd name="T1" fmla="*/ 9 h 35"/>
                        <a:gd name="T2" fmla="*/ 19 w 28"/>
                        <a:gd name="T3" fmla="*/ 0 h 35"/>
                        <a:gd name="T4" fmla="*/ 9 w 28"/>
                        <a:gd name="T5" fmla="*/ 0 h 35"/>
                        <a:gd name="T6" fmla="*/ 0 w 28"/>
                        <a:gd name="T7" fmla="*/ 9 h 35"/>
                        <a:gd name="T8" fmla="*/ 0 w 28"/>
                        <a:gd name="T9" fmla="*/ 35 h 35"/>
                        <a:gd name="T10" fmla="*/ 28 w 28"/>
                        <a:gd name="T11" fmla="*/ 35 h 35"/>
                        <a:gd name="T12" fmla="*/ 28 w 28"/>
                        <a:gd name="T13" fmla="*/ 9 h 35"/>
                      </a:gdLst>
                      <a:ahLst/>
                      <a:cxnLst>
                        <a:cxn ang="0">
                          <a:pos x="T0" y="T1"/>
                        </a:cxn>
                        <a:cxn ang="0">
                          <a:pos x="T2" y="T3"/>
                        </a:cxn>
                        <a:cxn ang="0">
                          <a:pos x="T4" y="T5"/>
                        </a:cxn>
                        <a:cxn ang="0">
                          <a:pos x="T6" y="T7"/>
                        </a:cxn>
                        <a:cxn ang="0">
                          <a:pos x="T8" y="T9"/>
                        </a:cxn>
                        <a:cxn ang="0">
                          <a:pos x="T10" y="T11"/>
                        </a:cxn>
                        <a:cxn ang="0">
                          <a:pos x="T12" y="T13"/>
                        </a:cxn>
                      </a:cxnLst>
                      <a:rect l="0" t="0" r="r" b="b"/>
                      <a:pathLst>
                        <a:path w="28" h="35">
                          <a:moveTo>
                            <a:pt x="28" y="9"/>
                          </a:moveTo>
                          <a:cubicBezTo>
                            <a:pt x="28" y="4"/>
                            <a:pt x="24" y="0"/>
                            <a:pt x="19" y="0"/>
                          </a:cubicBezTo>
                          <a:cubicBezTo>
                            <a:pt x="9" y="0"/>
                            <a:pt x="9" y="0"/>
                            <a:pt x="9" y="0"/>
                          </a:cubicBezTo>
                          <a:cubicBezTo>
                            <a:pt x="4" y="0"/>
                            <a:pt x="0" y="4"/>
                            <a:pt x="0" y="9"/>
                          </a:cubicBezTo>
                          <a:cubicBezTo>
                            <a:pt x="0" y="35"/>
                            <a:pt x="0" y="35"/>
                            <a:pt x="0" y="35"/>
                          </a:cubicBezTo>
                          <a:cubicBezTo>
                            <a:pt x="28" y="35"/>
                            <a:pt x="28" y="35"/>
                            <a:pt x="28" y="35"/>
                          </a:cubicBezTo>
                          <a:lnTo>
                            <a:pt x="28" y="9"/>
                          </a:ln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nvGrpSpPr>
                  <p:cNvPr id="282" name="Group 281">
                    <a:extLst>
                      <a:ext uri="{FF2B5EF4-FFF2-40B4-BE49-F238E27FC236}">
                        <a16:creationId xmlns:a16="http://schemas.microsoft.com/office/drawing/2014/main" id="{BCC4DCF5-E5D4-4757-AADF-B3EB1550DD25}"/>
                      </a:ext>
                    </a:extLst>
                  </p:cNvPr>
                  <p:cNvGrpSpPr/>
                  <p:nvPr/>
                </p:nvGrpSpPr>
                <p:grpSpPr>
                  <a:xfrm>
                    <a:off x="5211782" y="2065589"/>
                    <a:ext cx="1168578" cy="654622"/>
                    <a:chOff x="5143999" y="1770840"/>
                    <a:chExt cx="1168578" cy="865258"/>
                  </a:xfrm>
                </p:grpSpPr>
                <p:sp>
                  <p:nvSpPr>
                    <p:cNvPr id="283" name="Freeform: Shape 282">
                      <a:extLst>
                        <a:ext uri="{FF2B5EF4-FFF2-40B4-BE49-F238E27FC236}">
                          <a16:creationId xmlns:a16="http://schemas.microsoft.com/office/drawing/2014/main" id="{DC4D8361-44FF-4F41-BD8D-3A1E42B87987}"/>
                        </a:ext>
                      </a:extLst>
                    </p:cNvPr>
                    <p:cNvSpPr/>
                    <p:nvPr/>
                  </p:nvSpPr>
                  <p:spPr>
                    <a:xfrm>
                      <a:off x="5143999" y="1813885"/>
                      <a:ext cx="214589" cy="822213"/>
                    </a:xfrm>
                    <a:custGeom>
                      <a:avLst/>
                      <a:gdLst>
                        <a:gd name="connsiteX0" fmla="*/ 0 w 235880"/>
                        <a:gd name="connsiteY0" fmla="*/ 454287 h 856158"/>
                        <a:gd name="connsiteX1" fmla="*/ 235880 w 235880"/>
                        <a:gd name="connsiteY1" fmla="*/ 0 h 856158"/>
                        <a:gd name="connsiteX2" fmla="*/ 227144 w 235880"/>
                        <a:gd name="connsiteY2" fmla="*/ 856158 h 856158"/>
                        <a:gd name="connsiteX3" fmla="*/ 0 w 235880"/>
                        <a:gd name="connsiteY3" fmla="*/ 454287 h 856158"/>
                        <a:gd name="connsiteX0" fmla="*/ 0 w 238792"/>
                        <a:gd name="connsiteY0" fmla="*/ 474672 h 856158"/>
                        <a:gd name="connsiteX1" fmla="*/ 238792 w 238792"/>
                        <a:gd name="connsiteY1" fmla="*/ 0 h 856158"/>
                        <a:gd name="connsiteX2" fmla="*/ 230056 w 238792"/>
                        <a:gd name="connsiteY2" fmla="*/ 856158 h 856158"/>
                        <a:gd name="connsiteX3" fmla="*/ 0 w 238792"/>
                        <a:gd name="connsiteY3" fmla="*/ 474672 h 856158"/>
                        <a:gd name="connsiteX0" fmla="*/ 0 w 230056"/>
                        <a:gd name="connsiteY0" fmla="*/ 474672 h 856158"/>
                        <a:gd name="connsiteX1" fmla="*/ 230056 w 230056"/>
                        <a:gd name="connsiteY1" fmla="*/ 0 h 856158"/>
                        <a:gd name="connsiteX2" fmla="*/ 230056 w 230056"/>
                        <a:gd name="connsiteY2" fmla="*/ 856158 h 856158"/>
                        <a:gd name="connsiteX3" fmla="*/ 0 w 230056"/>
                        <a:gd name="connsiteY3" fmla="*/ 474672 h 856158"/>
                      </a:gdLst>
                      <a:ahLst/>
                      <a:cxnLst>
                        <a:cxn ang="0">
                          <a:pos x="connsiteX0" y="connsiteY0"/>
                        </a:cxn>
                        <a:cxn ang="0">
                          <a:pos x="connsiteX1" y="connsiteY1"/>
                        </a:cxn>
                        <a:cxn ang="0">
                          <a:pos x="connsiteX2" y="connsiteY2"/>
                        </a:cxn>
                        <a:cxn ang="0">
                          <a:pos x="connsiteX3" y="connsiteY3"/>
                        </a:cxn>
                      </a:cxnLst>
                      <a:rect l="l" t="t" r="r" b="b"/>
                      <a:pathLst>
                        <a:path w="230056" h="856158">
                          <a:moveTo>
                            <a:pt x="0" y="474672"/>
                          </a:moveTo>
                          <a:lnTo>
                            <a:pt x="230056" y="0"/>
                          </a:lnTo>
                          <a:lnTo>
                            <a:pt x="230056" y="856158"/>
                          </a:lnTo>
                          <a:lnTo>
                            <a:pt x="0" y="474672"/>
                          </a:lnTo>
                          <a:close/>
                        </a:path>
                      </a:pathLst>
                    </a:cu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284" name="Rectangle 283">
                      <a:extLst>
                        <a:ext uri="{FF2B5EF4-FFF2-40B4-BE49-F238E27FC236}">
                          <a16:creationId xmlns:a16="http://schemas.microsoft.com/office/drawing/2014/main" id="{33595CA7-B588-47FB-9999-D1CB421496D8}"/>
                        </a:ext>
                      </a:extLst>
                    </p:cNvPr>
                    <p:cNvSpPr/>
                    <p:nvPr/>
                  </p:nvSpPr>
                  <p:spPr>
                    <a:xfrm>
                      <a:off x="5474393" y="1770840"/>
                      <a:ext cx="838184" cy="254320"/>
                    </a:xfrm>
                    <a:prstGeom prst="rect">
                      <a:avLst/>
                    </a:prstGeom>
                  </p:spPr>
                  <p:txBody>
                    <a:bodyPr wrap="square">
                      <a:spAutoFit/>
                    </a:bodyPr>
                    <a:lstStyle/>
                    <a:p>
                      <a:pPr defTabSz="609585" fontAlgn="base">
                        <a:spcBef>
                          <a:spcPct val="0"/>
                        </a:spcBef>
                        <a:spcAft>
                          <a:spcPts val="133"/>
                        </a:spcAft>
                        <a:defRPr/>
                      </a:pPr>
                      <a:endParaRPr lang="en-US" sz="1067">
                        <a:solidFill>
                          <a:srgbClr val="282828"/>
                        </a:solidFill>
                        <a:latin typeface="CiscoSansTT ExtraLight"/>
                        <a:ea typeface="ＭＳ Ｐゴシック" charset="0"/>
                        <a:cs typeface="Arial"/>
                        <a:sym typeface="Arial"/>
                      </a:endParaRPr>
                    </a:p>
                  </p:txBody>
                </p:sp>
              </p:grpSp>
            </p:grpSp>
            <p:grpSp>
              <p:nvGrpSpPr>
                <p:cNvPr id="16" name="Group 15">
                  <a:extLst>
                    <a:ext uri="{FF2B5EF4-FFF2-40B4-BE49-F238E27FC236}">
                      <a16:creationId xmlns:a16="http://schemas.microsoft.com/office/drawing/2014/main" id="{5F335108-0AD4-463A-BCC6-9ED29D579B21}"/>
                    </a:ext>
                  </a:extLst>
                </p:cNvPr>
                <p:cNvGrpSpPr/>
                <p:nvPr/>
              </p:nvGrpSpPr>
              <p:grpSpPr>
                <a:xfrm>
                  <a:off x="5283298" y="2267952"/>
                  <a:ext cx="1142297" cy="712061"/>
                  <a:chOff x="7209651" y="252132"/>
                  <a:chExt cx="1142297" cy="712061"/>
                </a:xfrm>
              </p:grpSpPr>
              <p:grpSp>
                <p:nvGrpSpPr>
                  <p:cNvPr id="316" name="Group 221">
                    <a:extLst>
                      <a:ext uri="{FF2B5EF4-FFF2-40B4-BE49-F238E27FC236}">
                        <a16:creationId xmlns:a16="http://schemas.microsoft.com/office/drawing/2014/main" id="{ED05114E-3B19-49EA-88D4-3C09AC92A8E5}"/>
                      </a:ext>
                    </a:extLst>
                  </p:cNvPr>
                  <p:cNvGrpSpPr>
                    <a:grpSpLocks noChangeAspect="1"/>
                  </p:cNvGrpSpPr>
                  <p:nvPr/>
                </p:nvGrpSpPr>
                <p:grpSpPr bwMode="auto">
                  <a:xfrm>
                    <a:off x="7209651" y="252132"/>
                    <a:ext cx="1142297" cy="712061"/>
                    <a:chOff x="2049" y="1143"/>
                    <a:chExt cx="1664" cy="954"/>
                  </a:xfrm>
                </p:grpSpPr>
                <p:sp>
                  <p:nvSpPr>
                    <p:cNvPr id="345" name="Freeform 222">
                      <a:extLst>
                        <a:ext uri="{FF2B5EF4-FFF2-40B4-BE49-F238E27FC236}">
                          <a16:creationId xmlns:a16="http://schemas.microsoft.com/office/drawing/2014/main" id="{667370E7-6249-4A2F-9831-814C4360DE6C}"/>
                        </a:ext>
                      </a:extLst>
                    </p:cNvPr>
                    <p:cNvSpPr>
                      <a:spLocks/>
                    </p:cNvSpPr>
                    <p:nvPr/>
                  </p:nvSpPr>
                  <p:spPr bwMode="auto">
                    <a:xfrm>
                      <a:off x="2049" y="2028"/>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347" name="Freeform 224">
                      <a:extLst>
                        <a:ext uri="{FF2B5EF4-FFF2-40B4-BE49-F238E27FC236}">
                          <a16:creationId xmlns:a16="http://schemas.microsoft.com/office/drawing/2014/main" id="{A427651C-74FC-4F6C-BD20-31CA03FCE1AB}"/>
                        </a:ext>
                      </a:extLst>
                    </p:cNvPr>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nvGrpSpPr>
                  <p:cNvPr id="359" name="Group 358">
                    <a:extLst>
                      <a:ext uri="{FF2B5EF4-FFF2-40B4-BE49-F238E27FC236}">
                        <a16:creationId xmlns:a16="http://schemas.microsoft.com/office/drawing/2014/main" id="{3E1D84F6-6C36-40C6-B9B8-0D76452E73C4}"/>
                      </a:ext>
                    </a:extLst>
                  </p:cNvPr>
                  <p:cNvGrpSpPr/>
                  <p:nvPr/>
                </p:nvGrpSpPr>
                <p:grpSpPr>
                  <a:xfrm>
                    <a:off x="7479803" y="363393"/>
                    <a:ext cx="601992" cy="511979"/>
                    <a:chOff x="5550698" y="3283634"/>
                    <a:chExt cx="626486" cy="589651"/>
                  </a:xfrm>
                </p:grpSpPr>
                <p:sp>
                  <p:nvSpPr>
                    <p:cNvPr id="360" name="Freeform 22">
                      <a:extLst>
                        <a:ext uri="{FF2B5EF4-FFF2-40B4-BE49-F238E27FC236}">
                          <a16:creationId xmlns:a16="http://schemas.microsoft.com/office/drawing/2014/main" id="{0123562C-4A72-4D47-8C45-885BC391B94B}"/>
                        </a:ext>
                      </a:extLst>
                    </p:cNvPr>
                    <p:cNvSpPr>
                      <a:spLocks noEditPoints="1"/>
                    </p:cNvSpPr>
                    <p:nvPr/>
                  </p:nvSpPr>
                  <p:spPr bwMode="auto">
                    <a:xfrm>
                      <a:off x="5550698" y="3283634"/>
                      <a:ext cx="626486" cy="568624"/>
                    </a:xfrm>
                    <a:custGeom>
                      <a:avLst/>
                      <a:gdLst>
                        <a:gd name="T0" fmla="*/ 28 w 399"/>
                        <a:gd name="T1" fmla="*/ 1 h 362"/>
                        <a:gd name="T2" fmla="*/ 33 w 399"/>
                        <a:gd name="T3" fmla="*/ 69 h 362"/>
                        <a:gd name="T4" fmla="*/ 21 w 399"/>
                        <a:gd name="T5" fmla="*/ 15 h 362"/>
                        <a:gd name="T6" fmla="*/ 6 w 399"/>
                        <a:gd name="T7" fmla="*/ 13 h 362"/>
                        <a:gd name="T8" fmla="*/ 83 w 399"/>
                        <a:gd name="T9" fmla="*/ 70 h 362"/>
                        <a:gd name="T10" fmla="*/ 93 w 399"/>
                        <a:gd name="T11" fmla="*/ 35 h 362"/>
                        <a:gd name="T12" fmla="*/ 128 w 399"/>
                        <a:gd name="T13" fmla="*/ 20 h 362"/>
                        <a:gd name="T14" fmla="*/ 137 w 399"/>
                        <a:gd name="T15" fmla="*/ 55 h 362"/>
                        <a:gd name="T16" fmla="*/ 144 w 399"/>
                        <a:gd name="T17" fmla="*/ 1 h 362"/>
                        <a:gd name="T18" fmla="*/ 123 w 399"/>
                        <a:gd name="T19" fmla="*/ 18 h 362"/>
                        <a:gd name="T20" fmla="*/ 195 w 399"/>
                        <a:gd name="T21" fmla="*/ 15 h 362"/>
                        <a:gd name="T22" fmla="*/ 211 w 399"/>
                        <a:gd name="T23" fmla="*/ 5 h 362"/>
                        <a:gd name="T24" fmla="*/ 183 w 399"/>
                        <a:gd name="T25" fmla="*/ 8 h 362"/>
                        <a:gd name="T26" fmla="*/ 267 w 399"/>
                        <a:gd name="T27" fmla="*/ 25 h 362"/>
                        <a:gd name="T28" fmla="*/ 249 w 399"/>
                        <a:gd name="T29" fmla="*/ 21 h 362"/>
                        <a:gd name="T30" fmla="*/ 399 w 399"/>
                        <a:gd name="T31" fmla="*/ 35 h 362"/>
                        <a:gd name="T32" fmla="*/ 374 w 399"/>
                        <a:gd name="T33" fmla="*/ 58 h 362"/>
                        <a:gd name="T34" fmla="*/ 7 w 399"/>
                        <a:gd name="T35" fmla="*/ 143 h 362"/>
                        <a:gd name="T36" fmla="*/ 21 w 399"/>
                        <a:gd name="T37" fmla="*/ 145 h 362"/>
                        <a:gd name="T38" fmla="*/ 37 w 399"/>
                        <a:gd name="T39" fmla="*/ 191 h 362"/>
                        <a:gd name="T40" fmla="*/ 20 w 399"/>
                        <a:gd name="T41" fmla="*/ 128 h 362"/>
                        <a:gd name="T42" fmla="*/ 83 w 399"/>
                        <a:gd name="T43" fmla="*/ 196 h 362"/>
                        <a:gd name="T44" fmla="*/ 74 w 399"/>
                        <a:gd name="T45" fmla="*/ 161 h 362"/>
                        <a:gd name="T46" fmla="*/ 94 w 399"/>
                        <a:gd name="T47" fmla="*/ 128 h 362"/>
                        <a:gd name="T48" fmla="*/ 165 w 399"/>
                        <a:gd name="T49" fmla="*/ 178 h 362"/>
                        <a:gd name="T50" fmla="*/ 207 w 399"/>
                        <a:gd name="T51" fmla="*/ 127 h 362"/>
                        <a:gd name="T52" fmla="*/ 180 w 399"/>
                        <a:gd name="T53" fmla="*/ 139 h 362"/>
                        <a:gd name="T54" fmla="*/ 195 w 399"/>
                        <a:gd name="T55" fmla="*/ 141 h 362"/>
                        <a:gd name="T56" fmla="*/ 207 w 399"/>
                        <a:gd name="T57" fmla="*/ 195 h 362"/>
                        <a:gd name="T58" fmla="*/ 283 w 399"/>
                        <a:gd name="T59" fmla="*/ 160 h 362"/>
                        <a:gd name="T60" fmla="*/ 283 w 399"/>
                        <a:gd name="T61" fmla="*/ 160 h 362"/>
                        <a:gd name="T62" fmla="*/ 258 w 399"/>
                        <a:gd name="T63" fmla="*/ 184 h 362"/>
                        <a:gd name="T64" fmla="*/ 366 w 399"/>
                        <a:gd name="T65" fmla="*/ 144 h 362"/>
                        <a:gd name="T66" fmla="*/ 366 w 399"/>
                        <a:gd name="T67" fmla="*/ 176 h 362"/>
                        <a:gd name="T68" fmla="*/ 374 w 399"/>
                        <a:gd name="T69" fmla="*/ 125 h 362"/>
                        <a:gd name="T70" fmla="*/ 26 w 399"/>
                        <a:gd name="T71" fmla="*/ 251 h 362"/>
                        <a:gd name="T72" fmla="*/ 16 w 399"/>
                        <a:gd name="T73" fmla="*/ 286 h 362"/>
                        <a:gd name="T74" fmla="*/ 141 w 399"/>
                        <a:gd name="T75" fmla="*/ 320 h 362"/>
                        <a:gd name="T76" fmla="*/ 137 w 399"/>
                        <a:gd name="T77" fmla="*/ 311 h 362"/>
                        <a:gd name="T78" fmla="*/ 174 w 399"/>
                        <a:gd name="T79" fmla="*/ 285 h 362"/>
                        <a:gd name="T80" fmla="*/ 209 w 399"/>
                        <a:gd name="T81" fmla="*/ 295 h 362"/>
                        <a:gd name="T82" fmla="*/ 265 w 399"/>
                        <a:gd name="T83" fmla="*/ 320 h 362"/>
                        <a:gd name="T84" fmla="*/ 253 w 399"/>
                        <a:gd name="T85" fmla="*/ 316 h 362"/>
                        <a:gd name="T86" fmla="*/ 311 w 399"/>
                        <a:gd name="T87" fmla="*/ 316 h 362"/>
                        <a:gd name="T88" fmla="*/ 327 w 399"/>
                        <a:gd name="T89" fmla="*/ 256 h 362"/>
                        <a:gd name="T90" fmla="*/ 373 w 399"/>
                        <a:gd name="T91" fmla="*/ 321 h 362"/>
                        <a:gd name="T92" fmla="*/ 383 w 399"/>
                        <a:gd name="T93" fmla="*/ 286 h 362"/>
                        <a:gd name="T94" fmla="*/ 383 w 399"/>
                        <a:gd name="T95" fmla="*/ 286 h 362"/>
                        <a:gd name="T96" fmla="*/ 71 w 399"/>
                        <a:gd name="T97" fmla="*/ 354 h 362"/>
                        <a:gd name="T98" fmla="*/ 125 w 399"/>
                        <a:gd name="T99" fmla="*/ 223 h 362"/>
                        <a:gd name="T100" fmla="*/ 315 w 399"/>
                        <a:gd name="T101" fmla="*/ 245 h 362"/>
                        <a:gd name="T102" fmla="*/ 170 w 399"/>
                        <a:gd name="T103" fmla="*/ 100 h 362"/>
                        <a:gd name="T104" fmla="*/ 312 w 399"/>
                        <a:gd name="T105" fmla="*/ 158 h 362"/>
                        <a:gd name="T106" fmla="*/ 311 w 399"/>
                        <a:gd name="T107" fmla="*/ 15 h 362"/>
                        <a:gd name="T108" fmla="*/ 327 w 399"/>
                        <a:gd name="T109" fmla="*/ 61 h 362"/>
                        <a:gd name="T110" fmla="*/ 310 w 399"/>
                        <a:gd name="T111" fmla="*/ 3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9" h="362">
                          <a:moveTo>
                            <a:pt x="6" y="13"/>
                          </a:moveTo>
                          <a:cubicBezTo>
                            <a:pt x="6" y="11"/>
                            <a:pt x="7" y="9"/>
                            <a:pt x="9" y="8"/>
                          </a:cubicBezTo>
                          <a:cubicBezTo>
                            <a:pt x="20" y="3"/>
                            <a:pt x="20" y="3"/>
                            <a:pt x="20" y="3"/>
                          </a:cubicBezTo>
                          <a:cubicBezTo>
                            <a:pt x="22" y="2"/>
                            <a:pt x="25" y="1"/>
                            <a:pt x="28" y="1"/>
                          </a:cubicBezTo>
                          <a:cubicBezTo>
                            <a:pt x="33" y="1"/>
                            <a:pt x="33" y="1"/>
                            <a:pt x="33" y="1"/>
                          </a:cubicBezTo>
                          <a:cubicBezTo>
                            <a:pt x="35" y="1"/>
                            <a:pt x="37" y="3"/>
                            <a:pt x="37" y="5"/>
                          </a:cubicBezTo>
                          <a:cubicBezTo>
                            <a:pt x="37" y="65"/>
                            <a:pt x="37" y="65"/>
                            <a:pt x="37" y="65"/>
                          </a:cubicBezTo>
                          <a:cubicBezTo>
                            <a:pt x="37" y="67"/>
                            <a:pt x="35" y="69"/>
                            <a:pt x="33" y="69"/>
                          </a:cubicBezTo>
                          <a:cubicBezTo>
                            <a:pt x="25" y="69"/>
                            <a:pt x="25" y="69"/>
                            <a:pt x="25" y="69"/>
                          </a:cubicBezTo>
                          <a:cubicBezTo>
                            <a:pt x="23" y="69"/>
                            <a:pt x="21" y="67"/>
                            <a:pt x="21" y="65"/>
                          </a:cubicBezTo>
                          <a:cubicBezTo>
                            <a:pt x="21" y="19"/>
                            <a:pt x="21" y="19"/>
                            <a:pt x="21" y="19"/>
                          </a:cubicBezTo>
                          <a:cubicBezTo>
                            <a:pt x="21" y="17"/>
                            <a:pt x="21" y="15"/>
                            <a:pt x="21" y="15"/>
                          </a:cubicBezTo>
                          <a:cubicBezTo>
                            <a:pt x="21" y="15"/>
                            <a:pt x="19" y="16"/>
                            <a:pt x="18" y="17"/>
                          </a:cubicBezTo>
                          <a:cubicBezTo>
                            <a:pt x="12" y="20"/>
                            <a:pt x="12" y="20"/>
                            <a:pt x="12" y="20"/>
                          </a:cubicBezTo>
                          <a:cubicBezTo>
                            <a:pt x="10" y="21"/>
                            <a:pt x="8" y="20"/>
                            <a:pt x="7" y="18"/>
                          </a:cubicBezTo>
                          <a:lnTo>
                            <a:pt x="6" y="13"/>
                          </a:lnTo>
                          <a:close/>
                          <a:moveTo>
                            <a:pt x="58" y="35"/>
                          </a:moveTo>
                          <a:cubicBezTo>
                            <a:pt x="58" y="16"/>
                            <a:pt x="66" y="0"/>
                            <a:pt x="84" y="0"/>
                          </a:cubicBezTo>
                          <a:cubicBezTo>
                            <a:pt x="102" y="0"/>
                            <a:pt x="109" y="16"/>
                            <a:pt x="109" y="35"/>
                          </a:cubicBezTo>
                          <a:cubicBezTo>
                            <a:pt x="109" y="56"/>
                            <a:pt x="101" y="70"/>
                            <a:pt x="83" y="70"/>
                          </a:cubicBezTo>
                          <a:cubicBezTo>
                            <a:pt x="66" y="70"/>
                            <a:pt x="58" y="55"/>
                            <a:pt x="58" y="35"/>
                          </a:cubicBezTo>
                          <a:close/>
                          <a:moveTo>
                            <a:pt x="74" y="35"/>
                          </a:moveTo>
                          <a:cubicBezTo>
                            <a:pt x="74" y="51"/>
                            <a:pt x="78" y="58"/>
                            <a:pt x="84" y="58"/>
                          </a:cubicBezTo>
                          <a:cubicBezTo>
                            <a:pt x="90" y="58"/>
                            <a:pt x="93" y="51"/>
                            <a:pt x="93" y="35"/>
                          </a:cubicBezTo>
                          <a:cubicBezTo>
                            <a:pt x="93" y="20"/>
                            <a:pt x="90" y="12"/>
                            <a:pt x="84" y="12"/>
                          </a:cubicBezTo>
                          <a:cubicBezTo>
                            <a:pt x="78" y="12"/>
                            <a:pt x="74" y="20"/>
                            <a:pt x="74" y="35"/>
                          </a:cubicBezTo>
                          <a:close/>
                          <a:moveTo>
                            <a:pt x="123" y="18"/>
                          </a:moveTo>
                          <a:cubicBezTo>
                            <a:pt x="124" y="20"/>
                            <a:pt x="126" y="21"/>
                            <a:pt x="128" y="20"/>
                          </a:cubicBezTo>
                          <a:cubicBezTo>
                            <a:pt x="134" y="17"/>
                            <a:pt x="134" y="17"/>
                            <a:pt x="134" y="17"/>
                          </a:cubicBezTo>
                          <a:cubicBezTo>
                            <a:pt x="135" y="16"/>
                            <a:pt x="137" y="15"/>
                            <a:pt x="137" y="15"/>
                          </a:cubicBezTo>
                          <a:cubicBezTo>
                            <a:pt x="137" y="15"/>
                            <a:pt x="137" y="17"/>
                            <a:pt x="137" y="19"/>
                          </a:cubicBezTo>
                          <a:cubicBezTo>
                            <a:pt x="137" y="55"/>
                            <a:pt x="137" y="55"/>
                            <a:pt x="137" y="55"/>
                          </a:cubicBezTo>
                          <a:cubicBezTo>
                            <a:pt x="142" y="50"/>
                            <a:pt x="147" y="46"/>
                            <a:pt x="153" y="43"/>
                          </a:cubicBezTo>
                          <a:cubicBezTo>
                            <a:pt x="153" y="5"/>
                            <a:pt x="153" y="5"/>
                            <a:pt x="153" y="5"/>
                          </a:cubicBezTo>
                          <a:cubicBezTo>
                            <a:pt x="153" y="3"/>
                            <a:pt x="151" y="1"/>
                            <a:pt x="149" y="1"/>
                          </a:cubicBezTo>
                          <a:cubicBezTo>
                            <a:pt x="144" y="1"/>
                            <a:pt x="144" y="1"/>
                            <a:pt x="144" y="1"/>
                          </a:cubicBezTo>
                          <a:cubicBezTo>
                            <a:pt x="141" y="1"/>
                            <a:pt x="138" y="2"/>
                            <a:pt x="136" y="3"/>
                          </a:cubicBezTo>
                          <a:cubicBezTo>
                            <a:pt x="125" y="8"/>
                            <a:pt x="125" y="8"/>
                            <a:pt x="125" y="8"/>
                          </a:cubicBezTo>
                          <a:cubicBezTo>
                            <a:pt x="123" y="9"/>
                            <a:pt x="122" y="11"/>
                            <a:pt x="122" y="13"/>
                          </a:cubicBezTo>
                          <a:lnTo>
                            <a:pt x="123" y="18"/>
                          </a:lnTo>
                          <a:close/>
                          <a:moveTo>
                            <a:pt x="181" y="18"/>
                          </a:moveTo>
                          <a:cubicBezTo>
                            <a:pt x="182" y="20"/>
                            <a:pt x="184" y="21"/>
                            <a:pt x="186" y="20"/>
                          </a:cubicBezTo>
                          <a:cubicBezTo>
                            <a:pt x="192" y="17"/>
                            <a:pt x="192" y="17"/>
                            <a:pt x="192" y="17"/>
                          </a:cubicBezTo>
                          <a:cubicBezTo>
                            <a:pt x="194" y="16"/>
                            <a:pt x="195" y="15"/>
                            <a:pt x="195" y="15"/>
                          </a:cubicBezTo>
                          <a:cubicBezTo>
                            <a:pt x="195" y="15"/>
                            <a:pt x="195" y="17"/>
                            <a:pt x="195" y="19"/>
                          </a:cubicBezTo>
                          <a:cubicBezTo>
                            <a:pt x="195" y="24"/>
                            <a:pt x="195" y="24"/>
                            <a:pt x="195" y="24"/>
                          </a:cubicBezTo>
                          <a:cubicBezTo>
                            <a:pt x="200" y="23"/>
                            <a:pt x="206" y="22"/>
                            <a:pt x="211" y="21"/>
                          </a:cubicBezTo>
                          <a:cubicBezTo>
                            <a:pt x="211" y="5"/>
                            <a:pt x="211" y="5"/>
                            <a:pt x="211" y="5"/>
                          </a:cubicBezTo>
                          <a:cubicBezTo>
                            <a:pt x="211" y="3"/>
                            <a:pt x="209" y="1"/>
                            <a:pt x="207" y="1"/>
                          </a:cubicBezTo>
                          <a:cubicBezTo>
                            <a:pt x="202" y="1"/>
                            <a:pt x="202" y="1"/>
                            <a:pt x="202" y="1"/>
                          </a:cubicBezTo>
                          <a:cubicBezTo>
                            <a:pt x="199" y="1"/>
                            <a:pt x="196" y="2"/>
                            <a:pt x="194" y="3"/>
                          </a:cubicBezTo>
                          <a:cubicBezTo>
                            <a:pt x="183" y="8"/>
                            <a:pt x="183" y="8"/>
                            <a:pt x="183" y="8"/>
                          </a:cubicBezTo>
                          <a:cubicBezTo>
                            <a:pt x="181" y="9"/>
                            <a:pt x="180" y="11"/>
                            <a:pt x="180" y="13"/>
                          </a:cubicBezTo>
                          <a:lnTo>
                            <a:pt x="181" y="18"/>
                          </a:lnTo>
                          <a:close/>
                          <a:moveTo>
                            <a:pt x="258" y="12"/>
                          </a:moveTo>
                          <a:cubicBezTo>
                            <a:pt x="263" y="12"/>
                            <a:pt x="266" y="17"/>
                            <a:pt x="267" y="25"/>
                          </a:cubicBezTo>
                          <a:cubicBezTo>
                            <a:pt x="272" y="27"/>
                            <a:pt x="278" y="29"/>
                            <a:pt x="283" y="31"/>
                          </a:cubicBezTo>
                          <a:cubicBezTo>
                            <a:pt x="282" y="14"/>
                            <a:pt x="275" y="0"/>
                            <a:pt x="258" y="0"/>
                          </a:cubicBezTo>
                          <a:cubicBezTo>
                            <a:pt x="245" y="0"/>
                            <a:pt x="237" y="8"/>
                            <a:pt x="234" y="20"/>
                          </a:cubicBezTo>
                          <a:cubicBezTo>
                            <a:pt x="239" y="20"/>
                            <a:pt x="244" y="21"/>
                            <a:pt x="249" y="21"/>
                          </a:cubicBezTo>
                          <a:cubicBezTo>
                            <a:pt x="251" y="15"/>
                            <a:pt x="254" y="12"/>
                            <a:pt x="258" y="12"/>
                          </a:cubicBezTo>
                          <a:close/>
                          <a:moveTo>
                            <a:pt x="348" y="35"/>
                          </a:moveTo>
                          <a:cubicBezTo>
                            <a:pt x="348" y="16"/>
                            <a:pt x="356" y="0"/>
                            <a:pt x="374" y="0"/>
                          </a:cubicBezTo>
                          <a:cubicBezTo>
                            <a:pt x="392" y="0"/>
                            <a:pt x="399" y="16"/>
                            <a:pt x="399" y="35"/>
                          </a:cubicBezTo>
                          <a:cubicBezTo>
                            <a:pt x="399" y="56"/>
                            <a:pt x="391" y="70"/>
                            <a:pt x="373" y="70"/>
                          </a:cubicBezTo>
                          <a:cubicBezTo>
                            <a:pt x="356" y="70"/>
                            <a:pt x="348" y="55"/>
                            <a:pt x="348" y="35"/>
                          </a:cubicBezTo>
                          <a:close/>
                          <a:moveTo>
                            <a:pt x="364" y="35"/>
                          </a:moveTo>
                          <a:cubicBezTo>
                            <a:pt x="364" y="51"/>
                            <a:pt x="368" y="58"/>
                            <a:pt x="374" y="58"/>
                          </a:cubicBezTo>
                          <a:cubicBezTo>
                            <a:pt x="380" y="58"/>
                            <a:pt x="383" y="51"/>
                            <a:pt x="383" y="35"/>
                          </a:cubicBezTo>
                          <a:cubicBezTo>
                            <a:pt x="383" y="20"/>
                            <a:pt x="380" y="12"/>
                            <a:pt x="374" y="12"/>
                          </a:cubicBezTo>
                          <a:cubicBezTo>
                            <a:pt x="368" y="12"/>
                            <a:pt x="364" y="20"/>
                            <a:pt x="364" y="35"/>
                          </a:cubicBezTo>
                          <a:close/>
                          <a:moveTo>
                            <a:pt x="7" y="143"/>
                          </a:moveTo>
                          <a:cubicBezTo>
                            <a:pt x="8" y="145"/>
                            <a:pt x="10" y="146"/>
                            <a:pt x="12" y="145"/>
                          </a:cubicBezTo>
                          <a:cubicBezTo>
                            <a:pt x="18" y="142"/>
                            <a:pt x="18" y="142"/>
                            <a:pt x="18" y="142"/>
                          </a:cubicBezTo>
                          <a:cubicBezTo>
                            <a:pt x="19" y="142"/>
                            <a:pt x="21" y="141"/>
                            <a:pt x="21" y="141"/>
                          </a:cubicBezTo>
                          <a:cubicBezTo>
                            <a:pt x="21" y="141"/>
                            <a:pt x="21" y="143"/>
                            <a:pt x="21" y="145"/>
                          </a:cubicBezTo>
                          <a:cubicBezTo>
                            <a:pt x="21" y="191"/>
                            <a:pt x="21" y="191"/>
                            <a:pt x="21" y="191"/>
                          </a:cubicBezTo>
                          <a:cubicBezTo>
                            <a:pt x="21" y="193"/>
                            <a:pt x="23" y="195"/>
                            <a:pt x="25" y="195"/>
                          </a:cubicBezTo>
                          <a:cubicBezTo>
                            <a:pt x="33" y="195"/>
                            <a:pt x="33" y="195"/>
                            <a:pt x="33" y="195"/>
                          </a:cubicBezTo>
                          <a:cubicBezTo>
                            <a:pt x="35" y="195"/>
                            <a:pt x="37" y="193"/>
                            <a:pt x="37" y="191"/>
                          </a:cubicBezTo>
                          <a:cubicBezTo>
                            <a:pt x="37" y="131"/>
                            <a:pt x="37" y="131"/>
                            <a:pt x="37" y="131"/>
                          </a:cubicBezTo>
                          <a:cubicBezTo>
                            <a:pt x="37" y="128"/>
                            <a:pt x="35" y="127"/>
                            <a:pt x="33" y="127"/>
                          </a:cubicBezTo>
                          <a:cubicBezTo>
                            <a:pt x="28" y="127"/>
                            <a:pt x="28" y="127"/>
                            <a:pt x="28" y="127"/>
                          </a:cubicBezTo>
                          <a:cubicBezTo>
                            <a:pt x="25" y="127"/>
                            <a:pt x="22" y="127"/>
                            <a:pt x="20" y="128"/>
                          </a:cubicBezTo>
                          <a:cubicBezTo>
                            <a:pt x="9" y="133"/>
                            <a:pt x="9" y="133"/>
                            <a:pt x="9" y="133"/>
                          </a:cubicBezTo>
                          <a:cubicBezTo>
                            <a:pt x="7" y="134"/>
                            <a:pt x="6" y="137"/>
                            <a:pt x="6" y="139"/>
                          </a:cubicBezTo>
                          <a:lnTo>
                            <a:pt x="7" y="143"/>
                          </a:lnTo>
                          <a:close/>
                          <a:moveTo>
                            <a:pt x="83" y="196"/>
                          </a:moveTo>
                          <a:cubicBezTo>
                            <a:pt x="88" y="196"/>
                            <a:pt x="92" y="195"/>
                            <a:pt x="95" y="193"/>
                          </a:cubicBezTo>
                          <a:cubicBezTo>
                            <a:pt x="94" y="187"/>
                            <a:pt x="92" y="181"/>
                            <a:pt x="92" y="175"/>
                          </a:cubicBezTo>
                          <a:cubicBezTo>
                            <a:pt x="90" y="181"/>
                            <a:pt x="88" y="184"/>
                            <a:pt x="84" y="184"/>
                          </a:cubicBezTo>
                          <a:cubicBezTo>
                            <a:pt x="78" y="184"/>
                            <a:pt x="74" y="176"/>
                            <a:pt x="74" y="161"/>
                          </a:cubicBezTo>
                          <a:cubicBezTo>
                            <a:pt x="74" y="145"/>
                            <a:pt x="78" y="138"/>
                            <a:pt x="84" y="138"/>
                          </a:cubicBezTo>
                          <a:cubicBezTo>
                            <a:pt x="87" y="138"/>
                            <a:pt x="90" y="140"/>
                            <a:pt x="91" y="144"/>
                          </a:cubicBezTo>
                          <a:cubicBezTo>
                            <a:pt x="91" y="144"/>
                            <a:pt x="91" y="144"/>
                            <a:pt x="91" y="143"/>
                          </a:cubicBezTo>
                          <a:cubicBezTo>
                            <a:pt x="92" y="138"/>
                            <a:pt x="93" y="133"/>
                            <a:pt x="94" y="128"/>
                          </a:cubicBezTo>
                          <a:cubicBezTo>
                            <a:pt x="91" y="126"/>
                            <a:pt x="88" y="125"/>
                            <a:pt x="84" y="125"/>
                          </a:cubicBezTo>
                          <a:cubicBezTo>
                            <a:pt x="66" y="125"/>
                            <a:pt x="58" y="141"/>
                            <a:pt x="58" y="161"/>
                          </a:cubicBezTo>
                          <a:cubicBezTo>
                            <a:pt x="58" y="180"/>
                            <a:pt x="66" y="196"/>
                            <a:pt x="83" y="196"/>
                          </a:cubicBezTo>
                          <a:close/>
                          <a:moveTo>
                            <a:pt x="165" y="178"/>
                          </a:moveTo>
                          <a:cubicBezTo>
                            <a:pt x="166" y="173"/>
                            <a:pt x="167" y="167"/>
                            <a:pt x="167" y="160"/>
                          </a:cubicBezTo>
                          <a:cubicBezTo>
                            <a:pt x="167" y="153"/>
                            <a:pt x="166" y="147"/>
                            <a:pt x="164" y="141"/>
                          </a:cubicBezTo>
                          <a:cubicBezTo>
                            <a:pt x="161" y="153"/>
                            <a:pt x="161" y="166"/>
                            <a:pt x="165" y="178"/>
                          </a:cubicBezTo>
                          <a:close/>
                          <a:moveTo>
                            <a:pt x="207" y="127"/>
                          </a:moveTo>
                          <a:cubicBezTo>
                            <a:pt x="202" y="127"/>
                            <a:pt x="202" y="127"/>
                            <a:pt x="202" y="127"/>
                          </a:cubicBezTo>
                          <a:cubicBezTo>
                            <a:pt x="199" y="127"/>
                            <a:pt x="196" y="127"/>
                            <a:pt x="194" y="128"/>
                          </a:cubicBezTo>
                          <a:cubicBezTo>
                            <a:pt x="183" y="133"/>
                            <a:pt x="183" y="133"/>
                            <a:pt x="183" y="133"/>
                          </a:cubicBezTo>
                          <a:cubicBezTo>
                            <a:pt x="181" y="134"/>
                            <a:pt x="180" y="137"/>
                            <a:pt x="180" y="139"/>
                          </a:cubicBezTo>
                          <a:cubicBezTo>
                            <a:pt x="181" y="143"/>
                            <a:pt x="181" y="143"/>
                            <a:pt x="181" y="143"/>
                          </a:cubicBezTo>
                          <a:cubicBezTo>
                            <a:pt x="182" y="145"/>
                            <a:pt x="184" y="146"/>
                            <a:pt x="186" y="145"/>
                          </a:cubicBezTo>
                          <a:cubicBezTo>
                            <a:pt x="192" y="142"/>
                            <a:pt x="192" y="142"/>
                            <a:pt x="192" y="142"/>
                          </a:cubicBezTo>
                          <a:cubicBezTo>
                            <a:pt x="194" y="142"/>
                            <a:pt x="195" y="141"/>
                            <a:pt x="195" y="141"/>
                          </a:cubicBezTo>
                          <a:cubicBezTo>
                            <a:pt x="195" y="141"/>
                            <a:pt x="195" y="143"/>
                            <a:pt x="195" y="145"/>
                          </a:cubicBezTo>
                          <a:cubicBezTo>
                            <a:pt x="195" y="191"/>
                            <a:pt x="195" y="191"/>
                            <a:pt x="195" y="191"/>
                          </a:cubicBezTo>
                          <a:cubicBezTo>
                            <a:pt x="195" y="193"/>
                            <a:pt x="197" y="195"/>
                            <a:pt x="199" y="195"/>
                          </a:cubicBezTo>
                          <a:cubicBezTo>
                            <a:pt x="207" y="195"/>
                            <a:pt x="207" y="195"/>
                            <a:pt x="207" y="195"/>
                          </a:cubicBezTo>
                          <a:cubicBezTo>
                            <a:pt x="209" y="195"/>
                            <a:pt x="211" y="193"/>
                            <a:pt x="211" y="191"/>
                          </a:cubicBezTo>
                          <a:cubicBezTo>
                            <a:pt x="211" y="131"/>
                            <a:pt x="211" y="131"/>
                            <a:pt x="211" y="131"/>
                          </a:cubicBezTo>
                          <a:cubicBezTo>
                            <a:pt x="211" y="128"/>
                            <a:pt x="209" y="127"/>
                            <a:pt x="207" y="127"/>
                          </a:cubicBezTo>
                          <a:close/>
                          <a:moveTo>
                            <a:pt x="283" y="160"/>
                          </a:moveTo>
                          <a:cubicBezTo>
                            <a:pt x="283" y="181"/>
                            <a:pt x="275" y="196"/>
                            <a:pt x="257" y="196"/>
                          </a:cubicBezTo>
                          <a:cubicBezTo>
                            <a:pt x="240" y="196"/>
                            <a:pt x="232" y="180"/>
                            <a:pt x="232" y="161"/>
                          </a:cubicBezTo>
                          <a:cubicBezTo>
                            <a:pt x="232" y="141"/>
                            <a:pt x="240" y="125"/>
                            <a:pt x="258" y="125"/>
                          </a:cubicBezTo>
                          <a:cubicBezTo>
                            <a:pt x="276" y="125"/>
                            <a:pt x="283" y="142"/>
                            <a:pt x="283" y="160"/>
                          </a:cubicBezTo>
                          <a:close/>
                          <a:moveTo>
                            <a:pt x="267" y="160"/>
                          </a:moveTo>
                          <a:cubicBezTo>
                            <a:pt x="267" y="145"/>
                            <a:pt x="264" y="138"/>
                            <a:pt x="258" y="138"/>
                          </a:cubicBezTo>
                          <a:cubicBezTo>
                            <a:pt x="252" y="138"/>
                            <a:pt x="248" y="145"/>
                            <a:pt x="248" y="161"/>
                          </a:cubicBezTo>
                          <a:cubicBezTo>
                            <a:pt x="248" y="176"/>
                            <a:pt x="252" y="184"/>
                            <a:pt x="258" y="184"/>
                          </a:cubicBezTo>
                          <a:cubicBezTo>
                            <a:pt x="264" y="184"/>
                            <a:pt x="267" y="176"/>
                            <a:pt x="267" y="160"/>
                          </a:cubicBezTo>
                          <a:close/>
                          <a:moveTo>
                            <a:pt x="374" y="125"/>
                          </a:moveTo>
                          <a:cubicBezTo>
                            <a:pt x="370" y="125"/>
                            <a:pt x="367" y="126"/>
                            <a:pt x="364" y="128"/>
                          </a:cubicBezTo>
                          <a:cubicBezTo>
                            <a:pt x="365" y="133"/>
                            <a:pt x="366" y="139"/>
                            <a:pt x="366" y="144"/>
                          </a:cubicBezTo>
                          <a:cubicBezTo>
                            <a:pt x="368" y="140"/>
                            <a:pt x="371" y="138"/>
                            <a:pt x="374" y="138"/>
                          </a:cubicBezTo>
                          <a:cubicBezTo>
                            <a:pt x="380" y="138"/>
                            <a:pt x="383" y="145"/>
                            <a:pt x="383" y="160"/>
                          </a:cubicBezTo>
                          <a:cubicBezTo>
                            <a:pt x="383" y="176"/>
                            <a:pt x="380" y="184"/>
                            <a:pt x="374" y="184"/>
                          </a:cubicBezTo>
                          <a:cubicBezTo>
                            <a:pt x="370" y="184"/>
                            <a:pt x="368" y="181"/>
                            <a:pt x="366" y="176"/>
                          </a:cubicBezTo>
                          <a:cubicBezTo>
                            <a:pt x="365" y="182"/>
                            <a:pt x="364" y="188"/>
                            <a:pt x="363" y="193"/>
                          </a:cubicBezTo>
                          <a:cubicBezTo>
                            <a:pt x="366" y="195"/>
                            <a:pt x="369" y="196"/>
                            <a:pt x="373" y="196"/>
                          </a:cubicBezTo>
                          <a:cubicBezTo>
                            <a:pt x="391" y="196"/>
                            <a:pt x="399" y="181"/>
                            <a:pt x="399" y="160"/>
                          </a:cubicBezTo>
                          <a:cubicBezTo>
                            <a:pt x="399" y="142"/>
                            <a:pt x="392" y="125"/>
                            <a:pt x="374" y="125"/>
                          </a:cubicBezTo>
                          <a:close/>
                          <a:moveTo>
                            <a:pt x="35" y="286"/>
                          </a:moveTo>
                          <a:cubicBezTo>
                            <a:pt x="35" y="288"/>
                            <a:pt x="35" y="289"/>
                            <a:pt x="35" y="291"/>
                          </a:cubicBezTo>
                          <a:cubicBezTo>
                            <a:pt x="50" y="275"/>
                            <a:pt x="50" y="275"/>
                            <a:pt x="50" y="275"/>
                          </a:cubicBezTo>
                          <a:cubicBezTo>
                            <a:pt x="48" y="261"/>
                            <a:pt x="41" y="251"/>
                            <a:pt x="26" y="251"/>
                          </a:cubicBezTo>
                          <a:cubicBezTo>
                            <a:pt x="8" y="251"/>
                            <a:pt x="0" y="266"/>
                            <a:pt x="0" y="286"/>
                          </a:cubicBezTo>
                          <a:cubicBezTo>
                            <a:pt x="0" y="300"/>
                            <a:pt x="4" y="312"/>
                            <a:pt x="13" y="318"/>
                          </a:cubicBezTo>
                          <a:cubicBezTo>
                            <a:pt x="14" y="313"/>
                            <a:pt x="17" y="309"/>
                            <a:pt x="20" y="306"/>
                          </a:cubicBezTo>
                          <a:cubicBezTo>
                            <a:pt x="17" y="302"/>
                            <a:pt x="16" y="296"/>
                            <a:pt x="16" y="286"/>
                          </a:cubicBezTo>
                          <a:cubicBezTo>
                            <a:pt x="16" y="270"/>
                            <a:pt x="20" y="263"/>
                            <a:pt x="26" y="263"/>
                          </a:cubicBezTo>
                          <a:cubicBezTo>
                            <a:pt x="32" y="263"/>
                            <a:pt x="35" y="271"/>
                            <a:pt x="35" y="286"/>
                          </a:cubicBezTo>
                          <a:close/>
                          <a:moveTo>
                            <a:pt x="137" y="316"/>
                          </a:moveTo>
                          <a:cubicBezTo>
                            <a:pt x="137" y="318"/>
                            <a:pt x="139" y="320"/>
                            <a:pt x="141" y="320"/>
                          </a:cubicBezTo>
                          <a:cubicBezTo>
                            <a:pt x="149" y="320"/>
                            <a:pt x="149" y="320"/>
                            <a:pt x="149" y="320"/>
                          </a:cubicBezTo>
                          <a:cubicBezTo>
                            <a:pt x="151" y="320"/>
                            <a:pt x="153" y="318"/>
                            <a:pt x="153" y="316"/>
                          </a:cubicBezTo>
                          <a:cubicBezTo>
                            <a:pt x="153" y="296"/>
                            <a:pt x="153" y="296"/>
                            <a:pt x="153" y="296"/>
                          </a:cubicBezTo>
                          <a:cubicBezTo>
                            <a:pt x="137" y="311"/>
                            <a:pt x="137" y="311"/>
                            <a:pt x="137" y="311"/>
                          </a:cubicBezTo>
                          <a:lnTo>
                            <a:pt x="137" y="316"/>
                          </a:lnTo>
                          <a:close/>
                          <a:moveTo>
                            <a:pt x="200" y="309"/>
                          </a:moveTo>
                          <a:cubicBezTo>
                            <a:pt x="194" y="309"/>
                            <a:pt x="191" y="303"/>
                            <a:pt x="190" y="291"/>
                          </a:cubicBezTo>
                          <a:cubicBezTo>
                            <a:pt x="185" y="289"/>
                            <a:pt x="179" y="287"/>
                            <a:pt x="174" y="285"/>
                          </a:cubicBezTo>
                          <a:cubicBezTo>
                            <a:pt x="174" y="285"/>
                            <a:pt x="174" y="286"/>
                            <a:pt x="174" y="286"/>
                          </a:cubicBezTo>
                          <a:cubicBezTo>
                            <a:pt x="174" y="305"/>
                            <a:pt x="182" y="321"/>
                            <a:pt x="199" y="321"/>
                          </a:cubicBezTo>
                          <a:cubicBezTo>
                            <a:pt x="214" y="321"/>
                            <a:pt x="222" y="311"/>
                            <a:pt x="224" y="296"/>
                          </a:cubicBezTo>
                          <a:cubicBezTo>
                            <a:pt x="219" y="296"/>
                            <a:pt x="214" y="296"/>
                            <a:pt x="209" y="295"/>
                          </a:cubicBezTo>
                          <a:cubicBezTo>
                            <a:pt x="208" y="304"/>
                            <a:pt x="205" y="309"/>
                            <a:pt x="200" y="309"/>
                          </a:cubicBezTo>
                          <a:close/>
                          <a:moveTo>
                            <a:pt x="253" y="316"/>
                          </a:moveTo>
                          <a:cubicBezTo>
                            <a:pt x="253" y="318"/>
                            <a:pt x="255" y="320"/>
                            <a:pt x="257" y="320"/>
                          </a:cubicBezTo>
                          <a:cubicBezTo>
                            <a:pt x="265" y="320"/>
                            <a:pt x="265" y="320"/>
                            <a:pt x="265" y="320"/>
                          </a:cubicBezTo>
                          <a:cubicBezTo>
                            <a:pt x="267" y="320"/>
                            <a:pt x="269" y="318"/>
                            <a:pt x="269" y="316"/>
                          </a:cubicBezTo>
                          <a:cubicBezTo>
                            <a:pt x="269" y="291"/>
                            <a:pt x="269" y="291"/>
                            <a:pt x="269" y="291"/>
                          </a:cubicBezTo>
                          <a:cubicBezTo>
                            <a:pt x="264" y="292"/>
                            <a:pt x="259" y="293"/>
                            <a:pt x="253" y="294"/>
                          </a:cubicBezTo>
                          <a:lnTo>
                            <a:pt x="253" y="316"/>
                          </a:lnTo>
                          <a:close/>
                          <a:moveTo>
                            <a:pt x="327" y="256"/>
                          </a:moveTo>
                          <a:cubicBezTo>
                            <a:pt x="322" y="261"/>
                            <a:pt x="317" y="265"/>
                            <a:pt x="311" y="269"/>
                          </a:cubicBezTo>
                          <a:cubicBezTo>
                            <a:pt x="311" y="269"/>
                            <a:pt x="311" y="270"/>
                            <a:pt x="311" y="270"/>
                          </a:cubicBezTo>
                          <a:cubicBezTo>
                            <a:pt x="311" y="316"/>
                            <a:pt x="311" y="316"/>
                            <a:pt x="311" y="316"/>
                          </a:cubicBezTo>
                          <a:cubicBezTo>
                            <a:pt x="311" y="318"/>
                            <a:pt x="313" y="320"/>
                            <a:pt x="315" y="320"/>
                          </a:cubicBezTo>
                          <a:cubicBezTo>
                            <a:pt x="323" y="320"/>
                            <a:pt x="323" y="320"/>
                            <a:pt x="323" y="320"/>
                          </a:cubicBezTo>
                          <a:cubicBezTo>
                            <a:pt x="325" y="320"/>
                            <a:pt x="327" y="318"/>
                            <a:pt x="327" y="316"/>
                          </a:cubicBezTo>
                          <a:cubicBezTo>
                            <a:pt x="327" y="256"/>
                            <a:pt x="327" y="256"/>
                            <a:pt x="327" y="256"/>
                          </a:cubicBezTo>
                          <a:cubicBezTo>
                            <a:pt x="327" y="256"/>
                            <a:pt x="327" y="256"/>
                            <a:pt x="327" y="256"/>
                          </a:cubicBezTo>
                          <a:cubicBezTo>
                            <a:pt x="327" y="256"/>
                            <a:pt x="327" y="256"/>
                            <a:pt x="327" y="256"/>
                          </a:cubicBezTo>
                          <a:close/>
                          <a:moveTo>
                            <a:pt x="399" y="286"/>
                          </a:moveTo>
                          <a:cubicBezTo>
                            <a:pt x="399" y="307"/>
                            <a:pt x="391" y="321"/>
                            <a:pt x="373" y="321"/>
                          </a:cubicBezTo>
                          <a:cubicBezTo>
                            <a:pt x="356" y="321"/>
                            <a:pt x="348" y="305"/>
                            <a:pt x="348" y="286"/>
                          </a:cubicBezTo>
                          <a:cubicBezTo>
                            <a:pt x="348" y="266"/>
                            <a:pt x="356" y="251"/>
                            <a:pt x="374" y="251"/>
                          </a:cubicBezTo>
                          <a:cubicBezTo>
                            <a:pt x="392" y="251"/>
                            <a:pt x="399" y="267"/>
                            <a:pt x="399" y="286"/>
                          </a:cubicBezTo>
                          <a:close/>
                          <a:moveTo>
                            <a:pt x="383" y="286"/>
                          </a:moveTo>
                          <a:cubicBezTo>
                            <a:pt x="383" y="271"/>
                            <a:pt x="380" y="263"/>
                            <a:pt x="374" y="263"/>
                          </a:cubicBezTo>
                          <a:cubicBezTo>
                            <a:pt x="368" y="263"/>
                            <a:pt x="364" y="270"/>
                            <a:pt x="364" y="286"/>
                          </a:cubicBezTo>
                          <a:cubicBezTo>
                            <a:pt x="364" y="302"/>
                            <a:pt x="368" y="309"/>
                            <a:pt x="374" y="309"/>
                          </a:cubicBezTo>
                          <a:cubicBezTo>
                            <a:pt x="380" y="309"/>
                            <a:pt x="383" y="301"/>
                            <a:pt x="383" y="286"/>
                          </a:cubicBezTo>
                          <a:close/>
                          <a:moveTo>
                            <a:pt x="315" y="245"/>
                          </a:moveTo>
                          <a:cubicBezTo>
                            <a:pt x="291" y="268"/>
                            <a:pt x="260" y="280"/>
                            <a:pt x="229" y="280"/>
                          </a:cubicBezTo>
                          <a:cubicBezTo>
                            <a:pt x="206" y="280"/>
                            <a:pt x="184" y="274"/>
                            <a:pt x="164" y="262"/>
                          </a:cubicBezTo>
                          <a:cubicBezTo>
                            <a:pt x="71" y="354"/>
                            <a:pt x="71" y="354"/>
                            <a:pt x="71" y="354"/>
                          </a:cubicBezTo>
                          <a:cubicBezTo>
                            <a:pt x="64" y="362"/>
                            <a:pt x="51" y="362"/>
                            <a:pt x="43" y="354"/>
                          </a:cubicBezTo>
                          <a:cubicBezTo>
                            <a:pt x="33" y="344"/>
                            <a:pt x="33" y="344"/>
                            <a:pt x="33" y="344"/>
                          </a:cubicBezTo>
                          <a:cubicBezTo>
                            <a:pt x="25" y="336"/>
                            <a:pt x="25" y="323"/>
                            <a:pt x="33" y="316"/>
                          </a:cubicBezTo>
                          <a:cubicBezTo>
                            <a:pt x="125" y="223"/>
                            <a:pt x="125" y="223"/>
                            <a:pt x="125" y="223"/>
                          </a:cubicBezTo>
                          <a:cubicBezTo>
                            <a:pt x="96" y="176"/>
                            <a:pt x="101" y="113"/>
                            <a:pt x="142" y="72"/>
                          </a:cubicBezTo>
                          <a:cubicBezTo>
                            <a:pt x="166" y="48"/>
                            <a:pt x="198" y="36"/>
                            <a:pt x="229" y="36"/>
                          </a:cubicBezTo>
                          <a:cubicBezTo>
                            <a:pt x="260" y="36"/>
                            <a:pt x="291" y="48"/>
                            <a:pt x="315" y="72"/>
                          </a:cubicBezTo>
                          <a:cubicBezTo>
                            <a:pt x="363" y="119"/>
                            <a:pt x="363" y="197"/>
                            <a:pt x="315" y="245"/>
                          </a:cubicBezTo>
                          <a:close/>
                          <a:moveTo>
                            <a:pt x="312" y="158"/>
                          </a:moveTo>
                          <a:cubicBezTo>
                            <a:pt x="312" y="136"/>
                            <a:pt x="303" y="115"/>
                            <a:pt x="287" y="100"/>
                          </a:cubicBezTo>
                          <a:cubicBezTo>
                            <a:pt x="272" y="84"/>
                            <a:pt x="251" y="75"/>
                            <a:pt x="229" y="75"/>
                          </a:cubicBezTo>
                          <a:cubicBezTo>
                            <a:pt x="207" y="75"/>
                            <a:pt x="186" y="84"/>
                            <a:pt x="170" y="100"/>
                          </a:cubicBezTo>
                          <a:cubicBezTo>
                            <a:pt x="138" y="132"/>
                            <a:pt x="138" y="184"/>
                            <a:pt x="170" y="217"/>
                          </a:cubicBezTo>
                          <a:cubicBezTo>
                            <a:pt x="186" y="232"/>
                            <a:pt x="207" y="241"/>
                            <a:pt x="229" y="241"/>
                          </a:cubicBezTo>
                          <a:cubicBezTo>
                            <a:pt x="251" y="241"/>
                            <a:pt x="272" y="232"/>
                            <a:pt x="287" y="217"/>
                          </a:cubicBezTo>
                          <a:cubicBezTo>
                            <a:pt x="303" y="201"/>
                            <a:pt x="312" y="180"/>
                            <a:pt x="312" y="158"/>
                          </a:cubicBezTo>
                          <a:close/>
                          <a:moveTo>
                            <a:pt x="297" y="18"/>
                          </a:moveTo>
                          <a:cubicBezTo>
                            <a:pt x="298" y="20"/>
                            <a:pt x="300" y="21"/>
                            <a:pt x="302" y="20"/>
                          </a:cubicBezTo>
                          <a:cubicBezTo>
                            <a:pt x="308" y="17"/>
                            <a:pt x="308" y="17"/>
                            <a:pt x="308" y="17"/>
                          </a:cubicBezTo>
                          <a:cubicBezTo>
                            <a:pt x="310" y="16"/>
                            <a:pt x="311" y="15"/>
                            <a:pt x="311" y="15"/>
                          </a:cubicBezTo>
                          <a:cubicBezTo>
                            <a:pt x="311" y="15"/>
                            <a:pt x="311" y="17"/>
                            <a:pt x="311" y="19"/>
                          </a:cubicBezTo>
                          <a:cubicBezTo>
                            <a:pt x="311" y="47"/>
                            <a:pt x="311" y="47"/>
                            <a:pt x="311" y="47"/>
                          </a:cubicBezTo>
                          <a:cubicBezTo>
                            <a:pt x="317" y="51"/>
                            <a:pt x="322" y="56"/>
                            <a:pt x="327" y="60"/>
                          </a:cubicBezTo>
                          <a:cubicBezTo>
                            <a:pt x="327" y="60"/>
                            <a:pt x="327" y="60"/>
                            <a:pt x="327" y="61"/>
                          </a:cubicBezTo>
                          <a:cubicBezTo>
                            <a:pt x="327" y="5"/>
                            <a:pt x="327" y="5"/>
                            <a:pt x="327" y="5"/>
                          </a:cubicBezTo>
                          <a:cubicBezTo>
                            <a:pt x="327" y="3"/>
                            <a:pt x="325" y="1"/>
                            <a:pt x="323" y="1"/>
                          </a:cubicBezTo>
                          <a:cubicBezTo>
                            <a:pt x="318" y="1"/>
                            <a:pt x="318" y="1"/>
                            <a:pt x="318" y="1"/>
                          </a:cubicBezTo>
                          <a:cubicBezTo>
                            <a:pt x="315" y="1"/>
                            <a:pt x="312" y="2"/>
                            <a:pt x="310" y="3"/>
                          </a:cubicBezTo>
                          <a:cubicBezTo>
                            <a:pt x="299" y="8"/>
                            <a:pt x="299" y="8"/>
                            <a:pt x="299" y="8"/>
                          </a:cubicBezTo>
                          <a:cubicBezTo>
                            <a:pt x="297" y="9"/>
                            <a:pt x="296" y="11"/>
                            <a:pt x="296" y="13"/>
                          </a:cubicBezTo>
                          <a:lnTo>
                            <a:pt x="297" y="18"/>
                          </a:lnTo>
                          <a:close/>
                        </a:path>
                      </a:pathLst>
                    </a:custGeom>
                    <a:solidFill>
                      <a:schemeClr val="tx2"/>
                    </a:solidFill>
                    <a:ln w="25400" cap="flat" cmpd="sng" algn="ctr">
                      <a:noFill/>
                      <a:prstDash val="solid"/>
                    </a:ln>
                    <a:effectLst/>
                  </p:spPr>
                  <p:txBody>
                    <a:bodyPr lIns="91432" tIns="45716" rIns="91432" bIns="45716" anchor="ctr"/>
                    <a:lstStyle/>
                    <a:p>
                      <a:pPr algn="ctr" defTabSz="902744" fontAlgn="base">
                        <a:spcBef>
                          <a:spcPct val="0"/>
                        </a:spcBef>
                        <a:spcAft>
                          <a:spcPct val="0"/>
                        </a:spcAft>
                        <a:defRPr/>
                      </a:pPr>
                      <a:endParaRPr lang="en-US" sz="2400">
                        <a:solidFill>
                          <a:srgbClr val="0096D6"/>
                        </a:solidFill>
                        <a:latin typeface="CiscoSansTT Light"/>
                        <a:ea typeface="ＭＳ Ｐゴシック" charset="0"/>
                        <a:cs typeface="CiscoSansTT Light"/>
                        <a:sym typeface="Arial"/>
                      </a:endParaRPr>
                    </a:p>
                  </p:txBody>
                </p:sp>
                <p:sp>
                  <p:nvSpPr>
                    <p:cNvPr id="365" name="Circle: Hollow 364">
                      <a:extLst>
                        <a:ext uri="{FF2B5EF4-FFF2-40B4-BE49-F238E27FC236}">
                          <a16:creationId xmlns:a16="http://schemas.microsoft.com/office/drawing/2014/main" id="{08D4B8F8-4430-4B03-B79A-216BD41F56A3}"/>
                        </a:ext>
                      </a:extLst>
                    </p:cNvPr>
                    <p:cNvSpPr/>
                    <p:nvPr/>
                  </p:nvSpPr>
                  <p:spPr>
                    <a:xfrm>
                      <a:off x="5711606" y="3334840"/>
                      <a:ext cx="391537" cy="391537"/>
                    </a:xfrm>
                    <a:prstGeom prst="donut">
                      <a:avLst>
                        <a:gd name="adj" fmla="val 17813"/>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282828"/>
                        </a:solidFill>
                        <a:latin typeface="CiscoSansTT ExtraLight"/>
                        <a:sym typeface="Arial"/>
                      </a:endParaRPr>
                    </a:p>
                  </p:txBody>
                </p:sp>
                <p:sp>
                  <p:nvSpPr>
                    <p:cNvPr id="366" name="Rectangle: Rounded Corners 365">
                      <a:extLst>
                        <a:ext uri="{FF2B5EF4-FFF2-40B4-BE49-F238E27FC236}">
                          <a16:creationId xmlns:a16="http://schemas.microsoft.com/office/drawing/2014/main" id="{7E08082E-79DD-4CF7-84B0-1E96F0639CDA}"/>
                        </a:ext>
                      </a:extLst>
                    </p:cNvPr>
                    <p:cNvSpPr/>
                    <p:nvPr/>
                  </p:nvSpPr>
                  <p:spPr>
                    <a:xfrm rot="2656805">
                      <a:off x="5655140" y="3615540"/>
                      <a:ext cx="84809" cy="257745"/>
                    </a:xfrm>
                    <a:prstGeom prst="roundRect">
                      <a:avLst>
                        <a:gd name="adj" fmla="val 28235"/>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grpSp>
            </p:grpSp>
          </p:grpSp>
          <p:grpSp>
            <p:nvGrpSpPr>
              <p:cNvPr id="170" name="Group 169">
                <a:extLst>
                  <a:ext uri="{FF2B5EF4-FFF2-40B4-BE49-F238E27FC236}">
                    <a16:creationId xmlns:a16="http://schemas.microsoft.com/office/drawing/2014/main" id="{A1C7EFF0-20F4-467C-9D75-E29A19C1DE31}"/>
                  </a:ext>
                </a:extLst>
              </p:cNvPr>
              <p:cNvGrpSpPr/>
              <p:nvPr/>
            </p:nvGrpSpPr>
            <p:grpSpPr>
              <a:xfrm>
                <a:off x="6438268" y="2493124"/>
                <a:ext cx="353122" cy="353122"/>
                <a:chOff x="513404" y="1200395"/>
                <a:chExt cx="470005" cy="470005"/>
              </a:xfrm>
            </p:grpSpPr>
            <p:sp>
              <p:nvSpPr>
                <p:cNvPr id="171" name="Oval 170">
                  <a:extLst>
                    <a:ext uri="{FF2B5EF4-FFF2-40B4-BE49-F238E27FC236}">
                      <a16:creationId xmlns:a16="http://schemas.microsoft.com/office/drawing/2014/main" id="{AD4149D1-5001-4BC3-8567-F272B0A465E7}"/>
                    </a:ext>
                  </a:extLst>
                </p:cNvPr>
                <p:cNvSpPr/>
                <p:nvPr/>
              </p:nvSpPr>
              <p:spPr>
                <a:xfrm>
                  <a:off x="513404" y="1200395"/>
                  <a:ext cx="470005" cy="470005"/>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172" name="Freeform: Shape 171">
                  <a:extLst>
                    <a:ext uri="{FF2B5EF4-FFF2-40B4-BE49-F238E27FC236}">
                      <a16:creationId xmlns:a16="http://schemas.microsoft.com/office/drawing/2014/main" id="{B92EE050-10FC-4D9E-BA7C-FF5E29D1198E}"/>
                    </a:ext>
                  </a:extLst>
                </p:cNvPr>
                <p:cNvSpPr/>
                <p:nvPr/>
              </p:nvSpPr>
              <p:spPr>
                <a:xfrm>
                  <a:off x="513404" y="1394443"/>
                  <a:ext cx="361341" cy="80316"/>
                </a:xfrm>
                <a:custGeom>
                  <a:avLst/>
                  <a:gdLst>
                    <a:gd name="connsiteX0" fmla="*/ 4128 w 361341"/>
                    <a:gd name="connsiteY0" fmla="*/ 0 h 80316"/>
                    <a:gd name="connsiteX1" fmla="*/ 321183 w 361341"/>
                    <a:gd name="connsiteY1" fmla="*/ 0 h 80316"/>
                    <a:gd name="connsiteX2" fmla="*/ 361341 w 361341"/>
                    <a:gd name="connsiteY2" fmla="*/ 40158 h 80316"/>
                    <a:gd name="connsiteX3" fmla="*/ 361340 w 361341"/>
                    <a:gd name="connsiteY3" fmla="*/ 40158 h 80316"/>
                    <a:gd name="connsiteX4" fmla="*/ 321182 w 361341"/>
                    <a:gd name="connsiteY4" fmla="*/ 80316 h 80316"/>
                    <a:gd name="connsiteX5" fmla="*/ 3968 w 361341"/>
                    <a:gd name="connsiteY5" fmla="*/ 80315 h 80316"/>
                    <a:gd name="connsiteX6" fmla="*/ 0 w 361341"/>
                    <a:gd name="connsiteY6" fmla="*/ 40954 h 80316"/>
                    <a:gd name="connsiteX7" fmla="*/ 4128 w 361341"/>
                    <a:gd name="connsiteY7" fmla="*/ 0 h 8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1341" h="80316">
                      <a:moveTo>
                        <a:pt x="4128" y="0"/>
                      </a:moveTo>
                      <a:lnTo>
                        <a:pt x="321183" y="0"/>
                      </a:lnTo>
                      <a:cubicBezTo>
                        <a:pt x="343362" y="0"/>
                        <a:pt x="361341" y="17979"/>
                        <a:pt x="361341" y="40158"/>
                      </a:cubicBezTo>
                      <a:lnTo>
                        <a:pt x="361340" y="40158"/>
                      </a:lnTo>
                      <a:cubicBezTo>
                        <a:pt x="361340" y="62337"/>
                        <a:pt x="343361" y="80316"/>
                        <a:pt x="321182" y="80316"/>
                      </a:cubicBezTo>
                      <a:lnTo>
                        <a:pt x="3968" y="80315"/>
                      </a:lnTo>
                      <a:lnTo>
                        <a:pt x="0" y="40954"/>
                      </a:lnTo>
                      <a:lnTo>
                        <a:pt x="4128" y="0"/>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173" name="Freeform 62">
                  <a:extLst>
                    <a:ext uri="{FF2B5EF4-FFF2-40B4-BE49-F238E27FC236}">
                      <a16:creationId xmlns:a16="http://schemas.microsoft.com/office/drawing/2014/main" id="{5D729604-B161-45F2-A668-A2170C92BFC0}"/>
                    </a:ext>
                  </a:extLst>
                </p:cNvPr>
                <p:cNvSpPr>
                  <a:spLocks/>
                </p:cNvSpPr>
                <p:nvPr/>
              </p:nvSpPr>
              <p:spPr bwMode="auto">
                <a:xfrm>
                  <a:off x="688230" y="1291434"/>
                  <a:ext cx="172200" cy="118503"/>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4" name="Freeform 63">
                  <a:extLst>
                    <a:ext uri="{FF2B5EF4-FFF2-40B4-BE49-F238E27FC236}">
                      <a16:creationId xmlns:a16="http://schemas.microsoft.com/office/drawing/2014/main" id="{9A027890-CF1A-4A80-8074-5F299F993CEE}"/>
                    </a:ext>
                  </a:extLst>
                </p:cNvPr>
                <p:cNvSpPr>
                  <a:spLocks noEditPoints="1"/>
                </p:cNvSpPr>
                <p:nvPr/>
              </p:nvSpPr>
              <p:spPr bwMode="auto">
                <a:xfrm>
                  <a:off x="748407" y="1399753"/>
                  <a:ext cx="112023" cy="35181"/>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5" name="Freeform 64">
                  <a:extLst>
                    <a:ext uri="{FF2B5EF4-FFF2-40B4-BE49-F238E27FC236}">
                      <a16:creationId xmlns:a16="http://schemas.microsoft.com/office/drawing/2014/main" id="{283334CA-766A-4655-9C44-AEDDB4F256AE}"/>
                    </a:ext>
                  </a:extLst>
                </p:cNvPr>
                <p:cNvSpPr>
                  <a:spLocks/>
                </p:cNvSpPr>
                <p:nvPr/>
              </p:nvSpPr>
              <p:spPr bwMode="auto">
                <a:xfrm>
                  <a:off x="688230" y="1460857"/>
                  <a:ext cx="172200" cy="118503"/>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6" name="Freeform 65">
                  <a:extLst>
                    <a:ext uri="{FF2B5EF4-FFF2-40B4-BE49-F238E27FC236}">
                      <a16:creationId xmlns:a16="http://schemas.microsoft.com/office/drawing/2014/main" id="{1691E6D5-A275-4C61-A596-9FB25CFA78BB}"/>
                    </a:ext>
                  </a:extLst>
                </p:cNvPr>
                <p:cNvSpPr>
                  <a:spLocks noEditPoints="1"/>
                </p:cNvSpPr>
                <p:nvPr/>
              </p:nvSpPr>
              <p:spPr bwMode="auto">
                <a:xfrm>
                  <a:off x="748407" y="1434934"/>
                  <a:ext cx="112023" cy="36106"/>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7" name="Freeform 66">
                  <a:extLst>
                    <a:ext uri="{FF2B5EF4-FFF2-40B4-BE49-F238E27FC236}">
                      <a16:creationId xmlns:a16="http://schemas.microsoft.com/office/drawing/2014/main" id="{D064F8EA-E3E8-4136-AD99-0819FAF8AACF}"/>
                    </a:ext>
                  </a:extLst>
                </p:cNvPr>
                <p:cNvSpPr>
                  <a:spLocks noEditPoints="1"/>
                </p:cNvSpPr>
                <p:nvPr/>
              </p:nvSpPr>
              <p:spPr bwMode="auto">
                <a:xfrm>
                  <a:off x="834507" y="1399753"/>
                  <a:ext cx="34255" cy="7128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8" name="Freeform 67">
                  <a:extLst>
                    <a:ext uri="{FF2B5EF4-FFF2-40B4-BE49-F238E27FC236}">
                      <a16:creationId xmlns:a16="http://schemas.microsoft.com/office/drawing/2014/main" id="{6036232A-16DE-458C-87BA-3F2B5D9DF8FC}"/>
                    </a:ext>
                  </a:extLst>
                </p:cNvPr>
                <p:cNvSpPr>
                  <a:spLocks/>
                </p:cNvSpPr>
                <p:nvPr/>
              </p:nvSpPr>
              <p:spPr bwMode="auto">
                <a:xfrm>
                  <a:off x="784976" y="1399753"/>
                  <a:ext cx="87952" cy="7128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0066C5"/>
                </a:solidFill>
                <a:ln>
                  <a:solidFill>
                    <a:srgbClr val="0066C5"/>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sp>
          <p:nvSpPr>
            <p:cNvPr id="263" name="TextBox 262">
              <a:extLst>
                <a:ext uri="{FF2B5EF4-FFF2-40B4-BE49-F238E27FC236}">
                  <a16:creationId xmlns:a16="http://schemas.microsoft.com/office/drawing/2014/main" id="{3CEC48F3-BFD3-4B81-B0AD-80AE233FCCC6}"/>
                </a:ext>
              </a:extLst>
            </p:cNvPr>
            <p:cNvSpPr txBox="1"/>
            <p:nvPr/>
          </p:nvSpPr>
          <p:spPr>
            <a:xfrm>
              <a:off x="4643893" y="3257090"/>
              <a:ext cx="1925723" cy="246173"/>
            </a:xfrm>
            <a:prstGeom prst="rect">
              <a:avLst/>
            </a:prstGeom>
            <a:noFill/>
          </p:spPr>
          <p:txBody>
            <a:bodyPr wrap="square" rtlCol="0">
              <a:spAutoFit/>
            </a:bodyPr>
            <a:lstStyle/>
            <a:p>
              <a:pPr algn="ctr" defTabSz="609585" fontAlgn="base">
                <a:spcBef>
                  <a:spcPct val="0"/>
                </a:spcBef>
                <a:spcAft>
                  <a:spcPct val="0"/>
                </a:spcAft>
                <a:defRPr/>
              </a:pPr>
              <a:r>
                <a:rPr lang="en-US" sz="1533">
                  <a:solidFill>
                    <a:srgbClr val="282828"/>
                  </a:solidFill>
                  <a:latin typeface="CiscoSansTT ExtraLight"/>
                  <a:ea typeface="ＭＳ Ｐゴシック" charset="0"/>
                  <a:cs typeface="Arial"/>
                  <a:sym typeface="Arial"/>
                </a:rPr>
                <a:t>Investigation and research</a:t>
              </a:r>
            </a:p>
          </p:txBody>
        </p:sp>
      </p:grpSp>
      <p:grpSp>
        <p:nvGrpSpPr>
          <p:cNvPr id="14" name="Group 13">
            <a:extLst>
              <a:ext uri="{FF2B5EF4-FFF2-40B4-BE49-F238E27FC236}">
                <a16:creationId xmlns:a16="http://schemas.microsoft.com/office/drawing/2014/main" id="{DD95D10C-543E-43C7-A44F-9671315B15AB}"/>
              </a:ext>
            </a:extLst>
          </p:cNvPr>
          <p:cNvGrpSpPr/>
          <p:nvPr/>
        </p:nvGrpSpPr>
        <p:grpSpPr>
          <a:xfrm>
            <a:off x="3422341" y="2156835"/>
            <a:ext cx="2918681" cy="3001965"/>
            <a:chOff x="2566755" y="1483615"/>
            <a:chExt cx="2189011" cy="2251474"/>
          </a:xfrm>
        </p:grpSpPr>
        <p:grpSp>
          <p:nvGrpSpPr>
            <p:cNvPr id="11" name="Group 10">
              <a:extLst>
                <a:ext uri="{FF2B5EF4-FFF2-40B4-BE49-F238E27FC236}">
                  <a16:creationId xmlns:a16="http://schemas.microsoft.com/office/drawing/2014/main" id="{F4C55125-83F4-43E4-9D08-114939375A10}"/>
                </a:ext>
              </a:extLst>
            </p:cNvPr>
            <p:cNvGrpSpPr/>
            <p:nvPr/>
          </p:nvGrpSpPr>
          <p:grpSpPr>
            <a:xfrm>
              <a:off x="2566755" y="1483615"/>
              <a:ext cx="1984327" cy="2251474"/>
              <a:chOff x="2566755" y="1483615"/>
              <a:chExt cx="1984327" cy="2251474"/>
            </a:xfrm>
          </p:grpSpPr>
          <p:sp>
            <p:nvSpPr>
              <p:cNvPr id="130" name="Rectangle 129">
                <a:extLst>
                  <a:ext uri="{FF2B5EF4-FFF2-40B4-BE49-F238E27FC236}">
                    <a16:creationId xmlns:a16="http://schemas.microsoft.com/office/drawing/2014/main" id="{FDFE83A3-BD1D-4BD4-B7E3-E85D49A30F69}"/>
                  </a:ext>
                </a:extLst>
              </p:cNvPr>
              <p:cNvSpPr>
                <a:spLocks noChangeAspect="1"/>
              </p:cNvSpPr>
              <p:nvPr/>
            </p:nvSpPr>
            <p:spPr>
              <a:xfrm>
                <a:off x="2566755" y="1483615"/>
                <a:ext cx="1984327" cy="2251474"/>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21920" rtlCol="0" anchor="t"/>
              <a:lstStyle/>
              <a:p>
                <a:pPr algn="ctr" defTabSz="609585" fontAlgn="base">
                  <a:spcBef>
                    <a:spcPct val="0"/>
                  </a:spcBef>
                  <a:spcAft>
                    <a:spcPct val="0"/>
                  </a:spcAft>
                  <a:defRPr/>
                </a:pPr>
                <a:r>
                  <a:rPr lang="en-US" sz="1867" b="1" dirty="0">
                    <a:solidFill>
                      <a:srgbClr val="005073"/>
                    </a:solidFill>
                    <a:latin typeface="CiscoSansTT ExtraLight"/>
                    <a:sym typeface="Arial"/>
                  </a:rPr>
                  <a:t>Analysis</a:t>
                </a:r>
              </a:p>
            </p:txBody>
          </p:sp>
          <p:sp>
            <p:nvSpPr>
              <p:cNvPr id="262" name="TextBox 261">
                <a:extLst>
                  <a:ext uri="{FF2B5EF4-FFF2-40B4-BE49-F238E27FC236}">
                    <a16:creationId xmlns:a16="http://schemas.microsoft.com/office/drawing/2014/main" id="{3977A867-5868-43CF-98AB-2C98ED766282}"/>
                  </a:ext>
                </a:extLst>
              </p:cNvPr>
              <p:cNvSpPr txBox="1"/>
              <p:nvPr/>
            </p:nvSpPr>
            <p:spPr>
              <a:xfrm>
                <a:off x="2566756" y="3257090"/>
                <a:ext cx="1984326" cy="246173"/>
              </a:xfrm>
              <a:prstGeom prst="rect">
                <a:avLst/>
              </a:prstGeom>
              <a:noFill/>
            </p:spPr>
            <p:txBody>
              <a:bodyPr wrap="square" rtlCol="0">
                <a:spAutoFit/>
              </a:bodyPr>
              <a:lstStyle/>
              <a:p>
                <a:pPr algn="ctr" defTabSz="609585" fontAlgn="base">
                  <a:spcBef>
                    <a:spcPct val="0"/>
                  </a:spcBef>
                  <a:spcAft>
                    <a:spcPct val="0"/>
                  </a:spcAft>
                  <a:defRPr/>
                </a:pPr>
                <a:r>
                  <a:rPr lang="en-US" sz="1533">
                    <a:solidFill>
                      <a:srgbClr val="282828"/>
                    </a:solidFill>
                    <a:latin typeface="CiscoSansTT ExtraLight"/>
                    <a:ea typeface="ＭＳ Ｐゴシック" charset="0"/>
                    <a:cs typeface="Arial"/>
                    <a:sym typeface="Arial"/>
                  </a:rPr>
                  <a:t>Threat verified</a:t>
                </a:r>
              </a:p>
            </p:txBody>
          </p:sp>
          <p:grpSp>
            <p:nvGrpSpPr>
              <p:cNvPr id="8" name="Group 7">
                <a:extLst>
                  <a:ext uri="{FF2B5EF4-FFF2-40B4-BE49-F238E27FC236}">
                    <a16:creationId xmlns:a16="http://schemas.microsoft.com/office/drawing/2014/main" id="{ADCA4C13-69CB-4DE4-99FD-E73E8EBFC90E}"/>
                  </a:ext>
                </a:extLst>
              </p:cNvPr>
              <p:cNvGrpSpPr/>
              <p:nvPr/>
            </p:nvGrpSpPr>
            <p:grpSpPr>
              <a:xfrm>
                <a:off x="2743336" y="2204570"/>
                <a:ext cx="1584842" cy="811966"/>
                <a:chOff x="2743336" y="2002205"/>
                <a:chExt cx="1584842" cy="811966"/>
              </a:xfrm>
            </p:grpSpPr>
            <p:grpSp>
              <p:nvGrpSpPr>
                <p:cNvPr id="186" name="Group 185">
                  <a:extLst>
                    <a:ext uri="{FF2B5EF4-FFF2-40B4-BE49-F238E27FC236}">
                      <a16:creationId xmlns:a16="http://schemas.microsoft.com/office/drawing/2014/main" id="{4A446C41-D04B-40AA-A969-170D7D373CD3}"/>
                    </a:ext>
                  </a:extLst>
                </p:cNvPr>
                <p:cNvGrpSpPr/>
                <p:nvPr/>
              </p:nvGrpSpPr>
              <p:grpSpPr>
                <a:xfrm>
                  <a:off x="2743336" y="2002205"/>
                  <a:ext cx="1584842" cy="811966"/>
                  <a:chOff x="2743336" y="2002205"/>
                  <a:chExt cx="1584842" cy="811966"/>
                </a:xfrm>
              </p:grpSpPr>
              <p:sp>
                <p:nvSpPr>
                  <p:cNvPr id="187" name="Oval 342">
                    <a:extLst>
                      <a:ext uri="{FF2B5EF4-FFF2-40B4-BE49-F238E27FC236}">
                        <a16:creationId xmlns:a16="http://schemas.microsoft.com/office/drawing/2014/main" id="{3D1775A3-C497-490B-AD88-10E89CC7F4A9}"/>
                      </a:ext>
                    </a:extLst>
                  </p:cNvPr>
                  <p:cNvSpPr>
                    <a:spLocks noChangeAspect="1" noChangeArrowheads="1"/>
                  </p:cNvSpPr>
                  <p:nvPr/>
                </p:nvSpPr>
                <p:spPr bwMode="auto">
                  <a:xfrm>
                    <a:off x="2854887" y="2002205"/>
                    <a:ext cx="307747" cy="304489"/>
                  </a:xfrm>
                  <a:prstGeom prst="ellipse">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88" name="Freeform 343">
                    <a:extLst>
                      <a:ext uri="{FF2B5EF4-FFF2-40B4-BE49-F238E27FC236}">
                        <a16:creationId xmlns:a16="http://schemas.microsoft.com/office/drawing/2014/main" id="{60F28793-0D90-4A88-9D90-54FB868DDF1B}"/>
                      </a:ext>
                    </a:extLst>
                  </p:cNvPr>
                  <p:cNvSpPr>
                    <a:spLocks noChangeAspect="1"/>
                  </p:cNvSpPr>
                  <p:nvPr/>
                </p:nvSpPr>
                <p:spPr bwMode="auto">
                  <a:xfrm>
                    <a:off x="2743336" y="2370794"/>
                    <a:ext cx="529052" cy="443377"/>
                  </a:xfrm>
                  <a:custGeom>
                    <a:avLst/>
                    <a:gdLst>
                      <a:gd name="T0" fmla="*/ 28 w 28"/>
                      <a:gd name="T1" fmla="*/ 9 h 35"/>
                      <a:gd name="T2" fmla="*/ 19 w 28"/>
                      <a:gd name="T3" fmla="*/ 0 h 35"/>
                      <a:gd name="T4" fmla="*/ 9 w 28"/>
                      <a:gd name="T5" fmla="*/ 0 h 35"/>
                      <a:gd name="T6" fmla="*/ 0 w 28"/>
                      <a:gd name="T7" fmla="*/ 9 h 35"/>
                      <a:gd name="T8" fmla="*/ 0 w 28"/>
                      <a:gd name="T9" fmla="*/ 35 h 35"/>
                      <a:gd name="T10" fmla="*/ 28 w 28"/>
                      <a:gd name="T11" fmla="*/ 35 h 35"/>
                      <a:gd name="T12" fmla="*/ 28 w 28"/>
                      <a:gd name="T13" fmla="*/ 9 h 35"/>
                    </a:gdLst>
                    <a:ahLst/>
                    <a:cxnLst>
                      <a:cxn ang="0">
                        <a:pos x="T0" y="T1"/>
                      </a:cxn>
                      <a:cxn ang="0">
                        <a:pos x="T2" y="T3"/>
                      </a:cxn>
                      <a:cxn ang="0">
                        <a:pos x="T4" y="T5"/>
                      </a:cxn>
                      <a:cxn ang="0">
                        <a:pos x="T6" y="T7"/>
                      </a:cxn>
                      <a:cxn ang="0">
                        <a:pos x="T8" y="T9"/>
                      </a:cxn>
                      <a:cxn ang="0">
                        <a:pos x="T10" y="T11"/>
                      </a:cxn>
                      <a:cxn ang="0">
                        <a:pos x="T12" y="T13"/>
                      </a:cxn>
                    </a:cxnLst>
                    <a:rect l="0" t="0" r="r" b="b"/>
                    <a:pathLst>
                      <a:path w="28" h="35">
                        <a:moveTo>
                          <a:pt x="28" y="9"/>
                        </a:moveTo>
                        <a:cubicBezTo>
                          <a:pt x="28" y="4"/>
                          <a:pt x="24" y="0"/>
                          <a:pt x="19" y="0"/>
                        </a:cubicBezTo>
                        <a:cubicBezTo>
                          <a:pt x="9" y="0"/>
                          <a:pt x="9" y="0"/>
                          <a:pt x="9" y="0"/>
                        </a:cubicBezTo>
                        <a:cubicBezTo>
                          <a:pt x="4" y="0"/>
                          <a:pt x="0" y="4"/>
                          <a:pt x="0" y="9"/>
                        </a:cubicBezTo>
                        <a:cubicBezTo>
                          <a:pt x="0" y="35"/>
                          <a:pt x="0" y="35"/>
                          <a:pt x="0" y="35"/>
                        </a:cubicBezTo>
                        <a:cubicBezTo>
                          <a:pt x="28" y="35"/>
                          <a:pt x="28" y="35"/>
                          <a:pt x="28" y="35"/>
                        </a:cubicBezTo>
                        <a:lnTo>
                          <a:pt x="28" y="9"/>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nvGrpSpPr>
                  <p:cNvPr id="189" name="Group 188">
                    <a:extLst>
                      <a:ext uri="{FF2B5EF4-FFF2-40B4-BE49-F238E27FC236}">
                        <a16:creationId xmlns:a16="http://schemas.microsoft.com/office/drawing/2014/main" id="{BA671DFC-29FE-4037-B63F-403D8611FE61}"/>
                      </a:ext>
                    </a:extLst>
                  </p:cNvPr>
                  <p:cNvGrpSpPr/>
                  <p:nvPr/>
                </p:nvGrpSpPr>
                <p:grpSpPr>
                  <a:xfrm>
                    <a:off x="3171554" y="2076433"/>
                    <a:ext cx="1156624" cy="712061"/>
                    <a:chOff x="2829078" y="2173868"/>
                    <a:chExt cx="1156624" cy="712061"/>
                  </a:xfrm>
                </p:grpSpPr>
                <p:grpSp>
                  <p:nvGrpSpPr>
                    <p:cNvPr id="190" name="Group 189">
                      <a:extLst>
                        <a:ext uri="{FF2B5EF4-FFF2-40B4-BE49-F238E27FC236}">
                          <a16:creationId xmlns:a16="http://schemas.microsoft.com/office/drawing/2014/main" id="{712808F9-F709-4E8C-AC2E-4C59C966CB17}"/>
                        </a:ext>
                      </a:extLst>
                    </p:cNvPr>
                    <p:cNvGrpSpPr/>
                    <p:nvPr/>
                  </p:nvGrpSpPr>
                  <p:grpSpPr>
                    <a:xfrm>
                      <a:off x="2829078" y="2173868"/>
                      <a:ext cx="1142297" cy="712061"/>
                      <a:chOff x="1180743" y="1804285"/>
                      <a:chExt cx="1048957" cy="601386"/>
                    </a:xfrm>
                  </p:grpSpPr>
                  <p:grpSp>
                    <p:nvGrpSpPr>
                      <p:cNvPr id="192" name="Group 191">
                        <a:extLst>
                          <a:ext uri="{FF2B5EF4-FFF2-40B4-BE49-F238E27FC236}">
                            <a16:creationId xmlns:a16="http://schemas.microsoft.com/office/drawing/2014/main" id="{7ADD2855-93CB-4AE6-8E87-950ED5D84843}"/>
                          </a:ext>
                        </a:extLst>
                      </p:cNvPr>
                      <p:cNvGrpSpPr/>
                      <p:nvPr/>
                    </p:nvGrpSpPr>
                    <p:grpSpPr>
                      <a:xfrm>
                        <a:off x="1180743" y="1804285"/>
                        <a:ext cx="1048957" cy="601386"/>
                        <a:chOff x="1180743" y="1804285"/>
                        <a:chExt cx="1048957" cy="601386"/>
                      </a:xfrm>
                    </p:grpSpPr>
                    <p:grpSp>
                      <p:nvGrpSpPr>
                        <p:cNvPr id="196" name="Group 221">
                          <a:extLst>
                            <a:ext uri="{FF2B5EF4-FFF2-40B4-BE49-F238E27FC236}">
                              <a16:creationId xmlns:a16="http://schemas.microsoft.com/office/drawing/2014/main" id="{D6EDB495-2AFA-4C26-8F74-A348DC6EC8E0}"/>
                            </a:ext>
                          </a:extLst>
                        </p:cNvPr>
                        <p:cNvGrpSpPr>
                          <a:grpSpLocks noChangeAspect="1"/>
                        </p:cNvGrpSpPr>
                        <p:nvPr/>
                      </p:nvGrpSpPr>
                      <p:grpSpPr bwMode="auto">
                        <a:xfrm>
                          <a:off x="1180743" y="1804285"/>
                          <a:ext cx="1048957" cy="601386"/>
                          <a:chOff x="2049" y="1143"/>
                          <a:chExt cx="1664" cy="954"/>
                        </a:xfrm>
                      </p:grpSpPr>
                      <p:sp>
                        <p:nvSpPr>
                          <p:cNvPr id="229" name="Freeform 222">
                            <a:extLst>
                              <a:ext uri="{FF2B5EF4-FFF2-40B4-BE49-F238E27FC236}">
                                <a16:creationId xmlns:a16="http://schemas.microsoft.com/office/drawing/2014/main" id="{1AADB504-942F-41CA-995F-DFE0546A34BB}"/>
                              </a:ext>
                            </a:extLst>
                          </p:cNvPr>
                          <p:cNvSpPr>
                            <a:spLocks/>
                          </p:cNvSpPr>
                          <p:nvPr/>
                        </p:nvSpPr>
                        <p:spPr bwMode="auto">
                          <a:xfrm>
                            <a:off x="2049" y="2028"/>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231" name="Freeform 223">
                            <a:extLst>
                              <a:ext uri="{FF2B5EF4-FFF2-40B4-BE49-F238E27FC236}">
                                <a16:creationId xmlns:a16="http://schemas.microsoft.com/office/drawing/2014/main" id="{1077BFB1-A69F-459D-AFD5-3BED9015FC7C}"/>
                              </a:ext>
                            </a:extLst>
                          </p:cNvPr>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tx2"/>
                          </a:solidFill>
                          <a:ln w="9525">
                            <a:no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232" name="Freeform 224">
                            <a:extLst>
                              <a:ext uri="{FF2B5EF4-FFF2-40B4-BE49-F238E27FC236}">
                                <a16:creationId xmlns:a16="http://schemas.microsoft.com/office/drawing/2014/main" id="{6E27A999-62D6-4684-A465-DC6BE2744F77}"/>
                              </a:ext>
                            </a:extLst>
                          </p:cNvPr>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nvGrpSpPr>
                        <p:cNvPr id="205" name="Group 204">
                          <a:extLst>
                            <a:ext uri="{FF2B5EF4-FFF2-40B4-BE49-F238E27FC236}">
                              <a16:creationId xmlns:a16="http://schemas.microsoft.com/office/drawing/2014/main" id="{B3EDDF28-CA8C-4C88-BFA1-8BB467946FF4}"/>
                            </a:ext>
                          </a:extLst>
                        </p:cNvPr>
                        <p:cNvGrpSpPr/>
                        <p:nvPr/>
                      </p:nvGrpSpPr>
                      <p:grpSpPr>
                        <a:xfrm>
                          <a:off x="1374140" y="1916576"/>
                          <a:ext cx="334104" cy="288530"/>
                          <a:chOff x="4135328" y="3656217"/>
                          <a:chExt cx="695711" cy="600811"/>
                        </a:xfrm>
                      </p:grpSpPr>
                      <p:sp>
                        <p:nvSpPr>
                          <p:cNvPr id="206" name="Freeform 45">
                            <a:extLst>
                              <a:ext uri="{FF2B5EF4-FFF2-40B4-BE49-F238E27FC236}">
                                <a16:creationId xmlns:a16="http://schemas.microsoft.com/office/drawing/2014/main" id="{52F482A3-7AA7-4102-813E-C77EF3C18435}"/>
                              </a:ext>
                            </a:extLst>
                          </p:cNvPr>
                          <p:cNvSpPr>
                            <a:spLocks/>
                          </p:cNvSpPr>
                          <p:nvPr/>
                        </p:nvSpPr>
                        <p:spPr bwMode="auto">
                          <a:xfrm>
                            <a:off x="4135328" y="3656217"/>
                            <a:ext cx="695711" cy="600811"/>
                          </a:xfrm>
                          <a:custGeom>
                            <a:avLst/>
                            <a:gdLst>
                              <a:gd name="T0" fmla="*/ 218 w 449"/>
                              <a:gd name="T1" fmla="*/ 5 h 388"/>
                              <a:gd name="T2" fmla="*/ 3 w 449"/>
                              <a:gd name="T3" fmla="*/ 376 h 388"/>
                              <a:gd name="T4" fmla="*/ 10 w 449"/>
                              <a:gd name="T5" fmla="*/ 388 h 388"/>
                              <a:gd name="T6" fmla="*/ 439 w 449"/>
                              <a:gd name="T7" fmla="*/ 388 h 388"/>
                              <a:gd name="T8" fmla="*/ 446 w 449"/>
                              <a:gd name="T9" fmla="*/ 376 h 388"/>
                              <a:gd name="T10" fmla="*/ 231 w 449"/>
                              <a:gd name="T11" fmla="*/ 5 h 388"/>
                              <a:gd name="T12" fmla="*/ 218 w 449"/>
                              <a:gd name="T13" fmla="*/ 5 h 388"/>
                            </a:gdLst>
                            <a:ahLst/>
                            <a:cxnLst>
                              <a:cxn ang="0">
                                <a:pos x="T0" y="T1"/>
                              </a:cxn>
                              <a:cxn ang="0">
                                <a:pos x="T2" y="T3"/>
                              </a:cxn>
                              <a:cxn ang="0">
                                <a:pos x="T4" y="T5"/>
                              </a:cxn>
                              <a:cxn ang="0">
                                <a:pos x="T6" y="T7"/>
                              </a:cxn>
                              <a:cxn ang="0">
                                <a:pos x="T8" y="T9"/>
                              </a:cxn>
                              <a:cxn ang="0">
                                <a:pos x="T10" y="T11"/>
                              </a:cxn>
                              <a:cxn ang="0">
                                <a:pos x="T12" y="T13"/>
                              </a:cxn>
                            </a:cxnLst>
                            <a:rect l="0" t="0" r="r" b="b"/>
                            <a:pathLst>
                              <a:path w="449" h="388">
                                <a:moveTo>
                                  <a:pt x="218" y="5"/>
                                </a:moveTo>
                                <a:cubicBezTo>
                                  <a:pt x="3" y="376"/>
                                  <a:pt x="3" y="376"/>
                                  <a:pt x="3" y="376"/>
                                </a:cubicBezTo>
                                <a:cubicBezTo>
                                  <a:pt x="0" y="381"/>
                                  <a:pt x="4" y="388"/>
                                  <a:pt x="10" y="388"/>
                                </a:cubicBezTo>
                                <a:cubicBezTo>
                                  <a:pt x="439" y="388"/>
                                  <a:pt x="439" y="388"/>
                                  <a:pt x="439" y="388"/>
                                </a:cubicBezTo>
                                <a:cubicBezTo>
                                  <a:pt x="445" y="388"/>
                                  <a:pt x="449" y="381"/>
                                  <a:pt x="446" y="376"/>
                                </a:cubicBezTo>
                                <a:cubicBezTo>
                                  <a:pt x="231" y="5"/>
                                  <a:pt x="231" y="5"/>
                                  <a:pt x="231" y="5"/>
                                </a:cubicBezTo>
                                <a:cubicBezTo>
                                  <a:pt x="228" y="0"/>
                                  <a:pt x="221" y="0"/>
                                  <a:pt x="218" y="5"/>
                                </a:cubicBezTo>
                                <a:close/>
                              </a:path>
                            </a:pathLst>
                          </a:custGeom>
                          <a:solidFill>
                            <a:srgbClr val="FAAC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12" name="Oval 47">
                            <a:extLst>
                              <a:ext uri="{FF2B5EF4-FFF2-40B4-BE49-F238E27FC236}">
                                <a16:creationId xmlns:a16="http://schemas.microsoft.com/office/drawing/2014/main" id="{D7199CA0-98AF-4D02-A5E7-0AAF4AE9B2B0}"/>
                              </a:ext>
                            </a:extLst>
                          </p:cNvPr>
                          <p:cNvSpPr>
                            <a:spLocks noChangeArrowheads="1"/>
                          </p:cNvSpPr>
                          <p:nvPr/>
                        </p:nvSpPr>
                        <p:spPr bwMode="auto">
                          <a:xfrm>
                            <a:off x="4336613" y="3888919"/>
                            <a:ext cx="297720" cy="2977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13" name="Freeform 46">
                            <a:extLst>
                              <a:ext uri="{FF2B5EF4-FFF2-40B4-BE49-F238E27FC236}">
                                <a16:creationId xmlns:a16="http://schemas.microsoft.com/office/drawing/2014/main" id="{8A8C9443-CB85-4E82-8CE6-355343A64535}"/>
                              </a:ext>
                            </a:extLst>
                          </p:cNvPr>
                          <p:cNvSpPr>
                            <a:spLocks noEditPoints="1"/>
                          </p:cNvSpPr>
                          <p:nvPr/>
                        </p:nvSpPr>
                        <p:spPr bwMode="auto">
                          <a:xfrm>
                            <a:off x="4321200" y="3874813"/>
                            <a:ext cx="328548" cy="325931"/>
                          </a:xfrm>
                          <a:custGeom>
                            <a:avLst/>
                            <a:gdLst>
                              <a:gd name="T0" fmla="*/ 0 w 212"/>
                              <a:gd name="T1" fmla="*/ 106 h 211"/>
                              <a:gd name="T2" fmla="*/ 106 w 212"/>
                              <a:gd name="T3" fmla="*/ 0 h 211"/>
                              <a:gd name="T4" fmla="*/ 212 w 212"/>
                              <a:gd name="T5" fmla="*/ 106 h 211"/>
                              <a:gd name="T6" fmla="*/ 106 w 212"/>
                              <a:gd name="T7" fmla="*/ 211 h 211"/>
                              <a:gd name="T8" fmla="*/ 0 w 212"/>
                              <a:gd name="T9" fmla="*/ 106 h 211"/>
                              <a:gd name="T10" fmla="*/ 20 w 212"/>
                              <a:gd name="T11" fmla="*/ 106 h 211"/>
                              <a:gd name="T12" fmla="*/ 106 w 212"/>
                              <a:gd name="T13" fmla="*/ 192 h 211"/>
                              <a:gd name="T14" fmla="*/ 192 w 212"/>
                              <a:gd name="T15" fmla="*/ 106 h 211"/>
                              <a:gd name="T16" fmla="*/ 106 w 212"/>
                              <a:gd name="T17" fmla="*/ 19 h 211"/>
                              <a:gd name="T18" fmla="*/ 20 w 212"/>
                              <a:gd name="T1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1">
                                <a:moveTo>
                                  <a:pt x="0" y="106"/>
                                </a:moveTo>
                                <a:cubicBezTo>
                                  <a:pt x="0" y="47"/>
                                  <a:pt x="48" y="0"/>
                                  <a:pt x="106" y="0"/>
                                </a:cubicBezTo>
                                <a:cubicBezTo>
                                  <a:pt x="165" y="0"/>
                                  <a:pt x="212" y="47"/>
                                  <a:pt x="212" y="106"/>
                                </a:cubicBezTo>
                                <a:cubicBezTo>
                                  <a:pt x="212" y="164"/>
                                  <a:pt x="165" y="211"/>
                                  <a:pt x="106" y="211"/>
                                </a:cubicBezTo>
                                <a:cubicBezTo>
                                  <a:pt x="48" y="211"/>
                                  <a:pt x="0" y="164"/>
                                  <a:pt x="0" y="106"/>
                                </a:cubicBezTo>
                                <a:close/>
                                <a:moveTo>
                                  <a:pt x="20" y="106"/>
                                </a:moveTo>
                                <a:cubicBezTo>
                                  <a:pt x="20" y="153"/>
                                  <a:pt x="59" y="192"/>
                                  <a:pt x="106" y="192"/>
                                </a:cubicBezTo>
                                <a:cubicBezTo>
                                  <a:pt x="154" y="192"/>
                                  <a:pt x="192" y="153"/>
                                  <a:pt x="192" y="106"/>
                                </a:cubicBezTo>
                                <a:cubicBezTo>
                                  <a:pt x="192" y="58"/>
                                  <a:pt x="154" y="19"/>
                                  <a:pt x="106" y="19"/>
                                </a:cubicBezTo>
                                <a:cubicBezTo>
                                  <a:pt x="59" y="19"/>
                                  <a:pt x="20" y="58"/>
                                  <a:pt x="20" y="106"/>
                                </a:cubicBezTo>
                                <a:close/>
                              </a:path>
                            </a:pathLst>
                          </a:custGeom>
                          <a:solidFill>
                            <a:schemeClr val="accent6"/>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22" name="Freeform 48">
                            <a:extLst>
                              <a:ext uri="{FF2B5EF4-FFF2-40B4-BE49-F238E27FC236}">
                                <a16:creationId xmlns:a16="http://schemas.microsoft.com/office/drawing/2014/main" id="{7FB17253-9458-4188-ABDF-C17005F1B17F}"/>
                              </a:ext>
                            </a:extLst>
                          </p:cNvPr>
                          <p:cNvSpPr>
                            <a:spLocks/>
                          </p:cNvSpPr>
                          <p:nvPr/>
                        </p:nvSpPr>
                        <p:spPr bwMode="auto">
                          <a:xfrm>
                            <a:off x="4467558" y="3933050"/>
                            <a:ext cx="31250" cy="132723"/>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E3241B"/>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226" name="Oval 49">
                            <a:extLst>
                              <a:ext uri="{FF2B5EF4-FFF2-40B4-BE49-F238E27FC236}">
                                <a16:creationId xmlns:a16="http://schemas.microsoft.com/office/drawing/2014/main" id="{94C59899-E537-4723-9877-8C16AA601ACD}"/>
                              </a:ext>
                            </a:extLst>
                          </p:cNvPr>
                          <p:cNvSpPr>
                            <a:spLocks noChangeArrowheads="1"/>
                          </p:cNvSpPr>
                          <p:nvPr/>
                        </p:nvSpPr>
                        <p:spPr bwMode="auto">
                          <a:xfrm>
                            <a:off x="4466084" y="4095827"/>
                            <a:ext cx="32724" cy="32070"/>
                          </a:xfrm>
                          <a:prstGeom prst="ellipse">
                            <a:avLst/>
                          </a:prstGeom>
                          <a:solidFill>
                            <a:srgbClr val="E3241B"/>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grpSp>
                    <p:nvGrpSpPr>
                      <p:cNvPr id="193" name="Group 192">
                        <a:extLst>
                          <a:ext uri="{FF2B5EF4-FFF2-40B4-BE49-F238E27FC236}">
                            <a16:creationId xmlns:a16="http://schemas.microsoft.com/office/drawing/2014/main" id="{38DA2FAF-6166-4DF8-8FCA-E1CA50488E0A}"/>
                          </a:ext>
                        </a:extLst>
                      </p:cNvPr>
                      <p:cNvGrpSpPr/>
                      <p:nvPr/>
                    </p:nvGrpSpPr>
                    <p:grpSpPr>
                      <a:xfrm>
                        <a:off x="1720387" y="2004601"/>
                        <a:ext cx="291802" cy="107263"/>
                        <a:chOff x="1753391" y="2016187"/>
                        <a:chExt cx="353062" cy="105101"/>
                      </a:xfrm>
                      <a:solidFill>
                        <a:schemeClr val="accent6"/>
                      </a:solidFill>
                    </p:grpSpPr>
                    <p:sp>
                      <p:nvSpPr>
                        <p:cNvPr id="194" name="Freeform 53">
                          <a:extLst>
                            <a:ext uri="{FF2B5EF4-FFF2-40B4-BE49-F238E27FC236}">
                              <a16:creationId xmlns:a16="http://schemas.microsoft.com/office/drawing/2014/main" id="{9FB8BBD5-6617-4AF2-BB81-1E9D5CD7DAC0}"/>
                            </a:ext>
                          </a:extLst>
                        </p:cNvPr>
                        <p:cNvSpPr>
                          <a:spLocks/>
                        </p:cNvSpPr>
                        <p:nvPr/>
                      </p:nvSpPr>
                      <p:spPr bwMode="auto">
                        <a:xfrm>
                          <a:off x="1753391" y="2016187"/>
                          <a:ext cx="353062" cy="25807"/>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sp>
                      <p:nvSpPr>
                        <p:cNvPr id="195" name="Freeform 54">
                          <a:extLst>
                            <a:ext uri="{FF2B5EF4-FFF2-40B4-BE49-F238E27FC236}">
                              <a16:creationId xmlns:a16="http://schemas.microsoft.com/office/drawing/2014/main" id="{B1842721-8029-488A-B2A5-BECF20572E34}"/>
                            </a:ext>
                          </a:extLst>
                        </p:cNvPr>
                        <p:cNvSpPr>
                          <a:spLocks/>
                        </p:cNvSpPr>
                        <p:nvPr/>
                      </p:nvSpPr>
                      <p:spPr bwMode="auto">
                        <a:xfrm>
                          <a:off x="1753391" y="2095479"/>
                          <a:ext cx="353062" cy="25809"/>
                        </a:xfrm>
                        <a:prstGeom prst="roundRect">
                          <a:avLst>
                            <a:gd name="adj" fmla="val 50000"/>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cs typeface="Arial"/>
                            <a:sym typeface="Arial"/>
                          </a:endParaRPr>
                        </a:p>
                      </p:txBody>
                    </p:sp>
                  </p:grpSp>
                </p:grpSp>
                <p:sp>
                  <p:nvSpPr>
                    <p:cNvPr id="191" name="Freeform 690">
                      <a:extLst>
                        <a:ext uri="{FF2B5EF4-FFF2-40B4-BE49-F238E27FC236}">
                          <a16:creationId xmlns:a16="http://schemas.microsoft.com/office/drawing/2014/main" id="{6A3BEAB1-D627-4F01-80D4-A343FB72B880}"/>
                        </a:ext>
                      </a:extLst>
                    </p:cNvPr>
                    <p:cNvSpPr>
                      <a:spLocks noChangeAspect="1"/>
                    </p:cNvSpPr>
                    <p:nvPr/>
                  </p:nvSpPr>
                  <p:spPr bwMode="auto">
                    <a:xfrm>
                      <a:off x="3520484" y="2282814"/>
                      <a:ext cx="465218" cy="443378"/>
                    </a:xfrm>
                    <a:custGeom>
                      <a:avLst/>
                      <a:gdLst>
                        <a:gd name="T0" fmla="*/ 83 w 90"/>
                        <a:gd name="T1" fmla="*/ 4 h 86"/>
                        <a:gd name="T2" fmla="*/ 83 w 90"/>
                        <a:gd name="T3" fmla="*/ 4 h 86"/>
                        <a:gd name="T4" fmla="*/ 66 w 90"/>
                        <a:gd name="T5" fmla="*/ 7 h 86"/>
                        <a:gd name="T6" fmla="*/ 37 w 90"/>
                        <a:gd name="T7" fmla="*/ 52 h 86"/>
                        <a:gd name="T8" fmla="*/ 25 w 90"/>
                        <a:gd name="T9" fmla="*/ 34 h 86"/>
                        <a:gd name="T10" fmla="*/ 8 w 90"/>
                        <a:gd name="T11" fmla="*/ 30 h 86"/>
                        <a:gd name="T12" fmla="*/ 4 w 90"/>
                        <a:gd name="T13" fmla="*/ 48 h 86"/>
                        <a:gd name="T14" fmla="*/ 26 w 90"/>
                        <a:gd name="T15" fmla="*/ 81 h 86"/>
                        <a:gd name="T16" fmla="*/ 31 w 90"/>
                        <a:gd name="T17" fmla="*/ 85 h 86"/>
                        <a:gd name="T18" fmla="*/ 36 w 90"/>
                        <a:gd name="T19" fmla="*/ 86 h 86"/>
                        <a:gd name="T20" fmla="*/ 36 w 90"/>
                        <a:gd name="T21" fmla="*/ 86 h 86"/>
                        <a:gd name="T22" fmla="*/ 36 w 90"/>
                        <a:gd name="T23" fmla="*/ 86 h 86"/>
                        <a:gd name="T24" fmla="*/ 37 w 90"/>
                        <a:gd name="T25" fmla="*/ 86 h 86"/>
                        <a:gd name="T26" fmla="*/ 37 w 90"/>
                        <a:gd name="T27" fmla="*/ 86 h 86"/>
                        <a:gd name="T28" fmla="*/ 37 w 90"/>
                        <a:gd name="T29" fmla="*/ 86 h 86"/>
                        <a:gd name="T30" fmla="*/ 37 w 90"/>
                        <a:gd name="T31" fmla="*/ 86 h 86"/>
                        <a:gd name="T32" fmla="*/ 42 w 90"/>
                        <a:gd name="T33" fmla="*/ 85 h 86"/>
                        <a:gd name="T34" fmla="*/ 47 w 90"/>
                        <a:gd name="T35" fmla="*/ 81 h 86"/>
                        <a:gd name="T36" fmla="*/ 87 w 90"/>
                        <a:gd name="T37" fmla="*/ 21 h 86"/>
                        <a:gd name="T38" fmla="*/ 83 w 90"/>
                        <a:gd name="T39"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6">
                          <a:moveTo>
                            <a:pt x="83" y="4"/>
                          </a:moveTo>
                          <a:cubicBezTo>
                            <a:pt x="83" y="4"/>
                            <a:pt x="83" y="4"/>
                            <a:pt x="83" y="4"/>
                          </a:cubicBezTo>
                          <a:cubicBezTo>
                            <a:pt x="78" y="0"/>
                            <a:pt x="70" y="2"/>
                            <a:pt x="66" y="7"/>
                          </a:cubicBezTo>
                          <a:cubicBezTo>
                            <a:pt x="37" y="52"/>
                            <a:pt x="37" y="52"/>
                            <a:pt x="37" y="52"/>
                          </a:cubicBezTo>
                          <a:cubicBezTo>
                            <a:pt x="25" y="34"/>
                            <a:pt x="25" y="34"/>
                            <a:pt x="25" y="34"/>
                          </a:cubicBezTo>
                          <a:cubicBezTo>
                            <a:pt x="21" y="28"/>
                            <a:pt x="13" y="27"/>
                            <a:pt x="8" y="30"/>
                          </a:cubicBezTo>
                          <a:cubicBezTo>
                            <a:pt x="2" y="34"/>
                            <a:pt x="0" y="42"/>
                            <a:pt x="4" y="48"/>
                          </a:cubicBezTo>
                          <a:cubicBezTo>
                            <a:pt x="26" y="81"/>
                            <a:pt x="26" y="81"/>
                            <a:pt x="26" y="81"/>
                          </a:cubicBezTo>
                          <a:cubicBezTo>
                            <a:pt x="27" y="83"/>
                            <a:pt x="29" y="84"/>
                            <a:pt x="31" y="85"/>
                          </a:cubicBezTo>
                          <a:cubicBezTo>
                            <a:pt x="33" y="86"/>
                            <a:pt x="34" y="86"/>
                            <a:pt x="36" y="86"/>
                          </a:cubicBezTo>
                          <a:cubicBezTo>
                            <a:pt x="36" y="86"/>
                            <a:pt x="36" y="86"/>
                            <a:pt x="36" y="86"/>
                          </a:cubicBezTo>
                          <a:cubicBezTo>
                            <a:pt x="36" y="86"/>
                            <a:pt x="36" y="86"/>
                            <a:pt x="36" y="86"/>
                          </a:cubicBezTo>
                          <a:cubicBezTo>
                            <a:pt x="37" y="86"/>
                            <a:pt x="37" y="86"/>
                            <a:pt x="37" y="86"/>
                          </a:cubicBezTo>
                          <a:cubicBezTo>
                            <a:pt x="37" y="86"/>
                            <a:pt x="37" y="86"/>
                            <a:pt x="37" y="86"/>
                          </a:cubicBezTo>
                          <a:cubicBezTo>
                            <a:pt x="37" y="86"/>
                            <a:pt x="37" y="86"/>
                            <a:pt x="37" y="86"/>
                          </a:cubicBezTo>
                          <a:cubicBezTo>
                            <a:pt x="37" y="86"/>
                            <a:pt x="37" y="86"/>
                            <a:pt x="37" y="86"/>
                          </a:cubicBezTo>
                          <a:cubicBezTo>
                            <a:pt x="39" y="86"/>
                            <a:pt x="40" y="86"/>
                            <a:pt x="42" y="85"/>
                          </a:cubicBezTo>
                          <a:cubicBezTo>
                            <a:pt x="44" y="84"/>
                            <a:pt x="46" y="83"/>
                            <a:pt x="47" y="81"/>
                          </a:cubicBezTo>
                          <a:cubicBezTo>
                            <a:pt x="87" y="21"/>
                            <a:pt x="87" y="21"/>
                            <a:pt x="87" y="21"/>
                          </a:cubicBezTo>
                          <a:cubicBezTo>
                            <a:pt x="90" y="15"/>
                            <a:pt x="89" y="8"/>
                            <a:pt x="83" y="4"/>
                          </a:cubicBezTo>
                        </a:path>
                      </a:pathLst>
                    </a:custGeom>
                    <a:solidFill>
                      <a:schemeClr val="accent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sp>
              <p:nvSpPr>
                <p:cNvPr id="233" name="Freeform: Shape 232">
                  <a:extLst>
                    <a:ext uri="{FF2B5EF4-FFF2-40B4-BE49-F238E27FC236}">
                      <a16:creationId xmlns:a16="http://schemas.microsoft.com/office/drawing/2014/main" id="{8F527D87-0D97-4450-BDD7-FE0C33760740}"/>
                    </a:ext>
                  </a:extLst>
                </p:cNvPr>
                <p:cNvSpPr/>
                <p:nvPr/>
              </p:nvSpPr>
              <p:spPr>
                <a:xfrm>
                  <a:off x="3055339" y="2071192"/>
                  <a:ext cx="214589" cy="622056"/>
                </a:xfrm>
                <a:custGeom>
                  <a:avLst/>
                  <a:gdLst>
                    <a:gd name="connsiteX0" fmla="*/ 0 w 235880"/>
                    <a:gd name="connsiteY0" fmla="*/ 454287 h 856158"/>
                    <a:gd name="connsiteX1" fmla="*/ 235880 w 235880"/>
                    <a:gd name="connsiteY1" fmla="*/ 0 h 856158"/>
                    <a:gd name="connsiteX2" fmla="*/ 227144 w 235880"/>
                    <a:gd name="connsiteY2" fmla="*/ 856158 h 856158"/>
                    <a:gd name="connsiteX3" fmla="*/ 0 w 235880"/>
                    <a:gd name="connsiteY3" fmla="*/ 454287 h 856158"/>
                    <a:gd name="connsiteX0" fmla="*/ 0 w 238792"/>
                    <a:gd name="connsiteY0" fmla="*/ 474672 h 856158"/>
                    <a:gd name="connsiteX1" fmla="*/ 238792 w 238792"/>
                    <a:gd name="connsiteY1" fmla="*/ 0 h 856158"/>
                    <a:gd name="connsiteX2" fmla="*/ 230056 w 238792"/>
                    <a:gd name="connsiteY2" fmla="*/ 856158 h 856158"/>
                    <a:gd name="connsiteX3" fmla="*/ 0 w 238792"/>
                    <a:gd name="connsiteY3" fmla="*/ 474672 h 856158"/>
                    <a:gd name="connsiteX0" fmla="*/ 0 w 230056"/>
                    <a:gd name="connsiteY0" fmla="*/ 474672 h 856158"/>
                    <a:gd name="connsiteX1" fmla="*/ 230056 w 230056"/>
                    <a:gd name="connsiteY1" fmla="*/ 0 h 856158"/>
                    <a:gd name="connsiteX2" fmla="*/ 230056 w 230056"/>
                    <a:gd name="connsiteY2" fmla="*/ 856158 h 856158"/>
                    <a:gd name="connsiteX3" fmla="*/ 0 w 230056"/>
                    <a:gd name="connsiteY3" fmla="*/ 474672 h 856158"/>
                  </a:gdLst>
                  <a:ahLst/>
                  <a:cxnLst>
                    <a:cxn ang="0">
                      <a:pos x="connsiteX0" y="connsiteY0"/>
                    </a:cxn>
                    <a:cxn ang="0">
                      <a:pos x="connsiteX1" y="connsiteY1"/>
                    </a:cxn>
                    <a:cxn ang="0">
                      <a:pos x="connsiteX2" y="connsiteY2"/>
                    </a:cxn>
                    <a:cxn ang="0">
                      <a:pos x="connsiteX3" y="connsiteY3"/>
                    </a:cxn>
                  </a:cxnLst>
                  <a:rect l="l" t="t" r="r" b="b"/>
                  <a:pathLst>
                    <a:path w="230056" h="856158">
                      <a:moveTo>
                        <a:pt x="0" y="474672"/>
                      </a:moveTo>
                      <a:lnTo>
                        <a:pt x="230056" y="0"/>
                      </a:lnTo>
                      <a:lnTo>
                        <a:pt x="230056" y="856158"/>
                      </a:lnTo>
                      <a:lnTo>
                        <a:pt x="0" y="474672"/>
                      </a:lnTo>
                      <a:close/>
                    </a:path>
                  </a:pathLst>
                </a:cu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grpSp>
        </p:grpSp>
        <p:grpSp>
          <p:nvGrpSpPr>
            <p:cNvPr id="152" name="Group 151">
              <a:extLst>
                <a:ext uri="{FF2B5EF4-FFF2-40B4-BE49-F238E27FC236}">
                  <a16:creationId xmlns:a16="http://schemas.microsoft.com/office/drawing/2014/main" id="{0A947F32-CB8E-467C-B6E7-9897BDC55E0D}"/>
                </a:ext>
              </a:extLst>
            </p:cNvPr>
            <p:cNvGrpSpPr/>
            <p:nvPr/>
          </p:nvGrpSpPr>
          <p:grpSpPr>
            <a:xfrm>
              <a:off x="4402644" y="2493124"/>
              <a:ext cx="353122" cy="353122"/>
              <a:chOff x="513404" y="1200395"/>
              <a:chExt cx="470005" cy="470005"/>
            </a:xfrm>
          </p:grpSpPr>
          <p:sp>
            <p:nvSpPr>
              <p:cNvPr id="153" name="Oval 152">
                <a:extLst>
                  <a:ext uri="{FF2B5EF4-FFF2-40B4-BE49-F238E27FC236}">
                    <a16:creationId xmlns:a16="http://schemas.microsoft.com/office/drawing/2014/main" id="{595966C5-D6F2-4258-A809-A6D4BE92104C}"/>
                  </a:ext>
                </a:extLst>
              </p:cNvPr>
              <p:cNvSpPr/>
              <p:nvPr/>
            </p:nvSpPr>
            <p:spPr>
              <a:xfrm>
                <a:off x="513404" y="1200395"/>
                <a:ext cx="470005" cy="470005"/>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154" name="Freeform: Shape 153">
                <a:extLst>
                  <a:ext uri="{FF2B5EF4-FFF2-40B4-BE49-F238E27FC236}">
                    <a16:creationId xmlns:a16="http://schemas.microsoft.com/office/drawing/2014/main" id="{723A1C1B-DF33-4EDB-AB0A-9A39BA844B41}"/>
                  </a:ext>
                </a:extLst>
              </p:cNvPr>
              <p:cNvSpPr/>
              <p:nvPr/>
            </p:nvSpPr>
            <p:spPr>
              <a:xfrm>
                <a:off x="513404" y="1394443"/>
                <a:ext cx="361341" cy="80316"/>
              </a:xfrm>
              <a:custGeom>
                <a:avLst/>
                <a:gdLst>
                  <a:gd name="connsiteX0" fmla="*/ 4128 w 361341"/>
                  <a:gd name="connsiteY0" fmla="*/ 0 h 80316"/>
                  <a:gd name="connsiteX1" fmla="*/ 321183 w 361341"/>
                  <a:gd name="connsiteY1" fmla="*/ 0 h 80316"/>
                  <a:gd name="connsiteX2" fmla="*/ 361341 w 361341"/>
                  <a:gd name="connsiteY2" fmla="*/ 40158 h 80316"/>
                  <a:gd name="connsiteX3" fmla="*/ 361340 w 361341"/>
                  <a:gd name="connsiteY3" fmla="*/ 40158 h 80316"/>
                  <a:gd name="connsiteX4" fmla="*/ 321182 w 361341"/>
                  <a:gd name="connsiteY4" fmla="*/ 80316 h 80316"/>
                  <a:gd name="connsiteX5" fmla="*/ 3968 w 361341"/>
                  <a:gd name="connsiteY5" fmla="*/ 80315 h 80316"/>
                  <a:gd name="connsiteX6" fmla="*/ 0 w 361341"/>
                  <a:gd name="connsiteY6" fmla="*/ 40954 h 80316"/>
                  <a:gd name="connsiteX7" fmla="*/ 4128 w 361341"/>
                  <a:gd name="connsiteY7" fmla="*/ 0 h 8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1341" h="80316">
                    <a:moveTo>
                      <a:pt x="4128" y="0"/>
                    </a:moveTo>
                    <a:lnTo>
                      <a:pt x="321183" y="0"/>
                    </a:lnTo>
                    <a:cubicBezTo>
                      <a:pt x="343362" y="0"/>
                      <a:pt x="361341" y="17979"/>
                      <a:pt x="361341" y="40158"/>
                    </a:cubicBezTo>
                    <a:lnTo>
                      <a:pt x="361340" y="40158"/>
                    </a:lnTo>
                    <a:cubicBezTo>
                      <a:pt x="361340" y="62337"/>
                      <a:pt x="343361" y="80316"/>
                      <a:pt x="321182" y="80316"/>
                    </a:cubicBezTo>
                    <a:lnTo>
                      <a:pt x="3968" y="80315"/>
                    </a:lnTo>
                    <a:lnTo>
                      <a:pt x="0" y="40954"/>
                    </a:lnTo>
                    <a:lnTo>
                      <a:pt x="4128" y="0"/>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155" name="Freeform 62">
                <a:extLst>
                  <a:ext uri="{FF2B5EF4-FFF2-40B4-BE49-F238E27FC236}">
                    <a16:creationId xmlns:a16="http://schemas.microsoft.com/office/drawing/2014/main" id="{EEFD9ABB-8730-4000-AAFA-D2F94903B3F3}"/>
                  </a:ext>
                </a:extLst>
              </p:cNvPr>
              <p:cNvSpPr>
                <a:spLocks/>
              </p:cNvSpPr>
              <p:nvPr/>
            </p:nvSpPr>
            <p:spPr bwMode="auto">
              <a:xfrm>
                <a:off x="688230" y="1291434"/>
                <a:ext cx="172200" cy="118503"/>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6" name="Freeform 63">
                <a:extLst>
                  <a:ext uri="{FF2B5EF4-FFF2-40B4-BE49-F238E27FC236}">
                    <a16:creationId xmlns:a16="http://schemas.microsoft.com/office/drawing/2014/main" id="{2D2D9A2C-BF4D-4B70-A827-9217ABD074A0}"/>
                  </a:ext>
                </a:extLst>
              </p:cNvPr>
              <p:cNvSpPr>
                <a:spLocks noEditPoints="1"/>
              </p:cNvSpPr>
              <p:nvPr/>
            </p:nvSpPr>
            <p:spPr bwMode="auto">
              <a:xfrm>
                <a:off x="748407" y="1399753"/>
                <a:ext cx="112023" cy="35181"/>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7" name="Freeform 64">
                <a:extLst>
                  <a:ext uri="{FF2B5EF4-FFF2-40B4-BE49-F238E27FC236}">
                    <a16:creationId xmlns:a16="http://schemas.microsoft.com/office/drawing/2014/main" id="{A709F8E9-11A0-4F54-B2D1-F0F0864787F6}"/>
                  </a:ext>
                </a:extLst>
              </p:cNvPr>
              <p:cNvSpPr>
                <a:spLocks/>
              </p:cNvSpPr>
              <p:nvPr/>
            </p:nvSpPr>
            <p:spPr bwMode="auto">
              <a:xfrm>
                <a:off x="688230" y="1460857"/>
                <a:ext cx="172200" cy="118503"/>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8" name="Freeform 65">
                <a:extLst>
                  <a:ext uri="{FF2B5EF4-FFF2-40B4-BE49-F238E27FC236}">
                    <a16:creationId xmlns:a16="http://schemas.microsoft.com/office/drawing/2014/main" id="{B11F7CF0-D95B-4621-B79D-BD158595B7CB}"/>
                  </a:ext>
                </a:extLst>
              </p:cNvPr>
              <p:cNvSpPr>
                <a:spLocks noEditPoints="1"/>
              </p:cNvSpPr>
              <p:nvPr/>
            </p:nvSpPr>
            <p:spPr bwMode="auto">
              <a:xfrm>
                <a:off x="748407" y="1434934"/>
                <a:ext cx="112023" cy="36106"/>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9" name="Freeform 66">
                <a:extLst>
                  <a:ext uri="{FF2B5EF4-FFF2-40B4-BE49-F238E27FC236}">
                    <a16:creationId xmlns:a16="http://schemas.microsoft.com/office/drawing/2014/main" id="{972F715C-4303-4DB2-A945-B108679AECE2}"/>
                  </a:ext>
                </a:extLst>
              </p:cNvPr>
              <p:cNvSpPr>
                <a:spLocks noEditPoints="1"/>
              </p:cNvSpPr>
              <p:nvPr/>
            </p:nvSpPr>
            <p:spPr bwMode="auto">
              <a:xfrm>
                <a:off x="834507" y="1399753"/>
                <a:ext cx="34255" cy="7128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0" name="Freeform 67">
                <a:extLst>
                  <a:ext uri="{FF2B5EF4-FFF2-40B4-BE49-F238E27FC236}">
                    <a16:creationId xmlns:a16="http://schemas.microsoft.com/office/drawing/2014/main" id="{FA1B1478-1FD6-4A39-93E9-EF5DADD698FD}"/>
                  </a:ext>
                </a:extLst>
              </p:cNvPr>
              <p:cNvSpPr>
                <a:spLocks/>
              </p:cNvSpPr>
              <p:nvPr/>
            </p:nvSpPr>
            <p:spPr bwMode="auto">
              <a:xfrm>
                <a:off x="784976" y="1399753"/>
                <a:ext cx="87952" cy="7128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0066C5"/>
              </a:solidFill>
              <a:ln>
                <a:solidFill>
                  <a:srgbClr val="0066C5"/>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grpSp>
      <p:grpSp>
        <p:nvGrpSpPr>
          <p:cNvPr id="134" name="Group 133">
            <a:extLst>
              <a:ext uri="{FF2B5EF4-FFF2-40B4-BE49-F238E27FC236}">
                <a16:creationId xmlns:a16="http://schemas.microsoft.com/office/drawing/2014/main" id="{AD3BDCBC-B33A-4E6A-B136-1DDBC3D374C0}"/>
              </a:ext>
            </a:extLst>
          </p:cNvPr>
          <p:cNvGrpSpPr/>
          <p:nvPr/>
        </p:nvGrpSpPr>
        <p:grpSpPr>
          <a:xfrm>
            <a:off x="3149427" y="3502847"/>
            <a:ext cx="470829" cy="470829"/>
            <a:chOff x="513404" y="1200395"/>
            <a:chExt cx="470005" cy="470005"/>
          </a:xfrm>
        </p:grpSpPr>
        <p:sp>
          <p:nvSpPr>
            <p:cNvPr id="135" name="Oval 134">
              <a:extLst>
                <a:ext uri="{FF2B5EF4-FFF2-40B4-BE49-F238E27FC236}">
                  <a16:creationId xmlns:a16="http://schemas.microsoft.com/office/drawing/2014/main" id="{6001D077-B556-4571-9EBA-76343F3D22F0}"/>
                </a:ext>
              </a:extLst>
            </p:cNvPr>
            <p:cNvSpPr/>
            <p:nvPr/>
          </p:nvSpPr>
          <p:spPr>
            <a:xfrm>
              <a:off x="513404" y="1200395"/>
              <a:ext cx="470005" cy="470005"/>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136" name="Freeform: Shape 135">
              <a:extLst>
                <a:ext uri="{FF2B5EF4-FFF2-40B4-BE49-F238E27FC236}">
                  <a16:creationId xmlns:a16="http://schemas.microsoft.com/office/drawing/2014/main" id="{2349D423-B691-4B98-9FBC-7C06B8E85A30}"/>
                </a:ext>
              </a:extLst>
            </p:cNvPr>
            <p:cNvSpPr/>
            <p:nvPr/>
          </p:nvSpPr>
          <p:spPr>
            <a:xfrm>
              <a:off x="513404" y="1394443"/>
              <a:ext cx="361341" cy="80316"/>
            </a:xfrm>
            <a:custGeom>
              <a:avLst/>
              <a:gdLst>
                <a:gd name="connsiteX0" fmla="*/ 4128 w 361341"/>
                <a:gd name="connsiteY0" fmla="*/ 0 h 80316"/>
                <a:gd name="connsiteX1" fmla="*/ 321183 w 361341"/>
                <a:gd name="connsiteY1" fmla="*/ 0 h 80316"/>
                <a:gd name="connsiteX2" fmla="*/ 361341 w 361341"/>
                <a:gd name="connsiteY2" fmla="*/ 40158 h 80316"/>
                <a:gd name="connsiteX3" fmla="*/ 361340 w 361341"/>
                <a:gd name="connsiteY3" fmla="*/ 40158 h 80316"/>
                <a:gd name="connsiteX4" fmla="*/ 321182 w 361341"/>
                <a:gd name="connsiteY4" fmla="*/ 80316 h 80316"/>
                <a:gd name="connsiteX5" fmla="*/ 3968 w 361341"/>
                <a:gd name="connsiteY5" fmla="*/ 80315 h 80316"/>
                <a:gd name="connsiteX6" fmla="*/ 0 w 361341"/>
                <a:gd name="connsiteY6" fmla="*/ 40954 h 80316"/>
                <a:gd name="connsiteX7" fmla="*/ 4128 w 361341"/>
                <a:gd name="connsiteY7" fmla="*/ 0 h 8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1341" h="80316">
                  <a:moveTo>
                    <a:pt x="4128" y="0"/>
                  </a:moveTo>
                  <a:lnTo>
                    <a:pt x="321183" y="0"/>
                  </a:lnTo>
                  <a:cubicBezTo>
                    <a:pt x="343362" y="0"/>
                    <a:pt x="361341" y="17979"/>
                    <a:pt x="361341" y="40158"/>
                  </a:cubicBezTo>
                  <a:lnTo>
                    <a:pt x="361340" y="40158"/>
                  </a:lnTo>
                  <a:cubicBezTo>
                    <a:pt x="361340" y="62337"/>
                    <a:pt x="343361" y="80316"/>
                    <a:pt x="321182" y="80316"/>
                  </a:cubicBezTo>
                  <a:lnTo>
                    <a:pt x="3968" y="80315"/>
                  </a:lnTo>
                  <a:lnTo>
                    <a:pt x="0" y="40954"/>
                  </a:lnTo>
                  <a:lnTo>
                    <a:pt x="4128" y="0"/>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137" name="Freeform 62">
              <a:extLst>
                <a:ext uri="{FF2B5EF4-FFF2-40B4-BE49-F238E27FC236}">
                  <a16:creationId xmlns:a16="http://schemas.microsoft.com/office/drawing/2014/main" id="{945A2CF6-790A-4029-8C1F-DDF7D5B8C8B4}"/>
                </a:ext>
              </a:extLst>
            </p:cNvPr>
            <p:cNvSpPr>
              <a:spLocks/>
            </p:cNvSpPr>
            <p:nvPr/>
          </p:nvSpPr>
          <p:spPr bwMode="auto">
            <a:xfrm>
              <a:off x="688230" y="1291434"/>
              <a:ext cx="172200" cy="118503"/>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8" name="Freeform 63">
              <a:extLst>
                <a:ext uri="{FF2B5EF4-FFF2-40B4-BE49-F238E27FC236}">
                  <a16:creationId xmlns:a16="http://schemas.microsoft.com/office/drawing/2014/main" id="{727F666D-6F23-4325-8A38-FD5F56B75101}"/>
                </a:ext>
              </a:extLst>
            </p:cNvPr>
            <p:cNvSpPr>
              <a:spLocks noEditPoints="1"/>
            </p:cNvSpPr>
            <p:nvPr/>
          </p:nvSpPr>
          <p:spPr bwMode="auto">
            <a:xfrm>
              <a:off x="748407" y="1399753"/>
              <a:ext cx="112023" cy="35181"/>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9" name="Freeform 64">
              <a:extLst>
                <a:ext uri="{FF2B5EF4-FFF2-40B4-BE49-F238E27FC236}">
                  <a16:creationId xmlns:a16="http://schemas.microsoft.com/office/drawing/2014/main" id="{2032C276-8417-4417-90A0-0C3851AD31E8}"/>
                </a:ext>
              </a:extLst>
            </p:cNvPr>
            <p:cNvSpPr>
              <a:spLocks/>
            </p:cNvSpPr>
            <p:nvPr/>
          </p:nvSpPr>
          <p:spPr bwMode="auto">
            <a:xfrm>
              <a:off x="688230" y="1460857"/>
              <a:ext cx="172200" cy="118503"/>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0" name="Freeform 65">
              <a:extLst>
                <a:ext uri="{FF2B5EF4-FFF2-40B4-BE49-F238E27FC236}">
                  <a16:creationId xmlns:a16="http://schemas.microsoft.com/office/drawing/2014/main" id="{F179938F-F873-4B43-A168-0CD22CF2CF08}"/>
                </a:ext>
              </a:extLst>
            </p:cNvPr>
            <p:cNvSpPr>
              <a:spLocks noEditPoints="1"/>
            </p:cNvSpPr>
            <p:nvPr/>
          </p:nvSpPr>
          <p:spPr bwMode="auto">
            <a:xfrm>
              <a:off x="748407" y="1434934"/>
              <a:ext cx="112023" cy="36106"/>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1" name="Freeform 66">
              <a:extLst>
                <a:ext uri="{FF2B5EF4-FFF2-40B4-BE49-F238E27FC236}">
                  <a16:creationId xmlns:a16="http://schemas.microsoft.com/office/drawing/2014/main" id="{CD4637A4-A96D-4268-8B5F-41AF8FD8B101}"/>
                </a:ext>
              </a:extLst>
            </p:cNvPr>
            <p:cNvSpPr>
              <a:spLocks noEditPoints="1"/>
            </p:cNvSpPr>
            <p:nvPr/>
          </p:nvSpPr>
          <p:spPr bwMode="auto">
            <a:xfrm>
              <a:off x="834507" y="1399753"/>
              <a:ext cx="34255" cy="7128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2" name="Freeform 67">
              <a:extLst>
                <a:ext uri="{FF2B5EF4-FFF2-40B4-BE49-F238E27FC236}">
                  <a16:creationId xmlns:a16="http://schemas.microsoft.com/office/drawing/2014/main" id="{12C1B29D-18E1-4152-93F5-8DF122B3F3EA}"/>
                </a:ext>
              </a:extLst>
            </p:cNvPr>
            <p:cNvSpPr>
              <a:spLocks/>
            </p:cNvSpPr>
            <p:nvPr/>
          </p:nvSpPr>
          <p:spPr bwMode="auto">
            <a:xfrm>
              <a:off x="784976" y="1399753"/>
              <a:ext cx="87952" cy="7128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0066C5"/>
            </a:solidFill>
            <a:ln>
              <a:solidFill>
                <a:srgbClr val="0066C5"/>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spTree>
    <p:extLst>
      <p:ext uri="{BB962C8B-B14F-4D97-AF65-F5344CB8AC3E}">
        <p14:creationId xmlns:p14="http://schemas.microsoft.com/office/powerpoint/2010/main" val="3975673443"/>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left)">
                                      <p:cBhvr>
                                        <p:cTn id="17" dur="5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left)">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F5EECB4-EE5A-FE4A-941F-D658C4D073E0}"/>
              </a:ext>
            </a:extLst>
          </p:cNvPr>
          <p:cNvGrpSpPr/>
          <p:nvPr/>
        </p:nvGrpSpPr>
        <p:grpSpPr>
          <a:xfrm>
            <a:off x="8728296" y="4640408"/>
            <a:ext cx="3042865" cy="2217593"/>
            <a:chOff x="6059612" y="2536232"/>
            <a:chExt cx="2282149" cy="1663195"/>
          </a:xfrm>
        </p:grpSpPr>
        <p:grpSp>
          <p:nvGrpSpPr>
            <p:cNvPr id="79" name="Group 221">
              <a:extLst>
                <a:ext uri="{FF2B5EF4-FFF2-40B4-BE49-F238E27FC236}">
                  <a16:creationId xmlns:a16="http://schemas.microsoft.com/office/drawing/2014/main" id="{794BB3EF-3486-4D62-A48F-DF4EF857A7BD}"/>
                </a:ext>
              </a:extLst>
            </p:cNvPr>
            <p:cNvGrpSpPr>
              <a:grpSpLocks noChangeAspect="1"/>
            </p:cNvGrpSpPr>
            <p:nvPr/>
          </p:nvGrpSpPr>
          <p:grpSpPr bwMode="auto">
            <a:xfrm flipH="1">
              <a:off x="6059612" y="2632185"/>
              <a:ext cx="1612995" cy="924759"/>
              <a:chOff x="2049" y="1143"/>
              <a:chExt cx="1664" cy="954"/>
            </a:xfrm>
          </p:grpSpPr>
          <p:sp>
            <p:nvSpPr>
              <p:cNvPr id="80" name="Freeform 222">
                <a:extLst>
                  <a:ext uri="{FF2B5EF4-FFF2-40B4-BE49-F238E27FC236}">
                    <a16:creationId xmlns:a16="http://schemas.microsoft.com/office/drawing/2014/main" id="{94AF7E0F-64BD-482A-BC62-69F285896F53}"/>
                  </a:ext>
                </a:extLst>
              </p:cNvPr>
              <p:cNvSpPr>
                <a:spLocks/>
              </p:cNvSpPr>
              <p:nvPr/>
            </p:nvSpPr>
            <p:spPr bwMode="auto">
              <a:xfrm>
                <a:off x="2049" y="2028"/>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81" name="Freeform 223">
                <a:extLst>
                  <a:ext uri="{FF2B5EF4-FFF2-40B4-BE49-F238E27FC236}">
                    <a16:creationId xmlns:a16="http://schemas.microsoft.com/office/drawing/2014/main" id="{5212A28C-CF34-4102-B8B5-8E184200C3F1}"/>
                  </a:ext>
                </a:extLst>
              </p:cNvPr>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tx2"/>
              </a:solidFill>
              <a:ln w="9525">
                <a:no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82" name="Freeform 224">
                <a:extLst>
                  <a:ext uri="{FF2B5EF4-FFF2-40B4-BE49-F238E27FC236}">
                    <a16:creationId xmlns:a16="http://schemas.microsoft.com/office/drawing/2014/main" id="{B2566106-3A30-47A0-9EC2-9CEB0836343D}"/>
                  </a:ext>
                </a:extLst>
              </p:cNvPr>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grpSp>
        <p:grpSp>
          <p:nvGrpSpPr>
            <p:cNvPr id="83" name="Group 82">
              <a:extLst>
                <a:ext uri="{FF2B5EF4-FFF2-40B4-BE49-F238E27FC236}">
                  <a16:creationId xmlns:a16="http://schemas.microsoft.com/office/drawing/2014/main" id="{C9A29EAB-811C-481E-81F3-D2AA7B304187}"/>
                </a:ext>
              </a:extLst>
            </p:cNvPr>
            <p:cNvGrpSpPr/>
            <p:nvPr/>
          </p:nvGrpSpPr>
          <p:grpSpPr>
            <a:xfrm flipH="1">
              <a:off x="7425196" y="2536232"/>
              <a:ext cx="916565" cy="1663195"/>
              <a:chOff x="7504946" y="1369403"/>
              <a:chExt cx="390689" cy="708942"/>
            </a:xfrm>
          </p:grpSpPr>
          <p:sp>
            <p:nvSpPr>
              <p:cNvPr id="84" name="Oval 342">
                <a:extLst>
                  <a:ext uri="{FF2B5EF4-FFF2-40B4-BE49-F238E27FC236}">
                    <a16:creationId xmlns:a16="http://schemas.microsoft.com/office/drawing/2014/main" id="{C9AA14CC-6BA6-4E38-B07E-78F4235A5E38}"/>
                  </a:ext>
                </a:extLst>
              </p:cNvPr>
              <p:cNvSpPr>
                <a:spLocks noChangeAspect="1" noChangeArrowheads="1"/>
              </p:cNvSpPr>
              <p:nvPr/>
            </p:nvSpPr>
            <p:spPr bwMode="auto">
              <a:xfrm>
                <a:off x="7587323" y="1369403"/>
                <a:ext cx="227262" cy="231321"/>
              </a:xfrm>
              <a:prstGeom prst="ellipse">
                <a:avLst/>
              </a:prstGeom>
              <a:solidFill>
                <a:schemeClr val="accent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85" name="Freeform 343">
                <a:extLst>
                  <a:ext uri="{FF2B5EF4-FFF2-40B4-BE49-F238E27FC236}">
                    <a16:creationId xmlns:a16="http://schemas.microsoft.com/office/drawing/2014/main" id="{9C5FE46F-77A9-4610-AE4A-F020EB62C7E6}"/>
                  </a:ext>
                </a:extLst>
              </p:cNvPr>
              <p:cNvSpPr>
                <a:spLocks noChangeAspect="1"/>
              </p:cNvSpPr>
              <p:nvPr/>
            </p:nvSpPr>
            <p:spPr bwMode="auto">
              <a:xfrm>
                <a:off x="7504946" y="1649421"/>
                <a:ext cx="390689" cy="428924"/>
              </a:xfrm>
              <a:custGeom>
                <a:avLst/>
                <a:gdLst>
                  <a:gd name="T0" fmla="*/ 28 w 28"/>
                  <a:gd name="T1" fmla="*/ 9 h 35"/>
                  <a:gd name="T2" fmla="*/ 19 w 28"/>
                  <a:gd name="T3" fmla="*/ 0 h 35"/>
                  <a:gd name="T4" fmla="*/ 9 w 28"/>
                  <a:gd name="T5" fmla="*/ 0 h 35"/>
                  <a:gd name="T6" fmla="*/ 0 w 28"/>
                  <a:gd name="T7" fmla="*/ 9 h 35"/>
                  <a:gd name="T8" fmla="*/ 0 w 28"/>
                  <a:gd name="T9" fmla="*/ 35 h 35"/>
                  <a:gd name="T10" fmla="*/ 28 w 28"/>
                  <a:gd name="T11" fmla="*/ 35 h 35"/>
                  <a:gd name="T12" fmla="*/ 28 w 28"/>
                  <a:gd name="T13" fmla="*/ 9 h 35"/>
                </a:gdLst>
                <a:ahLst/>
                <a:cxnLst>
                  <a:cxn ang="0">
                    <a:pos x="T0" y="T1"/>
                  </a:cxn>
                  <a:cxn ang="0">
                    <a:pos x="T2" y="T3"/>
                  </a:cxn>
                  <a:cxn ang="0">
                    <a:pos x="T4" y="T5"/>
                  </a:cxn>
                  <a:cxn ang="0">
                    <a:pos x="T6" y="T7"/>
                  </a:cxn>
                  <a:cxn ang="0">
                    <a:pos x="T8" y="T9"/>
                  </a:cxn>
                  <a:cxn ang="0">
                    <a:pos x="T10" y="T11"/>
                  </a:cxn>
                  <a:cxn ang="0">
                    <a:pos x="T12" y="T13"/>
                  </a:cxn>
                </a:cxnLst>
                <a:rect l="0" t="0" r="r" b="b"/>
                <a:pathLst>
                  <a:path w="28" h="35">
                    <a:moveTo>
                      <a:pt x="28" y="9"/>
                    </a:moveTo>
                    <a:cubicBezTo>
                      <a:pt x="28" y="4"/>
                      <a:pt x="24" y="0"/>
                      <a:pt x="19" y="0"/>
                    </a:cubicBezTo>
                    <a:cubicBezTo>
                      <a:pt x="9" y="0"/>
                      <a:pt x="9" y="0"/>
                      <a:pt x="9" y="0"/>
                    </a:cubicBezTo>
                    <a:cubicBezTo>
                      <a:pt x="4" y="0"/>
                      <a:pt x="0" y="4"/>
                      <a:pt x="0" y="9"/>
                    </a:cubicBezTo>
                    <a:cubicBezTo>
                      <a:pt x="0" y="35"/>
                      <a:pt x="0" y="35"/>
                      <a:pt x="0" y="35"/>
                    </a:cubicBezTo>
                    <a:cubicBezTo>
                      <a:pt x="28" y="35"/>
                      <a:pt x="28" y="35"/>
                      <a:pt x="28" y="35"/>
                    </a:cubicBezTo>
                    <a:lnTo>
                      <a:pt x="28" y="9"/>
                    </a:ln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grpSp>
        <p:sp>
          <p:nvSpPr>
            <p:cNvPr id="143" name="Freeform 16">
              <a:extLst>
                <a:ext uri="{FF2B5EF4-FFF2-40B4-BE49-F238E27FC236}">
                  <a16:creationId xmlns:a16="http://schemas.microsoft.com/office/drawing/2014/main" id="{4A36F13A-1237-4FA9-B8FF-0440A520FA5D}"/>
                </a:ext>
              </a:extLst>
            </p:cNvPr>
            <p:cNvSpPr>
              <a:spLocks noEditPoints="1"/>
            </p:cNvSpPr>
            <p:nvPr/>
          </p:nvSpPr>
          <p:spPr bwMode="auto">
            <a:xfrm>
              <a:off x="6312709" y="2764957"/>
              <a:ext cx="50561" cy="74262"/>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5"/>
                    <a:pt x="45" y="0"/>
                    <a:pt x="28" y="0"/>
                  </a:cubicBezTo>
                  <a:close/>
                  <a:moveTo>
                    <a:pt x="27" y="68"/>
                  </a:moveTo>
                  <a:cubicBezTo>
                    <a:pt x="20"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44" name="Freeform 17">
              <a:extLst>
                <a:ext uri="{FF2B5EF4-FFF2-40B4-BE49-F238E27FC236}">
                  <a16:creationId xmlns:a16="http://schemas.microsoft.com/office/drawing/2014/main" id="{1C08AEFB-6641-4BF5-BE08-38305F825053}"/>
                </a:ext>
              </a:extLst>
            </p:cNvPr>
            <p:cNvSpPr>
              <a:spLocks noEditPoints="1"/>
            </p:cNvSpPr>
            <p:nvPr/>
          </p:nvSpPr>
          <p:spPr bwMode="auto">
            <a:xfrm>
              <a:off x="6378156" y="2766537"/>
              <a:ext cx="26861" cy="71102"/>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45" name="Freeform 18">
              <a:extLst>
                <a:ext uri="{FF2B5EF4-FFF2-40B4-BE49-F238E27FC236}">
                  <a16:creationId xmlns:a16="http://schemas.microsoft.com/office/drawing/2014/main" id="{D1A8867E-BFB1-441C-96D2-8EC8ECCFD99E}"/>
                </a:ext>
              </a:extLst>
            </p:cNvPr>
            <p:cNvSpPr>
              <a:spLocks noEditPoints="1"/>
            </p:cNvSpPr>
            <p:nvPr/>
          </p:nvSpPr>
          <p:spPr bwMode="auto">
            <a:xfrm>
              <a:off x="6419903" y="2764957"/>
              <a:ext cx="48982" cy="74262"/>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46" name="Freeform 19">
              <a:extLst>
                <a:ext uri="{FF2B5EF4-FFF2-40B4-BE49-F238E27FC236}">
                  <a16:creationId xmlns:a16="http://schemas.microsoft.com/office/drawing/2014/main" id="{53B77A72-F8C6-406C-812E-7394F36B82EA}"/>
                </a:ext>
              </a:extLst>
            </p:cNvPr>
            <p:cNvSpPr>
              <a:spLocks noEditPoints="1"/>
            </p:cNvSpPr>
            <p:nvPr/>
          </p:nvSpPr>
          <p:spPr bwMode="auto">
            <a:xfrm>
              <a:off x="6483771" y="2764957"/>
              <a:ext cx="48982" cy="74262"/>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47" name="Freeform 20">
              <a:extLst>
                <a:ext uri="{FF2B5EF4-FFF2-40B4-BE49-F238E27FC236}">
                  <a16:creationId xmlns:a16="http://schemas.microsoft.com/office/drawing/2014/main" id="{2923B53A-4564-482C-9F3E-8B7EA86CCCB3}"/>
                </a:ext>
              </a:extLst>
            </p:cNvPr>
            <p:cNvSpPr>
              <a:spLocks noEditPoints="1"/>
            </p:cNvSpPr>
            <p:nvPr/>
          </p:nvSpPr>
          <p:spPr bwMode="auto">
            <a:xfrm>
              <a:off x="6547639" y="2766537"/>
              <a:ext cx="26861" cy="71102"/>
            </a:xfrm>
            <a:custGeom>
              <a:avLst/>
              <a:gdLst>
                <a:gd name="T0" fmla="*/ 2 w 29"/>
                <a:gd name="T1" fmla="*/ 19 h 78"/>
                <a:gd name="T2" fmla="*/ 4 w 29"/>
                <a:gd name="T3" fmla="*/ 21 h 78"/>
                <a:gd name="T4" fmla="*/ 6 w 29"/>
                <a:gd name="T5" fmla="*/ 21 h 78"/>
                <a:gd name="T6" fmla="*/ 15 w 29"/>
                <a:gd name="T7" fmla="*/ 16 h 78"/>
                <a:gd name="T8" fmla="*/ 15 w 29"/>
                <a:gd name="T9" fmla="*/ 76 h 78"/>
                <a:gd name="T10" fmla="*/ 17 w 29"/>
                <a:gd name="T11" fmla="*/ 78 h 78"/>
                <a:gd name="T12" fmla="*/ 27 w 29"/>
                <a:gd name="T13" fmla="*/ 78 h 78"/>
                <a:gd name="T14" fmla="*/ 29 w 29"/>
                <a:gd name="T15" fmla="*/ 76 h 78"/>
                <a:gd name="T16" fmla="*/ 29 w 29"/>
                <a:gd name="T17" fmla="*/ 3 h 78"/>
                <a:gd name="T18" fmla="*/ 27 w 29"/>
                <a:gd name="T19" fmla="*/ 0 h 78"/>
                <a:gd name="T20" fmla="*/ 19 w 29"/>
                <a:gd name="T21" fmla="*/ 0 h 78"/>
                <a:gd name="T22" fmla="*/ 17 w 29"/>
                <a:gd name="T23" fmla="*/ 1 h 78"/>
                <a:gd name="T24" fmla="*/ 1 w 29"/>
                <a:gd name="T25" fmla="*/ 9 h 78"/>
                <a:gd name="T26" fmla="*/ 0 w 29"/>
                <a:gd name="T27" fmla="*/ 12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1"/>
                    <a:pt x="4" y="21"/>
                  </a:cubicBezTo>
                  <a:cubicBezTo>
                    <a:pt x="4" y="21"/>
                    <a:pt x="5" y="21"/>
                    <a:pt x="6"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1"/>
                    <a:pt x="28" y="0"/>
                    <a:pt x="27" y="0"/>
                  </a:cubicBezTo>
                  <a:cubicBezTo>
                    <a:pt x="19" y="0"/>
                    <a:pt x="19" y="0"/>
                    <a:pt x="19" y="0"/>
                  </a:cubicBezTo>
                  <a:cubicBezTo>
                    <a:pt x="18" y="0"/>
                    <a:pt x="18" y="0"/>
                    <a:pt x="17" y="1"/>
                  </a:cubicBezTo>
                  <a:cubicBezTo>
                    <a:pt x="1" y="9"/>
                    <a:pt x="1" y="9"/>
                    <a:pt x="1"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53" name="Freeform 26">
              <a:extLst>
                <a:ext uri="{FF2B5EF4-FFF2-40B4-BE49-F238E27FC236}">
                  <a16:creationId xmlns:a16="http://schemas.microsoft.com/office/drawing/2014/main" id="{82F6E0C3-AA4D-4EB9-9EA2-2BD44EAC01FC}"/>
                </a:ext>
              </a:extLst>
            </p:cNvPr>
            <p:cNvSpPr>
              <a:spLocks noEditPoints="1"/>
            </p:cNvSpPr>
            <p:nvPr/>
          </p:nvSpPr>
          <p:spPr bwMode="auto">
            <a:xfrm>
              <a:off x="6320610" y="2888990"/>
              <a:ext cx="26861" cy="7110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54" name="Freeform 27">
              <a:extLst>
                <a:ext uri="{FF2B5EF4-FFF2-40B4-BE49-F238E27FC236}">
                  <a16:creationId xmlns:a16="http://schemas.microsoft.com/office/drawing/2014/main" id="{3782A9E2-30AA-43DB-B29D-B7703FF1C48B}"/>
                </a:ext>
              </a:extLst>
            </p:cNvPr>
            <p:cNvSpPr>
              <a:spLocks noEditPoints="1"/>
            </p:cNvSpPr>
            <p:nvPr/>
          </p:nvSpPr>
          <p:spPr bwMode="auto">
            <a:xfrm>
              <a:off x="6367097" y="2888200"/>
              <a:ext cx="48982" cy="72682"/>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55" name="Freeform 28">
              <a:extLst>
                <a:ext uri="{FF2B5EF4-FFF2-40B4-BE49-F238E27FC236}">
                  <a16:creationId xmlns:a16="http://schemas.microsoft.com/office/drawing/2014/main" id="{7B03137D-2680-47C8-A0B9-D164FCA580BE}"/>
                </a:ext>
              </a:extLst>
            </p:cNvPr>
            <p:cNvSpPr>
              <a:spLocks noEditPoints="1"/>
            </p:cNvSpPr>
            <p:nvPr/>
          </p:nvSpPr>
          <p:spPr bwMode="auto">
            <a:xfrm>
              <a:off x="6435705" y="2888990"/>
              <a:ext cx="26861" cy="71102"/>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56" name="Freeform 29">
              <a:extLst>
                <a:ext uri="{FF2B5EF4-FFF2-40B4-BE49-F238E27FC236}">
                  <a16:creationId xmlns:a16="http://schemas.microsoft.com/office/drawing/2014/main" id="{AF96AA60-672F-4994-80CA-AC2D3B543915}"/>
                </a:ext>
              </a:extLst>
            </p:cNvPr>
            <p:cNvSpPr>
              <a:spLocks noEditPoints="1"/>
            </p:cNvSpPr>
            <p:nvPr/>
          </p:nvSpPr>
          <p:spPr bwMode="auto">
            <a:xfrm>
              <a:off x="6482192" y="2888200"/>
              <a:ext cx="48982" cy="72682"/>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57" name="Freeform 30">
              <a:extLst>
                <a:ext uri="{FF2B5EF4-FFF2-40B4-BE49-F238E27FC236}">
                  <a16:creationId xmlns:a16="http://schemas.microsoft.com/office/drawing/2014/main" id="{608C8200-755A-433A-8213-68D26E927A0A}"/>
                </a:ext>
              </a:extLst>
            </p:cNvPr>
            <p:cNvSpPr>
              <a:spLocks noEditPoints="1"/>
            </p:cNvSpPr>
            <p:nvPr/>
          </p:nvSpPr>
          <p:spPr bwMode="auto">
            <a:xfrm>
              <a:off x="6550800" y="2888990"/>
              <a:ext cx="25281" cy="71102"/>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62" name="Freeform 35">
              <a:extLst>
                <a:ext uri="{FF2B5EF4-FFF2-40B4-BE49-F238E27FC236}">
                  <a16:creationId xmlns:a16="http://schemas.microsoft.com/office/drawing/2014/main" id="{6DC01929-729E-4B8E-8AB7-259447A18B4E}"/>
                </a:ext>
              </a:extLst>
            </p:cNvPr>
            <p:cNvSpPr>
              <a:spLocks noEditPoints="1"/>
            </p:cNvSpPr>
            <p:nvPr/>
          </p:nvSpPr>
          <p:spPr bwMode="auto">
            <a:xfrm>
              <a:off x="6312709" y="3009862"/>
              <a:ext cx="50561" cy="74262"/>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63" name="Freeform 36">
              <a:extLst>
                <a:ext uri="{FF2B5EF4-FFF2-40B4-BE49-F238E27FC236}">
                  <a16:creationId xmlns:a16="http://schemas.microsoft.com/office/drawing/2014/main" id="{A98A9CAA-5C41-4159-84F0-C37035AA8E05}"/>
                </a:ext>
              </a:extLst>
            </p:cNvPr>
            <p:cNvSpPr>
              <a:spLocks noEditPoints="1"/>
            </p:cNvSpPr>
            <p:nvPr/>
          </p:nvSpPr>
          <p:spPr bwMode="auto">
            <a:xfrm>
              <a:off x="6374497" y="3009862"/>
              <a:ext cx="48982" cy="74262"/>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64" name="Freeform 37">
              <a:extLst>
                <a:ext uri="{FF2B5EF4-FFF2-40B4-BE49-F238E27FC236}">
                  <a16:creationId xmlns:a16="http://schemas.microsoft.com/office/drawing/2014/main" id="{9340B9FB-52B6-4434-B9EB-42B784FF2FC7}"/>
                </a:ext>
              </a:extLst>
            </p:cNvPr>
            <p:cNvSpPr>
              <a:spLocks noEditPoints="1"/>
            </p:cNvSpPr>
            <p:nvPr/>
          </p:nvSpPr>
          <p:spPr bwMode="auto">
            <a:xfrm>
              <a:off x="6434706" y="3011442"/>
              <a:ext cx="26861" cy="71102"/>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65" name="Freeform 38">
              <a:extLst>
                <a:ext uri="{FF2B5EF4-FFF2-40B4-BE49-F238E27FC236}">
                  <a16:creationId xmlns:a16="http://schemas.microsoft.com/office/drawing/2014/main" id="{D3F332EF-31F1-4E68-8F64-0C8D6A3DF717}"/>
                </a:ext>
              </a:extLst>
            </p:cNvPr>
            <p:cNvSpPr>
              <a:spLocks noEditPoints="1"/>
            </p:cNvSpPr>
            <p:nvPr/>
          </p:nvSpPr>
          <p:spPr bwMode="auto">
            <a:xfrm>
              <a:off x="6472794" y="3009862"/>
              <a:ext cx="48982" cy="74262"/>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66" name="Freeform 39">
              <a:extLst>
                <a:ext uri="{FF2B5EF4-FFF2-40B4-BE49-F238E27FC236}">
                  <a16:creationId xmlns:a16="http://schemas.microsoft.com/office/drawing/2014/main" id="{EA968360-79CC-4353-8255-60CF908E89D4}"/>
                </a:ext>
              </a:extLst>
            </p:cNvPr>
            <p:cNvSpPr>
              <a:spLocks noEditPoints="1"/>
            </p:cNvSpPr>
            <p:nvPr/>
          </p:nvSpPr>
          <p:spPr bwMode="auto">
            <a:xfrm>
              <a:off x="6533003" y="3009862"/>
              <a:ext cx="48982" cy="74262"/>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69" name="Freeform 42">
              <a:extLst>
                <a:ext uri="{FF2B5EF4-FFF2-40B4-BE49-F238E27FC236}">
                  <a16:creationId xmlns:a16="http://schemas.microsoft.com/office/drawing/2014/main" id="{F1216B63-F153-4DA0-BA4A-137E2140B20F}"/>
                </a:ext>
              </a:extLst>
            </p:cNvPr>
            <p:cNvSpPr>
              <a:spLocks noEditPoints="1"/>
            </p:cNvSpPr>
            <p:nvPr/>
          </p:nvSpPr>
          <p:spPr bwMode="auto">
            <a:xfrm>
              <a:off x="6312709" y="3133105"/>
              <a:ext cx="50561" cy="72682"/>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70" name="Freeform 43">
              <a:extLst>
                <a:ext uri="{FF2B5EF4-FFF2-40B4-BE49-F238E27FC236}">
                  <a16:creationId xmlns:a16="http://schemas.microsoft.com/office/drawing/2014/main" id="{2C673E36-CE14-4717-A3C0-C81496393642}"/>
                </a:ext>
              </a:extLst>
            </p:cNvPr>
            <p:cNvSpPr>
              <a:spLocks noEditPoints="1"/>
            </p:cNvSpPr>
            <p:nvPr/>
          </p:nvSpPr>
          <p:spPr bwMode="auto">
            <a:xfrm>
              <a:off x="6378987" y="3133105"/>
              <a:ext cx="48982" cy="72682"/>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71" name="Freeform 44">
              <a:extLst>
                <a:ext uri="{FF2B5EF4-FFF2-40B4-BE49-F238E27FC236}">
                  <a16:creationId xmlns:a16="http://schemas.microsoft.com/office/drawing/2014/main" id="{613BA288-E0C0-446F-9D4F-84DB33F9F3E5}"/>
                </a:ext>
              </a:extLst>
            </p:cNvPr>
            <p:cNvSpPr>
              <a:spLocks noEditPoints="1"/>
            </p:cNvSpPr>
            <p:nvPr/>
          </p:nvSpPr>
          <p:spPr bwMode="auto">
            <a:xfrm>
              <a:off x="6443686" y="3133895"/>
              <a:ext cx="26861" cy="71102"/>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72" name="Freeform 45">
              <a:extLst>
                <a:ext uri="{FF2B5EF4-FFF2-40B4-BE49-F238E27FC236}">
                  <a16:creationId xmlns:a16="http://schemas.microsoft.com/office/drawing/2014/main" id="{6F5CBEA7-29FD-4015-9531-C36CE526B4ED}"/>
                </a:ext>
              </a:extLst>
            </p:cNvPr>
            <p:cNvSpPr>
              <a:spLocks noEditPoints="1"/>
            </p:cNvSpPr>
            <p:nvPr/>
          </p:nvSpPr>
          <p:spPr bwMode="auto">
            <a:xfrm>
              <a:off x="6486264" y="3133895"/>
              <a:ext cx="26861" cy="71102"/>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73" name="Freeform 46">
              <a:extLst>
                <a:ext uri="{FF2B5EF4-FFF2-40B4-BE49-F238E27FC236}">
                  <a16:creationId xmlns:a16="http://schemas.microsoft.com/office/drawing/2014/main" id="{D3B1323C-7A97-4F58-B5CA-B3770779269E}"/>
                </a:ext>
              </a:extLst>
            </p:cNvPr>
            <p:cNvSpPr>
              <a:spLocks noEditPoints="1"/>
            </p:cNvSpPr>
            <p:nvPr/>
          </p:nvSpPr>
          <p:spPr bwMode="auto">
            <a:xfrm>
              <a:off x="6528842" y="3133105"/>
              <a:ext cx="48982" cy="72682"/>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78" name="Freeform 52">
              <a:extLst>
                <a:ext uri="{FF2B5EF4-FFF2-40B4-BE49-F238E27FC236}">
                  <a16:creationId xmlns:a16="http://schemas.microsoft.com/office/drawing/2014/main" id="{3BD983BE-F14B-42E4-8BD3-4FCC7352E96B}"/>
                </a:ext>
              </a:extLst>
            </p:cNvPr>
            <p:cNvSpPr>
              <a:spLocks noEditPoints="1"/>
            </p:cNvSpPr>
            <p:nvPr/>
          </p:nvSpPr>
          <p:spPr bwMode="auto">
            <a:xfrm>
              <a:off x="6312709" y="3256347"/>
              <a:ext cx="50561" cy="72682"/>
            </a:xfrm>
            <a:custGeom>
              <a:avLst/>
              <a:gdLst>
                <a:gd name="T0" fmla="*/ 27 w 54"/>
                <a:gd name="T1" fmla="*/ 81 h 81"/>
                <a:gd name="T2" fmla="*/ 54 w 54"/>
                <a:gd name="T3" fmla="*/ 40 h 81"/>
                <a:gd name="T4" fmla="*/ 28 w 54"/>
                <a:gd name="T5" fmla="*/ 0 h 81"/>
                <a:gd name="T6" fmla="*/ 0 w 54"/>
                <a:gd name="T7" fmla="*/ 41 h 81"/>
                <a:gd name="T8" fmla="*/ 27 w 54"/>
                <a:gd name="T9" fmla="*/ 81 h 81"/>
                <a:gd name="T10" fmla="*/ 27 w 54"/>
                <a:gd name="T11" fmla="*/ 13 h 81"/>
                <a:gd name="T12" fmla="*/ 40 w 54"/>
                <a:gd name="T13" fmla="*/ 40 h 81"/>
                <a:gd name="T14" fmla="*/ 27 w 54"/>
                <a:gd name="T15" fmla="*/ 68 h 81"/>
                <a:gd name="T16" fmla="*/ 15 w 54"/>
                <a:gd name="T17" fmla="*/ 41 h 81"/>
                <a:gd name="T18" fmla="*/ 27 w 54"/>
                <a:gd name="T19" fmla="*/ 13 h 81"/>
                <a:gd name="T20" fmla="*/ 27 w 54"/>
                <a:gd name="T21" fmla="*/ 13 h 81"/>
                <a:gd name="T22" fmla="*/ 27 w 54"/>
                <a:gd name="T23" fmla="*/ 1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7" y="81"/>
                  </a:moveTo>
                  <a:cubicBezTo>
                    <a:pt x="44" y="81"/>
                    <a:pt x="54" y="66"/>
                    <a:pt x="54" y="40"/>
                  </a:cubicBezTo>
                  <a:cubicBezTo>
                    <a:pt x="54" y="15"/>
                    <a:pt x="45" y="0"/>
                    <a:pt x="28" y="0"/>
                  </a:cubicBezTo>
                  <a:cubicBezTo>
                    <a:pt x="11" y="0"/>
                    <a:pt x="0" y="16"/>
                    <a:pt x="0" y="41"/>
                  </a:cubicBezTo>
                  <a:cubicBezTo>
                    <a:pt x="0" y="65"/>
                    <a:pt x="11" y="81"/>
                    <a:pt x="27" y="81"/>
                  </a:cubicBezTo>
                  <a:close/>
                  <a:moveTo>
                    <a:pt x="27" y="13"/>
                  </a:moveTo>
                  <a:cubicBezTo>
                    <a:pt x="38" y="13"/>
                    <a:pt x="40" y="30"/>
                    <a:pt x="40" y="40"/>
                  </a:cubicBezTo>
                  <a:cubicBezTo>
                    <a:pt x="40" y="51"/>
                    <a:pt x="38" y="68"/>
                    <a:pt x="27" y="68"/>
                  </a:cubicBezTo>
                  <a:cubicBezTo>
                    <a:pt x="20" y="68"/>
                    <a:pt x="15" y="58"/>
                    <a:pt x="15" y="41"/>
                  </a:cubicBezTo>
                  <a:cubicBezTo>
                    <a:pt x="15" y="24"/>
                    <a:pt x="20" y="13"/>
                    <a:pt x="27" y="13"/>
                  </a:cubicBezTo>
                  <a:close/>
                  <a:moveTo>
                    <a:pt x="27" y="13"/>
                  </a:moveTo>
                  <a:cubicBezTo>
                    <a:pt x="27" y="13"/>
                    <a:pt x="27" y="13"/>
                    <a:pt x="27" y="13"/>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79" name="Freeform 53">
              <a:extLst>
                <a:ext uri="{FF2B5EF4-FFF2-40B4-BE49-F238E27FC236}">
                  <a16:creationId xmlns:a16="http://schemas.microsoft.com/office/drawing/2014/main" id="{7BAED57B-B9B0-4276-B80F-67331BD431AE}"/>
                </a:ext>
              </a:extLst>
            </p:cNvPr>
            <p:cNvSpPr>
              <a:spLocks noEditPoints="1"/>
            </p:cNvSpPr>
            <p:nvPr/>
          </p:nvSpPr>
          <p:spPr bwMode="auto">
            <a:xfrm>
              <a:off x="6374829" y="3256347"/>
              <a:ext cx="48982" cy="72682"/>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80" name="Freeform 54">
              <a:extLst>
                <a:ext uri="{FF2B5EF4-FFF2-40B4-BE49-F238E27FC236}">
                  <a16:creationId xmlns:a16="http://schemas.microsoft.com/office/drawing/2014/main" id="{BDFEF5F3-B90A-46EF-BE09-66429F7DD7E0}"/>
                </a:ext>
              </a:extLst>
            </p:cNvPr>
            <p:cNvSpPr>
              <a:spLocks noEditPoints="1"/>
            </p:cNvSpPr>
            <p:nvPr/>
          </p:nvSpPr>
          <p:spPr bwMode="auto">
            <a:xfrm>
              <a:off x="6435370" y="3256347"/>
              <a:ext cx="48982" cy="72682"/>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81" name="Freeform 55">
              <a:extLst>
                <a:ext uri="{FF2B5EF4-FFF2-40B4-BE49-F238E27FC236}">
                  <a16:creationId xmlns:a16="http://schemas.microsoft.com/office/drawing/2014/main" id="{448407E4-3B0B-4E08-AC5A-D6015AD8251E}"/>
                </a:ext>
              </a:extLst>
            </p:cNvPr>
            <p:cNvSpPr>
              <a:spLocks noEditPoints="1"/>
            </p:cNvSpPr>
            <p:nvPr/>
          </p:nvSpPr>
          <p:spPr bwMode="auto">
            <a:xfrm>
              <a:off x="6495911" y="3257927"/>
              <a:ext cx="25281" cy="69522"/>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182" name="Freeform 56">
              <a:extLst>
                <a:ext uri="{FF2B5EF4-FFF2-40B4-BE49-F238E27FC236}">
                  <a16:creationId xmlns:a16="http://schemas.microsoft.com/office/drawing/2014/main" id="{EE438CAC-BB6B-4F0B-85DF-C1D3F2C700E6}"/>
                </a:ext>
              </a:extLst>
            </p:cNvPr>
            <p:cNvSpPr>
              <a:spLocks noEditPoints="1"/>
            </p:cNvSpPr>
            <p:nvPr/>
          </p:nvSpPr>
          <p:spPr bwMode="auto">
            <a:xfrm>
              <a:off x="6532751" y="3256347"/>
              <a:ext cx="50561" cy="72682"/>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18" name="Freeform 16">
              <a:extLst>
                <a:ext uri="{FF2B5EF4-FFF2-40B4-BE49-F238E27FC236}">
                  <a16:creationId xmlns:a16="http://schemas.microsoft.com/office/drawing/2014/main" id="{8174B7F5-A830-4C48-8F17-E93AC1BFC486}"/>
                </a:ext>
              </a:extLst>
            </p:cNvPr>
            <p:cNvSpPr>
              <a:spLocks noEditPoints="1"/>
            </p:cNvSpPr>
            <p:nvPr/>
          </p:nvSpPr>
          <p:spPr bwMode="auto">
            <a:xfrm>
              <a:off x="6589386" y="2764957"/>
              <a:ext cx="50561" cy="74262"/>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5"/>
                    <a:pt x="45" y="0"/>
                    <a:pt x="28" y="0"/>
                  </a:cubicBezTo>
                  <a:close/>
                  <a:moveTo>
                    <a:pt x="27" y="68"/>
                  </a:moveTo>
                  <a:cubicBezTo>
                    <a:pt x="20"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19" name="Freeform 17">
              <a:extLst>
                <a:ext uri="{FF2B5EF4-FFF2-40B4-BE49-F238E27FC236}">
                  <a16:creationId xmlns:a16="http://schemas.microsoft.com/office/drawing/2014/main" id="{89B83B3A-5EA0-4E94-B864-EE07AFFD39A3}"/>
                </a:ext>
              </a:extLst>
            </p:cNvPr>
            <p:cNvSpPr>
              <a:spLocks noEditPoints="1"/>
            </p:cNvSpPr>
            <p:nvPr/>
          </p:nvSpPr>
          <p:spPr bwMode="auto">
            <a:xfrm>
              <a:off x="6654833" y="2766537"/>
              <a:ext cx="26861" cy="71102"/>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20" name="Freeform 18">
              <a:extLst>
                <a:ext uri="{FF2B5EF4-FFF2-40B4-BE49-F238E27FC236}">
                  <a16:creationId xmlns:a16="http://schemas.microsoft.com/office/drawing/2014/main" id="{EA6B00C6-AF7F-4400-9F54-686E514D54BF}"/>
                </a:ext>
              </a:extLst>
            </p:cNvPr>
            <p:cNvSpPr>
              <a:spLocks noEditPoints="1"/>
            </p:cNvSpPr>
            <p:nvPr/>
          </p:nvSpPr>
          <p:spPr bwMode="auto">
            <a:xfrm>
              <a:off x="6696580" y="2764957"/>
              <a:ext cx="48982" cy="74262"/>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21" name="Freeform 19">
              <a:extLst>
                <a:ext uri="{FF2B5EF4-FFF2-40B4-BE49-F238E27FC236}">
                  <a16:creationId xmlns:a16="http://schemas.microsoft.com/office/drawing/2014/main" id="{222354A4-CD19-4FD9-BD9E-BE89836AD5AD}"/>
                </a:ext>
              </a:extLst>
            </p:cNvPr>
            <p:cNvSpPr>
              <a:spLocks noEditPoints="1"/>
            </p:cNvSpPr>
            <p:nvPr/>
          </p:nvSpPr>
          <p:spPr bwMode="auto">
            <a:xfrm>
              <a:off x="6760448" y="2764957"/>
              <a:ext cx="48982" cy="74262"/>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22" name="Freeform 20">
              <a:extLst>
                <a:ext uri="{FF2B5EF4-FFF2-40B4-BE49-F238E27FC236}">
                  <a16:creationId xmlns:a16="http://schemas.microsoft.com/office/drawing/2014/main" id="{53CEFDA1-0A56-4561-9DAF-28F32183543E}"/>
                </a:ext>
              </a:extLst>
            </p:cNvPr>
            <p:cNvSpPr>
              <a:spLocks noEditPoints="1"/>
            </p:cNvSpPr>
            <p:nvPr/>
          </p:nvSpPr>
          <p:spPr bwMode="auto">
            <a:xfrm>
              <a:off x="6824316" y="2766537"/>
              <a:ext cx="26861" cy="71102"/>
            </a:xfrm>
            <a:custGeom>
              <a:avLst/>
              <a:gdLst>
                <a:gd name="T0" fmla="*/ 2 w 29"/>
                <a:gd name="T1" fmla="*/ 19 h 78"/>
                <a:gd name="T2" fmla="*/ 4 w 29"/>
                <a:gd name="T3" fmla="*/ 21 h 78"/>
                <a:gd name="T4" fmla="*/ 6 w 29"/>
                <a:gd name="T5" fmla="*/ 21 h 78"/>
                <a:gd name="T6" fmla="*/ 15 w 29"/>
                <a:gd name="T7" fmla="*/ 16 h 78"/>
                <a:gd name="T8" fmla="*/ 15 w 29"/>
                <a:gd name="T9" fmla="*/ 76 h 78"/>
                <a:gd name="T10" fmla="*/ 17 w 29"/>
                <a:gd name="T11" fmla="*/ 78 h 78"/>
                <a:gd name="T12" fmla="*/ 27 w 29"/>
                <a:gd name="T13" fmla="*/ 78 h 78"/>
                <a:gd name="T14" fmla="*/ 29 w 29"/>
                <a:gd name="T15" fmla="*/ 76 h 78"/>
                <a:gd name="T16" fmla="*/ 29 w 29"/>
                <a:gd name="T17" fmla="*/ 3 h 78"/>
                <a:gd name="T18" fmla="*/ 27 w 29"/>
                <a:gd name="T19" fmla="*/ 0 h 78"/>
                <a:gd name="T20" fmla="*/ 19 w 29"/>
                <a:gd name="T21" fmla="*/ 0 h 78"/>
                <a:gd name="T22" fmla="*/ 17 w 29"/>
                <a:gd name="T23" fmla="*/ 1 h 78"/>
                <a:gd name="T24" fmla="*/ 1 w 29"/>
                <a:gd name="T25" fmla="*/ 9 h 78"/>
                <a:gd name="T26" fmla="*/ 0 w 29"/>
                <a:gd name="T27" fmla="*/ 12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1"/>
                    <a:pt x="4" y="21"/>
                  </a:cubicBezTo>
                  <a:cubicBezTo>
                    <a:pt x="4" y="21"/>
                    <a:pt x="5" y="21"/>
                    <a:pt x="6"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1"/>
                    <a:pt x="28" y="0"/>
                    <a:pt x="27" y="0"/>
                  </a:cubicBezTo>
                  <a:cubicBezTo>
                    <a:pt x="19" y="0"/>
                    <a:pt x="19" y="0"/>
                    <a:pt x="19" y="0"/>
                  </a:cubicBezTo>
                  <a:cubicBezTo>
                    <a:pt x="18" y="0"/>
                    <a:pt x="18" y="0"/>
                    <a:pt x="17" y="1"/>
                  </a:cubicBezTo>
                  <a:cubicBezTo>
                    <a:pt x="1" y="9"/>
                    <a:pt x="1" y="9"/>
                    <a:pt x="1"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23" name="Freeform 26">
              <a:extLst>
                <a:ext uri="{FF2B5EF4-FFF2-40B4-BE49-F238E27FC236}">
                  <a16:creationId xmlns:a16="http://schemas.microsoft.com/office/drawing/2014/main" id="{9E99B999-B729-4157-BD22-993E9358B591}"/>
                </a:ext>
              </a:extLst>
            </p:cNvPr>
            <p:cNvSpPr>
              <a:spLocks noEditPoints="1"/>
            </p:cNvSpPr>
            <p:nvPr/>
          </p:nvSpPr>
          <p:spPr bwMode="auto">
            <a:xfrm>
              <a:off x="6595707" y="2888990"/>
              <a:ext cx="26861" cy="7110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24" name="Freeform 27">
              <a:extLst>
                <a:ext uri="{FF2B5EF4-FFF2-40B4-BE49-F238E27FC236}">
                  <a16:creationId xmlns:a16="http://schemas.microsoft.com/office/drawing/2014/main" id="{0BA3C09F-01A0-499D-86F1-AF7FEDE5A60F}"/>
                </a:ext>
              </a:extLst>
            </p:cNvPr>
            <p:cNvSpPr>
              <a:spLocks noEditPoints="1"/>
            </p:cNvSpPr>
            <p:nvPr/>
          </p:nvSpPr>
          <p:spPr bwMode="auto">
            <a:xfrm>
              <a:off x="6642194" y="2888200"/>
              <a:ext cx="48982" cy="72682"/>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25" name="Freeform 28">
              <a:extLst>
                <a:ext uri="{FF2B5EF4-FFF2-40B4-BE49-F238E27FC236}">
                  <a16:creationId xmlns:a16="http://schemas.microsoft.com/office/drawing/2014/main" id="{59FFB2FB-6BAD-45E2-B2D8-CFC55ED43EF8}"/>
                </a:ext>
              </a:extLst>
            </p:cNvPr>
            <p:cNvSpPr>
              <a:spLocks noEditPoints="1"/>
            </p:cNvSpPr>
            <p:nvPr/>
          </p:nvSpPr>
          <p:spPr bwMode="auto">
            <a:xfrm>
              <a:off x="6710802" y="2888990"/>
              <a:ext cx="26861" cy="71102"/>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26" name="Freeform 29">
              <a:extLst>
                <a:ext uri="{FF2B5EF4-FFF2-40B4-BE49-F238E27FC236}">
                  <a16:creationId xmlns:a16="http://schemas.microsoft.com/office/drawing/2014/main" id="{58CA7AAE-DE52-4CCD-9905-058391F41AF3}"/>
                </a:ext>
              </a:extLst>
            </p:cNvPr>
            <p:cNvSpPr>
              <a:spLocks noEditPoints="1"/>
            </p:cNvSpPr>
            <p:nvPr/>
          </p:nvSpPr>
          <p:spPr bwMode="auto">
            <a:xfrm>
              <a:off x="6757289" y="2888200"/>
              <a:ext cx="48982" cy="72682"/>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27" name="Freeform 30">
              <a:extLst>
                <a:ext uri="{FF2B5EF4-FFF2-40B4-BE49-F238E27FC236}">
                  <a16:creationId xmlns:a16="http://schemas.microsoft.com/office/drawing/2014/main" id="{0C108CFF-9C43-493A-AFBF-58C766A3321C}"/>
                </a:ext>
              </a:extLst>
            </p:cNvPr>
            <p:cNvSpPr>
              <a:spLocks noEditPoints="1"/>
            </p:cNvSpPr>
            <p:nvPr/>
          </p:nvSpPr>
          <p:spPr bwMode="auto">
            <a:xfrm>
              <a:off x="6825897" y="2888990"/>
              <a:ext cx="25281" cy="71102"/>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28" name="Freeform 35">
              <a:extLst>
                <a:ext uri="{FF2B5EF4-FFF2-40B4-BE49-F238E27FC236}">
                  <a16:creationId xmlns:a16="http://schemas.microsoft.com/office/drawing/2014/main" id="{02820995-1EF4-4900-9295-ED90246E4589}"/>
                </a:ext>
              </a:extLst>
            </p:cNvPr>
            <p:cNvSpPr>
              <a:spLocks noEditPoints="1"/>
            </p:cNvSpPr>
            <p:nvPr/>
          </p:nvSpPr>
          <p:spPr bwMode="auto">
            <a:xfrm>
              <a:off x="6593212" y="3009862"/>
              <a:ext cx="50561" cy="74262"/>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29" name="Freeform 36">
              <a:extLst>
                <a:ext uri="{FF2B5EF4-FFF2-40B4-BE49-F238E27FC236}">
                  <a16:creationId xmlns:a16="http://schemas.microsoft.com/office/drawing/2014/main" id="{09D80DD4-A20C-43E0-AB24-B2773212F2F6}"/>
                </a:ext>
              </a:extLst>
            </p:cNvPr>
            <p:cNvSpPr>
              <a:spLocks noEditPoints="1"/>
            </p:cNvSpPr>
            <p:nvPr/>
          </p:nvSpPr>
          <p:spPr bwMode="auto">
            <a:xfrm>
              <a:off x="6655000" y="3009862"/>
              <a:ext cx="48982" cy="74262"/>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30" name="Freeform 37">
              <a:extLst>
                <a:ext uri="{FF2B5EF4-FFF2-40B4-BE49-F238E27FC236}">
                  <a16:creationId xmlns:a16="http://schemas.microsoft.com/office/drawing/2014/main" id="{F63113AD-7A4F-45B2-A42E-0E8D38A81E3E}"/>
                </a:ext>
              </a:extLst>
            </p:cNvPr>
            <p:cNvSpPr>
              <a:spLocks noEditPoints="1"/>
            </p:cNvSpPr>
            <p:nvPr/>
          </p:nvSpPr>
          <p:spPr bwMode="auto">
            <a:xfrm>
              <a:off x="6715209" y="3011442"/>
              <a:ext cx="26861" cy="71102"/>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31" name="Freeform 38">
              <a:extLst>
                <a:ext uri="{FF2B5EF4-FFF2-40B4-BE49-F238E27FC236}">
                  <a16:creationId xmlns:a16="http://schemas.microsoft.com/office/drawing/2014/main" id="{1E344D85-F11D-4C9B-9FAF-9546759D9E16}"/>
                </a:ext>
              </a:extLst>
            </p:cNvPr>
            <p:cNvSpPr>
              <a:spLocks noEditPoints="1"/>
            </p:cNvSpPr>
            <p:nvPr/>
          </p:nvSpPr>
          <p:spPr bwMode="auto">
            <a:xfrm>
              <a:off x="6753297" y="3009862"/>
              <a:ext cx="48982" cy="74262"/>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32" name="Freeform 39">
              <a:extLst>
                <a:ext uri="{FF2B5EF4-FFF2-40B4-BE49-F238E27FC236}">
                  <a16:creationId xmlns:a16="http://schemas.microsoft.com/office/drawing/2014/main" id="{A8EEE58D-775D-45D7-A988-0144025F4741}"/>
                </a:ext>
              </a:extLst>
            </p:cNvPr>
            <p:cNvSpPr>
              <a:spLocks noEditPoints="1"/>
            </p:cNvSpPr>
            <p:nvPr/>
          </p:nvSpPr>
          <p:spPr bwMode="auto">
            <a:xfrm>
              <a:off x="6813506" y="3009862"/>
              <a:ext cx="48982" cy="74262"/>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33" name="Freeform 42">
              <a:extLst>
                <a:ext uri="{FF2B5EF4-FFF2-40B4-BE49-F238E27FC236}">
                  <a16:creationId xmlns:a16="http://schemas.microsoft.com/office/drawing/2014/main" id="{4E9ED5F9-7250-46DD-9FCA-DD183881A975}"/>
                </a:ext>
              </a:extLst>
            </p:cNvPr>
            <p:cNvSpPr>
              <a:spLocks noEditPoints="1"/>
            </p:cNvSpPr>
            <p:nvPr/>
          </p:nvSpPr>
          <p:spPr bwMode="auto">
            <a:xfrm>
              <a:off x="6593541" y="3133105"/>
              <a:ext cx="50561" cy="72682"/>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34" name="Freeform 43">
              <a:extLst>
                <a:ext uri="{FF2B5EF4-FFF2-40B4-BE49-F238E27FC236}">
                  <a16:creationId xmlns:a16="http://schemas.microsoft.com/office/drawing/2014/main" id="{94FFE399-F04D-4120-A5FE-087E25D45C24}"/>
                </a:ext>
              </a:extLst>
            </p:cNvPr>
            <p:cNvSpPr>
              <a:spLocks noEditPoints="1"/>
            </p:cNvSpPr>
            <p:nvPr/>
          </p:nvSpPr>
          <p:spPr bwMode="auto">
            <a:xfrm>
              <a:off x="6659819" y="3133105"/>
              <a:ext cx="48982" cy="72682"/>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35" name="Freeform 44">
              <a:extLst>
                <a:ext uri="{FF2B5EF4-FFF2-40B4-BE49-F238E27FC236}">
                  <a16:creationId xmlns:a16="http://schemas.microsoft.com/office/drawing/2014/main" id="{B375B192-B65A-4F4F-A44B-EB0FE7B1795F}"/>
                </a:ext>
              </a:extLst>
            </p:cNvPr>
            <p:cNvSpPr>
              <a:spLocks noEditPoints="1"/>
            </p:cNvSpPr>
            <p:nvPr/>
          </p:nvSpPr>
          <p:spPr bwMode="auto">
            <a:xfrm>
              <a:off x="6724518" y="3133895"/>
              <a:ext cx="26861" cy="71102"/>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36" name="Freeform 45">
              <a:extLst>
                <a:ext uri="{FF2B5EF4-FFF2-40B4-BE49-F238E27FC236}">
                  <a16:creationId xmlns:a16="http://schemas.microsoft.com/office/drawing/2014/main" id="{E8CA7DA5-7355-4566-8368-16B719D67E09}"/>
                </a:ext>
              </a:extLst>
            </p:cNvPr>
            <p:cNvSpPr>
              <a:spLocks noEditPoints="1"/>
            </p:cNvSpPr>
            <p:nvPr/>
          </p:nvSpPr>
          <p:spPr bwMode="auto">
            <a:xfrm>
              <a:off x="6767096" y="3133895"/>
              <a:ext cx="26861" cy="71102"/>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37" name="Freeform 46">
              <a:extLst>
                <a:ext uri="{FF2B5EF4-FFF2-40B4-BE49-F238E27FC236}">
                  <a16:creationId xmlns:a16="http://schemas.microsoft.com/office/drawing/2014/main" id="{5B8D2B52-E95E-4789-BF98-6F86361F4D2E}"/>
                </a:ext>
              </a:extLst>
            </p:cNvPr>
            <p:cNvSpPr>
              <a:spLocks noEditPoints="1"/>
            </p:cNvSpPr>
            <p:nvPr/>
          </p:nvSpPr>
          <p:spPr bwMode="auto">
            <a:xfrm>
              <a:off x="6809674" y="3133105"/>
              <a:ext cx="48982" cy="72682"/>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38" name="Freeform 52">
              <a:extLst>
                <a:ext uri="{FF2B5EF4-FFF2-40B4-BE49-F238E27FC236}">
                  <a16:creationId xmlns:a16="http://schemas.microsoft.com/office/drawing/2014/main" id="{B2137B15-34E0-4558-9778-35157283BCCE}"/>
                </a:ext>
              </a:extLst>
            </p:cNvPr>
            <p:cNvSpPr>
              <a:spLocks noEditPoints="1"/>
            </p:cNvSpPr>
            <p:nvPr/>
          </p:nvSpPr>
          <p:spPr bwMode="auto">
            <a:xfrm>
              <a:off x="6594871" y="3256347"/>
              <a:ext cx="50561" cy="72682"/>
            </a:xfrm>
            <a:custGeom>
              <a:avLst/>
              <a:gdLst>
                <a:gd name="T0" fmla="*/ 27 w 54"/>
                <a:gd name="T1" fmla="*/ 81 h 81"/>
                <a:gd name="T2" fmla="*/ 54 w 54"/>
                <a:gd name="T3" fmla="*/ 40 h 81"/>
                <a:gd name="T4" fmla="*/ 28 w 54"/>
                <a:gd name="T5" fmla="*/ 0 h 81"/>
                <a:gd name="T6" fmla="*/ 0 w 54"/>
                <a:gd name="T7" fmla="*/ 41 h 81"/>
                <a:gd name="T8" fmla="*/ 27 w 54"/>
                <a:gd name="T9" fmla="*/ 81 h 81"/>
                <a:gd name="T10" fmla="*/ 27 w 54"/>
                <a:gd name="T11" fmla="*/ 13 h 81"/>
                <a:gd name="T12" fmla="*/ 40 w 54"/>
                <a:gd name="T13" fmla="*/ 40 h 81"/>
                <a:gd name="T14" fmla="*/ 27 w 54"/>
                <a:gd name="T15" fmla="*/ 68 h 81"/>
                <a:gd name="T16" fmla="*/ 15 w 54"/>
                <a:gd name="T17" fmla="*/ 41 h 81"/>
                <a:gd name="T18" fmla="*/ 27 w 54"/>
                <a:gd name="T19" fmla="*/ 13 h 81"/>
                <a:gd name="T20" fmla="*/ 27 w 54"/>
                <a:gd name="T21" fmla="*/ 13 h 81"/>
                <a:gd name="T22" fmla="*/ 27 w 54"/>
                <a:gd name="T23" fmla="*/ 1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7" y="81"/>
                  </a:moveTo>
                  <a:cubicBezTo>
                    <a:pt x="44" y="81"/>
                    <a:pt x="54" y="66"/>
                    <a:pt x="54" y="40"/>
                  </a:cubicBezTo>
                  <a:cubicBezTo>
                    <a:pt x="54" y="15"/>
                    <a:pt x="45" y="0"/>
                    <a:pt x="28" y="0"/>
                  </a:cubicBezTo>
                  <a:cubicBezTo>
                    <a:pt x="11" y="0"/>
                    <a:pt x="0" y="16"/>
                    <a:pt x="0" y="41"/>
                  </a:cubicBezTo>
                  <a:cubicBezTo>
                    <a:pt x="0" y="65"/>
                    <a:pt x="11" y="81"/>
                    <a:pt x="27" y="81"/>
                  </a:cubicBezTo>
                  <a:close/>
                  <a:moveTo>
                    <a:pt x="27" y="13"/>
                  </a:moveTo>
                  <a:cubicBezTo>
                    <a:pt x="38" y="13"/>
                    <a:pt x="40" y="30"/>
                    <a:pt x="40" y="40"/>
                  </a:cubicBezTo>
                  <a:cubicBezTo>
                    <a:pt x="40" y="51"/>
                    <a:pt x="38" y="68"/>
                    <a:pt x="27" y="68"/>
                  </a:cubicBezTo>
                  <a:cubicBezTo>
                    <a:pt x="20" y="68"/>
                    <a:pt x="15" y="58"/>
                    <a:pt x="15" y="41"/>
                  </a:cubicBezTo>
                  <a:cubicBezTo>
                    <a:pt x="15" y="24"/>
                    <a:pt x="20" y="13"/>
                    <a:pt x="27" y="13"/>
                  </a:cubicBezTo>
                  <a:close/>
                  <a:moveTo>
                    <a:pt x="27" y="13"/>
                  </a:moveTo>
                  <a:cubicBezTo>
                    <a:pt x="27" y="13"/>
                    <a:pt x="27" y="13"/>
                    <a:pt x="27" y="13"/>
                  </a:cubicBezTo>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39" name="Freeform 53">
              <a:extLst>
                <a:ext uri="{FF2B5EF4-FFF2-40B4-BE49-F238E27FC236}">
                  <a16:creationId xmlns:a16="http://schemas.microsoft.com/office/drawing/2014/main" id="{A2AC3DAD-29DC-459D-9646-56E435BD8A04}"/>
                </a:ext>
              </a:extLst>
            </p:cNvPr>
            <p:cNvSpPr>
              <a:spLocks noEditPoints="1"/>
            </p:cNvSpPr>
            <p:nvPr/>
          </p:nvSpPr>
          <p:spPr bwMode="auto">
            <a:xfrm>
              <a:off x="6656991" y="3256347"/>
              <a:ext cx="48982" cy="72682"/>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40" name="Freeform 54">
              <a:extLst>
                <a:ext uri="{FF2B5EF4-FFF2-40B4-BE49-F238E27FC236}">
                  <a16:creationId xmlns:a16="http://schemas.microsoft.com/office/drawing/2014/main" id="{E89014D0-D8A9-4A83-9694-EB2E5AC21EF1}"/>
                </a:ext>
              </a:extLst>
            </p:cNvPr>
            <p:cNvSpPr>
              <a:spLocks noEditPoints="1"/>
            </p:cNvSpPr>
            <p:nvPr/>
          </p:nvSpPr>
          <p:spPr bwMode="auto">
            <a:xfrm>
              <a:off x="6717532" y="3256347"/>
              <a:ext cx="48982" cy="72682"/>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41" name="Freeform 55">
              <a:extLst>
                <a:ext uri="{FF2B5EF4-FFF2-40B4-BE49-F238E27FC236}">
                  <a16:creationId xmlns:a16="http://schemas.microsoft.com/office/drawing/2014/main" id="{BBCBBC68-B870-4B96-8F3F-EC093394C6AE}"/>
                </a:ext>
              </a:extLst>
            </p:cNvPr>
            <p:cNvSpPr>
              <a:spLocks noEditPoints="1"/>
            </p:cNvSpPr>
            <p:nvPr/>
          </p:nvSpPr>
          <p:spPr bwMode="auto">
            <a:xfrm>
              <a:off x="6778073" y="3257927"/>
              <a:ext cx="25281" cy="69522"/>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42" name="Freeform 56">
              <a:extLst>
                <a:ext uri="{FF2B5EF4-FFF2-40B4-BE49-F238E27FC236}">
                  <a16:creationId xmlns:a16="http://schemas.microsoft.com/office/drawing/2014/main" id="{26B7CBF9-EF5D-433B-99DA-1ACA355A3C42}"/>
                </a:ext>
              </a:extLst>
            </p:cNvPr>
            <p:cNvSpPr>
              <a:spLocks noEditPoints="1"/>
            </p:cNvSpPr>
            <p:nvPr/>
          </p:nvSpPr>
          <p:spPr bwMode="auto">
            <a:xfrm>
              <a:off x="6814913" y="3256347"/>
              <a:ext cx="50561" cy="72682"/>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44" name="Freeform 16">
              <a:extLst>
                <a:ext uri="{FF2B5EF4-FFF2-40B4-BE49-F238E27FC236}">
                  <a16:creationId xmlns:a16="http://schemas.microsoft.com/office/drawing/2014/main" id="{81BF2C47-161B-4F65-92D6-CF3DCBC78FAB}"/>
                </a:ext>
              </a:extLst>
            </p:cNvPr>
            <p:cNvSpPr>
              <a:spLocks noEditPoints="1"/>
            </p:cNvSpPr>
            <p:nvPr/>
          </p:nvSpPr>
          <p:spPr bwMode="auto">
            <a:xfrm>
              <a:off x="6866063" y="2764957"/>
              <a:ext cx="50561" cy="74262"/>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5"/>
                    <a:pt x="45" y="0"/>
                    <a:pt x="28" y="0"/>
                  </a:cubicBezTo>
                  <a:close/>
                  <a:moveTo>
                    <a:pt x="27" y="68"/>
                  </a:moveTo>
                  <a:cubicBezTo>
                    <a:pt x="20"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45" name="Freeform 17">
              <a:extLst>
                <a:ext uri="{FF2B5EF4-FFF2-40B4-BE49-F238E27FC236}">
                  <a16:creationId xmlns:a16="http://schemas.microsoft.com/office/drawing/2014/main" id="{0A968BC9-9063-4D79-959A-46C55AF16B5A}"/>
                </a:ext>
              </a:extLst>
            </p:cNvPr>
            <p:cNvSpPr>
              <a:spLocks noEditPoints="1"/>
            </p:cNvSpPr>
            <p:nvPr/>
          </p:nvSpPr>
          <p:spPr bwMode="auto">
            <a:xfrm>
              <a:off x="6931510" y="2766537"/>
              <a:ext cx="26861" cy="71102"/>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46" name="Freeform 18">
              <a:extLst>
                <a:ext uri="{FF2B5EF4-FFF2-40B4-BE49-F238E27FC236}">
                  <a16:creationId xmlns:a16="http://schemas.microsoft.com/office/drawing/2014/main" id="{010412AB-7CDB-43BB-BF1E-1E7A8BF885A4}"/>
                </a:ext>
              </a:extLst>
            </p:cNvPr>
            <p:cNvSpPr>
              <a:spLocks noEditPoints="1"/>
            </p:cNvSpPr>
            <p:nvPr/>
          </p:nvSpPr>
          <p:spPr bwMode="auto">
            <a:xfrm>
              <a:off x="6973257" y="2764957"/>
              <a:ext cx="48982" cy="74262"/>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47" name="Freeform 19">
              <a:extLst>
                <a:ext uri="{FF2B5EF4-FFF2-40B4-BE49-F238E27FC236}">
                  <a16:creationId xmlns:a16="http://schemas.microsoft.com/office/drawing/2014/main" id="{26C5BEAF-E3DC-4D44-9154-AB3580B8F18B}"/>
                </a:ext>
              </a:extLst>
            </p:cNvPr>
            <p:cNvSpPr>
              <a:spLocks noEditPoints="1"/>
            </p:cNvSpPr>
            <p:nvPr/>
          </p:nvSpPr>
          <p:spPr bwMode="auto">
            <a:xfrm>
              <a:off x="7037125" y="2764957"/>
              <a:ext cx="48982" cy="74262"/>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48" name="Freeform 20">
              <a:extLst>
                <a:ext uri="{FF2B5EF4-FFF2-40B4-BE49-F238E27FC236}">
                  <a16:creationId xmlns:a16="http://schemas.microsoft.com/office/drawing/2014/main" id="{C1F0676D-D05C-4252-ADF3-1C5F076BCCB2}"/>
                </a:ext>
              </a:extLst>
            </p:cNvPr>
            <p:cNvSpPr>
              <a:spLocks noEditPoints="1"/>
            </p:cNvSpPr>
            <p:nvPr/>
          </p:nvSpPr>
          <p:spPr bwMode="auto">
            <a:xfrm>
              <a:off x="7100993" y="2766537"/>
              <a:ext cx="26861" cy="71102"/>
            </a:xfrm>
            <a:custGeom>
              <a:avLst/>
              <a:gdLst>
                <a:gd name="T0" fmla="*/ 2 w 29"/>
                <a:gd name="T1" fmla="*/ 19 h 78"/>
                <a:gd name="T2" fmla="*/ 4 w 29"/>
                <a:gd name="T3" fmla="*/ 21 h 78"/>
                <a:gd name="T4" fmla="*/ 6 w 29"/>
                <a:gd name="T5" fmla="*/ 21 h 78"/>
                <a:gd name="T6" fmla="*/ 15 w 29"/>
                <a:gd name="T7" fmla="*/ 16 h 78"/>
                <a:gd name="T8" fmla="*/ 15 w 29"/>
                <a:gd name="T9" fmla="*/ 76 h 78"/>
                <a:gd name="T10" fmla="*/ 17 w 29"/>
                <a:gd name="T11" fmla="*/ 78 h 78"/>
                <a:gd name="T12" fmla="*/ 27 w 29"/>
                <a:gd name="T13" fmla="*/ 78 h 78"/>
                <a:gd name="T14" fmla="*/ 29 w 29"/>
                <a:gd name="T15" fmla="*/ 76 h 78"/>
                <a:gd name="T16" fmla="*/ 29 w 29"/>
                <a:gd name="T17" fmla="*/ 3 h 78"/>
                <a:gd name="T18" fmla="*/ 27 w 29"/>
                <a:gd name="T19" fmla="*/ 0 h 78"/>
                <a:gd name="T20" fmla="*/ 19 w 29"/>
                <a:gd name="T21" fmla="*/ 0 h 78"/>
                <a:gd name="T22" fmla="*/ 17 w 29"/>
                <a:gd name="T23" fmla="*/ 1 h 78"/>
                <a:gd name="T24" fmla="*/ 1 w 29"/>
                <a:gd name="T25" fmla="*/ 9 h 78"/>
                <a:gd name="T26" fmla="*/ 0 w 29"/>
                <a:gd name="T27" fmla="*/ 12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1"/>
                    <a:pt x="4" y="21"/>
                  </a:cubicBezTo>
                  <a:cubicBezTo>
                    <a:pt x="4" y="21"/>
                    <a:pt x="5" y="21"/>
                    <a:pt x="6"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1"/>
                    <a:pt x="28" y="0"/>
                    <a:pt x="27" y="0"/>
                  </a:cubicBezTo>
                  <a:cubicBezTo>
                    <a:pt x="19" y="0"/>
                    <a:pt x="19" y="0"/>
                    <a:pt x="19" y="0"/>
                  </a:cubicBezTo>
                  <a:cubicBezTo>
                    <a:pt x="18" y="0"/>
                    <a:pt x="18" y="0"/>
                    <a:pt x="17" y="1"/>
                  </a:cubicBezTo>
                  <a:cubicBezTo>
                    <a:pt x="1" y="9"/>
                    <a:pt x="1" y="9"/>
                    <a:pt x="1"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49" name="Freeform 26">
              <a:extLst>
                <a:ext uri="{FF2B5EF4-FFF2-40B4-BE49-F238E27FC236}">
                  <a16:creationId xmlns:a16="http://schemas.microsoft.com/office/drawing/2014/main" id="{8E9D3C19-45D1-4AC3-8666-B61E334722AA}"/>
                </a:ext>
              </a:extLst>
            </p:cNvPr>
            <p:cNvSpPr>
              <a:spLocks noEditPoints="1"/>
            </p:cNvSpPr>
            <p:nvPr/>
          </p:nvSpPr>
          <p:spPr bwMode="auto">
            <a:xfrm>
              <a:off x="6870804" y="2888990"/>
              <a:ext cx="26861" cy="7110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50" name="Freeform 27">
              <a:extLst>
                <a:ext uri="{FF2B5EF4-FFF2-40B4-BE49-F238E27FC236}">
                  <a16:creationId xmlns:a16="http://schemas.microsoft.com/office/drawing/2014/main" id="{EF0FF1FF-1213-4164-BA8C-307CA4ED1001}"/>
                </a:ext>
              </a:extLst>
            </p:cNvPr>
            <p:cNvSpPr>
              <a:spLocks noEditPoints="1"/>
            </p:cNvSpPr>
            <p:nvPr/>
          </p:nvSpPr>
          <p:spPr bwMode="auto">
            <a:xfrm>
              <a:off x="6917291" y="2888200"/>
              <a:ext cx="48982" cy="72682"/>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51" name="Freeform 28">
              <a:extLst>
                <a:ext uri="{FF2B5EF4-FFF2-40B4-BE49-F238E27FC236}">
                  <a16:creationId xmlns:a16="http://schemas.microsoft.com/office/drawing/2014/main" id="{2CD67ABC-B480-47D9-B0B7-51105E2F75AE}"/>
                </a:ext>
              </a:extLst>
            </p:cNvPr>
            <p:cNvSpPr>
              <a:spLocks noEditPoints="1"/>
            </p:cNvSpPr>
            <p:nvPr/>
          </p:nvSpPr>
          <p:spPr bwMode="auto">
            <a:xfrm>
              <a:off x="6985899" y="2888990"/>
              <a:ext cx="26861" cy="71102"/>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52" name="Freeform 29">
              <a:extLst>
                <a:ext uri="{FF2B5EF4-FFF2-40B4-BE49-F238E27FC236}">
                  <a16:creationId xmlns:a16="http://schemas.microsoft.com/office/drawing/2014/main" id="{DEDD66A2-1390-4365-AB9E-7D9A12046F0F}"/>
                </a:ext>
              </a:extLst>
            </p:cNvPr>
            <p:cNvSpPr>
              <a:spLocks noEditPoints="1"/>
            </p:cNvSpPr>
            <p:nvPr/>
          </p:nvSpPr>
          <p:spPr bwMode="auto">
            <a:xfrm>
              <a:off x="7032386" y="2888200"/>
              <a:ext cx="48982" cy="72682"/>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53" name="Freeform 30">
              <a:extLst>
                <a:ext uri="{FF2B5EF4-FFF2-40B4-BE49-F238E27FC236}">
                  <a16:creationId xmlns:a16="http://schemas.microsoft.com/office/drawing/2014/main" id="{3A632F75-EDC1-4EFC-BA2A-80E7ABA2B858}"/>
                </a:ext>
              </a:extLst>
            </p:cNvPr>
            <p:cNvSpPr>
              <a:spLocks noEditPoints="1"/>
            </p:cNvSpPr>
            <p:nvPr/>
          </p:nvSpPr>
          <p:spPr bwMode="auto">
            <a:xfrm>
              <a:off x="7100994" y="2888990"/>
              <a:ext cx="25281" cy="71102"/>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54" name="Freeform 35">
              <a:extLst>
                <a:ext uri="{FF2B5EF4-FFF2-40B4-BE49-F238E27FC236}">
                  <a16:creationId xmlns:a16="http://schemas.microsoft.com/office/drawing/2014/main" id="{2E4F53C5-FFBE-4A25-9ED5-62FDBFD773CE}"/>
                </a:ext>
              </a:extLst>
            </p:cNvPr>
            <p:cNvSpPr>
              <a:spLocks noEditPoints="1"/>
            </p:cNvSpPr>
            <p:nvPr/>
          </p:nvSpPr>
          <p:spPr bwMode="auto">
            <a:xfrm>
              <a:off x="6873715" y="3009862"/>
              <a:ext cx="50561" cy="74262"/>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55" name="Freeform 36">
              <a:extLst>
                <a:ext uri="{FF2B5EF4-FFF2-40B4-BE49-F238E27FC236}">
                  <a16:creationId xmlns:a16="http://schemas.microsoft.com/office/drawing/2014/main" id="{043A490C-6E30-4A2B-84DE-561C90EB27E3}"/>
                </a:ext>
              </a:extLst>
            </p:cNvPr>
            <p:cNvSpPr>
              <a:spLocks noEditPoints="1"/>
            </p:cNvSpPr>
            <p:nvPr/>
          </p:nvSpPr>
          <p:spPr bwMode="auto">
            <a:xfrm>
              <a:off x="6935503" y="3009862"/>
              <a:ext cx="48982" cy="74262"/>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56" name="Freeform 37">
              <a:extLst>
                <a:ext uri="{FF2B5EF4-FFF2-40B4-BE49-F238E27FC236}">
                  <a16:creationId xmlns:a16="http://schemas.microsoft.com/office/drawing/2014/main" id="{BB79F4E3-47EA-4552-9ABD-1E7455A3B5AD}"/>
                </a:ext>
              </a:extLst>
            </p:cNvPr>
            <p:cNvSpPr>
              <a:spLocks noEditPoints="1"/>
            </p:cNvSpPr>
            <p:nvPr/>
          </p:nvSpPr>
          <p:spPr bwMode="auto">
            <a:xfrm>
              <a:off x="6995712" y="3011442"/>
              <a:ext cx="26861" cy="71102"/>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57" name="Freeform 38">
              <a:extLst>
                <a:ext uri="{FF2B5EF4-FFF2-40B4-BE49-F238E27FC236}">
                  <a16:creationId xmlns:a16="http://schemas.microsoft.com/office/drawing/2014/main" id="{B1D2F100-8207-4777-987D-C9C00340EFEB}"/>
                </a:ext>
              </a:extLst>
            </p:cNvPr>
            <p:cNvSpPr>
              <a:spLocks noEditPoints="1"/>
            </p:cNvSpPr>
            <p:nvPr/>
          </p:nvSpPr>
          <p:spPr bwMode="auto">
            <a:xfrm>
              <a:off x="7033800" y="3009862"/>
              <a:ext cx="48982" cy="74262"/>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58" name="Freeform 39">
              <a:extLst>
                <a:ext uri="{FF2B5EF4-FFF2-40B4-BE49-F238E27FC236}">
                  <a16:creationId xmlns:a16="http://schemas.microsoft.com/office/drawing/2014/main" id="{F839B99B-0C8B-4A37-B6A0-232B16E3EA26}"/>
                </a:ext>
              </a:extLst>
            </p:cNvPr>
            <p:cNvSpPr>
              <a:spLocks noEditPoints="1"/>
            </p:cNvSpPr>
            <p:nvPr/>
          </p:nvSpPr>
          <p:spPr bwMode="auto">
            <a:xfrm>
              <a:off x="7094009" y="3009862"/>
              <a:ext cx="48982" cy="74262"/>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59" name="Freeform 42">
              <a:extLst>
                <a:ext uri="{FF2B5EF4-FFF2-40B4-BE49-F238E27FC236}">
                  <a16:creationId xmlns:a16="http://schemas.microsoft.com/office/drawing/2014/main" id="{EE18A804-543E-43B6-AEB9-7BA2A4F89DAC}"/>
                </a:ext>
              </a:extLst>
            </p:cNvPr>
            <p:cNvSpPr>
              <a:spLocks noEditPoints="1"/>
            </p:cNvSpPr>
            <p:nvPr/>
          </p:nvSpPr>
          <p:spPr bwMode="auto">
            <a:xfrm>
              <a:off x="6874373" y="3133105"/>
              <a:ext cx="50561" cy="72682"/>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60" name="Freeform 43">
              <a:extLst>
                <a:ext uri="{FF2B5EF4-FFF2-40B4-BE49-F238E27FC236}">
                  <a16:creationId xmlns:a16="http://schemas.microsoft.com/office/drawing/2014/main" id="{9CA4502C-91DD-4690-8FDB-B89E1B91C34B}"/>
                </a:ext>
              </a:extLst>
            </p:cNvPr>
            <p:cNvSpPr>
              <a:spLocks noEditPoints="1"/>
            </p:cNvSpPr>
            <p:nvPr/>
          </p:nvSpPr>
          <p:spPr bwMode="auto">
            <a:xfrm>
              <a:off x="6940651" y="3133105"/>
              <a:ext cx="48982" cy="72682"/>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61" name="Freeform 44">
              <a:extLst>
                <a:ext uri="{FF2B5EF4-FFF2-40B4-BE49-F238E27FC236}">
                  <a16:creationId xmlns:a16="http://schemas.microsoft.com/office/drawing/2014/main" id="{717CF31A-22EE-4AAF-A366-CC4BC49D8089}"/>
                </a:ext>
              </a:extLst>
            </p:cNvPr>
            <p:cNvSpPr>
              <a:spLocks noEditPoints="1"/>
            </p:cNvSpPr>
            <p:nvPr/>
          </p:nvSpPr>
          <p:spPr bwMode="auto">
            <a:xfrm>
              <a:off x="7005350" y="3133895"/>
              <a:ext cx="26861" cy="71102"/>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62" name="Freeform 45">
              <a:extLst>
                <a:ext uri="{FF2B5EF4-FFF2-40B4-BE49-F238E27FC236}">
                  <a16:creationId xmlns:a16="http://schemas.microsoft.com/office/drawing/2014/main" id="{FEDB3FAB-0C83-43E9-9EEB-A24881183764}"/>
                </a:ext>
              </a:extLst>
            </p:cNvPr>
            <p:cNvSpPr>
              <a:spLocks noEditPoints="1"/>
            </p:cNvSpPr>
            <p:nvPr/>
          </p:nvSpPr>
          <p:spPr bwMode="auto">
            <a:xfrm>
              <a:off x="7047928" y="3133895"/>
              <a:ext cx="26861" cy="71102"/>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63" name="Freeform 46">
              <a:extLst>
                <a:ext uri="{FF2B5EF4-FFF2-40B4-BE49-F238E27FC236}">
                  <a16:creationId xmlns:a16="http://schemas.microsoft.com/office/drawing/2014/main" id="{855FF4CE-2C61-4D96-B508-BE6E0C168869}"/>
                </a:ext>
              </a:extLst>
            </p:cNvPr>
            <p:cNvSpPr>
              <a:spLocks noEditPoints="1"/>
            </p:cNvSpPr>
            <p:nvPr/>
          </p:nvSpPr>
          <p:spPr bwMode="auto">
            <a:xfrm>
              <a:off x="7090506" y="3133105"/>
              <a:ext cx="48982" cy="72682"/>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64" name="Freeform 52">
              <a:extLst>
                <a:ext uri="{FF2B5EF4-FFF2-40B4-BE49-F238E27FC236}">
                  <a16:creationId xmlns:a16="http://schemas.microsoft.com/office/drawing/2014/main" id="{AFC015CF-AB8B-4C95-9513-492E0ACF3E6C}"/>
                </a:ext>
              </a:extLst>
            </p:cNvPr>
            <p:cNvSpPr>
              <a:spLocks noEditPoints="1"/>
            </p:cNvSpPr>
            <p:nvPr/>
          </p:nvSpPr>
          <p:spPr bwMode="auto">
            <a:xfrm>
              <a:off x="6877033" y="3256347"/>
              <a:ext cx="50561" cy="72682"/>
            </a:xfrm>
            <a:custGeom>
              <a:avLst/>
              <a:gdLst>
                <a:gd name="T0" fmla="*/ 27 w 54"/>
                <a:gd name="T1" fmla="*/ 81 h 81"/>
                <a:gd name="T2" fmla="*/ 54 w 54"/>
                <a:gd name="T3" fmla="*/ 40 h 81"/>
                <a:gd name="T4" fmla="*/ 28 w 54"/>
                <a:gd name="T5" fmla="*/ 0 h 81"/>
                <a:gd name="T6" fmla="*/ 0 w 54"/>
                <a:gd name="T7" fmla="*/ 41 h 81"/>
                <a:gd name="T8" fmla="*/ 27 w 54"/>
                <a:gd name="T9" fmla="*/ 81 h 81"/>
                <a:gd name="T10" fmla="*/ 27 w 54"/>
                <a:gd name="T11" fmla="*/ 13 h 81"/>
                <a:gd name="T12" fmla="*/ 40 w 54"/>
                <a:gd name="T13" fmla="*/ 40 h 81"/>
                <a:gd name="T14" fmla="*/ 27 w 54"/>
                <a:gd name="T15" fmla="*/ 68 h 81"/>
                <a:gd name="T16" fmla="*/ 15 w 54"/>
                <a:gd name="T17" fmla="*/ 41 h 81"/>
                <a:gd name="T18" fmla="*/ 27 w 54"/>
                <a:gd name="T19" fmla="*/ 13 h 81"/>
                <a:gd name="T20" fmla="*/ 27 w 54"/>
                <a:gd name="T21" fmla="*/ 13 h 81"/>
                <a:gd name="T22" fmla="*/ 27 w 54"/>
                <a:gd name="T23" fmla="*/ 1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7" y="81"/>
                  </a:moveTo>
                  <a:cubicBezTo>
                    <a:pt x="44" y="81"/>
                    <a:pt x="54" y="66"/>
                    <a:pt x="54" y="40"/>
                  </a:cubicBezTo>
                  <a:cubicBezTo>
                    <a:pt x="54" y="15"/>
                    <a:pt x="45" y="0"/>
                    <a:pt x="28" y="0"/>
                  </a:cubicBezTo>
                  <a:cubicBezTo>
                    <a:pt x="11" y="0"/>
                    <a:pt x="0" y="16"/>
                    <a:pt x="0" y="41"/>
                  </a:cubicBezTo>
                  <a:cubicBezTo>
                    <a:pt x="0" y="65"/>
                    <a:pt x="11" y="81"/>
                    <a:pt x="27" y="81"/>
                  </a:cubicBezTo>
                  <a:close/>
                  <a:moveTo>
                    <a:pt x="27" y="13"/>
                  </a:moveTo>
                  <a:cubicBezTo>
                    <a:pt x="38" y="13"/>
                    <a:pt x="40" y="30"/>
                    <a:pt x="40" y="40"/>
                  </a:cubicBezTo>
                  <a:cubicBezTo>
                    <a:pt x="40" y="51"/>
                    <a:pt x="38" y="68"/>
                    <a:pt x="27" y="68"/>
                  </a:cubicBezTo>
                  <a:cubicBezTo>
                    <a:pt x="20" y="68"/>
                    <a:pt x="15" y="58"/>
                    <a:pt x="15" y="41"/>
                  </a:cubicBezTo>
                  <a:cubicBezTo>
                    <a:pt x="15" y="24"/>
                    <a:pt x="20" y="13"/>
                    <a:pt x="27" y="13"/>
                  </a:cubicBezTo>
                  <a:close/>
                  <a:moveTo>
                    <a:pt x="27" y="13"/>
                  </a:moveTo>
                  <a:cubicBezTo>
                    <a:pt x="27" y="13"/>
                    <a:pt x="27" y="13"/>
                    <a:pt x="27" y="13"/>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65" name="Freeform 53">
              <a:extLst>
                <a:ext uri="{FF2B5EF4-FFF2-40B4-BE49-F238E27FC236}">
                  <a16:creationId xmlns:a16="http://schemas.microsoft.com/office/drawing/2014/main" id="{9E53C76F-E6E1-450D-9E67-0993183AB1E8}"/>
                </a:ext>
              </a:extLst>
            </p:cNvPr>
            <p:cNvSpPr>
              <a:spLocks noEditPoints="1"/>
            </p:cNvSpPr>
            <p:nvPr/>
          </p:nvSpPr>
          <p:spPr bwMode="auto">
            <a:xfrm>
              <a:off x="6939153" y="3256347"/>
              <a:ext cx="48982" cy="72682"/>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66" name="Freeform 54">
              <a:extLst>
                <a:ext uri="{FF2B5EF4-FFF2-40B4-BE49-F238E27FC236}">
                  <a16:creationId xmlns:a16="http://schemas.microsoft.com/office/drawing/2014/main" id="{E1ECEB02-42B0-4F04-9D8E-90B251055CB1}"/>
                </a:ext>
              </a:extLst>
            </p:cNvPr>
            <p:cNvSpPr>
              <a:spLocks noEditPoints="1"/>
            </p:cNvSpPr>
            <p:nvPr/>
          </p:nvSpPr>
          <p:spPr bwMode="auto">
            <a:xfrm>
              <a:off x="6999694" y="3256347"/>
              <a:ext cx="48982" cy="72682"/>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67" name="Freeform 55">
              <a:extLst>
                <a:ext uri="{FF2B5EF4-FFF2-40B4-BE49-F238E27FC236}">
                  <a16:creationId xmlns:a16="http://schemas.microsoft.com/office/drawing/2014/main" id="{2DB38C6F-E830-4B61-8BD2-99A97C9ED4ED}"/>
                </a:ext>
              </a:extLst>
            </p:cNvPr>
            <p:cNvSpPr>
              <a:spLocks noEditPoints="1"/>
            </p:cNvSpPr>
            <p:nvPr/>
          </p:nvSpPr>
          <p:spPr bwMode="auto">
            <a:xfrm>
              <a:off x="7060235" y="3257927"/>
              <a:ext cx="25281" cy="69522"/>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68" name="Freeform 56">
              <a:extLst>
                <a:ext uri="{FF2B5EF4-FFF2-40B4-BE49-F238E27FC236}">
                  <a16:creationId xmlns:a16="http://schemas.microsoft.com/office/drawing/2014/main" id="{62DA7FAB-3846-4F7E-B4AE-6DD729CE043E}"/>
                </a:ext>
              </a:extLst>
            </p:cNvPr>
            <p:cNvSpPr>
              <a:spLocks noEditPoints="1"/>
            </p:cNvSpPr>
            <p:nvPr/>
          </p:nvSpPr>
          <p:spPr bwMode="auto">
            <a:xfrm>
              <a:off x="7097075" y="3256347"/>
              <a:ext cx="50561" cy="72682"/>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70" name="Freeform 16">
              <a:extLst>
                <a:ext uri="{FF2B5EF4-FFF2-40B4-BE49-F238E27FC236}">
                  <a16:creationId xmlns:a16="http://schemas.microsoft.com/office/drawing/2014/main" id="{CC2212B4-B17E-4AC8-8ED1-90DA73D12741}"/>
                </a:ext>
              </a:extLst>
            </p:cNvPr>
            <p:cNvSpPr>
              <a:spLocks noEditPoints="1"/>
            </p:cNvSpPr>
            <p:nvPr/>
          </p:nvSpPr>
          <p:spPr bwMode="auto">
            <a:xfrm>
              <a:off x="7142740" y="2764957"/>
              <a:ext cx="50561" cy="74262"/>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5"/>
                    <a:pt x="45" y="0"/>
                    <a:pt x="28" y="0"/>
                  </a:cubicBezTo>
                  <a:close/>
                  <a:moveTo>
                    <a:pt x="27" y="68"/>
                  </a:moveTo>
                  <a:cubicBezTo>
                    <a:pt x="20"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71" name="Freeform 17">
              <a:extLst>
                <a:ext uri="{FF2B5EF4-FFF2-40B4-BE49-F238E27FC236}">
                  <a16:creationId xmlns:a16="http://schemas.microsoft.com/office/drawing/2014/main" id="{C3E41AD7-5B01-4EE4-9F94-3597BC38E25C}"/>
                </a:ext>
              </a:extLst>
            </p:cNvPr>
            <p:cNvSpPr>
              <a:spLocks noEditPoints="1"/>
            </p:cNvSpPr>
            <p:nvPr/>
          </p:nvSpPr>
          <p:spPr bwMode="auto">
            <a:xfrm>
              <a:off x="7208187" y="2766537"/>
              <a:ext cx="26861" cy="71102"/>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72" name="Freeform 18">
              <a:extLst>
                <a:ext uri="{FF2B5EF4-FFF2-40B4-BE49-F238E27FC236}">
                  <a16:creationId xmlns:a16="http://schemas.microsoft.com/office/drawing/2014/main" id="{E20581E1-E21C-4F87-ABA5-9A1D0BEBB882}"/>
                </a:ext>
              </a:extLst>
            </p:cNvPr>
            <p:cNvSpPr>
              <a:spLocks noEditPoints="1"/>
            </p:cNvSpPr>
            <p:nvPr/>
          </p:nvSpPr>
          <p:spPr bwMode="auto">
            <a:xfrm>
              <a:off x="7249934" y="2764957"/>
              <a:ext cx="48982" cy="74262"/>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73" name="Freeform 19">
              <a:extLst>
                <a:ext uri="{FF2B5EF4-FFF2-40B4-BE49-F238E27FC236}">
                  <a16:creationId xmlns:a16="http://schemas.microsoft.com/office/drawing/2014/main" id="{3483D473-D1A0-48AF-B211-AC232F4E4392}"/>
                </a:ext>
              </a:extLst>
            </p:cNvPr>
            <p:cNvSpPr>
              <a:spLocks noEditPoints="1"/>
            </p:cNvSpPr>
            <p:nvPr/>
          </p:nvSpPr>
          <p:spPr bwMode="auto">
            <a:xfrm>
              <a:off x="7313802" y="2764957"/>
              <a:ext cx="48982" cy="74262"/>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74" name="Freeform 20">
              <a:extLst>
                <a:ext uri="{FF2B5EF4-FFF2-40B4-BE49-F238E27FC236}">
                  <a16:creationId xmlns:a16="http://schemas.microsoft.com/office/drawing/2014/main" id="{A3BFE438-CECD-48A5-B424-B505BC96A340}"/>
                </a:ext>
              </a:extLst>
            </p:cNvPr>
            <p:cNvSpPr>
              <a:spLocks noEditPoints="1"/>
            </p:cNvSpPr>
            <p:nvPr/>
          </p:nvSpPr>
          <p:spPr bwMode="auto">
            <a:xfrm>
              <a:off x="7377666" y="2766537"/>
              <a:ext cx="26861" cy="71102"/>
            </a:xfrm>
            <a:custGeom>
              <a:avLst/>
              <a:gdLst>
                <a:gd name="T0" fmla="*/ 2 w 29"/>
                <a:gd name="T1" fmla="*/ 19 h 78"/>
                <a:gd name="T2" fmla="*/ 4 w 29"/>
                <a:gd name="T3" fmla="*/ 21 h 78"/>
                <a:gd name="T4" fmla="*/ 6 w 29"/>
                <a:gd name="T5" fmla="*/ 21 h 78"/>
                <a:gd name="T6" fmla="*/ 15 w 29"/>
                <a:gd name="T7" fmla="*/ 16 h 78"/>
                <a:gd name="T8" fmla="*/ 15 w 29"/>
                <a:gd name="T9" fmla="*/ 76 h 78"/>
                <a:gd name="T10" fmla="*/ 17 w 29"/>
                <a:gd name="T11" fmla="*/ 78 h 78"/>
                <a:gd name="T12" fmla="*/ 27 w 29"/>
                <a:gd name="T13" fmla="*/ 78 h 78"/>
                <a:gd name="T14" fmla="*/ 29 w 29"/>
                <a:gd name="T15" fmla="*/ 76 h 78"/>
                <a:gd name="T16" fmla="*/ 29 w 29"/>
                <a:gd name="T17" fmla="*/ 3 h 78"/>
                <a:gd name="T18" fmla="*/ 27 w 29"/>
                <a:gd name="T19" fmla="*/ 0 h 78"/>
                <a:gd name="T20" fmla="*/ 19 w 29"/>
                <a:gd name="T21" fmla="*/ 0 h 78"/>
                <a:gd name="T22" fmla="*/ 17 w 29"/>
                <a:gd name="T23" fmla="*/ 1 h 78"/>
                <a:gd name="T24" fmla="*/ 1 w 29"/>
                <a:gd name="T25" fmla="*/ 9 h 78"/>
                <a:gd name="T26" fmla="*/ 0 w 29"/>
                <a:gd name="T27" fmla="*/ 12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1"/>
                    <a:pt x="4" y="21"/>
                  </a:cubicBezTo>
                  <a:cubicBezTo>
                    <a:pt x="4" y="21"/>
                    <a:pt x="5" y="21"/>
                    <a:pt x="6"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1"/>
                    <a:pt x="28" y="0"/>
                    <a:pt x="27" y="0"/>
                  </a:cubicBezTo>
                  <a:cubicBezTo>
                    <a:pt x="19" y="0"/>
                    <a:pt x="19" y="0"/>
                    <a:pt x="19" y="0"/>
                  </a:cubicBezTo>
                  <a:cubicBezTo>
                    <a:pt x="18" y="0"/>
                    <a:pt x="18" y="0"/>
                    <a:pt x="17" y="1"/>
                  </a:cubicBezTo>
                  <a:cubicBezTo>
                    <a:pt x="1" y="9"/>
                    <a:pt x="1" y="9"/>
                    <a:pt x="1"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75" name="Freeform 26">
              <a:extLst>
                <a:ext uri="{FF2B5EF4-FFF2-40B4-BE49-F238E27FC236}">
                  <a16:creationId xmlns:a16="http://schemas.microsoft.com/office/drawing/2014/main" id="{41A20F14-B8E7-4DF8-8709-49F0974305F6}"/>
                </a:ext>
              </a:extLst>
            </p:cNvPr>
            <p:cNvSpPr>
              <a:spLocks noEditPoints="1"/>
            </p:cNvSpPr>
            <p:nvPr/>
          </p:nvSpPr>
          <p:spPr bwMode="auto">
            <a:xfrm>
              <a:off x="7145901" y="2888990"/>
              <a:ext cx="26861" cy="7110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76" name="Freeform 27">
              <a:extLst>
                <a:ext uri="{FF2B5EF4-FFF2-40B4-BE49-F238E27FC236}">
                  <a16:creationId xmlns:a16="http://schemas.microsoft.com/office/drawing/2014/main" id="{C2D59882-D60B-44BE-ADC6-383F3819E22D}"/>
                </a:ext>
              </a:extLst>
            </p:cNvPr>
            <p:cNvSpPr>
              <a:spLocks noEditPoints="1"/>
            </p:cNvSpPr>
            <p:nvPr/>
          </p:nvSpPr>
          <p:spPr bwMode="auto">
            <a:xfrm>
              <a:off x="7192388" y="2888200"/>
              <a:ext cx="48982" cy="72682"/>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77" name="Freeform 28">
              <a:extLst>
                <a:ext uri="{FF2B5EF4-FFF2-40B4-BE49-F238E27FC236}">
                  <a16:creationId xmlns:a16="http://schemas.microsoft.com/office/drawing/2014/main" id="{D19BC9F6-AD7B-48DC-AA48-5AEFC680B6C7}"/>
                </a:ext>
              </a:extLst>
            </p:cNvPr>
            <p:cNvSpPr>
              <a:spLocks noEditPoints="1"/>
            </p:cNvSpPr>
            <p:nvPr/>
          </p:nvSpPr>
          <p:spPr bwMode="auto">
            <a:xfrm>
              <a:off x="7260996" y="2888990"/>
              <a:ext cx="26861" cy="71102"/>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78" name="Freeform 29">
              <a:extLst>
                <a:ext uri="{FF2B5EF4-FFF2-40B4-BE49-F238E27FC236}">
                  <a16:creationId xmlns:a16="http://schemas.microsoft.com/office/drawing/2014/main" id="{9E54E105-1090-4DA1-964F-766BAF16D0E6}"/>
                </a:ext>
              </a:extLst>
            </p:cNvPr>
            <p:cNvSpPr>
              <a:spLocks noEditPoints="1"/>
            </p:cNvSpPr>
            <p:nvPr/>
          </p:nvSpPr>
          <p:spPr bwMode="auto">
            <a:xfrm>
              <a:off x="7307483" y="2888200"/>
              <a:ext cx="48982" cy="72682"/>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79" name="Freeform 30">
              <a:extLst>
                <a:ext uri="{FF2B5EF4-FFF2-40B4-BE49-F238E27FC236}">
                  <a16:creationId xmlns:a16="http://schemas.microsoft.com/office/drawing/2014/main" id="{8D835DC0-81B3-4CC4-9D1A-99E22B2462EC}"/>
                </a:ext>
              </a:extLst>
            </p:cNvPr>
            <p:cNvSpPr>
              <a:spLocks noEditPoints="1"/>
            </p:cNvSpPr>
            <p:nvPr/>
          </p:nvSpPr>
          <p:spPr bwMode="auto">
            <a:xfrm>
              <a:off x="7376085" y="2888990"/>
              <a:ext cx="25281" cy="71102"/>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80" name="Freeform 35">
              <a:extLst>
                <a:ext uri="{FF2B5EF4-FFF2-40B4-BE49-F238E27FC236}">
                  <a16:creationId xmlns:a16="http://schemas.microsoft.com/office/drawing/2014/main" id="{5D7DB7C9-06D8-4F7D-A7E0-D8E30EDC8E51}"/>
                </a:ext>
              </a:extLst>
            </p:cNvPr>
            <p:cNvSpPr>
              <a:spLocks noEditPoints="1"/>
            </p:cNvSpPr>
            <p:nvPr/>
          </p:nvSpPr>
          <p:spPr bwMode="auto">
            <a:xfrm>
              <a:off x="7154218" y="3009862"/>
              <a:ext cx="50561" cy="74262"/>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81" name="Freeform 36">
              <a:extLst>
                <a:ext uri="{FF2B5EF4-FFF2-40B4-BE49-F238E27FC236}">
                  <a16:creationId xmlns:a16="http://schemas.microsoft.com/office/drawing/2014/main" id="{5F9C7C13-6651-47E5-9D02-0DEC88BADACE}"/>
                </a:ext>
              </a:extLst>
            </p:cNvPr>
            <p:cNvSpPr>
              <a:spLocks noEditPoints="1"/>
            </p:cNvSpPr>
            <p:nvPr/>
          </p:nvSpPr>
          <p:spPr bwMode="auto">
            <a:xfrm>
              <a:off x="7216006" y="3009862"/>
              <a:ext cx="48982" cy="74262"/>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82" name="Freeform 37">
              <a:extLst>
                <a:ext uri="{FF2B5EF4-FFF2-40B4-BE49-F238E27FC236}">
                  <a16:creationId xmlns:a16="http://schemas.microsoft.com/office/drawing/2014/main" id="{AEDC7F13-4581-4606-9774-47C3D921455A}"/>
                </a:ext>
              </a:extLst>
            </p:cNvPr>
            <p:cNvSpPr>
              <a:spLocks noEditPoints="1"/>
            </p:cNvSpPr>
            <p:nvPr/>
          </p:nvSpPr>
          <p:spPr bwMode="auto">
            <a:xfrm>
              <a:off x="7276215" y="3011442"/>
              <a:ext cx="26861" cy="71102"/>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83" name="Freeform 38">
              <a:extLst>
                <a:ext uri="{FF2B5EF4-FFF2-40B4-BE49-F238E27FC236}">
                  <a16:creationId xmlns:a16="http://schemas.microsoft.com/office/drawing/2014/main" id="{7971660B-1E8B-4874-AC1B-0E08527AEDB6}"/>
                </a:ext>
              </a:extLst>
            </p:cNvPr>
            <p:cNvSpPr>
              <a:spLocks noEditPoints="1"/>
            </p:cNvSpPr>
            <p:nvPr/>
          </p:nvSpPr>
          <p:spPr bwMode="auto">
            <a:xfrm>
              <a:off x="7314303" y="3009862"/>
              <a:ext cx="48982" cy="74262"/>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84" name="Freeform 39">
              <a:extLst>
                <a:ext uri="{FF2B5EF4-FFF2-40B4-BE49-F238E27FC236}">
                  <a16:creationId xmlns:a16="http://schemas.microsoft.com/office/drawing/2014/main" id="{AA99BC1A-8C32-4C41-A33D-617A99869B11}"/>
                </a:ext>
              </a:extLst>
            </p:cNvPr>
            <p:cNvSpPr>
              <a:spLocks noEditPoints="1"/>
            </p:cNvSpPr>
            <p:nvPr/>
          </p:nvSpPr>
          <p:spPr bwMode="auto">
            <a:xfrm>
              <a:off x="7374505" y="3009862"/>
              <a:ext cx="48982" cy="74262"/>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85" name="Freeform 42">
              <a:extLst>
                <a:ext uri="{FF2B5EF4-FFF2-40B4-BE49-F238E27FC236}">
                  <a16:creationId xmlns:a16="http://schemas.microsoft.com/office/drawing/2014/main" id="{5DCEC2CD-100D-4013-AA56-547A98928BF2}"/>
                </a:ext>
              </a:extLst>
            </p:cNvPr>
            <p:cNvSpPr>
              <a:spLocks noEditPoints="1"/>
            </p:cNvSpPr>
            <p:nvPr/>
          </p:nvSpPr>
          <p:spPr bwMode="auto">
            <a:xfrm>
              <a:off x="7155205" y="3133105"/>
              <a:ext cx="50561" cy="72682"/>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86" name="Freeform 43">
              <a:extLst>
                <a:ext uri="{FF2B5EF4-FFF2-40B4-BE49-F238E27FC236}">
                  <a16:creationId xmlns:a16="http://schemas.microsoft.com/office/drawing/2014/main" id="{3D48EE73-34C9-4BBA-80DC-CFD9B940A2CB}"/>
                </a:ext>
              </a:extLst>
            </p:cNvPr>
            <p:cNvSpPr>
              <a:spLocks noEditPoints="1"/>
            </p:cNvSpPr>
            <p:nvPr/>
          </p:nvSpPr>
          <p:spPr bwMode="auto">
            <a:xfrm>
              <a:off x="7221483" y="3133105"/>
              <a:ext cx="48982" cy="72682"/>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87" name="Freeform 44">
              <a:extLst>
                <a:ext uri="{FF2B5EF4-FFF2-40B4-BE49-F238E27FC236}">
                  <a16:creationId xmlns:a16="http://schemas.microsoft.com/office/drawing/2014/main" id="{3318D6A2-DEBE-4FFA-9E0B-29B6E3BA727D}"/>
                </a:ext>
              </a:extLst>
            </p:cNvPr>
            <p:cNvSpPr>
              <a:spLocks noEditPoints="1"/>
            </p:cNvSpPr>
            <p:nvPr/>
          </p:nvSpPr>
          <p:spPr bwMode="auto">
            <a:xfrm>
              <a:off x="7286182" y="3133895"/>
              <a:ext cx="26861" cy="71102"/>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88" name="Freeform 45">
              <a:extLst>
                <a:ext uri="{FF2B5EF4-FFF2-40B4-BE49-F238E27FC236}">
                  <a16:creationId xmlns:a16="http://schemas.microsoft.com/office/drawing/2014/main" id="{246E81F3-B186-44B4-8A7E-567CF96782E1}"/>
                </a:ext>
              </a:extLst>
            </p:cNvPr>
            <p:cNvSpPr>
              <a:spLocks noEditPoints="1"/>
            </p:cNvSpPr>
            <p:nvPr/>
          </p:nvSpPr>
          <p:spPr bwMode="auto">
            <a:xfrm>
              <a:off x="7328760" y="3133895"/>
              <a:ext cx="26861" cy="71102"/>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89" name="Freeform 46">
              <a:extLst>
                <a:ext uri="{FF2B5EF4-FFF2-40B4-BE49-F238E27FC236}">
                  <a16:creationId xmlns:a16="http://schemas.microsoft.com/office/drawing/2014/main" id="{782367EB-87C4-48B4-9E7A-8EF7CAAD0D70}"/>
                </a:ext>
              </a:extLst>
            </p:cNvPr>
            <p:cNvSpPr>
              <a:spLocks noEditPoints="1"/>
            </p:cNvSpPr>
            <p:nvPr/>
          </p:nvSpPr>
          <p:spPr bwMode="auto">
            <a:xfrm>
              <a:off x="7371345" y="3133105"/>
              <a:ext cx="48982" cy="72682"/>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90" name="Freeform 52">
              <a:extLst>
                <a:ext uri="{FF2B5EF4-FFF2-40B4-BE49-F238E27FC236}">
                  <a16:creationId xmlns:a16="http://schemas.microsoft.com/office/drawing/2014/main" id="{E653E4CA-DBB6-4461-A95D-1CB69A8B84B3}"/>
                </a:ext>
              </a:extLst>
            </p:cNvPr>
            <p:cNvSpPr>
              <a:spLocks noEditPoints="1"/>
            </p:cNvSpPr>
            <p:nvPr/>
          </p:nvSpPr>
          <p:spPr bwMode="auto">
            <a:xfrm>
              <a:off x="7159195" y="3256347"/>
              <a:ext cx="50561" cy="72682"/>
            </a:xfrm>
            <a:custGeom>
              <a:avLst/>
              <a:gdLst>
                <a:gd name="T0" fmla="*/ 27 w 54"/>
                <a:gd name="T1" fmla="*/ 81 h 81"/>
                <a:gd name="T2" fmla="*/ 54 w 54"/>
                <a:gd name="T3" fmla="*/ 40 h 81"/>
                <a:gd name="T4" fmla="*/ 28 w 54"/>
                <a:gd name="T5" fmla="*/ 0 h 81"/>
                <a:gd name="T6" fmla="*/ 0 w 54"/>
                <a:gd name="T7" fmla="*/ 41 h 81"/>
                <a:gd name="T8" fmla="*/ 27 w 54"/>
                <a:gd name="T9" fmla="*/ 81 h 81"/>
                <a:gd name="T10" fmla="*/ 27 w 54"/>
                <a:gd name="T11" fmla="*/ 13 h 81"/>
                <a:gd name="T12" fmla="*/ 40 w 54"/>
                <a:gd name="T13" fmla="*/ 40 h 81"/>
                <a:gd name="T14" fmla="*/ 27 w 54"/>
                <a:gd name="T15" fmla="*/ 68 h 81"/>
                <a:gd name="T16" fmla="*/ 15 w 54"/>
                <a:gd name="T17" fmla="*/ 41 h 81"/>
                <a:gd name="T18" fmla="*/ 27 w 54"/>
                <a:gd name="T19" fmla="*/ 13 h 81"/>
                <a:gd name="T20" fmla="*/ 27 w 54"/>
                <a:gd name="T21" fmla="*/ 13 h 81"/>
                <a:gd name="T22" fmla="*/ 27 w 54"/>
                <a:gd name="T23" fmla="*/ 1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7" y="81"/>
                  </a:moveTo>
                  <a:cubicBezTo>
                    <a:pt x="44" y="81"/>
                    <a:pt x="54" y="66"/>
                    <a:pt x="54" y="40"/>
                  </a:cubicBezTo>
                  <a:cubicBezTo>
                    <a:pt x="54" y="15"/>
                    <a:pt x="45" y="0"/>
                    <a:pt x="28" y="0"/>
                  </a:cubicBezTo>
                  <a:cubicBezTo>
                    <a:pt x="11" y="0"/>
                    <a:pt x="0" y="16"/>
                    <a:pt x="0" y="41"/>
                  </a:cubicBezTo>
                  <a:cubicBezTo>
                    <a:pt x="0" y="65"/>
                    <a:pt x="11" y="81"/>
                    <a:pt x="27" y="81"/>
                  </a:cubicBezTo>
                  <a:close/>
                  <a:moveTo>
                    <a:pt x="27" y="13"/>
                  </a:moveTo>
                  <a:cubicBezTo>
                    <a:pt x="38" y="13"/>
                    <a:pt x="40" y="30"/>
                    <a:pt x="40" y="40"/>
                  </a:cubicBezTo>
                  <a:cubicBezTo>
                    <a:pt x="40" y="51"/>
                    <a:pt x="38" y="68"/>
                    <a:pt x="27" y="68"/>
                  </a:cubicBezTo>
                  <a:cubicBezTo>
                    <a:pt x="20" y="68"/>
                    <a:pt x="15" y="58"/>
                    <a:pt x="15" y="41"/>
                  </a:cubicBezTo>
                  <a:cubicBezTo>
                    <a:pt x="15" y="24"/>
                    <a:pt x="20" y="13"/>
                    <a:pt x="27" y="13"/>
                  </a:cubicBezTo>
                  <a:close/>
                  <a:moveTo>
                    <a:pt x="27" y="13"/>
                  </a:moveTo>
                  <a:cubicBezTo>
                    <a:pt x="27" y="13"/>
                    <a:pt x="27" y="13"/>
                    <a:pt x="27" y="13"/>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91" name="Freeform 53">
              <a:extLst>
                <a:ext uri="{FF2B5EF4-FFF2-40B4-BE49-F238E27FC236}">
                  <a16:creationId xmlns:a16="http://schemas.microsoft.com/office/drawing/2014/main" id="{70EBDE9B-1A72-45E7-9C8C-20B23CC6A3A2}"/>
                </a:ext>
              </a:extLst>
            </p:cNvPr>
            <p:cNvSpPr>
              <a:spLocks noEditPoints="1"/>
            </p:cNvSpPr>
            <p:nvPr/>
          </p:nvSpPr>
          <p:spPr bwMode="auto">
            <a:xfrm>
              <a:off x="7221315" y="3256347"/>
              <a:ext cx="48982" cy="72682"/>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92" name="Freeform 54">
              <a:extLst>
                <a:ext uri="{FF2B5EF4-FFF2-40B4-BE49-F238E27FC236}">
                  <a16:creationId xmlns:a16="http://schemas.microsoft.com/office/drawing/2014/main" id="{70085D61-BFF3-40AA-81CB-07A3AA07E46E}"/>
                </a:ext>
              </a:extLst>
            </p:cNvPr>
            <p:cNvSpPr>
              <a:spLocks noEditPoints="1"/>
            </p:cNvSpPr>
            <p:nvPr/>
          </p:nvSpPr>
          <p:spPr bwMode="auto">
            <a:xfrm>
              <a:off x="7281856" y="3256347"/>
              <a:ext cx="48982" cy="72682"/>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93" name="Freeform 55">
              <a:extLst>
                <a:ext uri="{FF2B5EF4-FFF2-40B4-BE49-F238E27FC236}">
                  <a16:creationId xmlns:a16="http://schemas.microsoft.com/office/drawing/2014/main" id="{2669CEC4-2F08-42BE-A56B-C8394C4A1827}"/>
                </a:ext>
              </a:extLst>
            </p:cNvPr>
            <p:cNvSpPr>
              <a:spLocks noEditPoints="1"/>
            </p:cNvSpPr>
            <p:nvPr/>
          </p:nvSpPr>
          <p:spPr bwMode="auto">
            <a:xfrm>
              <a:off x="7342397" y="3257927"/>
              <a:ext cx="25281" cy="69522"/>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294" name="Freeform 56">
              <a:extLst>
                <a:ext uri="{FF2B5EF4-FFF2-40B4-BE49-F238E27FC236}">
                  <a16:creationId xmlns:a16="http://schemas.microsoft.com/office/drawing/2014/main" id="{6C1B68F4-3A9B-455E-8B38-7F81F12FB388}"/>
                </a:ext>
              </a:extLst>
            </p:cNvPr>
            <p:cNvSpPr>
              <a:spLocks noEditPoints="1"/>
            </p:cNvSpPr>
            <p:nvPr/>
          </p:nvSpPr>
          <p:spPr bwMode="auto">
            <a:xfrm>
              <a:off x="7379245" y="3256347"/>
              <a:ext cx="50561" cy="72682"/>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grpSp>
          <p:nvGrpSpPr>
            <p:cNvPr id="3" name="Group 2">
              <a:extLst>
                <a:ext uri="{FF2B5EF4-FFF2-40B4-BE49-F238E27FC236}">
                  <a16:creationId xmlns:a16="http://schemas.microsoft.com/office/drawing/2014/main" id="{11FE47F9-AB01-41C3-A9B5-AF451E5D3691}"/>
                </a:ext>
              </a:extLst>
            </p:cNvPr>
            <p:cNvGrpSpPr/>
            <p:nvPr/>
          </p:nvGrpSpPr>
          <p:grpSpPr>
            <a:xfrm flipH="1">
              <a:off x="6667185" y="2876783"/>
              <a:ext cx="389207" cy="467779"/>
              <a:chOff x="5689201" y="2993490"/>
              <a:chExt cx="448003" cy="538445"/>
            </a:xfrm>
            <a:solidFill>
              <a:schemeClr val="bg2"/>
            </a:solidFill>
          </p:grpSpPr>
          <p:sp>
            <p:nvSpPr>
              <p:cNvPr id="45" name="Circle: Hollow 44">
                <a:extLst>
                  <a:ext uri="{FF2B5EF4-FFF2-40B4-BE49-F238E27FC236}">
                    <a16:creationId xmlns:a16="http://schemas.microsoft.com/office/drawing/2014/main" id="{FC8CDF38-7E65-44DE-AF82-B90B213B678E}"/>
                  </a:ext>
                </a:extLst>
              </p:cNvPr>
              <p:cNvSpPr/>
              <p:nvPr/>
            </p:nvSpPr>
            <p:spPr>
              <a:xfrm>
                <a:off x="5745667" y="2993490"/>
                <a:ext cx="391537" cy="391537"/>
              </a:xfrm>
              <a:prstGeom prst="donut">
                <a:avLst>
                  <a:gd name="adj" fmla="val 17813"/>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282828"/>
                  </a:solidFill>
                  <a:latin typeface="CiscoSansTT ExtraLight" panose="020B0303020201020303" pitchFamily="34" charset="0"/>
                  <a:cs typeface="CiscoSansTT ExtraLight" panose="020B0303020201020303" pitchFamily="34" charset="0"/>
                  <a:sym typeface="Arial"/>
                </a:endParaRPr>
              </a:p>
            </p:txBody>
          </p:sp>
          <p:sp>
            <p:nvSpPr>
              <p:cNvPr id="46" name="Rectangle: Rounded Corners 45">
                <a:extLst>
                  <a:ext uri="{FF2B5EF4-FFF2-40B4-BE49-F238E27FC236}">
                    <a16:creationId xmlns:a16="http://schemas.microsoft.com/office/drawing/2014/main" id="{DFF8BD77-1034-4D6B-9A90-44E30FD9EADA}"/>
                  </a:ext>
                </a:extLst>
              </p:cNvPr>
              <p:cNvSpPr/>
              <p:nvPr/>
            </p:nvSpPr>
            <p:spPr>
              <a:xfrm rot="2656805">
                <a:off x="5689201" y="3274190"/>
                <a:ext cx="84809" cy="257745"/>
              </a:xfrm>
              <a:prstGeom prst="roundRect">
                <a:avLst>
                  <a:gd name="adj" fmla="val 28235"/>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panose="020B0303020201020303" pitchFamily="34" charset="0"/>
                  <a:cs typeface="CiscoSansTT ExtraLight" panose="020B0303020201020303" pitchFamily="34" charset="0"/>
                  <a:sym typeface="Arial"/>
                </a:endParaRPr>
              </a:p>
            </p:txBody>
          </p:sp>
        </p:grpSp>
      </p:grpSp>
      <p:grpSp>
        <p:nvGrpSpPr>
          <p:cNvPr id="304" name="Group 303">
            <a:extLst>
              <a:ext uri="{FF2B5EF4-FFF2-40B4-BE49-F238E27FC236}">
                <a16:creationId xmlns:a16="http://schemas.microsoft.com/office/drawing/2014/main" id="{2BEA00F6-A615-4CC1-94F3-85EB756A0C56}"/>
              </a:ext>
            </a:extLst>
          </p:cNvPr>
          <p:cNvGrpSpPr/>
          <p:nvPr/>
        </p:nvGrpSpPr>
        <p:grpSpPr>
          <a:xfrm>
            <a:off x="965130" y="3650340"/>
            <a:ext cx="8673220" cy="465376"/>
            <a:chOff x="6399271" y="2829079"/>
            <a:chExt cx="6504915" cy="349032"/>
          </a:xfrm>
        </p:grpSpPr>
        <p:sp>
          <p:nvSpPr>
            <p:cNvPr id="305" name="Rectangle 21">
              <a:extLst>
                <a:ext uri="{FF2B5EF4-FFF2-40B4-BE49-F238E27FC236}">
                  <a16:creationId xmlns:a16="http://schemas.microsoft.com/office/drawing/2014/main" id="{6CF8D7DD-0751-4BFD-A024-2F319789932A}"/>
                </a:ext>
              </a:extLst>
            </p:cNvPr>
            <p:cNvSpPr>
              <a:spLocks noChangeArrowheads="1"/>
            </p:cNvSpPr>
            <p:nvPr/>
          </p:nvSpPr>
          <p:spPr bwMode="auto">
            <a:xfrm>
              <a:off x="6782385" y="2832038"/>
              <a:ext cx="6121801" cy="346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499" tIns="54748" rIns="109499" bIns="54748">
              <a:spAutoFit/>
            </a:bodyPr>
            <a:lstStyle/>
            <a:p>
              <a:pPr defTabSz="814476" eaLnBrk="0" fontAlgn="base" hangingPunct="0">
                <a:lnSpc>
                  <a:spcPct val="95000"/>
                </a:lnSpc>
                <a:spcBef>
                  <a:spcPct val="20000"/>
                </a:spcBef>
                <a:spcAft>
                  <a:spcPct val="20000"/>
                </a:spcAft>
                <a:buSzPct val="100000"/>
                <a:defRPr/>
              </a:pPr>
              <a:r>
                <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rPr>
                <a:t>Drill-down into telemetry associated with security events</a:t>
              </a:r>
            </a:p>
          </p:txBody>
        </p:sp>
        <p:grpSp>
          <p:nvGrpSpPr>
            <p:cNvPr id="306" name="Group 305">
              <a:extLst>
                <a:ext uri="{FF2B5EF4-FFF2-40B4-BE49-F238E27FC236}">
                  <a16:creationId xmlns:a16="http://schemas.microsoft.com/office/drawing/2014/main" id="{1D599319-71D7-4BE2-B064-6DAABF158171}"/>
                </a:ext>
              </a:extLst>
            </p:cNvPr>
            <p:cNvGrpSpPr>
              <a:grpSpLocks noChangeAspect="1"/>
            </p:cNvGrpSpPr>
            <p:nvPr/>
          </p:nvGrpSpPr>
          <p:grpSpPr>
            <a:xfrm>
              <a:off x="6399271" y="2829079"/>
              <a:ext cx="298433" cy="293513"/>
              <a:chOff x="6333580" y="2334557"/>
              <a:chExt cx="545984" cy="536983"/>
            </a:xfrm>
          </p:grpSpPr>
          <p:sp>
            <p:nvSpPr>
              <p:cNvPr id="307" name="Freeform 251">
                <a:extLst>
                  <a:ext uri="{FF2B5EF4-FFF2-40B4-BE49-F238E27FC236}">
                    <a16:creationId xmlns:a16="http://schemas.microsoft.com/office/drawing/2014/main" id="{213D9F33-B653-4417-9ED3-594DE7576C79}"/>
                  </a:ext>
                </a:extLst>
              </p:cNvPr>
              <p:cNvSpPr>
                <a:spLocks/>
              </p:cNvSpPr>
              <p:nvPr/>
            </p:nvSpPr>
            <p:spPr bwMode="auto">
              <a:xfrm>
                <a:off x="6551574" y="2334557"/>
                <a:ext cx="327990" cy="526984"/>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rgbClr val="6EBE4A"/>
              </a:solidFill>
              <a:ln>
                <a:solidFill>
                  <a:srgbClr val="6EBE4A"/>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08" name="Freeform 256">
                <a:extLst>
                  <a:ext uri="{FF2B5EF4-FFF2-40B4-BE49-F238E27FC236}">
                    <a16:creationId xmlns:a16="http://schemas.microsoft.com/office/drawing/2014/main" id="{F2F0011F-97DC-42E6-BD8A-119F1AEFAF4D}"/>
                  </a:ext>
                </a:extLst>
              </p:cNvPr>
              <p:cNvSpPr>
                <a:spLocks/>
              </p:cNvSpPr>
              <p:nvPr/>
            </p:nvSpPr>
            <p:spPr bwMode="auto">
              <a:xfrm>
                <a:off x="6333580" y="2502552"/>
                <a:ext cx="217993" cy="358989"/>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rgbClr val="6EBE4A"/>
              </a:solidFill>
              <a:ln>
                <a:solidFill>
                  <a:srgbClr val="6EBE4A"/>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09" name="Freeform 260">
                <a:extLst>
                  <a:ext uri="{FF2B5EF4-FFF2-40B4-BE49-F238E27FC236}">
                    <a16:creationId xmlns:a16="http://schemas.microsoft.com/office/drawing/2014/main" id="{F16F7A2C-0CE5-485C-ABB8-6106DD31619D}"/>
                  </a:ext>
                </a:extLst>
              </p:cNvPr>
              <p:cNvSpPr>
                <a:spLocks/>
              </p:cNvSpPr>
              <p:nvPr/>
            </p:nvSpPr>
            <p:spPr bwMode="auto">
              <a:xfrm>
                <a:off x="6461576" y="2648547"/>
                <a:ext cx="176995" cy="222993"/>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a:solidFill>
                  <a:srgbClr val="017E18"/>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grpSp>
      </p:grpSp>
      <p:grpSp>
        <p:nvGrpSpPr>
          <p:cNvPr id="310" name="Group 309">
            <a:extLst>
              <a:ext uri="{FF2B5EF4-FFF2-40B4-BE49-F238E27FC236}">
                <a16:creationId xmlns:a16="http://schemas.microsoft.com/office/drawing/2014/main" id="{6FBAB00C-2F17-4659-B3B1-6BCD9528713A}"/>
              </a:ext>
            </a:extLst>
          </p:cNvPr>
          <p:cNvGrpSpPr/>
          <p:nvPr/>
        </p:nvGrpSpPr>
        <p:grpSpPr>
          <a:xfrm>
            <a:off x="965129" y="4378931"/>
            <a:ext cx="7133203" cy="465376"/>
            <a:chOff x="6399271" y="3423505"/>
            <a:chExt cx="5349902" cy="349032"/>
          </a:xfrm>
        </p:grpSpPr>
        <p:sp>
          <p:nvSpPr>
            <p:cNvPr id="311" name="Rectangle 21">
              <a:extLst>
                <a:ext uri="{FF2B5EF4-FFF2-40B4-BE49-F238E27FC236}">
                  <a16:creationId xmlns:a16="http://schemas.microsoft.com/office/drawing/2014/main" id="{405E431F-B94B-4254-ABE1-3739C5E006A9}"/>
                </a:ext>
              </a:extLst>
            </p:cNvPr>
            <p:cNvSpPr>
              <a:spLocks noChangeArrowheads="1"/>
            </p:cNvSpPr>
            <p:nvPr/>
          </p:nvSpPr>
          <p:spPr bwMode="auto">
            <a:xfrm>
              <a:off x="6782384" y="3426464"/>
              <a:ext cx="4966789" cy="346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499" tIns="54748" rIns="109499" bIns="54748">
              <a:spAutoFit/>
            </a:bodyPr>
            <a:lstStyle/>
            <a:p>
              <a:pPr defTabSz="814476" eaLnBrk="0" fontAlgn="base" hangingPunct="0">
                <a:lnSpc>
                  <a:spcPct val="95000"/>
                </a:lnSpc>
                <a:spcBef>
                  <a:spcPct val="20000"/>
                </a:spcBef>
                <a:spcAft>
                  <a:spcPct val="20000"/>
                </a:spcAft>
                <a:buSzPct val="100000"/>
                <a:defRPr/>
              </a:pPr>
              <a:r>
                <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rPr>
                <a:t>Malware propagation through infected hosts</a:t>
              </a:r>
            </a:p>
          </p:txBody>
        </p:sp>
        <p:grpSp>
          <p:nvGrpSpPr>
            <p:cNvPr id="312" name="Group 311">
              <a:extLst>
                <a:ext uri="{FF2B5EF4-FFF2-40B4-BE49-F238E27FC236}">
                  <a16:creationId xmlns:a16="http://schemas.microsoft.com/office/drawing/2014/main" id="{00A3EC4C-ED0B-4D9F-8DF9-665DE19AC832}"/>
                </a:ext>
              </a:extLst>
            </p:cNvPr>
            <p:cNvGrpSpPr>
              <a:grpSpLocks noChangeAspect="1"/>
            </p:cNvGrpSpPr>
            <p:nvPr/>
          </p:nvGrpSpPr>
          <p:grpSpPr>
            <a:xfrm>
              <a:off x="6399271" y="3423505"/>
              <a:ext cx="298433" cy="293513"/>
              <a:chOff x="6333580" y="2334557"/>
              <a:chExt cx="545984" cy="536983"/>
            </a:xfrm>
          </p:grpSpPr>
          <p:sp>
            <p:nvSpPr>
              <p:cNvPr id="313" name="Freeform 251">
                <a:extLst>
                  <a:ext uri="{FF2B5EF4-FFF2-40B4-BE49-F238E27FC236}">
                    <a16:creationId xmlns:a16="http://schemas.microsoft.com/office/drawing/2014/main" id="{A7679963-DA5A-46D2-BEDA-3EEDE5B60E47}"/>
                  </a:ext>
                </a:extLst>
              </p:cNvPr>
              <p:cNvSpPr>
                <a:spLocks/>
              </p:cNvSpPr>
              <p:nvPr/>
            </p:nvSpPr>
            <p:spPr bwMode="auto">
              <a:xfrm>
                <a:off x="6551574" y="2334557"/>
                <a:ext cx="327990" cy="526984"/>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rgbClr val="FBAB18"/>
              </a:solidFill>
              <a:ln>
                <a:solidFill>
                  <a:srgbClr val="FBAB18"/>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14" name="Freeform 256">
                <a:extLst>
                  <a:ext uri="{FF2B5EF4-FFF2-40B4-BE49-F238E27FC236}">
                    <a16:creationId xmlns:a16="http://schemas.microsoft.com/office/drawing/2014/main" id="{BA0377C3-FF9E-4279-9BF1-298D98D24DEA}"/>
                  </a:ext>
                </a:extLst>
              </p:cNvPr>
              <p:cNvSpPr>
                <a:spLocks/>
              </p:cNvSpPr>
              <p:nvPr/>
            </p:nvSpPr>
            <p:spPr bwMode="auto">
              <a:xfrm>
                <a:off x="6333580" y="2502552"/>
                <a:ext cx="217993" cy="358989"/>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rgbClr val="FBAB18"/>
              </a:solidFill>
              <a:ln>
                <a:solidFill>
                  <a:srgbClr val="FBAB18"/>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15" name="Freeform 260">
                <a:extLst>
                  <a:ext uri="{FF2B5EF4-FFF2-40B4-BE49-F238E27FC236}">
                    <a16:creationId xmlns:a16="http://schemas.microsoft.com/office/drawing/2014/main" id="{24420E8E-D587-41B7-B8FA-734EFB7D7D64}"/>
                  </a:ext>
                </a:extLst>
              </p:cNvPr>
              <p:cNvSpPr>
                <a:spLocks/>
              </p:cNvSpPr>
              <p:nvPr/>
            </p:nvSpPr>
            <p:spPr bwMode="auto">
              <a:xfrm>
                <a:off x="6461576" y="2648547"/>
                <a:ext cx="176995" cy="222993"/>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F57302"/>
              </a:solidFill>
              <a:ln>
                <a:solidFill>
                  <a:srgbClr val="F57302"/>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grpSp>
      </p:grpSp>
      <p:grpSp>
        <p:nvGrpSpPr>
          <p:cNvPr id="316" name="Group 315">
            <a:extLst>
              <a:ext uri="{FF2B5EF4-FFF2-40B4-BE49-F238E27FC236}">
                <a16:creationId xmlns:a16="http://schemas.microsoft.com/office/drawing/2014/main" id="{09F44E0A-2B2F-40F1-AFFA-6437AF242A7A}"/>
              </a:ext>
            </a:extLst>
          </p:cNvPr>
          <p:cNvGrpSpPr/>
          <p:nvPr/>
        </p:nvGrpSpPr>
        <p:grpSpPr>
          <a:xfrm>
            <a:off x="965130" y="2921747"/>
            <a:ext cx="7133204" cy="465376"/>
            <a:chOff x="6399271" y="2234653"/>
            <a:chExt cx="5349903" cy="349032"/>
          </a:xfrm>
        </p:grpSpPr>
        <p:sp>
          <p:nvSpPr>
            <p:cNvPr id="317" name="Rectangle 21">
              <a:extLst>
                <a:ext uri="{FF2B5EF4-FFF2-40B4-BE49-F238E27FC236}">
                  <a16:creationId xmlns:a16="http://schemas.microsoft.com/office/drawing/2014/main" id="{02D2EEBD-20F0-4351-8092-07BCE07A7D36}"/>
                </a:ext>
              </a:extLst>
            </p:cNvPr>
            <p:cNvSpPr>
              <a:spLocks noChangeArrowheads="1"/>
            </p:cNvSpPr>
            <p:nvPr/>
          </p:nvSpPr>
          <p:spPr bwMode="auto">
            <a:xfrm>
              <a:off x="6782385" y="2237612"/>
              <a:ext cx="4966789" cy="34607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109499" tIns="54748" rIns="109499" bIns="54748">
              <a:spAutoFit/>
            </a:bodyPr>
            <a:lstStyle/>
            <a:p>
              <a:pPr defTabSz="814476" eaLnBrk="0" fontAlgn="base" hangingPunct="0">
                <a:lnSpc>
                  <a:spcPct val="95000"/>
                </a:lnSpc>
                <a:spcBef>
                  <a:spcPct val="20000"/>
                </a:spcBef>
                <a:spcAft>
                  <a:spcPct val="20000"/>
                </a:spcAft>
                <a:buSzPct val="100000"/>
                <a:defRPr/>
              </a:pPr>
              <a:r>
                <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rPr>
                <a:t>Top security alarms by hosts</a:t>
              </a:r>
            </a:p>
          </p:txBody>
        </p:sp>
        <p:grpSp>
          <p:nvGrpSpPr>
            <p:cNvPr id="318" name="Group 317">
              <a:extLst>
                <a:ext uri="{FF2B5EF4-FFF2-40B4-BE49-F238E27FC236}">
                  <a16:creationId xmlns:a16="http://schemas.microsoft.com/office/drawing/2014/main" id="{3ACAFCBA-6537-43AD-901B-DCED5A510E9B}"/>
                </a:ext>
              </a:extLst>
            </p:cNvPr>
            <p:cNvGrpSpPr>
              <a:grpSpLocks noChangeAspect="1"/>
            </p:cNvGrpSpPr>
            <p:nvPr/>
          </p:nvGrpSpPr>
          <p:grpSpPr>
            <a:xfrm>
              <a:off x="6399271" y="2234653"/>
              <a:ext cx="298433" cy="293513"/>
              <a:chOff x="6333580" y="2334557"/>
              <a:chExt cx="545984" cy="536983"/>
            </a:xfrm>
          </p:grpSpPr>
          <p:sp>
            <p:nvSpPr>
              <p:cNvPr id="319" name="Freeform 251">
                <a:extLst>
                  <a:ext uri="{FF2B5EF4-FFF2-40B4-BE49-F238E27FC236}">
                    <a16:creationId xmlns:a16="http://schemas.microsoft.com/office/drawing/2014/main" id="{3C88BBA9-7BF7-41E1-985C-467AB9FBE709}"/>
                  </a:ext>
                </a:extLst>
              </p:cNvPr>
              <p:cNvSpPr>
                <a:spLocks/>
              </p:cNvSpPr>
              <p:nvPr/>
            </p:nvSpPr>
            <p:spPr bwMode="auto">
              <a:xfrm>
                <a:off x="6551574" y="2334557"/>
                <a:ext cx="327990" cy="526984"/>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rgbClr val="005073"/>
              </a:solidFill>
              <a:ln>
                <a:solidFill>
                  <a:srgbClr val="005073"/>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20" name="Freeform 256">
                <a:extLst>
                  <a:ext uri="{FF2B5EF4-FFF2-40B4-BE49-F238E27FC236}">
                    <a16:creationId xmlns:a16="http://schemas.microsoft.com/office/drawing/2014/main" id="{7B73C714-9FBC-4E2D-A554-895C1872CCE5}"/>
                  </a:ext>
                </a:extLst>
              </p:cNvPr>
              <p:cNvSpPr>
                <a:spLocks/>
              </p:cNvSpPr>
              <p:nvPr/>
            </p:nvSpPr>
            <p:spPr bwMode="auto">
              <a:xfrm>
                <a:off x="6333580" y="2502552"/>
                <a:ext cx="217993" cy="358989"/>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rgbClr val="005073"/>
              </a:solidFill>
              <a:ln>
                <a:solidFill>
                  <a:srgbClr val="005073"/>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21" name="Freeform 260">
                <a:extLst>
                  <a:ext uri="{FF2B5EF4-FFF2-40B4-BE49-F238E27FC236}">
                    <a16:creationId xmlns:a16="http://schemas.microsoft.com/office/drawing/2014/main" id="{F6049F75-2EC0-4B6A-B802-741D937BDF71}"/>
                  </a:ext>
                </a:extLst>
              </p:cNvPr>
              <p:cNvSpPr>
                <a:spLocks/>
              </p:cNvSpPr>
              <p:nvPr/>
            </p:nvSpPr>
            <p:spPr bwMode="auto">
              <a:xfrm>
                <a:off x="6461576" y="2648547"/>
                <a:ext cx="176995" cy="222993"/>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05073">
                  <a:lumMod val="75000"/>
                </a:srgbClr>
              </a:solidFill>
              <a:ln>
                <a:solidFill>
                  <a:srgbClr val="005073">
                    <a:lumMod val="75000"/>
                  </a:srgbClr>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grpSp>
      </p:grpSp>
      <p:grpSp>
        <p:nvGrpSpPr>
          <p:cNvPr id="322" name="Group 321">
            <a:extLst>
              <a:ext uri="{FF2B5EF4-FFF2-40B4-BE49-F238E27FC236}">
                <a16:creationId xmlns:a16="http://schemas.microsoft.com/office/drawing/2014/main" id="{48E35254-BF05-4044-8DC5-7846D6602AB2}"/>
              </a:ext>
            </a:extLst>
          </p:cNvPr>
          <p:cNvGrpSpPr/>
          <p:nvPr/>
        </p:nvGrpSpPr>
        <p:grpSpPr>
          <a:xfrm>
            <a:off x="965130" y="2193158"/>
            <a:ext cx="7146831" cy="963974"/>
            <a:chOff x="6399271" y="1640227"/>
            <a:chExt cx="5360123" cy="722981"/>
          </a:xfrm>
        </p:grpSpPr>
        <p:sp>
          <p:nvSpPr>
            <p:cNvPr id="323" name="Rectangle 21">
              <a:extLst>
                <a:ext uri="{FF2B5EF4-FFF2-40B4-BE49-F238E27FC236}">
                  <a16:creationId xmlns:a16="http://schemas.microsoft.com/office/drawing/2014/main" id="{56006AC4-4079-46D3-BF27-33C2846A372F}"/>
                </a:ext>
              </a:extLst>
            </p:cNvPr>
            <p:cNvSpPr>
              <a:spLocks noChangeArrowheads="1"/>
            </p:cNvSpPr>
            <p:nvPr/>
          </p:nvSpPr>
          <p:spPr bwMode="auto">
            <a:xfrm>
              <a:off x="6792605" y="1643186"/>
              <a:ext cx="4966789" cy="72002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109499" tIns="54748" rIns="109499" bIns="54748">
              <a:spAutoFit/>
            </a:bodyPr>
            <a:lstStyle/>
            <a:p>
              <a:pPr defTabSz="814476" eaLnBrk="0" fontAlgn="base" hangingPunct="0">
                <a:lnSpc>
                  <a:spcPct val="95000"/>
                </a:lnSpc>
                <a:spcBef>
                  <a:spcPct val="20000"/>
                </a:spcBef>
                <a:spcAft>
                  <a:spcPct val="20000"/>
                </a:spcAft>
                <a:buSzPct val="100000"/>
                <a:defRPr/>
              </a:pPr>
              <a:r>
                <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rPr>
                <a:t>Contextual user and application info</a:t>
              </a:r>
            </a:p>
            <a:p>
              <a:pPr defTabSz="814476" eaLnBrk="0" fontAlgn="base" hangingPunct="0">
                <a:lnSpc>
                  <a:spcPct val="95000"/>
                </a:lnSpc>
                <a:spcBef>
                  <a:spcPct val="20000"/>
                </a:spcBef>
                <a:spcAft>
                  <a:spcPct val="20000"/>
                </a:spcAft>
                <a:buSzPct val="100000"/>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grpSp>
          <p:nvGrpSpPr>
            <p:cNvPr id="324" name="Group 323">
              <a:extLst>
                <a:ext uri="{FF2B5EF4-FFF2-40B4-BE49-F238E27FC236}">
                  <a16:creationId xmlns:a16="http://schemas.microsoft.com/office/drawing/2014/main" id="{C541D7DC-CC04-4156-A7EF-E79D316F9CA7}"/>
                </a:ext>
              </a:extLst>
            </p:cNvPr>
            <p:cNvGrpSpPr>
              <a:grpSpLocks noChangeAspect="1"/>
            </p:cNvGrpSpPr>
            <p:nvPr/>
          </p:nvGrpSpPr>
          <p:grpSpPr>
            <a:xfrm>
              <a:off x="6399271" y="1640227"/>
              <a:ext cx="298433" cy="293513"/>
              <a:chOff x="6333580" y="2334557"/>
              <a:chExt cx="545984" cy="536983"/>
            </a:xfrm>
          </p:grpSpPr>
          <p:sp>
            <p:nvSpPr>
              <p:cNvPr id="325" name="Freeform 251">
                <a:extLst>
                  <a:ext uri="{FF2B5EF4-FFF2-40B4-BE49-F238E27FC236}">
                    <a16:creationId xmlns:a16="http://schemas.microsoft.com/office/drawing/2014/main" id="{E43E20C3-3A68-49BB-9CE6-4CA3D77553D8}"/>
                  </a:ext>
                </a:extLst>
              </p:cNvPr>
              <p:cNvSpPr>
                <a:spLocks/>
              </p:cNvSpPr>
              <p:nvPr/>
            </p:nvSpPr>
            <p:spPr bwMode="auto">
              <a:xfrm>
                <a:off x="6551574" y="2334557"/>
                <a:ext cx="327990" cy="526984"/>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rgbClr val="00BCEB"/>
              </a:solidFill>
              <a:ln w="3175">
                <a:solidFill>
                  <a:srgbClr val="00BCEB"/>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26" name="Freeform 256">
                <a:extLst>
                  <a:ext uri="{FF2B5EF4-FFF2-40B4-BE49-F238E27FC236}">
                    <a16:creationId xmlns:a16="http://schemas.microsoft.com/office/drawing/2014/main" id="{E5442EE8-935B-414A-8106-A1AF6297080E}"/>
                  </a:ext>
                </a:extLst>
              </p:cNvPr>
              <p:cNvSpPr>
                <a:spLocks/>
              </p:cNvSpPr>
              <p:nvPr/>
            </p:nvSpPr>
            <p:spPr bwMode="auto">
              <a:xfrm>
                <a:off x="6333580" y="2502552"/>
                <a:ext cx="217993" cy="358989"/>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rgbClr val="00BCEB"/>
              </a:solidFill>
              <a:ln w="3175">
                <a:solidFill>
                  <a:srgbClr val="00BCEB"/>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27" name="Freeform 260">
                <a:extLst>
                  <a:ext uri="{FF2B5EF4-FFF2-40B4-BE49-F238E27FC236}">
                    <a16:creationId xmlns:a16="http://schemas.microsoft.com/office/drawing/2014/main" id="{B4B4AF95-84C1-40C0-A775-2257407F41C0}"/>
                  </a:ext>
                </a:extLst>
              </p:cNvPr>
              <p:cNvSpPr>
                <a:spLocks/>
              </p:cNvSpPr>
              <p:nvPr/>
            </p:nvSpPr>
            <p:spPr bwMode="auto">
              <a:xfrm>
                <a:off x="6461576" y="2648547"/>
                <a:ext cx="176995" cy="222993"/>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0BCEB">
                  <a:lumMod val="75000"/>
                </a:srgbClr>
              </a:solidFill>
              <a:ln>
                <a:solidFill>
                  <a:srgbClr val="00BCEB">
                    <a:lumMod val="75000"/>
                  </a:srgbClr>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grpSp>
      </p:grpSp>
      <p:grpSp>
        <p:nvGrpSpPr>
          <p:cNvPr id="328" name="Group 327">
            <a:extLst>
              <a:ext uri="{FF2B5EF4-FFF2-40B4-BE49-F238E27FC236}">
                <a16:creationId xmlns:a16="http://schemas.microsoft.com/office/drawing/2014/main" id="{8B28D60C-660A-4F71-AD88-9471BCEE42D0}"/>
              </a:ext>
            </a:extLst>
          </p:cNvPr>
          <p:cNvGrpSpPr/>
          <p:nvPr/>
        </p:nvGrpSpPr>
        <p:grpSpPr>
          <a:xfrm>
            <a:off x="965130" y="5107519"/>
            <a:ext cx="8338141" cy="465376"/>
            <a:chOff x="6399271" y="4017932"/>
            <a:chExt cx="6253606" cy="349032"/>
          </a:xfrm>
        </p:grpSpPr>
        <p:sp>
          <p:nvSpPr>
            <p:cNvPr id="329" name="Rectangle 21">
              <a:extLst>
                <a:ext uri="{FF2B5EF4-FFF2-40B4-BE49-F238E27FC236}">
                  <a16:creationId xmlns:a16="http://schemas.microsoft.com/office/drawing/2014/main" id="{C4EC3DA1-4B43-4B85-BB3B-28141A480E2E}"/>
                </a:ext>
              </a:extLst>
            </p:cNvPr>
            <p:cNvSpPr>
              <a:spLocks noChangeArrowheads="1"/>
            </p:cNvSpPr>
            <p:nvPr/>
          </p:nvSpPr>
          <p:spPr bwMode="auto">
            <a:xfrm>
              <a:off x="6782385" y="4020891"/>
              <a:ext cx="5870492" cy="346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499" tIns="54748" rIns="109499" bIns="54748">
              <a:spAutoFit/>
            </a:bodyPr>
            <a:lstStyle/>
            <a:p>
              <a:pPr defTabSz="814476" eaLnBrk="0" fontAlgn="base" hangingPunct="0">
                <a:lnSpc>
                  <a:spcPct val="95000"/>
                </a:lnSpc>
                <a:spcBef>
                  <a:spcPct val="20000"/>
                </a:spcBef>
                <a:spcAft>
                  <a:spcPct val="20000"/>
                </a:spcAft>
                <a:buSzPct val="100000"/>
                <a:defRPr/>
              </a:pPr>
              <a:r>
                <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rPr>
                <a:t>Relationships between domains, IPs, malware</a:t>
              </a:r>
            </a:p>
          </p:txBody>
        </p:sp>
        <p:grpSp>
          <p:nvGrpSpPr>
            <p:cNvPr id="330" name="Group 329">
              <a:extLst>
                <a:ext uri="{FF2B5EF4-FFF2-40B4-BE49-F238E27FC236}">
                  <a16:creationId xmlns:a16="http://schemas.microsoft.com/office/drawing/2014/main" id="{2ADF3BFC-7107-4841-A02C-C03659FD0C2C}"/>
                </a:ext>
              </a:extLst>
            </p:cNvPr>
            <p:cNvGrpSpPr>
              <a:grpSpLocks noChangeAspect="1"/>
            </p:cNvGrpSpPr>
            <p:nvPr/>
          </p:nvGrpSpPr>
          <p:grpSpPr>
            <a:xfrm>
              <a:off x="6399271" y="4017932"/>
              <a:ext cx="298433" cy="293513"/>
              <a:chOff x="6333580" y="2334557"/>
              <a:chExt cx="545984" cy="536983"/>
            </a:xfrm>
          </p:grpSpPr>
          <p:sp>
            <p:nvSpPr>
              <p:cNvPr id="331" name="Freeform 251">
                <a:extLst>
                  <a:ext uri="{FF2B5EF4-FFF2-40B4-BE49-F238E27FC236}">
                    <a16:creationId xmlns:a16="http://schemas.microsoft.com/office/drawing/2014/main" id="{0F653B78-0B63-4DA9-9D1F-7A0C59952A1A}"/>
                  </a:ext>
                </a:extLst>
              </p:cNvPr>
              <p:cNvSpPr>
                <a:spLocks/>
              </p:cNvSpPr>
              <p:nvPr/>
            </p:nvSpPr>
            <p:spPr bwMode="auto">
              <a:xfrm>
                <a:off x="6551574" y="2334557"/>
                <a:ext cx="327990" cy="526984"/>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rgbClr val="E3241B"/>
              </a:solidFill>
              <a:ln>
                <a:solidFill>
                  <a:srgbClr val="E3241B"/>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32" name="Freeform 256">
                <a:extLst>
                  <a:ext uri="{FF2B5EF4-FFF2-40B4-BE49-F238E27FC236}">
                    <a16:creationId xmlns:a16="http://schemas.microsoft.com/office/drawing/2014/main" id="{B7BF8638-162C-4789-8300-10487A8EC82D}"/>
                  </a:ext>
                </a:extLst>
              </p:cNvPr>
              <p:cNvSpPr>
                <a:spLocks/>
              </p:cNvSpPr>
              <p:nvPr/>
            </p:nvSpPr>
            <p:spPr bwMode="auto">
              <a:xfrm>
                <a:off x="6333580" y="2502552"/>
                <a:ext cx="217993" cy="358989"/>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rgbClr val="E3241B"/>
              </a:solidFill>
              <a:ln>
                <a:solidFill>
                  <a:srgbClr val="E3241B"/>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sp>
            <p:nvSpPr>
              <p:cNvPr id="333" name="Freeform 260">
                <a:extLst>
                  <a:ext uri="{FF2B5EF4-FFF2-40B4-BE49-F238E27FC236}">
                    <a16:creationId xmlns:a16="http://schemas.microsoft.com/office/drawing/2014/main" id="{02468240-8C3D-4497-8806-8AA8498686A8}"/>
                  </a:ext>
                </a:extLst>
              </p:cNvPr>
              <p:cNvSpPr>
                <a:spLocks/>
              </p:cNvSpPr>
              <p:nvPr/>
            </p:nvSpPr>
            <p:spPr bwMode="auto">
              <a:xfrm>
                <a:off x="6461576" y="2648547"/>
                <a:ext cx="176995" cy="222993"/>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E3241B">
                  <a:lumMod val="50000"/>
                </a:srgbClr>
              </a:solidFill>
              <a:ln>
                <a:solidFill>
                  <a:srgbClr val="E3241B">
                    <a:lumMod val="50000"/>
                  </a:srgbClr>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panose="020B0303020201020303" pitchFamily="34" charset="0"/>
                  <a:ea typeface="ＭＳ Ｐゴシック" charset="0"/>
                  <a:cs typeface="CiscoSansTT ExtraLight" panose="020B0303020201020303" pitchFamily="34" charset="0"/>
                  <a:sym typeface="Arial"/>
                </a:endParaRPr>
              </a:p>
            </p:txBody>
          </p:sp>
        </p:grpSp>
      </p:grpSp>
      <p:sp>
        <p:nvSpPr>
          <p:cNvPr id="2" name="Text Placeholder 1">
            <a:extLst>
              <a:ext uri="{FF2B5EF4-FFF2-40B4-BE49-F238E27FC236}">
                <a16:creationId xmlns:a16="http://schemas.microsoft.com/office/drawing/2014/main" id="{ABE53671-9D08-4750-BD33-8C6FA5EF7B4D}"/>
              </a:ext>
            </a:extLst>
          </p:cNvPr>
          <p:cNvSpPr>
            <a:spLocks noGrp="1"/>
          </p:cNvSpPr>
          <p:nvPr>
            <p:ph type="body" idx="1"/>
          </p:nvPr>
        </p:nvSpPr>
        <p:spPr/>
        <p:txBody>
          <a:bodyPr/>
          <a:lstStyle/>
          <a:p>
            <a:r>
              <a:rPr lang="en-US"/>
              <a:t>Alerts with context enable faster investigations</a:t>
            </a:r>
          </a:p>
        </p:txBody>
      </p:sp>
    </p:spTree>
    <p:extLst>
      <p:ext uri="{BB962C8B-B14F-4D97-AF65-F5344CB8AC3E}">
        <p14:creationId xmlns:p14="http://schemas.microsoft.com/office/powerpoint/2010/main" val="2543861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EB625F7-4274-4DDB-9E85-8072868B5267}"/>
              </a:ext>
            </a:extLst>
          </p:cNvPr>
          <p:cNvPicPr>
            <a:picLocks noChangeAspect="1"/>
          </p:cNvPicPr>
          <p:nvPr/>
        </p:nvPicPr>
        <p:blipFill rotWithShape="1">
          <a:blip r:embed="rId3"/>
          <a:srcRect b="5115"/>
          <a:stretch/>
        </p:blipFill>
        <p:spPr>
          <a:xfrm>
            <a:off x="358729" y="382712"/>
            <a:ext cx="11517961" cy="5545123"/>
          </a:xfrm>
          <a:prstGeom prst="rect">
            <a:avLst/>
          </a:prstGeom>
        </p:spPr>
      </p:pic>
      <p:grpSp>
        <p:nvGrpSpPr>
          <p:cNvPr id="8" name="Group 7">
            <a:extLst>
              <a:ext uri="{FF2B5EF4-FFF2-40B4-BE49-F238E27FC236}">
                <a16:creationId xmlns:a16="http://schemas.microsoft.com/office/drawing/2014/main" id="{C34ACBE2-4C33-4F3C-935F-044410683B70}"/>
              </a:ext>
            </a:extLst>
          </p:cNvPr>
          <p:cNvGrpSpPr/>
          <p:nvPr/>
        </p:nvGrpSpPr>
        <p:grpSpPr>
          <a:xfrm>
            <a:off x="-1477315" y="-15513"/>
            <a:ext cx="15141012" cy="6930788"/>
            <a:chOff x="-1107987" y="-40943"/>
            <a:chExt cx="11355759" cy="5198085"/>
          </a:xfrm>
        </p:grpSpPr>
        <p:pic>
          <p:nvPicPr>
            <p:cNvPr id="7" name="Picture 6">
              <a:extLst>
                <a:ext uri="{FF2B5EF4-FFF2-40B4-BE49-F238E27FC236}">
                  <a16:creationId xmlns:a16="http://schemas.microsoft.com/office/drawing/2014/main" id="{E4378D8C-FE41-4211-9762-F9646FA6195C}"/>
                </a:ext>
              </a:extLst>
            </p:cNvPr>
            <p:cNvPicPr>
              <a:picLocks noChangeAspect="1"/>
            </p:cNvPicPr>
            <p:nvPr/>
          </p:nvPicPr>
          <p:blipFill rotWithShape="1">
            <a:blip r:embed="rId3"/>
            <a:srcRect t="95244"/>
            <a:stretch/>
          </p:blipFill>
          <p:spPr>
            <a:xfrm>
              <a:off x="284812" y="4690239"/>
              <a:ext cx="8638471" cy="208442"/>
            </a:xfrm>
            <a:prstGeom prst="rect">
              <a:avLst/>
            </a:prstGeom>
          </p:spPr>
        </p:pic>
        <p:pic>
          <p:nvPicPr>
            <p:cNvPr id="5" name="Picture 4">
              <a:extLst>
                <a:ext uri="{FF2B5EF4-FFF2-40B4-BE49-F238E27FC236}">
                  <a16:creationId xmlns:a16="http://schemas.microsoft.com/office/drawing/2014/main" id="{7A12A8E3-3787-4882-9D66-3DB2002FE98F}"/>
                </a:ext>
              </a:extLst>
            </p:cNvPr>
            <p:cNvPicPr>
              <a:picLocks noChangeAspect="1"/>
            </p:cNvPicPr>
            <p:nvPr/>
          </p:nvPicPr>
          <p:blipFill rotWithShape="1">
            <a:blip r:embed="rId4"/>
            <a:srcRect l="-511" t="4165" b="9489"/>
            <a:stretch/>
          </p:blipFill>
          <p:spPr>
            <a:xfrm>
              <a:off x="-1107987" y="-40943"/>
              <a:ext cx="11355759" cy="5198091"/>
            </a:xfrm>
            <a:prstGeom prst="rect">
              <a:avLst/>
            </a:prstGeom>
          </p:spPr>
        </p:pic>
      </p:grpSp>
      <p:sp>
        <p:nvSpPr>
          <p:cNvPr id="10" name="Rectangle 9">
            <a:extLst>
              <a:ext uri="{FF2B5EF4-FFF2-40B4-BE49-F238E27FC236}">
                <a16:creationId xmlns:a16="http://schemas.microsoft.com/office/drawing/2014/main" id="{5D2FC513-6E52-4AD7-9747-F5BCA6495939}"/>
              </a:ext>
            </a:extLst>
          </p:cNvPr>
          <p:cNvSpPr/>
          <p:nvPr/>
        </p:nvSpPr>
        <p:spPr>
          <a:xfrm>
            <a:off x="11277600" y="5517932"/>
            <a:ext cx="555672" cy="735721"/>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Tree>
    <p:extLst>
      <p:ext uri="{BB962C8B-B14F-4D97-AF65-F5344CB8AC3E}">
        <p14:creationId xmlns:p14="http://schemas.microsoft.com/office/powerpoint/2010/main" val="4262443815"/>
      </p:ext>
    </p:extLst>
  </p:cSld>
  <p:clrMapOvr>
    <a:masterClrMapping/>
  </p:clrMapOvr>
  <p:transition spd="slow">
    <p:wipe dir="d"/>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4C78C2A-4C60-44E4-937D-CF34E3C7EA1D}"/>
              </a:ext>
            </a:extLst>
          </p:cNvPr>
          <p:cNvGrpSpPr/>
          <p:nvPr/>
        </p:nvGrpSpPr>
        <p:grpSpPr>
          <a:xfrm>
            <a:off x="379750" y="395738"/>
            <a:ext cx="11517961" cy="6135837"/>
            <a:chOff x="284812" y="296803"/>
            <a:chExt cx="8638471" cy="4601878"/>
          </a:xfrm>
        </p:grpSpPr>
        <p:grpSp>
          <p:nvGrpSpPr>
            <p:cNvPr id="2" name="Group 1">
              <a:extLst>
                <a:ext uri="{FF2B5EF4-FFF2-40B4-BE49-F238E27FC236}">
                  <a16:creationId xmlns:a16="http://schemas.microsoft.com/office/drawing/2014/main" id="{AA11A997-CEB4-4363-9B14-C0D2D68C03F8}"/>
                </a:ext>
              </a:extLst>
            </p:cNvPr>
            <p:cNvGrpSpPr/>
            <p:nvPr/>
          </p:nvGrpSpPr>
          <p:grpSpPr>
            <a:xfrm>
              <a:off x="284812" y="296803"/>
              <a:ext cx="8638471" cy="4601878"/>
              <a:chOff x="284812" y="296803"/>
              <a:chExt cx="8638471" cy="4601878"/>
            </a:xfrm>
          </p:grpSpPr>
          <p:grpSp>
            <p:nvGrpSpPr>
              <p:cNvPr id="8" name="Group 7">
                <a:extLst>
                  <a:ext uri="{FF2B5EF4-FFF2-40B4-BE49-F238E27FC236}">
                    <a16:creationId xmlns:a16="http://schemas.microsoft.com/office/drawing/2014/main" id="{7F0A2761-9E4D-4D98-A554-F7F985FD4F10}"/>
                  </a:ext>
                </a:extLst>
              </p:cNvPr>
              <p:cNvGrpSpPr/>
              <p:nvPr/>
            </p:nvGrpSpPr>
            <p:grpSpPr>
              <a:xfrm>
                <a:off x="284812" y="296803"/>
                <a:ext cx="8638471" cy="4601878"/>
                <a:chOff x="284812" y="296803"/>
                <a:chExt cx="8638471" cy="4601878"/>
              </a:xfrm>
            </p:grpSpPr>
            <p:sp>
              <p:nvSpPr>
                <p:cNvPr id="9" name="Rectangle 8">
                  <a:extLst>
                    <a:ext uri="{FF2B5EF4-FFF2-40B4-BE49-F238E27FC236}">
                      <a16:creationId xmlns:a16="http://schemas.microsoft.com/office/drawing/2014/main" id="{D4DD87C7-0196-435A-8F10-0F4C4D52A7AD}"/>
                    </a:ext>
                  </a:extLst>
                </p:cNvPr>
                <p:cNvSpPr/>
                <p:nvPr/>
              </p:nvSpPr>
              <p:spPr>
                <a:xfrm>
                  <a:off x="8458200" y="4138448"/>
                  <a:ext cx="416754" cy="551791"/>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pic>
              <p:nvPicPr>
                <p:cNvPr id="11" name="Picture 10">
                  <a:extLst>
                    <a:ext uri="{FF2B5EF4-FFF2-40B4-BE49-F238E27FC236}">
                      <a16:creationId xmlns:a16="http://schemas.microsoft.com/office/drawing/2014/main" id="{58575F8E-137F-4DCC-8042-953082D18112}"/>
                    </a:ext>
                  </a:extLst>
                </p:cNvPr>
                <p:cNvPicPr>
                  <a:picLocks noChangeAspect="1"/>
                </p:cNvPicPr>
                <p:nvPr/>
              </p:nvPicPr>
              <p:blipFill rotWithShape="1">
                <a:blip r:embed="rId3"/>
                <a:srcRect t="95244"/>
                <a:stretch/>
              </p:blipFill>
              <p:spPr>
                <a:xfrm>
                  <a:off x="284812" y="4690239"/>
                  <a:ext cx="8638471" cy="208442"/>
                </a:xfrm>
                <a:prstGeom prst="rect">
                  <a:avLst/>
                </a:prstGeom>
              </p:spPr>
            </p:pic>
            <p:sp>
              <p:nvSpPr>
                <p:cNvPr id="13" name="Rectangle 12">
                  <a:extLst>
                    <a:ext uri="{FF2B5EF4-FFF2-40B4-BE49-F238E27FC236}">
                      <a16:creationId xmlns:a16="http://schemas.microsoft.com/office/drawing/2014/main" id="{39FE0237-6C16-43DA-B115-F8D27C695F3A}"/>
                    </a:ext>
                  </a:extLst>
                </p:cNvPr>
                <p:cNvSpPr/>
                <p:nvPr/>
              </p:nvSpPr>
              <p:spPr>
                <a:xfrm>
                  <a:off x="331073" y="1428132"/>
                  <a:ext cx="8513383" cy="236483"/>
                </a:xfrm>
                <a:prstGeom prst="rect">
                  <a:avLst/>
                </a:prstGeom>
                <a:noFill/>
                <a:ln>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pic>
              <p:nvPicPr>
                <p:cNvPr id="15" name="Picture 14">
                  <a:extLst>
                    <a:ext uri="{FF2B5EF4-FFF2-40B4-BE49-F238E27FC236}">
                      <a16:creationId xmlns:a16="http://schemas.microsoft.com/office/drawing/2014/main" id="{4F5365BB-7A87-44AD-BCB7-0E2FC5AF812D}"/>
                    </a:ext>
                  </a:extLst>
                </p:cNvPr>
                <p:cNvPicPr>
                  <a:picLocks noChangeAspect="1"/>
                </p:cNvPicPr>
                <p:nvPr/>
              </p:nvPicPr>
              <p:blipFill rotWithShape="1">
                <a:blip r:embed="rId4"/>
                <a:srcRect b="5541"/>
                <a:stretch/>
              </p:blipFill>
              <p:spPr>
                <a:xfrm>
                  <a:off x="299544" y="310520"/>
                  <a:ext cx="8594010" cy="4379719"/>
                </a:xfrm>
                <a:prstGeom prst="rect">
                  <a:avLst/>
                </a:prstGeom>
              </p:spPr>
            </p:pic>
            <p:pic>
              <p:nvPicPr>
                <p:cNvPr id="16" name="Picture 15">
                  <a:extLst>
                    <a:ext uri="{FF2B5EF4-FFF2-40B4-BE49-F238E27FC236}">
                      <a16:creationId xmlns:a16="http://schemas.microsoft.com/office/drawing/2014/main" id="{E03D754A-1A41-4DE4-A454-59E1F5DCEC6B}"/>
                    </a:ext>
                  </a:extLst>
                </p:cNvPr>
                <p:cNvPicPr>
                  <a:picLocks noChangeAspect="1"/>
                </p:cNvPicPr>
                <p:nvPr/>
              </p:nvPicPr>
              <p:blipFill rotWithShape="1">
                <a:blip r:embed="rId5"/>
                <a:srcRect t="-1" b="90662"/>
                <a:stretch/>
              </p:blipFill>
              <p:spPr>
                <a:xfrm>
                  <a:off x="307425" y="296803"/>
                  <a:ext cx="8615857" cy="445210"/>
                </a:xfrm>
                <a:prstGeom prst="rect">
                  <a:avLst/>
                </a:prstGeom>
              </p:spPr>
            </p:pic>
            <p:pic>
              <p:nvPicPr>
                <p:cNvPr id="17" name="Picture 16">
                  <a:extLst>
                    <a:ext uri="{FF2B5EF4-FFF2-40B4-BE49-F238E27FC236}">
                      <a16:creationId xmlns:a16="http://schemas.microsoft.com/office/drawing/2014/main" id="{16E34A83-96BB-4955-ACD6-4D19B1E454EC}"/>
                    </a:ext>
                  </a:extLst>
                </p:cNvPr>
                <p:cNvPicPr>
                  <a:picLocks noChangeAspect="1"/>
                </p:cNvPicPr>
                <p:nvPr/>
              </p:nvPicPr>
              <p:blipFill rotWithShape="1">
                <a:blip r:embed="rId4"/>
                <a:srcRect l="90443" t="40416" r="1447" b="55997"/>
                <a:stretch/>
              </p:blipFill>
              <p:spPr>
                <a:xfrm>
                  <a:off x="8072203" y="2611644"/>
                  <a:ext cx="697044" cy="166306"/>
                </a:xfrm>
                <a:prstGeom prst="rect">
                  <a:avLst/>
                </a:prstGeom>
              </p:spPr>
            </p:pic>
          </p:grpSp>
          <p:pic>
            <p:nvPicPr>
              <p:cNvPr id="12" name="Picture 11">
                <a:extLst>
                  <a:ext uri="{FF2B5EF4-FFF2-40B4-BE49-F238E27FC236}">
                    <a16:creationId xmlns:a16="http://schemas.microsoft.com/office/drawing/2014/main" id="{3A91CBEA-FB1B-468F-9CDD-410E7C3383FD}"/>
                  </a:ext>
                </a:extLst>
              </p:cNvPr>
              <p:cNvPicPr>
                <a:picLocks noChangeAspect="1"/>
              </p:cNvPicPr>
              <p:nvPr/>
            </p:nvPicPr>
            <p:blipFill rotWithShape="1">
              <a:blip r:embed="rId5"/>
              <a:srcRect l="13589" t="25801" r="62276" b="71303"/>
              <a:stretch/>
            </p:blipFill>
            <p:spPr>
              <a:xfrm>
                <a:off x="1349118" y="1982058"/>
                <a:ext cx="2038659" cy="131556"/>
              </a:xfrm>
              <a:prstGeom prst="rect">
                <a:avLst/>
              </a:prstGeom>
            </p:spPr>
          </p:pic>
        </p:grpSp>
        <p:pic>
          <p:nvPicPr>
            <p:cNvPr id="14" name="Picture 13">
              <a:extLst>
                <a:ext uri="{FF2B5EF4-FFF2-40B4-BE49-F238E27FC236}">
                  <a16:creationId xmlns:a16="http://schemas.microsoft.com/office/drawing/2014/main" id="{6155C927-EDFB-43E1-BCBB-23A4F6AC565B}"/>
                </a:ext>
              </a:extLst>
            </p:cNvPr>
            <p:cNvPicPr>
              <a:picLocks noChangeAspect="1"/>
            </p:cNvPicPr>
            <p:nvPr/>
          </p:nvPicPr>
          <p:blipFill rotWithShape="1">
            <a:blip r:embed="rId4"/>
            <a:srcRect l="12736" t="36302" r="66595" b="61112"/>
            <a:stretch/>
          </p:blipFill>
          <p:spPr>
            <a:xfrm>
              <a:off x="1394088" y="3295103"/>
              <a:ext cx="1776335" cy="119921"/>
            </a:xfrm>
            <a:prstGeom prst="rect">
              <a:avLst/>
            </a:prstGeom>
          </p:spPr>
        </p:pic>
      </p:grpSp>
      <p:sp>
        <p:nvSpPr>
          <p:cNvPr id="18" name="Rectangle 17">
            <a:extLst>
              <a:ext uri="{FF2B5EF4-FFF2-40B4-BE49-F238E27FC236}">
                <a16:creationId xmlns:a16="http://schemas.microsoft.com/office/drawing/2014/main" id="{F5187FFA-4892-48A3-9691-2405C5157B39}"/>
              </a:ext>
            </a:extLst>
          </p:cNvPr>
          <p:cNvSpPr/>
          <p:nvPr/>
        </p:nvSpPr>
        <p:spPr>
          <a:xfrm>
            <a:off x="451425" y="2573730"/>
            <a:ext cx="11351177" cy="315311"/>
          </a:xfrm>
          <a:prstGeom prst="rect">
            <a:avLst/>
          </a:prstGeom>
          <a:noFill/>
          <a:ln>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pic>
        <p:nvPicPr>
          <p:cNvPr id="21" name="Picture 20">
            <a:extLst>
              <a:ext uri="{FF2B5EF4-FFF2-40B4-BE49-F238E27FC236}">
                <a16:creationId xmlns:a16="http://schemas.microsoft.com/office/drawing/2014/main" id="{20DB889A-EE71-4813-938A-67D4C4C7A85A}"/>
              </a:ext>
            </a:extLst>
          </p:cNvPr>
          <p:cNvPicPr>
            <a:picLocks noChangeAspect="1"/>
          </p:cNvPicPr>
          <p:nvPr/>
        </p:nvPicPr>
        <p:blipFill rotWithShape="1">
          <a:blip r:embed="rId6"/>
          <a:srcRect l="-511" t="4165" b="9489"/>
          <a:stretch/>
        </p:blipFill>
        <p:spPr>
          <a:xfrm>
            <a:off x="-1477315" y="-54590"/>
            <a:ext cx="15141012" cy="6930788"/>
          </a:xfrm>
          <a:prstGeom prst="rect">
            <a:avLst/>
          </a:prstGeom>
        </p:spPr>
      </p:pic>
    </p:spTree>
    <p:extLst>
      <p:ext uri="{BB962C8B-B14F-4D97-AF65-F5344CB8AC3E}">
        <p14:creationId xmlns:p14="http://schemas.microsoft.com/office/powerpoint/2010/main" val="3231826501"/>
      </p:ext>
    </p:extLst>
  </p:cSld>
  <p:clrMapOvr>
    <a:masterClrMapping/>
  </p:clrMapOvr>
  <p:transition spd="slow">
    <p:wipe dir="d"/>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C345493-9B83-4E1D-92B7-7386C397240C}"/>
              </a:ext>
            </a:extLst>
          </p:cNvPr>
          <p:cNvPicPr>
            <a:picLocks noChangeAspect="1"/>
          </p:cNvPicPr>
          <p:nvPr/>
        </p:nvPicPr>
        <p:blipFill rotWithShape="1">
          <a:blip r:embed="rId3"/>
          <a:srcRect b="5565"/>
          <a:stretch/>
        </p:blipFill>
        <p:spPr>
          <a:xfrm>
            <a:off x="390259" y="395251"/>
            <a:ext cx="11535064" cy="5910956"/>
          </a:xfrm>
          <a:prstGeom prst="rect">
            <a:avLst/>
          </a:prstGeom>
        </p:spPr>
      </p:pic>
      <p:pic>
        <p:nvPicPr>
          <p:cNvPr id="12" name="Picture 11">
            <a:extLst>
              <a:ext uri="{FF2B5EF4-FFF2-40B4-BE49-F238E27FC236}">
                <a16:creationId xmlns:a16="http://schemas.microsoft.com/office/drawing/2014/main" id="{CCC1266A-39E5-4DB8-A5D5-FD78C356FFFF}"/>
              </a:ext>
            </a:extLst>
          </p:cNvPr>
          <p:cNvPicPr>
            <a:picLocks noChangeAspect="1"/>
          </p:cNvPicPr>
          <p:nvPr/>
        </p:nvPicPr>
        <p:blipFill rotWithShape="1">
          <a:blip r:embed="rId4"/>
          <a:srcRect t="95244"/>
          <a:stretch/>
        </p:blipFill>
        <p:spPr>
          <a:xfrm>
            <a:off x="379750" y="6253652"/>
            <a:ext cx="11517961" cy="277923"/>
          </a:xfrm>
          <a:prstGeom prst="rect">
            <a:avLst/>
          </a:prstGeom>
        </p:spPr>
      </p:pic>
      <p:sp>
        <p:nvSpPr>
          <p:cNvPr id="2" name="Rectangle 1">
            <a:extLst>
              <a:ext uri="{FF2B5EF4-FFF2-40B4-BE49-F238E27FC236}">
                <a16:creationId xmlns:a16="http://schemas.microsoft.com/office/drawing/2014/main" id="{A0D88DE8-0271-4502-98CE-70311DCB752E}"/>
              </a:ext>
            </a:extLst>
          </p:cNvPr>
          <p:cNvSpPr/>
          <p:nvPr/>
        </p:nvSpPr>
        <p:spPr>
          <a:xfrm>
            <a:off x="659567" y="2138597"/>
            <a:ext cx="2308485" cy="277923"/>
          </a:xfrm>
          <a:prstGeom prst="rect">
            <a:avLst/>
          </a:prstGeom>
          <a:solidFill>
            <a:schemeClr val="bg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4" name="Rectangle 3">
            <a:extLst>
              <a:ext uri="{FF2B5EF4-FFF2-40B4-BE49-F238E27FC236}">
                <a16:creationId xmlns:a16="http://schemas.microsoft.com/office/drawing/2014/main" id="{41C96CA6-8AF6-42E3-90C1-C1CB7E2FF70F}"/>
              </a:ext>
            </a:extLst>
          </p:cNvPr>
          <p:cNvSpPr/>
          <p:nvPr/>
        </p:nvSpPr>
        <p:spPr>
          <a:xfrm>
            <a:off x="591126" y="3465945"/>
            <a:ext cx="8164945" cy="1976887"/>
          </a:xfrm>
          <a:prstGeom prst="rect">
            <a:avLst/>
          </a:prstGeom>
          <a:noFill/>
          <a:ln>
            <a:solidFill>
              <a:srgbClr val="FF00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pic>
        <p:nvPicPr>
          <p:cNvPr id="10" name="Picture 9">
            <a:extLst>
              <a:ext uri="{FF2B5EF4-FFF2-40B4-BE49-F238E27FC236}">
                <a16:creationId xmlns:a16="http://schemas.microsoft.com/office/drawing/2014/main" id="{1068167B-8823-4642-9DA5-36335AB8D8BD}"/>
              </a:ext>
            </a:extLst>
          </p:cNvPr>
          <p:cNvPicPr>
            <a:picLocks noChangeAspect="1"/>
          </p:cNvPicPr>
          <p:nvPr/>
        </p:nvPicPr>
        <p:blipFill rotWithShape="1">
          <a:blip r:embed="rId5"/>
          <a:srcRect l="-511" t="4165" b="9489"/>
          <a:stretch/>
        </p:blipFill>
        <p:spPr>
          <a:xfrm>
            <a:off x="-1477315" y="-43089"/>
            <a:ext cx="15141012" cy="6930788"/>
          </a:xfrm>
          <a:prstGeom prst="rect">
            <a:avLst/>
          </a:prstGeom>
        </p:spPr>
      </p:pic>
    </p:spTree>
    <p:extLst>
      <p:ext uri="{BB962C8B-B14F-4D97-AF65-F5344CB8AC3E}">
        <p14:creationId xmlns:p14="http://schemas.microsoft.com/office/powerpoint/2010/main" val="3308428406"/>
      </p:ext>
    </p:extLst>
  </p:cSld>
  <p:clrMapOvr>
    <a:masterClrMapping/>
  </p:clrMapOvr>
  <p:transition spd="slow">
    <p:wipe dir="d"/>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CA180224-1077-49E6-A803-60F1256339B9}"/>
              </a:ext>
            </a:extLst>
          </p:cNvPr>
          <p:cNvPicPr>
            <a:picLocks noChangeAspect="1"/>
          </p:cNvPicPr>
          <p:nvPr/>
        </p:nvPicPr>
        <p:blipFill rotWithShape="1">
          <a:blip r:embed="rId3"/>
          <a:srcRect t="95244"/>
          <a:stretch/>
        </p:blipFill>
        <p:spPr>
          <a:xfrm>
            <a:off x="379750" y="6253652"/>
            <a:ext cx="11517961" cy="277923"/>
          </a:xfrm>
          <a:prstGeom prst="rect">
            <a:avLst/>
          </a:prstGeom>
        </p:spPr>
      </p:pic>
      <p:pic>
        <p:nvPicPr>
          <p:cNvPr id="18" name="Picture 17">
            <a:extLst>
              <a:ext uri="{FF2B5EF4-FFF2-40B4-BE49-F238E27FC236}">
                <a16:creationId xmlns:a16="http://schemas.microsoft.com/office/drawing/2014/main" id="{4149F5C6-52E9-4BE0-8994-C044CF76AB12}"/>
              </a:ext>
            </a:extLst>
          </p:cNvPr>
          <p:cNvPicPr>
            <a:picLocks noChangeAspect="1"/>
          </p:cNvPicPr>
          <p:nvPr/>
        </p:nvPicPr>
        <p:blipFill rotWithShape="1">
          <a:blip r:embed="rId4"/>
          <a:srcRect b="5878"/>
          <a:stretch/>
        </p:blipFill>
        <p:spPr>
          <a:xfrm>
            <a:off x="387923" y="401947"/>
            <a:ext cx="11534255" cy="5569367"/>
          </a:xfrm>
          <a:prstGeom prst="rect">
            <a:avLst/>
          </a:prstGeom>
        </p:spPr>
      </p:pic>
      <p:sp>
        <p:nvSpPr>
          <p:cNvPr id="36" name="Rectangle 35">
            <a:extLst>
              <a:ext uri="{FF2B5EF4-FFF2-40B4-BE49-F238E27FC236}">
                <a16:creationId xmlns:a16="http://schemas.microsoft.com/office/drawing/2014/main" id="{BF521C12-06FD-41FC-BF12-1B6967E68ED2}"/>
              </a:ext>
            </a:extLst>
          </p:cNvPr>
          <p:cNvSpPr/>
          <p:nvPr/>
        </p:nvSpPr>
        <p:spPr>
          <a:xfrm>
            <a:off x="628074" y="1625601"/>
            <a:ext cx="2216727" cy="221673"/>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37" name="Rectangle 36">
            <a:extLst>
              <a:ext uri="{FF2B5EF4-FFF2-40B4-BE49-F238E27FC236}">
                <a16:creationId xmlns:a16="http://schemas.microsoft.com/office/drawing/2014/main" id="{C187FAA5-E5A2-4299-89DC-EDEB2EAE36C5}"/>
              </a:ext>
            </a:extLst>
          </p:cNvPr>
          <p:cNvSpPr/>
          <p:nvPr/>
        </p:nvSpPr>
        <p:spPr>
          <a:xfrm>
            <a:off x="640389" y="1908851"/>
            <a:ext cx="8164945" cy="2463031"/>
          </a:xfrm>
          <a:prstGeom prst="rect">
            <a:avLst/>
          </a:prstGeom>
          <a:noFill/>
          <a:ln>
            <a:solidFill>
              <a:schemeClr val="accent6"/>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pic>
        <p:nvPicPr>
          <p:cNvPr id="8" name="Picture 7">
            <a:extLst>
              <a:ext uri="{FF2B5EF4-FFF2-40B4-BE49-F238E27FC236}">
                <a16:creationId xmlns:a16="http://schemas.microsoft.com/office/drawing/2014/main" id="{E7F6377D-94CC-4002-9E1C-A4A0D35DCF62}"/>
              </a:ext>
            </a:extLst>
          </p:cNvPr>
          <p:cNvPicPr>
            <a:picLocks noChangeAspect="1"/>
          </p:cNvPicPr>
          <p:nvPr/>
        </p:nvPicPr>
        <p:blipFill rotWithShape="1">
          <a:blip r:embed="rId5"/>
          <a:srcRect l="-511" t="4165" b="9489"/>
          <a:stretch/>
        </p:blipFill>
        <p:spPr>
          <a:xfrm>
            <a:off x="-1477315" y="-83062"/>
            <a:ext cx="15141012" cy="6930788"/>
          </a:xfrm>
          <a:prstGeom prst="rect">
            <a:avLst/>
          </a:prstGeom>
        </p:spPr>
      </p:pic>
    </p:spTree>
    <p:extLst>
      <p:ext uri="{BB962C8B-B14F-4D97-AF65-F5344CB8AC3E}">
        <p14:creationId xmlns:p14="http://schemas.microsoft.com/office/powerpoint/2010/main" val="4148276727"/>
      </p:ext>
    </p:extLst>
  </p:cSld>
  <p:clrMapOvr>
    <a:masterClrMapping/>
  </p:clrMapOvr>
  <p:transition spd="slow">
    <p:wipe dir="d"/>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bwMode="auto">
          <a:xfrm>
            <a:off x="622322" y="455085"/>
            <a:ext cx="11127316"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9" tIns="60949" rIns="121899" bIns="60949"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lnSpc>
                <a:spcPct val="130000"/>
              </a:lnSpc>
              <a:spcAft>
                <a:spcPts val="1600"/>
              </a:spcAft>
            </a:pPr>
            <a:r>
              <a:rPr lang="en-GB"/>
              <a:t>Title Goes Here</a:t>
            </a:r>
            <a:endParaRPr lang="en-US" sz="2133">
              <a:solidFill>
                <a:schemeClr val="bg2"/>
              </a:solidFill>
            </a:endParaRPr>
          </a:p>
        </p:txBody>
      </p:sp>
      <p:sp>
        <p:nvSpPr>
          <p:cNvPr id="4" name="Rectangle 3">
            <a:extLst>
              <a:ext uri="{FF2B5EF4-FFF2-40B4-BE49-F238E27FC236}">
                <a16:creationId xmlns:a16="http://schemas.microsoft.com/office/drawing/2014/main" id="{4E8F4A07-42D7-447B-8AA6-898E8A44AA26}"/>
              </a:ext>
            </a:extLst>
          </p:cNvPr>
          <p:cNvSpPr/>
          <p:nvPr/>
        </p:nvSpPr>
        <p:spPr>
          <a:xfrm>
            <a:off x="739423" y="3561644"/>
            <a:ext cx="10747021" cy="250048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lnSpc>
                <a:spcPct val="130000"/>
              </a:lnSpc>
              <a:spcBef>
                <a:spcPct val="0"/>
              </a:spcBef>
              <a:spcAft>
                <a:spcPts val="800"/>
              </a:spcAft>
              <a:defRPr/>
            </a:pPr>
            <a:r>
              <a:rPr lang="en-US" sz="2667">
                <a:solidFill>
                  <a:srgbClr val="005073"/>
                </a:solidFill>
                <a:latin typeface="CiscoSansTT ExtraLight"/>
                <a:sym typeface="Arial"/>
              </a:rPr>
              <a:t>Cisco Managed Services Vision</a:t>
            </a:r>
          </a:p>
          <a:p>
            <a:pPr algn="ctr" defTabSz="609585" fontAlgn="base">
              <a:lnSpc>
                <a:spcPct val="130000"/>
              </a:lnSpc>
              <a:spcBef>
                <a:spcPct val="0"/>
              </a:spcBef>
              <a:spcAft>
                <a:spcPct val="0"/>
              </a:spcAft>
              <a:defRPr/>
            </a:pPr>
            <a:r>
              <a:rPr lang="en-US" sz="2000">
                <a:solidFill>
                  <a:srgbClr val="FFFFFF"/>
                </a:solidFill>
                <a:latin typeface="CiscoSansTT ExtraLight"/>
                <a:sym typeface="Arial"/>
              </a:rPr>
              <a:t>We enable the digital transformation of our customers, with our partners, </a:t>
            </a:r>
            <a:br>
              <a:rPr lang="en-US" sz="2000">
                <a:solidFill>
                  <a:srgbClr val="FFFFFF"/>
                </a:solidFill>
                <a:latin typeface="CiscoSansTT ExtraLight"/>
                <a:sym typeface="Arial"/>
              </a:rPr>
            </a:br>
            <a:r>
              <a:rPr lang="en-US" sz="2000">
                <a:solidFill>
                  <a:srgbClr val="FFFFFF"/>
                </a:solidFill>
                <a:latin typeface="CiscoSansTT ExtraLight"/>
                <a:sym typeface="Arial"/>
              </a:rPr>
              <a:t>by accelerating the adoption and maximizing the promise of Cisco technology </a:t>
            </a:r>
            <a:br>
              <a:rPr lang="en-US" sz="2000">
                <a:solidFill>
                  <a:srgbClr val="FFFFFF"/>
                </a:solidFill>
                <a:latin typeface="CiscoSansTT ExtraLight"/>
                <a:sym typeface="Arial"/>
              </a:rPr>
            </a:br>
            <a:r>
              <a:rPr lang="en-US" sz="2000">
                <a:solidFill>
                  <a:srgbClr val="FFFFFF"/>
                </a:solidFill>
                <a:latin typeface="CiscoSansTT ExtraLight"/>
                <a:sym typeface="Arial"/>
              </a:rPr>
              <a:t>through a premium managed experience.</a:t>
            </a:r>
          </a:p>
        </p:txBody>
      </p:sp>
      <p:pic>
        <p:nvPicPr>
          <p:cNvPr id="7" name="Picture 6">
            <a:extLst>
              <a:ext uri="{FF2B5EF4-FFF2-40B4-BE49-F238E27FC236}">
                <a16:creationId xmlns:a16="http://schemas.microsoft.com/office/drawing/2014/main" id="{2DAB2D74-FE57-4F8B-9295-3361194C0DAE}"/>
              </a:ext>
            </a:extLst>
          </p:cNvPr>
          <p:cNvPicPr>
            <a:picLocks noChangeAspect="1"/>
          </p:cNvPicPr>
          <p:nvPr/>
        </p:nvPicPr>
        <p:blipFill>
          <a:blip r:embed="rId2"/>
          <a:stretch>
            <a:fillRect/>
          </a:stretch>
        </p:blipFill>
        <p:spPr>
          <a:xfrm>
            <a:off x="5333820" y="891701"/>
            <a:ext cx="1558221" cy="1067043"/>
          </a:xfrm>
          <a:prstGeom prst="rect">
            <a:avLst/>
          </a:prstGeom>
        </p:spPr>
      </p:pic>
      <p:sp>
        <p:nvSpPr>
          <p:cNvPr id="5" name="Title 1">
            <a:extLst>
              <a:ext uri="{FF2B5EF4-FFF2-40B4-BE49-F238E27FC236}">
                <a16:creationId xmlns:a16="http://schemas.microsoft.com/office/drawing/2014/main" id="{5365B4B7-6DF0-46B2-8E28-1054EE8B7BF8}"/>
              </a:ext>
            </a:extLst>
          </p:cNvPr>
          <p:cNvSpPr txBox="1">
            <a:spLocks/>
          </p:cNvSpPr>
          <p:nvPr/>
        </p:nvSpPr>
        <p:spPr>
          <a:xfrm>
            <a:off x="737626" y="891702"/>
            <a:ext cx="10748433" cy="2761201"/>
          </a:xfrm>
          <a:prstGeom prst="rect">
            <a:avLst/>
          </a:prstGeom>
          <a:solidFill>
            <a:schemeClr val="bg2"/>
          </a:solidFill>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defTabSz="1219170">
              <a:lnSpc>
                <a:spcPct val="130000"/>
              </a:lnSpc>
              <a:spcAft>
                <a:spcPts val="1600"/>
              </a:spcAft>
            </a:pPr>
            <a:br>
              <a:rPr lang="en-US" sz="3200" kern="0">
                <a:solidFill>
                  <a:srgbClr val="00BCEB"/>
                </a:solidFill>
                <a:latin typeface="CiscoSansTT ExtraLight" panose="020B0303020201020303" pitchFamily="34" charset="0"/>
                <a:cs typeface="CiscoSansTT ExtraLight" panose="020B0303020201020303" pitchFamily="34" charset="0"/>
              </a:rPr>
            </a:br>
            <a:br>
              <a:rPr lang="en-US" sz="1333" kern="0">
                <a:solidFill>
                  <a:srgbClr val="00BCEB"/>
                </a:solidFill>
                <a:latin typeface="CiscoSansTT ExtraLight" panose="020B0303020201020303" pitchFamily="34" charset="0"/>
                <a:cs typeface="CiscoSansTT ExtraLight" panose="020B0303020201020303" pitchFamily="34" charset="0"/>
              </a:rPr>
            </a:br>
            <a:br>
              <a:rPr lang="en-US" sz="1333" kern="0">
                <a:solidFill>
                  <a:srgbClr val="00BCEB"/>
                </a:solidFill>
                <a:latin typeface="CiscoSansTT ExtraLight" panose="020B0303020201020303" pitchFamily="34" charset="0"/>
                <a:cs typeface="CiscoSansTT ExtraLight" panose="020B0303020201020303" pitchFamily="34" charset="0"/>
              </a:rPr>
            </a:br>
            <a:r>
              <a:rPr lang="en-US" sz="2667" kern="0">
                <a:solidFill>
                  <a:srgbClr val="00BCEB"/>
                </a:solidFill>
                <a:latin typeface="CiscoSansTT ExtraLight" panose="020B0303020201020303" pitchFamily="34" charset="0"/>
                <a:cs typeface="CiscoSansTT ExtraLight" panose="020B0303020201020303" pitchFamily="34" charset="0"/>
              </a:rPr>
              <a:t>Cisco Brand Promise</a:t>
            </a:r>
            <a:br>
              <a:rPr lang="en-US" sz="2133" kern="0">
                <a:solidFill>
                  <a:srgbClr val="14284A"/>
                </a:solidFill>
                <a:latin typeface="CiscoSansTT ExtraLight" panose="020B0303020201020303" pitchFamily="34" charset="0"/>
                <a:cs typeface="CiscoSansTT ExtraLight" panose="020B0303020201020303" pitchFamily="34" charset="0"/>
              </a:rPr>
            </a:br>
            <a:r>
              <a:rPr lang="en-US" sz="2133" kern="0">
                <a:solidFill>
                  <a:srgbClr val="FFFFFF"/>
                </a:solidFill>
                <a:latin typeface="CiscoSansTT ExtraLight" panose="020B0303020201020303" pitchFamily="34" charset="0"/>
                <a:cs typeface="CiscoSansTT ExtraLight" panose="020B0303020201020303" pitchFamily="34" charset="0"/>
              </a:rPr>
              <a:t>We securely connect everything to make anything possible.</a:t>
            </a:r>
          </a:p>
        </p:txBody>
      </p:sp>
      <p:pic>
        <p:nvPicPr>
          <p:cNvPr id="6" name="Picture 5">
            <a:extLst>
              <a:ext uri="{FF2B5EF4-FFF2-40B4-BE49-F238E27FC236}">
                <a16:creationId xmlns:a16="http://schemas.microsoft.com/office/drawing/2014/main" id="{4035C9E6-AFF2-40A7-A9AA-20A8A1E5463D}"/>
              </a:ext>
            </a:extLst>
          </p:cNvPr>
          <p:cNvPicPr>
            <a:picLocks noChangeAspect="1"/>
          </p:cNvPicPr>
          <p:nvPr/>
        </p:nvPicPr>
        <p:blipFill>
          <a:blip r:embed="rId2"/>
          <a:stretch>
            <a:fillRect/>
          </a:stretch>
        </p:blipFill>
        <p:spPr>
          <a:xfrm>
            <a:off x="5332023" y="911484"/>
            <a:ext cx="1558221" cy="956001"/>
          </a:xfrm>
          <a:prstGeom prst="rect">
            <a:avLst/>
          </a:prstGeom>
          <a:solidFill>
            <a:schemeClr val="bg2"/>
          </a:solidFill>
        </p:spPr>
      </p:pic>
    </p:spTree>
    <p:extLst>
      <p:ext uri="{BB962C8B-B14F-4D97-AF65-F5344CB8AC3E}">
        <p14:creationId xmlns:p14="http://schemas.microsoft.com/office/powerpoint/2010/main" val="17680334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94EFC0B-3EC2-42B0-92BC-2E9D7ECAAAD5}"/>
              </a:ext>
            </a:extLst>
          </p:cNvPr>
          <p:cNvPicPr>
            <a:picLocks noChangeAspect="1"/>
          </p:cNvPicPr>
          <p:nvPr/>
        </p:nvPicPr>
        <p:blipFill rotWithShape="1">
          <a:blip r:embed="rId3"/>
          <a:srcRect t="95244"/>
          <a:stretch/>
        </p:blipFill>
        <p:spPr>
          <a:xfrm>
            <a:off x="379750" y="6213679"/>
            <a:ext cx="11517961" cy="277923"/>
          </a:xfrm>
          <a:prstGeom prst="rect">
            <a:avLst/>
          </a:prstGeom>
        </p:spPr>
      </p:pic>
      <p:sp>
        <p:nvSpPr>
          <p:cNvPr id="5" name="Rectangle 4">
            <a:extLst>
              <a:ext uri="{FF2B5EF4-FFF2-40B4-BE49-F238E27FC236}">
                <a16:creationId xmlns:a16="http://schemas.microsoft.com/office/drawing/2014/main" id="{375A565E-96D5-4AF5-83AA-46544E41BE64}"/>
              </a:ext>
            </a:extLst>
          </p:cNvPr>
          <p:cNvSpPr/>
          <p:nvPr/>
        </p:nvSpPr>
        <p:spPr>
          <a:xfrm>
            <a:off x="669560" y="1618939"/>
            <a:ext cx="2308485" cy="277923"/>
          </a:xfrm>
          <a:prstGeom prst="rect">
            <a:avLst/>
          </a:prstGeom>
          <a:solidFill>
            <a:schemeClr val="bg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pic>
        <p:nvPicPr>
          <p:cNvPr id="10" name="Picture 9">
            <a:extLst>
              <a:ext uri="{FF2B5EF4-FFF2-40B4-BE49-F238E27FC236}">
                <a16:creationId xmlns:a16="http://schemas.microsoft.com/office/drawing/2014/main" id="{909D0AB6-8B6C-433A-A151-754EE04BF600}"/>
              </a:ext>
            </a:extLst>
          </p:cNvPr>
          <p:cNvPicPr>
            <a:picLocks noChangeAspect="1"/>
          </p:cNvPicPr>
          <p:nvPr/>
        </p:nvPicPr>
        <p:blipFill rotWithShape="1">
          <a:blip r:embed="rId4"/>
          <a:srcRect b="5957"/>
          <a:stretch/>
        </p:blipFill>
        <p:spPr>
          <a:xfrm>
            <a:off x="376969" y="431612"/>
            <a:ext cx="11517961" cy="5509397"/>
          </a:xfrm>
          <a:prstGeom prst="rect">
            <a:avLst/>
          </a:prstGeom>
        </p:spPr>
      </p:pic>
      <p:sp>
        <p:nvSpPr>
          <p:cNvPr id="11" name="Rectangle 10">
            <a:extLst>
              <a:ext uri="{FF2B5EF4-FFF2-40B4-BE49-F238E27FC236}">
                <a16:creationId xmlns:a16="http://schemas.microsoft.com/office/drawing/2014/main" id="{AD881FC3-B993-42D1-B39A-406EE5FE1A39}"/>
              </a:ext>
            </a:extLst>
          </p:cNvPr>
          <p:cNvSpPr/>
          <p:nvPr/>
        </p:nvSpPr>
        <p:spPr>
          <a:xfrm>
            <a:off x="669561" y="1986784"/>
            <a:ext cx="2136900" cy="272669"/>
          </a:xfrm>
          <a:prstGeom prst="rect">
            <a:avLst/>
          </a:prstGeom>
          <a:solidFill>
            <a:schemeClr val="bg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17" name="Rectangle 16">
            <a:extLst>
              <a:ext uri="{FF2B5EF4-FFF2-40B4-BE49-F238E27FC236}">
                <a16:creationId xmlns:a16="http://schemas.microsoft.com/office/drawing/2014/main" id="{9FEED35F-A075-4977-8E3F-6FE94CBEA760}"/>
              </a:ext>
            </a:extLst>
          </p:cNvPr>
          <p:cNvSpPr/>
          <p:nvPr/>
        </p:nvSpPr>
        <p:spPr>
          <a:xfrm>
            <a:off x="669561" y="2535637"/>
            <a:ext cx="8002863" cy="977659"/>
          </a:xfrm>
          <a:prstGeom prst="rect">
            <a:avLst/>
          </a:prstGeom>
          <a:noFill/>
          <a:ln>
            <a:solidFill>
              <a:schemeClr val="accent6"/>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pic>
        <p:nvPicPr>
          <p:cNvPr id="12" name="Picture 11">
            <a:extLst>
              <a:ext uri="{FF2B5EF4-FFF2-40B4-BE49-F238E27FC236}">
                <a16:creationId xmlns:a16="http://schemas.microsoft.com/office/drawing/2014/main" id="{4A675734-BCB8-440C-8627-88576A8FCD19}"/>
              </a:ext>
            </a:extLst>
          </p:cNvPr>
          <p:cNvPicPr>
            <a:picLocks noChangeAspect="1"/>
          </p:cNvPicPr>
          <p:nvPr/>
        </p:nvPicPr>
        <p:blipFill rotWithShape="1">
          <a:blip r:embed="rId5"/>
          <a:srcRect l="-511" t="4165" b="9489"/>
          <a:stretch/>
        </p:blipFill>
        <p:spPr>
          <a:xfrm>
            <a:off x="-1477315" y="-84570"/>
            <a:ext cx="15141012" cy="6930788"/>
          </a:xfrm>
          <a:prstGeom prst="rect">
            <a:avLst/>
          </a:prstGeom>
        </p:spPr>
      </p:pic>
    </p:spTree>
    <p:extLst>
      <p:ext uri="{BB962C8B-B14F-4D97-AF65-F5344CB8AC3E}">
        <p14:creationId xmlns:p14="http://schemas.microsoft.com/office/powerpoint/2010/main" val="17281507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36BD9E-23B2-46D8-B005-DE24CC8B8217}"/>
              </a:ext>
            </a:extLst>
          </p:cNvPr>
          <p:cNvPicPr>
            <a:picLocks noChangeAspect="1"/>
          </p:cNvPicPr>
          <p:nvPr/>
        </p:nvPicPr>
        <p:blipFill rotWithShape="1">
          <a:blip r:embed="rId3"/>
          <a:srcRect b="4530"/>
          <a:stretch/>
        </p:blipFill>
        <p:spPr>
          <a:xfrm>
            <a:off x="341638" y="431042"/>
            <a:ext cx="11579076" cy="5632557"/>
          </a:xfrm>
          <a:prstGeom prst="rect">
            <a:avLst/>
          </a:prstGeom>
        </p:spPr>
      </p:pic>
      <p:pic>
        <p:nvPicPr>
          <p:cNvPr id="9" name="Picture 8">
            <a:extLst>
              <a:ext uri="{FF2B5EF4-FFF2-40B4-BE49-F238E27FC236}">
                <a16:creationId xmlns:a16="http://schemas.microsoft.com/office/drawing/2014/main" id="{A94EFC0B-3EC2-42B0-92BC-2E9D7ECAAAD5}"/>
              </a:ext>
            </a:extLst>
          </p:cNvPr>
          <p:cNvPicPr>
            <a:picLocks noChangeAspect="1"/>
          </p:cNvPicPr>
          <p:nvPr/>
        </p:nvPicPr>
        <p:blipFill rotWithShape="1">
          <a:blip r:embed="rId4"/>
          <a:srcRect t="95244"/>
          <a:stretch/>
        </p:blipFill>
        <p:spPr>
          <a:xfrm>
            <a:off x="379750" y="6283632"/>
            <a:ext cx="11517961" cy="277923"/>
          </a:xfrm>
          <a:prstGeom prst="rect">
            <a:avLst/>
          </a:prstGeom>
        </p:spPr>
      </p:pic>
      <p:sp>
        <p:nvSpPr>
          <p:cNvPr id="5" name="Rectangle 4">
            <a:extLst>
              <a:ext uri="{FF2B5EF4-FFF2-40B4-BE49-F238E27FC236}">
                <a16:creationId xmlns:a16="http://schemas.microsoft.com/office/drawing/2014/main" id="{375A565E-96D5-4AF5-83AA-46544E41BE64}"/>
              </a:ext>
            </a:extLst>
          </p:cNvPr>
          <p:cNvSpPr/>
          <p:nvPr/>
        </p:nvSpPr>
        <p:spPr>
          <a:xfrm>
            <a:off x="627996" y="1923627"/>
            <a:ext cx="2308485" cy="277923"/>
          </a:xfrm>
          <a:prstGeom prst="rect">
            <a:avLst/>
          </a:prstGeom>
          <a:solidFill>
            <a:schemeClr val="bg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8" name="Rectangle 7">
            <a:extLst>
              <a:ext uri="{FF2B5EF4-FFF2-40B4-BE49-F238E27FC236}">
                <a16:creationId xmlns:a16="http://schemas.microsoft.com/office/drawing/2014/main" id="{269E4BA2-EB20-4429-BA6A-6729A1249CA2}"/>
              </a:ext>
            </a:extLst>
          </p:cNvPr>
          <p:cNvSpPr/>
          <p:nvPr/>
        </p:nvSpPr>
        <p:spPr>
          <a:xfrm>
            <a:off x="669560" y="2744427"/>
            <a:ext cx="2769504" cy="1874808"/>
          </a:xfrm>
          <a:prstGeom prst="rect">
            <a:avLst/>
          </a:prstGeom>
          <a:noFill/>
          <a:ln>
            <a:solidFill>
              <a:srgbClr val="FF00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7" name="Rectangle 6">
            <a:extLst>
              <a:ext uri="{FF2B5EF4-FFF2-40B4-BE49-F238E27FC236}">
                <a16:creationId xmlns:a16="http://schemas.microsoft.com/office/drawing/2014/main" id="{53EFF43A-8CED-4167-AB79-E6BE87CAD1E3}"/>
              </a:ext>
            </a:extLst>
          </p:cNvPr>
          <p:cNvSpPr/>
          <p:nvPr/>
        </p:nvSpPr>
        <p:spPr>
          <a:xfrm>
            <a:off x="877377" y="5016573"/>
            <a:ext cx="1217795" cy="226119"/>
          </a:xfrm>
          <a:prstGeom prst="rect">
            <a:avLst/>
          </a:prstGeom>
          <a:noFill/>
          <a:ln>
            <a:solidFill>
              <a:srgbClr val="FF00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pic>
        <p:nvPicPr>
          <p:cNvPr id="11" name="Picture 10">
            <a:extLst>
              <a:ext uri="{FF2B5EF4-FFF2-40B4-BE49-F238E27FC236}">
                <a16:creationId xmlns:a16="http://schemas.microsoft.com/office/drawing/2014/main" id="{2EBD2D65-CEA5-4FC2-A1D0-634D2CC0B078}"/>
              </a:ext>
            </a:extLst>
          </p:cNvPr>
          <p:cNvPicPr>
            <a:picLocks noChangeAspect="1"/>
          </p:cNvPicPr>
          <p:nvPr/>
        </p:nvPicPr>
        <p:blipFill rotWithShape="1">
          <a:blip r:embed="rId5"/>
          <a:srcRect l="-511" t="4165" b="9489"/>
          <a:stretch/>
        </p:blipFill>
        <p:spPr>
          <a:xfrm>
            <a:off x="-1477315" y="-54590"/>
            <a:ext cx="15141012" cy="6930788"/>
          </a:xfrm>
          <a:prstGeom prst="rect">
            <a:avLst/>
          </a:prstGeom>
        </p:spPr>
      </p:pic>
    </p:spTree>
    <p:extLst>
      <p:ext uri="{BB962C8B-B14F-4D97-AF65-F5344CB8AC3E}">
        <p14:creationId xmlns:p14="http://schemas.microsoft.com/office/powerpoint/2010/main" val="1278754002"/>
      </p:ext>
    </p:extLst>
  </p:cSld>
  <p:clrMapOvr>
    <a:masterClrMapping/>
  </p:clrMapOvr>
  <p:transition spd="slow">
    <p:wipe dir="d"/>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C72CB6-DF3C-42CB-A2D9-3EB0A573EB43}"/>
              </a:ext>
            </a:extLst>
          </p:cNvPr>
          <p:cNvPicPr>
            <a:picLocks noChangeAspect="1"/>
          </p:cNvPicPr>
          <p:nvPr/>
        </p:nvPicPr>
        <p:blipFill rotWithShape="1">
          <a:blip r:embed="rId3"/>
          <a:srcRect b="4636"/>
          <a:stretch/>
        </p:blipFill>
        <p:spPr>
          <a:xfrm>
            <a:off x="327196" y="404491"/>
            <a:ext cx="11596461" cy="5879141"/>
          </a:xfrm>
          <a:prstGeom prst="rect">
            <a:avLst/>
          </a:prstGeom>
        </p:spPr>
      </p:pic>
      <p:pic>
        <p:nvPicPr>
          <p:cNvPr id="7" name="Picture 6">
            <a:extLst>
              <a:ext uri="{FF2B5EF4-FFF2-40B4-BE49-F238E27FC236}">
                <a16:creationId xmlns:a16="http://schemas.microsoft.com/office/drawing/2014/main" id="{969BF577-7D69-4581-B5E8-8BCCC18E671C}"/>
              </a:ext>
            </a:extLst>
          </p:cNvPr>
          <p:cNvPicPr>
            <a:picLocks noChangeAspect="1"/>
          </p:cNvPicPr>
          <p:nvPr/>
        </p:nvPicPr>
        <p:blipFill rotWithShape="1">
          <a:blip r:embed="rId4"/>
          <a:srcRect t="95244"/>
          <a:stretch/>
        </p:blipFill>
        <p:spPr>
          <a:xfrm>
            <a:off x="379750" y="6283632"/>
            <a:ext cx="11517961" cy="277923"/>
          </a:xfrm>
          <a:prstGeom prst="rect">
            <a:avLst/>
          </a:prstGeom>
        </p:spPr>
      </p:pic>
      <p:sp>
        <p:nvSpPr>
          <p:cNvPr id="9" name="Rectangle 8">
            <a:extLst>
              <a:ext uri="{FF2B5EF4-FFF2-40B4-BE49-F238E27FC236}">
                <a16:creationId xmlns:a16="http://schemas.microsoft.com/office/drawing/2014/main" id="{227CEA3E-A835-4EA4-BAE8-1355A41FBAB4}"/>
              </a:ext>
            </a:extLst>
          </p:cNvPr>
          <p:cNvSpPr/>
          <p:nvPr/>
        </p:nvSpPr>
        <p:spPr>
          <a:xfrm>
            <a:off x="638546" y="1698885"/>
            <a:ext cx="2308485" cy="277923"/>
          </a:xfrm>
          <a:prstGeom prst="rect">
            <a:avLst/>
          </a:prstGeom>
          <a:solidFill>
            <a:schemeClr val="bg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10" name="Rectangle 9">
            <a:extLst>
              <a:ext uri="{FF2B5EF4-FFF2-40B4-BE49-F238E27FC236}">
                <a16:creationId xmlns:a16="http://schemas.microsoft.com/office/drawing/2014/main" id="{0A4668A4-6A80-460F-8AAC-DB2CDEB98F49}"/>
              </a:ext>
            </a:extLst>
          </p:cNvPr>
          <p:cNvSpPr/>
          <p:nvPr/>
        </p:nvSpPr>
        <p:spPr>
          <a:xfrm>
            <a:off x="856544" y="3572563"/>
            <a:ext cx="5872061" cy="1368592"/>
          </a:xfrm>
          <a:prstGeom prst="rect">
            <a:avLst/>
          </a:prstGeom>
          <a:noFill/>
          <a:ln>
            <a:solidFill>
              <a:srgbClr val="FF00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2" name="Rectangle 1">
            <a:extLst>
              <a:ext uri="{FF2B5EF4-FFF2-40B4-BE49-F238E27FC236}">
                <a16:creationId xmlns:a16="http://schemas.microsoft.com/office/drawing/2014/main" id="{067B3624-CABB-456D-BB78-32777B57A01E}"/>
              </a:ext>
            </a:extLst>
          </p:cNvPr>
          <p:cNvSpPr/>
          <p:nvPr/>
        </p:nvSpPr>
        <p:spPr>
          <a:xfrm>
            <a:off x="868044" y="2973019"/>
            <a:ext cx="6320635" cy="50896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pic>
        <p:nvPicPr>
          <p:cNvPr id="11" name="Picture 10">
            <a:extLst>
              <a:ext uri="{FF2B5EF4-FFF2-40B4-BE49-F238E27FC236}">
                <a16:creationId xmlns:a16="http://schemas.microsoft.com/office/drawing/2014/main" id="{5CC1DBEE-8829-40A9-A203-88725AE79934}"/>
              </a:ext>
            </a:extLst>
          </p:cNvPr>
          <p:cNvPicPr>
            <a:picLocks noChangeAspect="1"/>
          </p:cNvPicPr>
          <p:nvPr/>
        </p:nvPicPr>
        <p:blipFill rotWithShape="1">
          <a:blip r:embed="rId5"/>
          <a:srcRect l="-511" t="4165" b="9489"/>
          <a:stretch/>
        </p:blipFill>
        <p:spPr>
          <a:xfrm>
            <a:off x="-1477315" y="-54590"/>
            <a:ext cx="15141012" cy="6930788"/>
          </a:xfrm>
          <a:prstGeom prst="rect">
            <a:avLst/>
          </a:prstGeom>
        </p:spPr>
      </p:pic>
    </p:spTree>
    <p:extLst>
      <p:ext uri="{BB962C8B-B14F-4D97-AF65-F5344CB8AC3E}">
        <p14:creationId xmlns:p14="http://schemas.microsoft.com/office/powerpoint/2010/main" val="1063876202"/>
      </p:ext>
    </p:extLst>
  </p:cSld>
  <p:clrMapOvr>
    <a:masterClrMapping/>
  </p:clrMapOvr>
  <p:transition spd="slow">
    <p:wipe dir="d"/>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27CEA3E-A835-4EA4-BAE8-1355A41FBAB4}"/>
              </a:ext>
            </a:extLst>
          </p:cNvPr>
          <p:cNvSpPr/>
          <p:nvPr/>
        </p:nvSpPr>
        <p:spPr>
          <a:xfrm>
            <a:off x="638546" y="1668905"/>
            <a:ext cx="2308485" cy="277923"/>
          </a:xfrm>
          <a:prstGeom prst="rect">
            <a:avLst/>
          </a:prstGeom>
          <a:solidFill>
            <a:schemeClr val="bg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10" name="Rectangle 9">
            <a:extLst>
              <a:ext uri="{FF2B5EF4-FFF2-40B4-BE49-F238E27FC236}">
                <a16:creationId xmlns:a16="http://schemas.microsoft.com/office/drawing/2014/main" id="{0A4668A4-6A80-460F-8AAC-DB2CDEB98F49}"/>
              </a:ext>
            </a:extLst>
          </p:cNvPr>
          <p:cNvSpPr/>
          <p:nvPr/>
        </p:nvSpPr>
        <p:spPr>
          <a:xfrm>
            <a:off x="856544" y="3542583"/>
            <a:ext cx="5872061" cy="1368592"/>
          </a:xfrm>
          <a:prstGeom prst="rect">
            <a:avLst/>
          </a:prstGeom>
          <a:noFill/>
          <a:ln>
            <a:solidFill>
              <a:srgbClr val="FF00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2" name="Rectangle 1">
            <a:extLst>
              <a:ext uri="{FF2B5EF4-FFF2-40B4-BE49-F238E27FC236}">
                <a16:creationId xmlns:a16="http://schemas.microsoft.com/office/drawing/2014/main" id="{067B3624-CABB-456D-BB78-32777B57A01E}"/>
              </a:ext>
            </a:extLst>
          </p:cNvPr>
          <p:cNvSpPr/>
          <p:nvPr/>
        </p:nvSpPr>
        <p:spPr>
          <a:xfrm>
            <a:off x="868044" y="2943039"/>
            <a:ext cx="6320635" cy="50896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grpSp>
        <p:nvGrpSpPr>
          <p:cNvPr id="4" name="Group 3">
            <a:extLst>
              <a:ext uri="{FF2B5EF4-FFF2-40B4-BE49-F238E27FC236}">
                <a16:creationId xmlns:a16="http://schemas.microsoft.com/office/drawing/2014/main" id="{94488EF3-F63C-4803-8CBD-ECC5930B0036}"/>
              </a:ext>
            </a:extLst>
          </p:cNvPr>
          <p:cNvGrpSpPr/>
          <p:nvPr/>
        </p:nvGrpSpPr>
        <p:grpSpPr>
          <a:xfrm>
            <a:off x="327196" y="374512"/>
            <a:ext cx="11596461" cy="5948065"/>
            <a:chOff x="245397" y="280883"/>
            <a:chExt cx="8697346" cy="4461049"/>
          </a:xfrm>
        </p:grpSpPr>
        <p:pic>
          <p:nvPicPr>
            <p:cNvPr id="3" name="Picture 2">
              <a:extLst>
                <a:ext uri="{FF2B5EF4-FFF2-40B4-BE49-F238E27FC236}">
                  <a16:creationId xmlns:a16="http://schemas.microsoft.com/office/drawing/2014/main" id="{DEC72CB6-DF3C-42CB-A2D9-3EB0A573EB43}"/>
                </a:ext>
              </a:extLst>
            </p:cNvPr>
            <p:cNvPicPr>
              <a:picLocks noChangeAspect="1"/>
            </p:cNvPicPr>
            <p:nvPr/>
          </p:nvPicPr>
          <p:blipFill rotWithShape="1">
            <a:blip r:embed="rId3"/>
            <a:srcRect b="4636"/>
            <a:stretch/>
          </p:blipFill>
          <p:spPr>
            <a:xfrm>
              <a:off x="245397" y="280883"/>
              <a:ext cx="8697346" cy="4409356"/>
            </a:xfrm>
            <a:prstGeom prst="rect">
              <a:avLst/>
            </a:prstGeom>
          </p:spPr>
        </p:pic>
        <p:pic>
          <p:nvPicPr>
            <p:cNvPr id="11" name="Picture 11" descr="A screenshot of a cell phone&#10;&#10;Description generated with very high confidence">
              <a:extLst>
                <a:ext uri="{FF2B5EF4-FFF2-40B4-BE49-F238E27FC236}">
                  <a16:creationId xmlns:a16="http://schemas.microsoft.com/office/drawing/2014/main" id="{C0B11094-D51F-438D-A05A-690F7A84F0E7}"/>
                </a:ext>
              </a:extLst>
            </p:cNvPr>
            <p:cNvPicPr>
              <a:picLocks noChangeAspect="1"/>
            </p:cNvPicPr>
            <p:nvPr/>
          </p:nvPicPr>
          <p:blipFill>
            <a:blip r:embed="rId4"/>
            <a:stretch>
              <a:fillRect/>
            </a:stretch>
          </p:blipFill>
          <p:spPr>
            <a:xfrm>
              <a:off x="309930" y="698913"/>
              <a:ext cx="8568102" cy="4043019"/>
            </a:xfrm>
            <a:prstGeom prst="rect">
              <a:avLst/>
            </a:prstGeom>
          </p:spPr>
        </p:pic>
        <p:pic>
          <p:nvPicPr>
            <p:cNvPr id="21" name="Picture 21" descr="A screenshot of a cell phone&#10;&#10;Description generated with very high confidence">
              <a:extLst>
                <a:ext uri="{FF2B5EF4-FFF2-40B4-BE49-F238E27FC236}">
                  <a16:creationId xmlns:a16="http://schemas.microsoft.com/office/drawing/2014/main" id="{029D8D93-0DF9-4736-8204-70887E4900AE}"/>
                </a:ext>
              </a:extLst>
            </p:cNvPr>
            <p:cNvPicPr>
              <a:picLocks noChangeAspect="1"/>
            </p:cNvPicPr>
            <p:nvPr/>
          </p:nvPicPr>
          <p:blipFill>
            <a:blip r:embed="rId5"/>
            <a:stretch>
              <a:fillRect/>
            </a:stretch>
          </p:blipFill>
          <p:spPr>
            <a:xfrm>
              <a:off x="2683852" y="781693"/>
              <a:ext cx="2743200" cy="1612836"/>
            </a:xfrm>
            <a:prstGeom prst="rect">
              <a:avLst/>
            </a:prstGeom>
          </p:spPr>
        </p:pic>
      </p:grpSp>
      <p:sp>
        <p:nvSpPr>
          <p:cNvPr id="12" name="Rectangle 11">
            <a:extLst>
              <a:ext uri="{FF2B5EF4-FFF2-40B4-BE49-F238E27FC236}">
                <a16:creationId xmlns:a16="http://schemas.microsoft.com/office/drawing/2014/main" id="{BEAC8477-B19F-49B7-87F4-26ABC07A2215}"/>
              </a:ext>
            </a:extLst>
          </p:cNvPr>
          <p:cNvSpPr/>
          <p:nvPr/>
        </p:nvSpPr>
        <p:spPr>
          <a:xfrm>
            <a:off x="3578469" y="1037106"/>
            <a:ext cx="3657600" cy="2155599"/>
          </a:xfrm>
          <a:prstGeom prst="rect">
            <a:avLst/>
          </a:prstGeom>
          <a:noFill/>
          <a:ln>
            <a:solidFill>
              <a:srgbClr val="FF00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CiscoSansTT ExtraLight"/>
              <a:sym typeface="Arial"/>
            </a:endParaRPr>
          </a:p>
        </p:txBody>
      </p:sp>
      <p:grpSp>
        <p:nvGrpSpPr>
          <p:cNvPr id="13" name="Group 12">
            <a:extLst>
              <a:ext uri="{FF2B5EF4-FFF2-40B4-BE49-F238E27FC236}">
                <a16:creationId xmlns:a16="http://schemas.microsoft.com/office/drawing/2014/main" id="{A20AE893-2B1D-49E7-A831-A47CA52C9110}"/>
              </a:ext>
            </a:extLst>
          </p:cNvPr>
          <p:cNvGrpSpPr/>
          <p:nvPr/>
        </p:nvGrpSpPr>
        <p:grpSpPr>
          <a:xfrm>
            <a:off x="-1477315" y="-54590"/>
            <a:ext cx="15141012" cy="6930788"/>
            <a:chOff x="-1107987" y="-40943"/>
            <a:chExt cx="11355759" cy="5198091"/>
          </a:xfrm>
        </p:grpSpPr>
        <p:pic>
          <p:nvPicPr>
            <p:cNvPr id="14" name="Picture 13">
              <a:extLst>
                <a:ext uri="{FF2B5EF4-FFF2-40B4-BE49-F238E27FC236}">
                  <a16:creationId xmlns:a16="http://schemas.microsoft.com/office/drawing/2014/main" id="{1B957D79-918A-4AFF-BC9E-91CFB3F23854}"/>
                </a:ext>
              </a:extLst>
            </p:cNvPr>
            <p:cNvPicPr>
              <a:picLocks noChangeAspect="1"/>
            </p:cNvPicPr>
            <p:nvPr/>
          </p:nvPicPr>
          <p:blipFill rotWithShape="1">
            <a:blip r:embed="rId6"/>
            <a:srcRect t="95244"/>
            <a:stretch/>
          </p:blipFill>
          <p:spPr>
            <a:xfrm>
              <a:off x="284812" y="4690239"/>
              <a:ext cx="8638471" cy="208442"/>
            </a:xfrm>
            <a:prstGeom prst="rect">
              <a:avLst/>
            </a:prstGeom>
          </p:spPr>
        </p:pic>
        <p:pic>
          <p:nvPicPr>
            <p:cNvPr id="15" name="Picture 14">
              <a:extLst>
                <a:ext uri="{FF2B5EF4-FFF2-40B4-BE49-F238E27FC236}">
                  <a16:creationId xmlns:a16="http://schemas.microsoft.com/office/drawing/2014/main" id="{0DFA62AA-9754-44AD-AD5D-A8246D7FAC65}"/>
                </a:ext>
              </a:extLst>
            </p:cNvPr>
            <p:cNvPicPr>
              <a:picLocks noChangeAspect="1"/>
            </p:cNvPicPr>
            <p:nvPr/>
          </p:nvPicPr>
          <p:blipFill rotWithShape="1">
            <a:blip r:embed="rId7"/>
            <a:srcRect l="-511" t="4165" b="9489"/>
            <a:stretch/>
          </p:blipFill>
          <p:spPr>
            <a:xfrm>
              <a:off x="-1107987" y="-40943"/>
              <a:ext cx="11355759" cy="5198091"/>
            </a:xfrm>
            <a:prstGeom prst="rect">
              <a:avLst/>
            </a:prstGeom>
          </p:spPr>
        </p:pic>
      </p:grpSp>
      <p:pic>
        <p:nvPicPr>
          <p:cNvPr id="5" name="Picture 5" descr="A screenshot of a cell phone&#10;&#10;Description generated with very high confidence">
            <a:extLst>
              <a:ext uri="{FF2B5EF4-FFF2-40B4-BE49-F238E27FC236}">
                <a16:creationId xmlns:a16="http://schemas.microsoft.com/office/drawing/2014/main" id="{9DD7C58A-0B90-4EB5-ACFC-7BA7AC4CA44E}"/>
              </a:ext>
            </a:extLst>
          </p:cNvPr>
          <p:cNvPicPr>
            <a:picLocks noChangeAspect="1"/>
          </p:cNvPicPr>
          <p:nvPr/>
        </p:nvPicPr>
        <p:blipFill>
          <a:blip r:embed="rId8"/>
          <a:stretch>
            <a:fillRect/>
          </a:stretch>
        </p:blipFill>
        <p:spPr>
          <a:xfrm>
            <a:off x="3618452" y="1058806"/>
            <a:ext cx="3598985" cy="2124676"/>
          </a:xfrm>
          <a:prstGeom prst="rect">
            <a:avLst/>
          </a:prstGeom>
        </p:spPr>
      </p:pic>
    </p:spTree>
    <p:extLst>
      <p:ext uri="{BB962C8B-B14F-4D97-AF65-F5344CB8AC3E}">
        <p14:creationId xmlns:p14="http://schemas.microsoft.com/office/powerpoint/2010/main" val="1992924161"/>
      </p:ext>
    </p:extLst>
  </p:cSld>
  <p:clrMapOvr>
    <a:masterClrMapping/>
  </p:clrMapOvr>
  <p:transition spd="slow">
    <p:wipe dir="d"/>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9340D-DC4E-413E-A237-ECC6990ADCF4}"/>
              </a:ext>
            </a:extLst>
          </p:cNvPr>
          <p:cNvPicPr>
            <a:picLocks noChangeAspect="1"/>
          </p:cNvPicPr>
          <p:nvPr/>
        </p:nvPicPr>
        <p:blipFill>
          <a:blip r:embed="rId3"/>
          <a:stretch>
            <a:fillRect/>
          </a:stretch>
        </p:blipFill>
        <p:spPr>
          <a:xfrm>
            <a:off x="378369" y="393593"/>
            <a:ext cx="11477299" cy="5881012"/>
          </a:xfrm>
          <a:prstGeom prst="rect">
            <a:avLst/>
          </a:prstGeom>
        </p:spPr>
      </p:pic>
      <p:grpSp>
        <p:nvGrpSpPr>
          <p:cNvPr id="6" name="Group 5">
            <a:extLst>
              <a:ext uri="{FF2B5EF4-FFF2-40B4-BE49-F238E27FC236}">
                <a16:creationId xmlns:a16="http://schemas.microsoft.com/office/drawing/2014/main" id="{FA510A09-1C94-4F98-81C3-699EBEE832D5}"/>
              </a:ext>
            </a:extLst>
          </p:cNvPr>
          <p:cNvGrpSpPr/>
          <p:nvPr/>
        </p:nvGrpSpPr>
        <p:grpSpPr>
          <a:xfrm>
            <a:off x="-1477315" y="-65101"/>
            <a:ext cx="15141012" cy="6930788"/>
            <a:chOff x="-1107987" y="-40943"/>
            <a:chExt cx="11355759" cy="5198091"/>
          </a:xfrm>
        </p:grpSpPr>
        <p:pic>
          <p:nvPicPr>
            <p:cNvPr id="7" name="Picture 6">
              <a:extLst>
                <a:ext uri="{FF2B5EF4-FFF2-40B4-BE49-F238E27FC236}">
                  <a16:creationId xmlns:a16="http://schemas.microsoft.com/office/drawing/2014/main" id="{969BF577-7D69-4581-B5E8-8BCCC18E671C}"/>
                </a:ext>
              </a:extLst>
            </p:cNvPr>
            <p:cNvPicPr>
              <a:picLocks noChangeAspect="1"/>
            </p:cNvPicPr>
            <p:nvPr/>
          </p:nvPicPr>
          <p:blipFill rotWithShape="1">
            <a:blip r:embed="rId4"/>
            <a:srcRect t="95244"/>
            <a:stretch/>
          </p:blipFill>
          <p:spPr>
            <a:xfrm>
              <a:off x="284812" y="4690239"/>
              <a:ext cx="8638471" cy="208442"/>
            </a:xfrm>
            <a:prstGeom prst="rect">
              <a:avLst/>
            </a:prstGeom>
          </p:spPr>
        </p:pic>
        <p:pic>
          <p:nvPicPr>
            <p:cNvPr id="8" name="Picture 7">
              <a:extLst>
                <a:ext uri="{FF2B5EF4-FFF2-40B4-BE49-F238E27FC236}">
                  <a16:creationId xmlns:a16="http://schemas.microsoft.com/office/drawing/2014/main" id="{22E2759B-114D-40C1-829D-B10D8C00B997}"/>
                </a:ext>
              </a:extLst>
            </p:cNvPr>
            <p:cNvPicPr>
              <a:picLocks noChangeAspect="1"/>
            </p:cNvPicPr>
            <p:nvPr/>
          </p:nvPicPr>
          <p:blipFill rotWithShape="1">
            <a:blip r:embed="rId5"/>
            <a:srcRect l="-511" t="4165" b="9489"/>
            <a:stretch/>
          </p:blipFill>
          <p:spPr>
            <a:xfrm>
              <a:off x="-1107987" y="-40943"/>
              <a:ext cx="11355759" cy="5198091"/>
            </a:xfrm>
            <a:prstGeom prst="rect">
              <a:avLst/>
            </a:prstGeom>
          </p:spPr>
        </p:pic>
      </p:grpSp>
      <p:sp>
        <p:nvSpPr>
          <p:cNvPr id="2" name="TextBox 1">
            <a:extLst>
              <a:ext uri="{FF2B5EF4-FFF2-40B4-BE49-F238E27FC236}">
                <a16:creationId xmlns:a16="http://schemas.microsoft.com/office/drawing/2014/main" id="{DE6F2DC9-E23A-4A2A-BE92-9EAB3E1B7831}"/>
              </a:ext>
            </a:extLst>
          </p:cNvPr>
          <p:cNvSpPr txBox="1"/>
          <p:nvPr/>
        </p:nvSpPr>
        <p:spPr>
          <a:xfrm>
            <a:off x="441436" y="776536"/>
            <a:ext cx="2736480" cy="215444"/>
          </a:xfrm>
          <a:prstGeom prst="rect">
            <a:avLst/>
          </a:prstGeom>
          <a:solidFill>
            <a:schemeClr val="bg1"/>
          </a:solidFill>
        </p:spPr>
        <p:txBody>
          <a:bodyPr wrap="square" rtlCol="0">
            <a:spAutoFit/>
          </a:bodyPr>
          <a:lstStyle/>
          <a:p>
            <a:pPr algn="ctr" defTabSz="609585" fontAlgn="base">
              <a:spcBef>
                <a:spcPct val="0"/>
              </a:spcBef>
              <a:spcAft>
                <a:spcPct val="0"/>
              </a:spcAft>
              <a:defRPr/>
            </a:pPr>
            <a:r>
              <a:rPr lang="en-US" sz="800">
                <a:solidFill>
                  <a:srgbClr val="FFFFFF"/>
                </a:solidFill>
                <a:latin typeface="CiscoSansTT ExtraLight"/>
                <a:ea typeface="ＭＳ Ｐゴシック" charset="0"/>
                <a:cs typeface="Arial"/>
                <a:sym typeface="Arial"/>
              </a:rPr>
              <a:t>Active Incidents </a:t>
            </a:r>
          </a:p>
        </p:txBody>
      </p:sp>
      <p:sp>
        <p:nvSpPr>
          <p:cNvPr id="9" name="TextBox 8">
            <a:extLst>
              <a:ext uri="{FF2B5EF4-FFF2-40B4-BE49-F238E27FC236}">
                <a16:creationId xmlns:a16="http://schemas.microsoft.com/office/drawing/2014/main" id="{A798715D-0964-4E5F-B228-3ED27B18407F}"/>
              </a:ext>
            </a:extLst>
          </p:cNvPr>
          <p:cNvSpPr txBox="1"/>
          <p:nvPr/>
        </p:nvSpPr>
        <p:spPr>
          <a:xfrm>
            <a:off x="3304157" y="776536"/>
            <a:ext cx="2748915" cy="215444"/>
          </a:xfrm>
          <a:prstGeom prst="rect">
            <a:avLst/>
          </a:prstGeom>
          <a:solidFill>
            <a:schemeClr val="bg1"/>
          </a:solidFill>
        </p:spPr>
        <p:txBody>
          <a:bodyPr wrap="square" rtlCol="0">
            <a:spAutoFit/>
          </a:bodyPr>
          <a:lstStyle/>
          <a:p>
            <a:pPr algn="ctr" defTabSz="609585" fontAlgn="base">
              <a:spcBef>
                <a:spcPct val="0"/>
              </a:spcBef>
              <a:spcAft>
                <a:spcPct val="0"/>
              </a:spcAft>
              <a:defRPr/>
            </a:pPr>
            <a:r>
              <a:rPr lang="en-US" sz="800">
                <a:solidFill>
                  <a:srgbClr val="FFFFFF"/>
                </a:solidFill>
                <a:latin typeface="CiscoSansTT ExtraLight"/>
                <a:ea typeface="ＭＳ Ｐゴシック" charset="0"/>
                <a:cs typeface="Arial"/>
                <a:sym typeface="Arial"/>
              </a:rPr>
              <a:t>Active Threats by Category</a:t>
            </a:r>
          </a:p>
        </p:txBody>
      </p:sp>
      <p:sp>
        <p:nvSpPr>
          <p:cNvPr id="10" name="TextBox 9">
            <a:extLst>
              <a:ext uri="{FF2B5EF4-FFF2-40B4-BE49-F238E27FC236}">
                <a16:creationId xmlns:a16="http://schemas.microsoft.com/office/drawing/2014/main" id="{07629B16-6A33-4A65-8981-753D58931B96}"/>
              </a:ext>
            </a:extLst>
          </p:cNvPr>
          <p:cNvSpPr txBox="1"/>
          <p:nvPr/>
        </p:nvSpPr>
        <p:spPr>
          <a:xfrm>
            <a:off x="6179313" y="776536"/>
            <a:ext cx="2748915" cy="215444"/>
          </a:xfrm>
          <a:prstGeom prst="rect">
            <a:avLst/>
          </a:prstGeom>
          <a:solidFill>
            <a:schemeClr val="bg1"/>
          </a:solidFill>
        </p:spPr>
        <p:txBody>
          <a:bodyPr wrap="square" rtlCol="0">
            <a:spAutoFit/>
          </a:bodyPr>
          <a:lstStyle/>
          <a:p>
            <a:pPr algn="ctr" defTabSz="609585" fontAlgn="base">
              <a:spcBef>
                <a:spcPct val="0"/>
              </a:spcBef>
              <a:spcAft>
                <a:spcPct val="0"/>
              </a:spcAft>
              <a:defRPr/>
            </a:pPr>
            <a:r>
              <a:rPr lang="en-US" sz="800">
                <a:solidFill>
                  <a:srgbClr val="FFFFFF"/>
                </a:solidFill>
                <a:latin typeface="CiscoSansTT ExtraLight"/>
                <a:ea typeface="ＭＳ Ｐゴシック" charset="0"/>
                <a:cs typeface="Arial"/>
                <a:sym typeface="Arial"/>
              </a:rPr>
              <a:t>Active Threats – Products Involved in Detection</a:t>
            </a:r>
          </a:p>
        </p:txBody>
      </p:sp>
      <p:sp>
        <p:nvSpPr>
          <p:cNvPr id="11" name="TextBox 10">
            <a:extLst>
              <a:ext uri="{FF2B5EF4-FFF2-40B4-BE49-F238E27FC236}">
                <a16:creationId xmlns:a16="http://schemas.microsoft.com/office/drawing/2014/main" id="{ED6C8AAD-A05A-49E7-BBBE-68FAC19D463E}"/>
              </a:ext>
            </a:extLst>
          </p:cNvPr>
          <p:cNvSpPr txBox="1"/>
          <p:nvPr/>
        </p:nvSpPr>
        <p:spPr>
          <a:xfrm>
            <a:off x="9029113" y="776536"/>
            <a:ext cx="2748915" cy="215444"/>
          </a:xfrm>
          <a:prstGeom prst="rect">
            <a:avLst/>
          </a:prstGeom>
          <a:solidFill>
            <a:schemeClr val="bg1"/>
          </a:solidFill>
        </p:spPr>
        <p:txBody>
          <a:bodyPr wrap="square" rtlCol="0">
            <a:spAutoFit/>
          </a:bodyPr>
          <a:lstStyle/>
          <a:p>
            <a:pPr algn="ctr" defTabSz="609585" fontAlgn="base">
              <a:spcBef>
                <a:spcPct val="0"/>
              </a:spcBef>
              <a:spcAft>
                <a:spcPct val="0"/>
              </a:spcAft>
              <a:defRPr/>
            </a:pPr>
            <a:r>
              <a:rPr lang="en-US" sz="800">
                <a:solidFill>
                  <a:srgbClr val="FFFFFF"/>
                </a:solidFill>
                <a:latin typeface="CiscoSansTT ExtraLight"/>
                <a:ea typeface="ＭＳ Ｐゴシック" charset="0"/>
                <a:cs typeface="Arial"/>
                <a:sym typeface="Arial"/>
              </a:rPr>
              <a:t>Active Threats – Products Involved in Response</a:t>
            </a:r>
          </a:p>
        </p:txBody>
      </p:sp>
      <p:sp>
        <p:nvSpPr>
          <p:cNvPr id="12" name="TextBox 11">
            <a:extLst>
              <a:ext uri="{FF2B5EF4-FFF2-40B4-BE49-F238E27FC236}">
                <a16:creationId xmlns:a16="http://schemas.microsoft.com/office/drawing/2014/main" id="{BF1D1E27-FE36-49FF-95FB-989134442929}"/>
              </a:ext>
            </a:extLst>
          </p:cNvPr>
          <p:cNvSpPr txBox="1"/>
          <p:nvPr/>
        </p:nvSpPr>
        <p:spPr>
          <a:xfrm>
            <a:off x="441437" y="3270363"/>
            <a:ext cx="5611636" cy="215444"/>
          </a:xfrm>
          <a:prstGeom prst="rect">
            <a:avLst/>
          </a:prstGeom>
          <a:solidFill>
            <a:schemeClr val="bg1"/>
          </a:solidFill>
        </p:spPr>
        <p:txBody>
          <a:bodyPr wrap="square" rtlCol="0">
            <a:spAutoFit/>
          </a:bodyPr>
          <a:lstStyle/>
          <a:p>
            <a:pPr algn="ctr" defTabSz="609585" fontAlgn="base">
              <a:spcBef>
                <a:spcPct val="0"/>
              </a:spcBef>
              <a:spcAft>
                <a:spcPct val="0"/>
              </a:spcAft>
              <a:defRPr/>
            </a:pPr>
            <a:r>
              <a:rPr lang="en-US" sz="800">
                <a:solidFill>
                  <a:srgbClr val="FFFFFF"/>
                </a:solidFill>
                <a:latin typeface="CiscoSansTT ExtraLight"/>
                <a:ea typeface="ＭＳ Ｐゴシック" charset="0"/>
                <a:cs typeface="Arial"/>
                <a:sym typeface="Arial"/>
              </a:rPr>
              <a:t>Incident State Trending </a:t>
            </a:r>
          </a:p>
        </p:txBody>
      </p:sp>
      <p:sp>
        <p:nvSpPr>
          <p:cNvPr id="13" name="TextBox 12">
            <a:extLst>
              <a:ext uri="{FF2B5EF4-FFF2-40B4-BE49-F238E27FC236}">
                <a16:creationId xmlns:a16="http://schemas.microsoft.com/office/drawing/2014/main" id="{018B2FED-9B1A-46A0-9124-CE20C07B530C}"/>
              </a:ext>
            </a:extLst>
          </p:cNvPr>
          <p:cNvSpPr txBox="1"/>
          <p:nvPr/>
        </p:nvSpPr>
        <p:spPr>
          <a:xfrm>
            <a:off x="6179314" y="3270363"/>
            <a:ext cx="5596767" cy="215444"/>
          </a:xfrm>
          <a:prstGeom prst="rect">
            <a:avLst/>
          </a:prstGeom>
          <a:solidFill>
            <a:schemeClr val="bg1"/>
          </a:solidFill>
        </p:spPr>
        <p:txBody>
          <a:bodyPr wrap="square" rtlCol="0">
            <a:spAutoFit/>
          </a:bodyPr>
          <a:lstStyle/>
          <a:p>
            <a:pPr algn="ctr" defTabSz="609585" fontAlgn="base">
              <a:spcBef>
                <a:spcPct val="0"/>
              </a:spcBef>
              <a:spcAft>
                <a:spcPct val="0"/>
              </a:spcAft>
              <a:defRPr/>
            </a:pPr>
            <a:r>
              <a:rPr lang="en-US" sz="800">
                <a:solidFill>
                  <a:srgbClr val="FFFFFF"/>
                </a:solidFill>
                <a:latin typeface="CiscoSansTT ExtraLight"/>
                <a:ea typeface="ＭＳ Ｐゴシック" charset="0"/>
                <a:cs typeface="Arial"/>
                <a:sym typeface="Arial"/>
              </a:rPr>
              <a:t>Cyber Threat Kill Chain Trending </a:t>
            </a:r>
          </a:p>
        </p:txBody>
      </p:sp>
      <p:sp>
        <p:nvSpPr>
          <p:cNvPr id="14" name="TextBox 13">
            <a:extLst>
              <a:ext uri="{FF2B5EF4-FFF2-40B4-BE49-F238E27FC236}">
                <a16:creationId xmlns:a16="http://schemas.microsoft.com/office/drawing/2014/main" id="{E26D0A6A-7F72-4DF7-9E3C-EB15B63F7DD7}"/>
              </a:ext>
            </a:extLst>
          </p:cNvPr>
          <p:cNvSpPr txBox="1"/>
          <p:nvPr/>
        </p:nvSpPr>
        <p:spPr>
          <a:xfrm>
            <a:off x="441437" y="5390501"/>
            <a:ext cx="5611636" cy="215444"/>
          </a:xfrm>
          <a:prstGeom prst="rect">
            <a:avLst/>
          </a:prstGeom>
          <a:solidFill>
            <a:schemeClr val="bg1"/>
          </a:solidFill>
        </p:spPr>
        <p:txBody>
          <a:bodyPr wrap="square" rtlCol="0">
            <a:spAutoFit/>
          </a:bodyPr>
          <a:lstStyle/>
          <a:p>
            <a:pPr algn="ctr" defTabSz="609585" fontAlgn="base">
              <a:spcBef>
                <a:spcPct val="0"/>
              </a:spcBef>
              <a:spcAft>
                <a:spcPct val="0"/>
              </a:spcAft>
              <a:defRPr/>
            </a:pPr>
            <a:r>
              <a:rPr lang="en-US" sz="800">
                <a:solidFill>
                  <a:srgbClr val="FFFFFF"/>
                </a:solidFill>
                <a:latin typeface="CiscoSansTT ExtraLight"/>
                <a:ea typeface="ＭＳ Ｐゴシック" charset="0"/>
                <a:cs typeface="Arial"/>
                <a:sym typeface="Arial"/>
              </a:rPr>
              <a:t>Next Steps</a:t>
            </a:r>
          </a:p>
        </p:txBody>
      </p:sp>
    </p:spTree>
    <p:extLst>
      <p:ext uri="{BB962C8B-B14F-4D97-AF65-F5344CB8AC3E}">
        <p14:creationId xmlns:p14="http://schemas.microsoft.com/office/powerpoint/2010/main" val="4286196782"/>
      </p:ext>
    </p:extLst>
  </p:cSld>
  <p:clrMapOvr>
    <a:masterClrMapping/>
  </p:clrMapOvr>
  <p:transition spd="slow">
    <p:wipe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47C4353-D0D8-4804-9F5B-C1366C29AD9F}"/>
              </a:ext>
            </a:extLst>
          </p:cNvPr>
          <p:cNvSpPr>
            <a:spLocks noGrp="1"/>
          </p:cNvSpPr>
          <p:nvPr>
            <p:ph type="body" idx="1"/>
          </p:nvPr>
        </p:nvSpPr>
        <p:spPr>
          <a:xfrm>
            <a:off x="893934" y="3068344"/>
            <a:ext cx="10404132" cy="1223999"/>
          </a:xfrm>
        </p:spPr>
        <p:txBody>
          <a:bodyPr/>
          <a:lstStyle/>
          <a:p>
            <a:r>
              <a:rPr lang="en-US" sz="4267" dirty="0"/>
              <a:t>Reporting</a:t>
            </a:r>
          </a:p>
        </p:txBody>
      </p:sp>
    </p:spTree>
    <p:extLst>
      <p:ext uri="{BB962C8B-B14F-4D97-AF65-F5344CB8AC3E}">
        <p14:creationId xmlns:p14="http://schemas.microsoft.com/office/powerpoint/2010/main" val="36920573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CE9B9-C6EB-435B-BAB7-672947E4A057}"/>
              </a:ext>
            </a:extLst>
          </p:cNvPr>
          <p:cNvSpPr>
            <a:spLocks noGrp="1"/>
          </p:cNvSpPr>
          <p:nvPr>
            <p:ph type="title"/>
          </p:nvPr>
        </p:nvSpPr>
        <p:spPr/>
        <p:txBody>
          <a:bodyPr/>
          <a:lstStyle/>
          <a:p>
            <a:r>
              <a:rPr lang="en-US" sz="3700" dirty="0"/>
              <a:t>Reporting</a:t>
            </a:r>
            <a:br>
              <a:rPr lang="en-US" sz="3700" dirty="0"/>
            </a:br>
            <a:r>
              <a:rPr lang="en-US" sz="1800" i="1" dirty="0"/>
              <a:t>Can be scheduled or downloaded, and include: </a:t>
            </a:r>
            <a:r>
              <a:rPr lang="en-US" sz="1800" i="1" dirty="0">
                <a:ea typeface="+mj-lt"/>
                <a:cs typeface="+mj-lt"/>
              </a:rPr>
              <a:t>Current/All Time/Day/Week/Month/Year/Trending</a:t>
            </a:r>
            <a:endParaRPr lang="en-US" sz="3700" i="1" dirty="0"/>
          </a:p>
        </p:txBody>
      </p:sp>
      <p:sp>
        <p:nvSpPr>
          <p:cNvPr id="3" name="Text Placeholder 2">
            <a:extLst>
              <a:ext uri="{FF2B5EF4-FFF2-40B4-BE49-F238E27FC236}">
                <a16:creationId xmlns:a16="http://schemas.microsoft.com/office/drawing/2014/main" id="{7EDCEBD9-80DB-4C50-A795-648A2EB45901}"/>
              </a:ext>
            </a:extLst>
          </p:cNvPr>
          <p:cNvSpPr>
            <a:spLocks noGrp="1"/>
          </p:cNvSpPr>
          <p:nvPr>
            <p:ph type="body" sz="quarter" idx="10"/>
          </p:nvPr>
        </p:nvSpPr>
        <p:spPr>
          <a:xfrm>
            <a:off x="616401" y="1602317"/>
            <a:ext cx="11377677" cy="4519083"/>
          </a:xfrm>
        </p:spPr>
        <p:txBody>
          <a:bodyPr lIns="91420" tIns="45710" rIns="91420" bIns="45710" anchor="t">
            <a:noAutofit/>
          </a:bodyPr>
          <a:lstStyle/>
          <a:p>
            <a:pPr marL="304165" indent="-227965"/>
            <a:r>
              <a:rPr lang="en-US" sz="2000" dirty="0"/>
              <a:t>Incident Detail overview (List)</a:t>
            </a:r>
          </a:p>
          <a:p>
            <a:pPr marL="304165" indent="-227965"/>
            <a:r>
              <a:rPr lang="en-US" sz="2000" dirty="0"/>
              <a:t>Incidents by Priority, List or Counts</a:t>
            </a:r>
          </a:p>
          <a:p>
            <a:pPr marL="304165" indent="-227965"/>
            <a:r>
              <a:rPr lang="en-US" sz="2000" dirty="0"/>
              <a:t>MTTD (Mean-time-to-Detection)</a:t>
            </a:r>
          </a:p>
          <a:p>
            <a:pPr marL="304165" indent="-227965"/>
            <a:r>
              <a:rPr lang="en-US" sz="2000" dirty="0"/>
              <a:t>MTTC (Mean-time-to-Containment)</a:t>
            </a:r>
          </a:p>
          <a:p>
            <a:pPr marL="304165" indent="-227965"/>
            <a:r>
              <a:rPr lang="en-US" sz="2000" dirty="0"/>
              <a:t>Threat Kill-Chain Stages</a:t>
            </a:r>
          </a:p>
          <a:p>
            <a:pPr marL="304165" indent="-227965"/>
            <a:r>
              <a:rPr lang="en-US" sz="2000" dirty="0"/>
              <a:t>Incidents by Configuration Item (AMP for Endpoints /Threat Grid/Umbrella /Stealthwatch Cloud)</a:t>
            </a:r>
          </a:p>
          <a:p>
            <a:pPr marL="304165" indent="-227965"/>
            <a:r>
              <a:rPr lang="en-US" sz="2000" dirty="0"/>
              <a:t>Incidents Closed/Opened/On-Hold/Resolved</a:t>
            </a:r>
          </a:p>
          <a:p>
            <a:pPr marL="304165" indent="-227965"/>
            <a:r>
              <a:rPr lang="en-US" sz="2000" dirty="0"/>
              <a:t>Incidents without updates seen in X days</a:t>
            </a:r>
          </a:p>
          <a:p>
            <a:pPr marL="304165" indent="-227965"/>
            <a:r>
              <a:rPr lang="en-US" sz="2000" dirty="0"/>
              <a:t>Containment and Prevention Actions taken</a:t>
            </a:r>
          </a:p>
          <a:p>
            <a:pPr marL="304165" indent="-227965"/>
            <a:endParaRPr lang="en-US" sz="2650" dirty="0"/>
          </a:p>
        </p:txBody>
      </p:sp>
    </p:spTree>
    <p:extLst>
      <p:ext uri="{BB962C8B-B14F-4D97-AF65-F5344CB8AC3E}">
        <p14:creationId xmlns:p14="http://schemas.microsoft.com/office/powerpoint/2010/main" val="36609095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4C0CFF-107C-417D-8958-3A51CE8CC17D}"/>
              </a:ext>
            </a:extLst>
          </p:cNvPr>
          <p:cNvSpPr>
            <a:spLocks noGrp="1"/>
          </p:cNvSpPr>
          <p:nvPr>
            <p:ph type="body" idx="2"/>
          </p:nvPr>
        </p:nvSpPr>
        <p:spPr>
          <a:xfrm>
            <a:off x="719999" y="3381045"/>
            <a:ext cx="8194152" cy="1223999"/>
          </a:xfrm>
        </p:spPr>
        <p:txBody>
          <a:bodyPr/>
          <a:lstStyle/>
          <a:p>
            <a:r>
              <a:rPr lang="en-US"/>
              <a:t>Service Activation</a:t>
            </a:r>
          </a:p>
          <a:p>
            <a:endParaRPr lang="en-US"/>
          </a:p>
          <a:p>
            <a:endParaRPr lang="en-US"/>
          </a:p>
        </p:txBody>
      </p:sp>
    </p:spTree>
    <p:extLst>
      <p:ext uri="{BB962C8B-B14F-4D97-AF65-F5344CB8AC3E}">
        <p14:creationId xmlns:p14="http://schemas.microsoft.com/office/powerpoint/2010/main" val="14066344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B6950E4-6019-438F-9D88-89C91E1F71B9}"/>
              </a:ext>
            </a:extLst>
          </p:cNvPr>
          <p:cNvSpPr txBox="1"/>
          <p:nvPr/>
        </p:nvSpPr>
        <p:spPr>
          <a:xfrm>
            <a:off x="3280921" y="2001330"/>
            <a:ext cx="2804160" cy="625877"/>
          </a:xfrm>
          <a:prstGeom prst="rect">
            <a:avLst/>
          </a:prstGeom>
          <a:noFill/>
        </p:spPr>
        <p:txBody>
          <a:bodyPr wrap="square" rtlCol="0">
            <a:spAutoFit/>
          </a:bodyPr>
          <a:lstStyle/>
          <a:p>
            <a:pPr algn="ctr" defTabSz="1219170">
              <a:buClr>
                <a:srgbClr val="000000"/>
              </a:buClr>
              <a:defRPr/>
            </a:pPr>
            <a:r>
              <a:rPr lang="en-US" sz="1867" kern="0" dirty="0">
                <a:solidFill>
                  <a:srgbClr val="005073"/>
                </a:solidFill>
                <a:latin typeface="CiscoSansTT ExtraLight"/>
                <a:cs typeface="Arial"/>
                <a:sym typeface="Arial"/>
              </a:rPr>
              <a:t>AMP for Endpoints</a:t>
            </a:r>
          </a:p>
          <a:p>
            <a:pPr algn="ctr" defTabSz="1219170">
              <a:buClr>
                <a:srgbClr val="000000"/>
              </a:buClr>
              <a:defRPr/>
            </a:pPr>
            <a:r>
              <a:rPr lang="en-US" sz="1600" kern="0" dirty="0">
                <a:solidFill>
                  <a:srgbClr val="00BCEB"/>
                </a:solidFill>
                <a:latin typeface="CiscoSansTT ExtraLight"/>
                <a:cs typeface="Arial"/>
                <a:sym typeface="Arial"/>
              </a:rPr>
              <a:t>Internet-wide visibility</a:t>
            </a:r>
          </a:p>
        </p:txBody>
      </p:sp>
      <p:sp>
        <p:nvSpPr>
          <p:cNvPr id="11" name="TextBox 10">
            <a:extLst>
              <a:ext uri="{FF2B5EF4-FFF2-40B4-BE49-F238E27FC236}">
                <a16:creationId xmlns:a16="http://schemas.microsoft.com/office/drawing/2014/main" id="{B3617631-C1B9-4677-9DAE-57D86AD4732B}"/>
              </a:ext>
            </a:extLst>
          </p:cNvPr>
          <p:cNvSpPr txBox="1"/>
          <p:nvPr/>
        </p:nvSpPr>
        <p:spPr>
          <a:xfrm>
            <a:off x="348084" y="2001330"/>
            <a:ext cx="2804160" cy="625877"/>
          </a:xfrm>
          <a:prstGeom prst="rect">
            <a:avLst/>
          </a:prstGeom>
          <a:noFill/>
        </p:spPr>
        <p:txBody>
          <a:bodyPr wrap="square" rtlCol="0">
            <a:spAutoFit/>
          </a:bodyPr>
          <a:lstStyle/>
          <a:p>
            <a:pPr algn="ctr" defTabSz="1219170">
              <a:buClr>
                <a:srgbClr val="000000"/>
              </a:buClr>
              <a:defRPr/>
            </a:pPr>
            <a:r>
              <a:rPr lang="en-US" sz="1867" kern="0" dirty="0">
                <a:solidFill>
                  <a:srgbClr val="005073"/>
                </a:solidFill>
                <a:latin typeface="CiscoSansTT ExtraLight"/>
                <a:cs typeface="Arial"/>
                <a:sym typeface="Arial"/>
              </a:rPr>
              <a:t>Stealthwatch Cloud</a:t>
            </a:r>
          </a:p>
          <a:p>
            <a:pPr algn="ctr" defTabSz="1219170">
              <a:buClr>
                <a:srgbClr val="000000"/>
              </a:buClr>
              <a:defRPr/>
            </a:pPr>
            <a:r>
              <a:rPr lang="en-US" sz="1600" kern="0" dirty="0">
                <a:solidFill>
                  <a:srgbClr val="00BCEB"/>
                </a:solidFill>
                <a:latin typeface="CiscoSansTT ExtraLight"/>
                <a:cs typeface="Arial"/>
                <a:sym typeface="Arial"/>
              </a:rPr>
              <a:t>Network-wide visibility</a:t>
            </a:r>
            <a:endParaRPr lang="en-US" sz="1467" kern="0" dirty="0">
              <a:solidFill>
                <a:srgbClr val="00BCEB"/>
              </a:solidFill>
              <a:latin typeface="CiscoSansTT ExtraLight"/>
              <a:cs typeface="Arial"/>
              <a:sym typeface="Arial"/>
            </a:endParaRPr>
          </a:p>
        </p:txBody>
      </p:sp>
      <p:sp>
        <p:nvSpPr>
          <p:cNvPr id="12" name="TextBox 11">
            <a:extLst>
              <a:ext uri="{FF2B5EF4-FFF2-40B4-BE49-F238E27FC236}">
                <a16:creationId xmlns:a16="http://schemas.microsoft.com/office/drawing/2014/main" id="{28DDD948-14AF-40E0-AED0-2711BC2C5612}"/>
              </a:ext>
            </a:extLst>
          </p:cNvPr>
          <p:cNvSpPr txBox="1"/>
          <p:nvPr/>
        </p:nvSpPr>
        <p:spPr>
          <a:xfrm>
            <a:off x="9146597" y="2001330"/>
            <a:ext cx="2804160" cy="625877"/>
          </a:xfrm>
          <a:prstGeom prst="rect">
            <a:avLst/>
          </a:prstGeom>
          <a:noFill/>
        </p:spPr>
        <p:txBody>
          <a:bodyPr wrap="square" rtlCol="0">
            <a:spAutoFit/>
          </a:bodyPr>
          <a:lstStyle/>
          <a:p>
            <a:pPr algn="ctr" defTabSz="1219170">
              <a:buClr>
                <a:srgbClr val="000000"/>
              </a:buClr>
              <a:defRPr/>
            </a:pPr>
            <a:r>
              <a:rPr lang="en-US" sz="1867" kern="0" dirty="0">
                <a:solidFill>
                  <a:srgbClr val="005073"/>
                </a:solidFill>
                <a:latin typeface="CiscoSansTT ExtraLight"/>
                <a:cs typeface="Arial"/>
                <a:sym typeface="Arial"/>
              </a:rPr>
              <a:t>Umbrella </a:t>
            </a:r>
          </a:p>
          <a:p>
            <a:pPr algn="ctr" defTabSz="1219170">
              <a:buClr>
                <a:srgbClr val="000000"/>
              </a:buClr>
              <a:defRPr/>
            </a:pPr>
            <a:r>
              <a:rPr lang="en-US" sz="1600" kern="0" dirty="0">
                <a:solidFill>
                  <a:srgbClr val="00BCEB"/>
                </a:solidFill>
                <a:latin typeface="CiscoSansTT ExtraLight"/>
                <a:cs typeface="Arial"/>
                <a:sym typeface="Arial"/>
              </a:rPr>
              <a:t>Endpoint visibility</a:t>
            </a:r>
            <a:endParaRPr lang="en-US" sz="1467" kern="0" dirty="0">
              <a:solidFill>
                <a:srgbClr val="00BCEB"/>
              </a:solidFill>
              <a:latin typeface="CiscoSansTT ExtraLight"/>
              <a:cs typeface="Arial"/>
              <a:sym typeface="Arial"/>
            </a:endParaRPr>
          </a:p>
        </p:txBody>
      </p:sp>
      <p:sp>
        <p:nvSpPr>
          <p:cNvPr id="13" name="Rectangle 12">
            <a:extLst>
              <a:ext uri="{FF2B5EF4-FFF2-40B4-BE49-F238E27FC236}">
                <a16:creationId xmlns:a16="http://schemas.microsoft.com/office/drawing/2014/main" id="{01E7973E-8749-4B3F-9F26-860BC3050A4E}"/>
              </a:ext>
            </a:extLst>
          </p:cNvPr>
          <p:cNvSpPr/>
          <p:nvPr/>
        </p:nvSpPr>
        <p:spPr>
          <a:xfrm>
            <a:off x="3294947" y="4139322"/>
            <a:ext cx="2680103" cy="1590179"/>
          </a:xfrm>
          <a:prstGeom prst="rect">
            <a:avLst/>
          </a:prstGeom>
        </p:spPr>
        <p:txBody>
          <a:bodyPr wrap="square" lIns="0" rIns="0" numCol="1">
            <a:spAutoFit/>
          </a:bodyPr>
          <a:lstStyle/>
          <a:p>
            <a:pPr marL="243834" indent="-243834" defTabSz="812760">
              <a:spcBef>
                <a:spcPts val="800"/>
              </a:spcBef>
              <a:buClr>
                <a:srgbClr val="000000"/>
              </a:buClr>
              <a:buFont typeface="Arial" panose="020B0604020202020204" pitchFamily="34" charset="0"/>
              <a:buChar char="•"/>
              <a:defRPr/>
            </a:pPr>
            <a:r>
              <a:rPr lang="en-US" sz="1400" kern="0" dirty="0">
                <a:solidFill>
                  <a:srgbClr val="282828"/>
                </a:solidFill>
                <a:latin typeface="CiscoSansTT ExtraLight" panose="020B0303020201020303" pitchFamily="34" charset="0"/>
                <a:cs typeface="CiscoSansTT ExtraLight" panose="020B0303020201020303" pitchFamily="34" charset="0"/>
                <a:sym typeface="Arial"/>
              </a:rPr>
              <a:t>AMP for Endpoints Advantage</a:t>
            </a:r>
            <a:r>
              <a:rPr lang="en-US" sz="1400" b="1" kern="0" dirty="0">
                <a:solidFill>
                  <a:srgbClr val="282828"/>
                </a:solidFill>
                <a:latin typeface="CiscoSansTT ExtraLight" panose="020B0303020201020303" pitchFamily="34" charset="0"/>
                <a:cs typeface="CiscoSansTT ExtraLight" panose="020B0303020201020303" pitchFamily="34" charset="0"/>
                <a:sym typeface="Arial"/>
              </a:rPr>
              <a:t> </a:t>
            </a:r>
            <a:br>
              <a:rPr lang="en-US" sz="1400" kern="0" dirty="0">
                <a:solidFill>
                  <a:srgbClr val="282828"/>
                </a:solidFill>
                <a:latin typeface="CiscoSansTT ExtraLight" panose="020B0303020201020303" pitchFamily="34" charset="0"/>
                <a:cs typeface="CiscoSansTT ExtraLight" panose="020B0303020201020303" pitchFamily="34" charset="0"/>
                <a:sym typeface="Arial"/>
              </a:rPr>
            </a:br>
            <a:r>
              <a:rPr lang="en-US" sz="1400" kern="0" dirty="0">
                <a:solidFill>
                  <a:srgbClr val="282828"/>
                </a:solidFill>
                <a:latin typeface="CiscoSansTT ExtraLight" panose="020B0303020201020303" pitchFamily="34" charset="0"/>
                <a:cs typeface="CiscoSansTT ExtraLight" panose="020B0303020201020303" pitchFamily="34" charset="0"/>
                <a:sym typeface="Arial"/>
              </a:rPr>
              <a:t>(Includes Threat Grid </a:t>
            </a:r>
            <a:br>
              <a:rPr lang="en-US" sz="1400" kern="0" dirty="0">
                <a:solidFill>
                  <a:srgbClr val="282828"/>
                </a:solidFill>
                <a:latin typeface="CiscoSansTT ExtraLight" panose="020B0303020201020303" pitchFamily="34" charset="0"/>
                <a:cs typeface="CiscoSansTT ExtraLight" panose="020B0303020201020303" pitchFamily="34" charset="0"/>
                <a:sym typeface="Arial"/>
              </a:rPr>
            </a:br>
            <a:r>
              <a:rPr lang="en-US" sz="1400" kern="0" dirty="0">
                <a:solidFill>
                  <a:srgbClr val="282828"/>
                </a:solidFill>
                <a:latin typeface="CiscoSansTT ExtraLight" panose="020B0303020201020303" pitchFamily="34" charset="0"/>
                <a:cs typeface="CiscoSansTT ExtraLight" panose="020B0303020201020303" pitchFamily="34" charset="0"/>
                <a:sym typeface="Arial"/>
              </a:rPr>
              <a:t>- New Jan. 2020)</a:t>
            </a:r>
            <a:endParaRPr lang="en-US" sz="1400" b="1" kern="0" dirty="0">
              <a:solidFill>
                <a:srgbClr val="282828"/>
              </a:solidFill>
              <a:latin typeface="CiscoSansTT ExtraLight" panose="020B0303020201020303" pitchFamily="34" charset="0"/>
              <a:cs typeface="CiscoSansTT ExtraLight" panose="020B0303020201020303" pitchFamily="34" charset="0"/>
              <a:sym typeface="Arial"/>
            </a:endParaRPr>
          </a:p>
          <a:p>
            <a:pPr marL="243834" indent="-243834" defTabSz="812760">
              <a:spcBef>
                <a:spcPts val="800"/>
              </a:spcBef>
              <a:buClr>
                <a:srgbClr val="000000"/>
              </a:buClr>
              <a:buFont typeface="Arial" panose="020B0604020202020204" pitchFamily="34" charset="0"/>
              <a:buChar char="•"/>
              <a:defRPr/>
            </a:pPr>
            <a:r>
              <a:rPr lang="en-US" sz="1400" kern="0" dirty="0">
                <a:solidFill>
                  <a:srgbClr val="282828"/>
                </a:solidFill>
                <a:latin typeface="CiscoSansTT ExtraLight" panose="020B0303020201020303" pitchFamily="34" charset="0"/>
                <a:cs typeface="CiscoSansTT ExtraLight" panose="020B0303020201020303" pitchFamily="34" charset="0"/>
                <a:sym typeface="Arial"/>
              </a:rPr>
              <a:t>AMP for Endpoints Essentials </a:t>
            </a:r>
            <a:br>
              <a:rPr lang="en-US" sz="1400" kern="0" dirty="0">
                <a:solidFill>
                  <a:srgbClr val="282828"/>
                </a:solidFill>
                <a:latin typeface="CiscoSansTT ExtraLight" panose="020B0303020201020303" pitchFamily="34" charset="0"/>
                <a:cs typeface="CiscoSansTT ExtraLight" panose="020B0303020201020303" pitchFamily="34" charset="0"/>
                <a:sym typeface="Arial"/>
              </a:rPr>
            </a:br>
            <a:r>
              <a:rPr lang="en-US" sz="1400" kern="0" dirty="0">
                <a:solidFill>
                  <a:srgbClr val="282828"/>
                </a:solidFill>
                <a:latin typeface="CiscoSansTT ExtraLight" panose="020B0303020201020303" pitchFamily="34" charset="0"/>
                <a:cs typeface="CiscoSansTT ExtraLight" panose="020B0303020201020303" pitchFamily="34" charset="0"/>
                <a:sym typeface="Arial"/>
              </a:rPr>
              <a:t>(Requires Threat Grid license)</a:t>
            </a:r>
          </a:p>
          <a:p>
            <a:pPr marL="243834" indent="-243834" defTabSz="812760">
              <a:spcBef>
                <a:spcPts val="800"/>
              </a:spcBef>
              <a:buClr>
                <a:srgbClr val="000000"/>
              </a:buClr>
              <a:buFont typeface="Arial" panose="020B0604020202020204" pitchFamily="34" charset="0"/>
              <a:buChar char="•"/>
              <a:defRPr/>
            </a:pPr>
            <a:endParaRPr lang="en-US" sz="1400" kern="0" dirty="0">
              <a:solidFill>
                <a:srgbClr val="005073"/>
              </a:solidFill>
              <a:latin typeface="CiscoSansTT ExtraLight"/>
              <a:cs typeface="Arial"/>
              <a:sym typeface="Arial"/>
            </a:endParaRPr>
          </a:p>
        </p:txBody>
      </p:sp>
      <p:sp>
        <p:nvSpPr>
          <p:cNvPr id="14" name="Rectangle 13">
            <a:extLst>
              <a:ext uri="{FF2B5EF4-FFF2-40B4-BE49-F238E27FC236}">
                <a16:creationId xmlns:a16="http://schemas.microsoft.com/office/drawing/2014/main" id="{DA6A8A5E-A251-4093-B65A-3440CC8E4FFF}"/>
              </a:ext>
            </a:extLst>
          </p:cNvPr>
          <p:cNvSpPr/>
          <p:nvPr/>
        </p:nvSpPr>
        <p:spPr>
          <a:xfrm>
            <a:off x="9268517" y="4139322"/>
            <a:ext cx="2923483" cy="1169551"/>
          </a:xfrm>
          <a:prstGeom prst="rect">
            <a:avLst/>
          </a:prstGeom>
        </p:spPr>
        <p:txBody>
          <a:bodyPr wrap="square" lIns="0" rIns="0" numCol="1">
            <a:spAutoFit/>
          </a:bodyPr>
          <a:lstStyle/>
          <a:p>
            <a:pPr marL="228594" indent="-228594" defTabSz="1219170">
              <a:buClr>
                <a:srgbClr val="000000"/>
              </a:buClr>
              <a:buFont typeface="Arial" panose="020B0604020202020204" pitchFamily="34" charset="0"/>
              <a:buChar char="•"/>
              <a:defRPr/>
            </a:pPr>
            <a:r>
              <a:rPr lang="en-US" sz="1400" kern="0" dirty="0">
                <a:solidFill>
                  <a:srgbClr val="282828"/>
                </a:solidFill>
                <a:latin typeface="CiscoSansTT ExtraLight"/>
                <a:ea typeface="CiscoSansTT ExtraLight"/>
                <a:cs typeface="CiscoSansTT ExtraLight"/>
                <a:sym typeface="Arial"/>
              </a:rPr>
              <a:t>Umbrella DNS Security</a:t>
            </a:r>
            <a:br>
              <a:rPr lang="en-US" sz="1400" kern="0" dirty="0">
                <a:solidFill>
                  <a:srgbClr val="282828"/>
                </a:solidFill>
                <a:latin typeface="CiscoSansTT ExtraLight"/>
                <a:ea typeface="CiscoSansTT ExtraLight"/>
                <a:cs typeface="CiscoSansTT ExtraLight"/>
                <a:sym typeface="Arial"/>
              </a:rPr>
            </a:br>
            <a:r>
              <a:rPr lang="en-US" sz="1400" kern="0" dirty="0">
                <a:solidFill>
                  <a:srgbClr val="282828"/>
                </a:solidFill>
                <a:latin typeface="CiscoSansTT ExtraLight"/>
                <a:ea typeface="CiscoSansTT ExtraLight"/>
                <a:cs typeface="CiscoSansTT ExtraLight"/>
                <a:sym typeface="Arial"/>
              </a:rPr>
              <a:t>Advantage or above license</a:t>
            </a:r>
            <a:br>
              <a:rPr lang="en-US" sz="1400" kern="0" dirty="0">
                <a:solidFill>
                  <a:srgbClr val="282828"/>
                </a:solidFill>
                <a:latin typeface="CiscoSansTT ExtraLight"/>
                <a:ea typeface="CiscoSansTT ExtraLight"/>
                <a:cs typeface="CiscoSansTT ExtraLight"/>
                <a:sym typeface="Arial"/>
              </a:rPr>
            </a:br>
            <a:r>
              <a:rPr lang="en-US" sz="1400" kern="0" dirty="0">
                <a:solidFill>
                  <a:srgbClr val="282828"/>
                </a:solidFill>
                <a:latin typeface="CiscoSansTT ExtraLight"/>
                <a:ea typeface="CiscoSansTT ExtraLight"/>
                <a:cs typeface="CiscoSansTT ExtraLight"/>
                <a:sym typeface="Arial"/>
              </a:rPr>
              <a:t> </a:t>
            </a:r>
            <a:endParaRPr lang="en-US" sz="1400" dirty="0">
              <a:solidFill>
                <a:srgbClr val="282828"/>
              </a:solidFill>
              <a:latin typeface="CiscoSansTT ExtraLight"/>
              <a:ea typeface="CiscoSansTT ExtraLight"/>
              <a:cs typeface="CiscoSansTT ExtraLight"/>
            </a:endParaRPr>
          </a:p>
          <a:p>
            <a:pPr marL="228594" indent="-228594" defTabSz="1219170">
              <a:buClr>
                <a:srgbClr val="000000"/>
              </a:buClr>
              <a:buFont typeface="Arial" panose="020B0604020202020204" pitchFamily="34" charset="0"/>
              <a:buChar char="•"/>
              <a:defRPr/>
            </a:pPr>
            <a:r>
              <a:rPr lang="en-US" sz="1400" kern="0" dirty="0">
                <a:solidFill>
                  <a:srgbClr val="282828"/>
                </a:solidFill>
                <a:latin typeface="CiscoSansTT ExtraLight"/>
                <a:ea typeface="CiscoSansTT ExtraLight"/>
                <a:cs typeface="CiscoSansTT ExtraLight"/>
                <a:sym typeface="Arial"/>
              </a:rPr>
              <a:t>OR, Umbrella Insights </a:t>
            </a:r>
            <a:br>
              <a:rPr lang="en-US" sz="1400" kern="0" dirty="0">
                <a:solidFill>
                  <a:srgbClr val="282828"/>
                </a:solidFill>
                <a:latin typeface="CiscoSansTT ExtraLight"/>
                <a:ea typeface="CiscoSansTT ExtraLight"/>
                <a:cs typeface="CiscoSansTT ExtraLight"/>
                <a:sym typeface="Arial"/>
              </a:rPr>
            </a:br>
            <a:r>
              <a:rPr lang="en-US" sz="1400" kern="0" dirty="0">
                <a:solidFill>
                  <a:srgbClr val="282828"/>
                </a:solidFill>
                <a:latin typeface="CiscoSansTT ExtraLight"/>
                <a:ea typeface="CiscoSansTT ExtraLight"/>
                <a:cs typeface="CiscoSansTT ExtraLight"/>
                <a:sym typeface="Arial"/>
              </a:rPr>
              <a:t>with Investigate Add-on  </a:t>
            </a:r>
            <a:endParaRPr lang="en-US" sz="1400" kern="0" dirty="0">
              <a:solidFill>
                <a:srgbClr val="005073"/>
              </a:solidFill>
              <a:latin typeface="CiscoSansTT ExtraLight"/>
              <a:cs typeface="Arial"/>
              <a:sym typeface="Arial"/>
            </a:endParaRPr>
          </a:p>
        </p:txBody>
      </p:sp>
      <p:sp>
        <p:nvSpPr>
          <p:cNvPr id="15" name="Rectangle 14">
            <a:extLst>
              <a:ext uri="{FF2B5EF4-FFF2-40B4-BE49-F238E27FC236}">
                <a16:creationId xmlns:a16="http://schemas.microsoft.com/office/drawing/2014/main" id="{AD230143-870B-4CE6-AC43-C777060D1024}"/>
              </a:ext>
            </a:extLst>
          </p:cNvPr>
          <p:cNvSpPr/>
          <p:nvPr/>
        </p:nvSpPr>
        <p:spPr>
          <a:xfrm>
            <a:off x="470004" y="4234941"/>
            <a:ext cx="2560320" cy="943848"/>
          </a:xfrm>
          <a:prstGeom prst="rect">
            <a:avLst/>
          </a:prstGeom>
        </p:spPr>
        <p:txBody>
          <a:bodyPr wrap="square" lIns="0" rIns="0" numCol="1">
            <a:spAutoFit/>
          </a:bodyPr>
          <a:lstStyle/>
          <a:p>
            <a:pPr marL="243834" indent="-243834" defTabSz="812760">
              <a:spcBef>
                <a:spcPts val="800"/>
              </a:spcBef>
              <a:buClr>
                <a:srgbClr val="000000"/>
              </a:buClr>
              <a:buFont typeface="Arial" panose="020B0604020202020204" pitchFamily="34" charset="0"/>
              <a:buChar char="•"/>
              <a:defRPr/>
            </a:pPr>
            <a:r>
              <a:rPr lang="en-US" sz="1400" dirty="0">
                <a:solidFill>
                  <a:srgbClr val="282828"/>
                </a:solidFill>
                <a:latin typeface="CiscoSansTT ExtraLight" panose="020B0303020201020303" pitchFamily="34" charset="0"/>
                <a:cs typeface="CiscoSansTT ExtraLight" panose="020B0303020201020303" pitchFamily="34" charset="0"/>
                <a:sym typeface="Arial"/>
              </a:rPr>
              <a:t>Private Network Monitoring </a:t>
            </a:r>
          </a:p>
          <a:p>
            <a:pPr marL="228594" indent="-228594" defTabSz="812760">
              <a:spcBef>
                <a:spcPts val="800"/>
              </a:spcBef>
              <a:buClr>
                <a:srgbClr val="000000"/>
              </a:buClr>
              <a:buFont typeface="Arial" panose="020B0604020202020204" pitchFamily="34" charset="0"/>
              <a:buChar char="•"/>
              <a:defRPr/>
            </a:pPr>
            <a:r>
              <a:rPr lang="en-US" sz="1400" dirty="0">
                <a:solidFill>
                  <a:srgbClr val="282828"/>
                </a:solidFill>
                <a:latin typeface="CiscoSansTT ExtraLight" panose="020B0303020201020303" pitchFamily="34" charset="0"/>
                <a:cs typeface="CiscoSansTT ExtraLight" panose="020B0303020201020303" pitchFamily="34" charset="0"/>
                <a:sym typeface="Arial"/>
              </a:rPr>
              <a:t>Cloud Sensor</a:t>
            </a:r>
          </a:p>
          <a:p>
            <a:pPr marL="243834" indent="-243834" defTabSz="812760">
              <a:spcBef>
                <a:spcPts val="800"/>
              </a:spcBef>
              <a:buClr>
                <a:srgbClr val="000000"/>
              </a:buClr>
              <a:buFont typeface="Arial" panose="020B0604020202020204" pitchFamily="34" charset="0"/>
              <a:buChar char="•"/>
              <a:defRPr/>
            </a:pPr>
            <a:endParaRPr lang="en-US" sz="1400" kern="0" dirty="0">
              <a:solidFill>
                <a:srgbClr val="005073"/>
              </a:solidFill>
              <a:latin typeface="CiscoSansTT ExtraLight"/>
              <a:cs typeface="Arial"/>
              <a:sym typeface="Arial"/>
            </a:endParaRPr>
          </a:p>
        </p:txBody>
      </p:sp>
      <p:grpSp>
        <p:nvGrpSpPr>
          <p:cNvPr id="16" name="Group 15">
            <a:extLst>
              <a:ext uri="{FF2B5EF4-FFF2-40B4-BE49-F238E27FC236}">
                <a16:creationId xmlns:a16="http://schemas.microsoft.com/office/drawing/2014/main" id="{46D97D67-A511-4441-B403-A0CA7C632960}"/>
              </a:ext>
            </a:extLst>
          </p:cNvPr>
          <p:cNvGrpSpPr/>
          <p:nvPr/>
        </p:nvGrpSpPr>
        <p:grpSpPr>
          <a:xfrm>
            <a:off x="1208412" y="3012596"/>
            <a:ext cx="1003315" cy="1002488"/>
            <a:chOff x="960621" y="1379200"/>
            <a:chExt cx="1142631" cy="1142631"/>
          </a:xfrm>
          <a:solidFill>
            <a:schemeClr val="tx1"/>
          </a:solidFill>
        </p:grpSpPr>
        <p:sp>
          <p:nvSpPr>
            <p:cNvPr id="17" name="Oval 16">
              <a:extLst>
                <a:ext uri="{FF2B5EF4-FFF2-40B4-BE49-F238E27FC236}">
                  <a16:creationId xmlns:a16="http://schemas.microsoft.com/office/drawing/2014/main" id="{9A3D5B4B-7A39-4107-B8D1-947E4110C0D6}"/>
                </a:ext>
              </a:extLst>
            </p:cNvPr>
            <p:cNvSpPr/>
            <p:nvPr/>
          </p:nvSpPr>
          <p:spPr>
            <a:xfrm>
              <a:off x="960621" y="1379200"/>
              <a:ext cx="1142631" cy="1142631"/>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US" sz="1867" kern="0" dirty="0">
                <a:solidFill>
                  <a:srgbClr val="005073"/>
                </a:solidFill>
                <a:latin typeface="CiscoSansTT ExtraLight"/>
                <a:sym typeface="Arial"/>
              </a:endParaRPr>
            </a:p>
          </p:txBody>
        </p:sp>
        <p:pic>
          <p:nvPicPr>
            <p:cNvPr id="18" name="Picture 17">
              <a:extLst>
                <a:ext uri="{FF2B5EF4-FFF2-40B4-BE49-F238E27FC236}">
                  <a16:creationId xmlns:a16="http://schemas.microsoft.com/office/drawing/2014/main" id="{D4095233-7223-43CD-ADFF-B9518723845E}"/>
                </a:ext>
              </a:extLst>
            </p:cNvPr>
            <p:cNvPicPr>
              <a:picLocks noChangeAspect="1"/>
            </p:cNvPicPr>
            <p:nvPr/>
          </p:nvPicPr>
          <p:blipFill>
            <a:blip r:embed="rId2"/>
            <a:stretch>
              <a:fillRect/>
            </a:stretch>
          </p:blipFill>
          <p:spPr>
            <a:xfrm>
              <a:off x="1134271" y="1629793"/>
              <a:ext cx="789202" cy="747111"/>
            </a:xfrm>
            <a:prstGeom prst="rect">
              <a:avLst/>
            </a:prstGeom>
            <a:grpFill/>
          </p:spPr>
        </p:pic>
      </p:grpSp>
      <p:pic>
        <p:nvPicPr>
          <p:cNvPr id="19" name="Picture 18" descr="A close up of a sign&#10;&#10;Description automatically generated">
            <a:extLst>
              <a:ext uri="{FF2B5EF4-FFF2-40B4-BE49-F238E27FC236}">
                <a16:creationId xmlns:a16="http://schemas.microsoft.com/office/drawing/2014/main" id="{20C3772A-5E8A-4F78-998B-66CC75FA4535}"/>
              </a:ext>
            </a:extLst>
          </p:cNvPr>
          <p:cNvPicPr>
            <a:picLocks noChangeAspect="1"/>
          </p:cNvPicPr>
          <p:nvPr/>
        </p:nvPicPr>
        <p:blipFill>
          <a:blip r:embed="rId3"/>
          <a:stretch>
            <a:fillRect/>
          </a:stretch>
        </p:blipFill>
        <p:spPr>
          <a:xfrm>
            <a:off x="3715949" y="2966028"/>
            <a:ext cx="1862233" cy="1049057"/>
          </a:xfrm>
          <a:prstGeom prst="rect">
            <a:avLst/>
          </a:prstGeom>
        </p:spPr>
      </p:pic>
      <p:pic>
        <p:nvPicPr>
          <p:cNvPr id="20" name="Picture 19">
            <a:extLst>
              <a:ext uri="{FF2B5EF4-FFF2-40B4-BE49-F238E27FC236}">
                <a16:creationId xmlns:a16="http://schemas.microsoft.com/office/drawing/2014/main" id="{2933BA51-8539-4BBE-AA9B-83808E2625B0}"/>
              </a:ext>
            </a:extLst>
          </p:cNvPr>
          <p:cNvPicPr>
            <a:picLocks noChangeAspect="1"/>
          </p:cNvPicPr>
          <p:nvPr/>
        </p:nvPicPr>
        <p:blipFill>
          <a:blip r:embed="rId4"/>
          <a:stretch>
            <a:fillRect/>
          </a:stretch>
        </p:blipFill>
        <p:spPr>
          <a:xfrm>
            <a:off x="7034835" y="2966029"/>
            <a:ext cx="996767" cy="996767"/>
          </a:xfrm>
          <a:prstGeom prst="rect">
            <a:avLst/>
          </a:prstGeom>
        </p:spPr>
      </p:pic>
      <p:sp>
        <p:nvSpPr>
          <p:cNvPr id="21" name="TextBox 20">
            <a:extLst>
              <a:ext uri="{FF2B5EF4-FFF2-40B4-BE49-F238E27FC236}">
                <a16:creationId xmlns:a16="http://schemas.microsoft.com/office/drawing/2014/main" id="{E1EBBF6C-1BD4-41E3-8CFA-3E699019D34E}"/>
              </a:ext>
            </a:extLst>
          </p:cNvPr>
          <p:cNvSpPr txBox="1"/>
          <p:nvPr/>
        </p:nvSpPr>
        <p:spPr>
          <a:xfrm>
            <a:off x="6213757" y="2001330"/>
            <a:ext cx="2804160" cy="625877"/>
          </a:xfrm>
          <a:prstGeom prst="rect">
            <a:avLst/>
          </a:prstGeom>
          <a:noFill/>
        </p:spPr>
        <p:txBody>
          <a:bodyPr wrap="square" rtlCol="0">
            <a:spAutoFit/>
          </a:bodyPr>
          <a:lstStyle/>
          <a:p>
            <a:pPr algn="ctr" defTabSz="1219170">
              <a:buClr>
                <a:srgbClr val="000000"/>
              </a:buClr>
              <a:defRPr/>
            </a:pPr>
            <a:r>
              <a:rPr lang="en-US" sz="1867" kern="0" dirty="0">
                <a:solidFill>
                  <a:srgbClr val="005073"/>
                </a:solidFill>
                <a:latin typeface="CiscoSansTT ExtraLight"/>
                <a:cs typeface="Arial"/>
                <a:sym typeface="Arial"/>
              </a:rPr>
              <a:t>Threat Grid</a:t>
            </a:r>
          </a:p>
          <a:p>
            <a:pPr algn="ctr" defTabSz="1219170">
              <a:buClr>
                <a:srgbClr val="000000"/>
              </a:buClr>
              <a:defRPr/>
            </a:pPr>
            <a:r>
              <a:rPr lang="en-US" sz="1600" kern="0" dirty="0">
                <a:solidFill>
                  <a:srgbClr val="00BCEB"/>
                </a:solidFill>
                <a:latin typeface="CiscoSansTT ExtraLight"/>
                <a:cs typeface="Arial"/>
                <a:sym typeface="Arial"/>
              </a:rPr>
              <a:t>Threat Intelligence </a:t>
            </a:r>
          </a:p>
        </p:txBody>
      </p:sp>
      <p:sp>
        <p:nvSpPr>
          <p:cNvPr id="22" name="Rectangle 21">
            <a:extLst>
              <a:ext uri="{FF2B5EF4-FFF2-40B4-BE49-F238E27FC236}">
                <a16:creationId xmlns:a16="http://schemas.microsoft.com/office/drawing/2014/main" id="{5040E8D3-1ACD-472C-9BA6-D1B98F7CC55D}"/>
              </a:ext>
            </a:extLst>
          </p:cNvPr>
          <p:cNvSpPr/>
          <p:nvPr/>
        </p:nvSpPr>
        <p:spPr>
          <a:xfrm>
            <a:off x="6227783" y="4139322"/>
            <a:ext cx="2736252" cy="1159292"/>
          </a:xfrm>
          <a:prstGeom prst="rect">
            <a:avLst/>
          </a:prstGeom>
        </p:spPr>
        <p:txBody>
          <a:bodyPr wrap="square" lIns="0" rIns="0" numCol="1">
            <a:spAutoFit/>
          </a:bodyPr>
          <a:lstStyle/>
          <a:p>
            <a:pPr marL="243834" indent="-243834" defTabSz="812760">
              <a:spcBef>
                <a:spcPts val="800"/>
              </a:spcBef>
              <a:buClr>
                <a:srgbClr val="000000"/>
              </a:buClr>
              <a:buFont typeface="Arial" panose="020B0604020202020204" pitchFamily="34" charset="0"/>
              <a:buChar char="•"/>
              <a:defRPr/>
            </a:pPr>
            <a:r>
              <a:rPr lang="en-US" sz="1400" kern="0" dirty="0">
                <a:solidFill>
                  <a:srgbClr val="282828"/>
                </a:solidFill>
                <a:latin typeface="CiscoSansTT ExtraLight" panose="020B0303020201020303" pitchFamily="34" charset="0"/>
                <a:cs typeface="CiscoSansTT ExtraLight" panose="020B0303020201020303" pitchFamily="34" charset="0"/>
                <a:sym typeface="Arial"/>
              </a:rPr>
              <a:t>Threat Grid license </a:t>
            </a:r>
          </a:p>
          <a:p>
            <a:pPr marL="243834" indent="-243834" defTabSz="812760">
              <a:spcBef>
                <a:spcPts val="800"/>
              </a:spcBef>
              <a:buClr>
                <a:srgbClr val="000000"/>
              </a:buClr>
              <a:buFont typeface="Arial" panose="020B0604020202020204" pitchFamily="34" charset="0"/>
              <a:buChar char="•"/>
              <a:defRPr/>
            </a:pPr>
            <a:r>
              <a:rPr lang="en-US" sz="1400" kern="0" dirty="0">
                <a:solidFill>
                  <a:srgbClr val="282828"/>
                </a:solidFill>
                <a:latin typeface="CiscoSansTT ExtraLight" panose="020B0303020201020303" pitchFamily="34" charset="0"/>
                <a:cs typeface="CiscoSansTT ExtraLight" panose="020B0303020201020303" pitchFamily="34" charset="0"/>
                <a:sym typeface="Arial"/>
              </a:rPr>
              <a:t>OR, included with </a:t>
            </a:r>
            <a:br>
              <a:rPr lang="en-US" sz="1400" kern="0" dirty="0">
                <a:solidFill>
                  <a:srgbClr val="282828"/>
                </a:solidFill>
                <a:latin typeface="CiscoSansTT ExtraLight" panose="020B0303020201020303" pitchFamily="34" charset="0"/>
                <a:cs typeface="CiscoSansTT ExtraLight" panose="020B0303020201020303" pitchFamily="34" charset="0"/>
                <a:sym typeface="Arial"/>
              </a:rPr>
            </a:br>
            <a:r>
              <a:rPr lang="en-US" sz="1400" kern="0" dirty="0">
                <a:solidFill>
                  <a:srgbClr val="282828"/>
                </a:solidFill>
                <a:latin typeface="CiscoSansTT ExtraLight" panose="020B0303020201020303" pitchFamily="34" charset="0"/>
                <a:cs typeface="CiscoSansTT ExtraLight" panose="020B0303020201020303" pitchFamily="34" charset="0"/>
                <a:sym typeface="Arial"/>
              </a:rPr>
              <a:t>AMP for Endpoints Advantage</a:t>
            </a:r>
          </a:p>
          <a:p>
            <a:pPr marL="243834" indent="-243834" defTabSz="812760">
              <a:spcBef>
                <a:spcPts val="800"/>
              </a:spcBef>
              <a:buClr>
                <a:srgbClr val="000000"/>
              </a:buClr>
              <a:buFont typeface="Arial" panose="020B0604020202020204" pitchFamily="34" charset="0"/>
              <a:buChar char="•"/>
              <a:defRPr/>
            </a:pPr>
            <a:endParaRPr lang="en-US" sz="1400" kern="0" dirty="0">
              <a:solidFill>
                <a:srgbClr val="005073"/>
              </a:solidFill>
              <a:latin typeface="CiscoSansTT ExtraLight"/>
              <a:cs typeface="Arial"/>
              <a:sym typeface="Arial"/>
            </a:endParaRPr>
          </a:p>
        </p:txBody>
      </p:sp>
      <p:cxnSp>
        <p:nvCxnSpPr>
          <p:cNvPr id="24" name="Straight Connector 23">
            <a:extLst>
              <a:ext uri="{FF2B5EF4-FFF2-40B4-BE49-F238E27FC236}">
                <a16:creationId xmlns:a16="http://schemas.microsoft.com/office/drawing/2014/main" id="{9D2B7F08-206F-4CEE-874A-27B3CC84EF65}"/>
              </a:ext>
            </a:extLst>
          </p:cNvPr>
          <p:cNvCxnSpPr>
            <a:cxnSpLocks/>
          </p:cNvCxnSpPr>
          <p:nvPr/>
        </p:nvCxnSpPr>
        <p:spPr>
          <a:xfrm>
            <a:off x="6085081" y="2113665"/>
            <a:ext cx="21840" cy="3809704"/>
          </a:xfrm>
          <a:prstGeom prst="line">
            <a:avLst/>
          </a:prstGeom>
          <a:ln w="9525">
            <a:solidFill>
              <a:schemeClr val="tx2">
                <a:lumMod val="85000"/>
              </a:schemeClr>
            </a:solidFill>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5CB466F1-11A2-43BC-ACCA-4F808E319CC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049119" y="2943648"/>
            <a:ext cx="981172" cy="1019147"/>
          </a:xfrm>
          <a:prstGeom prst="rect">
            <a:avLst/>
          </a:prstGeom>
        </p:spPr>
      </p:pic>
      <p:cxnSp>
        <p:nvCxnSpPr>
          <p:cNvPr id="49" name="Straight Connector 48">
            <a:extLst>
              <a:ext uri="{FF2B5EF4-FFF2-40B4-BE49-F238E27FC236}">
                <a16:creationId xmlns:a16="http://schemas.microsoft.com/office/drawing/2014/main" id="{0D88ACE6-D453-4F89-B7C7-24ADAE9972B2}"/>
              </a:ext>
            </a:extLst>
          </p:cNvPr>
          <p:cNvCxnSpPr>
            <a:cxnSpLocks/>
          </p:cNvCxnSpPr>
          <p:nvPr/>
        </p:nvCxnSpPr>
        <p:spPr>
          <a:xfrm>
            <a:off x="3180954" y="2079501"/>
            <a:ext cx="1913" cy="3865449"/>
          </a:xfrm>
          <a:prstGeom prst="line">
            <a:avLst/>
          </a:prstGeom>
          <a:ln w="9525">
            <a:solidFill>
              <a:schemeClr val="tx2">
                <a:lumMod val="8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AB631B7-9E9E-4CA8-AB59-4F82D8B4A6F4}"/>
              </a:ext>
            </a:extLst>
          </p:cNvPr>
          <p:cNvCxnSpPr>
            <a:cxnSpLocks/>
          </p:cNvCxnSpPr>
          <p:nvPr/>
        </p:nvCxnSpPr>
        <p:spPr>
          <a:xfrm>
            <a:off x="9071929" y="2111868"/>
            <a:ext cx="21840" cy="3809704"/>
          </a:xfrm>
          <a:prstGeom prst="line">
            <a:avLst/>
          </a:prstGeom>
          <a:ln w="9525">
            <a:solidFill>
              <a:schemeClr val="tx2">
                <a:lumMod val="85000"/>
              </a:schemeClr>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EB2DF0A1-0DB5-483E-B704-D5C32B1F98A0}"/>
              </a:ext>
            </a:extLst>
          </p:cNvPr>
          <p:cNvSpPr>
            <a:spLocks noGrp="1"/>
          </p:cNvSpPr>
          <p:nvPr>
            <p:ph type="title"/>
          </p:nvPr>
        </p:nvSpPr>
        <p:spPr/>
        <p:txBody>
          <a:bodyPr/>
          <a:lstStyle/>
          <a:p>
            <a:pPr algn="ctr"/>
            <a:r>
              <a:rPr lang="en-US" sz="3200" dirty="0"/>
              <a:t>Cisco Security Technologies License Requirements </a:t>
            </a:r>
            <a:br>
              <a:rPr lang="en-US" sz="3200" dirty="0"/>
            </a:br>
            <a:r>
              <a:rPr lang="en-US" sz="3200" dirty="0"/>
              <a:t>for MDR Service Activation  </a:t>
            </a:r>
          </a:p>
        </p:txBody>
      </p:sp>
    </p:spTree>
    <p:extLst>
      <p:ext uri="{BB962C8B-B14F-4D97-AF65-F5344CB8AC3E}">
        <p14:creationId xmlns:p14="http://schemas.microsoft.com/office/powerpoint/2010/main" val="31048352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0" name="Straight Connector 79">
            <a:extLst>
              <a:ext uri="{FF2B5EF4-FFF2-40B4-BE49-F238E27FC236}">
                <a16:creationId xmlns:a16="http://schemas.microsoft.com/office/drawing/2014/main" id="{8FD03F52-0524-44C8-BC69-43ED83326E58}"/>
              </a:ext>
            </a:extLst>
          </p:cNvPr>
          <p:cNvCxnSpPr>
            <a:cxnSpLocks/>
          </p:cNvCxnSpPr>
          <p:nvPr/>
        </p:nvCxnSpPr>
        <p:spPr>
          <a:xfrm>
            <a:off x="7783544" y="2332321"/>
            <a:ext cx="4571" cy="1479051"/>
          </a:xfrm>
          <a:prstGeom prst="line">
            <a:avLst/>
          </a:prstGeom>
          <a:solidFill>
            <a:schemeClr val="accent3"/>
          </a:solidFill>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AC1D55B-5BF8-4003-A0B4-0AA4F06CB3C0}"/>
              </a:ext>
            </a:extLst>
          </p:cNvPr>
          <p:cNvCxnSpPr>
            <a:cxnSpLocks/>
            <a:endCxn id="55" idx="4"/>
          </p:cNvCxnSpPr>
          <p:nvPr/>
        </p:nvCxnSpPr>
        <p:spPr>
          <a:xfrm flipH="1">
            <a:off x="829291" y="2311080"/>
            <a:ext cx="1485" cy="2163161"/>
          </a:xfrm>
          <a:prstGeom prst="line">
            <a:avLst/>
          </a:prstGeom>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9201C68-CE2C-4433-97AE-27FE780D4DF8}"/>
              </a:ext>
            </a:extLst>
          </p:cNvPr>
          <p:cNvCxnSpPr>
            <a:cxnSpLocks/>
          </p:cNvCxnSpPr>
          <p:nvPr/>
        </p:nvCxnSpPr>
        <p:spPr>
          <a:xfrm>
            <a:off x="4269948" y="2227169"/>
            <a:ext cx="0" cy="2975116"/>
          </a:xfrm>
          <a:prstGeom prst="line">
            <a:avLst/>
          </a:prstGeom>
          <a:solidFill>
            <a:schemeClr val="accent2"/>
          </a:solidFill>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A307920E-4780-624C-802A-86FA208C6BAF}"/>
              </a:ext>
            </a:extLst>
          </p:cNvPr>
          <p:cNvSpPr>
            <a:spLocks noGrp="1"/>
          </p:cNvSpPr>
          <p:nvPr>
            <p:ph type="title"/>
          </p:nvPr>
        </p:nvSpPr>
        <p:spPr/>
        <p:txBody>
          <a:bodyPr/>
          <a:lstStyle/>
          <a:p>
            <a:pPr algn="ctr"/>
            <a:r>
              <a:rPr lang="en-US"/>
              <a:t>Quick MDR Service Activation</a:t>
            </a:r>
          </a:p>
        </p:txBody>
      </p:sp>
      <p:sp>
        <p:nvSpPr>
          <p:cNvPr id="41" name="Rectangle 40">
            <a:extLst>
              <a:ext uri="{FF2B5EF4-FFF2-40B4-BE49-F238E27FC236}">
                <a16:creationId xmlns:a16="http://schemas.microsoft.com/office/drawing/2014/main" id="{8E280F64-06E8-4B71-8752-007E55C219BC}"/>
              </a:ext>
            </a:extLst>
          </p:cNvPr>
          <p:cNvSpPr/>
          <p:nvPr/>
        </p:nvSpPr>
        <p:spPr>
          <a:xfrm>
            <a:off x="720972" y="2013163"/>
            <a:ext cx="3498707" cy="428012"/>
          </a:xfrm>
          <a:prstGeom prst="rect">
            <a:avLst/>
          </a:prstGeom>
          <a:solidFill>
            <a:schemeClr val="accent1"/>
          </a:solidFill>
          <a:ln w="285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US" sz="1867" kern="0">
              <a:solidFill>
                <a:srgbClr val="005073"/>
              </a:solidFill>
              <a:latin typeface="CiscoSansTT ExtraLight"/>
              <a:sym typeface="Arial"/>
            </a:endParaRPr>
          </a:p>
        </p:txBody>
      </p:sp>
      <p:sp>
        <p:nvSpPr>
          <p:cNvPr id="5" name="Oval 4">
            <a:extLst>
              <a:ext uri="{FF2B5EF4-FFF2-40B4-BE49-F238E27FC236}">
                <a16:creationId xmlns:a16="http://schemas.microsoft.com/office/drawing/2014/main" id="{1DB65A60-A0EA-2A42-AC85-DF7BBA6C1673}"/>
              </a:ext>
            </a:extLst>
          </p:cNvPr>
          <p:cNvSpPr/>
          <p:nvPr/>
        </p:nvSpPr>
        <p:spPr>
          <a:xfrm>
            <a:off x="1659348" y="1489571"/>
            <a:ext cx="1429465" cy="1450484"/>
          </a:xfrm>
          <a:prstGeom prst="ellipse">
            <a:avLst/>
          </a:prstGeom>
          <a:solidFill>
            <a:schemeClr val="accent1"/>
          </a:solidFill>
          <a:ln w="285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US" sz="1467" kern="0">
              <a:solidFill>
                <a:srgbClr val="FFFFFF"/>
              </a:solidFill>
              <a:latin typeface="CiscoSansTT ExtraLight"/>
              <a:sym typeface="Arial"/>
            </a:endParaRPr>
          </a:p>
        </p:txBody>
      </p:sp>
      <p:sp>
        <p:nvSpPr>
          <p:cNvPr id="6" name="Pentagon 5">
            <a:extLst>
              <a:ext uri="{FF2B5EF4-FFF2-40B4-BE49-F238E27FC236}">
                <a16:creationId xmlns:a16="http://schemas.microsoft.com/office/drawing/2014/main" id="{7C524FBF-A12B-984D-9B43-C48C034D7BE2}"/>
              </a:ext>
            </a:extLst>
          </p:cNvPr>
          <p:cNvSpPr/>
          <p:nvPr/>
        </p:nvSpPr>
        <p:spPr>
          <a:xfrm>
            <a:off x="7690935" y="2013163"/>
            <a:ext cx="3585380" cy="428012"/>
          </a:xfrm>
          <a:prstGeom prst="homePlate">
            <a:avLst/>
          </a:prstGeom>
          <a:solidFill>
            <a:schemeClr val="accent3"/>
          </a:solidFill>
          <a:ln w="285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US" sz="1867" kern="0">
              <a:solidFill>
                <a:srgbClr val="005073"/>
              </a:solidFill>
              <a:latin typeface="CiscoSansTT ExtraLight"/>
              <a:sym typeface="Arial"/>
            </a:endParaRPr>
          </a:p>
        </p:txBody>
      </p:sp>
      <p:sp>
        <p:nvSpPr>
          <p:cNvPr id="7" name="Oval 6">
            <a:extLst>
              <a:ext uri="{FF2B5EF4-FFF2-40B4-BE49-F238E27FC236}">
                <a16:creationId xmlns:a16="http://schemas.microsoft.com/office/drawing/2014/main" id="{8A23E5E0-E72E-434F-B564-4BF653B029FE}"/>
              </a:ext>
            </a:extLst>
          </p:cNvPr>
          <p:cNvSpPr/>
          <p:nvPr/>
        </p:nvSpPr>
        <p:spPr>
          <a:xfrm>
            <a:off x="8781276" y="1465219"/>
            <a:ext cx="1429465" cy="1450484"/>
          </a:xfrm>
          <a:prstGeom prst="ellipse">
            <a:avLst/>
          </a:prstGeom>
          <a:solidFill>
            <a:schemeClr val="accent3"/>
          </a:solidFill>
          <a:ln w="285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US" sz="1467" kern="0">
              <a:solidFill>
                <a:srgbClr val="FFFFFF"/>
              </a:solidFill>
              <a:latin typeface="CiscoSansTT ExtraLight"/>
              <a:sym typeface="Arial"/>
            </a:endParaRPr>
          </a:p>
        </p:txBody>
      </p:sp>
      <p:sp>
        <p:nvSpPr>
          <p:cNvPr id="8" name="Rectangle 7">
            <a:extLst>
              <a:ext uri="{FF2B5EF4-FFF2-40B4-BE49-F238E27FC236}">
                <a16:creationId xmlns:a16="http://schemas.microsoft.com/office/drawing/2014/main" id="{DB7FAF6C-A0AC-E849-84AA-D197F83A9918}"/>
              </a:ext>
            </a:extLst>
          </p:cNvPr>
          <p:cNvSpPr/>
          <p:nvPr/>
        </p:nvSpPr>
        <p:spPr>
          <a:xfrm>
            <a:off x="4195573" y="2013163"/>
            <a:ext cx="3498707" cy="428012"/>
          </a:xfrm>
          <a:prstGeom prst="rect">
            <a:avLst/>
          </a:prstGeom>
          <a:solidFill>
            <a:schemeClr val="accent2"/>
          </a:solidFill>
          <a:ln w="285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US" sz="1867" kern="0">
              <a:solidFill>
                <a:srgbClr val="005073"/>
              </a:solidFill>
              <a:latin typeface="CiscoSansTT ExtraLight"/>
              <a:sym typeface="Arial"/>
            </a:endParaRPr>
          </a:p>
        </p:txBody>
      </p:sp>
      <p:sp>
        <p:nvSpPr>
          <p:cNvPr id="9" name="Oval 8">
            <a:extLst>
              <a:ext uri="{FF2B5EF4-FFF2-40B4-BE49-F238E27FC236}">
                <a16:creationId xmlns:a16="http://schemas.microsoft.com/office/drawing/2014/main" id="{650E7E75-A623-F64F-A84C-919333A9C30D}"/>
              </a:ext>
            </a:extLst>
          </p:cNvPr>
          <p:cNvSpPr/>
          <p:nvPr/>
        </p:nvSpPr>
        <p:spPr>
          <a:xfrm>
            <a:off x="5285916" y="1489571"/>
            <a:ext cx="1429465" cy="1450484"/>
          </a:xfrm>
          <a:prstGeom prst="ellipse">
            <a:avLst/>
          </a:prstGeom>
          <a:solidFill>
            <a:schemeClr val="accent2"/>
          </a:solidFill>
          <a:ln w="285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US" sz="1467" kern="0">
              <a:solidFill>
                <a:srgbClr val="FFFFFF"/>
              </a:solidFill>
              <a:latin typeface="CiscoSansTT ExtraLight"/>
              <a:sym typeface="Arial"/>
            </a:endParaRPr>
          </a:p>
        </p:txBody>
      </p:sp>
      <p:sp>
        <p:nvSpPr>
          <p:cNvPr id="15" name="TextBox 14">
            <a:extLst>
              <a:ext uri="{FF2B5EF4-FFF2-40B4-BE49-F238E27FC236}">
                <a16:creationId xmlns:a16="http://schemas.microsoft.com/office/drawing/2014/main" id="{7A59D260-CC11-D240-9588-2CA1E2E0FCA0}"/>
              </a:ext>
            </a:extLst>
          </p:cNvPr>
          <p:cNvSpPr txBox="1"/>
          <p:nvPr/>
        </p:nvSpPr>
        <p:spPr>
          <a:xfrm>
            <a:off x="915139" y="2956908"/>
            <a:ext cx="3087661" cy="1908279"/>
          </a:xfrm>
          <a:prstGeom prst="rect">
            <a:avLst/>
          </a:prstGeom>
          <a:noFill/>
        </p:spPr>
        <p:txBody>
          <a:bodyPr wrap="square" rtlCol="0">
            <a:spAutoFit/>
          </a:bodyPr>
          <a:lstStyle/>
          <a:p>
            <a:pPr defTabSz="609585" fontAlgn="base">
              <a:spcBef>
                <a:spcPct val="0"/>
              </a:spcBef>
              <a:spcAft>
                <a:spcPts val="400"/>
              </a:spcAft>
              <a:defRPr/>
            </a:pPr>
            <a:r>
              <a:rPr lang="en-US" sz="1600">
                <a:solidFill>
                  <a:srgbClr val="005073"/>
                </a:solidFill>
                <a:latin typeface="CiscoSansTT ExtraLight"/>
                <a:ea typeface="ＭＳ Ｐゴシック" charset="0"/>
                <a:cs typeface="Arial"/>
                <a:sym typeface="Arial"/>
              </a:rPr>
              <a:t>Validate product licensing</a:t>
            </a:r>
            <a:br>
              <a:rPr lang="en-US" sz="1600">
                <a:solidFill>
                  <a:srgbClr val="005073"/>
                </a:solidFill>
                <a:latin typeface="CiscoSansTT ExtraLight"/>
                <a:ea typeface="ＭＳ Ｐゴシック" charset="0"/>
                <a:cs typeface="Arial"/>
                <a:sym typeface="Arial"/>
              </a:rPr>
            </a:br>
            <a:br>
              <a:rPr lang="en-US" sz="1600">
                <a:solidFill>
                  <a:srgbClr val="005073"/>
                </a:solidFill>
                <a:latin typeface="CiscoSansTT ExtraLight"/>
                <a:ea typeface="ＭＳ Ｐゴシック" charset="0"/>
                <a:cs typeface="Arial"/>
                <a:sym typeface="Arial"/>
              </a:rPr>
            </a:br>
            <a:r>
              <a:rPr lang="en-US" sz="1600">
                <a:solidFill>
                  <a:srgbClr val="005073"/>
                </a:solidFill>
                <a:latin typeface="CiscoSansTT ExtraLight"/>
                <a:ea typeface="ＭＳ Ｐゴシック" charset="0"/>
                <a:cs typeface="Arial"/>
                <a:sym typeface="Arial"/>
              </a:rPr>
              <a:t>Review configuration </a:t>
            </a:r>
            <a:br>
              <a:rPr lang="en-US" sz="1600">
                <a:solidFill>
                  <a:srgbClr val="005073"/>
                </a:solidFill>
                <a:latin typeface="CiscoSansTT ExtraLight"/>
                <a:ea typeface="ＭＳ Ｐゴシック" charset="0"/>
                <a:cs typeface="Arial"/>
                <a:sym typeface="Arial"/>
              </a:rPr>
            </a:br>
            <a:r>
              <a:rPr lang="en-US" sz="1600">
                <a:solidFill>
                  <a:srgbClr val="005073"/>
                </a:solidFill>
                <a:latin typeface="CiscoSansTT ExtraLight"/>
                <a:ea typeface="ＭＳ Ｐゴシック" charset="0"/>
                <a:cs typeface="Arial"/>
                <a:sym typeface="Arial"/>
              </a:rPr>
              <a:t>and connectivity requirements  </a:t>
            </a:r>
            <a:br>
              <a:rPr lang="en-US" sz="1600">
                <a:solidFill>
                  <a:srgbClr val="005073"/>
                </a:solidFill>
                <a:latin typeface="CiscoSansTT ExtraLight"/>
                <a:ea typeface="ＭＳ Ｐゴシック" charset="0"/>
                <a:cs typeface="Arial"/>
                <a:sym typeface="Arial"/>
              </a:rPr>
            </a:br>
            <a:br>
              <a:rPr lang="en-US" sz="1600">
                <a:solidFill>
                  <a:srgbClr val="005073"/>
                </a:solidFill>
                <a:latin typeface="CiscoSansTT ExtraLight"/>
                <a:ea typeface="ＭＳ Ｐゴシック" charset="0"/>
                <a:cs typeface="Arial"/>
                <a:sym typeface="Arial"/>
              </a:rPr>
            </a:br>
            <a:r>
              <a:rPr lang="en-US" sz="1600">
                <a:solidFill>
                  <a:srgbClr val="005073"/>
                </a:solidFill>
                <a:latin typeface="CiscoSansTT ExtraLight"/>
                <a:ea typeface="ＭＳ Ｐゴシック" charset="0"/>
                <a:cs typeface="Arial"/>
                <a:sym typeface="Arial"/>
              </a:rPr>
              <a:t>Commit Resources </a:t>
            </a:r>
          </a:p>
          <a:p>
            <a:pPr defTabSz="1219170">
              <a:buClr>
                <a:srgbClr val="000000"/>
              </a:buClr>
              <a:defRPr/>
            </a:pPr>
            <a:endParaRPr lang="en-US" sz="1867" kern="0">
              <a:solidFill>
                <a:srgbClr val="000000"/>
              </a:solidFill>
              <a:latin typeface="CiscoSansTT ExtraLight"/>
              <a:cs typeface="Arial"/>
              <a:sym typeface="Arial"/>
            </a:endParaRPr>
          </a:p>
        </p:txBody>
      </p:sp>
      <p:sp>
        <p:nvSpPr>
          <p:cNvPr id="46" name="TextBox 45">
            <a:extLst>
              <a:ext uri="{FF2B5EF4-FFF2-40B4-BE49-F238E27FC236}">
                <a16:creationId xmlns:a16="http://schemas.microsoft.com/office/drawing/2014/main" id="{B1A3D693-CB1A-4798-9B29-8442E9715898}"/>
              </a:ext>
            </a:extLst>
          </p:cNvPr>
          <p:cNvSpPr txBox="1"/>
          <p:nvPr/>
        </p:nvSpPr>
        <p:spPr>
          <a:xfrm>
            <a:off x="1785256" y="1911967"/>
            <a:ext cx="1208315" cy="584775"/>
          </a:xfrm>
          <a:prstGeom prst="rect">
            <a:avLst/>
          </a:prstGeom>
          <a:noFill/>
        </p:spPr>
        <p:txBody>
          <a:bodyPr wrap="square" rtlCol="0">
            <a:spAutoFit/>
          </a:bodyPr>
          <a:lstStyle/>
          <a:p>
            <a:pPr algn="ctr" defTabSz="1219170">
              <a:buClr>
                <a:srgbClr val="000000"/>
              </a:buClr>
              <a:defRPr/>
            </a:pPr>
            <a:r>
              <a:rPr lang="en-US" sz="1600" kern="0">
                <a:solidFill>
                  <a:srgbClr val="FFFFFF"/>
                </a:solidFill>
                <a:latin typeface="CiscoSansTT ExtraLight"/>
                <a:cs typeface="Arial"/>
                <a:sym typeface="Arial"/>
              </a:rPr>
              <a:t>Prep / Readiness </a:t>
            </a:r>
          </a:p>
        </p:txBody>
      </p:sp>
      <p:sp>
        <p:nvSpPr>
          <p:cNvPr id="47" name="TextBox 46">
            <a:extLst>
              <a:ext uri="{FF2B5EF4-FFF2-40B4-BE49-F238E27FC236}">
                <a16:creationId xmlns:a16="http://schemas.microsoft.com/office/drawing/2014/main" id="{0C7F5BFA-F909-4713-9347-938233535F0A}"/>
              </a:ext>
            </a:extLst>
          </p:cNvPr>
          <p:cNvSpPr txBox="1"/>
          <p:nvPr/>
        </p:nvSpPr>
        <p:spPr>
          <a:xfrm>
            <a:off x="5412456" y="1882683"/>
            <a:ext cx="1208315" cy="584775"/>
          </a:xfrm>
          <a:prstGeom prst="rect">
            <a:avLst/>
          </a:prstGeom>
          <a:noFill/>
        </p:spPr>
        <p:txBody>
          <a:bodyPr wrap="square" rtlCol="0">
            <a:spAutoFit/>
          </a:bodyPr>
          <a:lstStyle/>
          <a:p>
            <a:pPr algn="ctr" defTabSz="1219170">
              <a:buClr>
                <a:srgbClr val="000000"/>
              </a:buClr>
              <a:defRPr/>
            </a:pPr>
            <a:r>
              <a:rPr lang="en-US" sz="1600" kern="0">
                <a:solidFill>
                  <a:srgbClr val="FFFFFF"/>
                </a:solidFill>
                <a:latin typeface="CiscoSansTT ExtraLight"/>
                <a:cs typeface="Arial"/>
                <a:sym typeface="Arial"/>
              </a:rPr>
              <a:t>Technical </a:t>
            </a:r>
            <a:br>
              <a:rPr lang="en-US" sz="1600" kern="0">
                <a:solidFill>
                  <a:srgbClr val="FFFFFF"/>
                </a:solidFill>
                <a:latin typeface="CiscoSansTT ExtraLight"/>
                <a:cs typeface="Arial"/>
                <a:sym typeface="Arial"/>
              </a:rPr>
            </a:br>
            <a:r>
              <a:rPr lang="en-US" sz="1600" kern="0">
                <a:solidFill>
                  <a:srgbClr val="FFFFFF"/>
                </a:solidFill>
                <a:latin typeface="CiscoSansTT ExtraLight"/>
                <a:cs typeface="Arial"/>
                <a:sym typeface="Arial"/>
              </a:rPr>
              <a:t>Activation</a:t>
            </a:r>
          </a:p>
        </p:txBody>
      </p:sp>
      <p:sp>
        <p:nvSpPr>
          <p:cNvPr id="48" name="TextBox 47">
            <a:extLst>
              <a:ext uri="{FF2B5EF4-FFF2-40B4-BE49-F238E27FC236}">
                <a16:creationId xmlns:a16="http://schemas.microsoft.com/office/drawing/2014/main" id="{ED7DB973-DFE6-474C-99E9-5223AAC67854}"/>
              </a:ext>
            </a:extLst>
          </p:cNvPr>
          <p:cNvSpPr txBox="1"/>
          <p:nvPr/>
        </p:nvSpPr>
        <p:spPr>
          <a:xfrm>
            <a:off x="8776963" y="2006579"/>
            <a:ext cx="1383971" cy="338554"/>
          </a:xfrm>
          <a:prstGeom prst="rect">
            <a:avLst/>
          </a:prstGeom>
          <a:noFill/>
        </p:spPr>
        <p:txBody>
          <a:bodyPr wrap="square" rtlCol="0">
            <a:spAutoFit/>
          </a:bodyPr>
          <a:lstStyle/>
          <a:p>
            <a:pPr algn="ctr" defTabSz="1219170">
              <a:buClr>
                <a:srgbClr val="000000"/>
              </a:buClr>
              <a:defRPr/>
            </a:pPr>
            <a:r>
              <a:rPr lang="en-US" sz="1600" kern="0" dirty="0">
                <a:solidFill>
                  <a:srgbClr val="FFFFFF"/>
                </a:solidFill>
                <a:latin typeface="CiscoSansTT ExtraLight"/>
                <a:cs typeface="Arial"/>
                <a:sym typeface="Arial"/>
              </a:rPr>
              <a:t>Deployment</a:t>
            </a:r>
          </a:p>
        </p:txBody>
      </p:sp>
      <p:sp>
        <p:nvSpPr>
          <p:cNvPr id="55" name="Oval 54">
            <a:extLst>
              <a:ext uri="{FF2B5EF4-FFF2-40B4-BE49-F238E27FC236}">
                <a16:creationId xmlns:a16="http://schemas.microsoft.com/office/drawing/2014/main" id="{57D67447-C4C7-4C19-A5B1-2F0993DC452F}"/>
              </a:ext>
            </a:extLst>
          </p:cNvPr>
          <p:cNvSpPr/>
          <p:nvPr/>
        </p:nvSpPr>
        <p:spPr>
          <a:xfrm>
            <a:off x="707371" y="4230400"/>
            <a:ext cx="243840" cy="243840"/>
          </a:xfrm>
          <a:prstGeom prst="ellipse">
            <a:avLst/>
          </a:prstGeom>
          <a:solidFill>
            <a:schemeClr val="accent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US" sz="1467" kern="0">
              <a:solidFill>
                <a:srgbClr val="FFFFFF"/>
              </a:solidFill>
              <a:latin typeface="CiscoSansTT ExtraLight"/>
              <a:sym typeface="Arial"/>
            </a:endParaRPr>
          </a:p>
        </p:txBody>
      </p:sp>
      <p:sp>
        <p:nvSpPr>
          <p:cNvPr id="56" name="Oval 55">
            <a:extLst>
              <a:ext uri="{FF2B5EF4-FFF2-40B4-BE49-F238E27FC236}">
                <a16:creationId xmlns:a16="http://schemas.microsoft.com/office/drawing/2014/main" id="{739E0007-FDC0-4DC4-8624-6EC85B62DC19}"/>
              </a:ext>
            </a:extLst>
          </p:cNvPr>
          <p:cNvSpPr/>
          <p:nvPr/>
        </p:nvSpPr>
        <p:spPr>
          <a:xfrm>
            <a:off x="703757" y="3537051"/>
            <a:ext cx="243840" cy="243840"/>
          </a:xfrm>
          <a:prstGeom prst="ellipse">
            <a:avLst/>
          </a:prstGeom>
          <a:solidFill>
            <a:schemeClr val="accent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US" sz="1467" kern="0">
              <a:solidFill>
                <a:srgbClr val="FFFFFF"/>
              </a:solidFill>
              <a:latin typeface="CiscoSansTT ExtraLight"/>
              <a:sym typeface="Arial"/>
            </a:endParaRPr>
          </a:p>
        </p:txBody>
      </p:sp>
      <p:sp>
        <p:nvSpPr>
          <p:cNvPr id="57" name="Oval 56">
            <a:extLst>
              <a:ext uri="{FF2B5EF4-FFF2-40B4-BE49-F238E27FC236}">
                <a16:creationId xmlns:a16="http://schemas.microsoft.com/office/drawing/2014/main" id="{104AF739-BD4B-4786-8F4C-89DCD8F40993}"/>
              </a:ext>
            </a:extLst>
          </p:cNvPr>
          <p:cNvSpPr/>
          <p:nvPr/>
        </p:nvSpPr>
        <p:spPr>
          <a:xfrm>
            <a:off x="707371" y="3028317"/>
            <a:ext cx="243840" cy="243840"/>
          </a:xfrm>
          <a:prstGeom prst="ellipse">
            <a:avLst/>
          </a:prstGeom>
          <a:solidFill>
            <a:schemeClr val="accent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US" sz="1467" kern="0">
              <a:solidFill>
                <a:srgbClr val="FFFFFF"/>
              </a:solidFill>
              <a:latin typeface="CiscoSansTT ExtraLight"/>
              <a:sym typeface="Arial"/>
            </a:endParaRPr>
          </a:p>
        </p:txBody>
      </p:sp>
      <p:sp>
        <p:nvSpPr>
          <p:cNvPr id="69" name="Oval 68">
            <a:extLst>
              <a:ext uri="{FF2B5EF4-FFF2-40B4-BE49-F238E27FC236}">
                <a16:creationId xmlns:a16="http://schemas.microsoft.com/office/drawing/2014/main" id="{FB5C2638-E9E8-438C-BF33-5A2E4EA9E6FE}"/>
              </a:ext>
            </a:extLst>
          </p:cNvPr>
          <p:cNvSpPr/>
          <p:nvPr/>
        </p:nvSpPr>
        <p:spPr>
          <a:xfrm>
            <a:off x="4148028" y="4012685"/>
            <a:ext cx="243840" cy="243840"/>
          </a:xfrm>
          <a:prstGeom prst="ellipse">
            <a:avLst/>
          </a:prstGeom>
          <a:solidFill>
            <a:schemeClr val="accent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US" sz="1467" kern="0">
              <a:solidFill>
                <a:srgbClr val="FFFFFF"/>
              </a:solidFill>
              <a:latin typeface="CiscoSansTT ExtraLight"/>
              <a:sym typeface="Arial"/>
            </a:endParaRPr>
          </a:p>
        </p:txBody>
      </p:sp>
      <p:sp>
        <p:nvSpPr>
          <p:cNvPr id="70" name="Oval 69">
            <a:extLst>
              <a:ext uri="{FF2B5EF4-FFF2-40B4-BE49-F238E27FC236}">
                <a16:creationId xmlns:a16="http://schemas.microsoft.com/office/drawing/2014/main" id="{CBFE2F8D-8162-4289-A9A5-2AB5BE7911DB}"/>
              </a:ext>
            </a:extLst>
          </p:cNvPr>
          <p:cNvSpPr/>
          <p:nvPr/>
        </p:nvSpPr>
        <p:spPr>
          <a:xfrm>
            <a:off x="4148028" y="3526172"/>
            <a:ext cx="243840" cy="243840"/>
          </a:xfrm>
          <a:prstGeom prst="ellipse">
            <a:avLst/>
          </a:prstGeom>
          <a:solidFill>
            <a:schemeClr val="accent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US" sz="1467" kern="0">
              <a:solidFill>
                <a:srgbClr val="FFFFFF"/>
              </a:solidFill>
              <a:latin typeface="CiscoSansTT ExtraLight"/>
              <a:sym typeface="Arial"/>
            </a:endParaRPr>
          </a:p>
        </p:txBody>
      </p:sp>
      <p:sp>
        <p:nvSpPr>
          <p:cNvPr id="71" name="Oval 70">
            <a:extLst>
              <a:ext uri="{FF2B5EF4-FFF2-40B4-BE49-F238E27FC236}">
                <a16:creationId xmlns:a16="http://schemas.microsoft.com/office/drawing/2014/main" id="{BE6075CA-20DE-49B9-8DE2-A5B7BA090607}"/>
              </a:ext>
            </a:extLst>
          </p:cNvPr>
          <p:cNvSpPr/>
          <p:nvPr/>
        </p:nvSpPr>
        <p:spPr>
          <a:xfrm>
            <a:off x="4148028" y="3028317"/>
            <a:ext cx="243840" cy="243840"/>
          </a:xfrm>
          <a:prstGeom prst="ellipse">
            <a:avLst/>
          </a:prstGeom>
          <a:solidFill>
            <a:schemeClr val="accent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US" sz="1467" kern="0">
              <a:solidFill>
                <a:srgbClr val="FFFFFF"/>
              </a:solidFill>
              <a:latin typeface="CiscoSansTT ExtraLight"/>
              <a:sym typeface="Arial"/>
            </a:endParaRPr>
          </a:p>
        </p:txBody>
      </p:sp>
      <p:sp>
        <p:nvSpPr>
          <p:cNvPr id="82" name="Oval 81">
            <a:extLst>
              <a:ext uri="{FF2B5EF4-FFF2-40B4-BE49-F238E27FC236}">
                <a16:creationId xmlns:a16="http://schemas.microsoft.com/office/drawing/2014/main" id="{EC075B12-9B36-45C2-969A-E3AACAD9F4C7}"/>
              </a:ext>
            </a:extLst>
          </p:cNvPr>
          <p:cNvSpPr/>
          <p:nvPr/>
        </p:nvSpPr>
        <p:spPr>
          <a:xfrm>
            <a:off x="7664912" y="3558263"/>
            <a:ext cx="243840" cy="243840"/>
          </a:xfrm>
          <a:prstGeom prst="ellipse">
            <a:avLst/>
          </a:prstGeom>
          <a:solidFill>
            <a:schemeClr val="accent3"/>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US" sz="1467" kern="0">
              <a:solidFill>
                <a:srgbClr val="FFFFFF"/>
              </a:solidFill>
              <a:latin typeface="CiscoSansTT ExtraLight"/>
              <a:sym typeface="Arial"/>
            </a:endParaRPr>
          </a:p>
        </p:txBody>
      </p:sp>
      <p:sp>
        <p:nvSpPr>
          <p:cNvPr id="83" name="Oval 82">
            <a:extLst>
              <a:ext uri="{FF2B5EF4-FFF2-40B4-BE49-F238E27FC236}">
                <a16:creationId xmlns:a16="http://schemas.microsoft.com/office/drawing/2014/main" id="{CA513475-CE87-4307-9BF7-29F5A5AB2156}"/>
              </a:ext>
            </a:extLst>
          </p:cNvPr>
          <p:cNvSpPr/>
          <p:nvPr/>
        </p:nvSpPr>
        <p:spPr>
          <a:xfrm>
            <a:off x="7670797" y="3028317"/>
            <a:ext cx="243840" cy="243840"/>
          </a:xfrm>
          <a:prstGeom prst="ellipse">
            <a:avLst/>
          </a:prstGeom>
          <a:solidFill>
            <a:schemeClr val="accent3"/>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US" sz="1467" kern="0">
              <a:solidFill>
                <a:srgbClr val="FFFFFF"/>
              </a:solidFill>
              <a:latin typeface="CiscoSansTT ExtraLight"/>
              <a:sym typeface="Arial"/>
            </a:endParaRPr>
          </a:p>
        </p:txBody>
      </p:sp>
      <p:sp>
        <p:nvSpPr>
          <p:cNvPr id="85" name="TextBox 84">
            <a:extLst>
              <a:ext uri="{FF2B5EF4-FFF2-40B4-BE49-F238E27FC236}">
                <a16:creationId xmlns:a16="http://schemas.microsoft.com/office/drawing/2014/main" id="{6AEA411D-1716-4354-B72F-C2F7AD14063E}"/>
              </a:ext>
            </a:extLst>
          </p:cNvPr>
          <p:cNvSpPr txBox="1"/>
          <p:nvPr/>
        </p:nvSpPr>
        <p:spPr>
          <a:xfrm>
            <a:off x="4361987" y="2956908"/>
            <a:ext cx="2968829" cy="2554545"/>
          </a:xfrm>
          <a:prstGeom prst="rect">
            <a:avLst/>
          </a:prstGeom>
          <a:noFill/>
        </p:spPr>
        <p:txBody>
          <a:bodyPr wrap="square" rtlCol="0">
            <a:spAutoFit/>
          </a:bodyPr>
          <a:lstStyle/>
          <a:p>
            <a:pPr defTabSz="609585" fontAlgn="base">
              <a:spcBef>
                <a:spcPct val="0"/>
              </a:spcBef>
              <a:spcAft>
                <a:spcPts val="400"/>
              </a:spcAft>
              <a:defRPr/>
            </a:pPr>
            <a:r>
              <a:rPr lang="en-US" sz="1600">
                <a:solidFill>
                  <a:srgbClr val="005073"/>
                </a:solidFill>
                <a:latin typeface="CiscoSansTT ExtraLight"/>
                <a:ea typeface="ＭＳ Ｐゴシック" charset="0"/>
                <a:cs typeface="Arial"/>
                <a:sym typeface="Arial"/>
              </a:rPr>
              <a:t>Kick off activation </a:t>
            </a:r>
            <a:br>
              <a:rPr lang="en-US" sz="1600">
                <a:solidFill>
                  <a:srgbClr val="005073"/>
                </a:solidFill>
                <a:latin typeface="CiscoSansTT ExtraLight"/>
                <a:ea typeface="ＭＳ Ｐゴシック" charset="0"/>
                <a:cs typeface="Arial"/>
                <a:sym typeface="Arial"/>
              </a:rPr>
            </a:br>
            <a:br>
              <a:rPr lang="en-US" sz="1600">
                <a:solidFill>
                  <a:srgbClr val="005073"/>
                </a:solidFill>
                <a:latin typeface="CiscoSansTT ExtraLight"/>
                <a:ea typeface="ＭＳ Ｐゴシック" charset="0"/>
                <a:cs typeface="Arial"/>
                <a:sym typeface="Arial"/>
              </a:rPr>
            </a:br>
            <a:r>
              <a:rPr lang="en-US" sz="1600">
                <a:solidFill>
                  <a:srgbClr val="005073"/>
                </a:solidFill>
                <a:latin typeface="CiscoSansTT ExtraLight"/>
                <a:ea typeface="ＭＳ Ｐゴシック" charset="0"/>
                <a:cs typeface="Arial"/>
                <a:sym typeface="Arial"/>
              </a:rPr>
              <a:t>Configure connectivity</a:t>
            </a:r>
            <a:br>
              <a:rPr lang="en-US" sz="1600">
                <a:solidFill>
                  <a:srgbClr val="005073"/>
                </a:solidFill>
                <a:latin typeface="CiscoSansTT ExtraLight"/>
                <a:ea typeface="ＭＳ Ｐゴシック" charset="0"/>
                <a:cs typeface="Arial"/>
                <a:sym typeface="Arial"/>
              </a:rPr>
            </a:br>
            <a:br>
              <a:rPr lang="en-US" sz="1600">
                <a:solidFill>
                  <a:srgbClr val="005073"/>
                </a:solidFill>
                <a:latin typeface="CiscoSansTT ExtraLight"/>
                <a:ea typeface="ＭＳ Ｐゴシック" charset="0"/>
                <a:cs typeface="Arial"/>
                <a:sym typeface="Arial"/>
              </a:rPr>
            </a:br>
            <a:r>
              <a:rPr lang="en-US" sz="1600">
                <a:solidFill>
                  <a:srgbClr val="005073"/>
                </a:solidFill>
                <a:latin typeface="CiscoSansTT ExtraLight"/>
                <a:ea typeface="ＭＳ Ｐゴシック" charset="0"/>
                <a:cs typeface="Arial"/>
                <a:sym typeface="Arial"/>
              </a:rPr>
              <a:t>Complete set-up (APIs)</a:t>
            </a:r>
            <a:br>
              <a:rPr lang="en-US" sz="1600">
                <a:solidFill>
                  <a:srgbClr val="005073"/>
                </a:solidFill>
                <a:latin typeface="CiscoSansTT ExtraLight"/>
                <a:ea typeface="ＭＳ Ｐゴシック" charset="0"/>
                <a:cs typeface="Arial"/>
                <a:sym typeface="Arial"/>
              </a:rPr>
            </a:br>
            <a:br>
              <a:rPr lang="en-US" sz="1600">
                <a:solidFill>
                  <a:srgbClr val="005073"/>
                </a:solidFill>
                <a:latin typeface="CiscoSansTT ExtraLight"/>
                <a:ea typeface="ＭＳ Ｐゴシック" charset="0"/>
                <a:cs typeface="Arial"/>
                <a:sym typeface="Arial"/>
              </a:rPr>
            </a:br>
            <a:r>
              <a:rPr lang="en-US" sz="1600">
                <a:solidFill>
                  <a:srgbClr val="005073"/>
                </a:solidFill>
                <a:latin typeface="CiscoSansTT ExtraLight"/>
                <a:ea typeface="ＭＳ Ｐゴシック" charset="0"/>
                <a:cs typeface="Arial"/>
                <a:sym typeface="Arial"/>
              </a:rPr>
              <a:t>Provision ticketing </a:t>
            </a:r>
            <a:br>
              <a:rPr lang="en-US" sz="1600">
                <a:solidFill>
                  <a:srgbClr val="005073"/>
                </a:solidFill>
                <a:latin typeface="CiscoSansTT ExtraLight"/>
                <a:ea typeface="ＭＳ Ｐゴシック" charset="0"/>
                <a:cs typeface="Arial"/>
                <a:sym typeface="Arial"/>
              </a:rPr>
            </a:br>
            <a:br>
              <a:rPr lang="en-US" sz="1600">
                <a:solidFill>
                  <a:srgbClr val="005073"/>
                </a:solidFill>
                <a:latin typeface="CiscoSansTT ExtraLight"/>
                <a:ea typeface="ＭＳ Ｐゴシック" charset="0"/>
                <a:cs typeface="Arial"/>
                <a:sym typeface="Arial"/>
              </a:rPr>
            </a:br>
            <a:r>
              <a:rPr lang="en-US" sz="1600">
                <a:solidFill>
                  <a:srgbClr val="005073"/>
                </a:solidFill>
                <a:latin typeface="CiscoSansTT ExtraLight"/>
                <a:ea typeface="ＭＳ Ｐゴシック" charset="0"/>
                <a:cs typeface="Arial"/>
                <a:sym typeface="Arial"/>
              </a:rPr>
              <a:t>Complete MDR Customer Portal training  </a:t>
            </a:r>
          </a:p>
        </p:txBody>
      </p:sp>
      <p:sp>
        <p:nvSpPr>
          <p:cNvPr id="86" name="TextBox 85">
            <a:extLst>
              <a:ext uri="{FF2B5EF4-FFF2-40B4-BE49-F238E27FC236}">
                <a16:creationId xmlns:a16="http://schemas.microsoft.com/office/drawing/2014/main" id="{F873C029-D2BF-4147-ABA2-A28C3189F031}"/>
              </a:ext>
            </a:extLst>
          </p:cNvPr>
          <p:cNvSpPr txBox="1"/>
          <p:nvPr/>
        </p:nvSpPr>
        <p:spPr>
          <a:xfrm>
            <a:off x="7856581" y="2956909"/>
            <a:ext cx="3595912" cy="1169616"/>
          </a:xfrm>
          <a:prstGeom prst="rect">
            <a:avLst/>
          </a:prstGeom>
          <a:noFill/>
        </p:spPr>
        <p:txBody>
          <a:bodyPr wrap="square" rtlCol="0">
            <a:spAutoFit/>
          </a:bodyPr>
          <a:lstStyle/>
          <a:p>
            <a:pPr defTabSz="609585" fontAlgn="base">
              <a:spcBef>
                <a:spcPct val="0"/>
              </a:spcBef>
              <a:spcAft>
                <a:spcPts val="400"/>
              </a:spcAft>
              <a:defRPr/>
            </a:pPr>
            <a:r>
              <a:rPr lang="en-US" sz="1600">
                <a:solidFill>
                  <a:srgbClr val="005073"/>
                </a:solidFill>
                <a:latin typeface="CiscoSansTT ExtraLight"/>
                <a:ea typeface="ＭＳ Ｐゴシック" charset="0"/>
                <a:cs typeface="Arial"/>
                <a:sym typeface="Arial"/>
              </a:rPr>
              <a:t>Go live </a:t>
            </a:r>
            <a:br>
              <a:rPr lang="en-US" sz="1600">
                <a:solidFill>
                  <a:srgbClr val="005073"/>
                </a:solidFill>
                <a:latin typeface="CiscoSansTT ExtraLight"/>
                <a:ea typeface="ＭＳ Ｐゴシック" charset="0"/>
                <a:cs typeface="Arial"/>
                <a:sym typeface="Arial"/>
              </a:rPr>
            </a:br>
            <a:br>
              <a:rPr lang="en-US" sz="1600">
                <a:solidFill>
                  <a:srgbClr val="005073"/>
                </a:solidFill>
                <a:latin typeface="CiscoSansTT ExtraLight"/>
                <a:ea typeface="ＭＳ Ｐゴシック" charset="0"/>
                <a:cs typeface="Arial"/>
                <a:sym typeface="Arial"/>
              </a:rPr>
            </a:br>
            <a:r>
              <a:rPr lang="en-US" sz="1600">
                <a:solidFill>
                  <a:srgbClr val="005073"/>
                </a:solidFill>
                <a:latin typeface="CiscoSansTT ExtraLight"/>
                <a:ea typeface="ＭＳ Ｐゴシック" charset="0"/>
                <a:cs typeface="Arial"/>
                <a:sym typeface="Arial"/>
              </a:rPr>
              <a:t>Conduct Quarterly Business Reviews </a:t>
            </a:r>
          </a:p>
          <a:p>
            <a:pPr defTabSz="1219170">
              <a:buClr>
                <a:srgbClr val="000000"/>
              </a:buClr>
              <a:defRPr/>
            </a:pPr>
            <a:endParaRPr lang="en-US" sz="1867" kern="0">
              <a:solidFill>
                <a:srgbClr val="000000"/>
              </a:solidFill>
              <a:latin typeface="CiscoSansTT ExtraLight"/>
              <a:cs typeface="Arial"/>
              <a:sym typeface="Arial"/>
            </a:endParaRPr>
          </a:p>
        </p:txBody>
      </p:sp>
      <p:sp>
        <p:nvSpPr>
          <p:cNvPr id="94" name="Oval 93">
            <a:extLst>
              <a:ext uri="{FF2B5EF4-FFF2-40B4-BE49-F238E27FC236}">
                <a16:creationId xmlns:a16="http://schemas.microsoft.com/office/drawing/2014/main" id="{BCF4079A-2C7B-4DEA-888B-536D8B034321}"/>
              </a:ext>
            </a:extLst>
          </p:cNvPr>
          <p:cNvSpPr/>
          <p:nvPr/>
        </p:nvSpPr>
        <p:spPr>
          <a:xfrm>
            <a:off x="4148028" y="4502747"/>
            <a:ext cx="243840" cy="243840"/>
          </a:xfrm>
          <a:prstGeom prst="ellipse">
            <a:avLst/>
          </a:prstGeom>
          <a:solidFill>
            <a:schemeClr val="accent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US" sz="1467" kern="0">
              <a:solidFill>
                <a:srgbClr val="FFFFFF"/>
              </a:solidFill>
              <a:latin typeface="CiscoSansTT ExtraLight"/>
              <a:sym typeface="Arial"/>
            </a:endParaRPr>
          </a:p>
        </p:txBody>
      </p:sp>
      <p:sp>
        <p:nvSpPr>
          <p:cNvPr id="95" name="Oval 94">
            <a:extLst>
              <a:ext uri="{FF2B5EF4-FFF2-40B4-BE49-F238E27FC236}">
                <a16:creationId xmlns:a16="http://schemas.microsoft.com/office/drawing/2014/main" id="{F5199DC2-152C-489F-8DBD-C6A36D6D8DEF}"/>
              </a:ext>
            </a:extLst>
          </p:cNvPr>
          <p:cNvSpPr/>
          <p:nvPr/>
        </p:nvSpPr>
        <p:spPr>
          <a:xfrm>
            <a:off x="4148028" y="4996892"/>
            <a:ext cx="243840" cy="243840"/>
          </a:xfrm>
          <a:prstGeom prst="ellipse">
            <a:avLst/>
          </a:prstGeom>
          <a:solidFill>
            <a:schemeClr val="accent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US" sz="1467" kern="0">
              <a:solidFill>
                <a:srgbClr val="FFFFFF"/>
              </a:solidFill>
              <a:latin typeface="CiscoSansTT ExtraLight"/>
              <a:sym typeface="Arial"/>
            </a:endParaRPr>
          </a:p>
        </p:txBody>
      </p:sp>
      <p:grpSp>
        <p:nvGrpSpPr>
          <p:cNvPr id="100" name="Group 99">
            <a:extLst>
              <a:ext uri="{FF2B5EF4-FFF2-40B4-BE49-F238E27FC236}">
                <a16:creationId xmlns:a16="http://schemas.microsoft.com/office/drawing/2014/main" id="{6919E89A-6C6F-4E61-B6A2-39395F6D137D}"/>
              </a:ext>
            </a:extLst>
          </p:cNvPr>
          <p:cNvGrpSpPr/>
          <p:nvPr/>
        </p:nvGrpSpPr>
        <p:grpSpPr>
          <a:xfrm>
            <a:off x="720972" y="5588968"/>
            <a:ext cx="6855485" cy="443973"/>
            <a:chOff x="239" y="0"/>
            <a:chExt cx="3353917" cy="299871"/>
          </a:xfrm>
          <a:solidFill>
            <a:schemeClr val="tx1">
              <a:lumMod val="25000"/>
              <a:lumOff val="75000"/>
            </a:schemeClr>
          </a:solidFill>
        </p:grpSpPr>
        <p:sp>
          <p:nvSpPr>
            <p:cNvPr id="101" name="Arrow: Chevron 100">
              <a:extLst>
                <a:ext uri="{FF2B5EF4-FFF2-40B4-BE49-F238E27FC236}">
                  <a16:creationId xmlns:a16="http://schemas.microsoft.com/office/drawing/2014/main" id="{2419CAA5-45C5-42ED-9C60-F2ABA8E298E7}"/>
                </a:ext>
              </a:extLst>
            </p:cNvPr>
            <p:cNvSpPr/>
            <p:nvPr/>
          </p:nvSpPr>
          <p:spPr>
            <a:xfrm>
              <a:off x="239" y="0"/>
              <a:ext cx="3353917" cy="299871"/>
            </a:xfrm>
            <a:prstGeom prst="chevron">
              <a:avLst/>
            </a:prstGeom>
            <a:gr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02" name="Arrow: Chevron 4">
              <a:extLst>
                <a:ext uri="{FF2B5EF4-FFF2-40B4-BE49-F238E27FC236}">
                  <a16:creationId xmlns:a16="http://schemas.microsoft.com/office/drawing/2014/main" id="{4BC37F23-DBF7-4AB5-B089-802AA785E00F}"/>
                </a:ext>
              </a:extLst>
            </p:cNvPr>
            <p:cNvSpPr txBox="1"/>
            <p:nvPr/>
          </p:nvSpPr>
          <p:spPr>
            <a:xfrm>
              <a:off x="150175" y="0"/>
              <a:ext cx="3054046" cy="299871"/>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90679" tIns="30227" rIns="30227" bIns="30227" numCol="1" spcCol="1270" anchor="ctr" anchorCtr="0">
              <a:noAutofit/>
            </a:bodyPr>
            <a:lstStyle/>
            <a:p>
              <a:pPr algn="ctr" defTabSz="1007508">
                <a:lnSpc>
                  <a:spcPct val="90000"/>
                </a:lnSpc>
                <a:spcBef>
                  <a:spcPct val="0"/>
                </a:spcBef>
                <a:spcAft>
                  <a:spcPct val="35000"/>
                </a:spcAft>
                <a:buClr>
                  <a:srgbClr val="000000"/>
                </a:buClr>
                <a:defRPr/>
              </a:pPr>
              <a:r>
                <a:rPr lang="en-US" sz="2267">
                  <a:solidFill>
                    <a:srgbClr val="005073"/>
                  </a:solidFill>
                  <a:latin typeface="CiscoSansTT ExtraLight"/>
                  <a:sym typeface="Arial"/>
                </a:rPr>
                <a:t>30 Days </a:t>
              </a:r>
            </a:p>
          </p:txBody>
        </p:sp>
      </p:grpSp>
    </p:spTree>
    <p:extLst>
      <p:ext uri="{BB962C8B-B14F-4D97-AF65-F5344CB8AC3E}">
        <p14:creationId xmlns:p14="http://schemas.microsoft.com/office/powerpoint/2010/main" val="16711119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67" name="Group 966">
            <a:extLst>
              <a:ext uri="{FF2B5EF4-FFF2-40B4-BE49-F238E27FC236}">
                <a16:creationId xmlns:a16="http://schemas.microsoft.com/office/drawing/2014/main" id="{0C005AF6-C04F-2442-9CA8-8ECFB8DA534A}"/>
              </a:ext>
            </a:extLst>
          </p:cNvPr>
          <p:cNvGrpSpPr/>
          <p:nvPr/>
        </p:nvGrpSpPr>
        <p:grpSpPr>
          <a:xfrm>
            <a:off x="190169" y="520076"/>
            <a:ext cx="11805633" cy="5817848"/>
            <a:chOff x="105306" y="457177"/>
            <a:chExt cx="8854225" cy="4363386"/>
          </a:xfrm>
        </p:grpSpPr>
        <p:sp>
          <p:nvSpPr>
            <p:cNvPr id="968" name="Google Shape;2862;p123">
              <a:extLst>
                <a:ext uri="{FF2B5EF4-FFF2-40B4-BE49-F238E27FC236}">
                  <a16:creationId xmlns:a16="http://schemas.microsoft.com/office/drawing/2014/main" id="{B41D92C5-0B63-9741-AD77-D87867841688}"/>
                </a:ext>
              </a:extLst>
            </p:cNvPr>
            <p:cNvSpPr/>
            <p:nvPr/>
          </p:nvSpPr>
          <p:spPr>
            <a:xfrm>
              <a:off x="4552491" y="3699879"/>
              <a:ext cx="311863" cy="310498"/>
            </a:xfrm>
            <a:custGeom>
              <a:avLst/>
              <a:gdLst/>
              <a:ahLst/>
              <a:cxnLst/>
              <a:rect l="l" t="t" r="r" b="b"/>
              <a:pathLst>
                <a:path w="10052" h="10008" extrusionOk="0">
                  <a:moveTo>
                    <a:pt x="542" y="1"/>
                  </a:moveTo>
                  <a:cubicBezTo>
                    <a:pt x="331" y="1"/>
                    <a:pt x="271" y="242"/>
                    <a:pt x="271" y="242"/>
                  </a:cubicBezTo>
                  <a:lnTo>
                    <a:pt x="0" y="242"/>
                  </a:lnTo>
                  <a:cubicBezTo>
                    <a:pt x="30" y="603"/>
                    <a:pt x="181" y="994"/>
                    <a:pt x="452" y="1295"/>
                  </a:cubicBezTo>
                  <a:cubicBezTo>
                    <a:pt x="783" y="1776"/>
                    <a:pt x="1023" y="2318"/>
                    <a:pt x="1204" y="2890"/>
                  </a:cubicBezTo>
                  <a:cubicBezTo>
                    <a:pt x="1385" y="3462"/>
                    <a:pt x="1896" y="4094"/>
                    <a:pt x="2047" y="4545"/>
                  </a:cubicBezTo>
                  <a:cubicBezTo>
                    <a:pt x="2197" y="4997"/>
                    <a:pt x="1926" y="5598"/>
                    <a:pt x="2077" y="5869"/>
                  </a:cubicBezTo>
                  <a:cubicBezTo>
                    <a:pt x="2197" y="6261"/>
                    <a:pt x="2287" y="6682"/>
                    <a:pt x="2348" y="7103"/>
                  </a:cubicBezTo>
                  <a:cubicBezTo>
                    <a:pt x="2408" y="7615"/>
                    <a:pt x="2438" y="8608"/>
                    <a:pt x="2889" y="9029"/>
                  </a:cubicBezTo>
                  <a:lnTo>
                    <a:pt x="3401" y="9661"/>
                  </a:lnTo>
                  <a:cubicBezTo>
                    <a:pt x="3485" y="9703"/>
                    <a:pt x="3562" y="9726"/>
                    <a:pt x="3621" y="9726"/>
                  </a:cubicBezTo>
                  <a:cubicBezTo>
                    <a:pt x="3689" y="9726"/>
                    <a:pt x="3732" y="9696"/>
                    <a:pt x="3732" y="9631"/>
                  </a:cubicBezTo>
                  <a:cubicBezTo>
                    <a:pt x="3732" y="9521"/>
                    <a:pt x="3877" y="9330"/>
                    <a:pt x="4026" y="9330"/>
                  </a:cubicBezTo>
                  <a:cubicBezTo>
                    <a:pt x="4080" y="9330"/>
                    <a:pt x="4135" y="9356"/>
                    <a:pt x="4183" y="9421"/>
                  </a:cubicBezTo>
                  <a:cubicBezTo>
                    <a:pt x="4364" y="9631"/>
                    <a:pt x="4244" y="9962"/>
                    <a:pt x="4605" y="9962"/>
                  </a:cubicBezTo>
                  <a:cubicBezTo>
                    <a:pt x="4808" y="9962"/>
                    <a:pt x="5103" y="10008"/>
                    <a:pt x="5314" y="10008"/>
                  </a:cubicBezTo>
                  <a:cubicBezTo>
                    <a:pt x="5446" y="10008"/>
                    <a:pt x="5545" y="9990"/>
                    <a:pt x="5568" y="9932"/>
                  </a:cubicBezTo>
                  <a:cubicBezTo>
                    <a:pt x="5658" y="9782"/>
                    <a:pt x="6109" y="9661"/>
                    <a:pt x="6109" y="9421"/>
                  </a:cubicBezTo>
                  <a:lnTo>
                    <a:pt x="6109" y="4214"/>
                  </a:lnTo>
                  <a:cubicBezTo>
                    <a:pt x="6109" y="4034"/>
                    <a:pt x="6892" y="4214"/>
                    <a:pt x="6892" y="3883"/>
                  </a:cubicBezTo>
                  <a:lnTo>
                    <a:pt x="6892" y="1175"/>
                  </a:lnTo>
                  <a:lnTo>
                    <a:pt x="7644" y="1084"/>
                  </a:lnTo>
                  <a:cubicBezTo>
                    <a:pt x="7797" y="1059"/>
                    <a:pt x="8231" y="817"/>
                    <a:pt x="8452" y="817"/>
                  </a:cubicBezTo>
                  <a:cubicBezTo>
                    <a:pt x="8491" y="817"/>
                    <a:pt x="8524" y="825"/>
                    <a:pt x="8547" y="844"/>
                  </a:cubicBezTo>
                  <a:cubicBezTo>
                    <a:pt x="8678" y="922"/>
                    <a:pt x="8832" y="1161"/>
                    <a:pt x="8930" y="1161"/>
                  </a:cubicBezTo>
                  <a:cubicBezTo>
                    <a:pt x="8944" y="1161"/>
                    <a:pt x="8957" y="1156"/>
                    <a:pt x="8968" y="1144"/>
                  </a:cubicBezTo>
                  <a:cubicBezTo>
                    <a:pt x="9089" y="964"/>
                    <a:pt x="9299" y="844"/>
                    <a:pt x="9510" y="783"/>
                  </a:cubicBezTo>
                  <a:lnTo>
                    <a:pt x="10052" y="693"/>
                  </a:lnTo>
                  <a:lnTo>
                    <a:pt x="9962" y="482"/>
                  </a:lnTo>
                  <a:cubicBezTo>
                    <a:pt x="9962" y="435"/>
                    <a:pt x="9865" y="416"/>
                    <a:pt x="9718" y="416"/>
                  </a:cubicBezTo>
                  <a:cubicBezTo>
                    <a:pt x="9308" y="416"/>
                    <a:pt x="8506" y="558"/>
                    <a:pt x="8306" y="603"/>
                  </a:cubicBezTo>
                  <a:cubicBezTo>
                    <a:pt x="8139" y="665"/>
                    <a:pt x="7741" y="757"/>
                    <a:pt x="7432" y="757"/>
                  </a:cubicBezTo>
                  <a:cubicBezTo>
                    <a:pt x="7295" y="757"/>
                    <a:pt x="7176" y="739"/>
                    <a:pt x="7103" y="693"/>
                  </a:cubicBezTo>
                  <a:cubicBezTo>
                    <a:pt x="7032" y="643"/>
                    <a:pt x="6815" y="626"/>
                    <a:pt x="6556" y="626"/>
                  </a:cubicBezTo>
                  <a:cubicBezTo>
                    <a:pt x="6039" y="626"/>
                    <a:pt x="5357" y="693"/>
                    <a:pt x="5357" y="693"/>
                  </a:cubicBezTo>
                  <a:lnTo>
                    <a:pt x="5086" y="422"/>
                  </a:lnTo>
                  <a:lnTo>
                    <a:pt x="2348" y="422"/>
                  </a:lnTo>
                  <a:cubicBezTo>
                    <a:pt x="2077" y="422"/>
                    <a:pt x="1836" y="362"/>
                    <a:pt x="1625" y="242"/>
                  </a:cubicBezTo>
                  <a:cubicBezTo>
                    <a:pt x="1485" y="154"/>
                    <a:pt x="1335" y="107"/>
                    <a:pt x="1186" y="107"/>
                  </a:cubicBezTo>
                  <a:cubicBezTo>
                    <a:pt x="1079" y="107"/>
                    <a:pt x="973" y="131"/>
                    <a:pt x="873" y="181"/>
                  </a:cubicBezTo>
                  <a:cubicBezTo>
                    <a:pt x="828" y="202"/>
                    <a:pt x="794" y="210"/>
                    <a:pt x="767" y="210"/>
                  </a:cubicBezTo>
                  <a:cubicBezTo>
                    <a:pt x="634" y="210"/>
                    <a:pt x="692" y="1"/>
                    <a:pt x="542"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69" name="Google Shape;2863;p123">
              <a:extLst>
                <a:ext uri="{FF2B5EF4-FFF2-40B4-BE49-F238E27FC236}">
                  <a16:creationId xmlns:a16="http://schemas.microsoft.com/office/drawing/2014/main" id="{4A09FE1D-2341-5745-B207-CD1D5B8B6358}"/>
                </a:ext>
              </a:extLst>
            </p:cNvPr>
            <p:cNvSpPr/>
            <p:nvPr/>
          </p:nvSpPr>
          <p:spPr>
            <a:xfrm>
              <a:off x="4864324" y="3666279"/>
              <a:ext cx="197040" cy="170358"/>
            </a:xfrm>
            <a:custGeom>
              <a:avLst/>
              <a:gdLst/>
              <a:ahLst/>
              <a:cxnLst/>
              <a:rect l="l" t="t" r="r" b="b"/>
              <a:pathLst>
                <a:path w="6351" h="5491" extrusionOk="0">
                  <a:moveTo>
                    <a:pt x="3432" y="0"/>
                  </a:moveTo>
                  <a:cubicBezTo>
                    <a:pt x="2980" y="121"/>
                    <a:pt x="2980" y="211"/>
                    <a:pt x="2980" y="362"/>
                  </a:cubicBezTo>
                  <a:cubicBezTo>
                    <a:pt x="2980" y="512"/>
                    <a:pt x="2559" y="873"/>
                    <a:pt x="2228" y="933"/>
                  </a:cubicBezTo>
                  <a:cubicBezTo>
                    <a:pt x="1867" y="1024"/>
                    <a:pt x="1596" y="1716"/>
                    <a:pt x="1415" y="1836"/>
                  </a:cubicBezTo>
                  <a:cubicBezTo>
                    <a:pt x="1383" y="1858"/>
                    <a:pt x="1336" y="1867"/>
                    <a:pt x="1279" y="1867"/>
                  </a:cubicBezTo>
                  <a:cubicBezTo>
                    <a:pt x="1022" y="1867"/>
                    <a:pt x="570" y="1680"/>
                    <a:pt x="422" y="1656"/>
                  </a:cubicBezTo>
                  <a:lnTo>
                    <a:pt x="1" y="1716"/>
                  </a:lnTo>
                  <a:cubicBezTo>
                    <a:pt x="91" y="1927"/>
                    <a:pt x="362" y="2167"/>
                    <a:pt x="452" y="2167"/>
                  </a:cubicBezTo>
                  <a:cubicBezTo>
                    <a:pt x="512" y="2167"/>
                    <a:pt x="603" y="3010"/>
                    <a:pt x="904" y="3100"/>
                  </a:cubicBezTo>
                  <a:cubicBezTo>
                    <a:pt x="1205" y="3221"/>
                    <a:pt x="1686" y="3522"/>
                    <a:pt x="1686" y="3672"/>
                  </a:cubicBezTo>
                  <a:cubicBezTo>
                    <a:pt x="1686" y="3823"/>
                    <a:pt x="1987" y="4003"/>
                    <a:pt x="1987" y="4274"/>
                  </a:cubicBezTo>
                  <a:cubicBezTo>
                    <a:pt x="1987" y="4532"/>
                    <a:pt x="2288" y="4818"/>
                    <a:pt x="2525" y="4818"/>
                  </a:cubicBezTo>
                  <a:cubicBezTo>
                    <a:pt x="2536" y="4818"/>
                    <a:pt x="2548" y="4817"/>
                    <a:pt x="2559" y="4816"/>
                  </a:cubicBezTo>
                  <a:cubicBezTo>
                    <a:pt x="2580" y="4810"/>
                    <a:pt x="2601" y="4807"/>
                    <a:pt x="2624" y="4807"/>
                  </a:cubicBezTo>
                  <a:cubicBezTo>
                    <a:pt x="2831" y="4807"/>
                    <a:pt x="3101" y="5038"/>
                    <a:pt x="3101" y="5147"/>
                  </a:cubicBezTo>
                  <a:cubicBezTo>
                    <a:pt x="3101" y="5267"/>
                    <a:pt x="3793" y="5147"/>
                    <a:pt x="3853" y="5297"/>
                  </a:cubicBezTo>
                  <a:cubicBezTo>
                    <a:pt x="3943" y="5448"/>
                    <a:pt x="4605" y="5357"/>
                    <a:pt x="4756" y="5478"/>
                  </a:cubicBezTo>
                  <a:cubicBezTo>
                    <a:pt x="4767" y="5487"/>
                    <a:pt x="4780" y="5491"/>
                    <a:pt x="4795" y="5491"/>
                  </a:cubicBezTo>
                  <a:cubicBezTo>
                    <a:pt x="4984" y="5491"/>
                    <a:pt x="5457" y="4832"/>
                    <a:pt x="5568" y="4665"/>
                  </a:cubicBezTo>
                  <a:cubicBezTo>
                    <a:pt x="5689" y="4454"/>
                    <a:pt x="5598" y="4003"/>
                    <a:pt x="5779" y="3913"/>
                  </a:cubicBezTo>
                  <a:cubicBezTo>
                    <a:pt x="5990" y="3792"/>
                    <a:pt x="6351" y="3341"/>
                    <a:pt x="6200" y="3311"/>
                  </a:cubicBezTo>
                  <a:cubicBezTo>
                    <a:pt x="6050" y="3251"/>
                    <a:pt x="6170" y="2920"/>
                    <a:pt x="5930" y="2709"/>
                  </a:cubicBezTo>
                  <a:cubicBezTo>
                    <a:pt x="5719" y="2468"/>
                    <a:pt x="6200" y="2408"/>
                    <a:pt x="6170" y="1987"/>
                  </a:cubicBezTo>
                  <a:cubicBezTo>
                    <a:pt x="6140" y="1565"/>
                    <a:pt x="6230" y="843"/>
                    <a:pt x="6140" y="783"/>
                  </a:cubicBezTo>
                  <a:cubicBezTo>
                    <a:pt x="5809" y="693"/>
                    <a:pt x="5508" y="602"/>
                    <a:pt x="5237" y="452"/>
                  </a:cubicBezTo>
                  <a:cubicBezTo>
                    <a:pt x="4906" y="332"/>
                    <a:pt x="4545" y="271"/>
                    <a:pt x="4214" y="271"/>
                  </a:cubicBezTo>
                  <a:lnTo>
                    <a:pt x="4094" y="0"/>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70" name="Google Shape;2864;p123">
              <a:extLst>
                <a:ext uri="{FF2B5EF4-FFF2-40B4-BE49-F238E27FC236}">
                  <a16:creationId xmlns:a16="http://schemas.microsoft.com/office/drawing/2014/main" id="{D145174A-67D2-5D42-A655-859E76273023}"/>
                </a:ext>
              </a:extLst>
            </p:cNvPr>
            <p:cNvSpPr/>
            <p:nvPr/>
          </p:nvSpPr>
          <p:spPr>
            <a:xfrm>
              <a:off x="4742023" y="3721379"/>
              <a:ext cx="219440" cy="234332"/>
            </a:xfrm>
            <a:custGeom>
              <a:avLst/>
              <a:gdLst/>
              <a:ahLst/>
              <a:cxnLst/>
              <a:rect l="l" t="t" r="r" b="b"/>
              <a:pathLst>
                <a:path w="7073" h="7553" extrusionOk="0">
                  <a:moveTo>
                    <a:pt x="3943" y="0"/>
                  </a:moveTo>
                  <a:lnTo>
                    <a:pt x="3401" y="90"/>
                  </a:lnTo>
                  <a:cubicBezTo>
                    <a:pt x="3190" y="151"/>
                    <a:pt x="2980" y="271"/>
                    <a:pt x="2859" y="451"/>
                  </a:cubicBezTo>
                  <a:cubicBezTo>
                    <a:pt x="2849" y="462"/>
                    <a:pt x="2837" y="467"/>
                    <a:pt x="2824" y="467"/>
                  </a:cubicBezTo>
                  <a:cubicBezTo>
                    <a:pt x="2727" y="467"/>
                    <a:pt x="2571" y="204"/>
                    <a:pt x="2438" y="151"/>
                  </a:cubicBezTo>
                  <a:cubicBezTo>
                    <a:pt x="2419" y="139"/>
                    <a:pt x="2392" y="134"/>
                    <a:pt x="2360" y="134"/>
                  </a:cubicBezTo>
                  <a:cubicBezTo>
                    <a:pt x="2146" y="134"/>
                    <a:pt x="1692" y="365"/>
                    <a:pt x="1535" y="391"/>
                  </a:cubicBezTo>
                  <a:lnTo>
                    <a:pt x="783" y="482"/>
                  </a:lnTo>
                  <a:lnTo>
                    <a:pt x="783" y="3190"/>
                  </a:lnTo>
                  <a:cubicBezTo>
                    <a:pt x="783" y="3521"/>
                    <a:pt x="0" y="3341"/>
                    <a:pt x="0" y="3521"/>
                  </a:cubicBezTo>
                  <a:lnTo>
                    <a:pt x="0" y="5808"/>
                  </a:lnTo>
                  <a:cubicBezTo>
                    <a:pt x="181" y="5899"/>
                    <a:pt x="331" y="5959"/>
                    <a:pt x="362" y="6079"/>
                  </a:cubicBezTo>
                  <a:cubicBezTo>
                    <a:pt x="512" y="6350"/>
                    <a:pt x="602" y="6681"/>
                    <a:pt x="632" y="6982"/>
                  </a:cubicBezTo>
                  <a:cubicBezTo>
                    <a:pt x="602" y="7102"/>
                    <a:pt x="482" y="7012"/>
                    <a:pt x="482" y="7163"/>
                  </a:cubicBezTo>
                  <a:cubicBezTo>
                    <a:pt x="482" y="7313"/>
                    <a:pt x="362" y="7494"/>
                    <a:pt x="602" y="7494"/>
                  </a:cubicBezTo>
                  <a:cubicBezTo>
                    <a:pt x="734" y="7494"/>
                    <a:pt x="948" y="7552"/>
                    <a:pt x="1134" y="7552"/>
                  </a:cubicBezTo>
                  <a:cubicBezTo>
                    <a:pt x="1246" y="7552"/>
                    <a:pt x="1347" y="7531"/>
                    <a:pt x="1415" y="7464"/>
                  </a:cubicBezTo>
                  <a:cubicBezTo>
                    <a:pt x="1595" y="7283"/>
                    <a:pt x="2107" y="6862"/>
                    <a:pt x="2137" y="6651"/>
                  </a:cubicBezTo>
                  <a:cubicBezTo>
                    <a:pt x="2161" y="6463"/>
                    <a:pt x="2239" y="6146"/>
                    <a:pt x="2445" y="6146"/>
                  </a:cubicBezTo>
                  <a:cubicBezTo>
                    <a:pt x="2503" y="6146"/>
                    <a:pt x="2570" y="6171"/>
                    <a:pt x="2649" y="6230"/>
                  </a:cubicBezTo>
                  <a:cubicBezTo>
                    <a:pt x="2886" y="6441"/>
                    <a:pt x="3170" y="6536"/>
                    <a:pt x="3480" y="6536"/>
                  </a:cubicBezTo>
                  <a:cubicBezTo>
                    <a:pt x="3523" y="6536"/>
                    <a:pt x="3567" y="6534"/>
                    <a:pt x="3612" y="6531"/>
                  </a:cubicBezTo>
                  <a:cubicBezTo>
                    <a:pt x="4123" y="6531"/>
                    <a:pt x="4244" y="6501"/>
                    <a:pt x="4364" y="6200"/>
                  </a:cubicBezTo>
                  <a:cubicBezTo>
                    <a:pt x="4454" y="5899"/>
                    <a:pt x="4364" y="5598"/>
                    <a:pt x="4665" y="5598"/>
                  </a:cubicBezTo>
                  <a:cubicBezTo>
                    <a:pt x="4966" y="5598"/>
                    <a:pt x="5327" y="5297"/>
                    <a:pt x="5327" y="5086"/>
                  </a:cubicBezTo>
                  <a:cubicBezTo>
                    <a:pt x="5327" y="4905"/>
                    <a:pt x="5478" y="4574"/>
                    <a:pt x="5658" y="4574"/>
                  </a:cubicBezTo>
                  <a:cubicBezTo>
                    <a:pt x="5929" y="4514"/>
                    <a:pt x="6170" y="4334"/>
                    <a:pt x="6290" y="4093"/>
                  </a:cubicBezTo>
                  <a:cubicBezTo>
                    <a:pt x="6350" y="3852"/>
                    <a:pt x="6681" y="3942"/>
                    <a:pt x="6802" y="3822"/>
                  </a:cubicBezTo>
                  <a:lnTo>
                    <a:pt x="7043" y="3401"/>
                  </a:lnTo>
                  <a:cubicBezTo>
                    <a:pt x="7073" y="3310"/>
                    <a:pt x="6982" y="3070"/>
                    <a:pt x="6501" y="3070"/>
                  </a:cubicBezTo>
                  <a:cubicBezTo>
                    <a:pt x="6491" y="3071"/>
                    <a:pt x="6480" y="3072"/>
                    <a:pt x="6469" y="3072"/>
                  </a:cubicBezTo>
                  <a:cubicBezTo>
                    <a:pt x="6232" y="3072"/>
                    <a:pt x="5929" y="2760"/>
                    <a:pt x="5929" y="2558"/>
                  </a:cubicBezTo>
                  <a:cubicBezTo>
                    <a:pt x="5929" y="2317"/>
                    <a:pt x="5628" y="2107"/>
                    <a:pt x="5628" y="1956"/>
                  </a:cubicBezTo>
                  <a:cubicBezTo>
                    <a:pt x="5628" y="1776"/>
                    <a:pt x="5117" y="1505"/>
                    <a:pt x="4846" y="1384"/>
                  </a:cubicBezTo>
                  <a:cubicBezTo>
                    <a:pt x="4575" y="1264"/>
                    <a:pt x="4515" y="451"/>
                    <a:pt x="4394" y="451"/>
                  </a:cubicBezTo>
                  <a:cubicBezTo>
                    <a:pt x="4274" y="451"/>
                    <a:pt x="4063" y="181"/>
                    <a:pt x="3943"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71" name="Google Shape;2865;p123">
              <a:extLst>
                <a:ext uri="{FF2B5EF4-FFF2-40B4-BE49-F238E27FC236}">
                  <a16:creationId xmlns:a16="http://schemas.microsoft.com/office/drawing/2014/main" id="{D9B05497-9305-0149-8EA1-E86BF5835D94}"/>
                </a:ext>
              </a:extLst>
            </p:cNvPr>
            <p:cNvSpPr/>
            <p:nvPr/>
          </p:nvSpPr>
          <p:spPr>
            <a:xfrm>
              <a:off x="4999717" y="3925834"/>
              <a:ext cx="33631" cy="40177"/>
            </a:xfrm>
            <a:custGeom>
              <a:avLst/>
              <a:gdLst/>
              <a:ahLst/>
              <a:cxnLst/>
              <a:rect l="l" t="t" r="r" b="b"/>
              <a:pathLst>
                <a:path w="1084" h="1295" extrusionOk="0">
                  <a:moveTo>
                    <a:pt x="572" y="1"/>
                  </a:moveTo>
                  <a:cubicBezTo>
                    <a:pt x="332" y="1"/>
                    <a:pt x="1" y="452"/>
                    <a:pt x="1" y="573"/>
                  </a:cubicBezTo>
                  <a:cubicBezTo>
                    <a:pt x="1" y="693"/>
                    <a:pt x="271" y="1295"/>
                    <a:pt x="482" y="1295"/>
                  </a:cubicBezTo>
                  <a:cubicBezTo>
                    <a:pt x="723" y="1295"/>
                    <a:pt x="934" y="1295"/>
                    <a:pt x="934" y="1114"/>
                  </a:cubicBezTo>
                  <a:cubicBezTo>
                    <a:pt x="964" y="1024"/>
                    <a:pt x="994" y="964"/>
                    <a:pt x="1084" y="904"/>
                  </a:cubicBezTo>
                  <a:cubicBezTo>
                    <a:pt x="1024" y="693"/>
                    <a:pt x="1024" y="482"/>
                    <a:pt x="1024" y="242"/>
                  </a:cubicBezTo>
                  <a:cubicBezTo>
                    <a:pt x="873" y="121"/>
                    <a:pt x="723" y="61"/>
                    <a:pt x="572"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72" name="Google Shape;2866;p123">
              <a:extLst>
                <a:ext uri="{FF2B5EF4-FFF2-40B4-BE49-F238E27FC236}">
                  <a16:creationId xmlns:a16="http://schemas.microsoft.com/office/drawing/2014/main" id="{FAC57ACC-362C-BB42-9FC6-B899D52187CD}"/>
                </a:ext>
              </a:extLst>
            </p:cNvPr>
            <p:cNvSpPr/>
            <p:nvPr/>
          </p:nvSpPr>
          <p:spPr>
            <a:xfrm>
              <a:off x="4911016" y="3999487"/>
              <a:ext cx="54201" cy="56155"/>
            </a:xfrm>
            <a:custGeom>
              <a:avLst/>
              <a:gdLst/>
              <a:ahLst/>
              <a:cxnLst/>
              <a:rect l="l" t="t" r="r" b="b"/>
              <a:pathLst>
                <a:path w="1747" h="1810" extrusionOk="0">
                  <a:moveTo>
                    <a:pt x="1146" y="0"/>
                  </a:moveTo>
                  <a:cubicBezTo>
                    <a:pt x="940" y="0"/>
                    <a:pt x="553" y="254"/>
                    <a:pt x="482" y="396"/>
                  </a:cubicBezTo>
                  <a:lnTo>
                    <a:pt x="1" y="1088"/>
                  </a:lnTo>
                  <a:lnTo>
                    <a:pt x="482" y="1750"/>
                  </a:lnTo>
                  <a:lnTo>
                    <a:pt x="783" y="1810"/>
                  </a:lnTo>
                  <a:lnTo>
                    <a:pt x="964" y="1359"/>
                  </a:lnTo>
                  <a:cubicBezTo>
                    <a:pt x="998" y="1308"/>
                    <a:pt x="1056" y="1293"/>
                    <a:pt x="1121" y="1293"/>
                  </a:cubicBezTo>
                  <a:cubicBezTo>
                    <a:pt x="1215" y="1293"/>
                    <a:pt x="1325" y="1323"/>
                    <a:pt x="1403" y="1323"/>
                  </a:cubicBezTo>
                  <a:cubicBezTo>
                    <a:pt x="1464" y="1323"/>
                    <a:pt x="1505" y="1304"/>
                    <a:pt x="1505" y="1238"/>
                  </a:cubicBezTo>
                  <a:cubicBezTo>
                    <a:pt x="1505" y="1058"/>
                    <a:pt x="1746" y="877"/>
                    <a:pt x="1746" y="696"/>
                  </a:cubicBezTo>
                  <a:cubicBezTo>
                    <a:pt x="1746" y="486"/>
                    <a:pt x="1355" y="245"/>
                    <a:pt x="1265" y="64"/>
                  </a:cubicBezTo>
                  <a:cubicBezTo>
                    <a:pt x="1245" y="19"/>
                    <a:pt x="1202" y="0"/>
                    <a:pt x="1146"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73" name="Google Shape;2867;p123">
              <a:extLst>
                <a:ext uri="{FF2B5EF4-FFF2-40B4-BE49-F238E27FC236}">
                  <a16:creationId xmlns:a16="http://schemas.microsoft.com/office/drawing/2014/main" id="{30B58734-60C0-6845-96C2-5618EE37B10C}"/>
                </a:ext>
              </a:extLst>
            </p:cNvPr>
            <p:cNvSpPr/>
            <p:nvPr/>
          </p:nvSpPr>
          <p:spPr>
            <a:xfrm>
              <a:off x="4657976" y="3826864"/>
              <a:ext cx="394049" cy="346704"/>
            </a:xfrm>
            <a:custGeom>
              <a:avLst/>
              <a:gdLst/>
              <a:ahLst/>
              <a:cxnLst/>
              <a:rect l="l" t="t" r="r" b="b"/>
              <a:pathLst>
                <a:path w="12701" h="11175" extrusionOk="0">
                  <a:moveTo>
                    <a:pt x="9302" y="5564"/>
                  </a:moveTo>
                  <a:cubicBezTo>
                    <a:pt x="9358" y="5564"/>
                    <a:pt x="9401" y="5583"/>
                    <a:pt x="9421" y="5628"/>
                  </a:cubicBezTo>
                  <a:cubicBezTo>
                    <a:pt x="9541" y="5809"/>
                    <a:pt x="9932" y="6080"/>
                    <a:pt x="9932" y="6260"/>
                  </a:cubicBezTo>
                  <a:cubicBezTo>
                    <a:pt x="9932" y="6441"/>
                    <a:pt x="9661" y="6622"/>
                    <a:pt x="9661" y="6832"/>
                  </a:cubicBezTo>
                  <a:cubicBezTo>
                    <a:pt x="9661" y="6882"/>
                    <a:pt x="9629" y="6898"/>
                    <a:pt x="9580" y="6898"/>
                  </a:cubicBezTo>
                  <a:cubicBezTo>
                    <a:pt x="9501" y="6898"/>
                    <a:pt x="9377" y="6857"/>
                    <a:pt x="9273" y="6857"/>
                  </a:cubicBezTo>
                  <a:cubicBezTo>
                    <a:pt x="9209" y="6857"/>
                    <a:pt x="9153" y="6873"/>
                    <a:pt x="9120" y="6923"/>
                  </a:cubicBezTo>
                  <a:lnTo>
                    <a:pt x="8939" y="7374"/>
                  </a:lnTo>
                  <a:lnTo>
                    <a:pt x="8638" y="7314"/>
                  </a:lnTo>
                  <a:lnTo>
                    <a:pt x="8157" y="6682"/>
                  </a:lnTo>
                  <a:lnTo>
                    <a:pt x="8638" y="5960"/>
                  </a:lnTo>
                  <a:cubicBezTo>
                    <a:pt x="8709" y="5818"/>
                    <a:pt x="9096" y="5564"/>
                    <a:pt x="9302" y="5564"/>
                  </a:cubicBezTo>
                  <a:close/>
                  <a:moveTo>
                    <a:pt x="9782" y="1"/>
                  </a:moveTo>
                  <a:lnTo>
                    <a:pt x="9511" y="422"/>
                  </a:lnTo>
                  <a:cubicBezTo>
                    <a:pt x="9390" y="542"/>
                    <a:pt x="9059" y="452"/>
                    <a:pt x="9029" y="693"/>
                  </a:cubicBezTo>
                  <a:cubicBezTo>
                    <a:pt x="8879" y="934"/>
                    <a:pt x="8638" y="1114"/>
                    <a:pt x="8367" y="1174"/>
                  </a:cubicBezTo>
                  <a:cubicBezTo>
                    <a:pt x="8187" y="1174"/>
                    <a:pt x="8036" y="1475"/>
                    <a:pt x="8036" y="1716"/>
                  </a:cubicBezTo>
                  <a:cubicBezTo>
                    <a:pt x="8036" y="1927"/>
                    <a:pt x="7675" y="2198"/>
                    <a:pt x="7374" y="2198"/>
                  </a:cubicBezTo>
                  <a:cubicBezTo>
                    <a:pt x="7073" y="2198"/>
                    <a:pt x="7133" y="2469"/>
                    <a:pt x="7073" y="2800"/>
                  </a:cubicBezTo>
                  <a:cubicBezTo>
                    <a:pt x="6983" y="3131"/>
                    <a:pt x="6832" y="3131"/>
                    <a:pt x="6321" y="3131"/>
                  </a:cubicBezTo>
                  <a:cubicBezTo>
                    <a:pt x="6276" y="3134"/>
                    <a:pt x="6232" y="3136"/>
                    <a:pt x="6189" y="3136"/>
                  </a:cubicBezTo>
                  <a:cubicBezTo>
                    <a:pt x="5879" y="3136"/>
                    <a:pt x="5595" y="3041"/>
                    <a:pt x="5358" y="2830"/>
                  </a:cubicBezTo>
                  <a:cubicBezTo>
                    <a:pt x="5279" y="2771"/>
                    <a:pt x="5210" y="2746"/>
                    <a:pt x="5151" y="2746"/>
                  </a:cubicBezTo>
                  <a:cubicBezTo>
                    <a:pt x="4938" y="2746"/>
                    <a:pt x="4846" y="3063"/>
                    <a:pt x="4846" y="3251"/>
                  </a:cubicBezTo>
                  <a:cubicBezTo>
                    <a:pt x="4846" y="3462"/>
                    <a:pt x="4274" y="3883"/>
                    <a:pt x="4124" y="4064"/>
                  </a:cubicBezTo>
                  <a:cubicBezTo>
                    <a:pt x="4062" y="4150"/>
                    <a:pt x="3954" y="4176"/>
                    <a:pt x="3832" y="4176"/>
                  </a:cubicBezTo>
                  <a:cubicBezTo>
                    <a:pt x="3657" y="4176"/>
                    <a:pt x="3453" y="4124"/>
                    <a:pt x="3311" y="4124"/>
                  </a:cubicBezTo>
                  <a:cubicBezTo>
                    <a:pt x="3040" y="4124"/>
                    <a:pt x="3191" y="3883"/>
                    <a:pt x="3191" y="3763"/>
                  </a:cubicBezTo>
                  <a:cubicBezTo>
                    <a:pt x="3191" y="3672"/>
                    <a:pt x="3311" y="3702"/>
                    <a:pt x="3341" y="3582"/>
                  </a:cubicBezTo>
                  <a:cubicBezTo>
                    <a:pt x="3311" y="3281"/>
                    <a:pt x="3221" y="2950"/>
                    <a:pt x="3071" y="2679"/>
                  </a:cubicBezTo>
                  <a:cubicBezTo>
                    <a:pt x="3040" y="2559"/>
                    <a:pt x="2890" y="2499"/>
                    <a:pt x="2709" y="2408"/>
                  </a:cubicBezTo>
                  <a:lnTo>
                    <a:pt x="2709" y="5328"/>
                  </a:lnTo>
                  <a:cubicBezTo>
                    <a:pt x="2709" y="5568"/>
                    <a:pt x="2288" y="5689"/>
                    <a:pt x="2168" y="5839"/>
                  </a:cubicBezTo>
                  <a:cubicBezTo>
                    <a:pt x="2121" y="5897"/>
                    <a:pt x="2013" y="5915"/>
                    <a:pt x="1880" y="5915"/>
                  </a:cubicBezTo>
                  <a:cubicBezTo>
                    <a:pt x="1666" y="5915"/>
                    <a:pt x="1390" y="5869"/>
                    <a:pt x="1205" y="5869"/>
                  </a:cubicBezTo>
                  <a:cubicBezTo>
                    <a:pt x="904" y="5869"/>
                    <a:pt x="934" y="5538"/>
                    <a:pt x="783" y="5328"/>
                  </a:cubicBezTo>
                  <a:cubicBezTo>
                    <a:pt x="743" y="5263"/>
                    <a:pt x="692" y="5237"/>
                    <a:pt x="639" y="5237"/>
                  </a:cubicBezTo>
                  <a:cubicBezTo>
                    <a:pt x="493" y="5237"/>
                    <a:pt x="332" y="5428"/>
                    <a:pt x="332" y="5538"/>
                  </a:cubicBezTo>
                  <a:cubicBezTo>
                    <a:pt x="332" y="5627"/>
                    <a:pt x="279" y="5653"/>
                    <a:pt x="199" y="5653"/>
                  </a:cubicBezTo>
                  <a:cubicBezTo>
                    <a:pt x="143" y="5653"/>
                    <a:pt x="75" y="5641"/>
                    <a:pt x="1" y="5628"/>
                  </a:cubicBezTo>
                  <a:lnTo>
                    <a:pt x="1" y="5628"/>
                  </a:lnTo>
                  <a:cubicBezTo>
                    <a:pt x="212" y="6020"/>
                    <a:pt x="422" y="6441"/>
                    <a:pt x="603" y="6892"/>
                  </a:cubicBezTo>
                  <a:cubicBezTo>
                    <a:pt x="783" y="7494"/>
                    <a:pt x="1235" y="8096"/>
                    <a:pt x="1355" y="8427"/>
                  </a:cubicBezTo>
                  <a:cubicBezTo>
                    <a:pt x="1445" y="8788"/>
                    <a:pt x="1566" y="9150"/>
                    <a:pt x="1355" y="9180"/>
                  </a:cubicBezTo>
                  <a:cubicBezTo>
                    <a:pt x="1114" y="9240"/>
                    <a:pt x="1084" y="9450"/>
                    <a:pt x="1355" y="9842"/>
                  </a:cubicBezTo>
                  <a:cubicBezTo>
                    <a:pt x="1596" y="10203"/>
                    <a:pt x="1385" y="10474"/>
                    <a:pt x="1596" y="10504"/>
                  </a:cubicBezTo>
                  <a:cubicBezTo>
                    <a:pt x="1837" y="10534"/>
                    <a:pt x="1746" y="10684"/>
                    <a:pt x="1957" y="10745"/>
                  </a:cubicBezTo>
                  <a:cubicBezTo>
                    <a:pt x="2138" y="10775"/>
                    <a:pt x="2258" y="10895"/>
                    <a:pt x="2348" y="11076"/>
                  </a:cubicBezTo>
                  <a:cubicBezTo>
                    <a:pt x="2416" y="11143"/>
                    <a:pt x="2508" y="11175"/>
                    <a:pt x="2600" y="11175"/>
                  </a:cubicBezTo>
                  <a:cubicBezTo>
                    <a:pt x="2712" y="11175"/>
                    <a:pt x="2824" y="11128"/>
                    <a:pt x="2890" y="11045"/>
                  </a:cubicBezTo>
                  <a:cubicBezTo>
                    <a:pt x="3010" y="10835"/>
                    <a:pt x="3402" y="10775"/>
                    <a:pt x="3793" y="10775"/>
                  </a:cubicBezTo>
                  <a:cubicBezTo>
                    <a:pt x="4154" y="10775"/>
                    <a:pt x="4124" y="10594"/>
                    <a:pt x="4545" y="10474"/>
                  </a:cubicBezTo>
                  <a:cubicBezTo>
                    <a:pt x="4741" y="10414"/>
                    <a:pt x="4944" y="10383"/>
                    <a:pt x="5147" y="10383"/>
                  </a:cubicBezTo>
                  <a:cubicBezTo>
                    <a:pt x="5350" y="10383"/>
                    <a:pt x="5553" y="10414"/>
                    <a:pt x="5749" y="10474"/>
                  </a:cubicBezTo>
                  <a:cubicBezTo>
                    <a:pt x="5842" y="10497"/>
                    <a:pt x="5940" y="10511"/>
                    <a:pt x="6039" y="10511"/>
                  </a:cubicBezTo>
                  <a:cubicBezTo>
                    <a:pt x="6195" y="10511"/>
                    <a:pt x="6354" y="10476"/>
                    <a:pt x="6501" y="10383"/>
                  </a:cubicBezTo>
                  <a:cubicBezTo>
                    <a:pt x="6533" y="10368"/>
                    <a:pt x="6568" y="10362"/>
                    <a:pt x="6604" y="10362"/>
                  </a:cubicBezTo>
                  <a:cubicBezTo>
                    <a:pt x="6703" y="10362"/>
                    <a:pt x="6813" y="10404"/>
                    <a:pt x="6894" y="10404"/>
                  </a:cubicBezTo>
                  <a:cubicBezTo>
                    <a:pt x="6957" y="10404"/>
                    <a:pt x="7002" y="10379"/>
                    <a:pt x="7013" y="10293"/>
                  </a:cubicBezTo>
                  <a:cubicBezTo>
                    <a:pt x="7062" y="10072"/>
                    <a:pt x="7273" y="10051"/>
                    <a:pt x="7512" y="10051"/>
                  </a:cubicBezTo>
                  <a:cubicBezTo>
                    <a:pt x="7566" y="10051"/>
                    <a:pt x="7620" y="10052"/>
                    <a:pt x="7675" y="10052"/>
                  </a:cubicBezTo>
                  <a:cubicBezTo>
                    <a:pt x="7976" y="10052"/>
                    <a:pt x="8728" y="9571"/>
                    <a:pt x="9270" y="8999"/>
                  </a:cubicBezTo>
                  <a:cubicBezTo>
                    <a:pt x="9992" y="8307"/>
                    <a:pt x="10624" y="7555"/>
                    <a:pt x="11166" y="6712"/>
                  </a:cubicBezTo>
                  <a:cubicBezTo>
                    <a:pt x="11497" y="6230"/>
                    <a:pt x="11888" y="5809"/>
                    <a:pt x="12340" y="5418"/>
                  </a:cubicBezTo>
                  <a:cubicBezTo>
                    <a:pt x="12520" y="5267"/>
                    <a:pt x="12641" y="4605"/>
                    <a:pt x="12701" y="4154"/>
                  </a:cubicBezTo>
                  <a:lnTo>
                    <a:pt x="12701" y="4154"/>
                  </a:lnTo>
                  <a:lnTo>
                    <a:pt x="12099" y="4184"/>
                  </a:lnTo>
                  <a:lnTo>
                    <a:pt x="12099" y="4124"/>
                  </a:lnTo>
                  <a:cubicBezTo>
                    <a:pt x="12009" y="4154"/>
                    <a:pt x="11979" y="4214"/>
                    <a:pt x="11949" y="4304"/>
                  </a:cubicBezTo>
                  <a:cubicBezTo>
                    <a:pt x="11949" y="4446"/>
                    <a:pt x="11837" y="4495"/>
                    <a:pt x="11659" y="4495"/>
                  </a:cubicBezTo>
                  <a:cubicBezTo>
                    <a:pt x="11610" y="4495"/>
                    <a:pt x="11555" y="4491"/>
                    <a:pt x="11497" y="4485"/>
                  </a:cubicBezTo>
                  <a:cubicBezTo>
                    <a:pt x="11226" y="4455"/>
                    <a:pt x="11016" y="3853"/>
                    <a:pt x="11016" y="3763"/>
                  </a:cubicBezTo>
                  <a:cubicBezTo>
                    <a:pt x="11016" y="3702"/>
                    <a:pt x="11347" y="3221"/>
                    <a:pt x="11587" y="3221"/>
                  </a:cubicBezTo>
                  <a:cubicBezTo>
                    <a:pt x="11738" y="3251"/>
                    <a:pt x="11888" y="3311"/>
                    <a:pt x="12039" y="3432"/>
                  </a:cubicBezTo>
                  <a:cubicBezTo>
                    <a:pt x="12039" y="3371"/>
                    <a:pt x="11979" y="3281"/>
                    <a:pt x="12039" y="3281"/>
                  </a:cubicBezTo>
                  <a:cubicBezTo>
                    <a:pt x="12069" y="3281"/>
                    <a:pt x="12129" y="1957"/>
                    <a:pt x="11949" y="1806"/>
                  </a:cubicBezTo>
                  <a:cubicBezTo>
                    <a:pt x="11768" y="1656"/>
                    <a:pt x="11527" y="512"/>
                    <a:pt x="11467" y="362"/>
                  </a:cubicBezTo>
                  <a:cubicBezTo>
                    <a:pt x="11377" y="211"/>
                    <a:pt x="10594" y="302"/>
                    <a:pt x="10534" y="151"/>
                  </a:cubicBezTo>
                  <a:cubicBezTo>
                    <a:pt x="10489" y="76"/>
                    <a:pt x="10301" y="76"/>
                    <a:pt x="10124" y="76"/>
                  </a:cubicBezTo>
                  <a:cubicBezTo>
                    <a:pt x="9947" y="76"/>
                    <a:pt x="9782" y="76"/>
                    <a:pt x="9782"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74" name="Google Shape;2868;p123">
              <a:extLst>
                <a:ext uri="{FF2B5EF4-FFF2-40B4-BE49-F238E27FC236}">
                  <a16:creationId xmlns:a16="http://schemas.microsoft.com/office/drawing/2014/main" id="{F200B10F-69C5-7145-BD41-049E8B52E421}"/>
                </a:ext>
              </a:extLst>
            </p:cNvPr>
            <p:cNvSpPr/>
            <p:nvPr/>
          </p:nvSpPr>
          <p:spPr>
            <a:xfrm>
              <a:off x="4552491" y="3420716"/>
              <a:ext cx="287602" cy="301842"/>
            </a:xfrm>
            <a:custGeom>
              <a:avLst/>
              <a:gdLst/>
              <a:ahLst/>
              <a:cxnLst/>
              <a:rect l="l" t="t" r="r" b="b"/>
              <a:pathLst>
                <a:path w="9270" h="9729" extrusionOk="0">
                  <a:moveTo>
                    <a:pt x="1054" y="1"/>
                  </a:moveTo>
                  <a:cubicBezTo>
                    <a:pt x="873" y="61"/>
                    <a:pt x="722" y="151"/>
                    <a:pt x="602" y="271"/>
                  </a:cubicBezTo>
                  <a:cubicBezTo>
                    <a:pt x="753" y="783"/>
                    <a:pt x="1204" y="1686"/>
                    <a:pt x="1294" y="1927"/>
                  </a:cubicBezTo>
                  <a:cubicBezTo>
                    <a:pt x="1354" y="2137"/>
                    <a:pt x="1174" y="2348"/>
                    <a:pt x="1174" y="2739"/>
                  </a:cubicBezTo>
                  <a:cubicBezTo>
                    <a:pt x="1174" y="3161"/>
                    <a:pt x="1625" y="3883"/>
                    <a:pt x="1655" y="4394"/>
                  </a:cubicBezTo>
                  <a:cubicBezTo>
                    <a:pt x="1686" y="4936"/>
                    <a:pt x="1354" y="5237"/>
                    <a:pt x="1084" y="5538"/>
                  </a:cubicBezTo>
                  <a:cubicBezTo>
                    <a:pt x="783" y="5989"/>
                    <a:pt x="572" y="6531"/>
                    <a:pt x="542" y="7073"/>
                  </a:cubicBezTo>
                  <a:cubicBezTo>
                    <a:pt x="542" y="7524"/>
                    <a:pt x="121" y="7976"/>
                    <a:pt x="121" y="8156"/>
                  </a:cubicBezTo>
                  <a:cubicBezTo>
                    <a:pt x="121" y="8367"/>
                    <a:pt x="30" y="8999"/>
                    <a:pt x="0" y="9270"/>
                  </a:cubicBezTo>
                  <a:lnTo>
                    <a:pt x="271" y="9270"/>
                  </a:lnTo>
                  <a:cubicBezTo>
                    <a:pt x="271" y="9270"/>
                    <a:pt x="331" y="8999"/>
                    <a:pt x="542" y="8999"/>
                  </a:cubicBezTo>
                  <a:cubicBezTo>
                    <a:pt x="692" y="8999"/>
                    <a:pt x="634" y="9208"/>
                    <a:pt x="767" y="9208"/>
                  </a:cubicBezTo>
                  <a:cubicBezTo>
                    <a:pt x="794" y="9208"/>
                    <a:pt x="828" y="9200"/>
                    <a:pt x="873" y="9179"/>
                  </a:cubicBezTo>
                  <a:cubicBezTo>
                    <a:pt x="973" y="9129"/>
                    <a:pt x="1079" y="9105"/>
                    <a:pt x="1186" y="9105"/>
                  </a:cubicBezTo>
                  <a:cubicBezTo>
                    <a:pt x="1335" y="9105"/>
                    <a:pt x="1485" y="9152"/>
                    <a:pt x="1625" y="9240"/>
                  </a:cubicBezTo>
                  <a:cubicBezTo>
                    <a:pt x="1836" y="9360"/>
                    <a:pt x="2077" y="9420"/>
                    <a:pt x="2317" y="9420"/>
                  </a:cubicBezTo>
                  <a:lnTo>
                    <a:pt x="5086" y="9420"/>
                  </a:lnTo>
                  <a:lnTo>
                    <a:pt x="5327" y="9691"/>
                  </a:lnTo>
                  <a:cubicBezTo>
                    <a:pt x="5327" y="9691"/>
                    <a:pt x="5996" y="9638"/>
                    <a:pt x="6522" y="9638"/>
                  </a:cubicBezTo>
                  <a:cubicBezTo>
                    <a:pt x="6785" y="9638"/>
                    <a:pt x="7012" y="9651"/>
                    <a:pt x="7103" y="9691"/>
                  </a:cubicBezTo>
                  <a:cubicBezTo>
                    <a:pt x="7182" y="9718"/>
                    <a:pt x="7300" y="9728"/>
                    <a:pt x="7433" y="9728"/>
                  </a:cubicBezTo>
                  <a:cubicBezTo>
                    <a:pt x="7753" y="9728"/>
                    <a:pt x="8157" y="9665"/>
                    <a:pt x="8306" y="9601"/>
                  </a:cubicBezTo>
                  <a:lnTo>
                    <a:pt x="8547" y="9601"/>
                  </a:lnTo>
                  <a:lnTo>
                    <a:pt x="7644" y="8367"/>
                  </a:lnTo>
                  <a:lnTo>
                    <a:pt x="7704" y="5719"/>
                  </a:lnTo>
                  <a:lnTo>
                    <a:pt x="8878" y="5719"/>
                  </a:lnTo>
                  <a:lnTo>
                    <a:pt x="9119" y="5538"/>
                  </a:lnTo>
                  <a:lnTo>
                    <a:pt x="9269" y="3973"/>
                  </a:lnTo>
                  <a:cubicBezTo>
                    <a:pt x="9239" y="3943"/>
                    <a:pt x="9202" y="3928"/>
                    <a:pt x="9164" y="3928"/>
                  </a:cubicBezTo>
                  <a:cubicBezTo>
                    <a:pt x="9126" y="3928"/>
                    <a:pt x="9089" y="3943"/>
                    <a:pt x="9059" y="3973"/>
                  </a:cubicBezTo>
                  <a:cubicBezTo>
                    <a:pt x="8905" y="4017"/>
                    <a:pt x="8734" y="4045"/>
                    <a:pt x="8559" y="4045"/>
                  </a:cubicBezTo>
                  <a:cubicBezTo>
                    <a:pt x="8496" y="4045"/>
                    <a:pt x="8431" y="4041"/>
                    <a:pt x="8367" y="4033"/>
                  </a:cubicBezTo>
                  <a:cubicBezTo>
                    <a:pt x="8126" y="4033"/>
                    <a:pt x="8075" y="4224"/>
                    <a:pt x="7982" y="4224"/>
                  </a:cubicBezTo>
                  <a:cubicBezTo>
                    <a:pt x="7971" y="4224"/>
                    <a:pt x="7959" y="4221"/>
                    <a:pt x="7945" y="4214"/>
                  </a:cubicBezTo>
                  <a:cubicBezTo>
                    <a:pt x="7825" y="4184"/>
                    <a:pt x="7885" y="3762"/>
                    <a:pt x="7945" y="3582"/>
                  </a:cubicBezTo>
                  <a:cubicBezTo>
                    <a:pt x="7975" y="3401"/>
                    <a:pt x="7704" y="3100"/>
                    <a:pt x="7524" y="2980"/>
                  </a:cubicBezTo>
                  <a:cubicBezTo>
                    <a:pt x="7343" y="2860"/>
                    <a:pt x="7765" y="1927"/>
                    <a:pt x="7644" y="1866"/>
                  </a:cubicBezTo>
                  <a:cubicBezTo>
                    <a:pt x="7524" y="1776"/>
                    <a:pt x="7524" y="1445"/>
                    <a:pt x="7524" y="1204"/>
                  </a:cubicBezTo>
                  <a:cubicBezTo>
                    <a:pt x="7524" y="1106"/>
                    <a:pt x="7485" y="1080"/>
                    <a:pt x="7409" y="1080"/>
                  </a:cubicBezTo>
                  <a:cubicBezTo>
                    <a:pt x="7323" y="1080"/>
                    <a:pt x="7189" y="1114"/>
                    <a:pt x="7012" y="1114"/>
                  </a:cubicBezTo>
                  <a:cubicBezTo>
                    <a:pt x="6651" y="1114"/>
                    <a:pt x="6591" y="903"/>
                    <a:pt x="6591" y="903"/>
                  </a:cubicBezTo>
                  <a:cubicBezTo>
                    <a:pt x="6486" y="888"/>
                    <a:pt x="6380" y="881"/>
                    <a:pt x="6275" y="881"/>
                  </a:cubicBezTo>
                  <a:cubicBezTo>
                    <a:pt x="6170" y="881"/>
                    <a:pt x="6064" y="888"/>
                    <a:pt x="5959" y="903"/>
                  </a:cubicBezTo>
                  <a:cubicBezTo>
                    <a:pt x="5753" y="1021"/>
                    <a:pt x="5806" y="1627"/>
                    <a:pt x="5640" y="1627"/>
                  </a:cubicBezTo>
                  <a:cubicBezTo>
                    <a:pt x="5636" y="1627"/>
                    <a:pt x="5632" y="1626"/>
                    <a:pt x="5628" y="1626"/>
                  </a:cubicBezTo>
                  <a:cubicBezTo>
                    <a:pt x="5327" y="1626"/>
                    <a:pt x="5026" y="1656"/>
                    <a:pt x="4755" y="1776"/>
                  </a:cubicBezTo>
                  <a:cubicBezTo>
                    <a:pt x="4681" y="1799"/>
                    <a:pt x="4616" y="1810"/>
                    <a:pt x="4559" y="1810"/>
                  </a:cubicBezTo>
                  <a:cubicBezTo>
                    <a:pt x="4316" y="1810"/>
                    <a:pt x="4209" y="1612"/>
                    <a:pt x="4063" y="1295"/>
                  </a:cubicBezTo>
                  <a:cubicBezTo>
                    <a:pt x="3882" y="873"/>
                    <a:pt x="3702" y="994"/>
                    <a:pt x="3762" y="693"/>
                  </a:cubicBezTo>
                  <a:cubicBezTo>
                    <a:pt x="3762" y="452"/>
                    <a:pt x="3732" y="211"/>
                    <a:pt x="3612"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75" name="Google Shape;2869;p123">
              <a:extLst>
                <a:ext uri="{FF2B5EF4-FFF2-40B4-BE49-F238E27FC236}">
                  <a16:creationId xmlns:a16="http://schemas.microsoft.com/office/drawing/2014/main" id="{6B0E4F48-754F-284E-8FDD-1D535AC06C43}"/>
                </a:ext>
              </a:extLst>
            </p:cNvPr>
            <p:cNvSpPr/>
            <p:nvPr/>
          </p:nvSpPr>
          <p:spPr>
            <a:xfrm>
              <a:off x="4789646" y="3478608"/>
              <a:ext cx="281986" cy="247797"/>
            </a:xfrm>
            <a:custGeom>
              <a:avLst/>
              <a:gdLst/>
              <a:ahLst/>
              <a:cxnLst/>
              <a:rect l="l" t="t" r="r" b="b"/>
              <a:pathLst>
                <a:path w="9089" h="7987" extrusionOk="0">
                  <a:moveTo>
                    <a:pt x="6441" y="0"/>
                  </a:moveTo>
                  <a:cubicBezTo>
                    <a:pt x="6340" y="81"/>
                    <a:pt x="6066" y="94"/>
                    <a:pt x="5814" y="94"/>
                  </a:cubicBezTo>
                  <a:cubicBezTo>
                    <a:pt x="5688" y="94"/>
                    <a:pt x="5568" y="91"/>
                    <a:pt x="5478" y="91"/>
                  </a:cubicBezTo>
                  <a:cubicBezTo>
                    <a:pt x="5237" y="91"/>
                    <a:pt x="5447" y="512"/>
                    <a:pt x="5267" y="632"/>
                  </a:cubicBezTo>
                  <a:cubicBezTo>
                    <a:pt x="5086" y="723"/>
                    <a:pt x="5026" y="994"/>
                    <a:pt x="5146" y="1084"/>
                  </a:cubicBezTo>
                  <a:cubicBezTo>
                    <a:pt x="5267" y="1144"/>
                    <a:pt x="5146" y="1716"/>
                    <a:pt x="5146" y="1957"/>
                  </a:cubicBezTo>
                  <a:cubicBezTo>
                    <a:pt x="5146" y="2167"/>
                    <a:pt x="4846" y="2619"/>
                    <a:pt x="4966" y="2709"/>
                  </a:cubicBezTo>
                  <a:cubicBezTo>
                    <a:pt x="5086" y="2769"/>
                    <a:pt x="5207" y="3251"/>
                    <a:pt x="5478" y="3311"/>
                  </a:cubicBezTo>
                  <a:cubicBezTo>
                    <a:pt x="5498" y="3313"/>
                    <a:pt x="5518" y="3314"/>
                    <a:pt x="5538" y="3314"/>
                  </a:cubicBezTo>
                  <a:cubicBezTo>
                    <a:pt x="5771" y="3314"/>
                    <a:pt x="5908" y="3160"/>
                    <a:pt x="6019" y="3160"/>
                  </a:cubicBezTo>
                  <a:cubicBezTo>
                    <a:pt x="6110" y="3160"/>
                    <a:pt x="6110" y="3461"/>
                    <a:pt x="6110" y="3702"/>
                  </a:cubicBezTo>
                  <a:cubicBezTo>
                    <a:pt x="6140" y="3853"/>
                    <a:pt x="6079" y="3973"/>
                    <a:pt x="5959" y="4063"/>
                  </a:cubicBezTo>
                  <a:cubicBezTo>
                    <a:pt x="5959" y="4063"/>
                    <a:pt x="5799" y="4130"/>
                    <a:pt x="5638" y="4130"/>
                  </a:cubicBezTo>
                  <a:cubicBezTo>
                    <a:pt x="5558" y="4130"/>
                    <a:pt x="5478" y="4113"/>
                    <a:pt x="5417" y="4063"/>
                  </a:cubicBezTo>
                  <a:cubicBezTo>
                    <a:pt x="5237" y="3853"/>
                    <a:pt x="5116" y="3612"/>
                    <a:pt x="5116" y="3371"/>
                  </a:cubicBezTo>
                  <a:cubicBezTo>
                    <a:pt x="5116" y="3251"/>
                    <a:pt x="4665" y="3251"/>
                    <a:pt x="4514" y="3251"/>
                  </a:cubicBezTo>
                  <a:cubicBezTo>
                    <a:pt x="4364" y="3251"/>
                    <a:pt x="4123" y="2920"/>
                    <a:pt x="4093" y="2769"/>
                  </a:cubicBezTo>
                  <a:cubicBezTo>
                    <a:pt x="4085" y="2728"/>
                    <a:pt x="4059" y="2712"/>
                    <a:pt x="4026" y="2712"/>
                  </a:cubicBezTo>
                  <a:cubicBezTo>
                    <a:pt x="3936" y="2712"/>
                    <a:pt x="3792" y="2832"/>
                    <a:pt x="3792" y="2920"/>
                  </a:cubicBezTo>
                  <a:cubicBezTo>
                    <a:pt x="3792" y="3040"/>
                    <a:pt x="3612" y="3040"/>
                    <a:pt x="3461" y="3040"/>
                  </a:cubicBezTo>
                  <a:cubicBezTo>
                    <a:pt x="3324" y="3040"/>
                    <a:pt x="2989" y="2791"/>
                    <a:pt x="2816" y="2791"/>
                  </a:cubicBezTo>
                  <a:cubicBezTo>
                    <a:pt x="2798" y="2791"/>
                    <a:pt x="2783" y="2794"/>
                    <a:pt x="2769" y="2799"/>
                  </a:cubicBezTo>
                  <a:cubicBezTo>
                    <a:pt x="2750" y="2811"/>
                    <a:pt x="2731" y="2816"/>
                    <a:pt x="2714" y="2816"/>
                  </a:cubicBezTo>
                  <a:cubicBezTo>
                    <a:pt x="2590" y="2816"/>
                    <a:pt x="2498" y="2570"/>
                    <a:pt x="2498" y="2438"/>
                  </a:cubicBezTo>
                  <a:cubicBezTo>
                    <a:pt x="2498" y="2380"/>
                    <a:pt x="2448" y="2358"/>
                    <a:pt x="2379" y="2358"/>
                  </a:cubicBezTo>
                  <a:cubicBezTo>
                    <a:pt x="2269" y="2358"/>
                    <a:pt x="2109" y="2413"/>
                    <a:pt x="2017" y="2468"/>
                  </a:cubicBezTo>
                  <a:cubicBezTo>
                    <a:pt x="1995" y="2481"/>
                    <a:pt x="1976" y="2487"/>
                    <a:pt x="1959" y="2487"/>
                  </a:cubicBezTo>
                  <a:cubicBezTo>
                    <a:pt x="1858" y="2487"/>
                    <a:pt x="1836" y="2288"/>
                    <a:pt x="1836" y="2288"/>
                  </a:cubicBezTo>
                  <a:cubicBezTo>
                    <a:pt x="1776" y="2197"/>
                    <a:pt x="1686" y="2137"/>
                    <a:pt x="1595" y="2077"/>
                  </a:cubicBezTo>
                  <a:lnTo>
                    <a:pt x="1445" y="3672"/>
                  </a:lnTo>
                  <a:lnTo>
                    <a:pt x="1234" y="3853"/>
                  </a:lnTo>
                  <a:lnTo>
                    <a:pt x="60" y="3853"/>
                  </a:lnTo>
                  <a:lnTo>
                    <a:pt x="0" y="6501"/>
                  </a:lnTo>
                  <a:lnTo>
                    <a:pt x="903" y="7735"/>
                  </a:lnTo>
                  <a:cubicBezTo>
                    <a:pt x="1224" y="7655"/>
                    <a:pt x="1746" y="7574"/>
                    <a:pt x="2058" y="7574"/>
                  </a:cubicBezTo>
                  <a:cubicBezTo>
                    <a:pt x="2214" y="7574"/>
                    <a:pt x="2318" y="7594"/>
                    <a:pt x="2318" y="7645"/>
                  </a:cubicBezTo>
                  <a:lnTo>
                    <a:pt x="2408" y="7855"/>
                  </a:lnTo>
                  <a:lnTo>
                    <a:pt x="2799" y="7765"/>
                  </a:lnTo>
                  <a:cubicBezTo>
                    <a:pt x="2984" y="7818"/>
                    <a:pt x="3493" y="7986"/>
                    <a:pt x="3737" y="7986"/>
                  </a:cubicBezTo>
                  <a:cubicBezTo>
                    <a:pt x="3771" y="7986"/>
                    <a:pt x="3800" y="7983"/>
                    <a:pt x="3822" y="7976"/>
                  </a:cubicBezTo>
                  <a:cubicBezTo>
                    <a:pt x="4003" y="7885"/>
                    <a:pt x="4304" y="7163"/>
                    <a:pt x="4605" y="7073"/>
                  </a:cubicBezTo>
                  <a:cubicBezTo>
                    <a:pt x="4906" y="6952"/>
                    <a:pt x="5357" y="6651"/>
                    <a:pt x="5357" y="6501"/>
                  </a:cubicBezTo>
                  <a:cubicBezTo>
                    <a:pt x="5357" y="6350"/>
                    <a:pt x="5357" y="6230"/>
                    <a:pt x="5809" y="6110"/>
                  </a:cubicBezTo>
                  <a:lnTo>
                    <a:pt x="6531" y="6110"/>
                  </a:lnTo>
                  <a:lnTo>
                    <a:pt x="6380" y="5508"/>
                  </a:lnTo>
                  <a:lnTo>
                    <a:pt x="8577" y="4725"/>
                  </a:lnTo>
                  <a:cubicBezTo>
                    <a:pt x="8457" y="4545"/>
                    <a:pt x="8367" y="4424"/>
                    <a:pt x="8427" y="4394"/>
                  </a:cubicBezTo>
                  <a:cubicBezTo>
                    <a:pt x="8517" y="4154"/>
                    <a:pt x="8547" y="3883"/>
                    <a:pt x="8517" y="3642"/>
                  </a:cubicBezTo>
                  <a:cubicBezTo>
                    <a:pt x="8517" y="3461"/>
                    <a:pt x="9029" y="3552"/>
                    <a:pt x="8878" y="3401"/>
                  </a:cubicBezTo>
                  <a:cubicBezTo>
                    <a:pt x="8728" y="3251"/>
                    <a:pt x="8758" y="2318"/>
                    <a:pt x="8818" y="2137"/>
                  </a:cubicBezTo>
                  <a:cubicBezTo>
                    <a:pt x="8863" y="2047"/>
                    <a:pt x="8931" y="2047"/>
                    <a:pt x="8987" y="2047"/>
                  </a:cubicBezTo>
                  <a:cubicBezTo>
                    <a:pt x="9044" y="2047"/>
                    <a:pt x="9089" y="2047"/>
                    <a:pt x="9089" y="1957"/>
                  </a:cubicBezTo>
                  <a:cubicBezTo>
                    <a:pt x="9029" y="1656"/>
                    <a:pt x="8908" y="1355"/>
                    <a:pt x="8758" y="1114"/>
                  </a:cubicBezTo>
                  <a:cubicBezTo>
                    <a:pt x="8427" y="933"/>
                    <a:pt x="8096" y="753"/>
                    <a:pt x="7735" y="663"/>
                  </a:cubicBezTo>
                  <a:cubicBezTo>
                    <a:pt x="7524" y="542"/>
                    <a:pt x="7223" y="301"/>
                    <a:pt x="6982" y="301"/>
                  </a:cubicBezTo>
                  <a:cubicBezTo>
                    <a:pt x="6802" y="211"/>
                    <a:pt x="6591" y="121"/>
                    <a:pt x="6441"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76" name="Google Shape;2870;p123">
              <a:extLst>
                <a:ext uri="{FF2B5EF4-FFF2-40B4-BE49-F238E27FC236}">
                  <a16:creationId xmlns:a16="http://schemas.microsoft.com/office/drawing/2014/main" id="{7C153E07-CF68-A34C-9C46-CD5DA6DDD808}"/>
                </a:ext>
              </a:extLst>
            </p:cNvPr>
            <p:cNvSpPr/>
            <p:nvPr/>
          </p:nvSpPr>
          <p:spPr>
            <a:xfrm>
              <a:off x="4957709" y="3301208"/>
              <a:ext cx="46724" cy="39526"/>
            </a:xfrm>
            <a:custGeom>
              <a:avLst/>
              <a:gdLst/>
              <a:ahLst/>
              <a:cxnLst/>
              <a:rect l="l" t="t" r="r" b="b"/>
              <a:pathLst>
                <a:path w="1506" h="1274" extrusionOk="0">
                  <a:moveTo>
                    <a:pt x="1264" y="0"/>
                  </a:moveTo>
                  <a:lnTo>
                    <a:pt x="813" y="151"/>
                  </a:lnTo>
                  <a:cubicBezTo>
                    <a:pt x="737" y="208"/>
                    <a:pt x="648" y="229"/>
                    <a:pt x="563" y="229"/>
                  </a:cubicBezTo>
                  <a:cubicBezTo>
                    <a:pt x="514" y="229"/>
                    <a:pt x="466" y="222"/>
                    <a:pt x="422" y="211"/>
                  </a:cubicBezTo>
                  <a:lnTo>
                    <a:pt x="331" y="301"/>
                  </a:lnTo>
                  <a:cubicBezTo>
                    <a:pt x="151" y="362"/>
                    <a:pt x="181" y="783"/>
                    <a:pt x="181" y="783"/>
                  </a:cubicBezTo>
                  <a:cubicBezTo>
                    <a:pt x="61" y="813"/>
                    <a:pt x="0" y="903"/>
                    <a:pt x="0" y="1054"/>
                  </a:cubicBezTo>
                  <a:cubicBezTo>
                    <a:pt x="0" y="1144"/>
                    <a:pt x="121" y="1234"/>
                    <a:pt x="151" y="1264"/>
                  </a:cubicBezTo>
                  <a:lnTo>
                    <a:pt x="422" y="1264"/>
                  </a:lnTo>
                  <a:cubicBezTo>
                    <a:pt x="464" y="1270"/>
                    <a:pt x="501" y="1273"/>
                    <a:pt x="535" y="1273"/>
                  </a:cubicBezTo>
                  <a:cubicBezTo>
                    <a:pt x="837" y="1273"/>
                    <a:pt x="813" y="1054"/>
                    <a:pt x="813" y="1054"/>
                  </a:cubicBezTo>
                  <a:lnTo>
                    <a:pt x="813" y="1054"/>
                  </a:lnTo>
                  <a:cubicBezTo>
                    <a:pt x="813" y="1054"/>
                    <a:pt x="854" y="1056"/>
                    <a:pt x="917" y="1056"/>
                  </a:cubicBezTo>
                  <a:cubicBezTo>
                    <a:pt x="1104" y="1056"/>
                    <a:pt x="1482" y="1039"/>
                    <a:pt x="1505" y="903"/>
                  </a:cubicBezTo>
                  <a:cubicBezTo>
                    <a:pt x="1505" y="693"/>
                    <a:pt x="1475" y="512"/>
                    <a:pt x="1385" y="332"/>
                  </a:cubicBezTo>
                  <a:lnTo>
                    <a:pt x="1264" y="0"/>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77" name="Google Shape;2871;p123">
              <a:extLst>
                <a:ext uri="{FF2B5EF4-FFF2-40B4-BE49-F238E27FC236}">
                  <a16:creationId xmlns:a16="http://schemas.microsoft.com/office/drawing/2014/main" id="{AE09CE11-2206-184B-B663-4FCDA0B408EF}"/>
                </a:ext>
              </a:extLst>
            </p:cNvPr>
            <p:cNvSpPr/>
            <p:nvPr/>
          </p:nvSpPr>
          <p:spPr>
            <a:xfrm>
              <a:off x="5253687" y="2974514"/>
              <a:ext cx="252668" cy="338855"/>
            </a:xfrm>
            <a:custGeom>
              <a:avLst/>
              <a:gdLst/>
              <a:ahLst/>
              <a:cxnLst/>
              <a:rect l="l" t="t" r="r" b="b"/>
              <a:pathLst>
                <a:path w="8144" h="10922" extrusionOk="0">
                  <a:moveTo>
                    <a:pt x="7878" y="0"/>
                  </a:moveTo>
                  <a:cubicBezTo>
                    <a:pt x="7780" y="0"/>
                    <a:pt x="7677" y="66"/>
                    <a:pt x="7614" y="178"/>
                  </a:cubicBezTo>
                  <a:cubicBezTo>
                    <a:pt x="7464" y="449"/>
                    <a:pt x="6471" y="659"/>
                    <a:pt x="5839" y="659"/>
                  </a:cubicBezTo>
                  <a:cubicBezTo>
                    <a:pt x="5207" y="659"/>
                    <a:pt x="4785" y="750"/>
                    <a:pt x="4545" y="960"/>
                  </a:cubicBezTo>
                  <a:cubicBezTo>
                    <a:pt x="4474" y="1041"/>
                    <a:pt x="4361" y="1061"/>
                    <a:pt x="4234" y="1061"/>
                  </a:cubicBezTo>
                  <a:cubicBezTo>
                    <a:pt x="4107" y="1061"/>
                    <a:pt x="3966" y="1041"/>
                    <a:pt x="3842" y="1041"/>
                  </a:cubicBezTo>
                  <a:cubicBezTo>
                    <a:pt x="3719" y="1041"/>
                    <a:pt x="3612" y="1061"/>
                    <a:pt x="3552" y="1141"/>
                  </a:cubicBezTo>
                  <a:cubicBezTo>
                    <a:pt x="3441" y="1284"/>
                    <a:pt x="3154" y="1401"/>
                    <a:pt x="2868" y="1401"/>
                  </a:cubicBezTo>
                  <a:cubicBezTo>
                    <a:pt x="2611" y="1401"/>
                    <a:pt x="2355" y="1307"/>
                    <a:pt x="2227" y="1051"/>
                  </a:cubicBezTo>
                  <a:cubicBezTo>
                    <a:pt x="2167" y="840"/>
                    <a:pt x="2017" y="690"/>
                    <a:pt x="1806" y="599"/>
                  </a:cubicBezTo>
                  <a:cubicBezTo>
                    <a:pt x="1595" y="810"/>
                    <a:pt x="1325" y="1141"/>
                    <a:pt x="1355" y="1261"/>
                  </a:cubicBezTo>
                  <a:cubicBezTo>
                    <a:pt x="1505" y="1532"/>
                    <a:pt x="1686" y="1773"/>
                    <a:pt x="1896" y="1984"/>
                  </a:cubicBezTo>
                  <a:cubicBezTo>
                    <a:pt x="2047" y="2044"/>
                    <a:pt x="2257" y="2435"/>
                    <a:pt x="2408" y="2465"/>
                  </a:cubicBezTo>
                  <a:lnTo>
                    <a:pt x="4033" y="3037"/>
                  </a:lnTo>
                  <a:cubicBezTo>
                    <a:pt x="4364" y="3187"/>
                    <a:pt x="4755" y="3248"/>
                    <a:pt x="5116" y="3248"/>
                  </a:cubicBezTo>
                  <a:cubicBezTo>
                    <a:pt x="5267" y="3248"/>
                    <a:pt x="5538" y="3338"/>
                    <a:pt x="5387" y="3458"/>
                  </a:cubicBezTo>
                  <a:cubicBezTo>
                    <a:pt x="5237" y="3549"/>
                    <a:pt x="3491" y="5294"/>
                    <a:pt x="3281" y="5565"/>
                  </a:cubicBezTo>
                  <a:cubicBezTo>
                    <a:pt x="3143" y="5702"/>
                    <a:pt x="3035" y="5732"/>
                    <a:pt x="2878" y="5732"/>
                  </a:cubicBezTo>
                  <a:cubicBezTo>
                    <a:pt x="2760" y="5732"/>
                    <a:pt x="2614" y="5715"/>
                    <a:pt x="2408" y="5715"/>
                  </a:cubicBezTo>
                  <a:cubicBezTo>
                    <a:pt x="1926" y="5715"/>
                    <a:pt x="1505" y="6257"/>
                    <a:pt x="1355" y="6257"/>
                  </a:cubicBezTo>
                  <a:cubicBezTo>
                    <a:pt x="1144" y="6257"/>
                    <a:pt x="933" y="6287"/>
                    <a:pt x="723" y="6347"/>
                  </a:cubicBezTo>
                  <a:lnTo>
                    <a:pt x="331" y="6919"/>
                  </a:lnTo>
                  <a:lnTo>
                    <a:pt x="0" y="7461"/>
                  </a:lnTo>
                  <a:lnTo>
                    <a:pt x="0" y="10290"/>
                  </a:lnTo>
                  <a:lnTo>
                    <a:pt x="392" y="10922"/>
                  </a:lnTo>
                  <a:cubicBezTo>
                    <a:pt x="933" y="10290"/>
                    <a:pt x="1535" y="9658"/>
                    <a:pt x="2137" y="9086"/>
                  </a:cubicBezTo>
                  <a:cubicBezTo>
                    <a:pt x="2528" y="8635"/>
                    <a:pt x="3010" y="8273"/>
                    <a:pt x="3552" y="8033"/>
                  </a:cubicBezTo>
                  <a:cubicBezTo>
                    <a:pt x="3913" y="7852"/>
                    <a:pt x="4846" y="6889"/>
                    <a:pt x="5508" y="6076"/>
                  </a:cubicBezTo>
                  <a:cubicBezTo>
                    <a:pt x="6140" y="5264"/>
                    <a:pt x="6350" y="4993"/>
                    <a:pt x="6411" y="4602"/>
                  </a:cubicBezTo>
                  <a:cubicBezTo>
                    <a:pt x="6561" y="4181"/>
                    <a:pt x="6802" y="3759"/>
                    <a:pt x="7103" y="3398"/>
                  </a:cubicBezTo>
                  <a:cubicBezTo>
                    <a:pt x="7464" y="2947"/>
                    <a:pt x="7735" y="2405"/>
                    <a:pt x="7855" y="1833"/>
                  </a:cubicBezTo>
                  <a:cubicBezTo>
                    <a:pt x="7825" y="1532"/>
                    <a:pt x="8096" y="960"/>
                    <a:pt x="8126" y="449"/>
                  </a:cubicBezTo>
                  <a:cubicBezTo>
                    <a:pt x="8144" y="131"/>
                    <a:pt x="8017" y="0"/>
                    <a:pt x="7878"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78" name="Google Shape;2872;p123">
              <a:extLst>
                <a:ext uri="{FF2B5EF4-FFF2-40B4-BE49-F238E27FC236}">
                  <a16:creationId xmlns:a16="http://schemas.microsoft.com/office/drawing/2014/main" id="{7240E0CC-A60E-6B43-AE3E-6AC069EAC2DD}"/>
                </a:ext>
              </a:extLst>
            </p:cNvPr>
            <p:cNvSpPr/>
            <p:nvPr/>
          </p:nvSpPr>
          <p:spPr>
            <a:xfrm>
              <a:off x="3940927" y="2347437"/>
              <a:ext cx="295079" cy="234859"/>
            </a:xfrm>
            <a:custGeom>
              <a:avLst/>
              <a:gdLst/>
              <a:ahLst/>
              <a:cxnLst/>
              <a:rect l="l" t="t" r="r" b="b"/>
              <a:pathLst>
                <a:path w="9511" h="7570" extrusionOk="0">
                  <a:moveTo>
                    <a:pt x="5893" y="1"/>
                  </a:moveTo>
                  <a:cubicBezTo>
                    <a:pt x="5856" y="1"/>
                    <a:pt x="5818" y="6"/>
                    <a:pt x="5778" y="16"/>
                  </a:cubicBezTo>
                  <a:cubicBezTo>
                    <a:pt x="5568" y="106"/>
                    <a:pt x="5146" y="1310"/>
                    <a:pt x="4936" y="1641"/>
                  </a:cubicBezTo>
                  <a:cubicBezTo>
                    <a:pt x="4605" y="1972"/>
                    <a:pt x="4183" y="2213"/>
                    <a:pt x="3732" y="2243"/>
                  </a:cubicBezTo>
                  <a:cubicBezTo>
                    <a:pt x="3401" y="2243"/>
                    <a:pt x="3341" y="2694"/>
                    <a:pt x="3130" y="2935"/>
                  </a:cubicBezTo>
                  <a:cubicBezTo>
                    <a:pt x="2889" y="3146"/>
                    <a:pt x="2979" y="3417"/>
                    <a:pt x="2679" y="3687"/>
                  </a:cubicBezTo>
                  <a:cubicBezTo>
                    <a:pt x="2378" y="3958"/>
                    <a:pt x="2528" y="4620"/>
                    <a:pt x="2679" y="4891"/>
                  </a:cubicBezTo>
                  <a:cubicBezTo>
                    <a:pt x="2829" y="5162"/>
                    <a:pt x="2137" y="5944"/>
                    <a:pt x="1716" y="6155"/>
                  </a:cubicBezTo>
                  <a:cubicBezTo>
                    <a:pt x="1324" y="6396"/>
                    <a:pt x="1204" y="6847"/>
                    <a:pt x="572" y="6968"/>
                  </a:cubicBezTo>
                  <a:cubicBezTo>
                    <a:pt x="361" y="6998"/>
                    <a:pt x="151" y="7088"/>
                    <a:pt x="0" y="7269"/>
                  </a:cubicBezTo>
                  <a:lnTo>
                    <a:pt x="2919" y="7269"/>
                  </a:lnTo>
                  <a:cubicBezTo>
                    <a:pt x="3551" y="7269"/>
                    <a:pt x="3431" y="7359"/>
                    <a:pt x="3491" y="7570"/>
                  </a:cubicBezTo>
                  <a:lnTo>
                    <a:pt x="3491" y="6456"/>
                  </a:lnTo>
                  <a:cubicBezTo>
                    <a:pt x="3912" y="6155"/>
                    <a:pt x="4334" y="5884"/>
                    <a:pt x="4785" y="5644"/>
                  </a:cubicBezTo>
                  <a:cubicBezTo>
                    <a:pt x="4845" y="5595"/>
                    <a:pt x="4934" y="5591"/>
                    <a:pt x="5020" y="5591"/>
                  </a:cubicBezTo>
                  <a:cubicBezTo>
                    <a:pt x="5041" y="5591"/>
                    <a:pt x="5062" y="5591"/>
                    <a:pt x="5082" y="5591"/>
                  </a:cubicBezTo>
                  <a:cubicBezTo>
                    <a:pt x="5184" y="5591"/>
                    <a:pt x="5267" y="5583"/>
                    <a:pt x="5267" y="5493"/>
                  </a:cubicBezTo>
                  <a:cubicBezTo>
                    <a:pt x="5267" y="5313"/>
                    <a:pt x="5718" y="5373"/>
                    <a:pt x="5989" y="5343"/>
                  </a:cubicBezTo>
                  <a:cubicBezTo>
                    <a:pt x="6230" y="5313"/>
                    <a:pt x="6410" y="5102"/>
                    <a:pt x="6410" y="4831"/>
                  </a:cubicBezTo>
                  <a:cubicBezTo>
                    <a:pt x="6410" y="4620"/>
                    <a:pt x="6741" y="4681"/>
                    <a:pt x="7012" y="4650"/>
                  </a:cubicBezTo>
                  <a:cubicBezTo>
                    <a:pt x="7253" y="4620"/>
                    <a:pt x="7193" y="4440"/>
                    <a:pt x="7343" y="4440"/>
                  </a:cubicBezTo>
                  <a:cubicBezTo>
                    <a:pt x="7494" y="4440"/>
                    <a:pt x="7403" y="4199"/>
                    <a:pt x="7464" y="3928"/>
                  </a:cubicBezTo>
                  <a:cubicBezTo>
                    <a:pt x="7488" y="3736"/>
                    <a:pt x="7493" y="3716"/>
                    <a:pt x="7601" y="3716"/>
                  </a:cubicBezTo>
                  <a:cubicBezTo>
                    <a:pt x="7629" y="3716"/>
                    <a:pt x="7662" y="3717"/>
                    <a:pt x="7704" y="3717"/>
                  </a:cubicBezTo>
                  <a:cubicBezTo>
                    <a:pt x="7945" y="3717"/>
                    <a:pt x="8156" y="3597"/>
                    <a:pt x="8156" y="3447"/>
                  </a:cubicBezTo>
                  <a:cubicBezTo>
                    <a:pt x="8156" y="3378"/>
                    <a:pt x="8367" y="3360"/>
                    <a:pt x="8612" y="3360"/>
                  </a:cubicBezTo>
                  <a:cubicBezTo>
                    <a:pt x="8906" y="3360"/>
                    <a:pt x="9247" y="3386"/>
                    <a:pt x="9329" y="3386"/>
                  </a:cubicBezTo>
                  <a:cubicBezTo>
                    <a:pt x="9480" y="3386"/>
                    <a:pt x="9510" y="3206"/>
                    <a:pt x="9510" y="3085"/>
                  </a:cubicBezTo>
                  <a:cubicBezTo>
                    <a:pt x="9510" y="2965"/>
                    <a:pt x="9360" y="2544"/>
                    <a:pt x="9209" y="2544"/>
                  </a:cubicBezTo>
                  <a:cubicBezTo>
                    <a:pt x="9059" y="2544"/>
                    <a:pt x="9149" y="2153"/>
                    <a:pt x="9149" y="1791"/>
                  </a:cubicBezTo>
                  <a:cubicBezTo>
                    <a:pt x="9149" y="1521"/>
                    <a:pt x="9089" y="1220"/>
                    <a:pt x="8908" y="979"/>
                  </a:cubicBezTo>
                  <a:cubicBezTo>
                    <a:pt x="8848" y="919"/>
                    <a:pt x="8818" y="828"/>
                    <a:pt x="8788" y="738"/>
                  </a:cubicBezTo>
                  <a:cubicBezTo>
                    <a:pt x="8487" y="738"/>
                    <a:pt x="8156" y="527"/>
                    <a:pt x="7855" y="527"/>
                  </a:cubicBezTo>
                  <a:cubicBezTo>
                    <a:pt x="7686" y="527"/>
                    <a:pt x="7376" y="594"/>
                    <a:pt x="7083" y="594"/>
                  </a:cubicBezTo>
                  <a:cubicBezTo>
                    <a:pt x="6853" y="594"/>
                    <a:pt x="6633" y="553"/>
                    <a:pt x="6501" y="407"/>
                  </a:cubicBezTo>
                  <a:cubicBezTo>
                    <a:pt x="6249" y="130"/>
                    <a:pt x="6082" y="1"/>
                    <a:pt x="5893"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79" name="Google Shape;2873;p123">
              <a:extLst>
                <a:ext uri="{FF2B5EF4-FFF2-40B4-BE49-F238E27FC236}">
                  <a16:creationId xmlns:a16="http://schemas.microsoft.com/office/drawing/2014/main" id="{2A313805-49D6-8C40-B49F-222822B70B4C}"/>
                </a:ext>
              </a:extLst>
            </p:cNvPr>
            <p:cNvSpPr/>
            <p:nvPr/>
          </p:nvSpPr>
          <p:spPr>
            <a:xfrm>
              <a:off x="4445114" y="2306236"/>
              <a:ext cx="105516" cy="195768"/>
            </a:xfrm>
            <a:custGeom>
              <a:avLst/>
              <a:gdLst/>
              <a:ahLst/>
              <a:cxnLst/>
              <a:rect l="l" t="t" r="r" b="b"/>
              <a:pathLst>
                <a:path w="3401" h="6310" extrusionOk="0">
                  <a:moveTo>
                    <a:pt x="1980" y="1"/>
                  </a:moveTo>
                  <a:cubicBezTo>
                    <a:pt x="1755" y="1"/>
                    <a:pt x="1501" y="68"/>
                    <a:pt x="1355" y="200"/>
                  </a:cubicBezTo>
                  <a:cubicBezTo>
                    <a:pt x="1234" y="260"/>
                    <a:pt x="1084" y="321"/>
                    <a:pt x="933" y="321"/>
                  </a:cubicBezTo>
                  <a:cubicBezTo>
                    <a:pt x="873" y="772"/>
                    <a:pt x="783" y="1344"/>
                    <a:pt x="933" y="1555"/>
                  </a:cubicBezTo>
                  <a:cubicBezTo>
                    <a:pt x="1054" y="1855"/>
                    <a:pt x="933" y="2186"/>
                    <a:pt x="692" y="2367"/>
                  </a:cubicBezTo>
                  <a:cubicBezTo>
                    <a:pt x="482" y="2487"/>
                    <a:pt x="392" y="2909"/>
                    <a:pt x="181" y="2909"/>
                  </a:cubicBezTo>
                  <a:cubicBezTo>
                    <a:pt x="0" y="2909"/>
                    <a:pt x="181" y="3631"/>
                    <a:pt x="482" y="3721"/>
                  </a:cubicBezTo>
                  <a:cubicBezTo>
                    <a:pt x="723" y="3812"/>
                    <a:pt x="843" y="4022"/>
                    <a:pt x="843" y="4263"/>
                  </a:cubicBezTo>
                  <a:cubicBezTo>
                    <a:pt x="843" y="4413"/>
                    <a:pt x="1294" y="4564"/>
                    <a:pt x="1445" y="4745"/>
                  </a:cubicBezTo>
                  <a:cubicBezTo>
                    <a:pt x="1656" y="5166"/>
                    <a:pt x="1776" y="5647"/>
                    <a:pt x="1806" y="6129"/>
                  </a:cubicBezTo>
                  <a:cubicBezTo>
                    <a:pt x="1806" y="6219"/>
                    <a:pt x="1836" y="6279"/>
                    <a:pt x="1896" y="6309"/>
                  </a:cubicBezTo>
                  <a:cubicBezTo>
                    <a:pt x="2017" y="6249"/>
                    <a:pt x="2137" y="6159"/>
                    <a:pt x="2227" y="6069"/>
                  </a:cubicBezTo>
                  <a:cubicBezTo>
                    <a:pt x="2348" y="5828"/>
                    <a:pt x="2408" y="5497"/>
                    <a:pt x="2348" y="5437"/>
                  </a:cubicBezTo>
                  <a:cubicBezTo>
                    <a:pt x="2287" y="5316"/>
                    <a:pt x="2318" y="5166"/>
                    <a:pt x="2408" y="5076"/>
                  </a:cubicBezTo>
                  <a:cubicBezTo>
                    <a:pt x="2588" y="4865"/>
                    <a:pt x="2829" y="4654"/>
                    <a:pt x="3040" y="4474"/>
                  </a:cubicBezTo>
                  <a:cubicBezTo>
                    <a:pt x="3062" y="4466"/>
                    <a:pt x="3096" y="4466"/>
                    <a:pt x="3134" y="4466"/>
                  </a:cubicBezTo>
                  <a:lnTo>
                    <a:pt x="3134" y="4466"/>
                  </a:lnTo>
                  <a:cubicBezTo>
                    <a:pt x="3249" y="4466"/>
                    <a:pt x="3401" y="4466"/>
                    <a:pt x="3401" y="4263"/>
                  </a:cubicBezTo>
                  <a:cubicBezTo>
                    <a:pt x="3371" y="4113"/>
                    <a:pt x="3371" y="3992"/>
                    <a:pt x="3401" y="3842"/>
                  </a:cubicBezTo>
                  <a:cubicBezTo>
                    <a:pt x="3190" y="3721"/>
                    <a:pt x="3070" y="3571"/>
                    <a:pt x="3070" y="3511"/>
                  </a:cubicBezTo>
                  <a:cubicBezTo>
                    <a:pt x="3070" y="3437"/>
                    <a:pt x="2929" y="3201"/>
                    <a:pt x="2811" y="3201"/>
                  </a:cubicBezTo>
                  <a:cubicBezTo>
                    <a:pt x="2785" y="3201"/>
                    <a:pt x="2761" y="3213"/>
                    <a:pt x="2739" y="3240"/>
                  </a:cubicBezTo>
                  <a:cubicBezTo>
                    <a:pt x="2685" y="3260"/>
                    <a:pt x="2629" y="3270"/>
                    <a:pt x="2574" y="3270"/>
                  </a:cubicBezTo>
                  <a:cubicBezTo>
                    <a:pt x="2385" y="3270"/>
                    <a:pt x="2207" y="3156"/>
                    <a:pt x="2137" y="2969"/>
                  </a:cubicBezTo>
                  <a:cubicBezTo>
                    <a:pt x="2077" y="2668"/>
                    <a:pt x="2438" y="2668"/>
                    <a:pt x="2739" y="2427"/>
                  </a:cubicBezTo>
                  <a:cubicBezTo>
                    <a:pt x="3100" y="2156"/>
                    <a:pt x="3100" y="1645"/>
                    <a:pt x="2799" y="1374"/>
                  </a:cubicBezTo>
                  <a:cubicBezTo>
                    <a:pt x="2438" y="1073"/>
                    <a:pt x="2679" y="923"/>
                    <a:pt x="2950" y="652"/>
                  </a:cubicBezTo>
                  <a:cubicBezTo>
                    <a:pt x="3127" y="452"/>
                    <a:pt x="3043" y="334"/>
                    <a:pt x="2938" y="334"/>
                  </a:cubicBezTo>
                  <a:cubicBezTo>
                    <a:pt x="2901" y="334"/>
                    <a:pt x="2861" y="349"/>
                    <a:pt x="2829" y="381"/>
                  </a:cubicBezTo>
                  <a:cubicBezTo>
                    <a:pt x="2778" y="432"/>
                    <a:pt x="2710" y="467"/>
                    <a:pt x="2645" y="467"/>
                  </a:cubicBezTo>
                  <a:cubicBezTo>
                    <a:pt x="2557" y="467"/>
                    <a:pt x="2473" y="403"/>
                    <a:pt x="2438" y="230"/>
                  </a:cubicBezTo>
                  <a:cubicBezTo>
                    <a:pt x="2423" y="76"/>
                    <a:pt x="2217" y="1"/>
                    <a:pt x="1980"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80" name="Google Shape;2874;p123">
              <a:extLst>
                <a:ext uri="{FF2B5EF4-FFF2-40B4-BE49-F238E27FC236}">
                  <a16:creationId xmlns:a16="http://schemas.microsoft.com/office/drawing/2014/main" id="{32669130-30EC-0341-947D-E2A8B9DE6C0B}"/>
                </a:ext>
              </a:extLst>
            </p:cNvPr>
            <p:cNvSpPr/>
            <p:nvPr/>
          </p:nvSpPr>
          <p:spPr>
            <a:xfrm>
              <a:off x="4049235" y="2310424"/>
              <a:ext cx="511695" cy="491281"/>
            </a:xfrm>
            <a:custGeom>
              <a:avLst/>
              <a:gdLst/>
              <a:ahLst/>
              <a:cxnLst/>
              <a:rect l="l" t="t" r="r" b="b"/>
              <a:pathLst>
                <a:path w="16493" h="15835" extrusionOk="0">
                  <a:moveTo>
                    <a:pt x="12882" y="0"/>
                  </a:moveTo>
                  <a:cubicBezTo>
                    <a:pt x="12705" y="0"/>
                    <a:pt x="12369" y="95"/>
                    <a:pt x="12128" y="95"/>
                  </a:cubicBezTo>
                  <a:cubicBezTo>
                    <a:pt x="11914" y="95"/>
                    <a:pt x="11494" y="377"/>
                    <a:pt x="11223" y="377"/>
                  </a:cubicBezTo>
                  <a:cubicBezTo>
                    <a:pt x="11151" y="377"/>
                    <a:pt x="11089" y="357"/>
                    <a:pt x="11045" y="306"/>
                  </a:cubicBezTo>
                  <a:cubicBezTo>
                    <a:pt x="10992" y="259"/>
                    <a:pt x="10845" y="241"/>
                    <a:pt x="10642" y="241"/>
                  </a:cubicBezTo>
                  <a:cubicBezTo>
                    <a:pt x="9932" y="241"/>
                    <a:pt x="8534" y="470"/>
                    <a:pt x="8066" y="517"/>
                  </a:cubicBezTo>
                  <a:cubicBezTo>
                    <a:pt x="7464" y="547"/>
                    <a:pt x="7193" y="1149"/>
                    <a:pt x="6832" y="1149"/>
                  </a:cubicBezTo>
                  <a:cubicBezTo>
                    <a:pt x="6350" y="1209"/>
                    <a:pt x="5899" y="1450"/>
                    <a:pt x="5568" y="1781"/>
                  </a:cubicBezTo>
                  <a:cubicBezTo>
                    <a:pt x="5507" y="1871"/>
                    <a:pt x="5417" y="1931"/>
                    <a:pt x="5327" y="1931"/>
                  </a:cubicBezTo>
                  <a:cubicBezTo>
                    <a:pt x="5327" y="2021"/>
                    <a:pt x="5357" y="2112"/>
                    <a:pt x="5417" y="2172"/>
                  </a:cubicBezTo>
                  <a:cubicBezTo>
                    <a:pt x="5598" y="2413"/>
                    <a:pt x="5658" y="2714"/>
                    <a:pt x="5658" y="2984"/>
                  </a:cubicBezTo>
                  <a:cubicBezTo>
                    <a:pt x="5658" y="3346"/>
                    <a:pt x="5538" y="3707"/>
                    <a:pt x="5718" y="3737"/>
                  </a:cubicBezTo>
                  <a:cubicBezTo>
                    <a:pt x="5929" y="3797"/>
                    <a:pt x="5989" y="4158"/>
                    <a:pt x="6019" y="4278"/>
                  </a:cubicBezTo>
                  <a:cubicBezTo>
                    <a:pt x="6079" y="4399"/>
                    <a:pt x="5989" y="4579"/>
                    <a:pt x="5838" y="4579"/>
                  </a:cubicBezTo>
                  <a:cubicBezTo>
                    <a:pt x="5756" y="4579"/>
                    <a:pt x="5415" y="4553"/>
                    <a:pt x="5121" y="4553"/>
                  </a:cubicBezTo>
                  <a:cubicBezTo>
                    <a:pt x="4876" y="4553"/>
                    <a:pt x="4665" y="4571"/>
                    <a:pt x="4665" y="4640"/>
                  </a:cubicBezTo>
                  <a:cubicBezTo>
                    <a:pt x="4665" y="4790"/>
                    <a:pt x="4454" y="4910"/>
                    <a:pt x="4213" y="4910"/>
                  </a:cubicBezTo>
                  <a:cubicBezTo>
                    <a:pt x="4175" y="4910"/>
                    <a:pt x="4144" y="4909"/>
                    <a:pt x="4118" y="4909"/>
                  </a:cubicBezTo>
                  <a:cubicBezTo>
                    <a:pt x="4002" y="4909"/>
                    <a:pt x="3997" y="4930"/>
                    <a:pt x="3973" y="5151"/>
                  </a:cubicBezTo>
                  <a:cubicBezTo>
                    <a:pt x="3912" y="5392"/>
                    <a:pt x="4003" y="5633"/>
                    <a:pt x="3852" y="5633"/>
                  </a:cubicBezTo>
                  <a:cubicBezTo>
                    <a:pt x="3702" y="5633"/>
                    <a:pt x="3732" y="5813"/>
                    <a:pt x="3521" y="5843"/>
                  </a:cubicBezTo>
                  <a:cubicBezTo>
                    <a:pt x="3280" y="5904"/>
                    <a:pt x="2919" y="5813"/>
                    <a:pt x="2919" y="6054"/>
                  </a:cubicBezTo>
                  <a:cubicBezTo>
                    <a:pt x="2919" y="6295"/>
                    <a:pt x="2739" y="6506"/>
                    <a:pt x="2498" y="6536"/>
                  </a:cubicBezTo>
                  <a:cubicBezTo>
                    <a:pt x="2463" y="6539"/>
                    <a:pt x="2426" y="6541"/>
                    <a:pt x="2387" y="6541"/>
                  </a:cubicBezTo>
                  <a:cubicBezTo>
                    <a:pt x="2285" y="6541"/>
                    <a:pt x="2172" y="6531"/>
                    <a:pt x="2071" y="6531"/>
                  </a:cubicBezTo>
                  <a:cubicBezTo>
                    <a:pt x="1907" y="6531"/>
                    <a:pt x="1776" y="6556"/>
                    <a:pt x="1776" y="6686"/>
                  </a:cubicBezTo>
                  <a:cubicBezTo>
                    <a:pt x="1776" y="6779"/>
                    <a:pt x="1711" y="6796"/>
                    <a:pt x="1626" y="6796"/>
                  </a:cubicBezTo>
                  <a:cubicBezTo>
                    <a:pt x="1578" y="6796"/>
                    <a:pt x="1525" y="6791"/>
                    <a:pt x="1472" y="6791"/>
                  </a:cubicBezTo>
                  <a:cubicBezTo>
                    <a:pt x="1406" y="6791"/>
                    <a:pt x="1341" y="6799"/>
                    <a:pt x="1294" y="6837"/>
                  </a:cubicBezTo>
                  <a:cubicBezTo>
                    <a:pt x="843" y="7077"/>
                    <a:pt x="421" y="7348"/>
                    <a:pt x="0" y="7649"/>
                  </a:cubicBezTo>
                  <a:lnTo>
                    <a:pt x="0" y="8763"/>
                  </a:lnTo>
                  <a:lnTo>
                    <a:pt x="151" y="8853"/>
                  </a:lnTo>
                  <a:cubicBezTo>
                    <a:pt x="572" y="9094"/>
                    <a:pt x="7644" y="13788"/>
                    <a:pt x="7885" y="14029"/>
                  </a:cubicBezTo>
                  <a:cubicBezTo>
                    <a:pt x="8066" y="14240"/>
                    <a:pt x="8246" y="14481"/>
                    <a:pt x="8366" y="14721"/>
                  </a:cubicBezTo>
                  <a:cubicBezTo>
                    <a:pt x="8667" y="14751"/>
                    <a:pt x="8968" y="14842"/>
                    <a:pt x="9269" y="14992"/>
                  </a:cubicBezTo>
                  <a:cubicBezTo>
                    <a:pt x="9510" y="15203"/>
                    <a:pt x="9630" y="15504"/>
                    <a:pt x="9630" y="15835"/>
                  </a:cubicBezTo>
                  <a:lnTo>
                    <a:pt x="10443" y="15684"/>
                  </a:lnTo>
                  <a:lnTo>
                    <a:pt x="11647" y="15293"/>
                  </a:lnTo>
                  <a:lnTo>
                    <a:pt x="13091" y="14119"/>
                  </a:lnTo>
                  <a:lnTo>
                    <a:pt x="16492" y="11983"/>
                  </a:lnTo>
                  <a:cubicBezTo>
                    <a:pt x="16402" y="11622"/>
                    <a:pt x="16281" y="11321"/>
                    <a:pt x="16101" y="11321"/>
                  </a:cubicBezTo>
                  <a:cubicBezTo>
                    <a:pt x="15920" y="11321"/>
                    <a:pt x="15740" y="11170"/>
                    <a:pt x="15499" y="11170"/>
                  </a:cubicBezTo>
                  <a:cubicBezTo>
                    <a:pt x="15288" y="11170"/>
                    <a:pt x="14987" y="11050"/>
                    <a:pt x="14927" y="10809"/>
                  </a:cubicBezTo>
                  <a:cubicBezTo>
                    <a:pt x="14897" y="10598"/>
                    <a:pt x="15047" y="10478"/>
                    <a:pt x="14867" y="10207"/>
                  </a:cubicBezTo>
                  <a:cubicBezTo>
                    <a:pt x="14686" y="9966"/>
                    <a:pt x="14536" y="9846"/>
                    <a:pt x="14536" y="9726"/>
                  </a:cubicBezTo>
                  <a:cubicBezTo>
                    <a:pt x="14536" y="9605"/>
                    <a:pt x="14837" y="9364"/>
                    <a:pt x="14867" y="9304"/>
                  </a:cubicBezTo>
                  <a:cubicBezTo>
                    <a:pt x="14897" y="9274"/>
                    <a:pt x="14747" y="9094"/>
                    <a:pt x="14747" y="8973"/>
                  </a:cubicBezTo>
                  <a:cubicBezTo>
                    <a:pt x="14747" y="8853"/>
                    <a:pt x="14626" y="8612"/>
                    <a:pt x="14747" y="8492"/>
                  </a:cubicBezTo>
                  <a:cubicBezTo>
                    <a:pt x="14897" y="8341"/>
                    <a:pt x="14927" y="8101"/>
                    <a:pt x="14777" y="7920"/>
                  </a:cubicBezTo>
                  <a:cubicBezTo>
                    <a:pt x="14686" y="7649"/>
                    <a:pt x="14987" y="7438"/>
                    <a:pt x="14837" y="7107"/>
                  </a:cubicBezTo>
                  <a:cubicBezTo>
                    <a:pt x="14686" y="6867"/>
                    <a:pt x="14566" y="6626"/>
                    <a:pt x="14446" y="6385"/>
                  </a:cubicBezTo>
                  <a:cubicBezTo>
                    <a:pt x="14506" y="6295"/>
                    <a:pt x="14566" y="6265"/>
                    <a:pt x="14656" y="6174"/>
                  </a:cubicBezTo>
                  <a:cubicBezTo>
                    <a:pt x="14596" y="6144"/>
                    <a:pt x="14566" y="6084"/>
                    <a:pt x="14566" y="5994"/>
                  </a:cubicBezTo>
                  <a:cubicBezTo>
                    <a:pt x="14536" y="5512"/>
                    <a:pt x="14416" y="5031"/>
                    <a:pt x="14205" y="4610"/>
                  </a:cubicBezTo>
                  <a:cubicBezTo>
                    <a:pt x="14054" y="4429"/>
                    <a:pt x="13573" y="4278"/>
                    <a:pt x="13573" y="4128"/>
                  </a:cubicBezTo>
                  <a:cubicBezTo>
                    <a:pt x="13603" y="3887"/>
                    <a:pt x="13483" y="3677"/>
                    <a:pt x="13242" y="3586"/>
                  </a:cubicBezTo>
                  <a:cubicBezTo>
                    <a:pt x="12941" y="3466"/>
                    <a:pt x="12760" y="2774"/>
                    <a:pt x="12941" y="2774"/>
                  </a:cubicBezTo>
                  <a:cubicBezTo>
                    <a:pt x="13152" y="2774"/>
                    <a:pt x="13242" y="2352"/>
                    <a:pt x="13452" y="2232"/>
                  </a:cubicBezTo>
                  <a:cubicBezTo>
                    <a:pt x="13693" y="2051"/>
                    <a:pt x="13814" y="1720"/>
                    <a:pt x="13693" y="1420"/>
                  </a:cubicBezTo>
                  <a:cubicBezTo>
                    <a:pt x="13543" y="1209"/>
                    <a:pt x="13633" y="637"/>
                    <a:pt x="13693" y="156"/>
                  </a:cubicBezTo>
                  <a:cubicBezTo>
                    <a:pt x="13452" y="156"/>
                    <a:pt x="13182" y="125"/>
                    <a:pt x="12941" y="5"/>
                  </a:cubicBezTo>
                  <a:cubicBezTo>
                    <a:pt x="12924" y="2"/>
                    <a:pt x="12904" y="0"/>
                    <a:pt x="12882"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81" name="Google Shape;2875;p123">
              <a:extLst>
                <a:ext uri="{FF2B5EF4-FFF2-40B4-BE49-F238E27FC236}">
                  <a16:creationId xmlns:a16="http://schemas.microsoft.com/office/drawing/2014/main" id="{8B987CAF-32AA-AF47-AB60-285508B2DEB3}"/>
                </a:ext>
              </a:extLst>
            </p:cNvPr>
            <p:cNvSpPr/>
            <p:nvPr/>
          </p:nvSpPr>
          <p:spPr>
            <a:xfrm>
              <a:off x="4497391" y="2426334"/>
              <a:ext cx="373572" cy="357656"/>
            </a:xfrm>
            <a:custGeom>
              <a:avLst/>
              <a:gdLst/>
              <a:ahLst/>
              <a:cxnLst/>
              <a:rect l="l" t="t" r="r" b="b"/>
              <a:pathLst>
                <a:path w="12041" h="11528" extrusionOk="0">
                  <a:moveTo>
                    <a:pt x="1716" y="1"/>
                  </a:moveTo>
                  <a:cubicBezTo>
                    <a:pt x="1686" y="151"/>
                    <a:pt x="1686" y="272"/>
                    <a:pt x="1716" y="422"/>
                  </a:cubicBezTo>
                  <a:cubicBezTo>
                    <a:pt x="1716" y="583"/>
                    <a:pt x="1596" y="596"/>
                    <a:pt x="1489" y="596"/>
                  </a:cubicBezTo>
                  <a:cubicBezTo>
                    <a:pt x="1467" y="596"/>
                    <a:pt x="1446" y="595"/>
                    <a:pt x="1427" y="595"/>
                  </a:cubicBezTo>
                  <a:cubicBezTo>
                    <a:pt x="1398" y="595"/>
                    <a:pt x="1373" y="597"/>
                    <a:pt x="1355" y="603"/>
                  </a:cubicBezTo>
                  <a:cubicBezTo>
                    <a:pt x="1144" y="783"/>
                    <a:pt x="903" y="994"/>
                    <a:pt x="723" y="1205"/>
                  </a:cubicBezTo>
                  <a:cubicBezTo>
                    <a:pt x="633" y="1295"/>
                    <a:pt x="602" y="1445"/>
                    <a:pt x="663" y="1566"/>
                  </a:cubicBezTo>
                  <a:cubicBezTo>
                    <a:pt x="723" y="1626"/>
                    <a:pt x="663" y="1957"/>
                    <a:pt x="542" y="2198"/>
                  </a:cubicBezTo>
                  <a:cubicBezTo>
                    <a:pt x="422" y="2408"/>
                    <a:pt x="61" y="2529"/>
                    <a:pt x="1" y="2649"/>
                  </a:cubicBezTo>
                  <a:cubicBezTo>
                    <a:pt x="121" y="2890"/>
                    <a:pt x="241" y="3131"/>
                    <a:pt x="392" y="3371"/>
                  </a:cubicBezTo>
                  <a:cubicBezTo>
                    <a:pt x="542" y="3702"/>
                    <a:pt x="241" y="3913"/>
                    <a:pt x="362" y="4184"/>
                  </a:cubicBezTo>
                  <a:cubicBezTo>
                    <a:pt x="482" y="4365"/>
                    <a:pt x="452" y="4605"/>
                    <a:pt x="302" y="4756"/>
                  </a:cubicBezTo>
                  <a:cubicBezTo>
                    <a:pt x="211" y="4876"/>
                    <a:pt x="302" y="5087"/>
                    <a:pt x="302" y="5237"/>
                  </a:cubicBezTo>
                  <a:cubicBezTo>
                    <a:pt x="302" y="5388"/>
                    <a:pt x="452" y="5538"/>
                    <a:pt x="422" y="5568"/>
                  </a:cubicBezTo>
                  <a:cubicBezTo>
                    <a:pt x="392" y="5628"/>
                    <a:pt x="91" y="5869"/>
                    <a:pt x="91" y="5990"/>
                  </a:cubicBezTo>
                  <a:cubicBezTo>
                    <a:pt x="91" y="6110"/>
                    <a:pt x="241" y="6200"/>
                    <a:pt x="422" y="6471"/>
                  </a:cubicBezTo>
                  <a:cubicBezTo>
                    <a:pt x="602" y="6742"/>
                    <a:pt x="512" y="6892"/>
                    <a:pt x="512" y="7073"/>
                  </a:cubicBezTo>
                  <a:cubicBezTo>
                    <a:pt x="512" y="7284"/>
                    <a:pt x="843" y="7434"/>
                    <a:pt x="1054" y="7434"/>
                  </a:cubicBezTo>
                  <a:cubicBezTo>
                    <a:pt x="1295" y="7434"/>
                    <a:pt x="1445" y="7585"/>
                    <a:pt x="1656" y="7585"/>
                  </a:cubicBezTo>
                  <a:cubicBezTo>
                    <a:pt x="1897" y="7585"/>
                    <a:pt x="1957" y="7886"/>
                    <a:pt x="2047" y="8247"/>
                  </a:cubicBezTo>
                  <a:cubicBezTo>
                    <a:pt x="2438" y="8247"/>
                    <a:pt x="2830" y="8337"/>
                    <a:pt x="3221" y="8487"/>
                  </a:cubicBezTo>
                  <a:cubicBezTo>
                    <a:pt x="3401" y="8608"/>
                    <a:pt x="3582" y="8788"/>
                    <a:pt x="3732" y="8999"/>
                  </a:cubicBezTo>
                  <a:lnTo>
                    <a:pt x="5057" y="8247"/>
                  </a:lnTo>
                  <a:lnTo>
                    <a:pt x="11106" y="11527"/>
                  </a:lnTo>
                  <a:lnTo>
                    <a:pt x="11106" y="11106"/>
                  </a:lnTo>
                  <a:lnTo>
                    <a:pt x="11828" y="11106"/>
                  </a:lnTo>
                  <a:lnTo>
                    <a:pt x="11828" y="3311"/>
                  </a:lnTo>
                  <a:cubicBezTo>
                    <a:pt x="11828" y="2800"/>
                    <a:pt x="11587" y="2438"/>
                    <a:pt x="11828" y="2168"/>
                  </a:cubicBezTo>
                  <a:cubicBezTo>
                    <a:pt x="12039" y="1867"/>
                    <a:pt x="11738" y="1716"/>
                    <a:pt x="11948" y="1174"/>
                  </a:cubicBezTo>
                  <a:cubicBezTo>
                    <a:pt x="12022" y="966"/>
                    <a:pt x="12041" y="907"/>
                    <a:pt x="12039" y="907"/>
                  </a:cubicBezTo>
                  <a:lnTo>
                    <a:pt x="12039" y="907"/>
                  </a:lnTo>
                  <a:cubicBezTo>
                    <a:pt x="12037" y="907"/>
                    <a:pt x="12012" y="973"/>
                    <a:pt x="12006" y="994"/>
                  </a:cubicBezTo>
                  <a:lnTo>
                    <a:pt x="11978" y="994"/>
                  </a:lnTo>
                  <a:cubicBezTo>
                    <a:pt x="11918" y="843"/>
                    <a:pt x="11587" y="813"/>
                    <a:pt x="10925" y="723"/>
                  </a:cubicBezTo>
                  <a:cubicBezTo>
                    <a:pt x="10233" y="663"/>
                    <a:pt x="10474" y="121"/>
                    <a:pt x="9721" y="91"/>
                  </a:cubicBezTo>
                  <a:cubicBezTo>
                    <a:pt x="9703" y="90"/>
                    <a:pt x="9685" y="90"/>
                    <a:pt x="9666" y="90"/>
                  </a:cubicBezTo>
                  <a:cubicBezTo>
                    <a:pt x="8920" y="90"/>
                    <a:pt x="7946" y="671"/>
                    <a:pt x="7946" y="994"/>
                  </a:cubicBezTo>
                  <a:cubicBezTo>
                    <a:pt x="7946" y="1325"/>
                    <a:pt x="8277" y="1656"/>
                    <a:pt x="8066" y="2017"/>
                  </a:cubicBezTo>
                  <a:cubicBezTo>
                    <a:pt x="7893" y="2190"/>
                    <a:pt x="7654" y="2281"/>
                    <a:pt x="7418" y="2281"/>
                  </a:cubicBezTo>
                  <a:cubicBezTo>
                    <a:pt x="7203" y="2281"/>
                    <a:pt x="6990" y="2205"/>
                    <a:pt x="6832" y="2047"/>
                  </a:cubicBezTo>
                  <a:cubicBezTo>
                    <a:pt x="6411" y="1686"/>
                    <a:pt x="5899" y="1506"/>
                    <a:pt x="5357" y="1506"/>
                  </a:cubicBezTo>
                  <a:cubicBezTo>
                    <a:pt x="4906" y="1506"/>
                    <a:pt x="4515" y="1205"/>
                    <a:pt x="4575" y="964"/>
                  </a:cubicBezTo>
                  <a:cubicBezTo>
                    <a:pt x="4605" y="693"/>
                    <a:pt x="4455" y="573"/>
                    <a:pt x="4063" y="512"/>
                  </a:cubicBezTo>
                  <a:cubicBezTo>
                    <a:pt x="3757" y="436"/>
                    <a:pt x="3428" y="185"/>
                    <a:pt x="2912" y="185"/>
                  </a:cubicBezTo>
                  <a:cubicBezTo>
                    <a:pt x="2821" y="185"/>
                    <a:pt x="2723" y="193"/>
                    <a:pt x="2619" y="211"/>
                  </a:cubicBezTo>
                  <a:cubicBezTo>
                    <a:pt x="2565" y="216"/>
                    <a:pt x="2511" y="219"/>
                    <a:pt x="2458" y="219"/>
                  </a:cubicBezTo>
                  <a:cubicBezTo>
                    <a:pt x="2183" y="219"/>
                    <a:pt x="1918" y="152"/>
                    <a:pt x="1716"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82" name="Google Shape;2876;p123">
              <a:extLst>
                <a:ext uri="{FF2B5EF4-FFF2-40B4-BE49-F238E27FC236}">
                  <a16:creationId xmlns:a16="http://schemas.microsoft.com/office/drawing/2014/main" id="{5867644F-78A1-0F40-AF9C-6765619E1482}"/>
                </a:ext>
              </a:extLst>
            </p:cNvPr>
            <p:cNvSpPr/>
            <p:nvPr/>
          </p:nvSpPr>
          <p:spPr>
            <a:xfrm>
              <a:off x="3853157" y="2929280"/>
              <a:ext cx="71916" cy="21811"/>
            </a:xfrm>
            <a:custGeom>
              <a:avLst/>
              <a:gdLst/>
              <a:ahLst/>
              <a:cxnLst/>
              <a:rect l="l" t="t" r="r" b="b"/>
              <a:pathLst>
                <a:path w="2318" h="703" extrusionOk="0">
                  <a:moveTo>
                    <a:pt x="1251" y="0"/>
                  </a:moveTo>
                  <a:cubicBezTo>
                    <a:pt x="1211" y="0"/>
                    <a:pt x="1166" y="12"/>
                    <a:pt x="1114" y="41"/>
                  </a:cubicBezTo>
                  <a:cubicBezTo>
                    <a:pt x="868" y="153"/>
                    <a:pt x="606" y="214"/>
                    <a:pt x="352" y="214"/>
                  </a:cubicBezTo>
                  <a:cubicBezTo>
                    <a:pt x="264" y="214"/>
                    <a:pt x="176" y="207"/>
                    <a:pt x="90" y="191"/>
                  </a:cubicBezTo>
                  <a:cubicBezTo>
                    <a:pt x="90" y="312"/>
                    <a:pt x="0" y="492"/>
                    <a:pt x="0" y="703"/>
                  </a:cubicBezTo>
                  <a:lnTo>
                    <a:pt x="241" y="613"/>
                  </a:lnTo>
                  <a:cubicBezTo>
                    <a:pt x="542" y="613"/>
                    <a:pt x="873" y="553"/>
                    <a:pt x="1144" y="402"/>
                  </a:cubicBezTo>
                  <a:cubicBezTo>
                    <a:pt x="1174" y="372"/>
                    <a:pt x="1209" y="360"/>
                    <a:pt x="1247" y="360"/>
                  </a:cubicBezTo>
                  <a:cubicBezTo>
                    <a:pt x="1401" y="360"/>
                    <a:pt x="1613" y="553"/>
                    <a:pt x="1806" y="553"/>
                  </a:cubicBezTo>
                  <a:cubicBezTo>
                    <a:pt x="1986" y="553"/>
                    <a:pt x="2167" y="522"/>
                    <a:pt x="2317" y="432"/>
                  </a:cubicBezTo>
                  <a:lnTo>
                    <a:pt x="1866" y="342"/>
                  </a:lnTo>
                  <a:cubicBezTo>
                    <a:pt x="1537" y="342"/>
                    <a:pt x="1463" y="0"/>
                    <a:pt x="1251"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83" name="Google Shape;2877;p123">
              <a:extLst>
                <a:ext uri="{FF2B5EF4-FFF2-40B4-BE49-F238E27FC236}">
                  <a16:creationId xmlns:a16="http://schemas.microsoft.com/office/drawing/2014/main" id="{5A3D2A20-381D-5045-9336-F0A532D0D0A5}"/>
                </a:ext>
              </a:extLst>
            </p:cNvPr>
            <p:cNvSpPr/>
            <p:nvPr/>
          </p:nvSpPr>
          <p:spPr>
            <a:xfrm>
              <a:off x="3838203" y="2861087"/>
              <a:ext cx="144763" cy="108091"/>
            </a:xfrm>
            <a:custGeom>
              <a:avLst/>
              <a:gdLst/>
              <a:ahLst/>
              <a:cxnLst/>
              <a:rect l="l" t="t" r="r" b="b"/>
              <a:pathLst>
                <a:path w="4666" h="3484" extrusionOk="0">
                  <a:moveTo>
                    <a:pt x="2070" y="1"/>
                  </a:moveTo>
                  <a:cubicBezTo>
                    <a:pt x="1863" y="1"/>
                    <a:pt x="1626" y="102"/>
                    <a:pt x="1626" y="102"/>
                  </a:cubicBezTo>
                  <a:lnTo>
                    <a:pt x="904" y="102"/>
                  </a:lnTo>
                  <a:cubicBezTo>
                    <a:pt x="884" y="98"/>
                    <a:pt x="866" y="96"/>
                    <a:pt x="850" y="96"/>
                  </a:cubicBezTo>
                  <a:cubicBezTo>
                    <a:pt x="636" y="96"/>
                    <a:pt x="648" y="435"/>
                    <a:pt x="452" y="463"/>
                  </a:cubicBezTo>
                  <a:lnTo>
                    <a:pt x="422" y="463"/>
                  </a:lnTo>
                  <a:cubicBezTo>
                    <a:pt x="422" y="704"/>
                    <a:pt x="362" y="945"/>
                    <a:pt x="241" y="1125"/>
                  </a:cubicBezTo>
                  <a:cubicBezTo>
                    <a:pt x="1" y="1487"/>
                    <a:pt x="332" y="2058"/>
                    <a:pt x="542" y="2239"/>
                  </a:cubicBezTo>
                  <a:cubicBezTo>
                    <a:pt x="723" y="2419"/>
                    <a:pt x="603" y="2329"/>
                    <a:pt x="572" y="2389"/>
                  </a:cubicBezTo>
                  <a:cubicBezTo>
                    <a:pt x="658" y="2405"/>
                    <a:pt x="746" y="2412"/>
                    <a:pt x="834" y="2412"/>
                  </a:cubicBezTo>
                  <a:cubicBezTo>
                    <a:pt x="1088" y="2412"/>
                    <a:pt x="1350" y="2351"/>
                    <a:pt x="1596" y="2239"/>
                  </a:cubicBezTo>
                  <a:cubicBezTo>
                    <a:pt x="1648" y="2210"/>
                    <a:pt x="1693" y="2198"/>
                    <a:pt x="1733" y="2198"/>
                  </a:cubicBezTo>
                  <a:cubicBezTo>
                    <a:pt x="1945" y="2198"/>
                    <a:pt x="2019" y="2540"/>
                    <a:pt x="2348" y="2540"/>
                  </a:cubicBezTo>
                  <a:lnTo>
                    <a:pt x="2799" y="2630"/>
                  </a:lnTo>
                  <a:cubicBezTo>
                    <a:pt x="2687" y="2698"/>
                    <a:pt x="2557" y="2732"/>
                    <a:pt x="2423" y="2732"/>
                  </a:cubicBezTo>
                  <a:cubicBezTo>
                    <a:pt x="2378" y="2732"/>
                    <a:pt x="2333" y="2728"/>
                    <a:pt x="2288" y="2720"/>
                  </a:cubicBezTo>
                  <a:cubicBezTo>
                    <a:pt x="2095" y="2720"/>
                    <a:pt x="1883" y="2528"/>
                    <a:pt x="1729" y="2528"/>
                  </a:cubicBezTo>
                  <a:cubicBezTo>
                    <a:pt x="1691" y="2528"/>
                    <a:pt x="1656" y="2540"/>
                    <a:pt x="1626" y="2570"/>
                  </a:cubicBezTo>
                  <a:cubicBezTo>
                    <a:pt x="1355" y="2751"/>
                    <a:pt x="1024" y="2811"/>
                    <a:pt x="723" y="2811"/>
                  </a:cubicBezTo>
                  <a:lnTo>
                    <a:pt x="482" y="2871"/>
                  </a:lnTo>
                  <a:cubicBezTo>
                    <a:pt x="452" y="3021"/>
                    <a:pt x="482" y="3142"/>
                    <a:pt x="572" y="3262"/>
                  </a:cubicBezTo>
                  <a:lnTo>
                    <a:pt x="633" y="3322"/>
                  </a:lnTo>
                  <a:cubicBezTo>
                    <a:pt x="707" y="3306"/>
                    <a:pt x="765" y="3300"/>
                    <a:pt x="809" y="3300"/>
                  </a:cubicBezTo>
                  <a:cubicBezTo>
                    <a:pt x="1019" y="3300"/>
                    <a:pt x="955" y="3443"/>
                    <a:pt x="1054" y="3443"/>
                  </a:cubicBezTo>
                  <a:cubicBezTo>
                    <a:pt x="1204" y="3413"/>
                    <a:pt x="1355" y="3352"/>
                    <a:pt x="1505" y="3262"/>
                  </a:cubicBezTo>
                  <a:lnTo>
                    <a:pt x="2619" y="3202"/>
                  </a:lnTo>
                  <a:lnTo>
                    <a:pt x="2860" y="3202"/>
                  </a:lnTo>
                  <a:lnTo>
                    <a:pt x="2860" y="3112"/>
                  </a:lnTo>
                  <a:cubicBezTo>
                    <a:pt x="2860" y="3112"/>
                    <a:pt x="3401" y="3232"/>
                    <a:pt x="3431" y="3352"/>
                  </a:cubicBezTo>
                  <a:cubicBezTo>
                    <a:pt x="3451" y="3412"/>
                    <a:pt x="3770" y="3484"/>
                    <a:pt x="4105" y="3484"/>
                  </a:cubicBezTo>
                  <a:cubicBezTo>
                    <a:pt x="4281" y="3484"/>
                    <a:pt x="4461" y="3464"/>
                    <a:pt x="4605" y="3413"/>
                  </a:cubicBezTo>
                  <a:lnTo>
                    <a:pt x="4665" y="3413"/>
                  </a:lnTo>
                  <a:lnTo>
                    <a:pt x="4665" y="2931"/>
                  </a:lnTo>
                  <a:cubicBezTo>
                    <a:pt x="4545" y="2751"/>
                    <a:pt x="4395" y="2570"/>
                    <a:pt x="4244" y="2389"/>
                  </a:cubicBezTo>
                  <a:cubicBezTo>
                    <a:pt x="4094" y="2299"/>
                    <a:pt x="4094" y="1908"/>
                    <a:pt x="4094" y="1908"/>
                  </a:cubicBezTo>
                  <a:lnTo>
                    <a:pt x="4003" y="1727"/>
                  </a:lnTo>
                  <a:cubicBezTo>
                    <a:pt x="4003" y="1727"/>
                    <a:pt x="3883" y="1276"/>
                    <a:pt x="3552" y="1155"/>
                  </a:cubicBezTo>
                  <a:cubicBezTo>
                    <a:pt x="3191" y="1035"/>
                    <a:pt x="2980" y="433"/>
                    <a:pt x="2980" y="433"/>
                  </a:cubicBezTo>
                  <a:lnTo>
                    <a:pt x="2709" y="433"/>
                  </a:lnTo>
                  <a:cubicBezTo>
                    <a:pt x="2589" y="283"/>
                    <a:pt x="2438" y="132"/>
                    <a:pt x="2258" y="42"/>
                  </a:cubicBezTo>
                  <a:cubicBezTo>
                    <a:pt x="2205" y="12"/>
                    <a:pt x="2139" y="1"/>
                    <a:pt x="2070"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84" name="Google Shape;2878;p123">
              <a:extLst>
                <a:ext uri="{FF2B5EF4-FFF2-40B4-BE49-F238E27FC236}">
                  <a16:creationId xmlns:a16="http://schemas.microsoft.com/office/drawing/2014/main" id="{C9A1DECA-A06F-B740-849B-F0AB35BCC0D4}"/>
                </a:ext>
              </a:extLst>
            </p:cNvPr>
            <p:cNvSpPr/>
            <p:nvPr/>
          </p:nvSpPr>
          <p:spPr>
            <a:xfrm>
              <a:off x="3857811" y="2961360"/>
              <a:ext cx="70054" cy="40177"/>
            </a:xfrm>
            <a:custGeom>
              <a:avLst/>
              <a:gdLst/>
              <a:ahLst/>
              <a:cxnLst/>
              <a:rect l="l" t="t" r="r" b="b"/>
              <a:pathLst>
                <a:path w="2258" h="1295" extrusionOk="0">
                  <a:moveTo>
                    <a:pt x="1987" y="0"/>
                  </a:moveTo>
                  <a:lnTo>
                    <a:pt x="873" y="60"/>
                  </a:lnTo>
                  <a:cubicBezTo>
                    <a:pt x="723" y="150"/>
                    <a:pt x="572" y="211"/>
                    <a:pt x="422" y="241"/>
                  </a:cubicBezTo>
                  <a:cubicBezTo>
                    <a:pt x="328" y="241"/>
                    <a:pt x="380" y="113"/>
                    <a:pt x="210" y="113"/>
                  </a:cubicBezTo>
                  <a:cubicBezTo>
                    <a:pt x="161" y="113"/>
                    <a:pt x="94" y="124"/>
                    <a:pt x="1" y="150"/>
                  </a:cubicBezTo>
                  <a:cubicBezTo>
                    <a:pt x="241" y="391"/>
                    <a:pt x="241" y="512"/>
                    <a:pt x="633" y="632"/>
                  </a:cubicBezTo>
                  <a:cubicBezTo>
                    <a:pt x="1054" y="752"/>
                    <a:pt x="603" y="993"/>
                    <a:pt x="994" y="1234"/>
                  </a:cubicBezTo>
                  <a:lnTo>
                    <a:pt x="1084" y="1294"/>
                  </a:lnTo>
                  <a:lnTo>
                    <a:pt x="1174" y="1174"/>
                  </a:lnTo>
                  <a:cubicBezTo>
                    <a:pt x="1346" y="1059"/>
                    <a:pt x="1655" y="780"/>
                    <a:pt x="1788" y="780"/>
                  </a:cubicBezTo>
                  <a:cubicBezTo>
                    <a:pt x="1795" y="780"/>
                    <a:pt x="1801" y="781"/>
                    <a:pt x="1806" y="782"/>
                  </a:cubicBezTo>
                  <a:cubicBezTo>
                    <a:pt x="1828" y="788"/>
                    <a:pt x="1851" y="790"/>
                    <a:pt x="1875" y="790"/>
                  </a:cubicBezTo>
                  <a:cubicBezTo>
                    <a:pt x="1985" y="790"/>
                    <a:pt x="2107" y="736"/>
                    <a:pt x="2107" y="662"/>
                  </a:cubicBezTo>
                  <a:cubicBezTo>
                    <a:pt x="2107" y="602"/>
                    <a:pt x="1867" y="361"/>
                    <a:pt x="2047" y="301"/>
                  </a:cubicBezTo>
                  <a:cubicBezTo>
                    <a:pt x="2167" y="271"/>
                    <a:pt x="2258" y="120"/>
                    <a:pt x="2228"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85" name="Google Shape;2879;p123">
              <a:extLst>
                <a:ext uri="{FF2B5EF4-FFF2-40B4-BE49-F238E27FC236}">
                  <a16:creationId xmlns:a16="http://schemas.microsoft.com/office/drawing/2014/main" id="{1C691118-44D5-8145-852D-56BCDD1BE06B}"/>
                </a:ext>
              </a:extLst>
            </p:cNvPr>
            <p:cNvSpPr/>
            <p:nvPr/>
          </p:nvSpPr>
          <p:spPr>
            <a:xfrm>
              <a:off x="4620653" y="2998528"/>
              <a:ext cx="299733" cy="210287"/>
            </a:xfrm>
            <a:custGeom>
              <a:avLst/>
              <a:gdLst/>
              <a:ahLst/>
              <a:cxnLst/>
              <a:rect l="l" t="t" r="r" b="b"/>
              <a:pathLst>
                <a:path w="9661" h="6778" extrusionOk="0">
                  <a:moveTo>
                    <a:pt x="5966" y="0"/>
                  </a:moveTo>
                  <a:cubicBezTo>
                    <a:pt x="5799" y="0"/>
                    <a:pt x="5567" y="157"/>
                    <a:pt x="5447" y="277"/>
                  </a:cubicBezTo>
                  <a:cubicBezTo>
                    <a:pt x="5297" y="427"/>
                    <a:pt x="5357" y="517"/>
                    <a:pt x="5267" y="638"/>
                  </a:cubicBezTo>
                  <a:cubicBezTo>
                    <a:pt x="4996" y="909"/>
                    <a:pt x="4725" y="1180"/>
                    <a:pt x="4514" y="1480"/>
                  </a:cubicBezTo>
                  <a:cubicBezTo>
                    <a:pt x="4379" y="1631"/>
                    <a:pt x="4138" y="1653"/>
                    <a:pt x="3909" y="1653"/>
                  </a:cubicBezTo>
                  <a:cubicBezTo>
                    <a:pt x="3810" y="1653"/>
                    <a:pt x="3714" y="1649"/>
                    <a:pt x="3629" y="1649"/>
                  </a:cubicBezTo>
                  <a:cubicBezTo>
                    <a:pt x="3516" y="1649"/>
                    <a:pt x="3422" y="1657"/>
                    <a:pt x="3371" y="1691"/>
                  </a:cubicBezTo>
                  <a:cubicBezTo>
                    <a:pt x="3190" y="1811"/>
                    <a:pt x="3461" y="1992"/>
                    <a:pt x="3341" y="2112"/>
                  </a:cubicBezTo>
                  <a:lnTo>
                    <a:pt x="2618" y="2474"/>
                  </a:lnTo>
                  <a:cubicBezTo>
                    <a:pt x="2468" y="2564"/>
                    <a:pt x="1896" y="2504"/>
                    <a:pt x="1746" y="2744"/>
                  </a:cubicBezTo>
                  <a:cubicBezTo>
                    <a:pt x="1716" y="2787"/>
                    <a:pt x="1684" y="2802"/>
                    <a:pt x="1652" y="2802"/>
                  </a:cubicBezTo>
                  <a:cubicBezTo>
                    <a:pt x="1559" y="2802"/>
                    <a:pt x="1458" y="2672"/>
                    <a:pt x="1354" y="2672"/>
                  </a:cubicBezTo>
                  <a:cubicBezTo>
                    <a:pt x="1314" y="2672"/>
                    <a:pt x="1274" y="2691"/>
                    <a:pt x="1234" y="2744"/>
                  </a:cubicBezTo>
                  <a:cubicBezTo>
                    <a:pt x="1108" y="2892"/>
                    <a:pt x="996" y="2966"/>
                    <a:pt x="899" y="2966"/>
                  </a:cubicBezTo>
                  <a:cubicBezTo>
                    <a:pt x="858" y="2966"/>
                    <a:pt x="819" y="2952"/>
                    <a:pt x="783" y="2925"/>
                  </a:cubicBezTo>
                  <a:lnTo>
                    <a:pt x="783" y="2865"/>
                  </a:lnTo>
                  <a:cubicBezTo>
                    <a:pt x="602" y="2985"/>
                    <a:pt x="452" y="3136"/>
                    <a:pt x="361" y="3346"/>
                  </a:cubicBezTo>
                  <a:cubicBezTo>
                    <a:pt x="241" y="3647"/>
                    <a:pt x="0" y="3948"/>
                    <a:pt x="0" y="4129"/>
                  </a:cubicBezTo>
                  <a:cubicBezTo>
                    <a:pt x="0" y="4309"/>
                    <a:pt x="60" y="4490"/>
                    <a:pt x="60" y="4761"/>
                  </a:cubicBezTo>
                  <a:cubicBezTo>
                    <a:pt x="60" y="5002"/>
                    <a:pt x="151" y="5242"/>
                    <a:pt x="331" y="5423"/>
                  </a:cubicBezTo>
                  <a:cubicBezTo>
                    <a:pt x="421" y="5543"/>
                    <a:pt x="452" y="5694"/>
                    <a:pt x="452" y="5874"/>
                  </a:cubicBezTo>
                  <a:cubicBezTo>
                    <a:pt x="482" y="5965"/>
                    <a:pt x="512" y="6055"/>
                    <a:pt x="602" y="6115"/>
                  </a:cubicBezTo>
                  <a:cubicBezTo>
                    <a:pt x="752" y="6266"/>
                    <a:pt x="1084" y="6536"/>
                    <a:pt x="1114" y="6657"/>
                  </a:cubicBezTo>
                  <a:cubicBezTo>
                    <a:pt x="1144" y="6717"/>
                    <a:pt x="1204" y="6777"/>
                    <a:pt x="1264" y="6777"/>
                  </a:cubicBezTo>
                  <a:lnTo>
                    <a:pt x="1264" y="6687"/>
                  </a:lnTo>
                  <a:cubicBezTo>
                    <a:pt x="1384" y="6536"/>
                    <a:pt x="1445" y="6326"/>
                    <a:pt x="1415" y="6115"/>
                  </a:cubicBezTo>
                  <a:lnTo>
                    <a:pt x="1866" y="6025"/>
                  </a:lnTo>
                  <a:lnTo>
                    <a:pt x="2197" y="5934"/>
                  </a:lnTo>
                  <a:lnTo>
                    <a:pt x="2889" y="6025"/>
                  </a:lnTo>
                  <a:lnTo>
                    <a:pt x="2889" y="5483"/>
                  </a:lnTo>
                  <a:cubicBezTo>
                    <a:pt x="2889" y="5483"/>
                    <a:pt x="3371" y="4851"/>
                    <a:pt x="3702" y="4851"/>
                  </a:cubicBezTo>
                  <a:cubicBezTo>
                    <a:pt x="4033" y="4851"/>
                    <a:pt x="4334" y="5302"/>
                    <a:pt x="4334" y="5302"/>
                  </a:cubicBezTo>
                  <a:lnTo>
                    <a:pt x="5839" y="5603"/>
                  </a:lnTo>
                  <a:cubicBezTo>
                    <a:pt x="5899" y="5393"/>
                    <a:pt x="5989" y="5212"/>
                    <a:pt x="6079" y="5032"/>
                  </a:cubicBezTo>
                  <a:cubicBezTo>
                    <a:pt x="6102" y="5023"/>
                    <a:pt x="6128" y="5019"/>
                    <a:pt x="6156" y="5019"/>
                  </a:cubicBezTo>
                  <a:cubicBezTo>
                    <a:pt x="6268" y="5019"/>
                    <a:pt x="6417" y="5074"/>
                    <a:pt x="6550" y="5074"/>
                  </a:cubicBezTo>
                  <a:cubicBezTo>
                    <a:pt x="6609" y="5074"/>
                    <a:pt x="6664" y="5063"/>
                    <a:pt x="6711" y="5032"/>
                  </a:cubicBezTo>
                  <a:cubicBezTo>
                    <a:pt x="6982" y="4911"/>
                    <a:pt x="7253" y="4851"/>
                    <a:pt x="7554" y="4821"/>
                  </a:cubicBezTo>
                  <a:cubicBezTo>
                    <a:pt x="7734" y="4821"/>
                    <a:pt x="7861" y="4875"/>
                    <a:pt x="7964" y="4875"/>
                  </a:cubicBezTo>
                  <a:cubicBezTo>
                    <a:pt x="8049" y="4875"/>
                    <a:pt x="8117" y="4837"/>
                    <a:pt x="8186" y="4701"/>
                  </a:cubicBezTo>
                  <a:cubicBezTo>
                    <a:pt x="8225" y="4621"/>
                    <a:pt x="8307" y="4592"/>
                    <a:pt x="8405" y="4592"/>
                  </a:cubicBezTo>
                  <a:cubicBezTo>
                    <a:pt x="8680" y="4592"/>
                    <a:pt x="9089" y="4821"/>
                    <a:pt x="9089" y="4821"/>
                  </a:cubicBezTo>
                  <a:lnTo>
                    <a:pt x="9661" y="4701"/>
                  </a:lnTo>
                  <a:lnTo>
                    <a:pt x="9450" y="4219"/>
                  </a:lnTo>
                  <a:cubicBezTo>
                    <a:pt x="9450" y="4219"/>
                    <a:pt x="8938" y="3978"/>
                    <a:pt x="8938" y="3828"/>
                  </a:cubicBezTo>
                  <a:cubicBezTo>
                    <a:pt x="8938" y="3677"/>
                    <a:pt x="8938" y="3527"/>
                    <a:pt x="8637" y="3316"/>
                  </a:cubicBezTo>
                  <a:cubicBezTo>
                    <a:pt x="8336" y="3075"/>
                    <a:pt x="8156" y="3015"/>
                    <a:pt x="8156" y="2865"/>
                  </a:cubicBezTo>
                  <a:cubicBezTo>
                    <a:pt x="8156" y="2714"/>
                    <a:pt x="8035" y="2684"/>
                    <a:pt x="7825" y="2383"/>
                  </a:cubicBezTo>
                  <a:cubicBezTo>
                    <a:pt x="7644" y="2203"/>
                    <a:pt x="7403" y="2082"/>
                    <a:pt x="7163" y="2052"/>
                  </a:cubicBezTo>
                  <a:lnTo>
                    <a:pt x="7072" y="1842"/>
                  </a:lnTo>
                  <a:lnTo>
                    <a:pt x="6711" y="1781"/>
                  </a:lnTo>
                  <a:cubicBezTo>
                    <a:pt x="6711" y="1781"/>
                    <a:pt x="6531" y="1631"/>
                    <a:pt x="6832" y="1511"/>
                  </a:cubicBezTo>
                  <a:cubicBezTo>
                    <a:pt x="7133" y="1390"/>
                    <a:pt x="6832" y="939"/>
                    <a:pt x="6802" y="788"/>
                  </a:cubicBezTo>
                  <a:lnTo>
                    <a:pt x="6230" y="36"/>
                  </a:lnTo>
                  <a:lnTo>
                    <a:pt x="6079" y="36"/>
                  </a:lnTo>
                  <a:cubicBezTo>
                    <a:pt x="6048" y="11"/>
                    <a:pt x="6009" y="0"/>
                    <a:pt x="5966"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86" name="Google Shape;2880;p123">
              <a:extLst>
                <a:ext uri="{FF2B5EF4-FFF2-40B4-BE49-F238E27FC236}">
                  <a16:creationId xmlns:a16="http://schemas.microsoft.com/office/drawing/2014/main" id="{B353909A-305D-9F46-A9DB-1813BEA8E418}"/>
                </a:ext>
              </a:extLst>
            </p:cNvPr>
            <p:cNvSpPr/>
            <p:nvPr/>
          </p:nvSpPr>
          <p:spPr>
            <a:xfrm>
              <a:off x="4333052" y="2931172"/>
              <a:ext cx="290425" cy="236504"/>
            </a:xfrm>
            <a:custGeom>
              <a:avLst/>
              <a:gdLst/>
              <a:ahLst/>
              <a:cxnLst/>
              <a:rect l="l" t="t" r="r" b="b"/>
              <a:pathLst>
                <a:path w="9361" h="7623" extrusionOk="0">
                  <a:moveTo>
                    <a:pt x="2343" y="1"/>
                  </a:moveTo>
                  <a:cubicBezTo>
                    <a:pt x="2219" y="1"/>
                    <a:pt x="2121" y="193"/>
                    <a:pt x="2007" y="193"/>
                  </a:cubicBezTo>
                  <a:cubicBezTo>
                    <a:pt x="2000" y="193"/>
                    <a:pt x="1994" y="192"/>
                    <a:pt x="1987" y="191"/>
                  </a:cubicBezTo>
                  <a:cubicBezTo>
                    <a:pt x="1900" y="156"/>
                    <a:pt x="1713" y="121"/>
                    <a:pt x="1541" y="121"/>
                  </a:cubicBezTo>
                  <a:cubicBezTo>
                    <a:pt x="1416" y="121"/>
                    <a:pt x="1298" y="140"/>
                    <a:pt x="1235" y="191"/>
                  </a:cubicBezTo>
                  <a:cubicBezTo>
                    <a:pt x="1084" y="281"/>
                    <a:pt x="1145" y="732"/>
                    <a:pt x="1054" y="823"/>
                  </a:cubicBezTo>
                  <a:cubicBezTo>
                    <a:pt x="994" y="883"/>
                    <a:pt x="723" y="1184"/>
                    <a:pt x="723" y="1394"/>
                  </a:cubicBezTo>
                  <a:cubicBezTo>
                    <a:pt x="723" y="1424"/>
                    <a:pt x="693" y="1485"/>
                    <a:pt x="633" y="1545"/>
                  </a:cubicBezTo>
                  <a:cubicBezTo>
                    <a:pt x="663" y="1695"/>
                    <a:pt x="693" y="1876"/>
                    <a:pt x="723" y="2056"/>
                  </a:cubicBezTo>
                  <a:cubicBezTo>
                    <a:pt x="753" y="2207"/>
                    <a:pt x="844" y="2989"/>
                    <a:pt x="633" y="3200"/>
                  </a:cubicBezTo>
                  <a:cubicBezTo>
                    <a:pt x="513" y="3320"/>
                    <a:pt x="422" y="3471"/>
                    <a:pt x="332" y="3651"/>
                  </a:cubicBezTo>
                  <a:cubicBezTo>
                    <a:pt x="151" y="3772"/>
                    <a:pt x="31" y="4013"/>
                    <a:pt x="1" y="4223"/>
                  </a:cubicBezTo>
                  <a:cubicBezTo>
                    <a:pt x="1" y="4554"/>
                    <a:pt x="1" y="4855"/>
                    <a:pt x="31" y="5156"/>
                  </a:cubicBezTo>
                  <a:cubicBezTo>
                    <a:pt x="31" y="5367"/>
                    <a:pt x="181" y="5517"/>
                    <a:pt x="272" y="5788"/>
                  </a:cubicBezTo>
                  <a:cubicBezTo>
                    <a:pt x="422" y="5969"/>
                    <a:pt x="1084" y="5999"/>
                    <a:pt x="1476" y="6089"/>
                  </a:cubicBezTo>
                  <a:cubicBezTo>
                    <a:pt x="1837" y="6209"/>
                    <a:pt x="2138" y="6510"/>
                    <a:pt x="2228" y="6902"/>
                  </a:cubicBezTo>
                  <a:cubicBezTo>
                    <a:pt x="2198" y="7082"/>
                    <a:pt x="2439" y="7473"/>
                    <a:pt x="2649" y="7594"/>
                  </a:cubicBezTo>
                  <a:cubicBezTo>
                    <a:pt x="2679" y="7614"/>
                    <a:pt x="2716" y="7622"/>
                    <a:pt x="2757" y="7622"/>
                  </a:cubicBezTo>
                  <a:cubicBezTo>
                    <a:pt x="2964" y="7622"/>
                    <a:pt x="3281" y="7413"/>
                    <a:pt x="3432" y="7413"/>
                  </a:cubicBezTo>
                  <a:cubicBezTo>
                    <a:pt x="3612" y="7413"/>
                    <a:pt x="4365" y="7413"/>
                    <a:pt x="4485" y="7293"/>
                  </a:cubicBezTo>
                  <a:lnTo>
                    <a:pt x="4636" y="7293"/>
                  </a:lnTo>
                  <a:cubicBezTo>
                    <a:pt x="4726" y="6992"/>
                    <a:pt x="4786" y="6721"/>
                    <a:pt x="4846" y="6420"/>
                  </a:cubicBezTo>
                  <a:cubicBezTo>
                    <a:pt x="5147" y="6119"/>
                    <a:pt x="5448" y="5818"/>
                    <a:pt x="5749" y="5547"/>
                  </a:cubicBezTo>
                  <a:cubicBezTo>
                    <a:pt x="5789" y="5555"/>
                    <a:pt x="5832" y="5559"/>
                    <a:pt x="5875" y="5559"/>
                  </a:cubicBezTo>
                  <a:cubicBezTo>
                    <a:pt x="5992" y="5559"/>
                    <a:pt x="6112" y="5531"/>
                    <a:pt x="6200" y="5487"/>
                  </a:cubicBezTo>
                  <a:cubicBezTo>
                    <a:pt x="6234" y="5468"/>
                    <a:pt x="6270" y="5460"/>
                    <a:pt x="6307" y="5460"/>
                  </a:cubicBezTo>
                  <a:cubicBezTo>
                    <a:pt x="6508" y="5460"/>
                    <a:pt x="6747" y="5706"/>
                    <a:pt x="6772" y="5909"/>
                  </a:cubicBezTo>
                  <a:cubicBezTo>
                    <a:pt x="6779" y="5956"/>
                    <a:pt x="6792" y="5976"/>
                    <a:pt x="6809" y="5976"/>
                  </a:cubicBezTo>
                  <a:cubicBezTo>
                    <a:pt x="6870" y="5976"/>
                    <a:pt x="6986" y="5734"/>
                    <a:pt x="7103" y="5547"/>
                  </a:cubicBezTo>
                  <a:cubicBezTo>
                    <a:pt x="7344" y="5156"/>
                    <a:pt x="7555" y="4735"/>
                    <a:pt x="7705" y="4314"/>
                  </a:cubicBezTo>
                  <a:cubicBezTo>
                    <a:pt x="7705" y="4133"/>
                    <a:pt x="8096" y="3982"/>
                    <a:pt x="8096" y="3862"/>
                  </a:cubicBezTo>
                  <a:cubicBezTo>
                    <a:pt x="8096" y="3742"/>
                    <a:pt x="8066" y="3501"/>
                    <a:pt x="8157" y="3441"/>
                  </a:cubicBezTo>
                  <a:cubicBezTo>
                    <a:pt x="8307" y="3320"/>
                    <a:pt x="8367" y="3110"/>
                    <a:pt x="8367" y="2929"/>
                  </a:cubicBezTo>
                  <a:cubicBezTo>
                    <a:pt x="8307" y="2809"/>
                    <a:pt x="8759" y="2147"/>
                    <a:pt x="8819" y="2056"/>
                  </a:cubicBezTo>
                  <a:cubicBezTo>
                    <a:pt x="8849" y="1966"/>
                    <a:pt x="9270" y="2026"/>
                    <a:pt x="9300" y="1786"/>
                  </a:cubicBezTo>
                  <a:cubicBezTo>
                    <a:pt x="9330" y="1575"/>
                    <a:pt x="9360" y="1334"/>
                    <a:pt x="9270" y="1304"/>
                  </a:cubicBezTo>
                  <a:cubicBezTo>
                    <a:pt x="9150" y="1274"/>
                    <a:pt x="8909" y="1093"/>
                    <a:pt x="8909" y="973"/>
                  </a:cubicBezTo>
                  <a:cubicBezTo>
                    <a:pt x="8909" y="823"/>
                    <a:pt x="8939" y="702"/>
                    <a:pt x="8969" y="552"/>
                  </a:cubicBezTo>
                  <a:cubicBezTo>
                    <a:pt x="8759" y="522"/>
                    <a:pt x="8759" y="341"/>
                    <a:pt x="8668" y="221"/>
                  </a:cubicBezTo>
                  <a:cubicBezTo>
                    <a:pt x="8568" y="121"/>
                    <a:pt x="8551" y="63"/>
                    <a:pt x="8463" y="63"/>
                  </a:cubicBezTo>
                  <a:cubicBezTo>
                    <a:pt x="8445" y="63"/>
                    <a:pt x="8423" y="65"/>
                    <a:pt x="8397" y="70"/>
                  </a:cubicBezTo>
                  <a:cubicBezTo>
                    <a:pt x="8247" y="100"/>
                    <a:pt x="8006" y="522"/>
                    <a:pt x="7826" y="582"/>
                  </a:cubicBezTo>
                  <a:cubicBezTo>
                    <a:pt x="7585" y="582"/>
                    <a:pt x="7344" y="522"/>
                    <a:pt x="7163" y="401"/>
                  </a:cubicBezTo>
                  <a:cubicBezTo>
                    <a:pt x="6983" y="386"/>
                    <a:pt x="6810" y="379"/>
                    <a:pt x="6641" y="379"/>
                  </a:cubicBezTo>
                  <a:cubicBezTo>
                    <a:pt x="6471" y="379"/>
                    <a:pt x="6306" y="386"/>
                    <a:pt x="6140" y="401"/>
                  </a:cubicBezTo>
                  <a:cubicBezTo>
                    <a:pt x="6132" y="400"/>
                    <a:pt x="6123" y="399"/>
                    <a:pt x="6114" y="399"/>
                  </a:cubicBezTo>
                  <a:cubicBezTo>
                    <a:pt x="5937" y="399"/>
                    <a:pt x="5712" y="678"/>
                    <a:pt x="5568" y="792"/>
                  </a:cubicBezTo>
                  <a:cubicBezTo>
                    <a:pt x="5433" y="808"/>
                    <a:pt x="5298" y="815"/>
                    <a:pt x="5166" y="815"/>
                  </a:cubicBezTo>
                  <a:cubicBezTo>
                    <a:pt x="5034" y="815"/>
                    <a:pt x="4906" y="808"/>
                    <a:pt x="4786" y="792"/>
                  </a:cubicBezTo>
                  <a:cubicBezTo>
                    <a:pt x="4666" y="702"/>
                    <a:pt x="4335" y="431"/>
                    <a:pt x="4184" y="431"/>
                  </a:cubicBezTo>
                  <a:cubicBezTo>
                    <a:pt x="3943" y="431"/>
                    <a:pt x="3733" y="492"/>
                    <a:pt x="3552" y="642"/>
                  </a:cubicBezTo>
                  <a:cubicBezTo>
                    <a:pt x="3517" y="664"/>
                    <a:pt x="3485" y="674"/>
                    <a:pt x="3456" y="674"/>
                  </a:cubicBezTo>
                  <a:cubicBezTo>
                    <a:pt x="3292" y="674"/>
                    <a:pt x="3229" y="349"/>
                    <a:pt x="3101" y="221"/>
                  </a:cubicBezTo>
                  <a:cubicBezTo>
                    <a:pt x="2950" y="70"/>
                    <a:pt x="2649" y="191"/>
                    <a:pt x="2439" y="40"/>
                  </a:cubicBezTo>
                  <a:cubicBezTo>
                    <a:pt x="2405" y="12"/>
                    <a:pt x="2373" y="1"/>
                    <a:pt x="2343"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87" name="Google Shape;2881;p123">
              <a:extLst>
                <a:ext uri="{FF2B5EF4-FFF2-40B4-BE49-F238E27FC236}">
                  <a16:creationId xmlns:a16="http://schemas.microsoft.com/office/drawing/2014/main" id="{98B0D5A8-9D0C-3140-8219-2F60021C7BE1}"/>
                </a:ext>
              </a:extLst>
            </p:cNvPr>
            <p:cNvSpPr/>
            <p:nvPr/>
          </p:nvSpPr>
          <p:spPr>
            <a:xfrm>
              <a:off x="4283567" y="2966851"/>
              <a:ext cx="75670" cy="149509"/>
            </a:xfrm>
            <a:custGeom>
              <a:avLst/>
              <a:gdLst/>
              <a:ahLst/>
              <a:cxnLst/>
              <a:rect l="l" t="t" r="r" b="b"/>
              <a:pathLst>
                <a:path w="2439" h="4819" extrusionOk="0">
                  <a:moveTo>
                    <a:pt x="1702" y="1"/>
                  </a:moveTo>
                  <a:cubicBezTo>
                    <a:pt x="1494" y="1"/>
                    <a:pt x="1417" y="198"/>
                    <a:pt x="1445" y="395"/>
                  </a:cubicBezTo>
                  <a:cubicBezTo>
                    <a:pt x="1476" y="575"/>
                    <a:pt x="1325" y="545"/>
                    <a:pt x="1205" y="696"/>
                  </a:cubicBezTo>
                  <a:cubicBezTo>
                    <a:pt x="1155" y="779"/>
                    <a:pt x="1011" y="798"/>
                    <a:pt x="868" y="798"/>
                  </a:cubicBezTo>
                  <a:cubicBezTo>
                    <a:pt x="754" y="798"/>
                    <a:pt x="640" y="786"/>
                    <a:pt x="573" y="786"/>
                  </a:cubicBezTo>
                  <a:cubicBezTo>
                    <a:pt x="422" y="786"/>
                    <a:pt x="272" y="1057"/>
                    <a:pt x="121" y="1087"/>
                  </a:cubicBezTo>
                  <a:lnTo>
                    <a:pt x="1" y="1087"/>
                  </a:lnTo>
                  <a:cubicBezTo>
                    <a:pt x="61" y="1689"/>
                    <a:pt x="121" y="1659"/>
                    <a:pt x="422" y="1809"/>
                  </a:cubicBezTo>
                  <a:cubicBezTo>
                    <a:pt x="723" y="1960"/>
                    <a:pt x="482" y="2261"/>
                    <a:pt x="573" y="2411"/>
                  </a:cubicBezTo>
                  <a:cubicBezTo>
                    <a:pt x="693" y="2562"/>
                    <a:pt x="693" y="2893"/>
                    <a:pt x="723" y="3344"/>
                  </a:cubicBezTo>
                  <a:cubicBezTo>
                    <a:pt x="753" y="3796"/>
                    <a:pt x="753" y="4307"/>
                    <a:pt x="813" y="4819"/>
                  </a:cubicBezTo>
                  <a:lnTo>
                    <a:pt x="1325" y="4759"/>
                  </a:lnTo>
                  <a:cubicBezTo>
                    <a:pt x="1518" y="4759"/>
                    <a:pt x="1652" y="4566"/>
                    <a:pt x="1776" y="4566"/>
                  </a:cubicBezTo>
                  <a:cubicBezTo>
                    <a:pt x="1807" y="4566"/>
                    <a:pt x="1837" y="4578"/>
                    <a:pt x="1867" y="4608"/>
                  </a:cubicBezTo>
                  <a:cubicBezTo>
                    <a:pt x="1884" y="4625"/>
                    <a:pt x="1894" y="4633"/>
                    <a:pt x="1898" y="4633"/>
                  </a:cubicBezTo>
                  <a:cubicBezTo>
                    <a:pt x="1933" y="4633"/>
                    <a:pt x="1626" y="4159"/>
                    <a:pt x="1626" y="3946"/>
                  </a:cubicBezTo>
                  <a:cubicBezTo>
                    <a:pt x="1596" y="3675"/>
                    <a:pt x="1596" y="3374"/>
                    <a:pt x="1596" y="3103"/>
                  </a:cubicBezTo>
                  <a:cubicBezTo>
                    <a:pt x="1626" y="2863"/>
                    <a:pt x="1746" y="2622"/>
                    <a:pt x="1927" y="2501"/>
                  </a:cubicBezTo>
                  <a:cubicBezTo>
                    <a:pt x="2017" y="2321"/>
                    <a:pt x="2108" y="2170"/>
                    <a:pt x="2228" y="2050"/>
                  </a:cubicBezTo>
                  <a:cubicBezTo>
                    <a:pt x="2439" y="1839"/>
                    <a:pt x="2348" y="1057"/>
                    <a:pt x="2318" y="906"/>
                  </a:cubicBezTo>
                  <a:cubicBezTo>
                    <a:pt x="2288" y="726"/>
                    <a:pt x="2258" y="545"/>
                    <a:pt x="2228" y="395"/>
                  </a:cubicBezTo>
                  <a:cubicBezTo>
                    <a:pt x="2183" y="410"/>
                    <a:pt x="2138" y="417"/>
                    <a:pt x="2096" y="417"/>
                  </a:cubicBezTo>
                  <a:cubicBezTo>
                    <a:pt x="2055" y="417"/>
                    <a:pt x="2017" y="410"/>
                    <a:pt x="1987" y="395"/>
                  </a:cubicBezTo>
                  <a:cubicBezTo>
                    <a:pt x="1776" y="274"/>
                    <a:pt x="1987" y="34"/>
                    <a:pt x="1746" y="4"/>
                  </a:cubicBezTo>
                  <a:cubicBezTo>
                    <a:pt x="1731" y="2"/>
                    <a:pt x="1716" y="1"/>
                    <a:pt x="1702"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88" name="Google Shape;2882;p123">
              <a:extLst>
                <a:ext uri="{FF2B5EF4-FFF2-40B4-BE49-F238E27FC236}">
                  <a16:creationId xmlns:a16="http://schemas.microsoft.com/office/drawing/2014/main" id="{F1608D51-CBA9-4A48-A76F-A97DACFCCA0B}"/>
                </a:ext>
              </a:extLst>
            </p:cNvPr>
            <p:cNvSpPr/>
            <p:nvPr/>
          </p:nvSpPr>
          <p:spPr>
            <a:xfrm>
              <a:off x="4262097" y="2998683"/>
              <a:ext cx="46724" cy="127016"/>
            </a:xfrm>
            <a:custGeom>
              <a:avLst/>
              <a:gdLst/>
              <a:ahLst/>
              <a:cxnLst/>
              <a:rect l="l" t="t" r="r" b="b"/>
              <a:pathLst>
                <a:path w="1506" h="4094" extrusionOk="0">
                  <a:moveTo>
                    <a:pt x="1" y="1"/>
                  </a:moveTo>
                  <a:cubicBezTo>
                    <a:pt x="31" y="211"/>
                    <a:pt x="121" y="482"/>
                    <a:pt x="181" y="512"/>
                  </a:cubicBezTo>
                  <a:cubicBezTo>
                    <a:pt x="332" y="633"/>
                    <a:pt x="392" y="813"/>
                    <a:pt x="362" y="1024"/>
                  </a:cubicBezTo>
                  <a:cubicBezTo>
                    <a:pt x="302" y="1355"/>
                    <a:pt x="302" y="1746"/>
                    <a:pt x="362" y="2107"/>
                  </a:cubicBezTo>
                  <a:cubicBezTo>
                    <a:pt x="512" y="2438"/>
                    <a:pt x="603" y="2830"/>
                    <a:pt x="603" y="3191"/>
                  </a:cubicBezTo>
                  <a:cubicBezTo>
                    <a:pt x="633" y="3492"/>
                    <a:pt x="723" y="3823"/>
                    <a:pt x="873" y="4094"/>
                  </a:cubicBezTo>
                  <a:lnTo>
                    <a:pt x="1054" y="3973"/>
                  </a:lnTo>
                  <a:lnTo>
                    <a:pt x="1505" y="3823"/>
                  </a:lnTo>
                  <a:cubicBezTo>
                    <a:pt x="1445" y="3311"/>
                    <a:pt x="1415" y="2619"/>
                    <a:pt x="1415" y="2378"/>
                  </a:cubicBezTo>
                  <a:cubicBezTo>
                    <a:pt x="1415" y="2107"/>
                    <a:pt x="1415" y="1566"/>
                    <a:pt x="1265" y="1415"/>
                  </a:cubicBezTo>
                  <a:cubicBezTo>
                    <a:pt x="1174" y="1265"/>
                    <a:pt x="1475" y="1024"/>
                    <a:pt x="1114" y="813"/>
                  </a:cubicBezTo>
                  <a:cubicBezTo>
                    <a:pt x="783" y="633"/>
                    <a:pt x="753" y="723"/>
                    <a:pt x="723" y="121"/>
                  </a:cubicBezTo>
                  <a:lnTo>
                    <a:pt x="121" y="1"/>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89" name="Google Shape;2883;p123">
              <a:extLst>
                <a:ext uri="{FF2B5EF4-FFF2-40B4-BE49-F238E27FC236}">
                  <a16:creationId xmlns:a16="http://schemas.microsoft.com/office/drawing/2014/main" id="{A7CA2261-5C67-004F-9A9D-0D6F6642DE3E}"/>
                </a:ext>
              </a:extLst>
            </p:cNvPr>
            <p:cNvSpPr/>
            <p:nvPr/>
          </p:nvSpPr>
          <p:spPr>
            <a:xfrm>
              <a:off x="4476852" y="2948267"/>
              <a:ext cx="182086" cy="282948"/>
            </a:xfrm>
            <a:custGeom>
              <a:avLst/>
              <a:gdLst/>
              <a:ahLst/>
              <a:cxnLst/>
              <a:rect l="l" t="t" r="r" b="b"/>
              <a:pathLst>
                <a:path w="5869" h="9120" extrusionOk="0">
                  <a:moveTo>
                    <a:pt x="4334" y="1"/>
                  </a:moveTo>
                  <a:cubicBezTo>
                    <a:pt x="4304" y="151"/>
                    <a:pt x="4274" y="272"/>
                    <a:pt x="4274" y="422"/>
                  </a:cubicBezTo>
                  <a:cubicBezTo>
                    <a:pt x="4274" y="542"/>
                    <a:pt x="4485" y="723"/>
                    <a:pt x="4635" y="753"/>
                  </a:cubicBezTo>
                  <a:cubicBezTo>
                    <a:pt x="4786" y="783"/>
                    <a:pt x="4665" y="1024"/>
                    <a:pt x="4665" y="1235"/>
                  </a:cubicBezTo>
                  <a:cubicBezTo>
                    <a:pt x="4665" y="1475"/>
                    <a:pt x="4244" y="1385"/>
                    <a:pt x="4184" y="1505"/>
                  </a:cubicBezTo>
                  <a:cubicBezTo>
                    <a:pt x="4093" y="1626"/>
                    <a:pt x="3672" y="2258"/>
                    <a:pt x="3732" y="2378"/>
                  </a:cubicBezTo>
                  <a:cubicBezTo>
                    <a:pt x="3732" y="2559"/>
                    <a:pt x="3672" y="2769"/>
                    <a:pt x="3522" y="2890"/>
                  </a:cubicBezTo>
                  <a:cubicBezTo>
                    <a:pt x="3431" y="2950"/>
                    <a:pt x="3461" y="3191"/>
                    <a:pt x="3461" y="3311"/>
                  </a:cubicBezTo>
                  <a:cubicBezTo>
                    <a:pt x="3461" y="3431"/>
                    <a:pt x="3070" y="3582"/>
                    <a:pt x="3070" y="3763"/>
                  </a:cubicBezTo>
                  <a:cubicBezTo>
                    <a:pt x="2920" y="4184"/>
                    <a:pt x="2709" y="4605"/>
                    <a:pt x="2468" y="4996"/>
                  </a:cubicBezTo>
                  <a:cubicBezTo>
                    <a:pt x="2351" y="5183"/>
                    <a:pt x="2271" y="5425"/>
                    <a:pt x="2198" y="5425"/>
                  </a:cubicBezTo>
                  <a:cubicBezTo>
                    <a:pt x="2178" y="5425"/>
                    <a:pt x="2157" y="5405"/>
                    <a:pt x="2137" y="5358"/>
                  </a:cubicBezTo>
                  <a:cubicBezTo>
                    <a:pt x="2087" y="5155"/>
                    <a:pt x="1865" y="4909"/>
                    <a:pt x="1670" y="4909"/>
                  </a:cubicBezTo>
                  <a:cubicBezTo>
                    <a:pt x="1634" y="4909"/>
                    <a:pt x="1599" y="4917"/>
                    <a:pt x="1565" y="4936"/>
                  </a:cubicBezTo>
                  <a:cubicBezTo>
                    <a:pt x="1477" y="4980"/>
                    <a:pt x="1357" y="5008"/>
                    <a:pt x="1240" y="5008"/>
                  </a:cubicBezTo>
                  <a:cubicBezTo>
                    <a:pt x="1197" y="5008"/>
                    <a:pt x="1154" y="5004"/>
                    <a:pt x="1114" y="4996"/>
                  </a:cubicBezTo>
                  <a:cubicBezTo>
                    <a:pt x="813" y="5267"/>
                    <a:pt x="512" y="5568"/>
                    <a:pt x="211" y="5869"/>
                  </a:cubicBezTo>
                  <a:cubicBezTo>
                    <a:pt x="151" y="6170"/>
                    <a:pt x="91" y="6441"/>
                    <a:pt x="1" y="6742"/>
                  </a:cubicBezTo>
                  <a:cubicBezTo>
                    <a:pt x="61" y="6772"/>
                    <a:pt x="181" y="7013"/>
                    <a:pt x="301" y="7163"/>
                  </a:cubicBezTo>
                  <a:cubicBezTo>
                    <a:pt x="422" y="7314"/>
                    <a:pt x="783" y="7223"/>
                    <a:pt x="933" y="7314"/>
                  </a:cubicBezTo>
                  <a:cubicBezTo>
                    <a:pt x="1084" y="7524"/>
                    <a:pt x="1144" y="7795"/>
                    <a:pt x="1114" y="8066"/>
                  </a:cubicBezTo>
                  <a:cubicBezTo>
                    <a:pt x="1084" y="8217"/>
                    <a:pt x="903" y="8578"/>
                    <a:pt x="1024" y="8758"/>
                  </a:cubicBezTo>
                  <a:lnTo>
                    <a:pt x="2107" y="8758"/>
                  </a:lnTo>
                  <a:lnTo>
                    <a:pt x="2438" y="8668"/>
                  </a:lnTo>
                  <a:cubicBezTo>
                    <a:pt x="2438" y="8668"/>
                    <a:pt x="3787" y="8734"/>
                    <a:pt x="4343" y="8734"/>
                  </a:cubicBezTo>
                  <a:cubicBezTo>
                    <a:pt x="4436" y="8734"/>
                    <a:pt x="4506" y="8732"/>
                    <a:pt x="4545" y="8728"/>
                  </a:cubicBezTo>
                  <a:cubicBezTo>
                    <a:pt x="4554" y="8727"/>
                    <a:pt x="4564" y="8727"/>
                    <a:pt x="4575" y="8727"/>
                  </a:cubicBezTo>
                  <a:cubicBezTo>
                    <a:pt x="4871" y="8727"/>
                    <a:pt x="5628" y="9119"/>
                    <a:pt x="5628" y="9119"/>
                  </a:cubicBezTo>
                  <a:cubicBezTo>
                    <a:pt x="5688" y="8849"/>
                    <a:pt x="5749" y="8608"/>
                    <a:pt x="5869" y="8397"/>
                  </a:cubicBezTo>
                  <a:cubicBezTo>
                    <a:pt x="5779" y="8397"/>
                    <a:pt x="5719" y="8337"/>
                    <a:pt x="5719" y="8277"/>
                  </a:cubicBezTo>
                  <a:cubicBezTo>
                    <a:pt x="5688" y="8156"/>
                    <a:pt x="5327" y="7886"/>
                    <a:pt x="5177" y="7735"/>
                  </a:cubicBezTo>
                  <a:cubicBezTo>
                    <a:pt x="5117" y="7675"/>
                    <a:pt x="5056" y="7585"/>
                    <a:pt x="5026" y="7494"/>
                  </a:cubicBezTo>
                  <a:cubicBezTo>
                    <a:pt x="5056" y="7314"/>
                    <a:pt x="5026" y="7163"/>
                    <a:pt x="4936" y="7043"/>
                  </a:cubicBezTo>
                  <a:cubicBezTo>
                    <a:pt x="4755" y="6862"/>
                    <a:pt x="4665" y="6622"/>
                    <a:pt x="4665" y="6411"/>
                  </a:cubicBezTo>
                  <a:cubicBezTo>
                    <a:pt x="4665" y="6110"/>
                    <a:pt x="4575" y="5899"/>
                    <a:pt x="4575" y="5749"/>
                  </a:cubicBezTo>
                  <a:cubicBezTo>
                    <a:pt x="4575" y="5598"/>
                    <a:pt x="4846" y="5267"/>
                    <a:pt x="4966" y="4966"/>
                  </a:cubicBezTo>
                  <a:cubicBezTo>
                    <a:pt x="5056" y="4756"/>
                    <a:pt x="5177" y="4605"/>
                    <a:pt x="5387" y="4485"/>
                  </a:cubicBezTo>
                  <a:cubicBezTo>
                    <a:pt x="5267" y="4304"/>
                    <a:pt x="5177" y="4094"/>
                    <a:pt x="5117" y="3883"/>
                  </a:cubicBezTo>
                  <a:cubicBezTo>
                    <a:pt x="5026" y="3582"/>
                    <a:pt x="4786" y="3492"/>
                    <a:pt x="4485" y="3191"/>
                  </a:cubicBezTo>
                  <a:cubicBezTo>
                    <a:pt x="4274" y="3070"/>
                    <a:pt x="4214" y="2830"/>
                    <a:pt x="4274" y="2649"/>
                  </a:cubicBezTo>
                  <a:cubicBezTo>
                    <a:pt x="4274" y="2569"/>
                    <a:pt x="4448" y="2542"/>
                    <a:pt x="4653" y="2542"/>
                  </a:cubicBezTo>
                  <a:cubicBezTo>
                    <a:pt x="4755" y="2542"/>
                    <a:pt x="4866" y="2549"/>
                    <a:pt x="4966" y="2559"/>
                  </a:cubicBezTo>
                  <a:cubicBezTo>
                    <a:pt x="5019" y="2564"/>
                    <a:pt x="5068" y="2567"/>
                    <a:pt x="5111" y="2567"/>
                  </a:cubicBezTo>
                  <a:cubicBezTo>
                    <a:pt x="5312" y="2567"/>
                    <a:pt x="5396" y="2513"/>
                    <a:pt x="5297" y="2438"/>
                  </a:cubicBezTo>
                  <a:cubicBezTo>
                    <a:pt x="5087" y="2168"/>
                    <a:pt x="4966" y="1836"/>
                    <a:pt x="4966" y="1475"/>
                  </a:cubicBezTo>
                  <a:cubicBezTo>
                    <a:pt x="4996" y="1084"/>
                    <a:pt x="4846" y="994"/>
                    <a:pt x="4846" y="753"/>
                  </a:cubicBezTo>
                  <a:cubicBezTo>
                    <a:pt x="4846" y="542"/>
                    <a:pt x="4635" y="1"/>
                    <a:pt x="4364"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90" name="Google Shape;2884;p123">
              <a:extLst>
                <a:ext uri="{FF2B5EF4-FFF2-40B4-BE49-F238E27FC236}">
                  <a16:creationId xmlns:a16="http://schemas.microsoft.com/office/drawing/2014/main" id="{2115CC70-3608-744E-9641-BCDD566CED46}"/>
                </a:ext>
              </a:extLst>
            </p:cNvPr>
            <p:cNvSpPr/>
            <p:nvPr/>
          </p:nvSpPr>
          <p:spPr>
            <a:xfrm>
              <a:off x="4052958" y="3010876"/>
              <a:ext cx="150347" cy="156118"/>
            </a:xfrm>
            <a:custGeom>
              <a:avLst/>
              <a:gdLst/>
              <a:ahLst/>
              <a:cxnLst/>
              <a:rect l="l" t="t" r="r" b="b"/>
              <a:pathLst>
                <a:path w="4846" h="5032" extrusionOk="0">
                  <a:moveTo>
                    <a:pt x="1774" y="1"/>
                  </a:moveTo>
                  <a:cubicBezTo>
                    <a:pt x="1660" y="1"/>
                    <a:pt x="1522" y="62"/>
                    <a:pt x="1505" y="180"/>
                  </a:cubicBezTo>
                  <a:cubicBezTo>
                    <a:pt x="1484" y="308"/>
                    <a:pt x="1325" y="422"/>
                    <a:pt x="1191" y="422"/>
                  </a:cubicBezTo>
                  <a:cubicBezTo>
                    <a:pt x="1138" y="422"/>
                    <a:pt x="1088" y="403"/>
                    <a:pt x="1054" y="360"/>
                  </a:cubicBezTo>
                  <a:cubicBezTo>
                    <a:pt x="973" y="259"/>
                    <a:pt x="864" y="157"/>
                    <a:pt x="784" y="157"/>
                  </a:cubicBezTo>
                  <a:cubicBezTo>
                    <a:pt x="745" y="157"/>
                    <a:pt x="712" y="181"/>
                    <a:pt x="693" y="240"/>
                  </a:cubicBezTo>
                  <a:cubicBezTo>
                    <a:pt x="653" y="320"/>
                    <a:pt x="572" y="360"/>
                    <a:pt x="496" y="360"/>
                  </a:cubicBezTo>
                  <a:cubicBezTo>
                    <a:pt x="459" y="360"/>
                    <a:pt x="422" y="350"/>
                    <a:pt x="392" y="330"/>
                  </a:cubicBezTo>
                  <a:cubicBezTo>
                    <a:pt x="332" y="571"/>
                    <a:pt x="271" y="872"/>
                    <a:pt x="392" y="962"/>
                  </a:cubicBezTo>
                  <a:cubicBezTo>
                    <a:pt x="512" y="1022"/>
                    <a:pt x="572" y="1173"/>
                    <a:pt x="542" y="1323"/>
                  </a:cubicBezTo>
                  <a:cubicBezTo>
                    <a:pt x="482" y="1413"/>
                    <a:pt x="783" y="1654"/>
                    <a:pt x="693" y="1835"/>
                  </a:cubicBezTo>
                  <a:cubicBezTo>
                    <a:pt x="669" y="1865"/>
                    <a:pt x="643" y="1876"/>
                    <a:pt x="615" y="1876"/>
                  </a:cubicBezTo>
                  <a:cubicBezTo>
                    <a:pt x="540" y="1876"/>
                    <a:pt x="455" y="1792"/>
                    <a:pt x="386" y="1792"/>
                  </a:cubicBezTo>
                  <a:cubicBezTo>
                    <a:pt x="354" y="1792"/>
                    <a:pt x="325" y="1811"/>
                    <a:pt x="301" y="1865"/>
                  </a:cubicBezTo>
                  <a:cubicBezTo>
                    <a:pt x="241" y="2045"/>
                    <a:pt x="482" y="2196"/>
                    <a:pt x="392" y="2346"/>
                  </a:cubicBezTo>
                  <a:cubicBezTo>
                    <a:pt x="271" y="2497"/>
                    <a:pt x="121" y="2497"/>
                    <a:pt x="151" y="2768"/>
                  </a:cubicBezTo>
                  <a:cubicBezTo>
                    <a:pt x="181" y="3009"/>
                    <a:pt x="151" y="3249"/>
                    <a:pt x="91" y="3340"/>
                  </a:cubicBezTo>
                  <a:cubicBezTo>
                    <a:pt x="0" y="3400"/>
                    <a:pt x="91" y="3430"/>
                    <a:pt x="332" y="3580"/>
                  </a:cubicBezTo>
                  <a:cubicBezTo>
                    <a:pt x="602" y="3731"/>
                    <a:pt x="994" y="3911"/>
                    <a:pt x="933" y="4182"/>
                  </a:cubicBezTo>
                  <a:cubicBezTo>
                    <a:pt x="903" y="4453"/>
                    <a:pt x="783" y="4483"/>
                    <a:pt x="723" y="4904"/>
                  </a:cubicBezTo>
                  <a:cubicBezTo>
                    <a:pt x="703" y="4995"/>
                    <a:pt x="753" y="5031"/>
                    <a:pt x="853" y="5031"/>
                  </a:cubicBezTo>
                  <a:cubicBezTo>
                    <a:pt x="1219" y="5031"/>
                    <a:pt x="2260" y="4541"/>
                    <a:pt x="3040" y="4423"/>
                  </a:cubicBezTo>
                  <a:cubicBezTo>
                    <a:pt x="3263" y="4384"/>
                    <a:pt x="3492" y="4361"/>
                    <a:pt x="3722" y="4361"/>
                  </a:cubicBezTo>
                  <a:cubicBezTo>
                    <a:pt x="4019" y="4361"/>
                    <a:pt x="4317" y="4398"/>
                    <a:pt x="4605" y="4483"/>
                  </a:cubicBezTo>
                  <a:cubicBezTo>
                    <a:pt x="4635" y="4363"/>
                    <a:pt x="4635" y="4242"/>
                    <a:pt x="4605" y="4122"/>
                  </a:cubicBezTo>
                  <a:cubicBezTo>
                    <a:pt x="4424" y="3851"/>
                    <a:pt x="4334" y="3550"/>
                    <a:pt x="4244" y="3249"/>
                  </a:cubicBezTo>
                  <a:cubicBezTo>
                    <a:pt x="4304" y="3099"/>
                    <a:pt x="4605" y="2677"/>
                    <a:pt x="4545" y="2467"/>
                  </a:cubicBezTo>
                  <a:cubicBezTo>
                    <a:pt x="4515" y="2226"/>
                    <a:pt x="4846" y="2136"/>
                    <a:pt x="4846" y="1925"/>
                  </a:cubicBezTo>
                  <a:cubicBezTo>
                    <a:pt x="4816" y="1504"/>
                    <a:pt x="4725" y="1082"/>
                    <a:pt x="4605" y="691"/>
                  </a:cubicBezTo>
                  <a:cubicBezTo>
                    <a:pt x="4515" y="691"/>
                    <a:pt x="4485" y="661"/>
                    <a:pt x="4455" y="631"/>
                  </a:cubicBezTo>
                  <a:cubicBezTo>
                    <a:pt x="4326" y="572"/>
                    <a:pt x="4192" y="546"/>
                    <a:pt x="4061" y="546"/>
                  </a:cubicBezTo>
                  <a:cubicBezTo>
                    <a:pt x="3856" y="546"/>
                    <a:pt x="3657" y="611"/>
                    <a:pt x="3491" y="721"/>
                  </a:cubicBezTo>
                  <a:cubicBezTo>
                    <a:pt x="3444" y="782"/>
                    <a:pt x="3386" y="806"/>
                    <a:pt x="3325" y="806"/>
                  </a:cubicBezTo>
                  <a:cubicBezTo>
                    <a:pt x="3110" y="806"/>
                    <a:pt x="2846" y="514"/>
                    <a:pt x="2799" y="420"/>
                  </a:cubicBezTo>
                  <a:cubicBezTo>
                    <a:pt x="2728" y="349"/>
                    <a:pt x="2525" y="165"/>
                    <a:pt x="2339" y="165"/>
                  </a:cubicBezTo>
                  <a:cubicBezTo>
                    <a:pt x="2290" y="165"/>
                    <a:pt x="2242" y="178"/>
                    <a:pt x="2197" y="210"/>
                  </a:cubicBezTo>
                  <a:cubicBezTo>
                    <a:pt x="2097" y="272"/>
                    <a:pt x="2028" y="304"/>
                    <a:pt x="1984" y="304"/>
                  </a:cubicBezTo>
                  <a:cubicBezTo>
                    <a:pt x="1922" y="304"/>
                    <a:pt x="1909" y="242"/>
                    <a:pt x="1927" y="119"/>
                  </a:cubicBezTo>
                  <a:cubicBezTo>
                    <a:pt x="1940" y="40"/>
                    <a:pt x="1865" y="1"/>
                    <a:pt x="1774"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91" name="Google Shape;2885;p123">
              <a:extLst>
                <a:ext uri="{FF2B5EF4-FFF2-40B4-BE49-F238E27FC236}">
                  <a16:creationId xmlns:a16="http://schemas.microsoft.com/office/drawing/2014/main" id="{8D75D322-3644-FB4D-A62A-6BBCA616B861}"/>
                </a:ext>
              </a:extLst>
            </p:cNvPr>
            <p:cNvSpPr/>
            <p:nvPr/>
          </p:nvSpPr>
          <p:spPr>
            <a:xfrm>
              <a:off x="4184597" y="2996759"/>
              <a:ext cx="103686" cy="160678"/>
            </a:xfrm>
            <a:custGeom>
              <a:avLst/>
              <a:gdLst/>
              <a:ahLst/>
              <a:cxnLst/>
              <a:rect l="l" t="t" r="r" b="b"/>
              <a:pathLst>
                <a:path w="3342" h="5179" extrusionOk="0">
                  <a:moveTo>
                    <a:pt x="2463" y="1"/>
                  </a:moveTo>
                  <a:cubicBezTo>
                    <a:pt x="2413" y="1"/>
                    <a:pt x="2355" y="284"/>
                    <a:pt x="2326" y="284"/>
                  </a:cubicBezTo>
                  <a:cubicBezTo>
                    <a:pt x="2323" y="284"/>
                    <a:pt x="2321" y="281"/>
                    <a:pt x="2318" y="273"/>
                  </a:cubicBezTo>
                  <a:cubicBezTo>
                    <a:pt x="2277" y="232"/>
                    <a:pt x="1376" y="162"/>
                    <a:pt x="791" y="162"/>
                  </a:cubicBezTo>
                  <a:cubicBezTo>
                    <a:pt x="529" y="162"/>
                    <a:pt x="330" y="176"/>
                    <a:pt x="302" y="213"/>
                  </a:cubicBezTo>
                  <a:cubicBezTo>
                    <a:pt x="242" y="334"/>
                    <a:pt x="452" y="875"/>
                    <a:pt x="452" y="996"/>
                  </a:cubicBezTo>
                  <a:cubicBezTo>
                    <a:pt x="452" y="1116"/>
                    <a:pt x="392" y="1146"/>
                    <a:pt x="332" y="1146"/>
                  </a:cubicBezTo>
                  <a:cubicBezTo>
                    <a:pt x="482" y="1537"/>
                    <a:pt x="573" y="1959"/>
                    <a:pt x="603" y="2380"/>
                  </a:cubicBezTo>
                  <a:cubicBezTo>
                    <a:pt x="603" y="2591"/>
                    <a:pt x="302" y="2681"/>
                    <a:pt x="302" y="2922"/>
                  </a:cubicBezTo>
                  <a:cubicBezTo>
                    <a:pt x="302" y="3132"/>
                    <a:pt x="31" y="3554"/>
                    <a:pt x="1" y="3704"/>
                  </a:cubicBezTo>
                  <a:cubicBezTo>
                    <a:pt x="91" y="4005"/>
                    <a:pt x="181" y="4306"/>
                    <a:pt x="332" y="4577"/>
                  </a:cubicBezTo>
                  <a:cubicBezTo>
                    <a:pt x="392" y="4697"/>
                    <a:pt x="392" y="4818"/>
                    <a:pt x="332" y="4938"/>
                  </a:cubicBezTo>
                  <a:lnTo>
                    <a:pt x="904" y="5179"/>
                  </a:lnTo>
                  <a:cubicBezTo>
                    <a:pt x="1445" y="5028"/>
                    <a:pt x="1987" y="4818"/>
                    <a:pt x="2439" y="4547"/>
                  </a:cubicBezTo>
                  <a:cubicBezTo>
                    <a:pt x="2770" y="4427"/>
                    <a:pt x="3071" y="4306"/>
                    <a:pt x="3341" y="4156"/>
                  </a:cubicBezTo>
                  <a:cubicBezTo>
                    <a:pt x="3221" y="3885"/>
                    <a:pt x="3131" y="3554"/>
                    <a:pt x="3101" y="3253"/>
                  </a:cubicBezTo>
                  <a:cubicBezTo>
                    <a:pt x="3101" y="2892"/>
                    <a:pt x="3010" y="2500"/>
                    <a:pt x="2860" y="2169"/>
                  </a:cubicBezTo>
                  <a:cubicBezTo>
                    <a:pt x="2800" y="1808"/>
                    <a:pt x="2800" y="1417"/>
                    <a:pt x="2860" y="1086"/>
                  </a:cubicBezTo>
                  <a:cubicBezTo>
                    <a:pt x="2890" y="875"/>
                    <a:pt x="2830" y="695"/>
                    <a:pt x="2679" y="574"/>
                  </a:cubicBezTo>
                  <a:cubicBezTo>
                    <a:pt x="2619" y="544"/>
                    <a:pt x="2529" y="273"/>
                    <a:pt x="2499" y="63"/>
                  </a:cubicBezTo>
                  <a:cubicBezTo>
                    <a:pt x="2488" y="18"/>
                    <a:pt x="2475" y="1"/>
                    <a:pt x="2463"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92" name="Google Shape;2886;p123">
              <a:extLst>
                <a:ext uri="{FF2B5EF4-FFF2-40B4-BE49-F238E27FC236}">
                  <a16:creationId xmlns:a16="http://schemas.microsoft.com/office/drawing/2014/main" id="{3A92C98A-01EE-AD46-A89C-98BF495FFB3C}"/>
                </a:ext>
              </a:extLst>
            </p:cNvPr>
            <p:cNvSpPr/>
            <p:nvPr/>
          </p:nvSpPr>
          <p:spPr>
            <a:xfrm>
              <a:off x="3892372" y="2957606"/>
              <a:ext cx="184878" cy="138620"/>
            </a:xfrm>
            <a:custGeom>
              <a:avLst/>
              <a:gdLst/>
              <a:ahLst/>
              <a:cxnLst/>
              <a:rect l="l" t="t" r="r" b="b"/>
              <a:pathLst>
                <a:path w="5959" h="4468" extrusionOk="0">
                  <a:moveTo>
                    <a:pt x="1114" y="1"/>
                  </a:moveTo>
                  <a:cubicBezTo>
                    <a:pt x="1114" y="1"/>
                    <a:pt x="1114" y="302"/>
                    <a:pt x="933" y="392"/>
                  </a:cubicBezTo>
                  <a:cubicBezTo>
                    <a:pt x="753" y="452"/>
                    <a:pt x="993" y="693"/>
                    <a:pt x="993" y="753"/>
                  </a:cubicBezTo>
                  <a:cubicBezTo>
                    <a:pt x="993" y="823"/>
                    <a:pt x="885" y="893"/>
                    <a:pt x="780" y="893"/>
                  </a:cubicBezTo>
                  <a:cubicBezTo>
                    <a:pt x="750" y="893"/>
                    <a:pt x="719" y="887"/>
                    <a:pt x="692" y="873"/>
                  </a:cubicBezTo>
                  <a:cubicBezTo>
                    <a:pt x="682" y="863"/>
                    <a:pt x="669" y="859"/>
                    <a:pt x="654" y="859"/>
                  </a:cubicBezTo>
                  <a:cubicBezTo>
                    <a:pt x="525" y="859"/>
                    <a:pt x="221" y="1154"/>
                    <a:pt x="60" y="1235"/>
                  </a:cubicBezTo>
                  <a:lnTo>
                    <a:pt x="0" y="1355"/>
                  </a:lnTo>
                  <a:cubicBezTo>
                    <a:pt x="241" y="1535"/>
                    <a:pt x="211" y="1806"/>
                    <a:pt x="542" y="2047"/>
                  </a:cubicBezTo>
                  <a:cubicBezTo>
                    <a:pt x="903" y="2288"/>
                    <a:pt x="1204" y="2619"/>
                    <a:pt x="1415" y="3010"/>
                  </a:cubicBezTo>
                  <a:cubicBezTo>
                    <a:pt x="1655" y="2860"/>
                    <a:pt x="1956" y="2589"/>
                    <a:pt x="1986" y="2438"/>
                  </a:cubicBezTo>
                  <a:cubicBezTo>
                    <a:pt x="1986" y="2354"/>
                    <a:pt x="2019" y="2329"/>
                    <a:pt x="2075" y="2329"/>
                  </a:cubicBezTo>
                  <a:cubicBezTo>
                    <a:pt x="2140" y="2329"/>
                    <a:pt x="2235" y="2362"/>
                    <a:pt x="2348" y="2378"/>
                  </a:cubicBezTo>
                  <a:cubicBezTo>
                    <a:pt x="2369" y="2381"/>
                    <a:pt x="2391" y="2382"/>
                    <a:pt x="2412" y="2382"/>
                  </a:cubicBezTo>
                  <a:cubicBezTo>
                    <a:pt x="2621" y="2382"/>
                    <a:pt x="2783" y="2258"/>
                    <a:pt x="2919" y="2258"/>
                  </a:cubicBezTo>
                  <a:cubicBezTo>
                    <a:pt x="3070" y="2258"/>
                    <a:pt x="3551" y="2860"/>
                    <a:pt x="3551" y="3040"/>
                  </a:cubicBezTo>
                  <a:cubicBezTo>
                    <a:pt x="3551" y="3191"/>
                    <a:pt x="3581" y="3371"/>
                    <a:pt x="3672" y="3492"/>
                  </a:cubicBezTo>
                  <a:cubicBezTo>
                    <a:pt x="3672" y="3552"/>
                    <a:pt x="3702" y="3552"/>
                    <a:pt x="3702" y="3582"/>
                  </a:cubicBezTo>
                  <a:lnTo>
                    <a:pt x="4274" y="3462"/>
                  </a:lnTo>
                  <a:cubicBezTo>
                    <a:pt x="4364" y="3462"/>
                    <a:pt x="4544" y="3883"/>
                    <a:pt x="4514" y="4124"/>
                  </a:cubicBezTo>
                  <a:cubicBezTo>
                    <a:pt x="4471" y="4319"/>
                    <a:pt x="4615" y="4467"/>
                    <a:pt x="4744" y="4467"/>
                  </a:cubicBezTo>
                  <a:cubicBezTo>
                    <a:pt x="4794" y="4467"/>
                    <a:pt x="4842" y="4445"/>
                    <a:pt x="4876" y="4394"/>
                  </a:cubicBezTo>
                  <a:cubicBezTo>
                    <a:pt x="4964" y="4261"/>
                    <a:pt x="5070" y="4128"/>
                    <a:pt x="5131" y="4128"/>
                  </a:cubicBezTo>
                  <a:cubicBezTo>
                    <a:pt x="5153" y="4128"/>
                    <a:pt x="5169" y="4144"/>
                    <a:pt x="5176" y="4184"/>
                  </a:cubicBezTo>
                  <a:lnTo>
                    <a:pt x="5327" y="4304"/>
                  </a:lnTo>
                  <a:lnTo>
                    <a:pt x="5568" y="4063"/>
                  </a:lnTo>
                  <a:cubicBezTo>
                    <a:pt x="5658" y="3913"/>
                    <a:pt x="5417" y="3762"/>
                    <a:pt x="5477" y="3582"/>
                  </a:cubicBezTo>
                  <a:cubicBezTo>
                    <a:pt x="5504" y="3520"/>
                    <a:pt x="5539" y="3500"/>
                    <a:pt x="5577" y="3500"/>
                  </a:cubicBezTo>
                  <a:cubicBezTo>
                    <a:pt x="5649" y="3500"/>
                    <a:pt x="5735" y="3571"/>
                    <a:pt x="5810" y="3571"/>
                  </a:cubicBezTo>
                  <a:cubicBezTo>
                    <a:pt x="5831" y="3571"/>
                    <a:pt x="5850" y="3566"/>
                    <a:pt x="5869" y="3552"/>
                  </a:cubicBezTo>
                  <a:cubicBezTo>
                    <a:pt x="5959" y="3431"/>
                    <a:pt x="5658" y="3130"/>
                    <a:pt x="5718" y="3040"/>
                  </a:cubicBezTo>
                  <a:cubicBezTo>
                    <a:pt x="5748" y="2890"/>
                    <a:pt x="5688" y="2739"/>
                    <a:pt x="5568" y="2679"/>
                  </a:cubicBezTo>
                  <a:cubicBezTo>
                    <a:pt x="5447" y="2589"/>
                    <a:pt x="5508" y="2288"/>
                    <a:pt x="5568" y="2047"/>
                  </a:cubicBezTo>
                  <a:lnTo>
                    <a:pt x="5477" y="1927"/>
                  </a:lnTo>
                  <a:cubicBezTo>
                    <a:pt x="5357" y="1776"/>
                    <a:pt x="5447" y="1475"/>
                    <a:pt x="5297" y="1475"/>
                  </a:cubicBezTo>
                  <a:cubicBezTo>
                    <a:pt x="5146" y="1475"/>
                    <a:pt x="5146" y="1235"/>
                    <a:pt x="5297" y="1204"/>
                  </a:cubicBezTo>
                  <a:cubicBezTo>
                    <a:pt x="5447" y="1174"/>
                    <a:pt x="4996" y="994"/>
                    <a:pt x="4996" y="843"/>
                  </a:cubicBezTo>
                  <a:cubicBezTo>
                    <a:pt x="4966" y="603"/>
                    <a:pt x="4845" y="392"/>
                    <a:pt x="4695" y="241"/>
                  </a:cubicBezTo>
                  <a:cubicBezTo>
                    <a:pt x="4605" y="241"/>
                    <a:pt x="4274" y="633"/>
                    <a:pt x="4123" y="633"/>
                  </a:cubicBezTo>
                  <a:cubicBezTo>
                    <a:pt x="4019" y="633"/>
                    <a:pt x="3844" y="489"/>
                    <a:pt x="3725" y="489"/>
                  </a:cubicBezTo>
                  <a:cubicBezTo>
                    <a:pt x="3672" y="489"/>
                    <a:pt x="3630" y="518"/>
                    <a:pt x="3612" y="603"/>
                  </a:cubicBezTo>
                  <a:cubicBezTo>
                    <a:pt x="3586" y="678"/>
                    <a:pt x="3552" y="702"/>
                    <a:pt x="3512" y="702"/>
                  </a:cubicBezTo>
                  <a:cubicBezTo>
                    <a:pt x="3442" y="702"/>
                    <a:pt x="3355" y="628"/>
                    <a:pt x="3272" y="628"/>
                  </a:cubicBezTo>
                  <a:cubicBezTo>
                    <a:pt x="3233" y="628"/>
                    <a:pt x="3195" y="644"/>
                    <a:pt x="3160" y="693"/>
                  </a:cubicBezTo>
                  <a:cubicBezTo>
                    <a:pt x="3134" y="725"/>
                    <a:pt x="3109" y="738"/>
                    <a:pt x="3086" y="738"/>
                  </a:cubicBezTo>
                  <a:cubicBezTo>
                    <a:pt x="2981" y="738"/>
                    <a:pt x="2919" y="452"/>
                    <a:pt x="2919" y="452"/>
                  </a:cubicBezTo>
                  <a:lnTo>
                    <a:pt x="2919" y="302"/>
                  </a:lnTo>
                  <a:lnTo>
                    <a:pt x="2859" y="302"/>
                  </a:lnTo>
                  <a:cubicBezTo>
                    <a:pt x="2702" y="358"/>
                    <a:pt x="2502" y="380"/>
                    <a:pt x="2313" y="380"/>
                  </a:cubicBezTo>
                  <a:cubicBezTo>
                    <a:pt x="1995" y="380"/>
                    <a:pt x="1704" y="317"/>
                    <a:pt x="1685" y="241"/>
                  </a:cubicBezTo>
                  <a:cubicBezTo>
                    <a:pt x="1655" y="91"/>
                    <a:pt x="1114" y="1"/>
                    <a:pt x="1114"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93" name="Google Shape;2887;p123">
              <a:extLst>
                <a:ext uri="{FF2B5EF4-FFF2-40B4-BE49-F238E27FC236}">
                  <a16:creationId xmlns:a16="http://schemas.microsoft.com/office/drawing/2014/main" id="{96B12F5C-DCB0-3040-AD24-8FE8DC9CC663}"/>
                </a:ext>
              </a:extLst>
            </p:cNvPr>
            <p:cNvSpPr/>
            <p:nvPr/>
          </p:nvSpPr>
          <p:spPr>
            <a:xfrm>
              <a:off x="3979180" y="3064983"/>
              <a:ext cx="104616" cy="98070"/>
            </a:xfrm>
            <a:custGeom>
              <a:avLst/>
              <a:gdLst/>
              <a:ahLst/>
              <a:cxnLst/>
              <a:rect l="l" t="t" r="r" b="b"/>
              <a:pathLst>
                <a:path w="3372" h="3161" extrusionOk="0">
                  <a:moveTo>
                    <a:pt x="1476" y="1"/>
                  </a:moveTo>
                  <a:lnTo>
                    <a:pt x="904" y="121"/>
                  </a:lnTo>
                  <a:cubicBezTo>
                    <a:pt x="964" y="241"/>
                    <a:pt x="844" y="392"/>
                    <a:pt x="844" y="482"/>
                  </a:cubicBezTo>
                  <a:cubicBezTo>
                    <a:pt x="844" y="602"/>
                    <a:pt x="362" y="903"/>
                    <a:pt x="212" y="1024"/>
                  </a:cubicBezTo>
                  <a:cubicBezTo>
                    <a:pt x="61" y="1144"/>
                    <a:pt x="91" y="1174"/>
                    <a:pt x="1" y="1325"/>
                  </a:cubicBezTo>
                  <a:cubicBezTo>
                    <a:pt x="362" y="1505"/>
                    <a:pt x="723" y="1746"/>
                    <a:pt x="1024" y="1987"/>
                  </a:cubicBezTo>
                  <a:cubicBezTo>
                    <a:pt x="1626" y="2438"/>
                    <a:pt x="2258" y="2829"/>
                    <a:pt x="2920" y="3160"/>
                  </a:cubicBezTo>
                  <a:lnTo>
                    <a:pt x="3101" y="3160"/>
                  </a:lnTo>
                  <a:cubicBezTo>
                    <a:pt x="3161" y="2739"/>
                    <a:pt x="3281" y="2679"/>
                    <a:pt x="3311" y="2438"/>
                  </a:cubicBezTo>
                  <a:cubicBezTo>
                    <a:pt x="3372" y="2228"/>
                    <a:pt x="2950" y="1987"/>
                    <a:pt x="2710" y="1836"/>
                  </a:cubicBezTo>
                  <a:cubicBezTo>
                    <a:pt x="2469" y="1686"/>
                    <a:pt x="2348" y="1686"/>
                    <a:pt x="2469" y="1596"/>
                  </a:cubicBezTo>
                  <a:cubicBezTo>
                    <a:pt x="2559" y="1475"/>
                    <a:pt x="2559" y="1325"/>
                    <a:pt x="2529" y="1024"/>
                  </a:cubicBezTo>
                  <a:lnTo>
                    <a:pt x="2529" y="843"/>
                  </a:lnTo>
                  <a:lnTo>
                    <a:pt x="2378" y="723"/>
                  </a:lnTo>
                  <a:cubicBezTo>
                    <a:pt x="2371" y="686"/>
                    <a:pt x="2357" y="671"/>
                    <a:pt x="2337" y="671"/>
                  </a:cubicBezTo>
                  <a:cubicBezTo>
                    <a:pt x="2277" y="671"/>
                    <a:pt x="2169" y="820"/>
                    <a:pt x="2078" y="933"/>
                  </a:cubicBezTo>
                  <a:cubicBezTo>
                    <a:pt x="2044" y="975"/>
                    <a:pt x="1997" y="994"/>
                    <a:pt x="1948" y="994"/>
                  </a:cubicBezTo>
                  <a:cubicBezTo>
                    <a:pt x="1818" y="994"/>
                    <a:pt x="1673" y="867"/>
                    <a:pt x="1716" y="693"/>
                  </a:cubicBezTo>
                  <a:cubicBezTo>
                    <a:pt x="1746" y="422"/>
                    <a:pt x="1566" y="1"/>
                    <a:pt x="1476"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94" name="Google Shape;2888;p123">
              <a:extLst>
                <a:ext uri="{FF2B5EF4-FFF2-40B4-BE49-F238E27FC236}">
                  <a16:creationId xmlns:a16="http://schemas.microsoft.com/office/drawing/2014/main" id="{1479E49E-13C1-F547-B74C-B0A39346D5DB}"/>
                </a:ext>
              </a:extLst>
            </p:cNvPr>
            <p:cNvSpPr/>
            <p:nvPr/>
          </p:nvSpPr>
          <p:spPr>
            <a:xfrm>
              <a:off x="3936242" y="3027629"/>
              <a:ext cx="72878" cy="78462"/>
            </a:xfrm>
            <a:custGeom>
              <a:avLst/>
              <a:gdLst/>
              <a:ahLst/>
              <a:cxnLst/>
              <a:rect l="l" t="t" r="r" b="b"/>
              <a:pathLst>
                <a:path w="2349" h="2529" extrusionOk="0">
                  <a:moveTo>
                    <a:pt x="1505" y="1"/>
                  </a:moveTo>
                  <a:cubicBezTo>
                    <a:pt x="1341" y="1"/>
                    <a:pt x="1177" y="125"/>
                    <a:pt x="990" y="125"/>
                  </a:cubicBezTo>
                  <a:cubicBezTo>
                    <a:pt x="972" y="125"/>
                    <a:pt x="953" y="124"/>
                    <a:pt x="934" y="121"/>
                  </a:cubicBezTo>
                  <a:cubicBezTo>
                    <a:pt x="837" y="105"/>
                    <a:pt x="741" y="72"/>
                    <a:pt x="672" y="72"/>
                  </a:cubicBezTo>
                  <a:cubicBezTo>
                    <a:pt x="612" y="72"/>
                    <a:pt x="572" y="97"/>
                    <a:pt x="572" y="181"/>
                  </a:cubicBezTo>
                  <a:cubicBezTo>
                    <a:pt x="572" y="392"/>
                    <a:pt x="241" y="603"/>
                    <a:pt x="1" y="783"/>
                  </a:cubicBezTo>
                  <a:cubicBezTo>
                    <a:pt x="61" y="873"/>
                    <a:pt x="91" y="994"/>
                    <a:pt x="121" y="1084"/>
                  </a:cubicBezTo>
                  <a:cubicBezTo>
                    <a:pt x="181" y="1475"/>
                    <a:pt x="422" y="1837"/>
                    <a:pt x="753" y="2077"/>
                  </a:cubicBezTo>
                  <a:lnTo>
                    <a:pt x="1385" y="2529"/>
                  </a:lnTo>
                  <a:cubicBezTo>
                    <a:pt x="1475" y="2378"/>
                    <a:pt x="1505" y="2258"/>
                    <a:pt x="1596" y="2228"/>
                  </a:cubicBezTo>
                  <a:cubicBezTo>
                    <a:pt x="1656" y="2198"/>
                    <a:pt x="2198" y="1897"/>
                    <a:pt x="2228" y="1686"/>
                  </a:cubicBezTo>
                  <a:cubicBezTo>
                    <a:pt x="2258" y="1536"/>
                    <a:pt x="2348" y="1385"/>
                    <a:pt x="2258" y="1235"/>
                  </a:cubicBezTo>
                  <a:cubicBezTo>
                    <a:pt x="2167" y="1114"/>
                    <a:pt x="2137" y="934"/>
                    <a:pt x="2137" y="783"/>
                  </a:cubicBezTo>
                  <a:cubicBezTo>
                    <a:pt x="2137" y="603"/>
                    <a:pt x="1686" y="1"/>
                    <a:pt x="1505"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95" name="Google Shape;2889;p123">
              <a:extLst>
                <a:ext uri="{FF2B5EF4-FFF2-40B4-BE49-F238E27FC236}">
                  <a16:creationId xmlns:a16="http://schemas.microsoft.com/office/drawing/2014/main" id="{C8029772-695B-E84C-8C7B-F2B3A8E7DBF4}"/>
                </a:ext>
              </a:extLst>
            </p:cNvPr>
            <p:cNvSpPr/>
            <p:nvPr/>
          </p:nvSpPr>
          <p:spPr>
            <a:xfrm>
              <a:off x="3843818" y="2572927"/>
              <a:ext cx="207309" cy="166232"/>
            </a:xfrm>
            <a:custGeom>
              <a:avLst/>
              <a:gdLst/>
              <a:ahLst/>
              <a:cxnLst/>
              <a:rect l="l" t="t" r="r" b="b"/>
              <a:pathLst>
                <a:path w="6682" h="5358" extrusionOk="0">
                  <a:moveTo>
                    <a:pt x="3130" y="1"/>
                  </a:moveTo>
                  <a:cubicBezTo>
                    <a:pt x="2919" y="181"/>
                    <a:pt x="2769" y="422"/>
                    <a:pt x="2679" y="693"/>
                  </a:cubicBezTo>
                  <a:cubicBezTo>
                    <a:pt x="2558" y="1084"/>
                    <a:pt x="1655" y="1596"/>
                    <a:pt x="1625" y="2137"/>
                  </a:cubicBezTo>
                  <a:cubicBezTo>
                    <a:pt x="1595" y="2649"/>
                    <a:pt x="813" y="3492"/>
                    <a:pt x="241" y="4605"/>
                  </a:cubicBezTo>
                  <a:cubicBezTo>
                    <a:pt x="121" y="4846"/>
                    <a:pt x="60" y="5117"/>
                    <a:pt x="0" y="5358"/>
                  </a:cubicBezTo>
                  <a:lnTo>
                    <a:pt x="3130" y="5358"/>
                  </a:lnTo>
                  <a:lnTo>
                    <a:pt x="3130" y="4124"/>
                  </a:lnTo>
                  <a:cubicBezTo>
                    <a:pt x="3130" y="3943"/>
                    <a:pt x="3973" y="3702"/>
                    <a:pt x="3973" y="3522"/>
                  </a:cubicBezTo>
                  <a:lnTo>
                    <a:pt x="3973" y="1415"/>
                  </a:lnTo>
                  <a:cubicBezTo>
                    <a:pt x="3973" y="1415"/>
                    <a:pt x="5123" y="1428"/>
                    <a:pt x="5908" y="1428"/>
                  </a:cubicBezTo>
                  <a:cubicBezTo>
                    <a:pt x="6300" y="1428"/>
                    <a:pt x="6601" y="1425"/>
                    <a:pt x="6621" y="1415"/>
                  </a:cubicBezTo>
                  <a:cubicBezTo>
                    <a:pt x="6681" y="1054"/>
                    <a:pt x="6681" y="663"/>
                    <a:pt x="6621" y="302"/>
                  </a:cubicBezTo>
                  <a:cubicBezTo>
                    <a:pt x="6561" y="91"/>
                    <a:pt x="6681" y="1"/>
                    <a:pt x="6079"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96" name="Google Shape;2890;p123">
              <a:extLst>
                <a:ext uri="{FF2B5EF4-FFF2-40B4-BE49-F238E27FC236}">
                  <a16:creationId xmlns:a16="http://schemas.microsoft.com/office/drawing/2014/main" id="{ADF48930-76A1-0F42-92B0-E58F318A9193}"/>
                </a:ext>
              </a:extLst>
            </p:cNvPr>
            <p:cNvSpPr/>
            <p:nvPr/>
          </p:nvSpPr>
          <p:spPr>
            <a:xfrm>
              <a:off x="3842888" y="2583196"/>
              <a:ext cx="298802" cy="325887"/>
            </a:xfrm>
            <a:custGeom>
              <a:avLst/>
              <a:gdLst/>
              <a:ahLst/>
              <a:cxnLst/>
              <a:rect l="l" t="t" r="r" b="b"/>
              <a:pathLst>
                <a:path w="9631" h="10504" extrusionOk="0">
                  <a:moveTo>
                    <a:pt x="6651" y="1"/>
                  </a:moveTo>
                  <a:lnTo>
                    <a:pt x="6651" y="1"/>
                  </a:lnTo>
                  <a:cubicBezTo>
                    <a:pt x="6711" y="362"/>
                    <a:pt x="6711" y="753"/>
                    <a:pt x="6651" y="1114"/>
                  </a:cubicBezTo>
                  <a:cubicBezTo>
                    <a:pt x="6631" y="1134"/>
                    <a:pt x="6330" y="1141"/>
                    <a:pt x="5938" y="1141"/>
                  </a:cubicBezTo>
                  <a:cubicBezTo>
                    <a:pt x="5153" y="1141"/>
                    <a:pt x="4003" y="1114"/>
                    <a:pt x="4003" y="1114"/>
                  </a:cubicBezTo>
                  <a:lnTo>
                    <a:pt x="4003" y="3221"/>
                  </a:lnTo>
                  <a:cubicBezTo>
                    <a:pt x="4003" y="3431"/>
                    <a:pt x="3160" y="3642"/>
                    <a:pt x="3160" y="3823"/>
                  </a:cubicBezTo>
                  <a:lnTo>
                    <a:pt x="3160" y="5087"/>
                  </a:lnTo>
                  <a:lnTo>
                    <a:pt x="30" y="5087"/>
                  </a:lnTo>
                  <a:cubicBezTo>
                    <a:pt x="0" y="5568"/>
                    <a:pt x="301" y="5749"/>
                    <a:pt x="482" y="5990"/>
                  </a:cubicBezTo>
                  <a:cubicBezTo>
                    <a:pt x="662" y="6200"/>
                    <a:pt x="301" y="6742"/>
                    <a:pt x="662" y="7254"/>
                  </a:cubicBezTo>
                  <a:cubicBezTo>
                    <a:pt x="1053" y="7795"/>
                    <a:pt x="602" y="8548"/>
                    <a:pt x="421" y="8788"/>
                  </a:cubicBezTo>
                  <a:cubicBezTo>
                    <a:pt x="331" y="8999"/>
                    <a:pt x="271" y="9240"/>
                    <a:pt x="271" y="9481"/>
                  </a:cubicBezTo>
                  <a:lnTo>
                    <a:pt x="301" y="9481"/>
                  </a:lnTo>
                  <a:cubicBezTo>
                    <a:pt x="497" y="9397"/>
                    <a:pt x="485" y="9053"/>
                    <a:pt x="699" y="9053"/>
                  </a:cubicBezTo>
                  <a:cubicBezTo>
                    <a:pt x="716" y="9053"/>
                    <a:pt x="733" y="9055"/>
                    <a:pt x="753" y="9059"/>
                  </a:cubicBezTo>
                  <a:lnTo>
                    <a:pt x="1475" y="9059"/>
                  </a:lnTo>
                  <a:cubicBezTo>
                    <a:pt x="1475" y="9059"/>
                    <a:pt x="1712" y="8958"/>
                    <a:pt x="1919" y="8958"/>
                  </a:cubicBezTo>
                  <a:cubicBezTo>
                    <a:pt x="1988" y="8958"/>
                    <a:pt x="2054" y="8969"/>
                    <a:pt x="2107" y="8999"/>
                  </a:cubicBezTo>
                  <a:cubicBezTo>
                    <a:pt x="2287" y="9089"/>
                    <a:pt x="2438" y="9240"/>
                    <a:pt x="2558" y="9390"/>
                  </a:cubicBezTo>
                  <a:lnTo>
                    <a:pt x="2829" y="9390"/>
                  </a:lnTo>
                  <a:cubicBezTo>
                    <a:pt x="2829" y="9390"/>
                    <a:pt x="3040" y="9992"/>
                    <a:pt x="3371" y="10112"/>
                  </a:cubicBezTo>
                  <a:cubicBezTo>
                    <a:pt x="3551" y="10173"/>
                    <a:pt x="3702" y="10323"/>
                    <a:pt x="3762" y="10504"/>
                  </a:cubicBezTo>
                  <a:cubicBezTo>
                    <a:pt x="4003" y="10504"/>
                    <a:pt x="4183" y="10413"/>
                    <a:pt x="4183" y="10233"/>
                  </a:cubicBezTo>
                  <a:cubicBezTo>
                    <a:pt x="4183" y="10108"/>
                    <a:pt x="4241" y="9924"/>
                    <a:pt x="4387" y="9924"/>
                  </a:cubicBezTo>
                  <a:cubicBezTo>
                    <a:pt x="4452" y="9924"/>
                    <a:pt x="4533" y="9960"/>
                    <a:pt x="4635" y="10052"/>
                  </a:cubicBezTo>
                  <a:cubicBezTo>
                    <a:pt x="4745" y="10153"/>
                    <a:pt x="4822" y="10189"/>
                    <a:pt x="4879" y="10189"/>
                  </a:cubicBezTo>
                  <a:cubicBezTo>
                    <a:pt x="4993" y="10189"/>
                    <a:pt x="5026" y="10042"/>
                    <a:pt x="5086" y="9962"/>
                  </a:cubicBezTo>
                  <a:cubicBezTo>
                    <a:pt x="5103" y="9928"/>
                    <a:pt x="5135" y="9915"/>
                    <a:pt x="5177" y="9915"/>
                  </a:cubicBezTo>
                  <a:cubicBezTo>
                    <a:pt x="5281" y="9915"/>
                    <a:pt x="5447" y="9992"/>
                    <a:pt x="5598" y="9992"/>
                  </a:cubicBezTo>
                  <a:cubicBezTo>
                    <a:pt x="5778" y="9992"/>
                    <a:pt x="5929" y="9932"/>
                    <a:pt x="6079" y="9902"/>
                  </a:cubicBezTo>
                  <a:lnTo>
                    <a:pt x="9179" y="9902"/>
                  </a:lnTo>
                  <a:cubicBezTo>
                    <a:pt x="9330" y="9812"/>
                    <a:pt x="9299" y="9210"/>
                    <a:pt x="9299" y="9210"/>
                  </a:cubicBezTo>
                  <a:lnTo>
                    <a:pt x="9029" y="8939"/>
                  </a:lnTo>
                  <a:lnTo>
                    <a:pt x="8276" y="1957"/>
                  </a:lnTo>
                  <a:lnTo>
                    <a:pt x="9630" y="1957"/>
                  </a:lnTo>
                  <a:lnTo>
                    <a:pt x="6802" y="121"/>
                  </a:lnTo>
                  <a:lnTo>
                    <a:pt x="6651" y="1"/>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97" name="Google Shape;2891;p123">
              <a:extLst>
                <a:ext uri="{FF2B5EF4-FFF2-40B4-BE49-F238E27FC236}">
                  <a16:creationId xmlns:a16="http://schemas.microsoft.com/office/drawing/2014/main" id="{CA7F9497-0F93-AD48-998F-62A2FEC18904}"/>
                </a:ext>
              </a:extLst>
            </p:cNvPr>
            <p:cNvSpPr/>
            <p:nvPr/>
          </p:nvSpPr>
          <p:spPr>
            <a:xfrm>
              <a:off x="3959604" y="2642950"/>
              <a:ext cx="410833" cy="379250"/>
            </a:xfrm>
            <a:custGeom>
              <a:avLst/>
              <a:gdLst/>
              <a:ahLst/>
              <a:cxnLst/>
              <a:rect l="l" t="t" r="r" b="b"/>
              <a:pathLst>
                <a:path w="13242" h="12224" extrusionOk="0">
                  <a:moveTo>
                    <a:pt x="4514" y="1"/>
                  </a:moveTo>
                  <a:lnTo>
                    <a:pt x="5267" y="6983"/>
                  </a:lnTo>
                  <a:lnTo>
                    <a:pt x="5537" y="7254"/>
                  </a:lnTo>
                  <a:cubicBezTo>
                    <a:pt x="5537" y="7254"/>
                    <a:pt x="5568" y="7855"/>
                    <a:pt x="5417" y="7916"/>
                  </a:cubicBezTo>
                  <a:lnTo>
                    <a:pt x="2347" y="7916"/>
                  </a:lnTo>
                  <a:cubicBezTo>
                    <a:pt x="2167" y="7976"/>
                    <a:pt x="2016" y="8006"/>
                    <a:pt x="1836" y="8036"/>
                  </a:cubicBezTo>
                  <a:cubicBezTo>
                    <a:pt x="1683" y="8036"/>
                    <a:pt x="1498" y="7972"/>
                    <a:pt x="1396" y="7972"/>
                  </a:cubicBezTo>
                  <a:cubicBezTo>
                    <a:pt x="1358" y="7972"/>
                    <a:pt x="1332" y="7981"/>
                    <a:pt x="1324" y="8006"/>
                  </a:cubicBezTo>
                  <a:cubicBezTo>
                    <a:pt x="1304" y="8047"/>
                    <a:pt x="1270" y="8224"/>
                    <a:pt x="1139" y="8224"/>
                  </a:cubicBezTo>
                  <a:cubicBezTo>
                    <a:pt x="1076" y="8224"/>
                    <a:pt x="990" y="8183"/>
                    <a:pt x="873" y="8066"/>
                  </a:cubicBezTo>
                  <a:cubicBezTo>
                    <a:pt x="749" y="7961"/>
                    <a:pt x="658" y="7920"/>
                    <a:pt x="592" y="7920"/>
                  </a:cubicBezTo>
                  <a:cubicBezTo>
                    <a:pt x="449" y="7920"/>
                    <a:pt x="421" y="8112"/>
                    <a:pt x="421" y="8277"/>
                  </a:cubicBezTo>
                  <a:cubicBezTo>
                    <a:pt x="421" y="8487"/>
                    <a:pt x="241" y="8518"/>
                    <a:pt x="0" y="8518"/>
                  </a:cubicBezTo>
                  <a:lnTo>
                    <a:pt x="90" y="8728"/>
                  </a:lnTo>
                  <a:lnTo>
                    <a:pt x="181" y="8909"/>
                  </a:lnTo>
                  <a:cubicBezTo>
                    <a:pt x="181" y="8909"/>
                    <a:pt x="181" y="9270"/>
                    <a:pt x="331" y="9390"/>
                  </a:cubicBezTo>
                  <a:cubicBezTo>
                    <a:pt x="482" y="9541"/>
                    <a:pt x="632" y="9721"/>
                    <a:pt x="752" y="9932"/>
                  </a:cubicBezTo>
                  <a:lnTo>
                    <a:pt x="752" y="10564"/>
                  </a:lnTo>
                  <a:cubicBezTo>
                    <a:pt x="752" y="10564"/>
                    <a:pt x="814" y="10811"/>
                    <a:pt x="921" y="10811"/>
                  </a:cubicBezTo>
                  <a:cubicBezTo>
                    <a:pt x="943" y="10811"/>
                    <a:pt x="967" y="10801"/>
                    <a:pt x="993" y="10775"/>
                  </a:cubicBezTo>
                  <a:cubicBezTo>
                    <a:pt x="1026" y="10742"/>
                    <a:pt x="1060" y="10731"/>
                    <a:pt x="1094" y="10731"/>
                  </a:cubicBezTo>
                  <a:cubicBezTo>
                    <a:pt x="1175" y="10731"/>
                    <a:pt x="1258" y="10792"/>
                    <a:pt x="1332" y="10792"/>
                  </a:cubicBezTo>
                  <a:cubicBezTo>
                    <a:pt x="1373" y="10792"/>
                    <a:pt x="1411" y="10773"/>
                    <a:pt x="1445" y="10714"/>
                  </a:cubicBezTo>
                  <a:cubicBezTo>
                    <a:pt x="1472" y="10640"/>
                    <a:pt x="1517" y="10615"/>
                    <a:pt x="1570" y="10615"/>
                  </a:cubicBezTo>
                  <a:cubicBezTo>
                    <a:pt x="1690" y="10615"/>
                    <a:pt x="1852" y="10745"/>
                    <a:pt x="1956" y="10745"/>
                  </a:cubicBezTo>
                  <a:cubicBezTo>
                    <a:pt x="2107" y="10745"/>
                    <a:pt x="2438" y="10323"/>
                    <a:pt x="2528" y="10323"/>
                  </a:cubicBezTo>
                  <a:cubicBezTo>
                    <a:pt x="2678" y="10504"/>
                    <a:pt x="2799" y="10714"/>
                    <a:pt x="2829" y="10925"/>
                  </a:cubicBezTo>
                  <a:cubicBezTo>
                    <a:pt x="2829" y="11076"/>
                    <a:pt x="3250" y="11286"/>
                    <a:pt x="3130" y="11316"/>
                  </a:cubicBezTo>
                  <a:cubicBezTo>
                    <a:pt x="3009" y="11346"/>
                    <a:pt x="2949" y="11587"/>
                    <a:pt x="3130" y="11587"/>
                  </a:cubicBezTo>
                  <a:cubicBezTo>
                    <a:pt x="3310" y="11587"/>
                    <a:pt x="3190" y="11888"/>
                    <a:pt x="3310" y="12009"/>
                  </a:cubicBezTo>
                  <a:cubicBezTo>
                    <a:pt x="3384" y="12101"/>
                    <a:pt x="3470" y="12182"/>
                    <a:pt x="3552" y="12182"/>
                  </a:cubicBezTo>
                  <a:cubicBezTo>
                    <a:pt x="3604" y="12182"/>
                    <a:pt x="3655" y="12150"/>
                    <a:pt x="3702" y="12069"/>
                  </a:cubicBezTo>
                  <a:cubicBezTo>
                    <a:pt x="3730" y="11994"/>
                    <a:pt x="3769" y="11966"/>
                    <a:pt x="3812" y="11966"/>
                  </a:cubicBezTo>
                  <a:cubicBezTo>
                    <a:pt x="3908" y="11966"/>
                    <a:pt x="4021" y="12106"/>
                    <a:pt x="4063" y="12189"/>
                  </a:cubicBezTo>
                  <a:cubicBezTo>
                    <a:pt x="4086" y="12213"/>
                    <a:pt x="4126" y="12224"/>
                    <a:pt x="4173" y="12224"/>
                  </a:cubicBezTo>
                  <a:cubicBezTo>
                    <a:pt x="4306" y="12224"/>
                    <a:pt x="4492" y="12134"/>
                    <a:pt x="4514" y="11978"/>
                  </a:cubicBezTo>
                  <a:cubicBezTo>
                    <a:pt x="4531" y="11878"/>
                    <a:pt x="4660" y="11815"/>
                    <a:pt x="4770" y="11815"/>
                  </a:cubicBezTo>
                  <a:cubicBezTo>
                    <a:pt x="4859" y="11815"/>
                    <a:pt x="4936" y="11855"/>
                    <a:pt x="4936" y="11948"/>
                  </a:cubicBezTo>
                  <a:cubicBezTo>
                    <a:pt x="4936" y="12077"/>
                    <a:pt x="4944" y="12137"/>
                    <a:pt x="4989" y="12137"/>
                  </a:cubicBezTo>
                  <a:cubicBezTo>
                    <a:pt x="5028" y="12137"/>
                    <a:pt x="5095" y="12092"/>
                    <a:pt x="5206" y="12009"/>
                  </a:cubicBezTo>
                  <a:lnTo>
                    <a:pt x="5417" y="12009"/>
                  </a:lnTo>
                  <a:cubicBezTo>
                    <a:pt x="5477" y="11828"/>
                    <a:pt x="5537" y="11617"/>
                    <a:pt x="5658" y="11437"/>
                  </a:cubicBezTo>
                  <a:cubicBezTo>
                    <a:pt x="5718" y="11256"/>
                    <a:pt x="5447" y="10925"/>
                    <a:pt x="5598" y="10895"/>
                  </a:cubicBezTo>
                  <a:cubicBezTo>
                    <a:pt x="5748" y="10865"/>
                    <a:pt x="6109" y="10925"/>
                    <a:pt x="6200" y="10624"/>
                  </a:cubicBezTo>
                  <a:cubicBezTo>
                    <a:pt x="6290" y="10444"/>
                    <a:pt x="6380" y="10263"/>
                    <a:pt x="6470" y="10113"/>
                  </a:cubicBezTo>
                  <a:cubicBezTo>
                    <a:pt x="6470" y="10113"/>
                    <a:pt x="6496" y="9527"/>
                    <a:pt x="6687" y="9527"/>
                  </a:cubicBezTo>
                  <a:cubicBezTo>
                    <a:pt x="6704" y="9527"/>
                    <a:pt x="6722" y="9531"/>
                    <a:pt x="6741" y="9541"/>
                  </a:cubicBezTo>
                  <a:cubicBezTo>
                    <a:pt x="6871" y="9615"/>
                    <a:pt x="7024" y="9712"/>
                    <a:pt x="7122" y="9712"/>
                  </a:cubicBezTo>
                  <a:cubicBezTo>
                    <a:pt x="7183" y="9712"/>
                    <a:pt x="7223" y="9675"/>
                    <a:pt x="7223" y="9571"/>
                  </a:cubicBezTo>
                  <a:cubicBezTo>
                    <a:pt x="7223" y="9300"/>
                    <a:pt x="7524" y="9420"/>
                    <a:pt x="7614" y="9210"/>
                  </a:cubicBezTo>
                  <a:cubicBezTo>
                    <a:pt x="7657" y="9037"/>
                    <a:pt x="7732" y="8972"/>
                    <a:pt x="7826" y="8972"/>
                  </a:cubicBezTo>
                  <a:cubicBezTo>
                    <a:pt x="7863" y="8972"/>
                    <a:pt x="7903" y="8982"/>
                    <a:pt x="7945" y="8999"/>
                  </a:cubicBezTo>
                  <a:cubicBezTo>
                    <a:pt x="7981" y="9021"/>
                    <a:pt x="8019" y="9030"/>
                    <a:pt x="8055" y="9030"/>
                  </a:cubicBezTo>
                  <a:cubicBezTo>
                    <a:pt x="8171" y="9030"/>
                    <a:pt x="8276" y="8933"/>
                    <a:pt x="8276" y="8818"/>
                  </a:cubicBezTo>
                  <a:cubicBezTo>
                    <a:pt x="8276" y="8668"/>
                    <a:pt x="8667" y="8758"/>
                    <a:pt x="8968" y="8578"/>
                  </a:cubicBezTo>
                  <a:cubicBezTo>
                    <a:pt x="9202" y="8414"/>
                    <a:pt x="9345" y="8268"/>
                    <a:pt x="9440" y="8268"/>
                  </a:cubicBezTo>
                  <a:cubicBezTo>
                    <a:pt x="9467" y="8268"/>
                    <a:pt x="9490" y="8280"/>
                    <a:pt x="9510" y="8307"/>
                  </a:cubicBezTo>
                  <a:cubicBezTo>
                    <a:pt x="9692" y="8357"/>
                    <a:pt x="9884" y="8379"/>
                    <a:pt x="10074" y="8379"/>
                  </a:cubicBezTo>
                  <a:cubicBezTo>
                    <a:pt x="10229" y="8379"/>
                    <a:pt x="10384" y="8364"/>
                    <a:pt x="10533" y="8337"/>
                  </a:cubicBezTo>
                  <a:cubicBezTo>
                    <a:pt x="10635" y="8312"/>
                    <a:pt x="10801" y="8136"/>
                    <a:pt x="11031" y="8136"/>
                  </a:cubicBezTo>
                  <a:cubicBezTo>
                    <a:pt x="11073" y="8136"/>
                    <a:pt x="11118" y="8142"/>
                    <a:pt x="11165" y="8156"/>
                  </a:cubicBezTo>
                  <a:cubicBezTo>
                    <a:pt x="11203" y="8164"/>
                    <a:pt x="11246" y="8167"/>
                    <a:pt x="11294" y="8167"/>
                  </a:cubicBezTo>
                  <a:cubicBezTo>
                    <a:pt x="11626" y="8167"/>
                    <a:pt x="12166" y="8006"/>
                    <a:pt x="12429" y="8006"/>
                  </a:cubicBezTo>
                  <a:cubicBezTo>
                    <a:pt x="12730" y="8006"/>
                    <a:pt x="12790" y="7765"/>
                    <a:pt x="12911" y="7675"/>
                  </a:cubicBezTo>
                  <a:cubicBezTo>
                    <a:pt x="13031" y="7555"/>
                    <a:pt x="13061" y="7133"/>
                    <a:pt x="13182" y="7103"/>
                  </a:cubicBezTo>
                  <a:cubicBezTo>
                    <a:pt x="13212" y="6381"/>
                    <a:pt x="13242" y="5689"/>
                    <a:pt x="13212" y="4996"/>
                  </a:cubicBezTo>
                  <a:lnTo>
                    <a:pt x="13212" y="4996"/>
                  </a:lnTo>
                  <a:lnTo>
                    <a:pt x="12519" y="5117"/>
                  </a:lnTo>
                  <a:cubicBezTo>
                    <a:pt x="12519" y="4786"/>
                    <a:pt x="12399" y="4485"/>
                    <a:pt x="12158" y="4274"/>
                  </a:cubicBezTo>
                  <a:cubicBezTo>
                    <a:pt x="11857" y="4124"/>
                    <a:pt x="11556" y="4033"/>
                    <a:pt x="11255" y="4003"/>
                  </a:cubicBezTo>
                  <a:cubicBezTo>
                    <a:pt x="11135" y="3763"/>
                    <a:pt x="10955" y="3522"/>
                    <a:pt x="10774" y="3311"/>
                  </a:cubicBezTo>
                  <a:cubicBezTo>
                    <a:pt x="10623" y="3161"/>
                    <a:pt x="8005" y="1415"/>
                    <a:pt x="5868"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98" name="Google Shape;2892;p123">
              <a:extLst>
                <a:ext uri="{FF2B5EF4-FFF2-40B4-BE49-F238E27FC236}">
                  <a16:creationId xmlns:a16="http://schemas.microsoft.com/office/drawing/2014/main" id="{C99AC07E-2751-D743-A95B-52DB8030042E}"/>
                </a:ext>
              </a:extLst>
            </p:cNvPr>
            <p:cNvSpPr/>
            <p:nvPr/>
          </p:nvSpPr>
          <p:spPr>
            <a:xfrm>
              <a:off x="4127666" y="2899341"/>
              <a:ext cx="201694" cy="136572"/>
            </a:xfrm>
            <a:custGeom>
              <a:avLst/>
              <a:gdLst/>
              <a:ahLst/>
              <a:cxnLst/>
              <a:rect l="l" t="t" r="r" b="b"/>
              <a:pathLst>
                <a:path w="6501" h="4402" extrusionOk="0">
                  <a:moveTo>
                    <a:pt x="4016" y="1"/>
                  </a:moveTo>
                  <a:cubicBezTo>
                    <a:pt x="3921" y="1"/>
                    <a:pt x="3779" y="131"/>
                    <a:pt x="3551" y="314"/>
                  </a:cubicBezTo>
                  <a:cubicBezTo>
                    <a:pt x="3250" y="524"/>
                    <a:pt x="2859" y="404"/>
                    <a:pt x="2859" y="554"/>
                  </a:cubicBezTo>
                  <a:cubicBezTo>
                    <a:pt x="2859" y="673"/>
                    <a:pt x="2766" y="754"/>
                    <a:pt x="2638" y="754"/>
                  </a:cubicBezTo>
                  <a:cubicBezTo>
                    <a:pt x="2604" y="754"/>
                    <a:pt x="2567" y="748"/>
                    <a:pt x="2528" y="735"/>
                  </a:cubicBezTo>
                  <a:cubicBezTo>
                    <a:pt x="2471" y="726"/>
                    <a:pt x="2420" y="716"/>
                    <a:pt x="2376" y="716"/>
                  </a:cubicBezTo>
                  <a:cubicBezTo>
                    <a:pt x="2280" y="716"/>
                    <a:pt x="2218" y="761"/>
                    <a:pt x="2197" y="946"/>
                  </a:cubicBezTo>
                  <a:cubicBezTo>
                    <a:pt x="2137" y="1186"/>
                    <a:pt x="1836" y="1006"/>
                    <a:pt x="1806" y="1307"/>
                  </a:cubicBezTo>
                  <a:cubicBezTo>
                    <a:pt x="1794" y="1421"/>
                    <a:pt x="1753" y="1461"/>
                    <a:pt x="1694" y="1461"/>
                  </a:cubicBezTo>
                  <a:cubicBezTo>
                    <a:pt x="1598" y="1461"/>
                    <a:pt x="1455" y="1352"/>
                    <a:pt x="1324" y="1277"/>
                  </a:cubicBezTo>
                  <a:cubicBezTo>
                    <a:pt x="1305" y="1267"/>
                    <a:pt x="1287" y="1263"/>
                    <a:pt x="1270" y="1263"/>
                  </a:cubicBezTo>
                  <a:cubicBezTo>
                    <a:pt x="1079" y="1263"/>
                    <a:pt x="1053" y="1849"/>
                    <a:pt x="1053" y="1849"/>
                  </a:cubicBezTo>
                  <a:cubicBezTo>
                    <a:pt x="963" y="1999"/>
                    <a:pt x="873" y="2180"/>
                    <a:pt x="783" y="2360"/>
                  </a:cubicBezTo>
                  <a:cubicBezTo>
                    <a:pt x="692" y="2661"/>
                    <a:pt x="301" y="2601"/>
                    <a:pt x="181" y="2631"/>
                  </a:cubicBezTo>
                  <a:cubicBezTo>
                    <a:pt x="90" y="2661"/>
                    <a:pt x="301" y="2992"/>
                    <a:pt x="241" y="3173"/>
                  </a:cubicBezTo>
                  <a:cubicBezTo>
                    <a:pt x="120" y="3353"/>
                    <a:pt x="60" y="3564"/>
                    <a:pt x="0" y="3745"/>
                  </a:cubicBezTo>
                  <a:cubicBezTo>
                    <a:pt x="151" y="3805"/>
                    <a:pt x="301" y="3895"/>
                    <a:pt x="391" y="4015"/>
                  </a:cubicBezTo>
                  <a:cubicBezTo>
                    <a:pt x="438" y="4109"/>
                    <a:pt x="702" y="4401"/>
                    <a:pt x="917" y="4401"/>
                  </a:cubicBezTo>
                  <a:cubicBezTo>
                    <a:pt x="978" y="4401"/>
                    <a:pt x="1036" y="4377"/>
                    <a:pt x="1083" y="4316"/>
                  </a:cubicBezTo>
                  <a:cubicBezTo>
                    <a:pt x="1258" y="4200"/>
                    <a:pt x="1471" y="4133"/>
                    <a:pt x="1689" y="4133"/>
                  </a:cubicBezTo>
                  <a:cubicBezTo>
                    <a:pt x="1808" y="4133"/>
                    <a:pt x="1929" y="4153"/>
                    <a:pt x="2047" y="4196"/>
                  </a:cubicBezTo>
                  <a:cubicBezTo>
                    <a:pt x="2107" y="4257"/>
                    <a:pt x="2153" y="4283"/>
                    <a:pt x="2189" y="4283"/>
                  </a:cubicBezTo>
                  <a:cubicBezTo>
                    <a:pt x="2241" y="4283"/>
                    <a:pt x="2269" y="4225"/>
                    <a:pt x="2287" y="4136"/>
                  </a:cubicBezTo>
                  <a:cubicBezTo>
                    <a:pt x="2347" y="3985"/>
                    <a:pt x="2047" y="3504"/>
                    <a:pt x="2137" y="3353"/>
                  </a:cubicBezTo>
                  <a:cubicBezTo>
                    <a:pt x="2185" y="3293"/>
                    <a:pt x="2509" y="3266"/>
                    <a:pt x="2883" y="3266"/>
                  </a:cubicBezTo>
                  <a:cubicBezTo>
                    <a:pt x="3436" y="3266"/>
                    <a:pt x="4099" y="3324"/>
                    <a:pt x="4153" y="3413"/>
                  </a:cubicBezTo>
                  <a:cubicBezTo>
                    <a:pt x="4163" y="3438"/>
                    <a:pt x="4171" y="3448"/>
                    <a:pt x="4179" y="3448"/>
                  </a:cubicBezTo>
                  <a:cubicBezTo>
                    <a:pt x="4218" y="3448"/>
                    <a:pt x="4249" y="3201"/>
                    <a:pt x="4428" y="3201"/>
                  </a:cubicBezTo>
                  <a:cubicBezTo>
                    <a:pt x="4436" y="3201"/>
                    <a:pt x="4445" y="3202"/>
                    <a:pt x="4454" y="3203"/>
                  </a:cubicBezTo>
                  <a:cubicBezTo>
                    <a:pt x="4609" y="3225"/>
                    <a:pt x="4829" y="3296"/>
                    <a:pt x="4995" y="3296"/>
                  </a:cubicBezTo>
                  <a:cubicBezTo>
                    <a:pt x="5054" y="3296"/>
                    <a:pt x="5107" y="3287"/>
                    <a:pt x="5146" y="3263"/>
                  </a:cubicBezTo>
                  <a:cubicBezTo>
                    <a:pt x="5297" y="3203"/>
                    <a:pt x="5447" y="2962"/>
                    <a:pt x="5598" y="2962"/>
                  </a:cubicBezTo>
                  <a:cubicBezTo>
                    <a:pt x="5748" y="2962"/>
                    <a:pt x="6169" y="2962"/>
                    <a:pt x="6260" y="2842"/>
                  </a:cubicBezTo>
                  <a:cubicBezTo>
                    <a:pt x="6320" y="2751"/>
                    <a:pt x="6501" y="2691"/>
                    <a:pt x="6470" y="2541"/>
                  </a:cubicBezTo>
                  <a:lnTo>
                    <a:pt x="6470" y="2511"/>
                  </a:lnTo>
                  <a:cubicBezTo>
                    <a:pt x="6380" y="2420"/>
                    <a:pt x="6260" y="2360"/>
                    <a:pt x="6139" y="2360"/>
                  </a:cubicBezTo>
                  <a:cubicBezTo>
                    <a:pt x="6109" y="2360"/>
                    <a:pt x="6139" y="1999"/>
                    <a:pt x="6109" y="1969"/>
                  </a:cubicBezTo>
                  <a:cubicBezTo>
                    <a:pt x="6099" y="1959"/>
                    <a:pt x="6084" y="1954"/>
                    <a:pt x="6066" y="1954"/>
                  </a:cubicBezTo>
                  <a:cubicBezTo>
                    <a:pt x="5996" y="1954"/>
                    <a:pt x="5878" y="2014"/>
                    <a:pt x="5770" y="2014"/>
                  </a:cubicBezTo>
                  <a:cubicBezTo>
                    <a:pt x="5742" y="2014"/>
                    <a:pt x="5714" y="2009"/>
                    <a:pt x="5688" y="1999"/>
                  </a:cubicBezTo>
                  <a:cubicBezTo>
                    <a:pt x="5538" y="1909"/>
                    <a:pt x="5507" y="1728"/>
                    <a:pt x="5387" y="1728"/>
                  </a:cubicBezTo>
                  <a:cubicBezTo>
                    <a:pt x="5267" y="1728"/>
                    <a:pt x="5237" y="1578"/>
                    <a:pt x="5237" y="1427"/>
                  </a:cubicBezTo>
                  <a:cubicBezTo>
                    <a:pt x="5237" y="1277"/>
                    <a:pt x="4996" y="1096"/>
                    <a:pt x="4845" y="1006"/>
                  </a:cubicBezTo>
                  <a:cubicBezTo>
                    <a:pt x="4695" y="946"/>
                    <a:pt x="4695" y="615"/>
                    <a:pt x="4605" y="524"/>
                  </a:cubicBezTo>
                  <a:cubicBezTo>
                    <a:pt x="4484" y="434"/>
                    <a:pt x="4605" y="314"/>
                    <a:pt x="4605" y="103"/>
                  </a:cubicBezTo>
                  <a:lnTo>
                    <a:pt x="4093" y="43"/>
                  </a:lnTo>
                  <a:cubicBezTo>
                    <a:pt x="4071" y="14"/>
                    <a:pt x="4046" y="1"/>
                    <a:pt x="4016"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999" name="Google Shape;2893;p123">
              <a:extLst>
                <a:ext uri="{FF2B5EF4-FFF2-40B4-BE49-F238E27FC236}">
                  <a16:creationId xmlns:a16="http://schemas.microsoft.com/office/drawing/2014/main" id="{4979ADA5-34A7-AC4B-B19E-B10FDC520AE2}"/>
                </a:ext>
              </a:extLst>
            </p:cNvPr>
            <p:cNvSpPr/>
            <p:nvPr/>
          </p:nvSpPr>
          <p:spPr>
            <a:xfrm>
              <a:off x="4268644" y="2682166"/>
              <a:ext cx="381918" cy="295668"/>
            </a:xfrm>
            <a:custGeom>
              <a:avLst/>
              <a:gdLst/>
              <a:ahLst/>
              <a:cxnLst/>
              <a:rect l="l" t="t" r="r" b="b"/>
              <a:pathLst>
                <a:path w="12310" h="9530" extrusionOk="0">
                  <a:moveTo>
                    <a:pt x="9420" y="1"/>
                  </a:moveTo>
                  <a:lnTo>
                    <a:pt x="6019" y="2137"/>
                  </a:lnTo>
                  <a:lnTo>
                    <a:pt x="4575" y="3311"/>
                  </a:lnTo>
                  <a:lnTo>
                    <a:pt x="3371" y="3672"/>
                  </a:lnTo>
                  <a:lnTo>
                    <a:pt x="3251" y="3672"/>
                  </a:lnTo>
                  <a:cubicBezTo>
                    <a:pt x="3281" y="4395"/>
                    <a:pt x="3251" y="5087"/>
                    <a:pt x="3190" y="5779"/>
                  </a:cubicBezTo>
                  <a:cubicBezTo>
                    <a:pt x="3100" y="5839"/>
                    <a:pt x="3010" y="6291"/>
                    <a:pt x="2950" y="6351"/>
                  </a:cubicBezTo>
                  <a:cubicBezTo>
                    <a:pt x="2859" y="6441"/>
                    <a:pt x="2709" y="6682"/>
                    <a:pt x="2438" y="6682"/>
                  </a:cubicBezTo>
                  <a:cubicBezTo>
                    <a:pt x="2227" y="6682"/>
                    <a:pt x="1648" y="6843"/>
                    <a:pt x="1325" y="6843"/>
                  </a:cubicBezTo>
                  <a:cubicBezTo>
                    <a:pt x="1279" y="6843"/>
                    <a:pt x="1238" y="6840"/>
                    <a:pt x="1204" y="6832"/>
                  </a:cubicBezTo>
                  <a:cubicBezTo>
                    <a:pt x="1184" y="6830"/>
                    <a:pt x="1163" y="6829"/>
                    <a:pt x="1143" y="6829"/>
                  </a:cubicBezTo>
                  <a:cubicBezTo>
                    <a:pt x="897" y="6829"/>
                    <a:pt x="683" y="6987"/>
                    <a:pt x="572" y="7043"/>
                  </a:cubicBezTo>
                  <a:lnTo>
                    <a:pt x="61" y="7043"/>
                  </a:lnTo>
                  <a:cubicBezTo>
                    <a:pt x="61" y="7223"/>
                    <a:pt x="0" y="7434"/>
                    <a:pt x="61" y="7434"/>
                  </a:cubicBezTo>
                  <a:cubicBezTo>
                    <a:pt x="91" y="7434"/>
                    <a:pt x="181" y="7825"/>
                    <a:pt x="301" y="7946"/>
                  </a:cubicBezTo>
                  <a:cubicBezTo>
                    <a:pt x="422" y="8066"/>
                    <a:pt x="693" y="8186"/>
                    <a:pt x="693" y="8337"/>
                  </a:cubicBezTo>
                  <a:cubicBezTo>
                    <a:pt x="693" y="8487"/>
                    <a:pt x="723" y="8668"/>
                    <a:pt x="843" y="8668"/>
                  </a:cubicBezTo>
                  <a:cubicBezTo>
                    <a:pt x="933" y="8668"/>
                    <a:pt x="1024" y="8879"/>
                    <a:pt x="1144" y="8909"/>
                  </a:cubicBezTo>
                  <a:cubicBezTo>
                    <a:pt x="1152" y="8912"/>
                    <a:pt x="1162" y="8913"/>
                    <a:pt x="1174" y="8913"/>
                  </a:cubicBezTo>
                  <a:cubicBezTo>
                    <a:pt x="1255" y="8913"/>
                    <a:pt x="1400" y="8849"/>
                    <a:pt x="1492" y="8849"/>
                  </a:cubicBezTo>
                  <a:cubicBezTo>
                    <a:pt x="1525" y="8849"/>
                    <a:pt x="1551" y="8857"/>
                    <a:pt x="1565" y="8879"/>
                  </a:cubicBezTo>
                  <a:cubicBezTo>
                    <a:pt x="1595" y="8969"/>
                    <a:pt x="1565" y="9300"/>
                    <a:pt x="1595" y="9300"/>
                  </a:cubicBezTo>
                  <a:cubicBezTo>
                    <a:pt x="1716" y="9300"/>
                    <a:pt x="1836" y="9360"/>
                    <a:pt x="1926" y="9450"/>
                  </a:cubicBezTo>
                  <a:cubicBezTo>
                    <a:pt x="1900" y="9265"/>
                    <a:pt x="1944" y="9079"/>
                    <a:pt x="2140" y="9079"/>
                  </a:cubicBezTo>
                  <a:cubicBezTo>
                    <a:pt x="2166" y="9079"/>
                    <a:pt x="2195" y="9082"/>
                    <a:pt x="2227" y="9089"/>
                  </a:cubicBezTo>
                  <a:cubicBezTo>
                    <a:pt x="2498" y="9180"/>
                    <a:pt x="2257" y="9360"/>
                    <a:pt x="2468" y="9481"/>
                  </a:cubicBezTo>
                  <a:cubicBezTo>
                    <a:pt x="2520" y="9515"/>
                    <a:pt x="2569" y="9530"/>
                    <a:pt x="2613" y="9530"/>
                  </a:cubicBezTo>
                  <a:cubicBezTo>
                    <a:pt x="2722" y="9530"/>
                    <a:pt x="2799" y="9438"/>
                    <a:pt x="2799" y="9330"/>
                  </a:cubicBezTo>
                  <a:cubicBezTo>
                    <a:pt x="2799" y="9180"/>
                    <a:pt x="3100" y="8849"/>
                    <a:pt x="3130" y="8758"/>
                  </a:cubicBezTo>
                  <a:cubicBezTo>
                    <a:pt x="3160" y="8698"/>
                    <a:pt x="3190" y="8247"/>
                    <a:pt x="3311" y="8126"/>
                  </a:cubicBezTo>
                  <a:cubicBezTo>
                    <a:pt x="3356" y="8081"/>
                    <a:pt x="3449" y="8065"/>
                    <a:pt x="3556" y="8065"/>
                  </a:cubicBezTo>
                  <a:cubicBezTo>
                    <a:pt x="3733" y="8065"/>
                    <a:pt x="3951" y="8108"/>
                    <a:pt x="4063" y="8126"/>
                  </a:cubicBezTo>
                  <a:cubicBezTo>
                    <a:pt x="4070" y="8127"/>
                    <a:pt x="4078" y="8128"/>
                    <a:pt x="4085" y="8128"/>
                  </a:cubicBezTo>
                  <a:cubicBezTo>
                    <a:pt x="4216" y="8128"/>
                    <a:pt x="4300" y="7925"/>
                    <a:pt x="4415" y="7925"/>
                  </a:cubicBezTo>
                  <a:cubicBezTo>
                    <a:pt x="4445" y="7925"/>
                    <a:pt x="4478" y="7939"/>
                    <a:pt x="4515" y="7976"/>
                  </a:cubicBezTo>
                  <a:cubicBezTo>
                    <a:pt x="4605" y="8066"/>
                    <a:pt x="4725" y="8066"/>
                    <a:pt x="4842" y="8066"/>
                  </a:cubicBezTo>
                  <a:cubicBezTo>
                    <a:pt x="4958" y="8066"/>
                    <a:pt x="5071" y="8066"/>
                    <a:pt x="5147" y="8156"/>
                  </a:cubicBezTo>
                  <a:cubicBezTo>
                    <a:pt x="5274" y="8309"/>
                    <a:pt x="5358" y="8611"/>
                    <a:pt x="5508" y="8611"/>
                  </a:cubicBezTo>
                  <a:cubicBezTo>
                    <a:pt x="5535" y="8611"/>
                    <a:pt x="5565" y="8601"/>
                    <a:pt x="5598" y="8578"/>
                  </a:cubicBezTo>
                  <a:cubicBezTo>
                    <a:pt x="5809" y="8457"/>
                    <a:pt x="6019" y="8397"/>
                    <a:pt x="6260" y="8397"/>
                  </a:cubicBezTo>
                  <a:cubicBezTo>
                    <a:pt x="6411" y="8397"/>
                    <a:pt x="6742" y="8638"/>
                    <a:pt x="6862" y="8728"/>
                  </a:cubicBezTo>
                  <a:cubicBezTo>
                    <a:pt x="6982" y="8758"/>
                    <a:pt x="7110" y="8773"/>
                    <a:pt x="7242" y="8773"/>
                  </a:cubicBezTo>
                  <a:cubicBezTo>
                    <a:pt x="7374" y="8773"/>
                    <a:pt x="7509" y="8758"/>
                    <a:pt x="7644" y="8728"/>
                  </a:cubicBezTo>
                  <a:cubicBezTo>
                    <a:pt x="7788" y="8613"/>
                    <a:pt x="7986" y="8335"/>
                    <a:pt x="8186" y="8335"/>
                  </a:cubicBezTo>
                  <a:cubicBezTo>
                    <a:pt x="8196" y="8335"/>
                    <a:pt x="8206" y="8336"/>
                    <a:pt x="8216" y="8337"/>
                  </a:cubicBezTo>
                  <a:cubicBezTo>
                    <a:pt x="8382" y="8322"/>
                    <a:pt x="8547" y="8314"/>
                    <a:pt x="8713" y="8314"/>
                  </a:cubicBezTo>
                  <a:cubicBezTo>
                    <a:pt x="8878" y="8314"/>
                    <a:pt x="9044" y="8322"/>
                    <a:pt x="9209" y="8337"/>
                  </a:cubicBezTo>
                  <a:cubicBezTo>
                    <a:pt x="9420" y="8487"/>
                    <a:pt x="9661" y="8548"/>
                    <a:pt x="9902" y="8548"/>
                  </a:cubicBezTo>
                  <a:cubicBezTo>
                    <a:pt x="10082" y="8457"/>
                    <a:pt x="10263" y="8036"/>
                    <a:pt x="10473" y="8006"/>
                  </a:cubicBezTo>
                  <a:lnTo>
                    <a:pt x="10594" y="8006"/>
                  </a:lnTo>
                  <a:lnTo>
                    <a:pt x="10594" y="7735"/>
                  </a:lnTo>
                  <a:cubicBezTo>
                    <a:pt x="10594" y="7344"/>
                    <a:pt x="10654" y="7494"/>
                    <a:pt x="10714" y="7073"/>
                  </a:cubicBezTo>
                  <a:cubicBezTo>
                    <a:pt x="10804" y="6652"/>
                    <a:pt x="11888" y="5568"/>
                    <a:pt x="12008" y="5478"/>
                  </a:cubicBezTo>
                  <a:cubicBezTo>
                    <a:pt x="12068" y="4816"/>
                    <a:pt x="12098" y="4154"/>
                    <a:pt x="12068" y="3492"/>
                  </a:cubicBezTo>
                  <a:cubicBezTo>
                    <a:pt x="12098" y="3221"/>
                    <a:pt x="12129" y="2950"/>
                    <a:pt x="12219" y="2679"/>
                  </a:cubicBezTo>
                  <a:cubicBezTo>
                    <a:pt x="12309" y="2318"/>
                    <a:pt x="12068" y="2378"/>
                    <a:pt x="12068" y="2077"/>
                  </a:cubicBezTo>
                  <a:cubicBezTo>
                    <a:pt x="12068" y="1776"/>
                    <a:pt x="11737" y="1626"/>
                    <a:pt x="11737" y="1445"/>
                  </a:cubicBezTo>
                  <a:cubicBezTo>
                    <a:pt x="11737" y="1295"/>
                    <a:pt x="11737" y="783"/>
                    <a:pt x="11707" y="392"/>
                  </a:cubicBezTo>
                  <a:lnTo>
                    <a:pt x="11105" y="753"/>
                  </a:lnTo>
                  <a:cubicBezTo>
                    <a:pt x="10955" y="542"/>
                    <a:pt x="10774" y="362"/>
                    <a:pt x="10594" y="211"/>
                  </a:cubicBezTo>
                  <a:cubicBezTo>
                    <a:pt x="10203" y="61"/>
                    <a:pt x="9811" y="1"/>
                    <a:pt x="9420"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00" name="Google Shape;2894;p123">
              <a:extLst>
                <a:ext uri="{FF2B5EF4-FFF2-40B4-BE49-F238E27FC236}">
                  <a16:creationId xmlns:a16="http://schemas.microsoft.com/office/drawing/2014/main" id="{10A64DB5-CE0F-7B4D-990E-07153033DC14}"/>
                </a:ext>
              </a:extLst>
            </p:cNvPr>
            <p:cNvSpPr/>
            <p:nvPr/>
          </p:nvSpPr>
          <p:spPr>
            <a:xfrm>
              <a:off x="4597291" y="2682166"/>
              <a:ext cx="245594" cy="408568"/>
            </a:xfrm>
            <a:custGeom>
              <a:avLst/>
              <a:gdLst/>
              <a:ahLst/>
              <a:cxnLst/>
              <a:rect l="l" t="t" r="r" b="b"/>
              <a:pathLst>
                <a:path w="7916" h="13169" extrusionOk="0">
                  <a:moveTo>
                    <a:pt x="1837" y="1"/>
                  </a:moveTo>
                  <a:lnTo>
                    <a:pt x="1114" y="392"/>
                  </a:lnTo>
                  <a:cubicBezTo>
                    <a:pt x="1144" y="783"/>
                    <a:pt x="1144" y="1295"/>
                    <a:pt x="1144" y="1445"/>
                  </a:cubicBezTo>
                  <a:cubicBezTo>
                    <a:pt x="1144" y="1596"/>
                    <a:pt x="1536" y="1837"/>
                    <a:pt x="1505" y="2137"/>
                  </a:cubicBezTo>
                  <a:cubicBezTo>
                    <a:pt x="1445" y="2438"/>
                    <a:pt x="1716" y="2408"/>
                    <a:pt x="1656" y="2739"/>
                  </a:cubicBezTo>
                  <a:cubicBezTo>
                    <a:pt x="1536" y="3010"/>
                    <a:pt x="1505" y="3281"/>
                    <a:pt x="1505" y="3582"/>
                  </a:cubicBezTo>
                  <a:cubicBezTo>
                    <a:pt x="1505" y="4244"/>
                    <a:pt x="1475" y="4906"/>
                    <a:pt x="1415" y="5568"/>
                  </a:cubicBezTo>
                  <a:cubicBezTo>
                    <a:pt x="1295" y="5659"/>
                    <a:pt x="211" y="6742"/>
                    <a:pt x="151" y="7163"/>
                  </a:cubicBezTo>
                  <a:cubicBezTo>
                    <a:pt x="61" y="7554"/>
                    <a:pt x="1" y="7404"/>
                    <a:pt x="1" y="7825"/>
                  </a:cubicBezTo>
                  <a:lnTo>
                    <a:pt x="1" y="8096"/>
                  </a:lnTo>
                  <a:lnTo>
                    <a:pt x="151" y="8247"/>
                  </a:lnTo>
                  <a:cubicBezTo>
                    <a:pt x="242" y="8367"/>
                    <a:pt x="242" y="8578"/>
                    <a:pt x="482" y="8578"/>
                  </a:cubicBezTo>
                  <a:cubicBezTo>
                    <a:pt x="693" y="8578"/>
                    <a:pt x="994" y="9119"/>
                    <a:pt x="964" y="9330"/>
                  </a:cubicBezTo>
                  <a:cubicBezTo>
                    <a:pt x="934" y="9571"/>
                    <a:pt x="1114" y="9661"/>
                    <a:pt x="1084" y="10052"/>
                  </a:cubicBezTo>
                  <a:cubicBezTo>
                    <a:pt x="1084" y="10413"/>
                    <a:pt x="1205" y="10745"/>
                    <a:pt x="1415" y="11015"/>
                  </a:cubicBezTo>
                  <a:cubicBezTo>
                    <a:pt x="1536" y="11106"/>
                    <a:pt x="1355" y="11136"/>
                    <a:pt x="1084" y="11136"/>
                  </a:cubicBezTo>
                  <a:cubicBezTo>
                    <a:pt x="994" y="11136"/>
                    <a:pt x="887" y="11132"/>
                    <a:pt x="784" y="11132"/>
                  </a:cubicBezTo>
                  <a:cubicBezTo>
                    <a:pt x="579" y="11132"/>
                    <a:pt x="392" y="11146"/>
                    <a:pt x="392" y="11226"/>
                  </a:cubicBezTo>
                  <a:cubicBezTo>
                    <a:pt x="332" y="11407"/>
                    <a:pt x="392" y="11647"/>
                    <a:pt x="603" y="11768"/>
                  </a:cubicBezTo>
                  <a:cubicBezTo>
                    <a:pt x="904" y="12069"/>
                    <a:pt x="1144" y="12159"/>
                    <a:pt x="1235" y="12460"/>
                  </a:cubicBezTo>
                  <a:cubicBezTo>
                    <a:pt x="1295" y="12701"/>
                    <a:pt x="1415" y="12911"/>
                    <a:pt x="1536" y="13122"/>
                  </a:cubicBezTo>
                  <a:cubicBezTo>
                    <a:pt x="1576" y="13152"/>
                    <a:pt x="1623" y="13169"/>
                    <a:pt x="1673" y="13169"/>
                  </a:cubicBezTo>
                  <a:cubicBezTo>
                    <a:pt x="1773" y="13169"/>
                    <a:pt x="1887" y="13102"/>
                    <a:pt x="1987" y="12941"/>
                  </a:cubicBezTo>
                  <a:cubicBezTo>
                    <a:pt x="2021" y="12894"/>
                    <a:pt x="2057" y="12877"/>
                    <a:pt x="2096" y="12877"/>
                  </a:cubicBezTo>
                  <a:cubicBezTo>
                    <a:pt x="2195" y="12877"/>
                    <a:pt x="2305" y="12991"/>
                    <a:pt x="2403" y="12991"/>
                  </a:cubicBezTo>
                  <a:cubicBezTo>
                    <a:pt x="2437" y="12991"/>
                    <a:pt x="2469" y="12977"/>
                    <a:pt x="2499" y="12941"/>
                  </a:cubicBezTo>
                  <a:cubicBezTo>
                    <a:pt x="2649" y="12761"/>
                    <a:pt x="3221" y="12761"/>
                    <a:pt x="3371" y="12671"/>
                  </a:cubicBezTo>
                  <a:lnTo>
                    <a:pt x="4094" y="12309"/>
                  </a:lnTo>
                  <a:cubicBezTo>
                    <a:pt x="4214" y="12189"/>
                    <a:pt x="3913" y="12008"/>
                    <a:pt x="4124" y="11888"/>
                  </a:cubicBezTo>
                  <a:cubicBezTo>
                    <a:pt x="4193" y="11854"/>
                    <a:pt x="4293" y="11846"/>
                    <a:pt x="4408" y="11846"/>
                  </a:cubicBezTo>
                  <a:cubicBezTo>
                    <a:pt x="4495" y="11846"/>
                    <a:pt x="4589" y="11850"/>
                    <a:pt x="4684" y="11850"/>
                  </a:cubicBezTo>
                  <a:cubicBezTo>
                    <a:pt x="4906" y="11850"/>
                    <a:pt x="5132" y="11828"/>
                    <a:pt x="5267" y="11677"/>
                  </a:cubicBezTo>
                  <a:cubicBezTo>
                    <a:pt x="5478" y="11377"/>
                    <a:pt x="5749" y="11106"/>
                    <a:pt x="6020" y="10835"/>
                  </a:cubicBezTo>
                  <a:cubicBezTo>
                    <a:pt x="6110" y="10714"/>
                    <a:pt x="6020" y="10654"/>
                    <a:pt x="6200" y="10474"/>
                  </a:cubicBezTo>
                  <a:cubicBezTo>
                    <a:pt x="6336" y="10315"/>
                    <a:pt x="6541" y="10190"/>
                    <a:pt x="6698" y="10190"/>
                  </a:cubicBezTo>
                  <a:cubicBezTo>
                    <a:pt x="6749" y="10190"/>
                    <a:pt x="6795" y="10203"/>
                    <a:pt x="6832" y="10233"/>
                  </a:cubicBezTo>
                  <a:lnTo>
                    <a:pt x="6953" y="10233"/>
                  </a:lnTo>
                  <a:lnTo>
                    <a:pt x="7073" y="9872"/>
                  </a:lnTo>
                  <a:cubicBezTo>
                    <a:pt x="7073" y="9872"/>
                    <a:pt x="6652" y="9661"/>
                    <a:pt x="6652" y="9360"/>
                  </a:cubicBezTo>
                  <a:cubicBezTo>
                    <a:pt x="6652" y="9059"/>
                    <a:pt x="6772" y="8818"/>
                    <a:pt x="6501" y="8818"/>
                  </a:cubicBezTo>
                  <a:cubicBezTo>
                    <a:pt x="6230" y="8818"/>
                    <a:pt x="6230" y="8548"/>
                    <a:pt x="6411" y="8367"/>
                  </a:cubicBezTo>
                  <a:cubicBezTo>
                    <a:pt x="6622" y="8156"/>
                    <a:pt x="6110" y="7795"/>
                    <a:pt x="6471" y="7795"/>
                  </a:cubicBezTo>
                  <a:cubicBezTo>
                    <a:pt x="6802" y="7795"/>
                    <a:pt x="6561" y="7223"/>
                    <a:pt x="6802" y="7193"/>
                  </a:cubicBezTo>
                  <a:cubicBezTo>
                    <a:pt x="7013" y="7163"/>
                    <a:pt x="7103" y="6953"/>
                    <a:pt x="7103" y="6712"/>
                  </a:cubicBezTo>
                  <a:cubicBezTo>
                    <a:pt x="7103" y="6441"/>
                    <a:pt x="7615" y="6321"/>
                    <a:pt x="7765" y="6260"/>
                  </a:cubicBezTo>
                  <a:cubicBezTo>
                    <a:pt x="7916" y="6170"/>
                    <a:pt x="7886" y="5418"/>
                    <a:pt x="7886" y="5418"/>
                  </a:cubicBezTo>
                  <a:lnTo>
                    <a:pt x="7886" y="3281"/>
                  </a:lnTo>
                  <a:lnTo>
                    <a:pt x="1837" y="1"/>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01" name="Google Shape;2895;p123">
              <a:extLst>
                <a:ext uri="{FF2B5EF4-FFF2-40B4-BE49-F238E27FC236}">
                  <a16:creationId xmlns:a16="http://schemas.microsoft.com/office/drawing/2014/main" id="{15D2D28F-3251-394D-B15C-1591BEE5E79C}"/>
                </a:ext>
              </a:extLst>
            </p:cNvPr>
            <p:cNvSpPr/>
            <p:nvPr/>
          </p:nvSpPr>
          <p:spPr>
            <a:xfrm>
              <a:off x="4855916" y="2455776"/>
              <a:ext cx="269886" cy="268428"/>
            </a:xfrm>
            <a:custGeom>
              <a:avLst/>
              <a:gdLst/>
              <a:ahLst/>
              <a:cxnLst/>
              <a:rect l="l" t="t" r="r" b="b"/>
              <a:pathLst>
                <a:path w="8699" h="8652" extrusionOk="0">
                  <a:moveTo>
                    <a:pt x="398" y="0"/>
                  </a:moveTo>
                  <a:cubicBezTo>
                    <a:pt x="355" y="0"/>
                    <a:pt x="392" y="178"/>
                    <a:pt x="392" y="225"/>
                  </a:cubicBezTo>
                  <a:cubicBezTo>
                    <a:pt x="392" y="316"/>
                    <a:pt x="543" y="918"/>
                    <a:pt x="272" y="1219"/>
                  </a:cubicBezTo>
                  <a:cubicBezTo>
                    <a:pt x="1" y="1489"/>
                    <a:pt x="272" y="1851"/>
                    <a:pt x="272" y="2362"/>
                  </a:cubicBezTo>
                  <a:lnTo>
                    <a:pt x="272" y="8471"/>
                  </a:lnTo>
                  <a:lnTo>
                    <a:pt x="5117" y="8471"/>
                  </a:lnTo>
                  <a:lnTo>
                    <a:pt x="5388" y="8261"/>
                  </a:lnTo>
                  <a:cubicBezTo>
                    <a:pt x="5405" y="8254"/>
                    <a:pt x="5422" y="8251"/>
                    <a:pt x="5440" y="8251"/>
                  </a:cubicBezTo>
                  <a:cubicBezTo>
                    <a:pt x="5583" y="8251"/>
                    <a:pt x="5749" y="8441"/>
                    <a:pt x="5749" y="8441"/>
                  </a:cubicBezTo>
                  <a:lnTo>
                    <a:pt x="6772" y="8441"/>
                  </a:lnTo>
                  <a:cubicBezTo>
                    <a:pt x="6893" y="8562"/>
                    <a:pt x="7043" y="8652"/>
                    <a:pt x="7224" y="8652"/>
                  </a:cubicBezTo>
                  <a:cubicBezTo>
                    <a:pt x="7465" y="8652"/>
                    <a:pt x="7284" y="8261"/>
                    <a:pt x="7675" y="8261"/>
                  </a:cubicBezTo>
                  <a:cubicBezTo>
                    <a:pt x="8036" y="8261"/>
                    <a:pt x="7976" y="7719"/>
                    <a:pt x="8187" y="7719"/>
                  </a:cubicBezTo>
                  <a:cubicBezTo>
                    <a:pt x="8251" y="7719"/>
                    <a:pt x="8296" y="7723"/>
                    <a:pt x="8331" y="7723"/>
                  </a:cubicBezTo>
                  <a:cubicBezTo>
                    <a:pt x="8429" y="7723"/>
                    <a:pt x="8454" y="7691"/>
                    <a:pt x="8608" y="7448"/>
                  </a:cubicBezTo>
                  <a:lnTo>
                    <a:pt x="8638" y="7448"/>
                  </a:lnTo>
                  <a:cubicBezTo>
                    <a:pt x="8608" y="7358"/>
                    <a:pt x="8608" y="7238"/>
                    <a:pt x="8638" y="7147"/>
                  </a:cubicBezTo>
                  <a:cubicBezTo>
                    <a:pt x="8698" y="6756"/>
                    <a:pt x="8428" y="6756"/>
                    <a:pt x="8277" y="6244"/>
                  </a:cubicBezTo>
                  <a:cubicBezTo>
                    <a:pt x="8127" y="5703"/>
                    <a:pt x="7465" y="4920"/>
                    <a:pt x="7465" y="4619"/>
                  </a:cubicBezTo>
                  <a:cubicBezTo>
                    <a:pt x="7465" y="4318"/>
                    <a:pt x="7043" y="4168"/>
                    <a:pt x="7073" y="3837"/>
                  </a:cubicBezTo>
                  <a:cubicBezTo>
                    <a:pt x="7103" y="3506"/>
                    <a:pt x="6893" y="3446"/>
                    <a:pt x="6501" y="2934"/>
                  </a:cubicBezTo>
                  <a:cubicBezTo>
                    <a:pt x="6140" y="2392"/>
                    <a:pt x="6050" y="1550"/>
                    <a:pt x="6170" y="1489"/>
                  </a:cubicBezTo>
                  <a:cubicBezTo>
                    <a:pt x="6173" y="1489"/>
                    <a:pt x="6175" y="1489"/>
                    <a:pt x="6177" y="1489"/>
                  </a:cubicBezTo>
                  <a:cubicBezTo>
                    <a:pt x="6301" y="1489"/>
                    <a:pt x="6564" y="2247"/>
                    <a:pt x="6712" y="2513"/>
                  </a:cubicBezTo>
                  <a:cubicBezTo>
                    <a:pt x="6833" y="2784"/>
                    <a:pt x="7194" y="3566"/>
                    <a:pt x="7495" y="3566"/>
                  </a:cubicBezTo>
                  <a:cubicBezTo>
                    <a:pt x="7785" y="3566"/>
                    <a:pt x="7851" y="2448"/>
                    <a:pt x="7963" y="2448"/>
                  </a:cubicBezTo>
                  <a:cubicBezTo>
                    <a:pt x="7967" y="2448"/>
                    <a:pt x="7972" y="2449"/>
                    <a:pt x="7976" y="2452"/>
                  </a:cubicBezTo>
                  <a:lnTo>
                    <a:pt x="7976" y="2212"/>
                  </a:lnTo>
                  <a:lnTo>
                    <a:pt x="8127" y="1911"/>
                  </a:lnTo>
                  <a:lnTo>
                    <a:pt x="7555" y="496"/>
                  </a:lnTo>
                  <a:lnTo>
                    <a:pt x="7465" y="647"/>
                  </a:lnTo>
                  <a:cubicBezTo>
                    <a:pt x="7453" y="655"/>
                    <a:pt x="7436" y="658"/>
                    <a:pt x="7416" y="658"/>
                  </a:cubicBezTo>
                  <a:cubicBezTo>
                    <a:pt x="7316" y="658"/>
                    <a:pt x="7117" y="579"/>
                    <a:pt x="6884" y="579"/>
                  </a:cubicBezTo>
                  <a:cubicBezTo>
                    <a:pt x="6800" y="579"/>
                    <a:pt x="6712" y="589"/>
                    <a:pt x="6622" y="617"/>
                  </a:cubicBezTo>
                  <a:cubicBezTo>
                    <a:pt x="6569" y="621"/>
                    <a:pt x="6516" y="624"/>
                    <a:pt x="6463" y="624"/>
                  </a:cubicBezTo>
                  <a:cubicBezTo>
                    <a:pt x="6178" y="624"/>
                    <a:pt x="5882" y="553"/>
                    <a:pt x="5629" y="376"/>
                  </a:cubicBezTo>
                  <a:cubicBezTo>
                    <a:pt x="5534" y="329"/>
                    <a:pt x="5385" y="308"/>
                    <a:pt x="5215" y="308"/>
                  </a:cubicBezTo>
                  <a:cubicBezTo>
                    <a:pt x="4738" y="308"/>
                    <a:pt x="4092" y="469"/>
                    <a:pt x="4004" y="647"/>
                  </a:cubicBezTo>
                  <a:cubicBezTo>
                    <a:pt x="3922" y="761"/>
                    <a:pt x="3761" y="813"/>
                    <a:pt x="3578" y="813"/>
                  </a:cubicBezTo>
                  <a:cubicBezTo>
                    <a:pt x="3423" y="813"/>
                    <a:pt x="3252" y="776"/>
                    <a:pt x="3101" y="707"/>
                  </a:cubicBezTo>
                  <a:cubicBezTo>
                    <a:pt x="2619" y="526"/>
                    <a:pt x="2138" y="376"/>
                    <a:pt x="1626" y="316"/>
                  </a:cubicBezTo>
                  <a:cubicBezTo>
                    <a:pt x="1024" y="256"/>
                    <a:pt x="573" y="195"/>
                    <a:pt x="452" y="45"/>
                  </a:cubicBezTo>
                  <a:cubicBezTo>
                    <a:pt x="427" y="13"/>
                    <a:pt x="409" y="0"/>
                    <a:pt x="398"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02" name="Google Shape;2896;p123">
              <a:extLst>
                <a:ext uri="{FF2B5EF4-FFF2-40B4-BE49-F238E27FC236}">
                  <a16:creationId xmlns:a16="http://schemas.microsoft.com/office/drawing/2014/main" id="{51B7EEE0-FA2A-2940-9856-34DD9DFCF4AA}"/>
                </a:ext>
              </a:extLst>
            </p:cNvPr>
            <p:cNvSpPr/>
            <p:nvPr/>
          </p:nvSpPr>
          <p:spPr>
            <a:xfrm>
              <a:off x="4478714" y="3217161"/>
              <a:ext cx="140078" cy="151309"/>
            </a:xfrm>
            <a:custGeom>
              <a:avLst/>
              <a:gdLst/>
              <a:ahLst/>
              <a:cxnLst/>
              <a:rect l="l" t="t" r="r" b="b"/>
              <a:pathLst>
                <a:path w="4515" h="4877" extrusionOk="0">
                  <a:moveTo>
                    <a:pt x="2378" y="1"/>
                  </a:moveTo>
                  <a:lnTo>
                    <a:pt x="2228" y="61"/>
                  </a:lnTo>
                  <a:cubicBezTo>
                    <a:pt x="2258" y="392"/>
                    <a:pt x="2228" y="753"/>
                    <a:pt x="2198" y="1084"/>
                  </a:cubicBezTo>
                  <a:lnTo>
                    <a:pt x="753" y="1084"/>
                  </a:lnTo>
                  <a:lnTo>
                    <a:pt x="603" y="1265"/>
                  </a:lnTo>
                  <a:cubicBezTo>
                    <a:pt x="512" y="1385"/>
                    <a:pt x="873" y="1506"/>
                    <a:pt x="904" y="1656"/>
                  </a:cubicBezTo>
                  <a:cubicBezTo>
                    <a:pt x="964" y="1807"/>
                    <a:pt x="452" y="1746"/>
                    <a:pt x="512" y="1987"/>
                  </a:cubicBezTo>
                  <a:cubicBezTo>
                    <a:pt x="482" y="2198"/>
                    <a:pt x="362" y="2378"/>
                    <a:pt x="151" y="2469"/>
                  </a:cubicBezTo>
                  <a:cubicBezTo>
                    <a:pt x="1" y="2589"/>
                    <a:pt x="542" y="3041"/>
                    <a:pt x="542" y="3191"/>
                  </a:cubicBezTo>
                  <a:cubicBezTo>
                    <a:pt x="542" y="3341"/>
                    <a:pt x="693" y="3492"/>
                    <a:pt x="1144" y="3913"/>
                  </a:cubicBezTo>
                  <a:cubicBezTo>
                    <a:pt x="1596" y="4304"/>
                    <a:pt x="1355" y="4425"/>
                    <a:pt x="1927" y="4876"/>
                  </a:cubicBezTo>
                  <a:cubicBezTo>
                    <a:pt x="2017" y="4756"/>
                    <a:pt x="2168" y="4726"/>
                    <a:pt x="2318" y="4726"/>
                  </a:cubicBezTo>
                  <a:cubicBezTo>
                    <a:pt x="2679" y="4726"/>
                    <a:pt x="2529" y="4515"/>
                    <a:pt x="2378" y="4094"/>
                  </a:cubicBezTo>
                  <a:cubicBezTo>
                    <a:pt x="2273" y="3799"/>
                    <a:pt x="2448" y="3755"/>
                    <a:pt x="2634" y="3755"/>
                  </a:cubicBezTo>
                  <a:cubicBezTo>
                    <a:pt x="2714" y="3755"/>
                    <a:pt x="2797" y="3763"/>
                    <a:pt x="2860" y="3763"/>
                  </a:cubicBezTo>
                  <a:cubicBezTo>
                    <a:pt x="3100" y="3763"/>
                    <a:pt x="3010" y="3341"/>
                    <a:pt x="3221" y="3341"/>
                  </a:cubicBezTo>
                  <a:cubicBezTo>
                    <a:pt x="3396" y="3341"/>
                    <a:pt x="3458" y="3824"/>
                    <a:pt x="3655" y="3824"/>
                  </a:cubicBezTo>
                  <a:cubicBezTo>
                    <a:pt x="3660" y="3824"/>
                    <a:pt x="3666" y="3824"/>
                    <a:pt x="3672" y="3823"/>
                  </a:cubicBezTo>
                  <a:cubicBezTo>
                    <a:pt x="3689" y="3820"/>
                    <a:pt x="3705" y="3819"/>
                    <a:pt x="3721" y="3819"/>
                  </a:cubicBezTo>
                  <a:cubicBezTo>
                    <a:pt x="3865" y="3819"/>
                    <a:pt x="3998" y="3917"/>
                    <a:pt x="4203" y="3917"/>
                  </a:cubicBezTo>
                  <a:cubicBezTo>
                    <a:pt x="4225" y="3917"/>
                    <a:pt x="4249" y="3916"/>
                    <a:pt x="4274" y="3913"/>
                  </a:cubicBezTo>
                  <a:cubicBezTo>
                    <a:pt x="4515" y="3853"/>
                    <a:pt x="4485" y="3372"/>
                    <a:pt x="4485" y="2950"/>
                  </a:cubicBezTo>
                  <a:cubicBezTo>
                    <a:pt x="4485" y="2559"/>
                    <a:pt x="4515" y="2288"/>
                    <a:pt x="4304" y="2138"/>
                  </a:cubicBezTo>
                  <a:cubicBezTo>
                    <a:pt x="4064" y="1987"/>
                    <a:pt x="3853" y="1656"/>
                    <a:pt x="4154" y="1506"/>
                  </a:cubicBezTo>
                  <a:cubicBezTo>
                    <a:pt x="4425" y="1415"/>
                    <a:pt x="4485" y="1054"/>
                    <a:pt x="4274" y="904"/>
                  </a:cubicBezTo>
                  <a:cubicBezTo>
                    <a:pt x="4211" y="847"/>
                    <a:pt x="4132" y="827"/>
                    <a:pt x="4050" y="827"/>
                  </a:cubicBezTo>
                  <a:cubicBezTo>
                    <a:pt x="3845" y="827"/>
                    <a:pt x="3614" y="950"/>
                    <a:pt x="3513" y="950"/>
                  </a:cubicBezTo>
                  <a:cubicBezTo>
                    <a:pt x="3480" y="950"/>
                    <a:pt x="3462" y="937"/>
                    <a:pt x="3462" y="904"/>
                  </a:cubicBezTo>
                  <a:cubicBezTo>
                    <a:pt x="3462" y="693"/>
                    <a:pt x="3522" y="392"/>
                    <a:pt x="3552" y="61"/>
                  </a:cubicBezTo>
                  <a:lnTo>
                    <a:pt x="2378" y="1"/>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03" name="Google Shape;2897;p123">
              <a:extLst>
                <a:ext uri="{FF2B5EF4-FFF2-40B4-BE49-F238E27FC236}">
                  <a16:creationId xmlns:a16="http://schemas.microsoft.com/office/drawing/2014/main" id="{C592BB70-E6B4-9E42-B245-A35376372EE6}"/>
                </a:ext>
              </a:extLst>
            </p:cNvPr>
            <p:cNvSpPr/>
            <p:nvPr/>
          </p:nvSpPr>
          <p:spPr>
            <a:xfrm>
              <a:off x="4494599" y="3219053"/>
              <a:ext cx="54170" cy="31770"/>
            </a:xfrm>
            <a:custGeom>
              <a:avLst/>
              <a:gdLst/>
              <a:ahLst/>
              <a:cxnLst/>
              <a:rect l="l" t="t" r="r" b="b"/>
              <a:pathLst>
                <a:path w="1746" h="1024" extrusionOk="0">
                  <a:moveTo>
                    <a:pt x="452" y="0"/>
                  </a:moveTo>
                  <a:cubicBezTo>
                    <a:pt x="542" y="181"/>
                    <a:pt x="452" y="421"/>
                    <a:pt x="241" y="482"/>
                  </a:cubicBezTo>
                  <a:cubicBezTo>
                    <a:pt x="0" y="602"/>
                    <a:pt x="30" y="783"/>
                    <a:pt x="211" y="843"/>
                  </a:cubicBezTo>
                  <a:cubicBezTo>
                    <a:pt x="392" y="873"/>
                    <a:pt x="301" y="933"/>
                    <a:pt x="241" y="1023"/>
                  </a:cubicBezTo>
                  <a:lnTo>
                    <a:pt x="1686" y="1023"/>
                  </a:lnTo>
                  <a:cubicBezTo>
                    <a:pt x="1716" y="692"/>
                    <a:pt x="1746" y="331"/>
                    <a:pt x="1716"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04" name="Google Shape;2898;p123">
              <a:extLst>
                <a:ext uri="{FF2B5EF4-FFF2-40B4-BE49-F238E27FC236}">
                  <a16:creationId xmlns:a16="http://schemas.microsoft.com/office/drawing/2014/main" id="{82F87A08-D4ED-7048-801A-14D26B341C90}"/>
                </a:ext>
              </a:extLst>
            </p:cNvPr>
            <p:cNvSpPr/>
            <p:nvPr/>
          </p:nvSpPr>
          <p:spPr>
            <a:xfrm>
              <a:off x="4538468" y="3182630"/>
              <a:ext cx="172778" cy="215717"/>
            </a:xfrm>
            <a:custGeom>
              <a:avLst/>
              <a:gdLst/>
              <a:ahLst/>
              <a:cxnLst/>
              <a:rect l="l" t="t" r="r" b="b"/>
              <a:pathLst>
                <a:path w="5569" h="6953" extrusionOk="0">
                  <a:moveTo>
                    <a:pt x="4846" y="0"/>
                  </a:moveTo>
                  <a:lnTo>
                    <a:pt x="4515" y="91"/>
                  </a:lnTo>
                  <a:lnTo>
                    <a:pt x="4064" y="211"/>
                  </a:lnTo>
                  <a:cubicBezTo>
                    <a:pt x="4094" y="392"/>
                    <a:pt x="4033" y="602"/>
                    <a:pt x="3913" y="753"/>
                  </a:cubicBezTo>
                  <a:cubicBezTo>
                    <a:pt x="3763" y="994"/>
                    <a:pt x="3702" y="1264"/>
                    <a:pt x="3642" y="1565"/>
                  </a:cubicBezTo>
                  <a:cubicBezTo>
                    <a:pt x="3642" y="1565"/>
                    <a:pt x="2902" y="1169"/>
                    <a:pt x="2611" y="1169"/>
                  </a:cubicBezTo>
                  <a:cubicBezTo>
                    <a:pt x="2591" y="1169"/>
                    <a:pt x="2574" y="1170"/>
                    <a:pt x="2559" y="1174"/>
                  </a:cubicBezTo>
                  <a:lnTo>
                    <a:pt x="1626" y="1174"/>
                  </a:lnTo>
                  <a:cubicBezTo>
                    <a:pt x="1596" y="1505"/>
                    <a:pt x="1536" y="1896"/>
                    <a:pt x="1536" y="2017"/>
                  </a:cubicBezTo>
                  <a:cubicBezTo>
                    <a:pt x="1536" y="2028"/>
                    <a:pt x="1544" y="2033"/>
                    <a:pt x="1560" y="2033"/>
                  </a:cubicBezTo>
                  <a:cubicBezTo>
                    <a:pt x="1633" y="2033"/>
                    <a:pt x="1864" y="1927"/>
                    <a:pt x="2078" y="1927"/>
                  </a:cubicBezTo>
                  <a:cubicBezTo>
                    <a:pt x="2177" y="1927"/>
                    <a:pt x="2273" y="1950"/>
                    <a:pt x="2348" y="2017"/>
                  </a:cubicBezTo>
                  <a:cubicBezTo>
                    <a:pt x="2559" y="2167"/>
                    <a:pt x="2499" y="2528"/>
                    <a:pt x="2228" y="2619"/>
                  </a:cubicBezTo>
                  <a:cubicBezTo>
                    <a:pt x="1927" y="2769"/>
                    <a:pt x="2107" y="3100"/>
                    <a:pt x="2378" y="3251"/>
                  </a:cubicBezTo>
                  <a:cubicBezTo>
                    <a:pt x="2649" y="3401"/>
                    <a:pt x="2559" y="3702"/>
                    <a:pt x="2559" y="4063"/>
                  </a:cubicBezTo>
                  <a:cubicBezTo>
                    <a:pt x="2559" y="4454"/>
                    <a:pt x="2559" y="4966"/>
                    <a:pt x="2348" y="4996"/>
                  </a:cubicBezTo>
                  <a:cubicBezTo>
                    <a:pt x="2317" y="5004"/>
                    <a:pt x="2287" y="5007"/>
                    <a:pt x="2258" y="5007"/>
                  </a:cubicBezTo>
                  <a:cubicBezTo>
                    <a:pt x="2102" y="5007"/>
                    <a:pt x="1971" y="4913"/>
                    <a:pt x="1845" y="4913"/>
                  </a:cubicBezTo>
                  <a:cubicBezTo>
                    <a:pt x="1812" y="4913"/>
                    <a:pt x="1779" y="4920"/>
                    <a:pt x="1746" y="4936"/>
                  </a:cubicBezTo>
                  <a:cubicBezTo>
                    <a:pt x="1731" y="4943"/>
                    <a:pt x="1716" y="4946"/>
                    <a:pt x="1703" y="4946"/>
                  </a:cubicBezTo>
                  <a:cubicBezTo>
                    <a:pt x="1530" y="4946"/>
                    <a:pt x="1490" y="4454"/>
                    <a:pt x="1295" y="4454"/>
                  </a:cubicBezTo>
                  <a:cubicBezTo>
                    <a:pt x="1054" y="4454"/>
                    <a:pt x="1205" y="4846"/>
                    <a:pt x="934" y="4846"/>
                  </a:cubicBezTo>
                  <a:cubicBezTo>
                    <a:pt x="902" y="4846"/>
                    <a:pt x="867" y="4845"/>
                    <a:pt x="831" y="4845"/>
                  </a:cubicBezTo>
                  <a:cubicBezTo>
                    <a:pt x="598" y="4845"/>
                    <a:pt x="322" y="4868"/>
                    <a:pt x="452" y="5207"/>
                  </a:cubicBezTo>
                  <a:cubicBezTo>
                    <a:pt x="603" y="5568"/>
                    <a:pt x="753" y="5839"/>
                    <a:pt x="392" y="5839"/>
                  </a:cubicBezTo>
                  <a:cubicBezTo>
                    <a:pt x="211" y="5839"/>
                    <a:pt x="91" y="5929"/>
                    <a:pt x="1" y="6049"/>
                  </a:cubicBezTo>
                  <a:lnTo>
                    <a:pt x="91" y="6140"/>
                  </a:lnTo>
                  <a:cubicBezTo>
                    <a:pt x="332" y="6381"/>
                    <a:pt x="573" y="6651"/>
                    <a:pt x="753" y="6952"/>
                  </a:cubicBezTo>
                  <a:cubicBezTo>
                    <a:pt x="1032" y="6757"/>
                    <a:pt x="1336" y="6588"/>
                    <a:pt x="1476" y="6588"/>
                  </a:cubicBezTo>
                  <a:cubicBezTo>
                    <a:pt x="1487" y="6588"/>
                    <a:pt x="1497" y="6589"/>
                    <a:pt x="1506" y="6591"/>
                  </a:cubicBezTo>
                  <a:cubicBezTo>
                    <a:pt x="1586" y="6611"/>
                    <a:pt x="1667" y="6741"/>
                    <a:pt x="1803" y="6741"/>
                  </a:cubicBezTo>
                  <a:cubicBezTo>
                    <a:pt x="1869" y="6741"/>
                    <a:pt x="1949" y="6710"/>
                    <a:pt x="2047" y="6621"/>
                  </a:cubicBezTo>
                  <a:cubicBezTo>
                    <a:pt x="2166" y="6502"/>
                    <a:pt x="2303" y="6453"/>
                    <a:pt x="2418" y="6453"/>
                  </a:cubicBezTo>
                  <a:cubicBezTo>
                    <a:pt x="2566" y="6453"/>
                    <a:pt x="2679" y="6533"/>
                    <a:pt x="2679" y="6651"/>
                  </a:cubicBezTo>
                  <a:cubicBezTo>
                    <a:pt x="2679" y="6768"/>
                    <a:pt x="2693" y="6828"/>
                    <a:pt x="2739" y="6828"/>
                  </a:cubicBezTo>
                  <a:cubicBezTo>
                    <a:pt x="2787" y="6828"/>
                    <a:pt x="2871" y="6761"/>
                    <a:pt x="3010" y="6621"/>
                  </a:cubicBezTo>
                  <a:cubicBezTo>
                    <a:pt x="3281" y="6381"/>
                    <a:pt x="3492" y="6651"/>
                    <a:pt x="3492" y="6170"/>
                  </a:cubicBezTo>
                  <a:cubicBezTo>
                    <a:pt x="3492" y="5688"/>
                    <a:pt x="3793" y="6140"/>
                    <a:pt x="3793" y="5628"/>
                  </a:cubicBezTo>
                  <a:cubicBezTo>
                    <a:pt x="3793" y="5086"/>
                    <a:pt x="3853" y="4515"/>
                    <a:pt x="3853" y="4304"/>
                  </a:cubicBezTo>
                  <a:cubicBezTo>
                    <a:pt x="3853" y="4063"/>
                    <a:pt x="4515" y="3822"/>
                    <a:pt x="4515" y="3401"/>
                  </a:cubicBezTo>
                  <a:cubicBezTo>
                    <a:pt x="4515" y="2980"/>
                    <a:pt x="5117" y="2227"/>
                    <a:pt x="5117" y="1746"/>
                  </a:cubicBezTo>
                  <a:cubicBezTo>
                    <a:pt x="5087" y="1445"/>
                    <a:pt x="5207" y="1144"/>
                    <a:pt x="5418" y="903"/>
                  </a:cubicBezTo>
                  <a:cubicBezTo>
                    <a:pt x="5508" y="663"/>
                    <a:pt x="5568" y="362"/>
                    <a:pt x="5538" y="91"/>
                  </a:cubicBezTo>
                  <a:lnTo>
                    <a:pt x="4846" y="0"/>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05" name="Google Shape;2899;p123">
              <a:extLst>
                <a:ext uri="{FF2B5EF4-FFF2-40B4-BE49-F238E27FC236}">
                  <a16:creationId xmlns:a16="http://schemas.microsoft.com/office/drawing/2014/main" id="{6778621C-C631-FD49-A51D-660BECAE54DA}"/>
                </a:ext>
              </a:extLst>
            </p:cNvPr>
            <p:cNvSpPr/>
            <p:nvPr/>
          </p:nvSpPr>
          <p:spPr>
            <a:xfrm>
              <a:off x="4786823" y="2685920"/>
              <a:ext cx="408072" cy="499782"/>
            </a:xfrm>
            <a:custGeom>
              <a:avLst/>
              <a:gdLst/>
              <a:ahLst/>
              <a:cxnLst/>
              <a:rect l="l" t="t" r="r" b="b"/>
              <a:pathLst>
                <a:path w="13153" h="16109" extrusionOk="0">
                  <a:moveTo>
                    <a:pt x="10835" y="0"/>
                  </a:moveTo>
                  <a:cubicBezTo>
                    <a:pt x="10677" y="271"/>
                    <a:pt x="10655" y="305"/>
                    <a:pt x="10564" y="305"/>
                  </a:cubicBezTo>
                  <a:cubicBezTo>
                    <a:pt x="10534" y="305"/>
                    <a:pt x="10497" y="301"/>
                    <a:pt x="10444" y="301"/>
                  </a:cubicBezTo>
                  <a:cubicBezTo>
                    <a:pt x="10203" y="301"/>
                    <a:pt x="10293" y="873"/>
                    <a:pt x="9902" y="873"/>
                  </a:cubicBezTo>
                  <a:cubicBezTo>
                    <a:pt x="9541" y="873"/>
                    <a:pt x="9692" y="1234"/>
                    <a:pt x="9451" y="1234"/>
                  </a:cubicBezTo>
                  <a:cubicBezTo>
                    <a:pt x="9270" y="1234"/>
                    <a:pt x="9120" y="1144"/>
                    <a:pt x="8999" y="1023"/>
                  </a:cubicBezTo>
                  <a:lnTo>
                    <a:pt x="7976" y="1023"/>
                  </a:lnTo>
                  <a:cubicBezTo>
                    <a:pt x="7976" y="1023"/>
                    <a:pt x="7827" y="853"/>
                    <a:pt x="7690" y="853"/>
                  </a:cubicBezTo>
                  <a:cubicBezTo>
                    <a:pt x="7664" y="853"/>
                    <a:pt x="7639" y="859"/>
                    <a:pt x="7615" y="873"/>
                  </a:cubicBezTo>
                  <a:lnTo>
                    <a:pt x="7344" y="1053"/>
                  </a:lnTo>
                  <a:lnTo>
                    <a:pt x="2499" y="1053"/>
                  </a:lnTo>
                  <a:lnTo>
                    <a:pt x="2499" y="2739"/>
                  </a:lnTo>
                  <a:lnTo>
                    <a:pt x="1777" y="2739"/>
                  </a:lnTo>
                  <a:lnTo>
                    <a:pt x="1777" y="5297"/>
                  </a:lnTo>
                  <a:cubicBezTo>
                    <a:pt x="1777" y="5297"/>
                    <a:pt x="1807" y="6079"/>
                    <a:pt x="1656" y="6139"/>
                  </a:cubicBezTo>
                  <a:cubicBezTo>
                    <a:pt x="1506" y="6170"/>
                    <a:pt x="994" y="6350"/>
                    <a:pt x="994" y="6591"/>
                  </a:cubicBezTo>
                  <a:cubicBezTo>
                    <a:pt x="994" y="6801"/>
                    <a:pt x="964" y="7042"/>
                    <a:pt x="693" y="7072"/>
                  </a:cubicBezTo>
                  <a:cubicBezTo>
                    <a:pt x="422" y="7102"/>
                    <a:pt x="693" y="7674"/>
                    <a:pt x="362" y="7674"/>
                  </a:cubicBezTo>
                  <a:cubicBezTo>
                    <a:pt x="1" y="7674"/>
                    <a:pt x="513" y="8035"/>
                    <a:pt x="302" y="8246"/>
                  </a:cubicBezTo>
                  <a:cubicBezTo>
                    <a:pt x="121" y="8427"/>
                    <a:pt x="151" y="8697"/>
                    <a:pt x="392" y="8697"/>
                  </a:cubicBezTo>
                  <a:cubicBezTo>
                    <a:pt x="603" y="8697"/>
                    <a:pt x="543" y="8998"/>
                    <a:pt x="543" y="9239"/>
                  </a:cubicBezTo>
                  <a:cubicBezTo>
                    <a:pt x="543" y="9510"/>
                    <a:pt x="964" y="9751"/>
                    <a:pt x="964" y="9751"/>
                  </a:cubicBezTo>
                  <a:lnTo>
                    <a:pt x="844" y="10112"/>
                  </a:lnTo>
                  <a:cubicBezTo>
                    <a:pt x="1054" y="10353"/>
                    <a:pt x="1265" y="10593"/>
                    <a:pt x="1446" y="10864"/>
                  </a:cubicBezTo>
                  <a:cubicBezTo>
                    <a:pt x="1476" y="11015"/>
                    <a:pt x="1777" y="11436"/>
                    <a:pt x="1476" y="11587"/>
                  </a:cubicBezTo>
                  <a:cubicBezTo>
                    <a:pt x="1175" y="11737"/>
                    <a:pt x="1355" y="11857"/>
                    <a:pt x="1355" y="11857"/>
                  </a:cubicBezTo>
                  <a:lnTo>
                    <a:pt x="1716" y="11918"/>
                  </a:lnTo>
                  <a:lnTo>
                    <a:pt x="1807" y="12128"/>
                  </a:lnTo>
                  <a:cubicBezTo>
                    <a:pt x="2047" y="12158"/>
                    <a:pt x="2288" y="12279"/>
                    <a:pt x="2469" y="12459"/>
                  </a:cubicBezTo>
                  <a:cubicBezTo>
                    <a:pt x="2679" y="12760"/>
                    <a:pt x="2800" y="12790"/>
                    <a:pt x="2800" y="12941"/>
                  </a:cubicBezTo>
                  <a:cubicBezTo>
                    <a:pt x="2800" y="13091"/>
                    <a:pt x="2980" y="13121"/>
                    <a:pt x="3281" y="13392"/>
                  </a:cubicBezTo>
                  <a:cubicBezTo>
                    <a:pt x="3582" y="13633"/>
                    <a:pt x="3582" y="13753"/>
                    <a:pt x="3582" y="13904"/>
                  </a:cubicBezTo>
                  <a:cubicBezTo>
                    <a:pt x="3582" y="14054"/>
                    <a:pt x="4094" y="14295"/>
                    <a:pt x="4094" y="14295"/>
                  </a:cubicBezTo>
                  <a:lnTo>
                    <a:pt x="4305" y="14746"/>
                  </a:lnTo>
                  <a:cubicBezTo>
                    <a:pt x="4365" y="14807"/>
                    <a:pt x="4455" y="14867"/>
                    <a:pt x="4485" y="14957"/>
                  </a:cubicBezTo>
                  <a:cubicBezTo>
                    <a:pt x="4575" y="15108"/>
                    <a:pt x="4696" y="15228"/>
                    <a:pt x="4816" y="15348"/>
                  </a:cubicBezTo>
                  <a:cubicBezTo>
                    <a:pt x="4816" y="15348"/>
                    <a:pt x="4950" y="15429"/>
                    <a:pt x="5093" y="15429"/>
                  </a:cubicBezTo>
                  <a:cubicBezTo>
                    <a:pt x="5164" y="15429"/>
                    <a:pt x="5237" y="15409"/>
                    <a:pt x="5298" y="15348"/>
                  </a:cubicBezTo>
                  <a:cubicBezTo>
                    <a:pt x="5357" y="15289"/>
                    <a:pt x="5418" y="15268"/>
                    <a:pt x="5476" y="15268"/>
                  </a:cubicBezTo>
                  <a:cubicBezTo>
                    <a:pt x="5624" y="15268"/>
                    <a:pt x="5749" y="15409"/>
                    <a:pt x="5749" y="15409"/>
                  </a:cubicBezTo>
                  <a:cubicBezTo>
                    <a:pt x="5749" y="15409"/>
                    <a:pt x="5933" y="15266"/>
                    <a:pt x="6082" y="15266"/>
                  </a:cubicBezTo>
                  <a:cubicBezTo>
                    <a:pt x="6114" y="15266"/>
                    <a:pt x="6144" y="15272"/>
                    <a:pt x="6170" y="15288"/>
                  </a:cubicBezTo>
                  <a:lnTo>
                    <a:pt x="7073" y="16041"/>
                  </a:lnTo>
                  <a:cubicBezTo>
                    <a:pt x="7254" y="15980"/>
                    <a:pt x="7464" y="15950"/>
                    <a:pt x="7645" y="15890"/>
                  </a:cubicBezTo>
                  <a:cubicBezTo>
                    <a:pt x="7654" y="15889"/>
                    <a:pt x="7663" y="15888"/>
                    <a:pt x="7672" y="15888"/>
                  </a:cubicBezTo>
                  <a:cubicBezTo>
                    <a:pt x="7834" y="15888"/>
                    <a:pt x="8052" y="16109"/>
                    <a:pt x="8135" y="16109"/>
                  </a:cubicBezTo>
                  <a:cubicBezTo>
                    <a:pt x="8144" y="16109"/>
                    <a:pt x="8151" y="16106"/>
                    <a:pt x="8157" y="16101"/>
                  </a:cubicBezTo>
                  <a:cubicBezTo>
                    <a:pt x="8307" y="15950"/>
                    <a:pt x="8518" y="15860"/>
                    <a:pt x="8728" y="15860"/>
                  </a:cubicBezTo>
                  <a:cubicBezTo>
                    <a:pt x="8804" y="15905"/>
                    <a:pt x="8924" y="15935"/>
                    <a:pt x="9026" y="15935"/>
                  </a:cubicBezTo>
                  <a:cubicBezTo>
                    <a:pt x="9127" y="15935"/>
                    <a:pt x="9210" y="15905"/>
                    <a:pt x="9210" y="15830"/>
                  </a:cubicBezTo>
                  <a:cubicBezTo>
                    <a:pt x="9210" y="15679"/>
                    <a:pt x="9360" y="15679"/>
                    <a:pt x="9481" y="15589"/>
                  </a:cubicBezTo>
                  <a:lnTo>
                    <a:pt x="9601" y="15439"/>
                  </a:lnTo>
                  <a:cubicBezTo>
                    <a:pt x="9631" y="15288"/>
                    <a:pt x="10053" y="15078"/>
                    <a:pt x="10233" y="15047"/>
                  </a:cubicBezTo>
                  <a:cubicBezTo>
                    <a:pt x="10291" y="15024"/>
                    <a:pt x="10353" y="15015"/>
                    <a:pt x="10414" y="15015"/>
                  </a:cubicBezTo>
                  <a:cubicBezTo>
                    <a:pt x="10513" y="15015"/>
                    <a:pt x="10610" y="15040"/>
                    <a:pt x="10685" y="15078"/>
                  </a:cubicBezTo>
                  <a:cubicBezTo>
                    <a:pt x="10745" y="15138"/>
                    <a:pt x="10805" y="15198"/>
                    <a:pt x="10865" y="15228"/>
                  </a:cubicBezTo>
                  <a:cubicBezTo>
                    <a:pt x="10955" y="14777"/>
                    <a:pt x="11076" y="14506"/>
                    <a:pt x="10925" y="14506"/>
                  </a:cubicBezTo>
                  <a:cubicBezTo>
                    <a:pt x="10594" y="14476"/>
                    <a:pt x="10293" y="14265"/>
                    <a:pt x="10173" y="13934"/>
                  </a:cubicBezTo>
                  <a:cubicBezTo>
                    <a:pt x="10023" y="13543"/>
                    <a:pt x="9601" y="13302"/>
                    <a:pt x="9481" y="13031"/>
                  </a:cubicBezTo>
                  <a:cubicBezTo>
                    <a:pt x="9360" y="12790"/>
                    <a:pt x="8849" y="12851"/>
                    <a:pt x="8759" y="12670"/>
                  </a:cubicBezTo>
                  <a:cubicBezTo>
                    <a:pt x="8698" y="12489"/>
                    <a:pt x="8879" y="12429"/>
                    <a:pt x="8879" y="12219"/>
                  </a:cubicBezTo>
                  <a:cubicBezTo>
                    <a:pt x="8879" y="12089"/>
                    <a:pt x="9054" y="12064"/>
                    <a:pt x="9220" y="12064"/>
                  </a:cubicBezTo>
                  <a:cubicBezTo>
                    <a:pt x="9323" y="12064"/>
                    <a:pt x="9422" y="12073"/>
                    <a:pt x="9474" y="12073"/>
                  </a:cubicBezTo>
                  <a:cubicBezTo>
                    <a:pt x="9494" y="12073"/>
                    <a:pt x="9507" y="12072"/>
                    <a:pt x="9511" y="12068"/>
                  </a:cubicBezTo>
                  <a:cubicBezTo>
                    <a:pt x="9631" y="11797"/>
                    <a:pt x="9661" y="11496"/>
                    <a:pt x="9631" y="11195"/>
                  </a:cubicBezTo>
                  <a:cubicBezTo>
                    <a:pt x="9631" y="10894"/>
                    <a:pt x="10023" y="10593"/>
                    <a:pt x="9872" y="10443"/>
                  </a:cubicBezTo>
                  <a:cubicBezTo>
                    <a:pt x="9722" y="10292"/>
                    <a:pt x="10023" y="10262"/>
                    <a:pt x="10233" y="10112"/>
                  </a:cubicBezTo>
                  <a:cubicBezTo>
                    <a:pt x="10474" y="9961"/>
                    <a:pt x="10293" y="9510"/>
                    <a:pt x="10474" y="9329"/>
                  </a:cubicBezTo>
                  <a:cubicBezTo>
                    <a:pt x="10655" y="9119"/>
                    <a:pt x="10805" y="8758"/>
                    <a:pt x="10955" y="8758"/>
                  </a:cubicBezTo>
                  <a:cubicBezTo>
                    <a:pt x="11106" y="8758"/>
                    <a:pt x="11287" y="8517"/>
                    <a:pt x="11287" y="8336"/>
                  </a:cubicBezTo>
                  <a:cubicBezTo>
                    <a:pt x="11287" y="8156"/>
                    <a:pt x="11618" y="7765"/>
                    <a:pt x="11587" y="7403"/>
                  </a:cubicBezTo>
                  <a:cubicBezTo>
                    <a:pt x="11557" y="7012"/>
                    <a:pt x="11407" y="6651"/>
                    <a:pt x="11648" y="6350"/>
                  </a:cubicBezTo>
                  <a:cubicBezTo>
                    <a:pt x="11858" y="6139"/>
                    <a:pt x="11979" y="5869"/>
                    <a:pt x="11949" y="5568"/>
                  </a:cubicBezTo>
                  <a:cubicBezTo>
                    <a:pt x="11888" y="5297"/>
                    <a:pt x="12250" y="5267"/>
                    <a:pt x="12400" y="5116"/>
                  </a:cubicBezTo>
                  <a:cubicBezTo>
                    <a:pt x="12701" y="4936"/>
                    <a:pt x="12942" y="4725"/>
                    <a:pt x="13152" y="4424"/>
                  </a:cubicBezTo>
                  <a:lnTo>
                    <a:pt x="12641" y="3943"/>
                  </a:lnTo>
                  <a:cubicBezTo>
                    <a:pt x="12340" y="3822"/>
                    <a:pt x="12159" y="3341"/>
                    <a:pt x="12159" y="2709"/>
                  </a:cubicBezTo>
                  <a:cubicBezTo>
                    <a:pt x="12129" y="2257"/>
                    <a:pt x="12099" y="1836"/>
                    <a:pt x="12009" y="1415"/>
                  </a:cubicBezTo>
                  <a:cubicBezTo>
                    <a:pt x="11888" y="1053"/>
                    <a:pt x="11618" y="783"/>
                    <a:pt x="11287" y="602"/>
                  </a:cubicBezTo>
                  <a:cubicBezTo>
                    <a:pt x="11076" y="452"/>
                    <a:pt x="10925" y="241"/>
                    <a:pt x="10895"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06" name="Google Shape;2900;p123">
              <a:extLst>
                <a:ext uri="{FF2B5EF4-FFF2-40B4-BE49-F238E27FC236}">
                  <a16:creationId xmlns:a16="http://schemas.microsoft.com/office/drawing/2014/main" id="{D46440A2-63A0-114B-97BF-CCBBE4C50DD3}"/>
                </a:ext>
              </a:extLst>
            </p:cNvPr>
            <p:cNvSpPr/>
            <p:nvPr/>
          </p:nvSpPr>
          <p:spPr>
            <a:xfrm>
              <a:off x="5272364" y="2957606"/>
              <a:ext cx="46693" cy="46724"/>
            </a:xfrm>
            <a:custGeom>
              <a:avLst/>
              <a:gdLst/>
              <a:ahLst/>
              <a:cxnLst/>
              <a:rect l="l" t="t" r="r" b="b"/>
              <a:pathLst>
                <a:path w="1505" h="1506" extrusionOk="0">
                  <a:moveTo>
                    <a:pt x="1084" y="1"/>
                  </a:moveTo>
                  <a:cubicBezTo>
                    <a:pt x="1023" y="91"/>
                    <a:pt x="903" y="121"/>
                    <a:pt x="903" y="151"/>
                  </a:cubicBezTo>
                  <a:cubicBezTo>
                    <a:pt x="903" y="172"/>
                    <a:pt x="817" y="207"/>
                    <a:pt x="705" y="207"/>
                  </a:cubicBezTo>
                  <a:cubicBezTo>
                    <a:pt x="654" y="207"/>
                    <a:pt x="598" y="200"/>
                    <a:pt x="542" y="181"/>
                  </a:cubicBezTo>
                  <a:lnTo>
                    <a:pt x="121" y="753"/>
                  </a:lnTo>
                  <a:cubicBezTo>
                    <a:pt x="0" y="964"/>
                    <a:pt x="0" y="1204"/>
                    <a:pt x="121" y="1385"/>
                  </a:cubicBezTo>
                  <a:cubicBezTo>
                    <a:pt x="135" y="1441"/>
                    <a:pt x="201" y="1464"/>
                    <a:pt x="282" y="1464"/>
                  </a:cubicBezTo>
                  <a:cubicBezTo>
                    <a:pt x="377" y="1464"/>
                    <a:pt x="492" y="1433"/>
                    <a:pt x="572" y="1385"/>
                  </a:cubicBezTo>
                  <a:cubicBezTo>
                    <a:pt x="620" y="1366"/>
                    <a:pt x="655" y="1356"/>
                    <a:pt x="687" y="1356"/>
                  </a:cubicBezTo>
                  <a:cubicBezTo>
                    <a:pt x="757" y="1356"/>
                    <a:pt x="810" y="1403"/>
                    <a:pt x="933" y="1505"/>
                  </a:cubicBezTo>
                  <a:lnTo>
                    <a:pt x="1234" y="1144"/>
                  </a:lnTo>
                  <a:lnTo>
                    <a:pt x="843" y="934"/>
                  </a:lnTo>
                  <a:cubicBezTo>
                    <a:pt x="753" y="873"/>
                    <a:pt x="1054" y="633"/>
                    <a:pt x="1294" y="572"/>
                  </a:cubicBezTo>
                  <a:cubicBezTo>
                    <a:pt x="1505" y="482"/>
                    <a:pt x="1385" y="271"/>
                    <a:pt x="1204" y="121"/>
                  </a:cubicBezTo>
                  <a:lnTo>
                    <a:pt x="1084" y="1"/>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07" name="Google Shape;2901;p123">
              <a:extLst>
                <a:ext uri="{FF2B5EF4-FFF2-40B4-BE49-F238E27FC236}">
                  <a16:creationId xmlns:a16="http://schemas.microsoft.com/office/drawing/2014/main" id="{69D560AE-1BE4-1845-840F-8B9E40E04423}"/>
                </a:ext>
              </a:extLst>
            </p:cNvPr>
            <p:cNvSpPr/>
            <p:nvPr/>
          </p:nvSpPr>
          <p:spPr>
            <a:xfrm>
              <a:off x="5140694" y="2822213"/>
              <a:ext cx="166232" cy="140698"/>
            </a:xfrm>
            <a:custGeom>
              <a:avLst/>
              <a:gdLst/>
              <a:ahLst/>
              <a:cxnLst/>
              <a:rect l="l" t="t" r="r" b="b"/>
              <a:pathLst>
                <a:path w="5358" h="4535" extrusionOk="0">
                  <a:moveTo>
                    <a:pt x="1746" y="1"/>
                  </a:moveTo>
                  <a:cubicBezTo>
                    <a:pt x="1536" y="302"/>
                    <a:pt x="1295" y="543"/>
                    <a:pt x="994" y="723"/>
                  </a:cubicBezTo>
                  <a:cubicBezTo>
                    <a:pt x="844" y="874"/>
                    <a:pt x="482" y="904"/>
                    <a:pt x="543" y="1175"/>
                  </a:cubicBezTo>
                  <a:cubicBezTo>
                    <a:pt x="573" y="1476"/>
                    <a:pt x="452" y="1746"/>
                    <a:pt x="242" y="1957"/>
                  </a:cubicBezTo>
                  <a:cubicBezTo>
                    <a:pt x="1" y="2258"/>
                    <a:pt x="151" y="2679"/>
                    <a:pt x="181" y="3010"/>
                  </a:cubicBezTo>
                  <a:lnTo>
                    <a:pt x="874" y="3010"/>
                  </a:lnTo>
                  <a:cubicBezTo>
                    <a:pt x="907" y="3043"/>
                    <a:pt x="933" y="3058"/>
                    <a:pt x="955" y="3058"/>
                  </a:cubicBezTo>
                  <a:cubicBezTo>
                    <a:pt x="1013" y="3058"/>
                    <a:pt x="1041" y="2953"/>
                    <a:pt x="1084" y="2800"/>
                  </a:cubicBezTo>
                  <a:cubicBezTo>
                    <a:pt x="1137" y="2659"/>
                    <a:pt x="1211" y="2600"/>
                    <a:pt x="1293" y="2600"/>
                  </a:cubicBezTo>
                  <a:cubicBezTo>
                    <a:pt x="1351" y="2600"/>
                    <a:pt x="1413" y="2629"/>
                    <a:pt x="1476" y="2679"/>
                  </a:cubicBezTo>
                  <a:cubicBezTo>
                    <a:pt x="1592" y="2749"/>
                    <a:pt x="1690" y="2908"/>
                    <a:pt x="1825" y="2908"/>
                  </a:cubicBezTo>
                  <a:cubicBezTo>
                    <a:pt x="1866" y="2908"/>
                    <a:pt x="1909" y="2894"/>
                    <a:pt x="1957" y="2860"/>
                  </a:cubicBezTo>
                  <a:cubicBezTo>
                    <a:pt x="2046" y="2805"/>
                    <a:pt x="2102" y="2786"/>
                    <a:pt x="2142" y="2786"/>
                  </a:cubicBezTo>
                  <a:cubicBezTo>
                    <a:pt x="2210" y="2786"/>
                    <a:pt x="2231" y="2841"/>
                    <a:pt x="2288" y="2860"/>
                  </a:cubicBezTo>
                  <a:cubicBezTo>
                    <a:pt x="2424" y="2875"/>
                    <a:pt x="2559" y="2882"/>
                    <a:pt x="2694" y="2882"/>
                  </a:cubicBezTo>
                  <a:cubicBezTo>
                    <a:pt x="2830" y="2882"/>
                    <a:pt x="2965" y="2875"/>
                    <a:pt x="3101" y="2860"/>
                  </a:cubicBezTo>
                  <a:cubicBezTo>
                    <a:pt x="3281" y="2890"/>
                    <a:pt x="4786" y="4515"/>
                    <a:pt x="4786" y="4515"/>
                  </a:cubicBezTo>
                  <a:cubicBezTo>
                    <a:pt x="4861" y="4528"/>
                    <a:pt x="4925" y="4535"/>
                    <a:pt x="4979" y="4535"/>
                  </a:cubicBezTo>
                  <a:cubicBezTo>
                    <a:pt x="5056" y="4535"/>
                    <a:pt x="5112" y="4520"/>
                    <a:pt x="5147" y="4485"/>
                  </a:cubicBezTo>
                  <a:cubicBezTo>
                    <a:pt x="5237" y="4395"/>
                    <a:pt x="5267" y="4395"/>
                    <a:pt x="5358" y="4335"/>
                  </a:cubicBezTo>
                  <a:cubicBezTo>
                    <a:pt x="5027" y="4034"/>
                    <a:pt x="4756" y="3733"/>
                    <a:pt x="4515" y="3402"/>
                  </a:cubicBezTo>
                  <a:cubicBezTo>
                    <a:pt x="4214" y="2950"/>
                    <a:pt x="3793" y="2649"/>
                    <a:pt x="3281" y="2529"/>
                  </a:cubicBezTo>
                  <a:cubicBezTo>
                    <a:pt x="2980" y="2529"/>
                    <a:pt x="2950" y="2017"/>
                    <a:pt x="2740" y="2017"/>
                  </a:cubicBezTo>
                  <a:cubicBezTo>
                    <a:pt x="2408" y="1716"/>
                    <a:pt x="2228" y="1325"/>
                    <a:pt x="2198" y="874"/>
                  </a:cubicBezTo>
                  <a:cubicBezTo>
                    <a:pt x="2138" y="543"/>
                    <a:pt x="1957" y="242"/>
                    <a:pt x="1746"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08" name="Google Shape;2902;p123">
              <a:extLst>
                <a:ext uri="{FF2B5EF4-FFF2-40B4-BE49-F238E27FC236}">
                  <a16:creationId xmlns:a16="http://schemas.microsoft.com/office/drawing/2014/main" id="{5E69078C-D497-704F-8F5A-6166B736ADBB}"/>
                </a:ext>
              </a:extLst>
            </p:cNvPr>
            <p:cNvSpPr/>
            <p:nvPr/>
          </p:nvSpPr>
          <p:spPr>
            <a:xfrm>
              <a:off x="5055748" y="2903498"/>
              <a:ext cx="369756" cy="284313"/>
            </a:xfrm>
            <a:custGeom>
              <a:avLst/>
              <a:gdLst/>
              <a:ahLst/>
              <a:cxnLst/>
              <a:rect l="l" t="t" r="r" b="b"/>
              <a:pathLst>
                <a:path w="11918" h="9164" extrusionOk="0">
                  <a:moveTo>
                    <a:pt x="4020" y="1"/>
                  </a:moveTo>
                  <a:cubicBezTo>
                    <a:pt x="3942" y="1"/>
                    <a:pt x="3873" y="58"/>
                    <a:pt x="3822" y="210"/>
                  </a:cubicBezTo>
                  <a:cubicBezTo>
                    <a:pt x="3782" y="393"/>
                    <a:pt x="3741" y="480"/>
                    <a:pt x="3691" y="480"/>
                  </a:cubicBezTo>
                  <a:cubicBezTo>
                    <a:pt x="3667" y="480"/>
                    <a:pt x="3641" y="460"/>
                    <a:pt x="3612" y="420"/>
                  </a:cubicBezTo>
                  <a:lnTo>
                    <a:pt x="2919" y="420"/>
                  </a:lnTo>
                  <a:cubicBezTo>
                    <a:pt x="2950" y="812"/>
                    <a:pt x="2619" y="1173"/>
                    <a:pt x="2619" y="1384"/>
                  </a:cubicBezTo>
                  <a:cubicBezTo>
                    <a:pt x="2619" y="1564"/>
                    <a:pt x="2438" y="1775"/>
                    <a:pt x="2287" y="1775"/>
                  </a:cubicBezTo>
                  <a:cubicBezTo>
                    <a:pt x="2137" y="1775"/>
                    <a:pt x="1987" y="2166"/>
                    <a:pt x="1806" y="2347"/>
                  </a:cubicBezTo>
                  <a:cubicBezTo>
                    <a:pt x="1595" y="2527"/>
                    <a:pt x="1746" y="2979"/>
                    <a:pt x="1565" y="3129"/>
                  </a:cubicBezTo>
                  <a:cubicBezTo>
                    <a:pt x="1385" y="3279"/>
                    <a:pt x="1084" y="3340"/>
                    <a:pt x="1204" y="3490"/>
                  </a:cubicBezTo>
                  <a:cubicBezTo>
                    <a:pt x="1294" y="3641"/>
                    <a:pt x="963" y="3942"/>
                    <a:pt x="963" y="4243"/>
                  </a:cubicBezTo>
                  <a:cubicBezTo>
                    <a:pt x="993" y="4513"/>
                    <a:pt x="963" y="4814"/>
                    <a:pt x="843" y="5085"/>
                  </a:cubicBezTo>
                  <a:cubicBezTo>
                    <a:pt x="837" y="5097"/>
                    <a:pt x="808" y="5101"/>
                    <a:pt x="766" y="5101"/>
                  </a:cubicBezTo>
                  <a:cubicBezTo>
                    <a:pt x="702" y="5101"/>
                    <a:pt x="608" y="5093"/>
                    <a:pt x="516" y="5093"/>
                  </a:cubicBezTo>
                  <a:cubicBezTo>
                    <a:pt x="361" y="5093"/>
                    <a:pt x="211" y="5115"/>
                    <a:pt x="211" y="5236"/>
                  </a:cubicBezTo>
                  <a:cubicBezTo>
                    <a:pt x="211" y="5506"/>
                    <a:pt x="0" y="5476"/>
                    <a:pt x="91" y="5687"/>
                  </a:cubicBezTo>
                  <a:cubicBezTo>
                    <a:pt x="211" y="5928"/>
                    <a:pt x="723" y="5807"/>
                    <a:pt x="813" y="6048"/>
                  </a:cubicBezTo>
                  <a:cubicBezTo>
                    <a:pt x="933" y="6289"/>
                    <a:pt x="1355" y="6530"/>
                    <a:pt x="1505" y="6951"/>
                  </a:cubicBezTo>
                  <a:cubicBezTo>
                    <a:pt x="1625" y="7252"/>
                    <a:pt x="1926" y="7463"/>
                    <a:pt x="2257" y="7493"/>
                  </a:cubicBezTo>
                  <a:cubicBezTo>
                    <a:pt x="2408" y="7493"/>
                    <a:pt x="2287" y="7764"/>
                    <a:pt x="2227" y="8215"/>
                  </a:cubicBezTo>
                  <a:lnTo>
                    <a:pt x="2468" y="8305"/>
                  </a:lnTo>
                  <a:cubicBezTo>
                    <a:pt x="2619" y="8365"/>
                    <a:pt x="3130" y="8305"/>
                    <a:pt x="3311" y="8486"/>
                  </a:cubicBezTo>
                  <a:cubicBezTo>
                    <a:pt x="3551" y="8727"/>
                    <a:pt x="3883" y="8907"/>
                    <a:pt x="4214" y="8997"/>
                  </a:cubicBezTo>
                  <a:cubicBezTo>
                    <a:pt x="4515" y="8997"/>
                    <a:pt x="4815" y="9058"/>
                    <a:pt x="5116" y="9148"/>
                  </a:cubicBezTo>
                  <a:cubicBezTo>
                    <a:pt x="5127" y="9158"/>
                    <a:pt x="5138" y="9163"/>
                    <a:pt x="5151" y="9163"/>
                  </a:cubicBezTo>
                  <a:cubicBezTo>
                    <a:pt x="5244" y="9163"/>
                    <a:pt x="5389" y="8890"/>
                    <a:pt x="5628" y="8757"/>
                  </a:cubicBezTo>
                  <a:cubicBezTo>
                    <a:pt x="5821" y="8649"/>
                    <a:pt x="6061" y="8557"/>
                    <a:pt x="6215" y="8557"/>
                  </a:cubicBezTo>
                  <a:cubicBezTo>
                    <a:pt x="6277" y="8557"/>
                    <a:pt x="6324" y="8572"/>
                    <a:pt x="6350" y="8606"/>
                  </a:cubicBezTo>
                  <a:cubicBezTo>
                    <a:pt x="6400" y="8706"/>
                    <a:pt x="6533" y="8764"/>
                    <a:pt x="6645" y="8764"/>
                  </a:cubicBezTo>
                  <a:cubicBezTo>
                    <a:pt x="6668" y="8764"/>
                    <a:pt x="6691" y="8762"/>
                    <a:pt x="6711" y="8757"/>
                  </a:cubicBezTo>
                  <a:lnTo>
                    <a:pt x="7103" y="8636"/>
                  </a:lnTo>
                  <a:cubicBezTo>
                    <a:pt x="7313" y="8576"/>
                    <a:pt x="7524" y="8546"/>
                    <a:pt x="7735" y="8546"/>
                  </a:cubicBezTo>
                  <a:cubicBezTo>
                    <a:pt x="7885" y="8546"/>
                    <a:pt x="8276" y="8004"/>
                    <a:pt x="8788" y="8004"/>
                  </a:cubicBezTo>
                  <a:cubicBezTo>
                    <a:pt x="8985" y="8004"/>
                    <a:pt x="9122" y="8012"/>
                    <a:pt x="9229" y="8012"/>
                  </a:cubicBezTo>
                  <a:cubicBezTo>
                    <a:pt x="9415" y="8012"/>
                    <a:pt x="9507" y="7988"/>
                    <a:pt x="9661" y="7854"/>
                  </a:cubicBezTo>
                  <a:cubicBezTo>
                    <a:pt x="9871" y="7613"/>
                    <a:pt x="11617" y="5838"/>
                    <a:pt x="11767" y="5747"/>
                  </a:cubicBezTo>
                  <a:cubicBezTo>
                    <a:pt x="11918" y="5627"/>
                    <a:pt x="11647" y="5537"/>
                    <a:pt x="11496" y="5537"/>
                  </a:cubicBezTo>
                  <a:cubicBezTo>
                    <a:pt x="11135" y="5537"/>
                    <a:pt x="10744" y="5476"/>
                    <a:pt x="10413" y="5326"/>
                  </a:cubicBezTo>
                  <a:lnTo>
                    <a:pt x="8788" y="4754"/>
                  </a:lnTo>
                  <a:cubicBezTo>
                    <a:pt x="8637" y="4724"/>
                    <a:pt x="8427" y="4333"/>
                    <a:pt x="8276" y="4273"/>
                  </a:cubicBezTo>
                  <a:cubicBezTo>
                    <a:pt x="8066" y="4062"/>
                    <a:pt x="7915" y="3821"/>
                    <a:pt x="7795" y="3550"/>
                  </a:cubicBezTo>
                  <a:cubicBezTo>
                    <a:pt x="7795" y="3430"/>
                    <a:pt x="7855" y="3340"/>
                    <a:pt x="7915" y="3249"/>
                  </a:cubicBezTo>
                  <a:cubicBezTo>
                    <a:pt x="7792" y="3147"/>
                    <a:pt x="7725" y="3100"/>
                    <a:pt x="7656" y="3100"/>
                  </a:cubicBezTo>
                  <a:cubicBezTo>
                    <a:pt x="7624" y="3100"/>
                    <a:pt x="7592" y="3110"/>
                    <a:pt x="7554" y="3129"/>
                  </a:cubicBezTo>
                  <a:cubicBezTo>
                    <a:pt x="7490" y="3177"/>
                    <a:pt x="7374" y="3208"/>
                    <a:pt x="7275" y="3208"/>
                  </a:cubicBezTo>
                  <a:cubicBezTo>
                    <a:pt x="7189" y="3208"/>
                    <a:pt x="7117" y="3185"/>
                    <a:pt x="7103" y="3129"/>
                  </a:cubicBezTo>
                  <a:cubicBezTo>
                    <a:pt x="6982" y="2948"/>
                    <a:pt x="6982" y="2708"/>
                    <a:pt x="7103" y="2497"/>
                  </a:cubicBezTo>
                  <a:lnTo>
                    <a:pt x="7524" y="1925"/>
                  </a:lnTo>
                  <a:cubicBezTo>
                    <a:pt x="7524" y="1925"/>
                    <a:pt x="6019" y="330"/>
                    <a:pt x="5839" y="270"/>
                  </a:cubicBezTo>
                  <a:cubicBezTo>
                    <a:pt x="5703" y="285"/>
                    <a:pt x="5568" y="293"/>
                    <a:pt x="5432" y="293"/>
                  </a:cubicBezTo>
                  <a:cubicBezTo>
                    <a:pt x="5297" y="293"/>
                    <a:pt x="5162" y="285"/>
                    <a:pt x="5026" y="270"/>
                  </a:cubicBezTo>
                  <a:cubicBezTo>
                    <a:pt x="4953" y="252"/>
                    <a:pt x="4946" y="222"/>
                    <a:pt x="4892" y="222"/>
                  </a:cubicBezTo>
                  <a:cubicBezTo>
                    <a:pt x="4857" y="222"/>
                    <a:pt x="4801" y="235"/>
                    <a:pt x="4695" y="270"/>
                  </a:cubicBezTo>
                  <a:cubicBezTo>
                    <a:pt x="4632" y="298"/>
                    <a:pt x="4581" y="310"/>
                    <a:pt x="4537" y="310"/>
                  </a:cubicBezTo>
                  <a:cubicBezTo>
                    <a:pt x="4391" y="310"/>
                    <a:pt x="4329" y="182"/>
                    <a:pt x="4214" y="89"/>
                  </a:cubicBezTo>
                  <a:cubicBezTo>
                    <a:pt x="4147" y="36"/>
                    <a:pt x="4081" y="1"/>
                    <a:pt x="4020"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09" name="Google Shape;2903;p123">
              <a:extLst>
                <a:ext uri="{FF2B5EF4-FFF2-40B4-BE49-F238E27FC236}">
                  <a16:creationId xmlns:a16="http://schemas.microsoft.com/office/drawing/2014/main" id="{8F684B34-AFDB-314D-9E0A-ECDFC5F2A381}"/>
                </a:ext>
              </a:extLst>
            </p:cNvPr>
            <p:cNvSpPr/>
            <p:nvPr/>
          </p:nvSpPr>
          <p:spPr>
            <a:xfrm>
              <a:off x="5113641" y="2376725"/>
              <a:ext cx="37168" cy="44056"/>
            </a:xfrm>
            <a:custGeom>
              <a:avLst/>
              <a:gdLst/>
              <a:ahLst/>
              <a:cxnLst/>
              <a:rect l="l" t="t" r="r" b="b"/>
              <a:pathLst>
                <a:path w="1198" h="1420" extrusionOk="0">
                  <a:moveTo>
                    <a:pt x="691" y="0"/>
                  </a:moveTo>
                  <a:cubicBezTo>
                    <a:pt x="663" y="0"/>
                    <a:pt x="634" y="2"/>
                    <a:pt x="602" y="5"/>
                  </a:cubicBezTo>
                  <a:cubicBezTo>
                    <a:pt x="572" y="35"/>
                    <a:pt x="572" y="65"/>
                    <a:pt x="572" y="95"/>
                  </a:cubicBezTo>
                  <a:cubicBezTo>
                    <a:pt x="572" y="336"/>
                    <a:pt x="211" y="817"/>
                    <a:pt x="0" y="1269"/>
                  </a:cubicBezTo>
                  <a:lnTo>
                    <a:pt x="391" y="1419"/>
                  </a:lnTo>
                  <a:cubicBezTo>
                    <a:pt x="542" y="1118"/>
                    <a:pt x="753" y="847"/>
                    <a:pt x="993" y="607"/>
                  </a:cubicBezTo>
                  <a:cubicBezTo>
                    <a:pt x="1136" y="493"/>
                    <a:pt x="1197" y="0"/>
                    <a:pt x="691"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10" name="Google Shape;2904;p123">
              <a:extLst>
                <a:ext uri="{FF2B5EF4-FFF2-40B4-BE49-F238E27FC236}">
                  <a16:creationId xmlns:a16="http://schemas.microsoft.com/office/drawing/2014/main" id="{9CBF4A16-63B5-7A44-BF6D-2D2823FA445F}"/>
                </a:ext>
              </a:extLst>
            </p:cNvPr>
            <p:cNvSpPr/>
            <p:nvPr/>
          </p:nvSpPr>
          <p:spPr>
            <a:xfrm>
              <a:off x="5117364" y="2305894"/>
              <a:ext cx="176501" cy="134493"/>
            </a:xfrm>
            <a:custGeom>
              <a:avLst/>
              <a:gdLst/>
              <a:ahLst/>
              <a:cxnLst/>
              <a:rect l="l" t="t" r="r" b="b"/>
              <a:pathLst>
                <a:path w="5689" h="4335" extrusionOk="0">
                  <a:moveTo>
                    <a:pt x="5357" y="1"/>
                  </a:moveTo>
                  <a:cubicBezTo>
                    <a:pt x="5128" y="93"/>
                    <a:pt x="4898" y="132"/>
                    <a:pt x="4681" y="132"/>
                  </a:cubicBezTo>
                  <a:cubicBezTo>
                    <a:pt x="4614" y="132"/>
                    <a:pt x="4549" y="128"/>
                    <a:pt x="4485" y="121"/>
                  </a:cubicBezTo>
                  <a:cubicBezTo>
                    <a:pt x="4465" y="120"/>
                    <a:pt x="4446" y="119"/>
                    <a:pt x="4428" y="119"/>
                  </a:cubicBezTo>
                  <a:cubicBezTo>
                    <a:pt x="4022" y="119"/>
                    <a:pt x="3892" y="422"/>
                    <a:pt x="3431" y="422"/>
                  </a:cubicBezTo>
                  <a:cubicBezTo>
                    <a:pt x="3110" y="422"/>
                    <a:pt x="2870" y="489"/>
                    <a:pt x="2709" y="489"/>
                  </a:cubicBezTo>
                  <a:cubicBezTo>
                    <a:pt x="2629" y="489"/>
                    <a:pt x="2569" y="472"/>
                    <a:pt x="2529" y="422"/>
                  </a:cubicBezTo>
                  <a:cubicBezTo>
                    <a:pt x="2485" y="368"/>
                    <a:pt x="2449" y="345"/>
                    <a:pt x="2404" y="345"/>
                  </a:cubicBezTo>
                  <a:cubicBezTo>
                    <a:pt x="2325" y="345"/>
                    <a:pt x="2217" y="416"/>
                    <a:pt x="1987" y="512"/>
                  </a:cubicBezTo>
                  <a:cubicBezTo>
                    <a:pt x="1881" y="572"/>
                    <a:pt x="1761" y="602"/>
                    <a:pt x="1641" y="602"/>
                  </a:cubicBezTo>
                  <a:cubicBezTo>
                    <a:pt x="1520" y="602"/>
                    <a:pt x="1400" y="572"/>
                    <a:pt x="1295" y="512"/>
                  </a:cubicBezTo>
                  <a:cubicBezTo>
                    <a:pt x="1256" y="482"/>
                    <a:pt x="1220" y="468"/>
                    <a:pt x="1187" y="468"/>
                  </a:cubicBezTo>
                  <a:cubicBezTo>
                    <a:pt x="1089" y="468"/>
                    <a:pt x="1016" y="581"/>
                    <a:pt x="994" y="693"/>
                  </a:cubicBezTo>
                  <a:cubicBezTo>
                    <a:pt x="933" y="843"/>
                    <a:pt x="994" y="1174"/>
                    <a:pt x="482" y="1265"/>
                  </a:cubicBezTo>
                  <a:cubicBezTo>
                    <a:pt x="1" y="1325"/>
                    <a:pt x="422" y="1566"/>
                    <a:pt x="482" y="1626"/>
                  </a:cubicBezTo>
                  <a:cubicBezTo>
                    <a:pt x="572" y="1716"/>
                    <a:pt x="482" y="1957"/>
                    <a:pt x="452" y="2228"/>
                  </a:cubicBezTo>
                  <a:cubicBezTo>
                    <a:pt x="1084" y="2228"/>
                    <a:pt x="1024" y="2769"/>
                    <a:pt x="873" y="2890"/>
                  </a:cubicBezTo>
                  <a:cubicBezTo>
                    <a:pt x="633" y="3130"/>
                    <a:pt x="422" y="3401"/>
                    <a:pt x="271" y="3702"/>
                  </a:cubicBezTo>
                  <a:lnTo>
                    <a:pt x="301" y="3702"/>
                  </a:lnTo>
                  <a:lnTo>
                    <a:pt x="301" y="3973"/>
                  </a:lnTo>
                  <a:lnTo>
                    <a:pt x="1054" y="4334"/>
                  </a:lnTo>
                  <a:cubicBezTo>
                    <a:pt x="1265" y="4184"/>
                    <a:pt x="1535" y="4033"/>
                    <a:pt x="1806" y="3973"/>
                  </a:cubicBezTo>
                  <a:cubicBezTo>
                    <a:pt x="1987" y="3913"/>
                    <a:pt x="4515" y="2559"/>
                    <a:pt x="4515" y="2559"/>
                  </a:cubicBezTo>
                  <a:cubicBezTo>
                    <a:pt x="4515" y="2559"/>
                    <a:pt x="4756" y="2228"/>
                    <a:pt x="4695" y="2077"/>
                  </a:cubicBezTo>
                  <a:cubicBezTo>
                    <a:pt x="4635" y="1897"/>
                    <a:pt x="4665" y="1686"/>
                    <a:pt x="4756" y="1475"/>
                  </a:cubicBezTo>
                  <a:cubicBezTo>
                    <a:pt x="4906" y="1325"/>
                    <a:pt x="4605" y="1054"/>
                    <a:pt x="4695" y="813"/>
                  </a:cubicBezTo>
                  <a:cubicBezTo>
                    <a:pt x="4816" y="542"/>
                    <a:pt x="5207" y="422"/>
                    <a:pt x="5207" y="422"/>
                  </a:cubicBezTo>
                  <a:lnTo>
                    <a:pt x="5688" y="91"/>
                  </a:lnTo>
                  <a:lnTo>
                    <a:pt x="5357" y="1"/>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11" name="Google Shape;2905;p123">
              <a:extLst>
                <a:ext uri="{FF2B5EF4-FFF2-40B4-BE49-F238E27FC236}">
                  <a16:creationId xmlns:a16="http://schemas.microsoft.com/office/drawing/2014/main" id="{8699753B-EDD6-1941-8BA1-8BBFC8A837AC}"/>
                </a:ext>
              </a:extLst>
            </p:cNvPr>
            <p:cNvSpPr/>
            <p:nvPr/>
          </p:nvSpPr>
          <p:spPr>
            <a:xfrm>
              <a:off x="7335806" y="2276948"/>
              <a:ext cx="94006" cy="114637"/>
            </a:xfrm>
            <a:custGeom>
              <a:avLst/>
              <a:gdLst/>
              <a:ahLst/>
              <a:cxnLst/>
              <a:rect l="l" t="t" r="r" b="b"/>
              <a:pathLst>
                <a:path w="3030" h="3695" extrusionOk="0">
                  <a:moveTo>
                    <a:pt x="1897" y="1"/>
                  </a:moveTo>
                  <a:cubicBezTo>
                    <a:pt x="1797" y="100"/>
                    <a:pt x="1677" y="159"/>
                    <a:pt x="1553" y="159"/>
                  </a:cubicBezTo>
                  <a:cubicBezTo>
                    <a:pt x="1527" y="159"/>
                    <a:pt x="1501" y="156"/>
                    <a:pt x="1475" y="151"/>
                  </a:cubicBezTo>
                  <a:cubicBezTo>
                    <a:pt x="1235" y="151"/>
                    <a:pt x="994" y="181"/>
                    <a:pt x="753" y="302"/>
                  </a:cubicBezTo>
                  <a:lnTo>
                    <a:pt x="302" y="693"/>
                  </a:lnTo>
                  <a:cubicBezTo>
                    <a:pt x="392" y="843"/>
                    <a:pt x="332" y="1054"/>
                    <a:pt x="542" y="1114"/>
                  </a:cubicBezTo>
                  <a:cubicBezTo>
                    <a:pt x="561" y="1107"/>
                    <a:pt x="578" y="1104"/>
                    <a:pt x="593" y="1104"/>
                  </a:cubicBezTo>
                  <a:cubicBezTo>
                    <a:pt x="753" y="1104"/>
                    <a:pt x="716" y="1463"/>
                    <a:pt x="549" y="1463"/>
                  </a:cubicBezTo>
                  <a:cubicBezTo>
                    <a:pt x="529" y="1463"/>
                    <a:pt x="507" y="1457"/>
                    <a:pt x="482" y="1445"/>
                  </a:cubicBezTo>
                  <a:cubicBezTo>
                    <a:pt x="460" y="1437"/>
                    <a:pt x="440" y="1433"/>
                    <a:pt x="421" y="1433"/>
                  </a:cubicBezTo>
                  <a:cubicBezTo>
                    <a:pt x="243" y="1433"/>
                    <a:pt x="261" y="1813"/>
                    <a:pt x="452" y="2167"/>
                  </a:cubicBezTo>
                  <a:cubicBezTo>
                    <a:pt x="693" y="2529"/>
                    <a:pt x="1" y="2950"/>
                    <a:pt x="181" y="3130"/>
                  </a:cubicBezTo>
                  <a:cubicBezTo>
                    <a:pt x="392" y="3311"/>
                    <a:pt x="242" y="3552"/>
                    <a:pt x="302" y="3672"/>
                  </a:cubicBezTo>
                  <a:cubicBezTo>
                    <a:pt x="317" y="3687"/>
                    <a:pt x="358" y="3695"/>
                    <a:pt x="417" y="3695"/>
                  </a:cubicBezTo>
                  <a:cubicBezTo>
                    <a:pt x="710" y="3695"/>
                    <a:pt x="1456" y="3511"/>
                    <a:pt x="1806" y="3161"/>
                  </a:cubicBezTo>
                  <a:cubicBezTo>
                    <a:pt x="2096" y="2871"/>
                    <a:pt x="2257" y="2795"/>
                    <a:pt x="2398" y="2795"/>
                  </a:cubicBezTo>
                  <a:cubicBezTo>
                    <a:pt x="2463" y="2795"/>
                    <a:pt x="2523" y="2811"/>
                    <a:pt x="2589" y="2830"/>
                  </a:cubicBezTo>
                  <a:cubicBezTo>
                    <a:pt x="2618" y="2837"/>
                    <a:pt x="2646" y="2840"/>
                    <a:pt x="2673" y="2840"/>
                  </a:cubicBezTo>
                  <a:cubicBezTo>
                    <a:pt x="2876" y="2840"/>
                    <a:pt x="3030" y="2658"/>
                    <a:pt x="2950" y="2499"/>
                  </a:cubicBezTo>
                  <a:cubicBezTo>
                    <a:pt x="2739" y="2137"/>
                    <a:pt x="2649" y="1716"/>
                    <a:pt x="2709" y="1325"/>
                  </a:cubicBezTo>
                  <a:cubicBezTo>
                    <a:pt x="2709" y="1024"/>
                    <a:pt x="2288" y="452"/>
                    <a:pt x="1897"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12" name="Google Shape;2906;p123">
              <a:extLst>
                <a:ext uri="{FF2B5EF4-FFF2-40B4-BE49-F238E27FC236}">
                  <a16:creationId xmlns:a16="http://schemas.microsoft.com/office/drawing/2014/main" id="{B4CAF514-0DBC-4842-89CD-4C14743DF9F3}"/>
                </a:ext>
              </a:extLst>
            </p:cNvPr>
            <p:cNvSpPr/>
            <p:nvPr/>
          </p:nvSpPr>
          <p:spPr>
            <a:xfrm>
              <a:off x="6410517" y="2610994"/>
              <a:ext cx="111163" cy="137503"/>
            </a:xfrm>
            <a:custGeom>
              <a:avLst/>
              <a:gdLst/>
              <a:ahLst/>
              <a:cxnLst/>
              <a:rect l="l" t="t" r="r" b="b"/>
              <a:pathLst>
                <a:path w="3583" h="4432" extrusionOk="0">
                  <a:moveTo>
                    <a:pt x="528" y="1"/>
                  </a:moveTo>
                  <a:cubicBezTo>
                    <a:pt x="469" y="1"/>
                    <a:pt x="402" y="48"/>
                    <a:pt x="302" y="188"/>
                  </a:cubicBezTo>
                  <a:cubicBezTo>
                    <a:pt x="1" y="609"/>
                    <a:pt x="934" y="579"/>
                    <a:pt x="843" y="820"/>
                  </a:cubicBezTo>
                  <a:cubicBezTo>
                    <a:pt x="723" y="1091"/>
                    <a:pt x="452" y="940"/>
                    <a:pt x="422" y="1181"/>
                  </a:cubicBezTo>
                  <a:cubicBezTo>
                    <a:pt x="392" y="1572"/>
                    <a:pt x="452" y="1994"/>
                    <a:pt x="603" y="2355"/>
                  </a:cubicBezTo>
                  <a:cubicBezTo>
                    <a:pt x="783" y="2836"/>
                    <a:pt x="874" y="3318"/>
                    <a:pt x="874" y="3799"/>
                  </a:cubicBezTo>
                  <a:cubicBezTo>
                    <a:pt x="1084" y="3769"/>
                    <a:pt x="1205" y="3649"/>
                    <a:pt x="1385" y="3649"/>
                  </a:cubicBezTo>
                  <a:cubicBezTo>
                    <a:pt x="1596" y="3649"/>
                    <a:pt x="2047" y="3619"/>
                    <a:pt x="2047" y="3348"/>
                  </a:cubicBezTo>
                  <a:cubicBezTo>
                    <a:pt x="2047" y="3112"/>
                    <a:pt x="2298" y="2945"/>
                    <a:pt x="2462" y="2945"/>
                  </a:cubicBezTo>
                  <a:cubicBezTo>
                    <a:pt x="2486" y="2945"/>
                    <a:pt x="2509" y="2949"/>
                    <a:pt x="2529" y="2957"/>
                  </a:cubicBezTo>
                  <a:cubicBezTo>
                    <a:pt x="2770" y="3258"/>
                    <a:pt x="2920" y="3649"/>
                    <a:pt x="2950" y="4010"/>
                  </a:cubicBezTo>
                  <a:cubicBezTo>
                    <a:pt x="2950" y="4161"/>
                    <a:pt x="3010" y="4311"/>
                    <a:pt x="3101" y="4431"/>
                  </a:cubicBezTo>
                  <a:lnTo>
                    <a:pt x="3341" y="4221"/>
                  </a:lnTo>
                  <a:cubicBezTo>
                    <a:pt x="3402" y="4040"/>
                    <a:pt x="3492" y="3890"/>
                    <a:pt x="3582" y="3739"/>
                  </a:cubicBezTo>
                  <a:cubicBezTo>
                    <a:pt x="3432" y="2987"/>
                    <a:pt x="3341" y="2235"/>
                    <a:pt x="3281" y="2235"/>
                  </a:cubicBezTo>
                  <a:cubicBezTo>
                    <a:pt x="3193" y="2235"/>
                    <a:pt x="2961" y="2837"/>
                    <a:pt x="2698" y="2837"/>
                  </a:cubicBezTo>
                  <a:cubicBezTo>
                    <a:pt x="2692" y="2837"/>
                    <a:pt x="2686" y="2837"/>
                    <a:pt x="2679" y="2836"/>
                  </a:cubicBezTo>
                  <a:cubicBezTo>
                    <a:pt x="2408" y="2776"/>
                    <a:pt x="2438" y="1964"/>
                    <a:pt x="2739" y="1964"/>
                  </a:cubicBezTo>
                  <a:cubicBezTo>
                    <a:pt x="3040" y="1964"/>
                    <a:pt x="3341" y="1362"/>
                    <a:pt x="3341" y="1181"/>
                  </a:cubicBezTo>
                  <a:cubicBezTo>
                    <a:pt x="3341" y="971"/>
                    <a:pt x="3101" y="971"/>
                    <a:pt x="2800" y="971"/>
                  </a:cubicBezTo>
                  <a:lnTo>
                    <a:pt x="1897" y="971"/>
                  </a:lnTo>
                  <a:cubicBezTo>
                    <a:pt x="1897" y="971"/>
                    <a:pt x="1506" y="820"/>
                    <a:pt x="1506" y="609"/>
                  </a:cubicBezTo>
                  <a:cubicBezTo>
                    <a:pt x="1506" y="369"/>
                    <a:pt x="1355" y="188"/>
                    <a:pt x="994" y="188"/>
                  </a:cubicBezTo>
                  <a:cubicBezTo>
                    <a:pt x="733" y="188"/>
                    <a:pt x="646" y="1"/>
                    <a:pt x="528"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13" name="Google Shape;2907;p123">
              <a:extLst>
                <a:ext uri="{FF2B5EF4-FFF2-40B4-BE49-F238E27FC236}">
                  <a16:creationId xmlns:a16="http://schemas.microsoft.com/office/drawing/2014/main" id="{7BFA043D-AA86-944C-95E8-CEC966BA2EFC}"/>
                </a:ext>
              </a:extLst>
            </p:cNvPr>
            <p:cNvSpPr/>
            <p:nvPr/>
          </p:nvSpPr>
          <p:spPr>
            <a:xfrm>
              <a:off x="5939960" y="2360995"/>
              <a:ext cx="682550" cy="717391"/>
            </a:xfrm>
            <a:custGeom>
              <a:avLst/>
              <a:gdLst/>
              <a:ahLst/>
              <a:cxnLst/>
              <a:rect l="l" t="t" r="r" b="b"/>
              <a:pathLst>
                <a:path w="22000" h="23123" extrusionOk="0">
                  <a:moveTo>
                    <a:pt x="7283" y="0"/>
                  </a:moveTo>
                  <a:cubicBezTo>
                    <a:pt x="7283" y="0"/>
                    <a:pt x="7072" y="512"/>
                    <a:pt x="6982" y="542"/>
                  </a:cubicBezTo>
                  <a:cubicBezTo>
                    <a:pt x="6711" y="632"/>
                    <a:pt x="6440" y="753"/>
                    <a:pt x="6169" y="873"/>
                  </a:cubicBezTo>
                  <a:cubicBezTo>
                    <a:pt x="6133" y="899"/>
                    <a:pt x="6084" y="910"/>
                    <a:pt x="6026" y="910"/>
                  </a:cubicBezTo>
                  <a:cubicBezTo>
                    <a:pt x="5749" y="910"/>
                    <a:pt x="5265" y="662"/>
                    <a:pt x="4966" y="662"/>
                  </a:cubicBezTo>
                  <a:cubicBezTo>
                    <a:pt x="4635" y="662"/>
                    <a:pt x="4424" y="993"/>
                    <a:pt x="4544" y="1114"/>
                  </a:cubicBezTo>
                  <a:cubicBezTo>
                    <a:pt x="4695" y="1204"/>
                    <a:pt x="4695" y="1866"/>
                    <a:pt x="4695" y="1866"/>
                  </a:cubicBezTo>
                  <a:cubicBezTo>
                    <a:pt x="4695" y="1866"/>
                    <a:pt x="4883" y="2565"/>
                    <a:pt x="5133" y="2565"/>
                  </a:cubicBezTo>
                  <a:cubicBezTo>
                    <a:pt x="5147" y="2565"/>
                    <a:pt x="5162" y="2563"/>
                    <a:pt x="5176" y="2558"/>
                  </a:cubicBezTo>
                  <a:cubicBezTo>
                    <a:pt x="5195" y="2554"/>
                    <a:pt x="5214" y="2551"/>
                    <a:pt x="5234" y="2551"/>
                  </a:cubicBezTo>
                  <a:cubicBezTo>
                    <a:pt x="5473" y="2551"/>
                    <a:pt x="5788" y="2866"/>
                    <a:pt x="5537" y="2949"/>
                  </a:cubicBezTo>
                  <a:cubicBezTo>
                    <a:pt x="5267" y="3010"/>
                    <a:pt x="5176" y="3280"/>
                    <a:pt x="5116" y="3521"/>
                  </a:cubicBezTo>
                  <a:cubicBezTo>
                    <a:pt x="5086" y="3732"/>
                    <a:pt x="5176" y="4063"/>
                    <a:pt x="4966" y="4123"/>
                  </a:cubicBezTo>
                  <a:cubicBezTo>
                    <a:pt x="4755" y="4123"/>
                    <a:pt x="4574" y="4334"/>
                    <a:pt x="4605" y="4575"/>
                  </a:cubicBezTo>
                  <a:cubicBezTo>
                    <a:pt x="4605" y="4906"/>
                    <a:pt x="4183" y="4815"/>
                    <a:pt x="4153" y="4936"/>
                  </a:cubicBezTo>
                  <a:cubicBezTo>
                    <a:pt x="4123" y="5056"/>
                    <a:pt x="3912" y="5688"/>
                    <a:pt x="3822" y="5778"/>
                  </a:cubicBezTo>
                  <a:cubicBezTo>
                    <a:pt x="3702" y="5839"/>
                    <a:pt x="3220" y="5929"/>
                    <a:pt x="3160" y="6170"/>
                  </a:cubicBezTo>
                  <a:cubicBezTo>
                    <a:pt x="3132" y="6422"/>
                    <a:pt x="2948" y="6778"/>
                    <a:pt x="2753" y="6778"/>
                  </a:cubicBezTo>
                  <a:cubicBezTo>
                    <a:pt x="2738" y="6778"/>
                    <a:pt x="2723" y="6776"/>
                    <a:pt x="2709" y="6771"/>
                  </a:cubicBezTo>
                  <a:cubicBezTo>
                    <a:pt x="2608" y="6755"/>
                    <a:pt x="2498" y="6710"/>
                    <a:pt x="2400" y="6710"/>
                  </a:cubicBezTo>
                  <a:cubicBezTo>
                    <a:pt x="2321" y="6710"/>
                    <a:pt x="2250" y="6738"/>
                    <a:pt x="2197" y="6832"/>
                  </a:cubicBezTo>
                  <a:cubicBezTo>
                    <a:pt x="2171" y="6871"/>
                    <a:pt x="2133" y="6886"/>
                    <a:pt x="2089" y="6886"/>
                  </a:cubicBezTo>
                  <a:cubicBezTo>
                    <a:pt x="1947" y="6886"/>
                    <a:pt x="1741" y="6734"/>
                    <a:pt x="1631" y="6734"/>
                  </a:cubicBezTo>
                  <a:cubicBezTo>
                    <a:pt x="1617" y="6734"/>
                    <a:pt x="1605" y="6736"/>
                    <a:pt x="1595" y="6741"/>
                  </a:cubicBezTo>
                  <a:cubicBezTo>
                    <a:pt x="1475" y="6832"/>
                    <a:pt x="1023" y="7223"/>
                    <a:pt x="1023" y="7494"/>
                  </a:cubicBezTo>
                  <a:cubicBezTo>
                    <a:pt x="1023" y="7765"/>
                    <a:pt x="1565" y="7765"/>
                    <a:pt x="1505" y="8066"/>
                  </a:cubicBezTo>
                  <a:cubicBezTo>
                    <a:pt x="1535" y="8366"/>
                    <a:pt x="1655" y="8667"/>
                    <a:pt x="1866" y="8878"/>
                  </a:cubicBezTo>
                  <a:cubicBezTo>
                    <a:pt x="2016" y="9029"/>
                    <a:pt x="2257" y="9420"/>
                    <a:pt x="2167" y="9600"/>
                  </a:cubicBezTo>
                  <a:cubicBezTo>
                    <a:pt x="2081" y="9729"/>
                    <a:pt x="1935" y="9766"/>
                    <a:pt x="1771" y="9766"/>
                  </a:cubicBezTo>
                  <a:cubicBezTo>
                    <a:pt x="1705" y="9766"/>
                    <a:pt x="1635" y="9760"/>
                    <a:pt x="1565" y="9751"/>
                  </a:cubicBezTo>
                  <a:cubicBezTo>
                    <a:pt x="1540" y="9748"/>
                    <a:pt x="1517" y="9747"/>
                    <a:pt x="1495" y="9747"/>
                  </a:cubicBezTo>
                  <a:cubicBezTo>
                    <a:pt x="1344" y="9747"/>
                    <a:pt x="1282" y="9810"/>
                    <a:pt x="1083" y="9810"/>
                  </a:cubicBezTo>
                  <a:cubicBezTo>
                    <a:pt x="1013" y="9810"/>
                    <a:pt x="926" y="9802"/>
                    <a:pt x="813" y="9781"/>
                  </a:cubicBezTo>
                  <a:cubicBezTo>
                    <a:pt x="771" y="9776"/>
                    <a:pt x="733" y="9774"/>
                    <a:pt x="697" y="9774"/>
                  </a:cubicBezTo>
                  <a:cubicBezTo>
                    <a:pt x="295" y="9774"/>
                    <a:pt x="256" y="10071"/>
                    <a:pt x="90" y="10293"/>
                  </a:cubicBezTo>
                  <a:lnTo>
                    <a:pt x="0" y="10293"/>
                  </a:lnTo>
                  <a:cubicBezTo>
                    <a:pt x="271" y="10473"/>
                    <a:pt x="361" y="10804"/>
                    <a:pt x="752" y="10955"/>
                  </a:cubicBezTo>
                  <a:cubicBezTo>
                    <a:pt x="821" y="10979"/>
                    <a:pt x="891" y="10988"/>
                    <a:pt x="959" y="10988"/>
                  </a:cubicBezTo>
                  <a:cubicBezTo>
                    <a:pt x="1176" y="10988"/>
                    <a:pt x="1379" y="10894"/>
                    <a:pt x="1503" y="10894"/>
                  </a:cubicBezTo>
                  <a:cubicBezTo>
                    <a:pt x="1579" y="10894"/>
                    <a:pt x="1625" y="10930"/>
                    <a:pt x="1625" y="11045"/>
                  </a:cubicBezTo>
                  <a:cubicBezTo>
                    <a:pt x="1625" y="11376"/>
                    <a:pt x="542" y="11286"/>
                    <a:pt x="542" y="11406"/>
                  </a:cubicBezTo>
                  <a:cubicBezTo>
                    <a:pt x="542" y="11521"/>
                    <a:pt x="1535" y="12768"/>
                    <a:pt x="2121" y="12768"/>
                  </a:cubicBezTo>
                  <a:cubicBezTo>
                    <a:pt x="2147" y="12768"/>
                    <a:pt x="2173" y="12765"/>
                    <a:pt x="2197" y="12760"/>
                  </a:cubicBezTo>
                  <a:cubicBezTo>
                    <a:pt x="2769" y="12640"/>
                    <a:pt x="3220" y="12038"/>
                    <a:pt x="3010" y="11948"/>
                  </a:cubicBezTo>
                  <a:cubicBezTo>
                    <a:pt x="2847" y="11840"/>
                    <a:pt x="3074" y="11513"/>
                    <a:pt x="3230" y="11513"/>
                  </a:cubicBezTo>
                  <a:cubicBezTo>
                    <a:pt x="3248" y="11513"/>
                    <a:pt x="3265" y="11517"/>
                    <a:pt x="3280" y="11526"/>
                  </a:cubicBezTo>
                  <a:cubicBezTo>
                    <a:pt x="3431" y="11587"/>
                    <a:pt x="3310" y="12189"/>
                    <a:pt x="3461" y="12339"/>
                  </a:cubicBezTo>
                  <a:cubicBezTo>
                    <a:pt x="3611" y="12489"/>
                    <a:pt x="3581" y="12760"/>
                    <a:pt x="3461" y="13061"/>
                  </a:cubicBezTo>
                  <a:cubicBezTo>
                    <a:pt x="3371" y="13362"/>
                    <a:pt x="3581" y="14054"/>
                    <a:pt x="3611" y="14416"/>
                  </a:cubicBezTo>
                  <a:cubicBezTo>
                    <a:pt x="3672" y="14807"/>
                    <a:pt x="3912" y="15288"/>
                    <a:pt x="4003" y="15860"/>
                  </a:cubicBezTo>
                  <a:cubicBezTo>
                    <a:pt x="4153" y="16582"/>
                    <a:pt x="4394" y="17305"/>
                    <a:pt x="4755" y="17967"/>
                  </a:cubicBezTo>
                  <a:cubicBezTo>
                    <a:pt x="5056" y="18569"/>
                    <a:pt x="5267" y="19712"/>
                    <a:pt x="5507" y="20013"/>
                  </a:cubicBezTo>
                  <a:cubicBezTo>
                    <a:pt x="5718" y="20314"/>
                    <a:pt x="6260" y="21157"/>
                    <a:pt x="6260" y="21668"/>
                  </a:cubicBezTo>
                  <a:cubicBezTo>
                    <a:pt x="6350" y="22210"/>
                    <a:pt x="6621" y="22722"/>
                    <a:pt x="7042" y="23083"/>
                  </a:cubicBezTo>
                  <a:cubicBezTo>
                    <a:pt x="7075" y="23110"/>
                    <a:pt x="7115" y="23122"/>
                    <a:pt x="7161" y="23122"/>
                  </a:cubicBezTo>
                  <a:cubicBezTo>
                    <a:pt x="7365" y="23122"/>
                    <a:pt x="7666" y="22867"/>
                    <a:pt x="7765" y="22571"/>
                  </a:cubicBezTo>
                  <a:cubicBezTo>
                    <a:pt x="7855" y="22240"/>
                    <a:pt x="8457" y="22120"/>
                    <a:pt x="8517" y="21819"/>
                  </a:cubicBezTo>
                  <a:cubicBezTo>
                    <a:pt x="8547" y="21518"/>
                    <a:pt x="8577" y="21337"/>
                    <a:pt x="8818" y="21307"/>
                  </a:cubicBezTo>
                  <a:cubicBezTo>
                    <a:pt x="9028" y="21277"/>
                    <a:pt x="8998" y="21036"/>
                    <a:pt x="8998" y="20735"/>
                  </a:cubicBezTo>
                  <a:cubicBezTo>
                    <a:pt x="8968" y="20374"/>
                    <a:pt x="9059" y="20013"/>
                    <a:pt x="9269" y="19712"/>
                  </a:cubicBezTo>
                  <a:cubicBezTo>
                    <a:pt x="9450" y="19321"/>
                    <a:pt x="9480" y="18870"/>
                    <a:pt x="9360" y="18448"/>
                  </a:cubicBezTo>
                  <a:cubicBezTo>
                    <a:pt x="9239" y="18117"/>
                    <a:pt x="9269" y="17756"/>
                    <a:pt x="9420" y="17455"/>
                  </a:cubicBezTo>
                  <a:cubicBezTo>
                    <a:pt x="9510" y="17154"/>
                    <a:pt x="9480" y="16823"/>
                    <a:pt x="9721" y="16793"/>
                  </a:cubicBezTo>
                  <a:cubicBezTo>
                    <a:pt x="10022" y="16733"/>
                    <a:pt x="10323" y="16522"/>
                    <a:pt x="10503" y="16251"/>
                  </a:cubicBezTo>
                  <a:cubicBezTo>
                    <a:pt x="10864" y="15890"/>
                    <a:pt x="11286" y="15589"/>
                    <a:pt x="11707" y="15288"/>
                  </a:cubicBezTo>
                  <a:cubicBezTo>
                    <a:pt x="12188" y="14927"/>
                    <a:pt x="12610" y="14476"/>
                    <a:pt x="12971" y="13994"/>
                  </a:cubicBezTo>
                  <a:cubicBezTo>
                    <a:pt x="13212" y="13633"/>
                    <a:pt x="13874" y="13513"/>
                    <a:pt x="14205" y="13182"/>
                  </a:cubicBezTo>
                  <a:cubicBezTo>
                    <a:pt x="14506" y="12851"/>
                    <a:pt x="14385" y="12700"/>
                    <a:pt x="14446" y="12339"/>
                  </a:cubicBezTo>
                  <a:cubicBezTo>
                    <a:pt x="14536" y="12008"/>
                    <a:pt x="15469" y="11888"/>
                    <a:pt x="15860" y="11888"/>
                  </a:cubicBezTo>
                  <a:lnTo>
                    <a:pt x="16041" y="11888"/>
                  </a:lnTo>
                  <a:cubicBezTo>
                    <a:pt x="16041" y="11406"/>
                    <a:pt x="15950" y="10925"/>
                    <a:pt x="15770" y="10473"/>
                  </a:cubicBezTo>
                  <a:cubicBezTo>
                    <a:pt x="15619" y="10082"/>
                    <a:pt x="15559" y="9661"/>
                    <a:pt x="15589" y="9269"/>
                  </a:cubicBezTo>
                  <a:cubicBezTo>
                    <a:pt x="15619" y="9029"/>
                    <a:pt x="15920" y="9239"/>
                    <a:pt x="16010" y="8938"/>
                  </a:cubicBezTo>
                  <a:cubicBezTo>
                    <a:pt x="16071" y="8637"/>
                    <a:pt x="15198" y="8667"/>
                    <a:pt x="15469" y="8276"/>
                  </a:cubicBezTo>
                  <a:cubicBezTo>
                    <a:pt x="15559" y="8156"/>
                    <a:pt x="15623" y="8116"/>
                    <a:pt x="15682" y="8116"/>
                  </a:cubicBezTo>
                  <a:cubicBezTo>
                    <a:pt x="15800" y="8116"/>
                    <a:pt x="15900" y="8276"/>
                    <a:pt x="16161" y="8276"/>
                  </a:cubicBezTo>
                  <a:cubicBezTo>
                    <a:pt x="16522" y="8276"/>
                    <a:pt x="16673" y="8487"/>
                    <a:pt x="16673" y="8698"/>
                  </a:cubicBezTo>
                  <a:cubicBezTo>
                    <a:pt x="16673" y="8938"/>
                    <a:pt x="17064" y="9089"/>
                    <a:pt x="17064" y="9089"/>
                  </a:cubicBezTo>
                  <a:lnTo>
                    <a:pt x="17967" y="9089"/>
                  </a:lnTo>
                  <a:cubicBezTo>
                    <a:pt x="18237" y="9089"/>
                    <a:pt x="18508" y="9089"/>
                    <a:pt x="18508" y="9269"/>
                  </a:cubicBezTo>
                  <a:cubicBezTo>
                    <a:pt x="18508" y="9450"/>
                    <a:pt x="18177" y="10052"/>
                    <a:pt x="17906" y="10052"/>
                  </a:cubicBezTo>
                  <a:cubicBezTo>
                    <a:pt x="17636" y="10052"/>
                    <a:pt x="17605" y="10894"/>
                    <a:pt x="17846" y="10925"/>
                  </a:cubicBezTo>
                  <a:cubicBezTo>
                    <a:pt x="17851" y="10925"/>
                    <a:pt x="17856" y="10926"/>
                    <a:pt x="17861" y="10926"/>
                  </a:cubicBezTo>
                  <a:cubicBezTo>
                    <a:pt x="18068" y="10926"/>
                    <a:pt x="18301" y="10323"/>
                    <a:pt x="18448" y="10323"/>
                  </a:cubicBezTo>
                  <a:cubicBezTo>
                    <a:pt x="18599" y="10323"/>
                    <a:pt x="18599" y="11075"/>
                    <a:pt x="18749" y="11827"/>
                  </a:cubicBezTo>
                  <a:lnTo>
                    <a:pt x="18839" y="11737"/>
                  </a:lnTo>
                  <a:cubicBezTo>
                    <a:pt x="19050" y="11737"/>
                    <a:pt x="18960" y="11105"/>
                    <a:pt x="19080" y="10925"/>
                  </a:cubicBezTo>
                  <a:cubicBezTo>
                    <a:pt x="19201" y="10744"/>
                    <a:pt x="19140" y="10142"/>
                    <a:pt x="19231" y="10142"/>
                  </a:cubicBezTo>
                  <a:cubicBezTo>
                    <a:pt x="19273" y="10142"/>
                    <a:pt x="19586" y="10232"/>
                    <a:pt x="19755" y="10232"/>
                  </a:cubicBezTo>
                  <a:cubicBezTo>
                    <a:pt x="19826" y="10232"/>
                    <a:pt x="19871" y="10216"/>
                    <a:pt x="19863" y="10172"/>
                  </a:cubicBezTo>
                  <a:cubicBezTo>
                    <a:pt x="19833" y="10022"/>
                    <a:pt x="20194" y="9450"/>
                    <a:pt x="20133" y="9179"/>
                  </a:cubicBezTo>
                  <a:cubicBezTo>
                    <a:pt x="20073" y="8938"/>
                    <a:pt x="20344" y="8547"/>
                    <a:pt x="20344" y="8216"/>
                  </a:cubicBezTo>
                  <a:cubicBezTo>
                    <a:pt x="20344" y="7885"/>
                    <a:pt x="20645" y="7795"/>
                    <a:pt x="20886" y="7614"/>
                  </a:cubicBezTo>
                  <a:cubicBezTo>
                    <a:pt x="21054" y="7470"/>
                    <a:pt x="21336" y="7269"/>
                    <a:pt x="21474" y="7269"/>
                  </a:cubicBezTo>
                  <a:cubicBezTo>
                    <a:pt x="21510" y="7269"/>
                    <a:pt x="21536" y="7283"/>
                    <a:pt x="21548" y="7313"/>
                  </a:cubicBezTo>
                  <a:cubicBezTo>
                    <a:pt x="21600" y="7400"/>
                    <a:pt x="21773" y="7487"/>
                    <a:pt x="21874" y="7487"/>
                  </a:cubicBezTo>
                  <a:cubicBezTo>
                    <a:pt x="21949" y="7487"/>
                    <a:pt x="21985" y="7440"/>
                    <a:pt x="21909" y="7313"/>
                  </a:cubicBezTo>
                  <a:cubicBezTo>
                    <a:pt x="21698" y="7012"/>
                    <a:pt x="21698" y="6862"/>
                    <a:pt x="21819" y="6771"/>
                  </a:cubicBezTo>
                  <a:cubicBezTo>
                    <a:pt x="21939" y="6711"/>
                    <a:pt x="21999" y="6410"/>
                    <a:pt x="21999" y="6410"/>
                  </a:cubicBezTo>
                  <a:cubicBezTo>
                    <a:pt x="21999" y="6410"/>
                    <a:pt x="21608" y="6320"/>
                    <a:pt x="21548" y="6139"/>
                  </a:cubicBezTo>
                  <a:cubicBezTo>
                    <a:pt x="21518" y="5959"/>
                    <a:pt x="21217" y="5778"/>
                    <a:pt x="21217" y="5628"/>
                  </a:cubicBezTo>
                  <a:cubicBezTo>
                    <a:pt x="21217" y="5567"/>
                    <a:pt x="21187" y="5541"/>
                    <a:pt x="21140" y="5541"/>
                  </a:cubicBezTo>
                  <a:cubicBezTo>
                    <a:pt x="21071" y="5541"/>
                    <a:pt x="20963" y="5598"/>
                    <a:pt x="20856" y="5688"/>
                  </a:cubicBezTo>
                  <a:cubicBezTo>
                    <a:pt x="20814" y="5718"/>
                    <a:pt x="20766" y="5729"/>
                    <a:pt x="20714" y="5729"/>
                  </a:cubicBezTo>
                  <a:cubicBezTo>
                    <a:pt x="20569" y="5729"/>
                    <a:pt x="20387" y="5646"/>
                    <a:pt x="20186" y="5646"/>
                  </a:cubicBezTo>
                  <a:cubicBezTo>
                    <a:pt x="20092" y="5646"/>
                    <a:pt x="19993" y="5664"/>
                    <a:pt x="19893" y="5718"/>
                  </a:cubicBezTo>
                  <a:cubicBezTo>
                    <a:pt x="19555" y="5943"/>
                    <a:pt x="19401" y="6142"/>
                    <a:pt x="19235" y="6142"/>
                  </a:cubicBezTo>
                  <a:cubicBezTo>
                    <a:pt x="19224" y="6142"/>
                    <a:pt x="19212" y="6141"/>
                    <a:pt x="19201" y="6139"/>
                  </a:cubicBezTo>
                  <a:cubicBezTo>
                    <a:pt x="19187" y="6138"/>
                    <a:pt x="19174" y="6137"/>
                    <a:pt x="19163" y="6137"/>
                  </a:cubicBezTo>
                  <a:cubicBezTo>
                    <a:pt x="18997" y="6137"/>
                    <a:pt x="19040" y="6330"/>
                    <a:pt x="18900" y="6471"/>
                  </a:cubicBezTo>
                  <a:cubicBezTo>
                    <a:pt x="18749" y="6621"/>
                    <a:pt x="18629" y="6832"/>
                    <a:pt x="18508" y="6832"/>
                  </a:cubicBezTo>
                  <a:lnTo>
                    <a:pt x="18087" y="6982"/>
                  </a:lnTo>
                  <a:cubicBezTo>
                    <a:pt x="18087" y="6982"/>
                    <a:pt x="18328" y="7434"/>
                    <a:pt x="18207" y="7644"/>
                  </a:cubicBezTo>
                  <a:cubicBezTo>
                    <a:pt x="18163" y="7733"/>
                    <a:pt x="18090" y="7756"/>
                    <a:pt x="17998" y="7756"/>
                  </a:cubicBezTo>
                  <a:cubicBezTo>
                    <a:pt x="17898" y="7756"/>
                    <a:pt x="17777" y="7729"/>
                    <a:pt x="17647" y="7729"/>
                  </a:cubicBezTo>
                  <a:cubicBezTo>
                    <a:pt x="17575" y="7729"/>
                    <a:pt x="17500" y="7737"/>
                    <a:pt x="17425" y="7765"/>
                  </a:cubicBezTo>
                  <a:cubicBezTo>
                    <a:pt x="17363" y="7787"/>
                    <a:pt x="17308" y="7796"/>
                    <a:pt x="17257" y="7796"/>
                  </a:cubicBezTo>
                  <a:cubicBezTo>
                    <a:pt x="17062" y="7796"/>
                    <a:pt x="16930" y="7665"/>
                    <a:pt x="16752" y="7665"/>
                  </a:cubicBezTo>
                  <a:cubicBezTo>
                    <a:pt x="16727" y="7665"/>
                    <a:pt x="16700" y="7668"/>
                    <a:pt x="16673" y="7674"/>
                  </a:cubicBezTo>
                  <a:cubicBezTo>
                    <a:pt x="16629" y="7689"/>
                    <a:pt x="16588" y="7695"/>
                    <a:pt x="16551" y="7695"/>
                  </a:cubicBezTo>
                  <a:cubicBezTo>
                    <a:pt x="16381" y="7695"/>
                    <a:pt x="16266" y="7574"/>
                    <a:pt x="16173" y="7574"/>
                  </a:cubicBezTo>
                  <a:cubicBezTo>
                    <a:pt x="16159" y="7574"/>
                    <a:pt x="16145" y="7577"/>
                    <a:pt x="16131" y="7584"/>
                  </a:cubicBezTo>
                  <a:cubicBezTo>
                    <a:pt x="16127" y="7585"/>
                    <a:pt x="16123" y="7586"/>
                    <a:pt x="16119" y="7586"/>
                  </a:cubicBezTo>
                  <a:cubicBezTo>
                    <a:pt x="16023" y="7586"/>
                    <a:pt x="15832" y="7273"/>
                    <a:pt x="15890" y="7042"/>
                  </a:cubicBezTo>
                  <a:cubicBezTo>
                    <a:pt x="15915" y="6869"/>
                    <a:pt x="15818" y="6575"/>
                    <a:pt x="15716" y="6575"/>
                  </a:cubicBezTo>
                  <a:cubicBezTo>
                    <a:pt x="15693" y="6575"/>
                    <a:pt x="15671" y="6589"/>
                    <a:pt x="15649" y="6621"/>
                  </a:cubicBezTo>
                  <a:cubicBezTo>
                    <a:pt x="15529" y="6832"/>
                    <a:pt x="15318" y="6711"/>
                    <a:pt x="15318" y="7012"/>
                  </a:cubicBezTo>
                  <a:cubicBezTo>
                    <a:pt x="15318" y="7313"/>
                    <a:pt x="15469" y="7614"/>
                    <a:pt x="15288" y="7795"/>
                  </a:cubicBezTo>
                  <a:cubicBezTo>
                    <a:pt x="15144" y="7918"/>
                    <a:pt x="14649" y="8013"/>
                    <a:pt x="14292" y="8013"/>
                  </a:cubicBezTo>
                  <a:cubicBezTo>
                    <a:pt x="14127" y="8013"/>
                    <a:pt x="13991" y="7993"/>
                    <a:pt x="13934" y="7945"/>
                  </a:cubicBezTo>
                  <a:cubicBezTo>
                    <a:pt x="13723" y="7795"/>
                    <a:pt x="12911" y="7674"/>
                    <a:pt x="12881" y="7524"/>
                  </a:cubicBezTo>
                  <a:cubicBezTo>
                    <a:pt x="12820" y="7373"/>
                    <a:pt x="12610" y="7072"/>
                    <a:pt x="12459" y="7072"/>
                  </a:cubicBezTo>
                  <a:cubicBezTo>
                    <a:pt x="12333" y="7072"/>
                    <a:pt x="11971" y="7243"/>
                    <a:pt x="11788" y="7243"/>
                  </a:cubicBezTo>
                  <a:cubicBezTo>
                    <a:pt x="11754" y="7243"/>
                    <a:pt x="11726" y="7237"/>
                    <a:pt x="11707" y="7223"/>
                  </a:cubicBezTo>
                  <a:cubicBezTo>
                    <a:pt x="11526" y="7042"/>
                    <a:pt x="11286" y="6922"/>
                    <a:pt x="11015" y="6862"/>
                  </a:cubicBezTo>
                  <a:cubicBezTo>
                    <a:pt x="10834" y="6832"/>
                    <a:pt x="10473" y="6681"/>
                    <a:pt x="10473" y="6531"/>
                  </a:cubicBezTo>
                  <a:cubicBezTo>
                    <a:pt x="10473" y="6380"/>
                    <a:pt x="9901" y="6320"/>
                    <a:pt x="9811" y="6230"/>
                  </a:cubicBezTo>
                  <a:cubicBezTo>
                    <a:pt x="9751" y="6109"/>
                    <a:pt x="9420" y="6079"/>
                    <a:pt x="9420" y="5929"/>
                  </a:cubicBezTo>
                  <a:cubicBezTo>
                    <a:pt x="9420" y="5778"/>
                    <a:pt x="9570" y="5507"/>
                    <a:pt x="9570" y="5327"/>
                  </a:cubicBezTo>
                  <a:cubicBezTo>
                    <a:pt x="9570" y="5116"/>
                    <a:pt x="9901" y="4936"/>
                    <a:pt x="9901" y="4815"/>
                  </a:cubicBezTo>
                  <a:cubicBezTo>
                    <a:pt x="9901" y="4725"/>
                    <a:pt x="9570" y="4484"/>
                    <a:pt x="9570" y="4484"/>
                  </a:cubicBezTo>
                  <a:cubicBezTo>
                    <a:pt x="9570" y="4484"/>
                    <a:pt x="9360" y="4063"/>
                    <a:pt x="9119" y="4063"/>
                  </a:cubicBezTo>
                  <a:cubicBezTo>
                    <a:pt x="8848" y="4063"/>
                    <a:pt x="8667" y="3612"/>
                    <a:pt x="8427" y="3581"/>
                  </a:cubicBezTo>
                  <a:cubicBezTo>
                    <a:pt x="8216" y="3551"/>
                    <a:pt x="8276" y="3130"/>
                    <a:pt x="8156" y="2980"/>
                  </a:cubicBezTo>
                  <a:cubicBezTo>
                    <a:pt x="8080" y="2854"/>
                    <a:pt x="8110" y="2582"/>
                    <a:pt x="8261" y="2582"/>
                  </a:cubicBezTo>
                  <a:cubicBezTo>
                    <a:pt x="8291" y="2582"/>
                    <a:pt x="8326" y="2593"/>
                    <a:pt x="8366" y="2618"/>
                  </a:cubicBezTo>
                  <a:cubicBezTo>
                    <a:pt x="8424" y="2659"/>
                    <a:pt x="8497" y="2678"/>
                    <a:pt x="8569" y="2678"/>
                  </a:cubicBezTo>
                  <a:cubicBezTo>
                    <a:pt x="8762" y="2678"/>
                    <a:pt x="8949" y="2545"/>
                    <a:pt x="8818" y="2348"/>
                  </a:cubicBezTo>
                  <a:cubicBezTo>
                    <a:pt x="8607" y="2077"/>
                    <a:pt x="8396" y="1806"/>
                    <a:pt x="8396" y="1655"/>
                  </a:cubicBezTo>
                  <a:cubicBezTo>
                    <a:pt x="8396" y="1505"/>
                    <a:pt x="8577" y="1023"/>
                    <a:pt x="8366" y="903"/>
                  </a:cubicBezTo>
                  <a:cubicBezTo>
                    <a:pt x="8156" y="783"/>
                    <a:pt x="7975" y="602"/>
                    <a:pt x="7855" y="391"/>
                  </a:cubicBezTo>
                  <a:cubicBezTo>
                    <a:pt x="7825" y="211"/>
                    <a:pt x="7704" y="90"/>
                    <a:pt x="7554"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14" name="Google Shape;2908;p123">
              <a:extLst>
                <a:ext uri="{FF2B5EF4-FFF2-40B4-BE49-F238E27FC236}">
                  <a16:creationId xmlns:a16="http://schemas.microsoft.com/office/drawing/2014/main" id="{A9E38DE9-8752-3649-B0AF-FA7F234486B8}"/>
                </a:ext>
              </a:extLst>
            </p:cNvPr>
            <p:cNvSpPr/>
            <p:nvPr/>
          </p:nvSpPr>
          <p:spPr>
            <a:xfrm>
              <a:off x="6412409" y="1856684"/>
              <a:ext cx="773112" cy="327097"/>
            </a:xfrm>
            <a:custGeom>
              <a:avLst/>
              <a:gdLst/>
              <a:ahLst/>
              <a:cxnLst/>
              <a:rect l="l" t="t" r="r" b="b"/>
              <a:pathLst>
                <a:path w="24919" h="10543" extrusionOk="0">
                  <a:moveTo>
                    <a:pt x="8244" y="1"/>
                  </a:moveTo>
                  <a:cubicBezTo>
                    <a:pt x="8121" y="1"/>
                    <a:pt x="8091" y="164"/>
                    <a:pt x="8035" y="275"/>
                  </a:cubicBezTo>
                  <a:cubicBezTo>
                    <a:pt x="7945" y="395"/>
                    <a:pt x="7644" y="395"/>
                    <a:pt x="7584" y="546"/>
                  </a:cubicBezTo>
                  <a:cubicBezTo>
                    <a:pt x="7494" y="696"/>
                    <a:pt x="7193" y="756"/>
                    <a:pt x="7283" y="967"/>
                  </a:cubicBezTo>
                  <a:cubicBezTo>
                    <a:pt x="7313" y="1178"/>
                    <a:pt x="7403" y="1388"/>
                    <a:pt x="7524" y="1599"/>
                  </a:cubicBezTo>
                  <a:cubicBezTo>
                    <a:pt x="7644" y="1719"/>
                    <a:pt x="7584" y="1960"/>
                    <a:pt x="7494" y="2081"/>
                  </a:cubicBezTo>
                  <a:cubicBezTo>
                    <a:pt x="7433" y="2201"/>
                    <a:pt x="6982" y="2231"/>
                    <a:pt x="6862" y="2412"/>
                  </a:cubicBezTo>
                  <a:cubicBezTo>
                    <a:pt x="6828" y="2471"/>
                    <a:pt x="6787" y="2494"/>
                    <a:pt x="6740" y="2494"/>
                  </a:cubicBezTo>
                  <a:cubicBezTo>
                    <a:pt x="6621" y="2494"/>
                    <a:pt x="6463" y="2339"/>
                    <a:pt x="6290" y="2231"/>
                  </a:cubicBezTo>
                  <a:cubicBezTo>
                    <a:pt x="6211" y="2197"/>
                    <a:pt x="6128" y="2180"/>
                    <a:pt x="6045" y="2180"/>
                  </a:cubicBezTo>
                  <a:cubicBezTo>
                    <a:pt x="5907" y="2180"/>
                    <a:pt x="5771" y="2227"/>
                    <a:pt x="5658" y="2321"/>
                  </a:cubicBezTo>
                  <a:cubicBezTo>
                    <a:pt x="5648" y="2326"/>
                    <a:pt x="5636" y="2329"/>
                    <a:pt x="5622" y="2329"/>
                  </a:cubicBezTo>
                  <a:cubicBezTo>
                    <a:pt x="5470" y="2329"/>
                    <a:pt x="5109" y="2050"/>
                    <a:pt x="5026" y="2050"/>
                  </a:cubicBezTo>
                  <a:cubicBezTo>
                    <a:pt x="4909" y="2050"/>
                    <a:pt x="4877" y="1598"/>
                    <a:pt x="4766" y="1598"/>
                  </a:cubicBezTo>
                  <a:cubicBezTo>
                    <a:pt x="4762" y="1598"/>
                    <a:pt x="4759" y="1598"/>
                    <a:pt x="4755" y="1599"/>
                  </a:cubicBezTo>
                  <a:lnTo>
                    <a:pt x="3672" y="1419"/>
                  </a:lnTo>
                  <a:cubicBezTo>
                    <a:pt x="3584" y="1394"/>
                    <a:pt x="3476" y="1379"/>
                    <a:pt x="3378" y="1379"/>
                  </a:cubicBezTo>
                  <a:cubicBezTo>
                    <a:pt x="3238" y="1379"/>
                    <a:pt x="3117" y="1408"/>
                    <a:pt x="3100" y="1479"/>
                  </a:cubicBezTo>
                  <a:cubicBezTo>
                    <a:pt x="3070" y="1599"/>
                    <a:pt x="2618" y="1599"/>
                    <a:pt x="2558" y="1750"/>
                  </a:cubicBezTo>
                  <a:cubicBezTo>
                    <a:pt x="2528" y="1900"/>
                    <a:pt x="2167" y="1930"/>
                    <a:pt x="2046" y="2081"/>
                  </a:cubicBezTo>
                  <a:cubicBezTo>
                    <a:pt x="1926" y="2231"/>
                    <a:pt x="1505" y="2231"/>
                    <a:pt x="1445" y="2412"/>
                  </a:cubicBezTo>
                  <a:cubicBezTo>
                    <a:pt x="1354" y="2622"/>
                    <a:pt x="843" y="2713"/>
                    <a:pt x="692" y="2773"/>
                  </a:cubicBezTo>
                  <a:cubicBezTo>
                    <a:pt x="542" y="2803"/>
                    <a:pt x="211" y="2833"/>
                    <a:pt x="150" y="2983"/>
                  </a:cubicBezTo>
                  <a:lnTo>
                    <a:pt x="0" y="2983"/>
                  </a:lnTo>
                  <a:cubicBezTo>
                    <a:pt x="0" y="3014"/>
                    <a:pt x="60" y="3014"/>
                    <a:pt x="60" y="3074"/>
                  </a:cubicBezTo>
                  <a:cubicBezTo>
                    <a:pt x="60" y="3104"/>
                    <a:pt x="391" y="3585"/>
                    <a:pt x="602" y="3826"/>
                  </a:cubicBezTo>
                  <a:cubicBezTo>
                    <a:pt x="813" y="4007"/>
                    <a:pt x="1053" y="4157"/>
                    <a:pt x="1324" y="4187"/>
                  </a:cubicBezTo>
                  <a:cubicBezTo>
                    <a:pt x="1625" y="4247"/>
                    <a:pt x="1896" y="4458"/>
                    <a:pt x="2016" y="4759"/>
                  </a:cubicBezTo>
                  <a:cubicBezTo>
                    <a:pt x="2077" y="5000"/>
                    <a:pt x="2227" y="5210"/>
                    <a:pt x="2408" y="5361"/>
                  </a:cubicBezTo>
                  <a:cubicBezTo>
                    <a:pt x="2558" y="5481"/>
                    <a:pt x="2377" y="5842"/>
                    <a:pt x="2377" y="6143"/>
                  </a:cubicBezTo>
                  <a:cubicBezTo>
                    <a:pt x="2377" y="6444"/>
                    <a:pt x="2046" y="6474"/>
                    <a:pt x="2197" y="6775"/>
                  </a:cubicBezTo>
                  <a:cubicBezTo>
                    <a:pt x="2347" y="7076"/>
                    <a:pt x="3611" y="7227"/>
                    <a:pt x="4003" y="7227"/>
                  </a:cubicBezTo>
                  <a:cubicBezTo>
                    <a:pt x="4364" y="7227"/>
                    <a:pt x="4484" y="7558"/>
                    <a:pt x="4574" y="7558"/>
                  </a:cubicBezTo>
                  <a:cubicBezTo>
                    <a:pt x="4635" y="7558"/>
                    <a:pt x="4815" y="7889"/>
                    <a:pt x="5086" y="7949"/>
                  </a:cubicBezTo>
                  <a:cubicBezTo>
                    <a:pt x="5417" y="7979"/>
                    <a:pt x="5688" y="8250"/>
                    <a:pt x="5688" y="8581"/>
                  </a:cubicBezTo>
                  <a:cubicBezTo>
                    <a:pt x="5808" y="9032"/>
                    <a:pt x="6109" y="9213"/>
                    <a:pt x="6139" y="9424"/>
                  </a:cubicBezTo>
                  <a:cubicBezTo>
                    <a:pt x="6152" y="9498"/>
                    <a:pt x="6261" y="9516"/>
                    <a:pt x="6414" y="9516"/>
                  </a:cubicBezTo>
                  <a:cubicBezTo>
                    <a:pt x="6563" y="9516"/>
                    <a:pt x="6755" y="9499"/>
                    <a:pt x="6940" y="9499"/>
                  </a:cubicBezTo>
                  <a:cubicBezTo>
                    <a:pt x="7027" y="9499"/>
                    <a:pt x="7113" y="9503"/>
                    <a:pt x="7193" y="9514"/>
                  </a:cubicBezTo>
                  <a:lnTo>
                    <a:pt x="9089" y="9514"/>
                  </a:lnTo>
                  <a:cubicBezTo>
                    <a:pt x="9390" y="9574"/>
                    <a:pt x="10082" y="9514"/>
                    <a:pt x="10503" y="9815"/>
                  </a:cubicBezTo>
                  <a:cubicBezTo>
                    <a:pt x="10714" y="9980"/>
                    <a:pt x="10864" y="10003"/>
                    <a:pt x="10996" y="10003"/>
                  </a:cubicBezTo>
                  <a:cubicBezTo>
                    <a:pt x="11045" y="10003"/>
                    <a:pt x="11092" y="10000"/>
                    <a:pt x="11138" y="10000"/>
                  </a:cubicBezTo>
                  <a:cubicBezTo>
                    <a:pt x="11215" y="10000"/>
                    <a:pt x="11291" y="10009"/>
                    <a:pt x="11376" y="10056"/>
                  </a:cubicBezTo>
                  <a:cubicBezTo>
                    <a:pt x="11576" y="10181"/>
                    <a:pt x="11798" y="10244"/>
                    <a:pt x="12023" y="10244"/>
                  </a:cubicBezTo>
                  <a:cubicBezTo>
                    <a:pt x="12068" y="10244"/>
                    <a:pt x="12113" y="10241"/>
                    <a:pt x="12158" y="10236"/>
                  </a:cubicBezTo>
                  <a:cubicBezTo>
                    <a:pt x="12177" y="10235"/>
                    <a:pt x="12195" y="10234"/>
                    <a:pt x="12211" y="10234"/>
                  </a:cubicBezTo>
                  <a:cubicBezTo>
                    <a:pt x="12550" y="10234"/>
                    <a:pt x="12561" y="10509"/>
                    <a:pt x="12790" y="10537"/>
                  </a:cubicBezTo>
                  <a:cubicBezTo>
                    <a:pt x="12807" y="10541"/>
                    <a:pt x="12824" y="10543"/>
                    <a:pt x="12842" y="10543"/>
                  </a:cubicBezTo>
                  <a:cubicBezTo>
                    <a:pt x="13117" y="10543"/>
                    <a:pt x="13551" y="10126"/>
                    <a:pt x="14145" y="9815"/>
                  </a:cubicBezTo>
                  <a:cubicBezTo>
                    <a:pt x="14470" y="9717"/>
                    <a:pt x="14805" y="9664"/>
                    <a:pt x="15134" y="9664"/>
                  </a:cubicBezTo>
                  <a:cubicBezTo>
                    <a:pt x="15413" y="9664"/>
                    <a:pt x="15688" y="9702"/>
                    <a:pt x="15950" y="9785"/>
                  </a:cubicBezTo>
                  <a:cubicBezTo>
                    <a:pt x="16492" y="9785"/>
                    <a:pt x="17034" y="9574"/>
                    <a:pt x="17395" y="9183"/>
                  </a:cubicBezTo>
                  <a:cubicBezTo>
                    <a:pt x="17816" y="8701"/>
                    <a:pt x="18298" y="8822"/>
                    <a:pt x="18358" y="8400"/>
                  </a:cubicBezTo>
                  <a:cubicBezTo>
                    <a:pt x="18448" y="7979"/>
                    <a:pt x="17967" y="7829"/>
                    <a:pt x="18147" y="7498"/>
                  </a:cubicBezTo>
                  <a:cubicBezTo>
                    <a:pt x="18249" y="7315"/>
                    <a:pt x="18432" y="7214"/>
                    <a:pt x="18624" y="7214"/>
                  </a:cubicBezTo>
                  <a:cubicBezTo>
                    <a:pt x="18717" y="7214"/>
                    <a:pt x="18811" y="7238"/>
                    <a:pt x="18900" y="7287"/>
                  </a:cubicBezTo>
                  <a:cubicBezTo>
                    <a:pt x="19080" y="7364"/>
                    <a:pt x="19272" y="7403"/>
                    <a:pt x="19460" y="7403"/>
                  </a:cubicBezTo>
                  <a:cubicBezTo>
                    <a:pt x="19711" y="7403"/>
                    <a:pt x="19957" y="7334"/>
                    <a:pt x="20164" y="7197"/>
                  </a:cubicBezTo>
                  <a:cubicBezTo>
                    <a:pt x="20705" y="6836"/>
                    <a:pt x="20886" y="6896"/>
                    <a:pt x="21367" y="6836"/>
                  </a:cubicBezTo>
                  <a:cubicBezTo>
                    <a:pt x="21879" y="6745"/>
                    <a:pt x="21759" y="6474"/>
                    <a:pt x="22059" y="6173"/>
                  </a:cubicBezTo>
                  <a:cubicBezTo>
                    <a:pt x="22280" y="5926"/>
                    <a:pt x="22601" y="5778"/>
                    <a:pt x="22931" y="5778"/>
                  </a:cubicBezTo>
                  <a:cubicBezTo>
                    <a:pt x="22961" y="5778"/>
                    <a:pt x="22992" y="5780"/>
                    <a:pt x="23023" y="5782"/>
                  </a:cubicBezTo>
                  <a:cubicBezTo>
                    <a:pt x="23296" y="5782"/>
                    <a:pt x="23669" y="5534"/>
                    <a:pt x="23961" y="5534"/>
                  </a:cubicBezTo>
                  <a:cubicBezTo>
                    <a:pt x="23990" y="5534"/>
                    <a:pt x="24018" y="5536"/>
                    <a:pt x="24046" y="5541"/>
                  </a:cubicBezTo>
                  <a:cubicBezTo>
                    <a:pt x="24196" y="5587"/>
                    <a:pt x="24392" y="5624"/>
                    <a:pt x="24557" y="5624"/>
                  </a:cubicBezTo>
                  <a:cubicBezTo>
                    <a:pt x="24723" y="5624"/>
                    <a:pt x="24858" y="5587"/>
                    <a:pt x="24888" y="5481"/>
                  </a:cubicBezTo>
                  <a:cubicBezTo>
                    <a:pt x="24918" y="5241"/>
                    <a:pt x="24136" y="4759"/>
                    <a:pt x="23865" y="4458"/>
                  </a:cubicBezTo>
                  <a:cubicBezTo>
                    <a:pt x="23776" y="4343"/>
                    <a:pt x="23648" y="4287"/>
                    <a:pt x="23521" y="4287"/>
                  </a:cubicBezTo>
                  <a:cubicBezTo>
                    <a:pt x="23350" y="4287"/>
                    <a:pt x="23182" y="4388"/>
                    <a:pt x="23113" y="4578"/>
                  </a:cubicBezTo>
                  <a:cubicBezTo>
                    <a:pt x="23083" y="4639"/>
                    <a:pt x="23047" y="4661"/>
                    <a:pt x="23003" y="4661"/>
                  </a:cubicBezTo>
                  <a:cubicBezTo>
                    <a:pt x="22872" y="4661"/>
                    <a:pt x="22669" y="4458"/>
                    <a:pt x="22330" y="4458"/>
                  </a:cubicBezTo>
                  <a:cubicBezTo>
                    <a:pt x="22040" y="4458"/>
                    <a:pt x="21924" y="4570"/>
                    <a:pt x="21798" y="4570"/>
                  </a:cubicBezTo>
                  <a:cubicBezTo>
                    <a:pt x="21728" y="4570"/>
                    <a:pt x="21655" y="4535"/>
                    <a:pt x="21548" y="4428"/>
                  </a:cubicBezTo>
                  <a:cubicBezTo>
                    <a:pt x="21217" y="4127"/>
                    <a:pt x="21608" y="4007"/>
                    <a:pt x="21608" y="4007"/>
                  </a:cubicBezTo>
                  <a:lnTo>
                    <a:pt x="21698" y="3585"/>
                  </a:lnTo>
                  <a:lnTo>
                    <a:pt x="22300" y="2321"/>
                  </a:lnTo>
                  <a:cubicBezTo>
                    <a:pt x="22186" y="2264"/>
                    <a:pt x="22059" y="2243"/>
                    <a:pt x="21936" y="2243"/>
                  </a:cubicBezTo>
                  <a:cubicBezTo>
                    <a:pt x="21865" y="2243"/>
                    <a:pt x="21795" y="2250"/>
                    <a:pt x="21728" y="2261"/>
                  </a:cubicBezTo>
                  <a:cubicBezTo>
                    <a:pt x="21666" y="2292"/>
                    <a:pt x="21571" y="2309"/>
                    <a:pt x="21472" y="2309"/>
                  </a:cubicBezTo>
                  <a:cubicBezTo>
                    <a:pt x="21283" y="2309"/>
                    <a:pt x="21076" y="2249"/>
                    <a:pt x="21036" y="2111"/>
                  </a:cubicBezTo>
                  <a:cubicBezTo>
                    <a:pt x="21021" y="2016"/>
                    <a:pt x="20807" y="1971"/>
                    <a:pt x="20582" y="1971"/>
                  </a:cubicBezTo>
                  <a:cubicBezTo>
                    <a:pt x="20376" y="1971"/>
                    <a:pt x="20159" y="2009"/>
                    <a:pt x="20073" y="2081"/>
                  </a:cubicBezTo>
                  <a:cubicBezTo>
                    <a:pt x="19893" y="2231"/>
                    <a:pt x="19471" y="2351"/>
                    <a:pt x="19441" y="2502"/>
                  </a:cubicBezTo>
                  <a:cubicBezTo>
                    <a:pt x="19381" y="2652"/>
                    <a:pt x="18990" y="2622"/>
                    <a:pt x="18779" y="2713"/>
                  </a:cubicBezTo>
                  <a:cubicBezTo>
                    <a:pt x="18599" y="2833"/>
                    <a:pt x="17816" y="2923"/>
                    <a:pt x="17786" y="2983"/>
                  </a:cubicBezTo>
                  <a:cubicBezTo>
                    <a:pt x="17751" y="3018"/>
                    <a:pt x="17456" y="3053"/>
                    <a:pt x="17183" y="3053"/>
                  </a:cubicBezTo>
                  <a:cubicBezTo>
                    <a:pt x="16984" y="3053"/>
                    <a:pt x="16796" y="3034"/>
                    <a:pt x="16733" y="2983"/>
                  </a:cubicBezTo>
                  <a:cubicBezTo>
                    <a:pt x="16582" y="2863"/>
                    <a:pt x="15830" y="2983"/>
                    <a:pt x="15709" y="2803"/>
                  </a:cubicBezTo>
                  <a:cubicBezTo>
                    <a:pt x="15589" y="2622"/>
                    <a:pt x="15288" y="2532"/>
                    <a:pt x="15288" y="2351"/>
                  </a:cubicBezTo>
                  <a:cubicBezTo>
                    <a:pt x="15288" y="2171"/>
                    <a:pt x="14716" y="2201"/>
                    <a:pt x="14656" y="2050"/>
                  </a:cubicBezTo>
                  <a:cubicBezTo>
                    <a:pt x="14482" y="1951"/>
                    <a:pt x="14307" y="1892"/>
                    <a:pt x="14116" y="1892"/>
                  </a:cubicBezTo>
                  <a:cubicBezTo>
                    <a:pt x="14076" y="1892"/>
                    <a:pt x="14035" y="1895"/>
                    <a:pt x="13994" y="1900"/>
                  </a:cubicBezTo>
                  <a:cubicBezTo>
                    <a:pt x="13992" y="1902"/>
                    <a:pt x="13987" y="1903"/>
                    <a:pt x="13979" y="1903"/>
                  </a:cubicBezTo>
                  <a:cubicBezTo>
                    <a:pt x="13887" y="1903"/>
                    <a:pt x="13441" y="1750"/>
                    <a:pt x="13302" y="1750"/>
                  </a:cubicBezTo>
                  <a:cubicBezTo>
                    <a:pt x="13061" y="1750"/>
                    <a:pt x="12820" y="1780"/>
                    <a:pt x="12580" y="1810"/>
                  </a:cubicBezTo>
                  <a:cubicBezTo>
                    <a:pt x="12429" y="1810"/>
                    <a:pt x="12158" y="2081"/>
                    <a:pt x="12008" y="2111"/>
                  </a:cubicBezTo>
                  <a:cubicBezTo>
                    <a:pt x="12001" y="2112"/>
                    <a:pt x="11994" y="2113"/>
                    <a:pt x="11986" y="2113"/>
                  </a:cubicBezTo>
                  <a:cubicBezTo>
                    <a:pt x="11840" y="2113"/>
                    <a:pt x="11502" y="1884"/>
                    <a:pt x="11342" y="1884"/>
                  </a:cubicBezTo>
                  <a:cubicBezTo>
                    <a:pt x="11319" y="1884"/>
                    <a:pt x="11300" y="1889"/>
                    <a:pt x="11286" y="1900"/>
                  </a:cubicBezTo>
                  <a:cubicBezTo>
                    <a:pt x="11278" y="1905"/>
                    <a:pt x="11268" y="1908"/>
                    <a:pt x="11257" y="1908"/>
                  </a:cubicBezTo>
                  <a:cubicBezTo>
                    <a:pt x="11148" y="1908"/>
                    <a:pt x="10914" y="1646"/>
                    <a:pt x="10804" y="1509"/>
                  </a:cubicBezTo>
                  <a:cubicBezTo>
                    <a:pt x="10714" y="1358"/>
                    <a:pt x="10804" y="997"/>
                    <a:pt x="10744" y="847"/>
                  </a:cubicBezTo>
                  <a:cubicBezTo>
                    <a:pt x="10654" y="696"/>
                    <a:pt x="10142" y="696"/>
                    <a:pt x="9931" y="606"/>
                  </a:cubicBezTo>
                  <a:cubicBezTo>
                    <a:pt x="9781" y="486"/>
                    <a:pt x="9600" y="395"/>
                    <a:pt x="9390" y="365"/>
                  </a:cubicBezTo>
                  <a:cubicBezTo>
                    <a:pt x="9179" y="365"/>
                    <a:pt x="8938" y="305"/>
                    <a:pt x="8878" y="245"/>
                  </a:cubicBezTo>
                  <a:cubicBezTo>
                    <a:pt x="8697" y="124"/>
                    <a:pt x="8487" y="64"/>
                    <a:pt x="8276" y="4"/>
                  </a:cubicBezTo>
                  <a:cubicBezTo>
                    <a:pt x="8265" y="2"/>
                    <a:pt x="8254" y="1"/>
                    <a:pt x="8244"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15" name="Google Shape;2909;p123">
              <a:extLst>
                <a:ext uri="{FF2B5EF4-FFF2-40B4-BE49-F238E27FC236}">
                  <a16:creationId xmlns:a16="http://schemas.microsoft.com/office/drawing/2014/main" id="{25B00161-F1A3-194C-9ECD-DC9D38477680}"/>
                </a:ext>
              </a:extLst>
            </p:cNvPr>
            <p:cNvSpPr/>
            <p:nvPr/>
          </p:nvSpPr>
          <p:spPr>
            <a:xfrm>
              <a:off x="5111748" y="2438495"/>
              <a:ext cx="13124" cy="32700"/>
            </a:xfrm>
            <a:custGeom>
              <a:avLst/>
              <a:gdLst/>
              <a:ahLst/>
              <a:cxnLst/>
              <a:rect l="l" t="t" r="r" b="b"/>
              <a:pathLst>
                <a:path w="423" h="1054" extrusionOk="0">
                  <a:moveTo>
                    <a:pt x="151" y="0"/>
                  </a:moveTo>
                  <a:cubicBezTo>
                    <a:pt x="31" y="30"/>
                    <a:pt x="1" y="482"/>
                    <a:pt x="1" y="572"/>
                  </a:cubicBezTo>
                  <a:cubicBezTo>
                    <a:pt x="31" y="752"/>
                    <a:pt x="151" y="933"/>
                    <a:pt x="302" y="1053"/>
                  </a:cubicBezTo>
                  <a:cubicBezTo>
                    <a:pt x="332" y="722"/>
                    <a:pt x="332" y="271"/>
                    <a:pt x="362" y="150"/>
                  </a:cubicBezTo>
                  <a:cubicBezTo>
                    <a:pt x="362" y="90"/>
                    <a:pt x="392" y="30"/>
                    <a:pt x="422"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16" name="Google Shape;2910;p123">
              <a:extLst>
                <a:ext uri="{FF2B5EF4-FFF2-40B4-BE49-F238E27FC236}">
                  <a16:creationId xmlns:a16="http://schemas.microsoft.com/office/drawing/2014/main" id="{26169A96-2EC3-E84E-93D7-03DE2AA3CD50}"/>
                </a:ext>
              </a:extLst>
            </p:cNvPr>
            <p:cNvSpPr/>
            <p:nvPr/>
          </p:nvSpPr>
          <p:spPr>
            <a:xfrm>
              <a:off x="5090279" y="2415134"/>
              <a:ext cx="35524" cy="102755"/>
            </a:xfrm>
            <a:custGeom>
              <a:avLst/>
              <a:gdLst/>
              <a:ahLst/>
              <a:cxnLst/>
              <a:rect l="l" t="t" r="r" b="b"/>
              <a:pathLst>
                <a:path w="1145" h="3312" extrusionOk="0">
                  <a:moveTo>
                    <a:pt x="753" y="1"/>
                  </a:moveTo>
                  <a:lnTo>
                    <a:pt x="603" y="362"/>
                  </a:lnTo>
                  <a:cubicBezTo>
                    <a:pt x="512" y="873"/>
                    <a:pt x="302" y="1355"/>
                    <a:pt x="1" y="1746"/>
                  </a:cubicBezTo>
                  <a:lnTo>
                    <a:pt x="573" y="3191"/>
                  </a:lnTo>
                  <a:lnTo>
                    <a:pt x="542" y="3311"/>
                  </a:lnTo>
                  <a:lnTo>
                    <a:pt x="603" y="3311"/>
                  </a:lnTo>
                  <a:cubicBezTo>
                    <a:pt x="663" y="2920"/>
                    <a:pt x="753" y="2529"/>
                    <a:pt x="874" y="2167"/>
                  </a:cubicBezTo>
                  <a:cubicBezTo>
                    <a:pt x="934" y="2047"/>
                    <a:pt x="964" y="1897"/>
                    <a:pt x="994" y="1776"/>
                  </a:cubicBezTo>
                  <a:cubicBezTo>
                    <a:pt x="843" y="1626"/>
                    <a:pt x="723" y="1475"/>
                    <a:pt x="693" y="1265"/>
                  </a:cubicBezTo>
                  <a:cubicBezTo>
                    <a:pt x="693" y="1204"/>
                    <a:pt x="723" y="753"/>
                    <a:pt x="843" y="723"/>
                  </a:cubicBezTo>
                  <a:lnTo>
                    <a:pt x="1084" y="723"/>
                  </a:lnTo>
                  <a:cubicBezTo>
                    <a:pt x="1084" y="542"/>
                    <a:pt x="1144" y="362"/>
                    <a:pt x="1144" y="181"/>
                  </a:cubicBezTo>
                  <a:lnTo>
                    <a:pt x="753" y="1"/>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17" name="Google Shape;2911;p123">
              <a:extLst>
                <a:ext uri="{FF2B5EF4-FFF2-40B4-BE49-F238E27FC236}">
                  <a16:creationId xmlns:a16="http://schemas.microsoft.com/office/drawing/2014/main" id="{3DCD0F55-9BC6-5348-BC4F-4C98C8C9FBF8}"/>
                </a:ext>
              </a:extLst>
            </p:cNvPr>
            <p:cNvSpPr/>
            <p:nvPr/>
          </p:nvSpPr>
          <p:spPr>
            <a:xfrm>
              <a:off x="5110817" y="2415134"/>
              <a:ext cx="103686" cy="113086"/>
            </a:xfrm>
            <a:custGeom>
              <a:avLst/>
              <a:gdLst/>
              <a:ahLst/>
              <a:cxnLst/>
              <a:rect l="l" t="t" r="r" b="b"/>
              <a:pathLst>
                <a:path w="3342" h="3645" extrusionOk="0">
                  <a:moveTo>
                    <a:pt x="3040" y="1"/>
                  </a:moveTo>
                  <a:lnTo>
                    <a:pt x="2047" y="482"/>
                  </a:lnTo>
                  <a:cubicBezTo>
                    <a:pt x="1776" y="572"/>
                    <a:pt x="1536" y="693"/>
                    <a:pt x="1295" y="873"/>
                  </a:cubicBezTo>
                  <a:lnTo>
                    <a:pt x="543" y="482"/>
                  </a:lnTo>
                  <a:lnTo>
                    <a:pt x="543" y="211"/>
                  </a:lnTo>
                  <a:lnTo>
                    <a:pt x="512" y="211"/>
                  </a:lnTo>
                  <a:cubicBezTo>
                    <a:pt x="512" y="452"/>
                    <a:pt x="482" y="663"/>
                    <a:pt x="422" y="903"/>
                  </a:cubicBezTo>
                  <a:cubicBezTo>
                    <a:pt x="392" y="1084"/>
                    <a:pt x="392" y="2017"/>
                    <a:pt x="242" y="2228"/>
                  </a:cubicBezTo>
                  <a:cubicBezTo>
                    <a:pt x="121" y="2589"/>
                    <a:pt x="31" y="2950"/>
                    <a:pt x="1" y="3341"/>
                  </a:cubicBezTo>
                  <a:cubicBezTo>
                    <a:pt x="212" y="3492"/>
                    <a:pt x="452" y="3582"/>
                    <a:pt x="693" y="3642"/>
                  </a:cubicBezTo>
                  <a:cubicBezTo>
                    <a:pt x="706" y="3644"/>
                    <a:pt x="719" y="3644"/>
                    <a:pt x="732" y="3644"/>
                  </a:cubicBezTo>
                  <a:cubicBezTo>
                    <a:pt x="997" y="3644"/>
                    <a:pt x="1325" y="3363"/>
                    <a:pt x="1325" y="3191"/>
                  </a:cubicBezTo>
                  <a:cubicBezTo>
                    <a:pt x="1325" y="3010"/>
                    <a:pt x="1566" y="2980"/>
                    <a:pt x="1837" y="2980"/>
                  </a:cubicBezTo>
                  <a:cubicBezTo>
                    <a:pt x="2077" y="2980"/>
                    <a:pt x="2077" y="2709"/>
                    <a:pt x="2288" y="2589"/>
                  </a:cubicBezTo>
                  <a:cubicBezTo>
                    <a:pt x="2469" y="2468"/>
                    <a:pt x="1897" y="1957"/>
                    <a:pt x="1716" y="1927"/>
                  </a:cubicBezTo>
                  <a:cubicBezTo>
                    <a:pt x="1536" y="1867"/>
                    <a:pt x="1867" y="1415"/>
                    <a:pt x="2469" y="1385"/>
                  </a:cubicBezTo>
                  <a:cubicBezTo>
                    <a:pt x="3071" y="1355"/>
                    <a:pt x="2950" y="1174"/>
                    <a:pt x="3281" y="1174"/>
                  </a:cubicBezTo>
                  <a:lnTo>
                    <a:pt x="3341" y="1174"/>
                  </a:lnTo>
                  <a:cubicBezTo>
                    <a:pt x="3251" y="903"/>
                    <a:pt x="3191" y="572"/>
                    <a:pt x="3131" y="362"/>
                  </a:cubicBezTo>
                  <a:cubicBezTo>
                    <a:pt x="3101" y="181"/>
                    <a:pt x="3071" y="151"/>
                    <a:pt x="3040"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18" name="Google Shape;2912;p123">
              <a:extLst>
                <a:ext uri="{FF2B5EF4-FFF2-40B4-BE49-F238E27FC236}">
                  <a16:creationId xmlns:a16="http://schemas.microsoft.com/office/drawing/2014/main" id="{9FC087A8-3049-574A-8558-05C4092071C8}"/>
                </a:ext>
              </a:extLst>
            </p:cNvPr>
            <p:cNvSpPr/>
            <p:nvPr/>
          </p:nvSpPr>
          <p:spPr>
            <a:xfrm>
              <a:off x="5967076" y="2136250"/>
              <a:ext cx="269824" cy="112155"/>
            </a:xfrm>
            <a:custGeom>
              <a:avLst/>
              <a:gdLst/>
              <a:ahLst/>
              <a:cxnLst/>
              <a:rect l="l" t="t" r="r" b="b"/>
              <a:pathLst>
                <a:path w="8697" h="3615" extrusionOk="0">
                  <a:moveTo>
                    <a:pt x="4007" y="0"/>
                  </a:moveTo>
                  <a:cubicBezTo>
                    <a:pt x="3758" y="0"/>
                    <a:pt x="3386" y="89"/>
                    <a:pt x="3339" y="322"/>
                  </a:cubicBezTo>
                  <a:cubicBezTo>
                    <a:pt x="3321" y="504"/>
                    <a:pt x="3238" y="598"/>
                    <a:pt x="3075" y="598"/>
                  </a:cubicBezTo>
                  <a:cubicBezTo>
                    <a:pt x="2968" y="598"/>
                    <a:pt x="2827" y="557"/>
                    <a:pt x="2647" y="473"/>
                  </a:cubicBezTo>
                  <a:cubicBezTo>
                    <a:pt x="2413" y="379"/>
                    <a:pt x="2138" y="326"/>
                    <a:pt x="1928" y="326"/>
                  </a:cubicBezTo>
                  <a:cubicBezTo>
                    <a:pt x="1733" y="326"/>
                    <a:pt x="1594" y="372"/>
                    <a:pt x="1594" y="473"/>
                  </a:cubicBezTo>
                  <a:cubicBezTo>
                    <a:pt x="1504" y="714"/>
                    <a:pt x="1323" y="924"/>
                    <a:pt x="1082" y="1045"/>
                  </a:cubicBezTo>
                  <a:cubicBezTo>
                    <a:pt x="1022" y="1045"/>
                    <a:pt x="932" y="1225"/>
                    <a:pt x="841" y="1466"/>
                  </a:cubicBezTo>
                  <a:cubicBezTo>
                    <a:pt x="962" y="1526"/>
                    <a:pt x="1052" y="1616"/>
                    <a:pt x="1142" y="1737"/>
                  </a:cubicBezTo>
                  <a:cubicBezTo>
                    <a:pt x="1209" y="1817"/>
                    <a:pt x="1323" y="1855"/>
                    <a:pt x="1437" y="1855"/>
                  </a:cubicBezTo>
                  <a:cubicBezTo>
                    <a:pt x="1580" y="1855"/>
                    <a:pt x="1724" y="1794"/>
                    <a:pt x="1774" y="1677"/>
                  </a:cubicBezTo>
                  <a:cubicBezTo>
                    <a:pt x="1785" y="1645"/>
                    <a:pt x="1814" y="1631"/>
                    <a:pt x="1856" y="1631"/>
                  </a:cubicBezTo>
                  <a:cubicBezTo>
                    <a:pt x="2057" y="1631"/>
                    <a:pt x="2560" y="1945"/>
                    <a:pt x="2858" y="2218"/>
                  </a:cubicBezTo>
                  <a:cubicBezTo>
                    <a:pt x="3249" y="2549"/>
                    <a:pt x="2677" y="2279"/>
                    <a:pt x="2527" y="2640"/>
                  </a:cubicBezTo>
                  <a:cubicBezTo>
                    <a:pt x="2474" y="2756"/>
                    <a:pt x="2381" y="2790"/>
                    <a:pt x="2276" y="2790"/>
                  </a:cubicBezTo>
                  <a:cubicBezTo>
                    <a:pt x="2121" y="2790"/>
                    <a:pt x="1942" y="2714"/>
                    <a:pt x="1837" y="2714"/>
                  </a:cubicBezTo>
                  <a:cubicBezTo>
                    <a:pt x="1811" y="2714"/>
                    <a:pt x="1790" y="2718"/>
                    <a:pt x="1774" y="2730"/>
                  </a:cubicBezTo>
                  <a:cubicBezTo>
                    <a:pt x="1471" y="2847"/>
                    <a:pt x="1168" y="2891"/>
                    <a:pt x="864" y="2891"/>
                  </a:cubicBezTo>
                  <a:cubicBezTo>
                    <a:pt x="777" y="2891"/>
                    <a:pt x="689" y="2887"/>
                    <a:pt x="601" y="2880"/>
                  </a:cubicBezTo>
                  <a:cubicBezTo>
                    <a:pt x="592" y="2879"/>
                    <a:pt x="582" y="2879"/>
                    <a:pt x="573" y="2879"/>
                  </a:cubicBezTo>
                  <a:cubicBezTo>
                    <a:pt x="357" y="2879"/>
                    <a:pt x="0" y="3188"/>
                    <a:pt x="29" y="3332"/>
                  </a:cubicBezTo>
                  <a:cubicBezTo>
                    <a:pt x="47" y="3378"/>
                    <a:pt x="136" y="3390"/>
                    <a:pt x="258" y="3390"/>
                  </a:cubicBezTo>
                  <a:cubicBezTo>
                    <a:pt x="397" y="3390"/>
                    <a:pt x="580" y="3374"/>
                    <a:pt x="751" y="3374"/>
                  </a:cubicBezTo>
                  <a:cubicBezTo>
                    <a:pt x="921" y="3374"/>
                    <a:pt x="1079" y="3390"/>
                    <a:pt x="1172" y="3452"/>
                  </a:cubicBezTo>
                  <a:cubicBezTo>
                    <a:pt x="1230" y="3491"/>
                    <a:pt x="1290" y="3505"/>
                    <a:pt x="1348" y="3505"/>
                  </a:cubicBezTo>
                  <a:cubicBezTo>
                    <a:pt x="1499" y="3505"/>
                    <a:pt x="1647" y="3414"/>
                    <a:pt x="1763" y="3414"/>
                  </a:cubicBezTo>
                  <a:cubicBezTo>
                    <a:pt x="1814" y="3414"/>
                    <a:pt x="1859" y="3432"/>
                    <a:pt x="1895" y="3482"/>
                  </a:cubicBezTo>
                  <a:cubicBezTo>
                    <a:pt x="1960" y="3587"/>
                    <a:pt x="2059" y="3612"/>
                    <a:pt x="2165" y="3612"/>
                  </a:cubicBezTo>
                  <a:cubicBezTo>
                    <a:pt x="2265" y="3612"/>
                    <a:pt x="2370" y="3590"/>
                    <a:pt x="2460" y="3590"/>
                  </a:cubicBezTo>
                  <a:cubicBezTo>
                    <a:pt x="2495" y="3590"/>
                    <a:pt x="2528" y="3593"/>
                    <a:pt x="2557" y="3603"/>
                  </a:cubicBezTo>
                  <a:cubicBezTo>
                    <a:pt x="2646" y="3611"/>
                    <a:pt x="2736" y="3615"/>
                    <a:pt x="2828" y="3615"/>
                  </a:cubicBezTo>
                  <a:cubicBezTo>
                    <a:pt x="3079" y="3615"/>
                    <a:pt x="3338" y="3587"/>
                    <a:pt x="3580" y="3543"/>
                  </a:cubicBezTo>
                  <a:cubicBezTo>
                    <a:pt x="3670" y="3422"/>
                    <a:pt x="3700" y="3302"/>
                    <a:pt x="3700" y="3151"/>
                  </a:cubicBezTo>
                  <a:cubicBezTo>
                    <a:pt x="3700" y="2941"/>
                    <a:pt x="3881" y="3001"/>
                    <a:pt x="4062" y="2941"/>
                  </a:cubicBezTo>
                  <a:cubicBezTo>
                    <a:pt x="4242" y="2850"/>
                    <a:pt x="4363" y="2670"/>
                    <a:pt x="4483" y="2670"/>
                  </a:cubicBezTo>
                  <a:cubicBezTo>
                    <a:pt x="4584" y="2670"/>
                    <a:pt x="4750" y="2499"/>
                    <a:pt x="4889" y="2499"/>
                  </a:cubicBezTo>
                  <a:cubicBezTo>
                    <a:pt x="4915" y="2499"/>
                    <a:pt x="4941" y="2505"/>
                    <a:pt x="4964" y="2519"/>
                  </a:cubicBezTo>
                  <a:cubicBezTo>
                    <a:pt x="5080" y="2566"/>
                    <a:pt x="5196" y="2718"/>
                    <a:pt x="5325" y="2718"/>
                  </a:cubicBezTo>
                  <a:cubicBezTo>
                    <a:pt x="5364" y="2718"/>
                    <a:pt x="5404" y="2705"/>
                    <a:pt x="5446" y="2670"/>
                  </a:cubicBezTo>
                  <a:cubicBezTo>
                    <a:pt x="5627" y="2519"/>
                    <a:pt x="5687" y="2640"/>
                    <a:pt x="5927" y="2369"/>
                  </a:cubicBezTo>
                  <a:cubicBezTo>
                    <a:pt x="6131" y="2166"/>
                    <a:pt x="6249" y="2115"/>
                    <a:pt x="6435" y="2115"/>
                  </a:cubicBezTo>
                  <a:cubicBezTo>
                    <a:pt x="6497" y="2115"/>
                    <a:pt x="6567" y="2121"/>
                    <a:pt x="6650" y="2128"/>
                  </a:cubicBezTo>
                  <a:cubicBezTo>
                    <a:pt x="6690" y="2137"/>
                    <a:pt x="6731" y="2141"/>
                    <a:pt x="6770" y="2141"/>
                  </a:cubicBezTo>
                  <a:cubicBezTo>
                    <a:pt x="6997" y="2141"/>
                    <a:pt x="7205" y="2002"/>
                    <a:pt x="7282" y="1797"/>
                  </a:cubicBezTo>
                  <a:cubicBezTo>
                    <a:pt x="7402" y="1586"/>
                    <a:pt x="7703" y="1586"/>
                    <a:pt x="7884" y="1436"/>
                  </a:cubicBezTo>
                  <a:lnTo>
                    <a:pt x="8606" y="1075"/>
                  </a:lnTo>
                  <a:cubicBezTo>
                    <a:pt x="8666" y="1045"/>
                    <a:pt x="8696" y="954"/>
                    <a:pt x="8696" y="894"/>
                  </a:cubicBezTo>
                  <a:cubicBezTo>
                    <a:pt x="8578" y="811"/>
                    <a:pt x="8488" y="798"/>
                    <a:pt x="8405" y="798"/>
                  </a:cubicBezTo>
                  <a:cubicBezTo>
                    <a:pt x="8367" y="798"/>
                    <a:pt x="8330" y="801"/>
                    <a:pt x="8293" y="801"/>
                  </a:cubicBezTo>
                  <a:cubicBezTo>
                    <a:pt x="8207" y="801"/>
                    <a:pt x="8119" y="786"/>
                    <a:pt x="8004" y="684"/>
                  </a:cubicBezTo>
                  <a:cubicBezTo>
                    <a:pt x="7854" y="488"/>
                    <a:pt x="7748" y="450"/>
                    <a:pt x="7639" y="450"/>
                  </a:cubicBezTo>
                  <a:cubicBezTo>
                    <a:pt x="7571" y="450"/>
                    <a:pt x="7501" y="465"/>
                    <a:pt x="7418" y="465"/>
                  </a:cubicBezTo>
                  <a:cubicBezTo>
                    <a:pt x="7368" y="465"/>
                    <a:pt x="7314" y="460"/>
                    <a:pt x="7252" y="443"/>
                  </a:cubicBezTo>
                  <a:cubicBezTo>
                    <a:pt x="6799" y="340"/>
                    <a:pt x="6333" y="293"/>
                    <a:pt x="5871" y="293"/>
                  </a:cubicBezTo>
                  <a:cubicBezTo>
                    <a:pt x="5658" y="293"/>
                    <a:pt x="5445" y="303"/>
                    <a:pt x="5235" y="322"/>
                  </a:cubicBezTo>
                  <a:cubicBezTo>
                    <a:pt x="5190" y="341"/>
                    <a:pt x="5138" y="348"/>
                    <a:pt x="5083" y="348"/>
                  </a:cubicBezTo>
                  <a:cubicBezTo>
                    <a:pt x="4771" y="348"/>
                    <a:pt x="4335" y="98"/>
                    <a:pt x="4182" y="21"/>
                  </a:cubicBezTo>
                  <a:cubicBezTo>
                    <a:pt x="4141" y="8"/>
                    <a:pt x="4080" y="0"/>
                    <a:pt x="4007"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19" name="Google Shape;2913;p123">
              <a:extLst>
                <a:ext uri="{FF2B5EF4-FFF2-40B4-BE49-F238E27FC236}">
                  <a16:creationId xmlns:a16="http://schemas.microsoft.com/office/drawing/2014/main" id="{6888C079-A79B-7842-A582-1FA444293027}"/>
                </a:ext>
              </a:extLst>
            </p:cNvPr>
            <p:cNvSpPr/>
            <p:nvPr/>
          </p:nvSpPr>
          <p:spPr>
            <a:xfrm>
              <a:off x="5230357" y="2121017"/>
              <a:ext cx="170886" cy="74739"/>
            </a:xfrm>
            <a:custGeom>
              <a:avLst/>
              <a:gdLst/>
              <a:ahLst/>
              <a:cxnLst/>
              <a:rect l="l" t="t" r="r" b="b"/>
              <a:pathLst>
                <a:path w="5508" h="2409" extrusionOk="0">
                  <a:moveTo>
                    <a:pt x="301" y="1"/>
                  </a:moveTo>
                  <a:lnTo>
                    <a:pt x="0" y="151"/>
                  </a:lnTo>
                  <a:cubicBezTo>
                    <a:pt x="451" y="392"/>
                    <a:pt x="1144" y="332"/>
                    <a:pt x="1204" y="813"/>
                  </a:cubicBezTo>
                  <a:cubicBezTo>
                    <a:pt x="1294" y="1295"/>
                    <a:pt x="1655" y="1144"/>
                    <a:pt x="1505" y="1656"/>
                  </a:cubicBezTo>
                  <a:cubicBezTo>
                    <a:pt x="1505" y="1746"/>
                    <a:pt x="1445" y="1837"/>
                    <a:pt x="1354" y="1897"/>
                  </a:cubicBezTo>
                  <a:cubicBezTo>
                    <a:pt x="1490" y="1924"/>
                    <a:pt x="1625" y="1939"/>
                    <a:pt x="1757" y="1939"/>
                  </a:cubicBezTo>
                  <a:cubicBezTo>
                    <a:pt x="1920" y="1939"/>
                    <a:pt x="2078" y="1916"/>
                    <a:pt x="2227" y="1867"/>
                  </a:cubicBezTo>
                  <a:cubicBezTo>
                    <a:pt x="2265" y="1848"/>
                    <a:pt x="2298" y="1839"/>
                    <a:pt x="2330" y="1839"/>
                  </a:cubicBezTo>
                  <a:cubicBezTo>
                    <a:pt x="2499" y="1839"/>
                    <a:pt x="2591" y="2090"/>
                    <a:pt x="2769" y="2318"/>
                  </a:cubicBezTo>
                  <a:lnTo>
                    <a:pt x="2769" y="2408"/>
                  </a:lnTo>
                  <a:lnTo>
                    <a:pt x="3581" y="2198"/>
                  </a:lnTo>
                  <a:lnTo>
                    <a:pt x="4273" y="2288"/>
                  </a:lnTo>
                  <a:cubicBezTo>
                    <a:pt x="4243" y="2258"/>
                    <a:pt x="4213" y="2198"/>
                    <a:pt x="4213" y="2138"/>
                  </a:cubicBezTo>
                  <a:cubicBezTo>
                    <a:pt x="4238" y="2097"/>
                    <a:pt x="4282" y="2080"/>
                    <a:pt x="4336" y="2080"/>
                  </a:cubicBezTo>
                  <a:cubicBezTo>
                    <a:pt x="4481" y="2080"/>
                    <a:pt x="4697" y="2200"/>
                    <a:pt x="4785" y="2288"/>
                  </a:cubicBezTo>
                  <a:cubicBezTo>
                    <a:pt x="4886" y="2356"/>
                    <a:pt x="5007" y="2395"/>
                    <a:pt x="5125" y="2395"/>
                  </a:cubicBezTo>
                  <a:cubicBezTo>
                    <a:pt x="5217" y="2395"/>
                    <a:pt x="5308" y="2371"/>
                    <a:pt x="5387" y="2318"/>
                  </a:cubicBezTo>
                  <a:cubicBezTo>
                    <a:pt x="5507" y="2198"/>
                    <a:pt x="5206" y="2107"/>
                    <a:pt x="5116" y="1987"/>
                  </a:cubicBezTo>
                  <a:cubicBezTo>
                    <a:pt x="5056" y="1867"/>
                    <a:pt x="5206" y="1807"/>
                    <a:pt x="5267" y="1686"/>
                  </a:cubicBezTo>
                  <a:cubicBezTo>
                    <a:pt x="5349" y="1576"/>
                    <a:pt x="4930" y="1441"/>
                    <a:pt x="4811" y="1441"/>
                  </a:cubicBezTo>
                  <a:cubicBezTo>
                    <a:pt x="4799" y="1441"/>
                    <a:pt x="4790" y="1443"/>
                    <a:pt x="4785" y="1445"/>
                  </a:cubicBezTo>
                  <a:cubicBezTo>
                    <a:pt x="4782" y="1449"/>
                    <a:pt x="4779" y="1450"/>
                    <a:pt x="4776" y="1450"/>
                  </a:cubicBezTo>
                  <a:cubicBezTo>
                    <a:pt x="4718" y="1450"/>
                    <a:pt x="4658" y="964"/>
                    <a:pt x="4544" y="964"/>
                  </a:cubicBezTo>
                  <a:cubicBezTo>
                    <a:pt x="4454" y="964"/>
                    <a:pt x="4424" y="843"/>
                    <a:pt x="4243" y="843"/>
                  </a:cubicBezTo>
                  <a:cubicBezTo>
                    <a:pt x="4003" y="843"/>
                    <a:pt x="3732" y="874"/>
                    <a:pt x="3461" y="964"/>
                  </a:cubicBezTo>
                  <a:cubicBezTo>
                    <a:pt x="3444" y="974"/>
                    <a:pt x="3427" y="978"/>
                    <a:pt x="3410" y="978"/>
                  </a:cubicBezTo>
                  <a:cubicBezTo>
                    <a:pt x="3271" y="978"/>
                    <a:pt x="3113" y="693"/>
                    <a:pt x="2979" y="693"/>
                  </a:cubicBezTo>
                  <a:cubicBezTo>
                    <a:pt x="2769" y="663"/>
                    <a:pt x="2618" y="573"/>
                    <a:pt x="2498" y="392"/>
                  </a:cubicBezTo>
                  <a:cubicBezTo>
                    <a:pt x="2466" y="352"/>
                    <a:pt x="2381" y="340"/>
                    <a:pt x="2268" y="340"/>
                  </a:cubicBezTo>
                  <a:cubicBezTo>
                    <a:pt x="2085" y="340"/>
                    <a:pt x="1828" y="372"/>
                    <a:pt x="1608" y="372"/>
                  </a:cubicBezTo>
                  <a:cubicBezTo>
                    <a:pt x="1453" y="372"/>
                    <a:pt x="1316" y="356"/>
                    <a:pt x="1234" y="302"/>
                  </a:cubicBezTo>
                  <a:cubicBezTo>
                    <a:pt x="963" y="91"/>
                    <a:pt x="632" y="1"/>
                    <a:pt x="301"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20" name="Google Shape;2914;p123">
              <a:extLst>
                <a:ext uri="{FF2B5EF4-FFF2-40B4-BE49-F238E27FC236}">
                  <a16:creationId xmlns:a16="http://schemas.microsoft.com/office/drawing/2014/main" id="{8F0EDD06-4662-364E-BEA1-23308DCEA6C7}"/>
                </a:ext>
              </a:extLst>
            </p:cNvPr>
            <p:cNvSpPr/>
            <p:nvPr/>
          </p:nvSpPr>
          <p:spPr>
            <a:xfrm>
              <a:off x="4892339" y="2166530"/>
              <a:ext cx="461280" cy="179542"/>
            </a:xfrm>
            <a:custGeom>
              <a:avLst/>
              <a:gdLst/>
              <a:ahLst/>
              <a:cxnLst/>
              <a:rect l="l" t="t" r="r" b="b"/>
              <a:pathLst>
                <a:path w="14868" h="5787" extrusionOk="0">
                  <a:moveTo>
                    <a:pt x="817" y="1"/>
                  </a:moveTo>
                  <a:cubicBezTo>
                    <a:pt x="678" y="1"/>
                    <a:pt x="542" y="24"/>
                    <a:pt x="422" y="69"/>
                  </a:cubicBezTo>
                  <a:cubicBezTo>
                    <a:pt x="332" y="69"/>
                    <a:pt x="482" y="370"/>
                    <a:pt x="482" y="610"/>
                  </a:cubicBezTo>
                  <a:cubicBezTo>
                    <a:pt x="482" y="821"/>
                    <a:pt x="272" y="821"/>
                    <a:pt x="272" y="941"/>
                  </a:cubicBezTo>
                  <a:cubicBezTo>
                    <a:pt x="272" y="1062"/>
                    <a:pt x="181" y="1122"/>
                    <a:pt x="61" y="1242"/>
                  </a:cubicBezTo>
                  <a:cubicBezTo>
                    <a:pt x="181" y="1363"/>
                    <a:pt x="362" y="1423"/>
                    <a:pt x="512" y="1453"/>
                  </a:cubicBezTo>
                  <a:cubicBezTo>
                    <a:pt x="873" y="1453"/>
                    <a:pt x="964" y="1092"/>
                    <a:pt x="1265" y="972"/>
                  </a:cubicBezTo>
                  <a:cubicBezTo>
                    <a:pt x="1345" y="954"/>
                    <a:pt x="1457" y="949"/>
                    <a:pt x="1580" y="949"/>
                  </a:cubicBezTo>
                  <a:cubicBezTo>
                    <a:pt x="1709" y="949"/>
                    <a:pt x="1849" y="954"/>
                    <a:pt x="1975" y="954"/>
                  </a:cubicBezTo>
                  <a:cubicBezTo>
                    <a:pt x="2129" y="954"/>
                    <a:pt x="2260" y="946"/>
                    <a:pt x="2318" y="911"/>
                  </a:cubicBezTo>
                  <a:cubicBezTo>
                    <a:pt x="2468" y="791"/>
                    <a:pt x="1957" y="550"/>
                    <a:pt x="1716" y="400"/>
                  </a:cubicBezTo>
                  <a:cubicBezTo>
                    <a:pt x="1626" y="279"/>
                    <a:pt x="1566" y="159"/>
                    <a:pt x="1536" y="8"/>
                  </a:cubicBezTo>
                  <a:cubicBezTo>
                    <a:pt x="1469" y="53"/>
                    <a:pt x="1403" y="80"/>
                    <a:pt x="1325" y="80"/>
                  </a:cubicBezTo>
                  <a:cubicBezTo>
                    <a:pt x="1297" y="80"/>
                    <a:pt x="1267" y="77"/>
                    <a:pt x="1235" y="69"/>
                  </a:cubicBezTo>
                  <a:cubicBezTo>
                    <a:pt x="1099" y="24"/>
                    <a:pt x="956" y="1"/>
                    <a:pt x="817" y="1"/>
                  </a:cubicBezTo>
                  <a:close/>
                  <a:moveTo>
                    <a:pt x="6291" y="22"/>
                  </a:moveTo>
                  <a:cubicBezTo>
                    <a:pt x="5532" y="22"/>
                    <a:pt x="4792" y="291"/>
                    <a:pt x="4214" y="791"/>
                  </a:cubicBezTo>
                  <a:cubicBezTo>
                    <a:pt x="4100" y="895"/>
                    <a:pt x="3870" y="927"/>
                    <a:pt x="3614" y="927"/>
                  </a:cubicBezTo>
                  <a:cubicBezTo>
                    <a:pt x="3200" y="927"/>
                    <a:pt x="2715" y="843"/>
                    <a:pt x="2533" y="843"/>
                  </a:cubicBezTo>
                  <a:cubicBezTo>
                    <a:pt x="2502" y="843"/>
                    <a:pt x="2480" y="845"/>
                    <a:pt x="2468" y="851"/>
                  </a:cubicBezTo>
                  <a:cubicBezTo>
                    <a:pt x="2378" y="941"/>
                    <a:pt x="2529" y="1303"/>
                    <a:pt x="2077" y="1453"/>
                  </a:cubicBezTo>
                  <a:cubicBezTo>
                    <a:pt x="1852" y="1528"/>
                    <a:pt x="1520" y="1528"/>
                    <a:pt x="1204" y="1528"/>
                  </a:cubicBezTo>
                  <a:cubicBezTo>
                    <a:pt x="888" y="1528"/>
                    <a:pt x="588" y="1528"/>
                    <a:pt x="422" y="1604"/>
                  </a:cubicBezTo>
                  <a:cubicBezTo>
                    <a:pt x="61" y="1754"/>
                    <a:pt x="1" y="2205"/>
                    <a:pt x="272" y="2205"/>
                  </a:cubicBezTo>
                  <a:cubicBezTo>
                    <a:pt x="512" y="2205"/>
                    <a:pt x="663" y="2326"/>
                    <a:pt x="603" y="2446"/>
                  </a:cubicBezTo>
                  <a:cubicBezTo>
                    <a:pt x="512" y="2536"/>
                    <a:pt x="783" y="2898"/>
                    <a:pt x="633" y="2988"/>
                  </a:cubicBezTo>
                  <a:cubicBezTo>
                    <a:pt x="482" y="3168"/>
                    <a:pt x="482" y="3439"/>
                    <a:pt x="663" y="3560"/>
                  </a:cubicBezTo>
                  <a:cubicBezTo>
                    <a:pt x="873" y="3710"/>
                    <a:pt x="904" y="3951"/>
                    <a:pt x="663" y="3981"/>
                  </a:cubicBezTo>
                  <a:cubicBezTo>
                    <a:pt x="452" y="4011"/>
                    <a:pt x="1054" y="4282"/>
                    <a:pt x="1084" y="4402"/>
                  </a:cubicBezTo>
                  <a:cubicBezTo>
                    <a:pt x="1114" y="4493"/>
                    <a:pt x="1566" y="4583"/>
                    <a:pt x="1566" y="4733"/>
                  </a:cubicBezTo>
                  <a:cubicBezTo>
                    <a:pt x="1566" y="4836"/>
                    <a:pt x="1636" y="4883"/>
                    <a:pt x="1767" y="4883"/>
                  </a:cubicBezTo>
                  <a:cubicBezTo>
                    <a:pt x="1828" y="4883"/>
                    <a:pt x="1901" y="4873"/>
                    <a:pt x="1987" y="4854"/>
                  </a:cubicBezTo>
                  <a:cubicBezTo>
                    <a:pt x="2018" y="4843"/>
                    <a:pt x="2047" y="4839"/>
                    <a:pt x="2073" y="4839"/>
                  </a:cubicBezTo>
                  <a:cubicBezTo>
                    <a:pt x="2273" y="4839"/>
                    <a:pt x="2335" y="5122"/>
                    <a:pt x="2468" y="5335"/>
                  </a:cubicBezTo>
                  <a:cubicBezTo>
                    <a:pt x="2519" y="5415"/>
                    <a:pt x="2649" y="5449"/>
                    <a:pt x="2801" y="5449"/>
                  </a:cubicBezTo>
                  <a:cubicBezTo>
                    <a:pt x="3104" y="5449"/>
                    <a:pt x="3492" y="5315"/>
                    <a:pt x="3492" y="5155"/>
                  </a:cubicBezTo>
                  <a:cubicBezTo>
                    <a:pt x="3492" y="4937"/>
                    <a:pt x="3667" y="4836"/>
                    <a:pt x="3923" y="4836"/>
                  </a:cubicBezTo>
                  <a:cubicBezTo>
                    <a:pt x="3985" y="4836"/>
                    <a:pt x="4053" y="4842"/>
                    <a:pt x="4124" y="4854"/>
                  </a:cubicBezTo>
                  <a:cubicBezTo>
                    <a:pt x="4515" y="4884"/>
                    <a:pt x="5027" y="5395"/>
                    <a:pt x="5237" y="5486"/>
                  </a:cubicBezTo>
                  <a:cubicBezTo>
                    <a:pt x="5260" y="5493"/>
                    <a:pt x="5285" y="5497"/>
                    <a:pt x="5313" y="5497"/>
                  </a:cubicBezTo>
                  <a:cubicBezTo>
                    <a:pt x="5507" y="5497"/>
                    <a:pt x="5813" y="5335"/>
                    <a:pt x="6050" y="5335"/>
                  </a:cubicBezTo>
                  <a:cubicBezTo>
                    <a:pt x="6321" y="5335"/>
                    <a:pt x="6622" y="4944"/>
                    <a:pt x="6772" y="4884"/>
                  </a:cubicBezTo>
                  <a:cubicBezTo>
                    <a:pt x="6789" y="4874"/>
                    <a:pt x="6807" y="4869"/>
                    <a:pt x="6825" y="4869"/>
                  </a:cubicBezTo>
                  <a:cubicBezTo>
                    <a:pt x="6947" y="4869"/>
                    <a:pt x="7099" y="5059"/>
                    <a:pt x="7271" y="5059"/>
                  </a:cubicBezTo>
                  <a:cubicBezTo>
                    <a:pt x="7304" y="5059"/>
                    <a:pt x="7339" y="5052"/>
                    <a:pt x="7374" y="5034"/>
                  </a:cubicBezTo>
                  <a:cubicBezTo>
                    <a:pt x="7533" y="4943"/>
                    <a:pt x="7727" y="4852"/>
                    <a:pt x="7877" y="4852"/>
                  </a:cubicBezTo>
                  <a:cubicBezTo>
                    <a:pt x="7925" y="4852"/>
                    <a:pt x="7969" y="4862"/>
                    <a:pt x="8006" y="4884"/>
                  </a:cubicBezTo>
                  <a:cubicBezTo>
                    <a:pt x="8156" y="4944"/>
                    <a:pt x="7675" y="5335"/>
                    <a:pt x="7795" y="5516"/>
                  </a:cubicBezTo>
                  <a:cubicBezTo>
                    <a:pt x="7825" y="5606"/>
                    <a:pt x="7825" y="5696"/>
                    <a:pt x="7795" y="5787"/>
                  </a:cubicBezTo>
                  <a:cubicBezTo>
                    <a:pt x="8277" y="5696"/>
                    <a:pt x="8247" y="5365"/>
                    <a:pt x="8277" y="5215"/>
                  </a:cubicBezTo>
                  <a:cubicBezTo>
                    <a:pt x="8299" y="5103"/>
                    <a:pt x="8372" y="4991"/>
                    <a:pt x="8470" y="4991"/>
                  </a:cubicBezTo>
                  <a:cubicBezTo>
                    <a:pt x="8503" y="4991"/>
                    <a:pt x="8539" y="5004"/>
                    <a:pt x="8578" y="5034"/>
                  </a:cubicBezTo>
                  <a:cubicBezTo>
                    <a:pt x="8683" y="5110"/>
                    <a:pt x="8803" y="5147"/>
                    <a:pt x="8928" y="5147"/>
                  </a:cubicBezTo>
                  <a:cubicBezTo>
                    <a:pt x="9052" y="5147"/>
                    <a:pt x="9180" y="5110"/>
                    <a:pt x="9300" y="5034"/>
                  </a:cubicBezTo>
                  <a:cubicBezTo>
                    <a:pt x="9513" y="4938"/>
                    <a:pt x="9601" y="4853"/>
                    <a:pt x="9677" y="4853"/>
                  </a:cubicBezTo>
                  <a:cubicBezTo>
                    <a:pt x="9719" y="4853"/>
                    <a:pt x="9758" y="4879"/>
                    <a:pt x="9812" y="4944"/>
                  </a:cubicBezTo>
                  <a:cubicBezTo>
                    <a:pt x="9862" y="5014"/>
                    <a:pt x="9922" y="5038"/>
                    <a:pt x="9999" y="5038"/>
                  </a:cubicBezTo>
                  <a:cubicBezTo>
                    <a:pt x="10153" y="5038"/>
                    <a:pt x="10373" y="4944"/>
                    <a:pt x="10714" y="4944"/>
                  </a:cubicBezTo>
                  <a:cubicBezTo>
                    <a:pt x="11233" y="4944"/>
                    <a:pt x="11310" y="4641"/>
                    <a:pt x="11711" y="4641"/>
                  </a:cubicBezTo>
                  <a:cubicBezTo>
                    <a:pt x="11729" y="4641"/>
                    <a:pt x="11748" y="4642"/>
                    <a:pt x="11768" y="4643"/>
                  </a:cubicBezTo>
                  <a:cubicBezTo>
                    <a:pt x="11843" y="4651"/>
                    <a:pt x="11916" y="4654"/>
                    <a:pt x="11989" y="4654"/>
                  </a:cubicBezTo>
                  <a:cubicBezTo>
                    <a:pt x="12206" y="4654"/>
                    <a:pt x="12415" y="4620"/>
                    <a:pt x="12641" y="4553"/>
                  </a:cubicBezTo>
                  <a:lnTo>
                    <a:pt x="12941" y="4613"/>
                  </a:lnTo>
                  <a:cubicBezTo>
                    <a:pt x="13062" y="4493"/>
                    <a:pt x="13062" y="4402"/>
                    <a:pt x="13303" y="4342"/>
                  </a:cubicBezTo>
                  <a:cubicBezTo>
                    <a:pt x="13317" y="4341"/>
                    <a:pt x="13331" y="4340"/>
                    <a:pt x="13345" y="4340"/>
                  </a:cubicBezTo>
                  <a:cubicBezTo>
                    <a:pt x="13560" y="4340"/>
                    <a:pt x="13755" y="4511"/>
                    <a:pt x="13913" y="4511"/>
                  </a:cubicBezTo>
                  <a:cubicBezTo>
                    <a:pt x="13942" y="4511"/>
                    <a:pt x="13969" y="4506"/>
                    <a:pt x="13995" y="4493"/>
                  </a:cubicBezTo>
                  <a:cubicBezTo>
                    <a:pt x="14004" y="4490"/>
                    <a:pt x="14013" y="4488"/>
                    <a:pt x="14024" y="4488"/>
                  </a:cubicBezTo>
                  <a:cubicBezTo>
                    <a:pt x="14175" y="4488"/>
                    <a:pt x="14503" y="4764"/>
                    <a:pt x="14683" y="4764"/>
                  </a:cubicBezTo>
                  <a:cubicBezTo>
                    <a:pt x="14752" y="4764"/>
                    <a:pt x="14799" y="4724"/>
                    <a:pt x="14807" y="4613"/>
                  </a:cubicBezTo>
                  <a:cubicBezTo>
                    <a:pt x="14868" y="4192"/>
                    <a:pt x="14597" y="4011"/>
                    <a:pt x="14446" y="4011"/>
                  </a:cubicBezTo>
                  <a:cubicBezTo>
                    <a:pt x="14326" y="3981"/>
                    <a:pt x="14506" y="3319"/>
                    <a:pt x="14446" y="3168"/>
                  </a:cubicBezTo>
                  <a:cubicBezTo>
                    <a:pt x="14356" y="3018"/>
                    <a:pt x="14266" y="2506"/>
                    <a:pt x="14446" y="2506"/>
                  </a:cubicBezTo>
                  <a:cubicBezTo>
                    <a:pt x="14627" y="2506"/>
                    <a:pt x="14416" y="2145"/>
                    <a:pt x="14627" y="2115"/>
                  </a:cubicBezTo>
                  <a:cubicBezTo>
                    <a:pt x="14597" y="1995"/>
                    <a:pt x="14536" y="1874"/>
                    <a:pt x="14476" y="1814"/>
                  </a:cubicBezTo>
                  <a:cubicBezTo>
                    <a:pt x="14436" y="1784"/>
                    <a:pt x="14373" y="1784"/>
                    <a:pt x="14300" y="1784"/>
                  </a:cubicBezTo>
                  <a:cubicBezTo>
                    <a:pt x="14155" y="1784"/>
                    <a:pt x="13975" y="1784"/>
                    <a:pt x="13874" y="1543"/>
                  </a:cubicBezTo>
                  <a:cubicBezTo>
                    <a:pt x="13724" y="1152"/>
                    <a:pt x="13874" y="1152"/>
                    <a:pt x="13664" y="851"/>
                  </a:cubicBezTo>
                  <a:cubicBezTo>
                    <a:pt x="13458" y="594"/>
                    <a:pt x="13384" y="380"/>
                    <a:pt x="13216" y="380"/>
                  </a:cubicBezTo>
                  <a:cubicBezTo>
                    <a:pt x="13188" y="380"/>
                    <a:pt x="13157" y="387"/>
                    <a:pt x="13122" y="400"/>
                  </a:cubicBezTo>
                  <a:cubicBezTo>
                    <a:pt x="12950" y="457"/>
                    <a:pt x="12779" y="478"/>
                    <a:pt x="12607" y="478"/>
                  </a:cubicBezTo>
                  <a:cubicBezTo>
                    <a:pt x="12508" y="478"/>
                    <a:pt x="12409" y="471"/>
                    <a:pt x="12309" y="460"/>
                  </a:cubicBezTo>
                  <a:cubicBezTo>
                    <a:pt x="11958" y="736"/>
                    <a:pt x="11313" y="971"/>
                    <a:pt x="10986" y="971"/>
                  </a:cubicBezTo>
                  <a:cubicBezTo>
                    <a:pt x="10922" y="971"/>
                    <a:pt x="10870" y="961"/>
                    <a:pt x="10835" y="941"/>
                  </a:cubicBezTo>
                  <a:cubicBezTo>
                    <a:pt x="10766" y="907"/>
                    <a:pt x="10660" y="895"/>
                    <a:pt x="10534" y="895"/>
                  </a:cubicBezTo>
                  <a:cubicBezTo>
                    <a:pt x="10218" y="895"/>
                    <a:pt x="9773" y="972"/>
                    <a:pt x="9450" y="972"/>
                  </a:cubicBezTo>
                  <a:cubicBezTo>
                    <a:pt x="9019" y="972"/>
                    <a:pt x="8862" y="669"/>
                    <a:pt x="8533" y="669"/>
                  </a:cubicBezTo>
                  <a:cubicBezTo>
                    <a:pt x="8518" y="669"/>
                    <a:pt x="8503" y="669"/>
                    <a:pt x="8487" y="671"/>
                  </a:cubicBezTo>
                  <a:cubicBezTo>
                    <a:pt x="8473" y="672"/>
                    <a:pt x="8459" y="673"/>
                    <a:pt x="8446" y="673"/>
                  </a:cubicBezTo>
                  <a:cubicBezTo>
                    <a:pt x="8156" y="673"/>
                    <a:pt x="8141" y="370"/>
                    <a:pt x="7795" y="370"/>
                  </a:cubicBezTo>
                  <a:cubicBezTo>
                    <a:pt x="7404" y="370"/>
                    <a:pt x="7705" y="189"/>
                    <a:pt x="6622" y="39"/>
                  </a:cubicBezTo>
                  <a:cubicBezTo>
                    <a:pt x="6511" y="27"/>
                    <a:pt x="6401" y="22"/>
                    <a:pt x="6291" y="22"/>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21" name="Google Shape;2915;p123">
              <a:extLst>
                <a:ext uri="{FF2B5EF4-FFF2-40B4-BE49-F238E27FC236}">
                  <a16:creationId xmlns:a16="http://schemas.microsoft.com/office/drawing/2014/main" id="{F0C4B9C9-C899-1C48-816A-19F37EF3E71F}"/>
                </a:ext>
              </a:extLst>
            </p:cNvPr>
            <p:cNvSpPr/>
            <p:nvPr/>
          </p:nvSpPr>
          <p:spPr>
            <a:xfrm>
              <a:off x="6180838" y="2347902"/>
              <a:ext cx="57924" cy="54201"/>
            </a:xfrm>
            <a:custGeom>
              <a:avLst/>
              <a:gdLst/>
              <a:ahLst/>
              <a:cxnLst/>
              <a:rect l="l" t="t" r="r" b="b"/>
              <a:pathLst>
                <a:path w="1867" h="1747" extrusionOk="0">
                  <a:moveTo>
                    <a:pt x="903" y="1"/>
                  </a:moveTo>
                  <a:cubicBezTo>
                    <a:pt x="602" y="1"/>
                    <a:pt x="61" y="272"/>
                    <a:pt x="1" y="543"/>
                  </a:cubicBezTo>
                  <a:cubicBezTo>
                    <a:pt x="61" y="603"/>
                    <a:pt x="91" y="693"/>
                    <a:pt x="121" y="783"/>
                  </a:cubicBezTo>
                  <a:cubicBezTo>
                    <a:pt x="211" y="994"/>
                    <a:pt x="392" y="1175"/>
                    <a:pt x="602" y="1295"/>
                  </a:cubicBezTo>
                  <a:cubicBezTo>
                    <a:pt x="753" y="1385"/>
                    <a:pt x="693" y="1566"/>
                    <a:pt x="663" y="1746"/>
                  </a:cubicBezTo>
                  <a:lnTo>
                    <a:pt x="1024" y="1746"/>
                  </a:lnTo>
                  <a:cubicBezTo>
                    <a:pt x="1234" y="1716"/>
                    <a:pt x="1716" y="994"/>
                    <a:pt x="1806" y="813"/>
                  </a:cubicBezTo>
                  <a:cubicBezTo>
                    <a:pt x="1866" y="603"/>
                    <a:pt x="1204" y="1"/>
                    <a:pt x="903"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22" name="Google Shape;2916;p123">
              <a:extLst>
                <a:ext uri="{FF2B5EF4-FFF2-40B4-BE49-F238E27FC236}">
                  <a16:creationId xmlns:a16="http://schemas.microsoft.com/office/drawing/2014/main" id="{3932EC2D-DC2E-7646-AB29-928AC03B0ABC}"/>
                </a:ext>
              </a:extLst>
            </p:cNvPr>
            <p:cNvSpPr/>
            <p:nvPr/>
          </p:nvSpPr>
          <p:spPr>
            <a:xfrm>
              <a:off x="7289145" y="2144378"/>
              <a:ext cx="169955" cy="156583"/>
            </a:xfrm>
            <a:custGeom>
              <a:avLst/>
              <a:gdLst/>
              <a:ahLst/>
              <a:cxnLst/>
              <a:rect l="l" t="t" r="r" b="b"/>
              <a:pathLst>
                <a:path w="5478" h="5047" extrusionOk="0">
                  <a:moveTo>
                    <a:pt x="4605" y="0"/>
                  </a:moveTo>
                  <a:cubicBezTo>
                    <a:pt x="4364" y="0"/>
                    <a:pt x="4364" y="602"/>
                    <a:pt x="4123" y="602"/>
                  </a:cubicBezTo>
                  <a:cubicBezTo>
                    <a:pt x="3852" y="602"/>
                    <a:pt x="3912" y="933"/>
                    <a:pt x="3551" y="1023"/>
                  </a:cubicBezTo>
                  <a:cubicBezTo>
                    <a:pt x="3160" y="1084"/>
                    <a:pt x="3100" y="1054"/>
                    <a:pt x="3250" y="1324"/>
                  </a:cubicBezTo>
                  <a:cubicBezTo>
                    <a:pt x="3336" y="1462"/>
                    <a:pt x="3265" y="1491"/>
                    <a:pt x="3132" y="1491"/>
                  </a:cubicBezTo>
                  <a:cubicBezTo>
                    <a:pt x="3032" y="1491"/>
                    <a:pt x="2898" y="1475"/>
                    <a:pt x="2769" y="1475"/>
                  </a:cubicBezTo>
                  <a:cubicBezTo>
                    <a:pt x="2468" y="1475"/>
                    <a:pt x="2468" y="1234"/>
                    <a:pt x="2227" y="1234"/>
                  </a:cubicBezTo>
                  <a:cubicBezTo>
                    <a:pt x="2016" y="1234"/>
                    <a:pt x="1896" y="1625"/>
                    <a:pt x="1746" y="1806"/>
                  </a:cubicBezTo>
                  <a:cubicBezTo>
                    <a:pt x="1595" y="1986"/>
                    <a:pt x="542" y="2468"/>
                    <a:pt x="241" y="2618"/>
                  </a:cubicBezTo>
                  <a:cubicBezTo>
                    <a:pt x="120" y="2709"/>
                    <a:pt x="60" y="2829"/>
                    <a:pt x="0" y="2980"/>
                  </a:cubicBezTo>
                  <a:cubicBezTo>
                    <a:pt x="361" y="3010"/>
                    <a:pt x="662" y="3160"/>
                    <a:pt x="903" y="3431"/>
                  </a:cubicBezTo>
                  <a:cubicBezTo>
                    <a:pt x="1144" y="3732"/>
                    <a:pt x="692" y="4033"/>
                    <a:pt x="451" y="4274"/>
                  </a:cubicBezTo>
                  <a:cubicBezTo>
                    <a:pt x="241" y="4545"/>
                    <a:pt x="572" y="4545"/>
                    <a:pt x="602" y="4785"/>
                  </a:cubicBezTo>
                  <a:cubicBezTo>
                    <a:pt x="643" y="4930"/>
                    <a:pt x="770" y="5046"/>
                    <a:pt x="874" y="5046"/>
                  </a:cubicBezTo>
                  <a:cubicBezTo>
                    <a:pt x="922" y="5046"/>
                    <a:pt x="965" y="5022"/>
                    <a:pt x="993" y="4966"/>
                  </a:cubicBezTo>
                  <a:cubicBezTo>
                    <a:pt x="1029" y="4857"/>
                    <a:pt x="1130" y="4836"/>
                    <a:pt x="1277" y="4836"/>
                  </a:cubicBezTo>
                  <a:cubicBezTo>
                    <a:pt x="1375" y="4836"/>
                    <a:pt x="1493" y="4845"/>
                    <a:pt x="1625" y="4845"/>
                  </a:cubicBezTo>
                  <a:cubicBezTo>
                    <a:pt x="1715" y="4845"/>
                    <a:pt x="1776" y="4876"/>
                    <a:pt x="1806" y="4966"/>
                  </a:cubicBezTo>
                  <a:lnTo>
                    <a:pt x="2257" y="4575"/>
                  </a:lnTo>
                  <a:cubicBezTo>
                    <a:pt x="2498" y="4454"/>
                    <a:pt x="2739" y="4424"/>
                    <a:pt x="2979" y="4424"/>
                  </a:cubicBezTo>
                  <a:cubicBezTo>
                    <a:pt x="3005" y="4429"/>
                    <a:pt x="3031" y="4432"/>
                    <a:pt x="3057" y="4432"/>
                  </a:cubicBezTo>
                  <a:cubicBezTo>
                    <a:pt x="3181" y="4432"/>
                    <a:pt x="3301" y="4373"/>
                    <a:pt x="3401" y="4274"/>
                  </a:cubicBezTo>
                  <a:cubicBezTo>
                    <a:pt x="3190" y="4033"/>
                    <a:pt x="2949" y="3792"/>
                    <a:pt x="2678" y="3612"/>
                  </a:cubicBezTo>
                  <a:cubicBezTo>
                    <a:pt x="2408" y="3461"/>
                    <a:pt x="2618" y="3010"/>
                    <a:pt x="2919" y="2919"/>
                  </a:cubicBezTo>
                  <a:cubicBezTo>
                    <a:pt x="3220" y="2859"/>
                    <a:pt x="4063" y="2227"/>
                    <a:pt x="4304" y="2047"/>
                  </a:cubicBezTo>
                  <a:cubicBezTo>
                    <a:pt x="4514" y="1896"/>
                    <a:pt x="4364" y="1505"/>
                    <a:pt x="4605" y="1114"/>
                  </a:cubicBezTo>
                  <a:cubicBezTo>
                    <a:pt x="4845" y="783"/>
                    <a:pt x="5116" y="482"/>
                    <a:pt x="5477" y="241"/>
                  </a:cubicBezTo>
                  <a:lnTo>
                    <a:pt x="5237" y="211"/>
                  </a:lnTo>
                  <a:cubicBezTo>
                    <a:pt x="5190" y="229"/>
                    <a:pt x="5148" y="237"/>
                    <a:pt x="5109" y="237"/>
                  </a:cubicBezTo>
                  <a:cubicBezTo>
                    <a:pt x="4896" y="237"/>
                    <a:pt x="4783" y="0"/>
                    <a:pt x="4605"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23" name="Google Shape;2917;p123">
              <a:extLst>
                <a:ext uri="{FF2B5EF4-FFF2-40B4-BE49-F238E27FC236}">
                  <a16:creationId xmlns:a16="http://schemas.microsoft.com/office/drawing/2014/main" id="{255E84BC-2249-7C48-981B-8362ED111F44}"/>
                </a:ext>
              </a:extLst>
            </p:cNvPr>
            <p:cNvSpPr/>
            <p:nvPr/>
          </p:nvSpPr>
          <p:spPr>
            <a:xfrm>
              <a:off x="6232185" y="2503927"/>
              <a:ext cx="187701" cy="104771"/>
            </a:xfrm>
            <a:custGeom>
              <a:avLst/>
              <a:gdLst/>
              <a:ahLst/>
              <a:cxnLst/>
              <a:rect l="l" t="t" r="r" b="b"/>
              <a:pathLst>
                <a:path w="6050" h="3377" extrusionOk="0">
                  <a:moveTo>
                    <a:pt x="1142" y="1"/>
                  </a:moveTo>
                  <a:cubicBezTo>
                    <a:pt x="1054" y="1"/>
                    <a:pt x="988" y="22"/>
                    <a:pt x="964" y="58"/>
                  </a:cubicBezTo>
                  <a:cubicBezTo>
                    <a:pt x="934" y="178"/>
                    <a:pt x="753" y="178"/>
                    <a:pt x="482" y="208"/>
                  </a:cubicBezTo>
                  <a:cubicBezTo>
                    <a:pt x="211" y="269"/>
                    <a:pt x="151" y="509"/>
                    <a:pt x="151" y="660"/>
                  </a:cubicBezTo>
                  <a:cubicBezTo>
                    <a:pt x="151" y="810"/>
                    <a:pt x="1" y="1111"/>
                    <a:pt x="1" y="1262"/>
                  </a:cubicBezTo>
                  <a:cubicBezTo>
                    <a:pt x="1" y="1412"/>
                    <a:pt x="332" y="1442"/>
                    <a:pt x="422" y="1563"/>
                  </a:cubicBezTo>
                  <a:cubicBezTo>
                    <a:pt x="482" y="1683"/>
                    <a:pt x="1024" y="1773"/>
                    <a:pt x="1054" y="1864"/>
                  </a:cubicBezTo>
                  <a:cubicBezTo>
                    <a:pt x="1084" y="1984"/>
                    <a:pt x="1415" y="2164"/>
                    <a:pt x="1626" y="2225"/>
                  </a:cubicBezTo>
                  <a:cubicBezTo>
                    <a:pt x="1867" y="2285"/>
                    <a:pt x="2107" y="2405"/>
                    <a:pt x="2288" y="2586"/>
                  </a:cubicBezTo>
                  <a:cubicBezTo>
                    <a:pt x="2307" y="2600"/>
                    <a:pt x="2335" y="2606"/>
                    <a:pt x="2369" y="2606"/>
                  </a:cubicBezTo>
                  <a:cubicBezTo>
                    <a:pt x="2552" y="2606"/>
                    <a:pt x="2914" y="2435"/>
                    <a:pt x="3040" y="2435"/>
                  </a:cubicBezTo>
                  <a:cubicBezTo>
                    <a:pt x="3191" y="2435"/>
                    <a:pt x="3462" y="2736"/>
                    <a:pt x="3462" y="2887"/>
                  </a:cubicBezTo>
                  <a:cubicBezTo>
                    <a:pt x="3462" y="3037"/>
                    <a:pt x="4334" y="3158"/>
                    <a:pt x="4515" y="3308"/>
                  </a:cubicBezTo>
                  <a:cubicBezTo>
                    <a:pt x="4572" y="3356"/>
                    <a:pt x="4711" y="3376"/>
                    <a:pt x="4880" y="3376"/>
                  </a:cubicBezTo>
                  <a:cubicBezTo>
                    <a:pt x="5243" y="3376"/>
                    <a:pt x="5746" y="3281"/>
                    <a:pt x="5869" y="3158"/>
                  </a:cubicBezTo>
                  <a:cubicBezTo>
                    <a:pt x="6050" y="2947"/>
                    <a:pt x="5899" y="2616"/>
                    <a:pt x="5899" y="2375"/>
                  </a:cubicBezTo>
                  <a:cubicBezTo>
                    <a:pt x="5899" y="2285"/>
                    <a:pt x="5929" y="2225"/>
                    <a:pt x="5990" y="2164"/>
                  </a:cubicBezTo>
                  <a:lnTo>
                    <a:pt x="5779" y="2164"/>
                  </a:lnTo>
                  <a:cubicBezTo>
                    <a:pt x="5358" y="2164"/>
                    <a:pt x="5067" y="1981"/>
                    <a:pt x="4786" y="1981"/>
                  </a:cubicBezTo>
                  <a:cubicBezTo>
                    <a:pt x="4766" y="1981"/>
                    <a:pt x="4746" y="1982"/>
                    <a:pt x="4726" y="1984"/>
                  </a:cubicBezTo>
                  <a:cubicBezTo>
                    <a:pt x="4184" y="1894"/>
                    <a:pt x="3672" y="1683"/>
                    <a:pt x="3221" y="1352"/>
                  </a:cubicBezTo>
                  <a:cubicBezTo>
                    <a:pt x="2649" y="991"/>
                    <a:pt x="2137" y="600"/>
                    <a:pt x="1626" y="178"/>
                  </a:cubicBezTo>
                  <a:cubicBezTo>
                    <a:pt x="1462" y="51"/>
                    <a:pt x="1276" y="1"/>
                    <a:pt x="1142"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24" name="Google Shape;2918;p123">
              <a:extLst>
                <a:ext uri="{FF2B5EF4-FFF2-40B4-BE49-F238E27FC236}">
                  <a16:creationId xmlns:a16="http://schemas.microsoft.com/office/drawing/2014/main" id="{5931B488-676F-3744-956F-1604E9868C4D}"/>
                </a:ext>
              </a:extLst>
            </p:cNvPr>
            <p:cNvSpPr/>
            <p:nvPr/>
          </p:nvSpPr>
          <p:spPr>
            <a:xfrm>
              <a:off x="6506694" y="2554094"/>
              <a:ext cx="210101" cy="459697"/>
            </a:xfrm>
            <a:custGeom>
              <a:avLst/>
              <a:gdLst/>
              <a:ahLst/>
              <a:cxnLst/>
              <a:rect l="l" t="t" r="r" b="b"/>
              <a:pathLst>
                <a:path w="6772" h="14817" extrusionOk="0">
                  <a:moveTo>
                    <a:pt x="4050" y="0"/>
                  </a:moveTo>
                  <a:cubicBezTo>
                    <a:pt x="3983" y="0"/>
                    <a:pt x="3915" y="21"/>
                    <a:pt x="3853" y="66"/>
                  </a:cubicBezTo>
                  <a:lnTo>
                    <a:pt x="3762" y="156"/>
                  </a:lnTo>
                  <a:cubicBezTo>
                    <a:pt x="3762" y="156"/>
                    <a:pt x="3672" y="457"/>
                    <a:pt x="3552" y="517"/>
                  </a:cubicBezTo>
                  <a:cubicBezTo>
                    <a:pt x="3461" y="608"/>
                    <a:pt x="3461" y="788"/>
                    <a:pt x="3642" y="1059"/>
                  </a:cubicBezTo>
                  <a:cubicBezTo>
                    <a:pt x="3722" y="1166"/>
                    <a:pt x="3672" y="1208"/>
                    <a:pt x="3588" y="1208"/>
                  </a:cubicBezTo>
                  <a:cubicBezTo>
                    <a:pt x="3484" y="1208"/>
                    <a:pt x="3328" y="1143"/>
                    <a:pt x="3311" y="1059"/>
                  </a:cubicBezTo>
                  <a:cubicBezTo>
                    <a:pt x="3298" y="1026"/>
                    <a:pt x="3269" y="1012"/>
                    <a:pt x="3230" y="1012"/>
                  </a:cubicBezTo>
                  <a:cubicBezTo>
                    <a:pt x="3087" y="1012"/>
                    <a:pt x="2807" y="1195"/>
                    <a:pt x="2619" y="1360"/>
                  </a:cubicBezTo>
                  <a:cubicBezTo>
                    <a:pt x="2408" y="1541"/>
                    <a:pt x="2107" y="1601"/>
                    <a:pt x="2107" y="1962"/>
                  </a:cubicBezTo>
                  <a:cubicBezTo>
                    <a:pt x="2107" y="2293"/>
                    <a:pt x="1836" y="2654"/>
                    <a:pt x="1866" y="2925"/>
                  </a:cubicBezTo>
                  <a:cubicBezTo>
                    <a:pt x="1897" y="3196"/>
                    <a:pt x="1566" y="3768"/>
                    <a:pt x="1596" y="3918"/>
                  </a:cubicBezTo>
                  <a:cubicBezTo>
                    <a:pt x="1611" y="3958"/>
                    <a:pt x="1584" y="3972"/>
                    <a:pt x="1532" y="3972"/>
                  </a:cubicBezTo>
                  <a:cubicBezTo>
                    <a:pt x="1386" y="3972"/>
                    <a:pt x="1052" y="3858"/>
                    <a:pt x="964" y="3858"/>
                  </a:cubicBezTo>
                  <a:cubicBezTo>
                    <a:pt x="843" y="3858"/>
                    <a:pt x="934" y="4460"/>
                    <a:pt x="813" y="4670"/>
                  </a:cubicBezTo>
                  <a:cubicBezTo>
                    <a:pt x="693" y="4851"/>
                    <a:pt x="783" y="5483"/>
                    <a:pt x="602" y="5483"/>
                  </a:cubicBezTo>
                  <a:cubicBezTo>
                    <a:pt x="392" y="5483"/>
                    <a:pt x="241" y="6085"/>
                    <a:pt x="241" y="6085"/>
                  </a:cubicBezTo>
                  <a:lnTo>
                    <a:pt x="1" y="6326"/>
                  </a:lnTo>
                  <a:cubicBezTo>
                    <a:pt x="121" y="6657"/>
                    <a:pt x="392" y="6928"/>
                    <a:pt x="693" y="7108"/>
                  </a:cubicBezTo>
                  <a:cubicBezTo>
                    <a:pt x="1144" y="7289"/>
                    <a:pt x="1445" y="8192"/>
                    <a:pt x="1596" y="8733"/>
                  </a:cubicBezTo>
                  <a:cubicBezTo>
                    <a:pt x="1716" y="9124"/>
                    <a:pt x="1686" y="9576"/>
                    <a:pt x="1505" y="9967"/>
                  </a:cubicBezTo>
                  <a:cubicBezTo>
                    <a:pt x="1355" y="10268"/>
                    <a:pt x="1566" y="10268"/>
                    <a:pt x="1836" y="10419"/>
                  </a:cubicBezTo>
                  <a:cubicBezTo>
                    <a:pt x="1958" y="10486"/>
                    <a:pt x="2086" y="10529"/>
                    <a:pt x="2206" y="10529"/>
                  </a:cubicBezTo>
                  <a:cubicBezTo>
                    <a:pt x="2353" y="10529"/>
                    <a:pt x="2489" y="10464"/>
                    <a:pt x="2589" y="10298"/>
                  </a:cubicBezTo>
                  <a:cubicBezTo>
                    <a:pt x="2769" y="9997"/>
                    <a:pt x="3221" y="9847"/>
                    <a:pt x="3251" y="9516"/>
                  </a:cubicBezTo>
                  <a:cubicBezTo>
                    <a:pt x="3266" y="9435"/>
                    <a:pt x="3289" y="9402"/>
                    <a:pt x="3319" y="9402"/>
                  </a:cubicBezTo>
                  <a:cubicBezTo>
                    <a:pt x="3411" y="9402"/>
                    <a:pt x="3558" y="9710"/>
                    <a:pt x="3672" y="9847"/>
                  </a:cubicBezTo>
                  <a:cubicBezTo>
                    <a:pt x="3853" y="10087"/>
                    <a:pt x="3973" y="10388"/>
                    <a:pt x="3973" y="10719"/>
                  </a:cubicBezTo>
                  <a:cubicBezTo>
                    <a:pt x="4003" y="11141"/>
                    <a:pt x="4063" y="12104"/>
                    <a:pt x="4394" y="12435"/>
                  </a:cubicBezTo>
                  <a:cubicBezTo>
                    <a:pt x="4695" y="12766"/>
                    <a:pt x="4816" y="13247"/>
                    <a:pt x="4695" y="13699"/>
                  </a:cubicBezTo>
                  <a:cubicBezTo>
                    <a:pt x="4605" y="13909"/>
                    <a:pt x="4876" y="14361"/>
                    <a:pt x="4816" y="14632"/>
                  </a:cubicBezTo>
                  <a:cubicBezTo>
                    <a:pt x="4786" y="14692"/>
                    <a:pt x="4786" y="14752"/>
                    <a:pt x="4756" y="14812"/>
                  </a:cubicBezTo>
                  <a:cubicBezTo>
                    <a:pt x="4765" y="14815"/>
                    <a:pt x="4775" y="14817"/>
                    <a:pt x="4785" y="14817"/>
                  </a:cubicBezTo>
                  <a:cubicBezTo>
                    <a:pt x="5081" y="14817"/>
                    <a:pt x="5448" y="13548"/>
                    <a:pt x="5448" y="13548"/>
                  </a:cubicBezTo>
                  <a:cubicBezTo>
                    <a:pt x="5448" y="13187"/>
                    <a:pt x="5177" y="13187"/>
                    <a:pt x="5177" y="12946"/>
                  </a:cubicBezTo>
                  <a:cubicBezTo>
                    <a:pt x="5207" y="12585"/>
                    <a:pt x="5117" y="12224"/>
                    <a:pt x="4876" y="11953"/>
                  </a:cubicBezTo>
                  <a:cubicBezTo>
                    <a:pt x="4575" y="11682"/>
                    <a:pt x="4425" y="11291"/>
                    <a:pt x="4605" y="11141"/>
                  </a:cubicBezTo>
                  <a:cubicBezTo>
                    <a:pt x="4809" y="10995"/>
                    <a:pt x="4618" y="10568"/>
                    <a:pt x="4715" y="10568"/>
                  </a:cubicBezTo>
                  <a:cubicBezTo>
                    <a:pt x="4718" y="10568"/>
                    <a:pt x="4722" y="10568"/>
                    <a:pt x="4725" y="10569"/>
                  </a:cubicBezTo>
                  <a:cubicBezTo>
                    <a:pt x="4731" y="10570"/>
                    <a:pt x="4736" y="10571"/>
                    <a:pt x="4741" y="10571"/>
                  </a:cubicBezTo>
                  <a:cubicBezTo>
                    <a:pt x="4856" y="10571"/>
                    <a:pt x="4957" y="10264"/>
                    <a:pt x="4756" y="10178"/>
                  </a:cubicBezTo>
                  <a:cubicBezTo>
                    <a:pt x="4575" y="10118"/>
                    <a:pt x="4756" y="9696"/>
                    <a:pt x="4605" y="9666"/>
                  </a:cubicBezTo>
                  <a:cubicBezTo>
                    <a:pt x="4334" y="9486"/>
                    <a:pt x="4124" y="9245"/>
                    <a:pt x="4003" y="8944"/>
                  </a:cubicBezTo>
                  <a:cubicBezTo>
                    <a:pt x="4003" y="8763"/>
                    <a:pt x="4124" y="7891"/>
                    <a:pt x="4154" y="7680"/>
                  </a:cubicBezTo>
                  <a:cubicBezTo>
                    <a:pt x="4214" y="7439"/>
                    <a:pt x="4485" y="7439"/>
                    <a:pt x="4605" y="7439"/>
                  </a:cubicBezTo>
                  <a:cubicBezTo>
                    <a:pt x="4632" y="7439"/>
                    <a:pt x="4669" y="7441"/>
                    <a:pt x="4712" y="7441"/>
                  </a:cubicBezTo>
                  <a:cubicBezTo>
                    <a:pt x="4862" y="7441"/>
                    <a:pt x="5083" y="7422"/>
                    <a:pt x="5177" y="7259"/>
                  </a:cubicBezTo>
                  <a:cubicBezTo>
                    <a:pt x="5297" y="7018"/>
                    <a:pt x="5839" y="6988"/>
                    <a:pt x="5899" y="6837"/>
                  </a:cubicBezTo>
                  <a:cubicBezTo>
                    <a:pt x="5929" y="6687"/>
                    <a:pt x="6320" y="6687"/>
                    <a:pt x="6320" y="6506"/>
                  </a:cubicBezTo>
                  <a:cubicBezTo>
                    <a:pt x="6320" y="6326"/>
                    <a:pt x="6712" y="5814"/>
                    <a:pt x="6712" y="5814"/>
                  </a:cubicBezTo>
                  <a:lnTo>
                    <a:pt x="6772" y="5814"/>
                  </a:lnTo>
                  <a:cubicBezTo>
                    <a:pt x="6747" y="5797"/>
                    <a:pt x="6724" y="5790"/>
                    <a:pt x="6699" y="5790"/>
                  </a:cubicBezTo>
                  <a:cubicBezTo>
                    <a:pt x="6634" y="5790"/>
                    <a:pt x="6554" y="5839"/>
                    <a:pt x="6381" y="5904"/>
                  </a:cubicBezTo>
                  <a:cubicBezTo>
                    <a:pt x="6339" y="5916"/>
                    <a:pt x="6293" y="5922"/>
                    <a:pt x="6247" y="5922"/>
                  </a:cubicBezTo>
                  <a:cubicBezTo>
                    <a:pt x="6063" y="5922"/>
                    <a:pt x="5875" y="5826"/>
                    <a:pt x="5899" y="5633"/>
                  </a:cubicBezTo>
                  <a:cubicBezTo>
                    <a:pt x="5923" y="5470"/>
                    <a:pt x="5746" y="5451"/>
                    <a:pt x="5581" y="5451"/>
                  </a:cubicBezTo>
                  <a:cubicBezTo>
                    <a:pt x="5534" y="5451"/>
                    <a:pt x="5488" y="5453"/>
                    <a:pt x="5448" y="5453"/>
                  </a:cubicBezTo>
                  <a:cubicBezTo>
                    <a:pt x="5267" y="5453"/>
                    <a:pt x="5357" y="5122"/>
                    <a:pt x="5448" y="4911"/>
                  </a:cubicBezTo>
                  <a:cubicBezTo>
                    <a:pt x="5508" y="4731"/>
                    <a:pt x="5357" y="4580"/>
                    <a:pt x="5147" y="4550"/>
                  </a:cubicBezTo>
                  <a:cubicBezTo>
                    <a:pt x="4906" y="4520"/>
                    <a:pt x="4816" y="4069"/>
                    <a:pt x="4906" y="3918"/>
                  </a:cubicBezTo>
                  <a:cubicBezTo>
                    <a:pt x="4992" y="3811"/>
                    <a:pt x="4709" y="3718"/>
                    <a:pt x="4464" y="3718"/>
                  </a:cubicBezTo>
                  <a:cubicBezTo>
                    <a:pt x="4366" y="3718"/>
                    <a:pt x="4274" y="3733"/>
                    <a:pt x="4214" y="3768"/>
                  </a:cubicBezTo>
                  <a:cubicBezTo>
                    <a:pt x="4184" y="3779"/>
                    <a:pt x="4159" y="3784"/>
                    <a:pt x="4140" y="3784"/>
                  </a:cubicBezTo>
                  <a:cubicBezTo>
                    <a:pt x="4008" y="3784"/>
                    <a:pt x="4116" y="3534"/>
                    <a:pt x="4063" y="3376"/>
                  </a:cubicBezTo>
                  <a:cubicBezTo>
                    <a:pt x="3973" y="3196"/>
                    <a:pt x="4364" y="2624"/>
                    <a:pt x="4695" y="2293"/>
                  </a:cubicBezTo>
                  <a:cubicBezTo>
                    <a:pt x="5026" y="1962"/>
                    <a:pt x="4876" y="1510"/>
                    <a:pt x="4876" y="1119"/>
                  </a:cubicBezTo>
                  <a:cubicBezTo>
                    <a:pt x="4876" y="758"/>
                    <a:pt x="4725" y="758"/>
                    <a:pt x="4575" y="758"/>
                  </a:cubicBezTo>
                  <a:cubicBezTo>
                    <a:pt x="4425" y="758"/>
                    <a:pt x="4394" y="517"/>
                    <a:pt x="4394" y="307"/>
                  </a:cubicBezTo>
                  <a:cubicBezTo>
                    <a:pt x="4352" y="116"/>
                    <a:pt x="4206" y="0"/>
                    <a:pt x="4050"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25" name="Google Shape;2919;p123">
              <a:extLst>
                <a:ext uri="{FF2B5EF4-FFF2-40B4-BE49-F238E27FC236}">
                  <a16:creationId xmlns:a16="http://schemas.microsoft.com/office/drawing/2014/main" id="{4DEBEE54-9373-9D41-BCFF-D64BBE884D8C}"/>
                </a:ext>
              </a:extLst>
            </p:cNvPr>
            <p:cNvSpPr/>
            <p:nvPr/>
          </p:nvSpPr>
          <p:spPr>
            <a:xfrm>
              <a:off x="6433878" y="2561603"/>
              <a:ext cx="75639" cy="39712"/>
            </a:xfrm>
            <a:custGeom>
              <a:avLst/>
              <a:gdLst/>
              <a:ahLst/>
              <a:cxnLst/>
              <a:rect l="l" t="t" r="r" b="b"/>
              <a:pathLst>
                <a:path w="2438" h="1280" extrusionOk="0">
                  <a:moveTo>
                    <a:pt x="927" y="1"/>
                  </a:moveTo>
                  <a:cubicBezTo>
                    <a:pt x="863" y="1"/>
                    <a:pt x="808" y="21"/>
                    <a:pt x="753" y="65"/>
                  </a:cubicBezTo>
                  <a:cubicBezTo>
                    <a:pt x="602" y="155"/>
                    <a:pt x="331" y="155"/>
                    <a:pt x="181" y="546"/>
                  </a:cubicBezTo>
                  <a:cubicBezTo>
                    <a:pt x="151" y="667"/>
                    <a:pt x="90" y="787"/>
                    <a:pt x="0" y="877"/>
                  </a:cubicBezTo>
                  <a:cubicBezTo>
                    <a:pt x="90" y="998"/>
                    <a:pt x="151" y="1058"/>
                    <a:pt x="241" y="1058"/>
                  </a:cubicBezTo>
                  <a:cubicBezTo>
                    <a:pt x="291" y="1058"/>
                    <a:pt x="422" y="1201"/>
                    <a:pt x="618" y="1201"/>
                  </a:cubicBezTo>
                  <a:cubicBezTo>
                    <a:pt x="660" y="1201"/>
                    <a:pt x="705" y="1194"/>
                    <a:pt x="753" y="1178"/>
                  </a:cubicBezTo>
                  <a:cubicBezTo>
                    <a:pt x="787" y="1171"/>
                    <a:pt x="820" y="1167"/>
                    <a:pt x="851" y="1167"/>
                  </a:cubicBezTo>
                  <a:cubicBezTo>
                    <a:pt x="1033" y="1167"/>
                    <a:pt x="1171" y="1279"/>
                    <a:pt x="1387" y="1279"/>
                  </a:cubicBezTo>
                  <a:cubicBezTo>
                    <a:pt x="1424" y="1279"/>
                    <a:pt x="1463" y="1276"/>
                    <a:pt x="1505" y="1268"/>
                  </a:cubicBezTo>
                  <a:cubicBezTo>
                    <a:pt x="1582" y="1247"/>
                    <a:pt x="1658" y="1241"/>
                    <a:pt x="1730" y="1241"/>
                  </a:cubicBezTo>
                  <a:cubicBezTo>
                    <a:pt x="1839" y="1241"/>
                    <a:pt x="1941" y="1256"/>
                    <a:pt x="2031" y="1256"/>
                  </a:cubicBezTo>
                  <a:cubicBezTo>
                    <a:pt x="2137" y="1256"/>
                    <a:pt x="2225" y="1236"/>
                    <a:pt x="2287" y="1148"/>
                  </a:cubicBezTo>
                  <a:cubicBezTo>
                    <a:pt x="2438" y="907"/>
                    <a:pt x="2197" y="456"/>
                    <a:pt x="2197" y="456"/>
                  </a:cubicBezTo>
                  <a:lnTo>
                    <a:pt x="2348" y="396"/>
                  </a:lnTo>
                  <a:cubicBezTo>
                    <a:pt x="2125" y="212"/>
                    <a:pt x="1982" y="171"/>
                    <a:pt x="1862" y="171"/>
                  </a:cubicBezTo>
                  <a:cubicBezTo>
                    <a:pt x="1766" y="171"/>
                    <a:pt x="1684" y="198"/>
                    <a:pt x="1588" y="198"/>
                  </a:cubicBezTo>
                  <a:cubicBezTo>
                    <a:pt x="1528" y="198"/>
                    <a:pt x="1463" y="188"/>
                    <a:pt x="1385" y="155"/>
                  </a:cubicBezTo>
                  <a:cubicBezTo>
                    <a:pt x="1175" y="60"/>
                    <a:pt x="1038" y="1"/>
                    <a:pt x="927"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26" name="Google Shape;2920;p123">
              <a:extLst>
                <a:ext uri="{FF2B5EF4-FFF2-40B4-BE49-F238E27FC236}">
                  <a16:creationId xmlns:a16="http://schemas.microsoft.com/office/drawing/2014/main" id="{6BFBFD2B-D5B9-0A4D-AAF9-29D1D8EC123B}"/>
                </a:ext>
              </a:extLst>
            </p:cNvPr>
            <p:cNvSpPr/>
            <p:nvPr/>
          </p:nvSpPr>
          <p:spPr>
            <a:xfrm>
              <a:off x="6741988" y="2690667"/>
              <a:ext cx="181155" cy="372952"/>
            </a:xfrm>
            <a:custGeom>
              <a:avLst/>
              <a:gdLst/>
              <a:ahLst/>
              <a:cxnLst/>
              <a:rect l="l" t="t" r="r" b="b"/>
              <a:pathLst>
                <a:path w="5839" h="12021" extrusionOk="0">
                  <a:moveTo>
                    <a:pt x="2614" y="0"/>
                  </a:moveTo>
                  <a:cubicBezTo>
                    <a:pt x="2463" y="0"/>
                    <a:pt x="2144" y="246"/>
                    <a:pt x="2017" y="449"/>
                  </a:cubicBezTo>
                  <a:cubicBezTo>
                    <a:pt x="1975" y="508"/>
                    <a:pt x="1940" y="527"/>
                    <a:pt x="1905" y="527"/>
                  </a:cubicBezTo>
                  <a:cubicBezTo>
                    <a:pt x="1841" y="527"/>
                    <a:pt x="1777" y="465"/>
                    <a:pt x="1670" y="465"/>
                  </a:cubicBezTo>
                  <a:cubicBezTo>
                    <a:pt x="1624" y="465"/>
                    <a:pt x="1570" y="477"/>
                    <a:pt x="1505" y="509"/>
                  </a:cubicBezTo>
                  <a:cubicBezTo>
                    <a:pt x="1450" y="537"/>
                    <a:pt x="1397" y="547"/>
                    <a:pt x="1344" y="547"/>
                  </a:cubicBezTo>
                  <a:cubicBezTo>
                    <a:pt x="1179" y="547"/>
                    <a:pt x="1030" y="441"/>
                    <a:pt x="923" y="441"/>
                  </a:cubicBezTo>
                  <a:cubicBezTo>
                    <a:pt x="879" y="441"/>
                    <a:pt x="842" y="459"/>
                    <a:pt x="813" y="509"/>
                  </a:cubicBezTo>
                  <a:cubicBezTo>
                    <a:pt x="788" y="575"/>
                    <a:pt x="744" y="596"/>
                    <a:pt x="689" y="596"/>
                  </a:cubicBezTo>
                  <a:cubicBezTo>
                    <a:pt x="592" y="596"/>
                    <a:pt x="462" y="530"/>
                    <a:pt x="354" y="530"/>
                  </a:cubicBezTo>
                  <a:cubicBezTo>
                    <a:pt x="298" y="530"/>
                    <a:pt x="248" y="548"/>
                    <a:pt x="211" y="599"/>
                  </a:cubicBezTo>
                  <a:cubicBezTo>
                    <a:pt x="181" y="660"/>
                    <a:pt x="91" y="720"/>
                    <a:pt x="0" y="750"/>
                  </a:cubicBezTo>
                  <a:cubicBezTo>
                    <a:pt x="151" y="900"/>
                    <a:pt x="301" y="1051"/>
                    <a:pt x="301" y="1141"/>
                  </a:cubicBezTo>
                  <a:cubicBezTo>
                    <a:pt x="301" y="1262"/>
                    <a:pt x="723" y="1532"/>
                    <a:pt x="723" y="1743"/>
                  </a:cubicBezTo>
                  <a:cubicBezTo>
                    <a:pt x="723" y="1956"/>
                    <a:pt x="1098" y="2145"/>
                    <a:pt x="1289" y="2145"/>
                  </a:cubicBezTo>
                  <a:cubicBezTo>
                    <a:pt x="1315" y="2145"/>
                    <a:pt x="1337" y="2141"/>
                    <a:pt x="1355" y="2134"/>
                  </a:cubicBezTo>
                  <a:cubicBezTo>
                    <a:pt x="1430" y="2089"/>
                    <a:pt x="1550" y="2029"/>
                    <a:pt x="1663" y="2029"/>
                  </a:cubicBezTo>
                  <a:cubicBezTo>
                    <a:pt x="1776" y="2029"/>
                    <a:pt x="1881" y="2089"/>
                    <a:pt x="1927" y="2285"/>
                  </a:cubicBezTo>
                  <a:cubicBezTo>
                    <a:pt x="1987" y="2646"/>
                    <a:pt x="2137" y="2616"/>
                    <a:pt x="2137" y="2887"/>
                  </a:cubicBezTo>
                  <a:cubicBezTo>
                    <a:pt x="2137" y="3158"/>
                    <a:pt x="1656" y="2947"/>
                    <a:pt x="1535" y="3218"/>
                  </a:cubicBezTo>
                  <a:cubicBezTo>
                    <a:pt x="1415" y="3489"/>
                    <a:pt x="2408" y="3790"/>
                    <a:pt x="2408" y="3970"/>
                  </a:cubicBezTo>
                  <a:cubicBezTo>
                    <a:pt x="2408" y="4151"/>
                    <a:pt x="2709" y="4421"/>
                    <a:pt x="2829" y="4692"/>
                  </a:cubicBezTo>
                  <a:cubicBezTo>
                    <a:pt x="2920" y="4963"/>
                    <a:pt x="3341" y="5204"/>
                    <a:pt x="3461" y="5505"/>
                  </a:cubicBezTo>
                  <a:cubicBezTo>
                    <a:pt x="3582" y="5806"/>
                    <a:pt x="3943" y="5956"/>
                    <a:pt x="4093" y="6107"/>
                  </a:cubicBezTo>
                  <a:cubicBezTo>
                    <a:pt x="4274" y="6348"/>
                    <a:pt x="4334" y="6679"/>
                    <a:pt x="4244" y="6949"/>
                  </a:cubicBezTo>
                  <a:cubicBezTo>
                    <a:pt x="4184" y="7401"/>
                    <a:pt x="4274" y="7852"/>
                    <a:pt x="4515" y="8213"/>
                  </a:cubicBezTo>
                  <a:cubicBezTo>
                    <a:pt x="4816" y="8665"/>
                    <a:pt x="4184" y="8906"/>
                    <a:pt x="3943" y="9116"/>
                  </a:cubicBezTo>
                  <a:cubicBezTo>
                    <a:pt x="3767" y="9318"/>
                    <a:pt x="3843" y="9603"/>
                    <a:pt x="3521" y="9603"/>
                  </a:cubicBezTo>
                  <a:cubicBezTo>
                    <a:pt x="3458" y="9603"/>
                    <a:pt x="3379" y="9592"/>
                    <a:pt x="3281" y="9568"/>
                  </a:cubicBezTo>
                  <a:cubicBezTo>
                    <a:pt x="3223" y="9553"/>
                    <a:pt x="3176" y="9546"/>
                    <a:pt x="3140" y="9546"/>
                  </a:cubicBezTo>
                  <a:cubicBezTo>
                    <a:pt x="2800" y="9546"/>
                    <a:pt x="3335" y="10127"/>
                    <a:pt x="3281" y="10290"/>
                  </a:cubicBezTo>
                  <a:cubicBezTo>
                    <a:pt x="3262" y="10328"/>
                    <a:pt x="3210" y="10342"/>
                    <a:pt x="3141" y="10342"/>
                  </a:cubicBezTo>
                  <a:cubicBezTo>
                    <a:pt x="2952" y="10342"/>
                    <a:pt x="2631" y="10238"/>
                    <a:pt x="2472" y="10238"/>
                  </a:cubicBezTo>
                  <a:cubicBezTo>
                    <a:pt x="2414" y="10238"/>
                    <a:pt x="2378" y="10252"/>
                    <a:pt x="2378" y="10290"/>
                  </a:cubicBezTo>
                  <a:cubicBezTo>
                    <a:pt x="2378" y="10471"/>
                    <a:pt x="2077" y="10561"/>
                    <a:pt x="1896" y="10681"/>
                  </a:cubicBezTo>
                  <a:cubicBezTo>
                    <a:pt x="1957" y="10802"/>
                    <a:pt x="2077" y="10892"/>
                    <a:pt x="2227" y="10922"/>
                  </a:cubicBezTo>
                  <a:cubicBezTo>
                    <a:pt x="2408" y="11042"/>
                    <a:pt x="1987" y="11283"/>
                    <a:pt x="1987" y="11644"/>
                  </a:cubicBezTo>
                  <a:cubicBezTo>
                    <a:pt x="1987" y="11908"/>
                    <a:pt x="2123" y="12021"/>
                    <a:pt x="2249" y="12021"/>
                  </a:cubicBezTo>
                  <a:cubicBezTo>
                    <a:pt x="2310" y="12021"/>
                    <a:pt x="2369" y="11994"/>
                    <a:pt x="2408" y="11945"/>
                  </a:cubicBezTo>
                  <a:cubicBezTo>
                    <a:pt x="2619" y="11734"/>
                    <a:pt x="2859" y="11524"/>
                    <a:pt x="3130" y="11373"/>
                  </a:cubicBezTo>
                  <a:cubicBezTo>
                    <a:pt x="3281" y="11343"/>
                    <a:pt x="3130" y="11072"/>
                    <a:pt x="3311" y="11072"/>
                  </a:cubicBezTo>
                  <a:cubicBezTo>
                    <a:pt x="3491" y="11072"/>
                    <a:pt x="3431" y="10832"/>
                    <a:pt x="3491" y="10681"/>
                  </a:cubicBezTo>
                  <a:cubicBezTo>
                    <a:pt x="3542" y="10598"/>
                    <a:pt x="3610" y="10579"/>
                    <a:pt x="3708" y="10579"/>
                  </a:cubicBezTo>
                  <a:cubicBezTo>
                    <a:pt x="3786" y="10579"/>
                    <a:pt x="3883" y="10591"/>
                    <a:pt x="4003" y="10591"/>
                  </a:cubicBezTo>
                  <a:cubicBezTo>
                    <a:pt x="4394" y="10501"/>
                    <a:pt x="4755" y="10320"/>
                    <a:pt x="5086" y="10079"/>
                  </a:cubicBezTo>
                  <a:cubicBezTo>
                    <a:pt x="5508" y="9808"/>
                    <a:pt x="5538" y="9778"/>
                    <a:pt x="5688" y="9026"/>
                  </a:cubicBezTo>
                  <a:cubicBezTo>
                    <a:pt x="5839" y="8274"/>
                    <a:pt x="5538" y="7401"/>
                    <a:pt x="5538" y="7160"/>
                  </a:cubicBezTo>
                  <a:cubicBezTo>
                    <a:pt x="5538" y="6949"/>
                    <a:pt x="4966" y="5926"/>
                    <a:pt x="4786" y="5926"/>
                  </a:cubicBezTo>
                  <a:cubicBezTo>
                    <a:pt x="4605" y="5926"/>
                    <a:pt x="3642" y="5023"/>
                    <a:pt x="3491" y="4873"/>
                  </a:cubicBezTo>
                  <a:cubicBezTo>
                    <a:pt x="3341" y="4722"/>
                    <a:pt x="3401" y="4452"/>
                    <a:pt x="3130" y="4271"/>
                  </a:cubicBezTo>
                  <a:cubicBezTo>
                    <a:pt x="2890" y="3970"/>
                    <a:pt x="2829" y="3549"/>
                    <a:pt x="2950" y="3188"/>
                  </a:cubicBezTo>
                  <a:cubicBezTo>
                    <a:pt x="3010" y="2796"/>
                    <a:pt x="3491" y="2736"/>
                    <a:pt x="3491" y="2495"/>
                  </a:cubicBezTo>
                  <a:cubicBezTo>
                    <a:pt x="3491" y="2285"/>
                    <a:pt x="3552" y="2014"/>
                    <a:pt x="3792" y="2014"/>
                  </a:cubicBezTo>
                  <a:cubicBezTo>
                    <a:pt x="4063" y="1984"/>
                    <a:pt x="4304" y="1833"/>
                    <a:pt x="4454" y="1593"/>
                  </a:cubicBezTo>
                  <a:lnTo>
                    <a:pt x="4485" y="1593"/>
                  </a:lnTo>
                  <a:cubicBezTo>
                    <a:pt x="4454" y="1502"/>
                    <a:pt x="4364" y="1412"/>
                    <a:pt x="4334" y="1412"/>
                  </a:cubicBezTo>
                  <a:cubicBezTo>
                    <a:pt x="4093" y="1382"/>
                    <a:pt x="3522" y="1021"/>
                    <a:pt x="3522" y="870"/>
                  </a:cubicBezTo>
                  <a:cubicBezTo>
                    <a:pt x="3522" y="720"/>
                    <a:pt x="3823" y="449"/>
                    <a:pt x="3311" y="359"/>
                  </a:cubicBezTo>
                  <a:cubicBezTo>
                    <a:pt x="3070" y="359"/>
                    <a:pt x="2829" y="238"/>
                    <a:pt x="2679" y="28"/>
                  </a:cubicBezTo>
                  <a:cubicBezTo>
                    <a:pt x="2665" y="9"/>
                    <a:pt x="2642" y="0"/>
                    <a:pt x="2614"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27" name="Google Shape;2921;p123">
              <a:extLst>
                <a:ext uri="{FF2B5EF4-FFF2-40B4-BE49-F238E27FC236}">
                  <a16:creationId xmlns:a16="http://schemas.microsoft.com/office/drawing/2014/main" id="{6132DCFA-DEDE-A948-9DB9-3857198BF154}"/>
                </a:ext>
              </a:extLst>
            </p:cNvPr>
            <p:cNvSpPr/>
            <p:nvPr/>
          </p:nvSpPr>
          <p:spPr>
            <a:xfrm>
              <a:off x="6741988" y="2915598"/>
              <a:ext cx="149416" cy="106478"/>
            </a:xfrm>
            <a:custGeom>
              <a:avLst/>
              <a:gdLst/>
              <a:ahLst/>
              <a:cxnLst/>
              <a:rect l="l" t="t" r="r" b="b"/>
              <a:pathLst>
                <a:path w="4816" h="3432" extrusionOk="0">
                  <a:moveTo>
                    <a:pt x="4244" y="0"/>
                  </a:moveTo>
                  <a:cubicBezTo>
                    <a:pt x="4141" y="103"/>
                    <a:pt x="4010" y="150"/>
                    <a:pt x="3870" y="150"/>
                  </a:cubicBezTo>
                  <a:cubicBezTo>
                    <a:pt x="3805" y="150"/>
                    <a:pt x="3739" y="140"/>
                    <a:pt x="3672" y="121"/>
                  </a:cubicBezTo>
                  <a:cubicBezTo>
                    <a:pt x="3606" y="88"/>
                    <a:pt x="3516" y="67"/>
                    <a:pt x="3428" y="67"/>
                  </a:cubicBezTo>
                  <a:cubicBezTo>
                    <a:pt x="3275" y="67"/>
                    <a:pt x="3130" y="130"/>
                    <a:pt x="3130" y="301"/>
                  </a:cubicBezTo>
                  <a:cubicBezTo>
                    <a:pt x="3130" y="475"/>
                    <a:pt x="3018" y="563"/>
                    <a:pt x="2946" y="563"/>
                  </a:cubicBezTo>
                  <a:cubicBezTo>
                    <a:pt x="2906" y="563"/>
                    <a:pt x="2879" y="536"/>
                    <a:pt x="2890" y="482"/>
                  </a:cubicBezTo>
                  <a:cubicBezTo>
                    <a:pt x="2920" y="331"/>
                    <a:pt x="2619" y="392"/>
                    <a:pt x="2438" y="181"/>
                  </a:cubicBezTo>
                  <a:cubicBezTo>
                    <a:pt x="2390" y="133"/>
                    <a:pt x="2314" y="117"/>
                    <a:pt x="2223" y="117"/>
                  </a:cubicBezTo>
                  <a:cubicBezTo>
                    <a:pt x="2039" y="117"/>
                    <a:pt x="1792" y="183"/>
                    <a:pt x="1586" y="183"/>
                  </a:cubicBezTo>
                  <a:cubicBezTo>
                    <a:pt x="1512" y="183"/>
                    <a:pt x="1443" y="174"/>
                    <a:pt x="1385" y="151"/>
                  </a:cubicBezTo>
                  <a:cubicBezTo>
                    <a:pt x="1339" y="132"/>
                    <a:pt x="1289" y="124"/>
                    <a:pt x="1235" y="124"/>
                  </a:cubicBezTo>
                  <a:cubicBezTo>
                    <a:pt x="941" y="124"/>
                    <a:pt x="556" y="387"/>
                    <a:pt x="301" y="693"/>
                  </a:cubicBezTo>
                  <a:cubicBezTo>
                    <a:pt x="0" y="1024"/>
                    <a:pt x="332" y="1054"/>
                    <a:pt x="332" y="1385"/>
                  </a:cubicBezTo>
                  <a:cubicBezTo>
                    <a:pt x="332" y="1746"/>
                    <a:pt x="512" y="1746"/>
                    <a:pt x="452" y="2047"/>
                  </a:cubicBezTo>
                  <a:lnTo>
                    <a:pt x="422" y="2047"/>
                  </a:lnTo>
                  <a:cubicBezTo>
                    <a:pt x="723" y="2197"/>
                    <a:pt x="602" y="2558"/>
                    <a:pt x="632" y="2739"/>
                  </a:cubicBezTo>
                  <a:cubicBezTo>
                    <a:pt x="648" y="2844"/>
                    <a:pt x="730" y="2874"/>
                    <a:pt x="828" y="2874"/>
                  </a:cubicBezTo>
                  <a:cubicBezTo>
                    <a:pt x="926" y="2874"/>
                    <a:pt x="1039" y="2844"/>
                    <a:pt x="1114" y="2829"/>
                  </a:cubicBezTo>
                  <a:cubicBezTo>
                    <a:pt x="1121" y="2828"/>
                    <a:pt x="1127" y="2827"/>
                    <a:pt x="1133" y="2827"/>
                  </a:cubicBezTo>
                  <a:cubicBezTo>
                    <a:pt x="1243" y="2827"/>
                    <a:pt x="1031" y="3107"/>
                    <a:pt x="1174" y="3251"/>
                  </a:cubicBezTo>
                  <a:cubicBezTo>
                    <a:pt x="1210" y="3286"/>
                    <a:pt x="1259" y="3298"/>
                    <a:pt x="1314" y="3298"/>
                  </a:cubicBezTo>
                  <a:cubicBezTo>
                    <a:pt x="1429" y="3298"/>
                    <a:pt x="1572" y="3246"/>
                    <a:pt x="1677" y="3246"/>
                  </a:cubicBezTo>
                  <a:cubicBezTo>
                    <a:pt x="1735" y="3246"/>
                    <a:pt x="1782" y="3262"/>
                    <a:pt x="1806" y="3311"/>
                  </a:cubicBezTo>
                  <a:lnTo>
                    <a:pt x="1896" y="3431"/>
                  </a:lnTo>
                  <a:cubicBezTo>
                    <a:pt x="2077" y="3311"/>
                    <a:pt x="2378" y="3160"/>
                    <a:pt x="2378" y="3040"/>
                  </a:cubicBezTo>
                  <a:cubicBezTo>
                    <a:pt x="2378" y="3004"/>
                    <a:pt x="2409" y="2991"/>
                    <a:pt x="2459" y="2991"/>
                  </a:cubicBezTo>
                  <a:cubicBezTo>
                    <a:pt x="2605" y="2991"/>
                    <a:pt x="2918" y="3104"/>
                    <a:pt x="3117" y="3104"/>
                  </a:cubicBezTo>
                  <a:cubicBezTo>
                    <a:pt x="3194" y="3104"/>
                    <a:pt x="3254" y="3087"/>
                    <a:pt x="3281" y="3040"/>
                  </a:cubicBezTo>
                  <a:cubicBezTo>
                    <a:pt x="3389" y="2878"/>
                    <a:pt x="2816" y="2326"/>
                    <a:pt x="3137" y="2326"/>
                  </a:cubicBezTo>
                  <a:cubicBezTo>
                    <a:pt x="3173" y="2326"/>
                    <a:pt x="3220" y="2333"/>
                    <a:pt x="3281" y="2348"/>
                  </a:cubicBezTo>
                  <a:cubicBezTo>
                    <a:pt x="3379" y="2372"/>
                    <a:pt x="3458" y="2383"/>
                    <a:pt x="3523" y="2383"/>
                  </a:cubicBezTo>
                  <a:cubicBezTo>
                    <a:pt x="3851" y="2383"/>
                    <a:pt x="3792" y="2098"/>
                    <a:pt x="3943" y="1896"/>
                  </a:cubicBezTo>
                  <a:cubicBezTo>
                    <a:pt x="4154" y="1625"/>
                    <a:pt x="4816" y="1445"/>
                    <a:pt x="4515" y="994"/>
                  </a:cubicBezTo>
                  <a:cubicBezTo>
                    <a:pt x="4334" y="693"/>
                    <a:pt x="4244" y="331"/>
                    <a:pt x="4244"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28" name="Google Shape;2922;p123">
              <a:extLst>
                <a:ext uri="{FF2B5EF4-FFF2-40B4-BE49-F238E27FC236}">
                  <a16:creationId xmlns:a16="http://schemas.microsoft.com/office/drawing/2014/main" id="{591AB794-7F88-4148-A878-11982B006509}"/>
                </a:ext>
              </a:extLst>
            </p:cNvPr>
            <p:cNvSpPr/>
            <p:nvPr/>
          </p:nvSpPr>
          <p:spPr>
            <a:xfrm>
              <a:off x="6694364" y="2713904"/>
              <a:ext cx="182117" cy="218757"/>
            </a:xfrm>
            <a:custGeom>
              <a:avLst/>
              <a:gdLst/>
              <a:ahLst/>
              <a:cxnLst/>
              <a:rect l="l" t="t" r="r" b="b"/>
              <a:pathLst>
                <a:path w="5870" h="7051" extrusionOk="0">
                  <a:moveTo>
                    <a:pt x="1535" y="1"/>
                  </a:moveTo>
                  <a:cubicBezTo>
                    <a:pt x="1483" y="36"/>
                    <a:pt x="1419" y="51"/>
                    <a:pt x="1358" y="51"/>
                  </a:cubicBezTo>
                  <a:cubicBezTo>
                    <a:pt x="1314" y="51"/>
                    <a:pt x="1272" y="44"/>
                    <a:pt x="1235" y="31"/>
                  </a:cubicBezTo>
                  <a:cubicBezTo>
                    <a:pt x="1227" y="16"/>
                    <a:pt x="1218" y="10"/>
                    <a:pt x="1209" y="10"/>
                  </a:cubicBezTo>
                  <a:cubicBezTo>
                    <a:pt x="1141" y="10"/>
                    <a:pt x="1035" y="347"/>
                    <a:pt x="1114" y="452"/>
                  </a:cubicBezTo>
                  <a:cubicBezTo>
                    <a:pt x="1229" y="538"/>
                    <a:pt x="1343" y="1059"/>
                    <a:pt x="1122" y="1059"/>
                  </a:cubicBezTo>
                  <a:cubicBezTo>
                    <a:pt x="1110" y="1059"/>
                    <a:pt x="1098" y="1057"/>
                    <a:pt x="1084" y="1054"/>
                  </a:cubicBezTo>
                  <a:cubicBezTo>
                    <a:pt x="825" y="968"/>
                    <a:pt x="814" y="661"/>
                    <a:pt x="681" y="661"/>
                  </a:cubicBezTo>
                  <a:cubicBezTo>
                    <a:pt x="675" y="661"/>
                    <a:pt x="669" y="662"/>
                    <a:pt x="663" y="663"/>
                  </a:cubicBezTo>
                  <a:cubicBezTo>
                    <a:pt x="512" y="693"/>
                    <a:pt x="271" y="1175"/>
                    <a:pt x="271" y="1355"/>
                  </a:cubicBezTo>
                  <a:cubicBezTo>
                    <a:pt x="271" y="1536"/>
                    <a:pt x="121" y="1506"/>
                    <a:pt x="1" y="1566"/>
                  </a:cubicBezTo>
                  <a:lnTo>
                    <a:pt x="151" y="1716"/>
                  </a:lnTo>
                  <a:cubicBezTo>
                    <a:pt x="211" y="1837"/>
                    <a:pt x="91" y="2108"/>
                    <a:pt x="211" y="2318"/>
                  </a:cubicBezTo>
                  <a:cubicBezTo>
                    <a:pt x="247" y="2390"/>
                    <a:pt x="301" y="2408"/>
                    <a:pt x="363" y="2408"/>
                  </a:cubicBezTo>
                  <a:cubicBezTo>
                    <a:pt x="427" y="2408"/>
                    <a:pt x="500" y="2387"/>
                    <a:pt x="566" y="2387"/>
                  </a:cubicBezTo>
                  <a:cubicBezTo>
                    <a:pt x="647" y="2387"/>
                    <a:pt x="718" y="2419"/>
                    <a:pt x="753" y="2559"/>
                  </a:cubicBezTo>
                  <a:cubicBezTo>
                    <a:pt x="813" y="2890"/>
                    <a:pt x="663" y="3041"/>
                    <a:pt x="663" y="3372"/>
                  </a:cubicBezTo>
                  <a:cubicBezTo>
                    <a:pt x="663" y="3703"/>
                    <a:pt x="392" y="3672"/>
                    <a:pt x="482" y="3973"/>
                  </a:cubicBezTo>
                  <a:cubicBezTo>
                    <a:pt x="499" y="4056"/>
                    <a:pt x="540" y="4088"/>
                    <a:pt x="596" y="4088"/>
                  </a:cubicBezTo>
                  <a:cubicBezTo>
                    <a:pt x="747" y="4088"/>
                    <a:pt x="1008" y="3856"/>
                    <a:pt x="1204" y="3703"/>
                  </a:cubicBezTo>
                  <a:cubicBezTo>
                    <a:pt x="1330" y="3608"/>
                    <a:pt x="1448" y="3563"/>
                    <a:pt x="1544" y="3563"/>
                  </a:cubicBezTo>
                  <a:cubicBezTo>
                    <a:pt x="1633" y="3563"/>
                    <a:pt x="1703" y="3601"/>
                    <a:pt x="1746" y="3672"/>
                  </a:cubicBezTo>
                  <a:cubicBezTo>
                    <a:pt x="1784" y="3720"/>
                    <a:pt x="1844" y="3741"/>
                    <a:pt x="1910" y="3741"/>
                  </a:cubicBezTo>
                  <a:cubicBezTo>
                    <a:pt x="2052" y="3741"/>
                    <a:pt x="2226" y="3645"/>
                    <a:pt x="2288" y="3522"/>
                  </a:cubicBezTo>
                  <a:cubicBezTo>
                    <a:pt x="2319" y="3428"/>
                    <a:pt x="2472" y="3375"/>
                    <a:pt x="2633" y="3375"/>
                  </a:cubicBezTo>
                  <a:cubicBezTo>
                    <a:pt x="2782" y="3375"/>
                    <a:pt x="2938" y="3421"/>
                    <a:pt x="3010" y="3522"/>
                  </a:cubicBezTo>
                  <a:cubicBezTo>
                    <a:pt x="3161" y="3733"/>
                    <a:pt x="3371" y="3943"/>
                    <a:pt x="3612" y="4094"/>
                  </a:cubicBezTo>
                  <a:cubicBezTo>
                    <a:pt x="3823" y="4214"/>
                    <a:pt x="3401" y="4967"/>
                    <a:pt x="3642" y="5027"/>
                  </a:cubicBezTo>
                  <a:cubicBezTo>
                    <a:pt x="3973" y="5147"/>
                    <a:pt x="4214" y="5508"/>
                    <a:pt x="4214" y="5869"/>
                  </a:cubicBezTo>
                  <a:cubicBezTo>
                    <a:pt x="4154" y="6231"/>
                    <a:pt x="4364" y="6471"/>
                    <a:pt x="4094" y="6772"/>
                  </a:cubicBezTo>
                  <a:cubicBezTo>
                    <a:pt x="3947" y="6935"/>
                    <a:pt x="4065" y="6957"/>
                    <a:pt x="4200" y="6957"/>
                  </a:cubicBezTo>
                  <a:cubicBezTo>
                    <a:pt x="4248" y="6957"/>
                    <a:pt x="4299" y="6954"/>
                    <a:pt x="4340" y="6954"/>
                  </a:cubicBezTo>
                  <a:cubicBezTo>
                    <a:pt x="4395" y="6954"/>
                    <a:pt x="4432" y="6959"/>
                    <a:pt x="4425" y="6983"/>
                  </a:cubicBezTo>
                  <a:cubicBezTo>
                    <a:pt x="4414" y="7026"/>
                    <a:pt x="4442" y="7050"/>
                    <a:pt x="4483" y="7050"/>
                  </a:cubicBezTo>
                  <a:cubicBezTo>
                    <a:pt x="4555" y="7050"/>
                    <a:pt x="4665" y="6975"/>
                    <a:pt x="4665" y="6802"/>
                  </a:cubicBezTo>
                  <a:cubicBezTo>
                    <a:pt x="4665" y="6631"/>
                    <a:pt x="4810" y="6568"/>
                    <a:pt x="4963" y="6568"/>
                  </a:cubicBezTo>
                  <a:cubicBezTo>
                    <a:pt x="5051" y="6568"/>
                    <a:pt x="5141" y="6589"/>
                    <a:pt x="5207" y="6622"/>
                  </a:cubicBezTo>
                  <a:cubicBezTo>
                    <a:pt x="5274" y="6641"/>
                    <a:pt x="5340" y="6651"/>
                    <a:pt x="5405" y="6651"/>
                  </a:cubicBezTo>
                  <a:cubicBezTo>
                    <a:pt x="5545" y="6651"/>
                    <a:pt x="5676" y="6604"/>
                    <a:pt x="5779" y="6501"/>
                  </a:cubicBezTo>
                  <a:lnTo>
                    <a:pt x="5779" y="6200"/>
                  </a:lnTo>
                  <a:cubicBezTo>
                    <a:pt x="5869" y="5930"/>
                    <a:pt x="5809" y="5599"/>
                    <a:pt x="5628" y="5388"/>
                  </a:cubicBezTo>
                  <a:cubicBezTo>
                    <a:pt x="5478" y="5237"/>
                    <a:pt x="5117" y="5087"/>
                    <a:pt x="4996" y="4786"/>
                  </a:cubicBezTo>
                  <a:cubicBezTo>
                    <a:pt x="4876" y="4485"/>
                    <a:pt x="4425" y="4184"/>
                    <a:pt x="4364" y="3943"/>
                  </a:cubicBezTo>
                  <a:cubicBezTo>
                    <a:pt x="4274" y="3733"/>
                    <a:pt x="3943" y="3432"/>
                    <a:pt x="3943" y="3221"/>
                  </a:cubicBezTo>
                  <a:cubicBezTo>
                    <a:pt x="3943" y="3041"/>
                    <a:pt x="3010" y="2740"/>
                    <a:pt x="3070" y="2469"/>
                  </a:cubicBezTo>
                  <a:cubicBezTo>
                    <a:pt x="3161" y="2228"/>
                    <a:pt x="3672" y="2378"/>
                    <a:pt x="3672" y="2138"/>
                  </a:cubicBezTo>
                  <a:cubicBezTo>
                    <a:pt x="3672" y="1927"/>
                    <a:pt x="3492" y="1867"/>
                    <a:pt x="3462" y="1536"/>
                  </a:cubicBezTo>
                  <a:cubicBezTo>
                    <a:pt x="3445" y="1353"/>
                    <a:pt x="3318" y="1290"/>
                    <a:pt x="3183" y="1290"/>
                  </a:cubicBezTo>
                  <a:cubicBezTo>
                    <a:pt x="3073" y="1290"/>
                    <a:pt x="2957" y="1331"/>
                    <a:pt x="2890" y="1385"/>
                  </a:cubicBezTo>
                  <a:cubicBezTo>
                    <a:pt x="2862" y="1407"/>
                    <a:pt x="2823" y="1417"/>
                    <a:pt x="2778" y="1417"/>
                  </a:cubicBezTo>
                  <a:cubicBezTo>
                    <a:pt x="2579" y="1417"/>
                    <a:pt x="2258" y="1221"/>
                    <a:pt x="2258" y="1024"/>
                  </a:cubicBezTo>
                  <a:cubicBezTo>
                    <a:pt x="2258" y="753"/>
                    <a:pt x="1836" y="633"/>
                    <a:pt x="1836" y="422"/>
                  </a:cubicBezTo>
                  <a:cubicBezTo>
                    <a:pt x="1836" y="182"/>
                    <a:pt x="1686" y="151"/>
                    <a:pt x="1535"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29" name="Google Shape;2923;p123">
              <a:extLst>
                <a:ext uri="{FF2B5EF4-FFF2-40B4-BE49-F238E27FC236}">
                  <a16:creationId xmlns:a16="http://schemas.microsoft.com/office/drawing/2014/main" id="{EE06B206-6405-7B41-A450-FAEF09A42313}"/>
                </a:ext>
              </a:extLst>
            </p:cNvPr>
            <p:cNvSpPr/>
            <p:nvPr/>
          </p:nvSpPr>
          <p:spPr>
            <a:xfrm>
              <a:off x="6630887" y="2762458"/>
              <a:ext cx="198901" cy="372021"/>
            </a:xfrm>
            <a:custGeom>
              <a:avLst/>
              <a:gdLst/>
              <a:ahLst/>
              <a:cxnLst/>
              <a:rect l="l" t="t" r="r" b="b"/>
              <a:pathLst>
                <a:path w="6411" h="11991" extrusionOk="0">
                  <a:moveTo>
                    <a:pt x="2047" y="1"/>
                  </a:moveTo>
                  <a:lnTo>
                    <a:pt x="1896" y="121"/>
                  </a:lnTo>
                  <a:cubicBezTo>
                    <a:pt x="1836" y="272"/>
                    <a:pt x="1324" y="302"/>
                    <a:pt x="1174" y="543"/>
                  </a:cubicBezTo>
                  <a:cubicBezTo>
                    <a:pt x="1057" y="706"/>
                    <a:pt x="831" y="725"/>
                    <a:pt x="693" y="725"/>
                  </a:cubicBezTo>
                  <a:cubicBezTo>
                    <a:pt x="654" y="725"/>
                    <a:pt x="622" y="723"/>
                    <a:pt x="602" y="723"/>
                  </a:cubicBezTo>
                  <a:cubicBezTo>
                    <a:pt x="542" y="723"/>
                    <a:pt x="181" y="753"/>
                    <a:pt x="151" y="964"/>
                  </a:cubicBezTo>
                  <a:cubicBezTo>
                    <a:pt x="121" y="1144"/>
                    <a:pt x="0" y="2047"/>
                    <a:pt x="0" y="2228"/>
                  </a:cubicBezTo>
                  <a:cubicBezTo>
                    <a:pt x="121" y="2529"/>
                    <a:pt x="331" y="2770"/>
                    <a:pt x="602" y="2950"/>
                  </a:cubicBezTo>
                  <a:cubicBezTo>
                    <a:pt x="753" y="2980"/>
                    <a:pt x="572" y="3371"/>
                    <a:pt x="753" y="3462"/>
                  </a:cubicBezTo>
                  <a:cubicBezTo>
                    <a:pt x="925" y="3576"/>
                    <a:pt x="796" y="3855"/>
                    <a:pt x="732" y="3855"/>
                  </a:cubicBezTo>
                  <a:cubicBezTo>
                    <a:pt x="728" y="3855"/>
                    <a:pt x="725" y="3854"/>
                    <a:pt x="722" y="3853"/>
                  </a:cubicBezTo>
                  <a:cubicBezTo>
                    <a:pt x="720" y="3852"/>
                    <a:pt x="717" y="3852"/>
                    <a:pt x="714" y="3852"/>
                  </a:cubicBezTo>
                  <a:cubicBezTo>
                    <a:pt x="641" y="3852"/>
                    <a:pt x="777" y="4279"/>
                    <a:pt x="602" y="4425"/>
                  </a:cubicBezTo>
                  <a:cubicBezTo>
                    <a:pt x="422" y="4575"/>
                    <a:pt x="572" y="4966"/>
                    <a:pt x="873" y="5237"/>
                  </a:cubicBezTo>
                  <a:cubicBezTo>
                    <a:pt x="1114" y="5508"/>
                    <a:pt x="1204" y="5869"/>
                    <a:pt x="1174" y="6230"/>
                  </a:cubicBezTo>
                  <a:cubicBezTo>
                    <a:pt x="1174" y="6471"/>
                    <a:pt x="1445" y="6471"/>
                    <a:pt x="1445" y="6832"/>
                  </a:cubicBezTo>
                  <a:cubicBezTo>
                    <a:pt x="1445" y="7154"/>
                    <a:pt x="1076" y="8099"/>
                    <a:pt x="779" y="8099"/>
                  </a:cubicBezTo>
                  <a:cubicBezTo>
                    <a:pt x="770" y="8099"/>
                    <a:pt x="761" y="8098"/>
                    <a:pt x="753" y="8096"/>
                  </a:cubicBezTo>
                  <a:cubicBezTo>
                    <a:pt x="743" y="8095"/>
                    <a:pt x="735" y="8094"/>
                    <a:pt x="727" y="8094"/>
                  </a:cubicBezTo>
                  <a:cubicBezTo>
                    <a:pt x="460" y="8094"/>
                    <a:pt x="600" y="9007"/>
                    <a:pt x="542" y="9270"/>
                  </a:cubicBezTo>
                  <a:cubicBezTo>
                    <a:pt x="452" y="9511"/>
                    <a:pt x="391" y="9932"/>
                    <a:pt x="572" y="9992"/>
                  </a:cubicBezTo>
                  <a:cubicBezTo>
                    <a:pt x="753" y="10022"/>
                    <a:pt x="1204" y="10474"/>
                    <a:pt x="1625" y="10985"/>
                  </a:cubicBezTo>
                  <a:cubicBezTo>
                    <a:pt x="1716" y="11106"/>
                    <a:pt x="1806" y="11256"/>
                    <a:pt x="1836" y="11407"/>
                  </a:cubicBezTo>
                  <a:lnTo>
                    <a:pt x="2317" y="11407"/>
                  </a:lnTo>
                  <a:cubicBezTo>
                    <a:pt x="2528" y="11437"/>
                    <a:pt x="2709" y="11647"/>
                    <a:pt x="2709" y="11888"/>
                  </a:cubicBezTo>
                  <a:cubicBezTo>
                    <a:pt x="2709" y="11972"/>
                    <a:pt x="2876" y="11990"/>
                    <a:pt x="3035" y="11990"/>
                  </a:cubicBezTo>
                  <a:cubicBezTo>
                    <a:pt x="3162" y="11990"/>
                    <a:pt x="3284" y="11979"/>
                    <a:pt x="3311" y="11979"/>
                  </a:cubicBezTo>
                  <a:cubicBezTo>
                    <a:pt x="3401" y="11979"/>
                    <a:pt x="3311" y="11738"/>
                    <a:pt x="3581" y="11617"/>
                  </a:cubicBezTo>
                  <a:cubicBezTo>
                    <a:pt x="3341" y="11347"/>
                    <a:pt x="3040" y="11166"/>
                    <a:pt x="2679" y="11106"/>
                  </a:cubicBezTo>
                  <a:cubicBezTo>
                    <a:pt x="2257" y="11076"/>
                    <a:pt x="2077" y="10474"/>
                    <a:pt x="2107" y="10203"/>
                  </a:cubicBezTo>
                  <a:cubicBezTo>
                    <a:pt x="2167" y="9932"/>
                    <a:pt x="1806" y="9721"/>
                    <a:pt x="1806" y="9481"/>
                  </a:cubicBezTo>
                  <a:cubicBezTo>
                    <a:pt x="1806" y="9270"/>
                    <a:pt x="1595" y="9210"/>
                    <a:pt x="1324" y="9120"/>
                  </a:cubicBezTo>
                  <a:cubicBezTo>
                    <a:pt x="1054" y="8999"/>
                    <a:pt x="1354" y="8157"/>
                    <a:pt x="1415" y="7825"/>
                  </a:cubicBezTo>
                  <a:cubicBezTo>
                    <a:pt x="1445" y="7494"/>
                    <a:pt x="2017" y="6501"/>
                    <a:pt x="1866" y="6200"/>
                  </a:cubicBezTo>
                  <a:cubicBezTo>
                    <a:pt x="1770" y="6008"/>
                    <a:pt x="2019" y="5852"/>
                    <a:pt x="2242" y="5852"/>
                  </a:cubicBezTo>
                  <a:cubicBezTo>
                    <a:pt x="2368" y="5852"/>
                    <a:pt x="2485" y="5901"/>
                    <a:pt x="2528" y="6020"/>
                  </a:cubicBezTo>
                  <a:cubicBezTo>
                    <a:pt x="2649" y="6351"/>
                    <a:pt x="2649" y="6501"/>
                    <a:pt x="3100" y="6501"/>
                  </a:cubicBezTo>
                  <a:cubicBezTo>
                    <a:pt x="3551" y="6501"/>
                    <a:pt x="3581" y="6862"/>
                    <a:pt x="3973" y="6953"/>
                  </a:cubicBezTo>
                  <a:lnTo>
                    <a:pt x="4033" y="6953"/>
                  </a:lnTo>
                  <a:cubicBezTo>
                    <a:pt x="4093" y="6682"/>
                    <a:pt x="3913" y="6682"/>
                    <a:pt x="3913" y="6321"/>
                  </a:cubicBezTo>
                  <a:cubicBezTo>
                    <a:pt x="3913" y="5990"/>
                    <a:pt x="3581" y="5990"/>
                    <a:pt x="3882" y="5629"/>
                  </a:cubicBezTo>
                  <a:cubicBezTo>
                    <a:pt x="4134" y="5301"/>
                    <a:pt x="4513" y="5058"/>
                    <a:pt x="4806" y="5058"/>
                  </a:cubicBezTo>
                  <a:cubicBezTo>
                    <a:pt x="4863" y="5058"/>
                    <a:pt x="4917" y="5067"/>
                    <a:pt x="4966" y="5087"/>
                  </a:cubicBezTo>
                  <a:cubicBezTo>
                    <a:pt x="5024" y="5110"/>
                    <a:pt x="5094" y="5119"/>
                    <a:pt x="5170" y="5119"/>
                  </a:cubicBezTo>
                  <a:cubicBezTo>
                    <a:pt x="5380" y="5119"/>
                    <a:pt x="5635" y="5053"/>
                    <a:pt x="5817" y="5053"/>
                  </a:cubicBezTo>
                  <a:cubicBezTo>
                    <a:pt x="5907" y="5053"/>
                    <a:pt x="5979" y="5069"/>
                    <a:pt x="6019" y="5117"/>
                  </a:cubicBezTo>
                  <a:lnTo>
                    <a:pt x="6140" y="5207"/>
                  </a:lnTo>
                  <a:cubicBezTo>
                    <a:pt x="6410" y="4906"/>
                    <a:pt x="6200" y="4666"/>
                    <a:pt x="6260" y="4304"/>
                  </a:cubicBezTo>
                  <a:cubicBezTo>
                    <a:pt x="6260" y="3943"/>
                    <a:pt x="6019" y="3582"/>
                    <a:pt x="5688" y="3462"/>
                  </a:cubicBezTo>
                  <a:cubicBezTo>
                    <a:pt x="5447" y="3402"/>
                    <a:pt x="5869" y="2649"/>
                    <a:pt x="5658" y="2529"/>
                  </a:cubicBezTo>
                  <a:cubicBezTo>
                    <a:pt x="5417" y="2378"/>
                    <a:pt x="5207" y="2168"/>
                    <a:pt x="5056" y="1957"/>
                  </a:cubicBezTo>
                  <a:cubicBezTo>
                    <a:pt x="4987" y="1860"/>
                    <a:pt x="4835" y="1821"/>
                    <a:pt x="4689" y="1821"/>
                  </a:cubicBezTo>
                  <a:cubicBezTo>
                    <a:pt x="4516" y="1821"/>
                    <a:pt x="4350" y="1876"/>
                    <a:pt x="4334" y="1957"/>
                  </a:cubicBezTo>
                  <a:cubicBezTo>
                    <a:pt x="4313" y="2063"/>
                    <a:pt x="4111" y="2170"/>
                    <a:pt x="3952" y="2170"/>
                  </a:cubicBezTo>
                  <a:cubicBezTo>
                    <a:pt x="3886" y="2170"/>
                    <a:pt x="3827" y="2152"/>
                    <a:pt x="3792" y="2107"/>
                  </a:cubicBezTo>
                  <a:cubicBezTo>
                    <a:pt x="3749" y="2036"/>
                    <a:pt x="3679" y="1998"/>
                    <a:pt x="3590" y="1998"/>
                  </a:cubicBezTo>
                  <a:cubicBezTo>
                    <a:pt x="3494" y="1998"/>
                    <a:pt x="3376" y="2043"/>
                    <a:pt x="3250" y="2138"/>
                  </a:cubicBezTo>
                  <a:cubicBezTo>
                    <a:pt x="3054" y="2291"/>
                    <a:pt x="2793" y="2523"/>
                    <a:pt x="2642" y="2523"/>
                  </a:cubicBezTo>
                  <a:cubicBezTo>
                    <a:pt x="2586" y="2523"/>
                    <a:pt x="2545" y="2491"/>
                    <a:pt x="2528" y="2408"/>
                  </a:cubicBezTo>
                  <a:cubicBezTo>
                    <a:pt x="2438" y="2107"/>
                    <a:pt x="2709" y="2138"/>
                    <a:pt x="2709" y="1807"/>
                  </a:cubicBezTo>
                  <a:cubicBezTo>
                    <a:pt x="2709" y="1476"/>
                    <a:pt x="2889" y="1295"/>
                    <a:pt x="2799" y="994"/>
                  </a:cubicBezTo>
                  <a:cubicBezTo>
                    <a:pt x="2750" y="871"/>
                    <a:pt x="2670" y="849"/>
                    <a:pt x="2586" y="849"/>
                  </a:cubicBezTo>
                  <a:cubicBezTo>
                    <a:pt x="2537" y="849"/>
                    <a:pt x="2486" y="856"/>
                    <a:pt x="2438" y="856"/>
                  </a:cubicBezTo>
                  <a:cubicBezTo>
                    <a:pt x="2366" y="856"/>
                    <a:pt x="2300" y="839"/>
                    <a:pt x="2257" y="753"/>
                  </a:cubicBezTo>
                  <a:cubicBezTo>
                    <a:pt x="2137" y="543"/>
                    <a:pt x="2257" y="272"/>
                    <a:pt x="2197" y="151"/>
                  </a:cubicBezTo>
                  <a:lnTo>
                    <a:pt x="2047" y="1"/>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30" name="Google Shape;2924;p123">
              <a:extLst>
                <a:ext uri="{FF2B5EF4-FFF2-40B4-BE49-F238E27FC236}">
                  <a16:creationId xmlns:a16="http://schemas.microsoft.com/office/drawing/2014/main" id="{81CC86D3-7878-774B-8F2E-356EA23805EA}"/>
                </a:ext>
              </a:extLst>
            </p:cNvPr>
            <p:cNvSpPr/>
            <p:nvPr/>
          </p:nvSpPr>
          <p:spPr>
            <a:xfrm>
              <a:off x="4609422" y="1757528"/>
              <a:ext cx="238148" cy="189873"/>
            </a:xfrm>
            <a:custGeom>
              <a:avLst/>
              <a:gdLst/>
              <a:ahLst/>
              <a:cxnLst/>
              <a:rect l="l" t="t" r="r" b="b"/>
              <a:pathLst>
                <a:path w="7676" h="6120" extrusionOk="0">
                  <a:moveTo>
                    <a:pt x="3278" y="0"/>
                  </a:moveTo>
                  <a:cubicBezTo>
                    <a:pt x="2925" y="0"/>
                    <a:pt x="1922" y="256"/>
                    <a:pt x="1626" y="552"/>
                  </a:cubicBezTo>
                  <a:cubicBezTo>
                    <a:pt x="1235" y="883"/>
                    <a:pt x="422" y="762"/>
                    <a:pt x="422" y="943"/>
                  </a:cubicBezTo>
                  <a:cubicBezTo>
                    <a:pt x="422" y="1110"/>
                    <a:pt x="328" y="1164"/>
                    <a:pt x="244" y="1164"/>
                  </a:cubicBezTo>
                  <a:cubicBezTo>
                    <a:pt x="222" y="1164"/>
                    <a:pt x="200" y="1160"/>
                    <a:pt x="182" y="1154"/>
                  </a:cubicBezTo>
                  <a:lnTo>
                    <a:pt x="182" y="1154"/>
                  </a:lnTo>
                  <a:lnTo>
                    <a:pt x="212" y="1214"/>
                  </a:lnTo>
                  <a:cubicBezTo>
                    <a:pt x="242" y="1364"/>
                    <a:pt x="302" y="1846"/>
                    <a:pt x="151" y="2056"/>
                  </a:cubicBezTo>
                  <a:cubicBezTo>
                    <a:pt x="1" y="2237"/>
                    <a:pt x="121" y="2267"/>
                    <a:pt x="242" y="2357"/>
                  </a:cubicBezTo>
                  <a:cubicBezTo>
                    <a:pt x="332" y="2448"/>
                    <a:pt x="392" y="2568"/>
                    <a:pt x="392" y="2719"/>
                  </a:cubicBezTo>
                  <a:cubicBezTo>
                    <a:pt x="392" y="2869"/>
                    <a:pt x="482" y="2869"/>
                    <a:pt x="482" y="3170"/>
                  </a:cubicBezTo>
                  <a:cubicBezTo>
                    <a:pt x="513" y="3381"/>
                    <a:pt x="573" y="3591"/>
                    <a:pt x="693" y="3772"/>
                  </a:cubicBezTo>
                  <a:cubicBezTo>
                    <a:pt x="783" y="3892"/>
                    <a:pt x="783" y="4013"/>
                    <a:pt x="723" y="4163"/>
                  </a:cubicBezTo>
                  <a:cubicBezTo>
                    <a:pt x="844" y="4253"/>
                    <a:pt x="994" y="4344"/>
                    <a:pt x="1175" y="4404"/>
                  </a:cubicBezTo>
                  <a:cubicBezTo>
                    <a:pt x="1536" y="4524"/>
                    <a:pt x="1656" y="4645"/>
                    <a:pt x="1686" y="4795"/>
                  </a:cubicBezTo>
                  <a:cubicBezTo>
                    <a:pt x="1729" y="4901"/>
                    <a:pt x="1889" y="5021"/>
                    <a:pt x="2002" y="5021"/>
                  </a:cubicBezTo>
                  <a:cubicBezTo>
                    <a:pt x="2050" y="5021"/>
                    <a:pt x="2090" y="4999"/>
                    <a:pt x="2108" y="4946"/>
                  </a:cubicBezTo>
                  <a:cubicBezTo>
                    <a:pt x="2153" y="4855"/>
                    <a:pt x="2228" y="4833"/>
                    <a:pt x="2311" y="4833"/>
                  </a:cubicBezTo>
                  <a:cubicBezTo>
                    <a:pt x="2394" y="4833"/>
                    <a:pt x="2484" y="4855"/>
                    <a:pt x="2559" y="4855"/>
                  </a:cubicBezTo>
                  <a:cubicBezTo>
                    <a:pt x="2710" y="4855"/>
                    <a:pt x="2740" y="5066"/>
                    <a:pt x="2800" y="5156"/>
                  </a:cubicBezTo>
                  <a:cubicBezTo>
                    <a:pt x="2830" y="5277"/>
                    <a:pt x="3161" y="5216"/>
                    <a:pt x="3311" y="5307"/>
                  </a:cubicBezTo>
                  <a:cubicBezTo>
                    <a:pt x="3462" y="5427"/>
                    <a:pt x="3462" y="5668"/>
                    <a:pt x="3642" y="5758"/>
                  </a:cubicBezTo>
                  <a:cubicBezTo>
                    <a:pt x="3691" y="5786"/>
                    <a:pt x="3736" y="5796"/>
                    <a:pt x="3779" y="5796"/>
                  </a:cubicBezTo>
                  <a:cubicBezTo>
                    <a:pt x="3898" y="5796"/>
                    <a:pt x="3998" y="5717"/>
                    <a:pt x="4095" y="5717"/>
                  </a:cubicBezTo>
                  <a:cubicBezTo>
                    <a:pt x="4115" y="5717"/>
                    <a:pt x="4135" y="5720"/>
                    <a:pt x="4154" y="5728"/>
                  </a:cubicBezTo>
                  <a:cubicBezTo>
                    <a:pt x="4294" y="5808"/>
                    <a:pt x="4448" y="5835"/>
                    <a:pt x="4598" y="5835"/>
                  </a:cubicBezTo>
                  <a:cubicBezTo>
                    <a:pt x="4672" y="5835"/>
                    <a:pt x="4746" y="5828"/>
                    <a:pt x="4816" y="5818"/>
                  </a:cubicBezTo>
                  <a:cubicBezTo>
                    <a:pt x="4859" y="5797"/>
                    <a:pt x="4900" y="5789"/>
                    <a:pt x="4941" y="5789"/>
                  </a:cubicBezTo>
                  <a:cubicBezTo>
                    <a:pt x="5058" y="5789"/>
                    <a:pt x="5178" y="5852"/>
                    <a:pt x="5345" y="5852"/>
                  </a:cubicBezTo>
                  <a:cubicBezTo>
                    <a:pt x="5368" y="5852"/>
                    <a:pt x="5393" y="5851"/>
                    <a:pt x="5418" y="5848"/>
                  </a:cubicBezTo>
                  <a:cubicBezTo>
                    <a:pt x="5459" y="5843"/>
                    <a:pt x="5501" y="5841"/>
                    <a:pt x="5542" y="5841"/>
                  </a:cubicBezTo>
                  <a:cubicBezTo>
                    <a:pt x="5741" y="5841"/>
                    <a:pt x="5936" y="5899"/>
                    <a:pt x="6110" y="5999"/>
                  </a:cubicBezTo>
                  <a:lnTo>
                    <a:pt x="6562" y="6119"/>
                  </a:lnTo>
                  <a:cubicBezTo>
                    <a:pt x="6622" y="5999"/>
                    <a:pt x="6501" y="5698"/>
                    <a:pt x="6501" y="5578"/>
                  </a:cubicBezTo>
                  <a:lnTo>
                    <a:pt x="7254" y="4825"/>
                  </a:lnTo>
                  <a:cubicBezTo>
                    <a:pt x="7374" y="4705"/>
                    <a:pt x="7525" y="4705"/>
                    <a:pt x="7615" y="4554"/>
                  </a:cubicBezTo>
                  <a:cubicBezTo>
                    <a:pt x="7675" y="4404"/>
                    <a:pt x="7374" y="3892"/>
                    <a:pt x="7314" y="3772"/>
                  </a:cubicBezTo>
                  <a:cubicBezTo>
                    <a:pt x="7224" y="3561"/>
                    <a:pt x="7194" y="3320"/>
                    <a:pt x="7254" y="3110"/>
                  </a:cubicBezTo>
                  <a:cubicBezTo>
                    <a:pt x="7314" y="2899"/>
                    <a:pt x="7013" y="2809"/>
                    <a:pt x="7013" y="2688"/>
                  </a:cubicBezTo>
                  <a:cubicBezTo>
                    <a:pt x="7013" y="2568"/>
                    <a:pt x="7254" y="2357"/>
                    <a:pt x="7464" y="2267"/>
                  </a:cubicBezTo>
                  <a:cubicBezTo>
                    <a:pt x="7645" y="2207"/>
                    <a:pt x="7525" y="1695"/>
                    <a:pt x="7404" y="1605"/>
                  </a:cubicBezTo>
                  <a:cubicBezTo>
                    <a:pt x="7254" y="1455"/>
                    <a:pt x="7194" y="1214"/>
                    <a:pt x="7254" y="1003"/>
                  </a:cubicBezTo>
                  <a:cubicBezTo>
                    <a:pt x="7374" y="762"/>
                    <a:pt x="6742" y="582"/>
                    <a:pt x="6652" y="582"/>
                  </a:cubicBezTo>
                  <a:lnTo>
                    <a:pt x="6622" y="582"/>
                  </a:lnTo>
                  <a:cubicBezTo>
                    <a:pt x="6466" y="589"/>
                    <a:pt x="6308" y="593"/>
                    <a:pt x="6149" y="593"/>
                  </a:cubicBezTo>
                  <a:cubicBezTo>
                    <a:pt x="5635" y="593"/>
                    <a:pt x="5111" y="553"/>
                    <a:pt x="4605" y="461"/>
                  </a:cubicBezTo>
                  <a:lnTo>
                    <a:pt x="4184" y="311"/>
                  </a:lnTo>
                  <a:cubicBezTo>
                    <a:pt x="4094" y="461"/>
                    <a:pt x="3913" y="552"/>
                    <a:pt x="3733" y="552"/>
                  </a:cubicBezTo>
                  <a:cubicBezTo>
                    <a:pt x="3402" y="552"/>
                    <a:pt x="3402" y="191"/>
                    <a:pt x="3402" y="40"/>
                  </a:cubicBezTo>
                  <a:cubicBezTo>
                    <a:pt x="3402" y="13"/>
                    <a:pt x="3355" y="0"/>
                    <a:pt x="3278"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31" name="Google Shape;2925;p123">
              <a:extLst>
                <a:ext uri="{FF2B5EF4-FFF2-40B4-BE49-F238E27FC236}">
                  <a16:creationId xmlns:a16="http://schemas.microsoft.com/office/drawing/2014/main" id="{C6E96218-06CC-0340-A40D-645DD2CAFC5F}"/>
                </a:ext>
              </a:extLst>
            </p:cNvPr>
            <p:cNvSpPr/>
            <p:nvPr/>
          </p:nvSpPr>
          <p:spPr>
            <a:xfrm>
              <a:off x="4644232" y="2070073"/>
              <a:ext cx="90345" cy="83674"/>
            </a:xfrm>
            <a:custGeom>
              <a:avLst/>
              <a:gdLst/>
              <a:ahLst/>
              <a:cxnLst/>
              <a:rect l="l" t="t" r="r" b="b"/>
              <a:pathLst>
                <a:path w="2912" h="2697" extrusionOk="0">
                  <a:moveTo>
                    <a:pt x="864" y="1"/>
                  </a:moveTo>
                  <a:cubicBezTo>
                    <a:pt x="748" y="1"/>
                    <a:pt x="621" y="155"/>
                    <a:pt x="505" y="155"/>
                  </a:cubicBezTo>
                  <a:cubicBezTo>
                    <a:pt x="484" y="155"/>
                    <a:pt x="464" y="150"/>
                    <a:pt x="444" y="138"/>
                  </a:cubicBezTo>
                  <a:cubicBezTo>
                    <a:pt x="396" y="62"/>
                    <a:pt x="330" y="31"/>
                    <a:pt x="267" y="31"/>
                  </a:cubicBezTo>
                  <a:cubicBezTo>
                    <a:pt x="129" y="31"/>
                    <a:pt x="1" y="175"/>
                    <a:pt x="83" y="319"/>
                  </a:cubicBezTo>
                  <a:cubicBezTo>
                    <a:pt x="143" y="499"/>
                    <a:pt x="444" y="620"/>
                    <a:pt x="444" y="860"/>
                  </a:cubicBezTo>
                  <a:cubicBezTo>
                    <a:pt x="444" y="1071"/>
                    <a:pt x="1106" y="1522"/>
                    <a:pt x="1106" y="1643"/>
                  </a:cubicBezTo>
                  <a:cubicBezTo>
                    <a:pt x="1106" y="1733"/>
                    <a:pt x="1497" y="2004"/>
                    <a:pt x="1738" y="2395"/>
                  </a:cubicBezTo>
                  <a:lnTo>
                    <a:pt x="2129" y="2696"/>
                  </a:lnTo>
                  <a:cubicBezTo>
                    <a:pt x="2159" y="2576"/>
                    <a:pt x="2189" y="2455"/>
                    <a:pt x="2159" y="2425"/>
                  </a:cubicBezTo>
                  <a:cubicBezTo>
                    <a:pt x="2280" y="2094"/>
                    <a:pt x="2490" y="1793"/>
                    <a:pt x="2761" y="1553"/>
                  </a:cubicBezTo>
                  <a:cubicBezTo>
                    <a:pt x="2882" y="1553"/>
                    <a:pt x="2912" y="860"/>
                    <a:pt x="2882" y="499"/>
                  </a:cubicBezTo>
                  <a:cubicBezTo>
                    <a:pt x="2671" y="319"/>
                    <a:pt x="2430" y="198"/>
                    <a:pt x="2159" y="138"/>
                  </a:cubicBezTo>
                  <a:cubicBezTo>
                    <a:pt x="1738" y="108"/>
                    <a:pt x="1317" y="78"/>
                    <a:pt x="925" y="18"/>
                  </a:cubicBezTo>
                  <a:cubicBezTo>
                    <a:pt x="905" y="6"/>
                    <a:pt x="885" y="1"/>
                    <a:pt x="864"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32" name="Google Shape;2926;p123">
              <a:extLst>
                <a:ext uri="{FF2B5EF4-FFF2-40B4-BE49-F238E27FC236}">
                  <a16:creationId xmlns:a16="http://schemas.microsoft.com/office/drawing/2014/main" id="{F114AC1D-E27B-4C44-8AD2-440A5AD17BA4}"/>
                </a:ext>
              </a:extLst>
            </p:cNvPr>
            <p:cNvSpPr/>
            <p:nvPr/>
          </p:nvSpPr>
          <p:spPr>
            <a:xfrm>
              <a:off x="4601045" y="2028593"/>
              <a:ext cx="132601" cy="115816"/>
            </a:xfrm>
            <a:custGeom>
              <a:avLst/>
              <a:gdLst/>
              <a:ahLst/>
              <a:cxnLst/>
              <a:rect l="l" t="t" r="r" b="b"/>
              <a:pathLst>
                <a:path w="4274" h="3733" extrusionOk="0">
                  <a:moveTo>
                    <a:pt x="2016" y="0"/>
                  </a:moveTo>
                  <a:cubicBezTo>
                    <a:pt x="1926" y="61"/>
                    <a:pt x="1685" y="332"/>
                    <a:pt x="1565" y="332"/>
                  </a:cubicBezTo>
                  <a:cubicBezTo>
                    <a:pt x="1445" y="332"/>
                    <a:pt x="1475" y="723"/>
                    <a:pt x="1384" y="723"/>
                  </a:cubicBezTo>
                  <a:cubicBezTo>
                    <a:pt x="1264" y="723"/>
                    <a:pt x="1114" y="964"/>
                    <a:pt x="1053" y="1084"/>
                  </a:cubicBezTo>
                  <a:cubicBezTo>
                    <a:pt x="1046" y="1115"/>
                    <a:pt x="1020" y="1126"/>
                    <a:pt x="984" y="1126"/>
                  </a:cubicBezTo>
                  <a:cubicBezTo>
                    <a:pt x="891" y="1126"/>
                    <a:pt x="724" y="1050"/>
                    <a:pt x="610" y="1050"/>
                  </a:cubicBezTo>
                  <a:cubicBezTo>
                    <a:pt x="597" y="1050"/>
                    <a:pt x="584" y="1051"/>
                    <a:pt x="572" y="1054"/>
                  </a:cubicBezTo>
                  <a:lnTo>
                    <a:pt x="0" y="1174"/>
                  </a:lnTo>
                  <a:cubicBezTo>
                    <a:pt x="60" y="1325"/>
                    <a:pt x="60" y="1505"/>
                    <a:pt x="151" y="1505"/>
                  </a:cubicBezTo>
                  <a:cubicBezTo>
                    <a:pt x="171" y="1505"/>
                    <a:pt x="201" y="1504"/>
                    <a:pt x="237" y="1504"/>
                  </a:cubicBezTo>
                  <a:cubicBezTo>
                    <a:pt x="418" y="1504"/>
                    <a:pt x="752" y="1525"/>
                    <a:pt x="752" y="1776"/>
                  </a:cubicBezTo>
                  <a:cubicBezTo>
                    <a:pt x="933" y="2167"/>
                    <a:pt x="1174" y="2559"/>
                    <a:pt x="1475" y="2859"/>
                  </a:cubicBezTo>
                  <a:cubicBezTo>
                    <a:pt x="1655" y="3070"/>
                    <a:pt x="2077" y="3040"/>
                    <a:pt x="2107" y="3191"/>
                  </a:cubicBezTo>
                  <a:cubicBezTo>
                    <a:pt x="2167" y="3341"/>
                    <a:pt x="2408" y="3522"/>
                    <a:pt x="2799" y="3582"/>
                  </a:cubicBezTo>
                  <a:lnTo>
                    <a:pt x="3130" y="3732"/>
                  </a:lnTo>
                  <a:cubicBezTo>
                    <a:pt x="2889" y="3341"/>
                    <a:pt x="2468" y="3100"/>
                    <a:pt x="2498" y="2980"/>
                  </a:cubicBezTo>
                  <a:cubicBezTo>
                    <a:pt x="2498" y="2859"/>
                    <a:pt x="1836" y="2438"/>
                    <a:pt x="1836" y="2197"/>
                  </a:cubicBezTo>
                  <a:cubicBezTo>
                    <a:pt x="1836" y="1927"/>
                    <a:pt x="1535" y="1836"/>
                    <a:pt x="1475" y="1656"/>
                  </a:cubicBezTo>
                  <a:cubicBezTo>
                    <a:pt x="1393" y="1512"/>
                    <a:pt x="1521" y="1368"/>
                    <a:pt x="1659" y="1368"/>
                  </a:cubicBezTo>
                  <a:cubicBezTo>
                    <a:pt x="1722" y="1368"/>
                    <a:pt x="1788" y="1399"/>
                    <a:pt x="1836" y="1475"/>
                  </a:cubicBezTo>
                  <a:cubicBezTo>
                    <a:pt x="1860" y="1494"/>
                    <a:pt x="1884" y="1502"/>
                    <a:pt x="1909" y="1502"/>
                  </a:cubicBezTo>
                  <a:cubicBezTo>
                    <a:pt x="2023" y="1502"/>
                    <a:pt x="2148" y="1339"/>
                    <a:pt x="2261" y="1339"/>
                  </a:cubicBezTo>
                  <a:cubicBezTo>
                    <a:pt x="2280" y="1339"/>
                    <a:pt x="2299" y="1344"/>
                    <a:pt x="2317" y="1355"/>
                  </a:cubicBezTo>
                  <a:cubicBezTo>
                    <a:pt x="2709" y="1415"/>
                    <a:pt x="3130" y="1445"/>
                    <a:pt x="3551" y="1475"/>
                  </a:cubicBezTo>
                  <a:cubicBezTo>
                    <a:pt x="3822" y="1535"/>
                    <a:pt x="4063" y="1656"/>
                    <a:pt x="4274" y="1836"/>
                  </a:cubicBezTo>
                  <a:cubicBezTo>
                    <a:pt x="4243" y="1776"/>
                    <a:pt x="4243" y="1716"/>
                    <a:pt x="4243" y="1656"/>
                  </a:cubicBezTo>
                  <a:cubicBezTo>
                    <a:pt x="4123" y="1445"/>
                    <a:pt x="4243" y="1204"/>
                    <a:pt x="3973" y="1084"/>
                  </a:cubicBezTo>
                  <a:cubicBezTo>
                    <a:pt x="3702" y="964"/>
                    <a:pt x="3792" y="843"/>
                    <a:pt x="3792" y="602"/>
                  </a:cubicBezTo>
                  <a:lnTo>
                    <a:pt x="3792" y="602"/>
                  </a:lnTo>
                  <a:lnTo>
                    <a:pt x="3491" y="663"/>
                  </a:lnTo>
                  <a:cubicBezTo>
                    <a:pt x="3398" y="691"/>
                    <a:pt x="3308" y="704"/>
                    <a:pt x="3220" y="704"/>
                  </a:cubicBezTo>
                  <a:cubicBezTo>
                    <a:pt x="3025" y="704"/>
                    <a:pt x="2845" y="637"/>
                    <a:pt x="2679" y="512"/>
                  </a:cubicBezTo>
                  <a:cubicBezTo>
                    <a:pt x="2498" y="301"/>
                    <a:pt x="2257" y="121"/>
                    <a:pt x="2016"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33" name="Google Shape;2927;p123">
              <a:extLst>
                <a:ext uri="{FF2B5EF4-FFF2-40B4-BE49-F238E27FC236}">
                  <a16:creationId xmlns:a16="http://schemas.microsoft.com/office/drawing/2014/main" id="{D98FA01B-E3AD-5E41-8128-8615FF9AD679}"/>
                </a:ext>
              </a:extLst>
            </p:cNvPr>
            <p:cNvSpPr/>
            <p:nvPr/>
          </p:nvSpPr>
          <p:spPr>
            <a:xfrm>
              <a:off x="4726138" y="2149963"/>
              <a:ext cx="48585" cy="90035"/>
            </a:xfrm>
            <a:custGeom>
              <a:avLst/>
              <a:gdLst/>
              <a:ahLst/>
              <a:cxnLst/>
              <a:rect l="l" t="t" r="r" b="b"/>
              <a:pathLst>
                <a:path w="1566" h="2902" extrusionOk="0">
                  <a:moveTo>
                    <a:pt x="512" y="1"/>
                  </a:moveTo>
                  <a:cubicBezTo>
                    <a:pt x="362" y="1"/>
                    <a:pt x="151" y="302"/>
                    <a:pt x="91" y="573"/>
                  </a:cubicBezTo>
                  <a:cubicBezTo>
                    <a:pt x="1" y="813"/>
                    <a:pt x="543" y="874"/>
                    <a:pt x="302" y="1054"/>
                  </a:cubicBezTo>
                  <a:cubicBezTo>
                    <a:pt x="91" y="1235"/>
                    <a:pt x="61" y="2047"/>
                    <a:pt x="302" y="2228"/>
                  </a:cubicBezTo>
                  <a:cubicBezTo>
                    <a:pt x="573" y="2408"/>
                    <a:pt x="603" y="2830"/>
                    <a:pt x="843" y="2890"/>
                  </a:cubicBezTo>
                  <a:cubicBezTo>
                    <a:pt x="861" y="2898"/>
                    <a:pt x="877" y="2901"/>
                    <a:pt x="891" y="2901"/>
                  </a:cubicBezTo>
                  <a:cubicBezTo>
                    <a:pt x="1040" y="2901"/>
                    <a:pt x="972" y="2494"/>
                    <a:pt x="1054" y="2438"/>
                  </a:cubicBezTo>
                  <a:cubicBezTo>
                    <a:pt x="1205" y="2408"/>
                    <a:pt x="1144" y="2258"/>
                    <a:pt x="1265" y="2138"/>
                  </a:cubicBezTo>
                  <a:cubicBezTo>
                    <a:pt x="1385" y="2017"/>
                    <a:pt x="1475" y="1867"/>
                    <a:pt x="1506" y="1686"/>
                  </a:cubicBezTo>
                  <a:lnTo>
                    <a:pt x="1566" y="1686"/>
                  </a:lnTo>
                  <a:cubicBezTo>
                    <a:pt x="1295" y="1536"/>
                    <a:pt x="1144" y="1385"/>
                    <a:pt x="1114" y="1205"/>
                  </a:cubicBezTo>
                  <a:cubicBezTo>
                    <a:pt x="1054" y="934"/>
                    <a:pt x="1084" y="633"/>
                    <a:pt x="1175" y="362"/>
                  </a:cubicBezTo>
                  <a:cubicBezTo>
                    <a:pt x="964" y="242"/>
                    <a:pt x="723" y="91"/>
                    <a:pt x="512"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34" name="Google Shape;2928;p123">
              <a:extLst>
                <a:ext uri="{FF2B5EF4-FFF2-40B4-BE49-F238E27FC236}">
                  <a16:creationId xmlns:a16="http://schemas.microsoft.com/office/drawing/2014/main" id="{DF69D667-A5BA-F14A-B025-A6A9EAD1287A}"/>
                </a:ext>
              </a:extLst>
            </p:cNvPr>
            <p:cNvSpPr/>
            <p:nvPr/>
          </p:nvSpPr>
          <p:spPr>
            <a:xfrm>
              <a:off x="4501114" y="1950162"/>
              <a:ext cx="182117" cy="82185"/>
            </a:xfrm>
            <a:custGeom>
              <a:avLst/>
              <a:gdLst/>
              <a:ahLst/>
              <a:cxnLst/>
              <a:rect l="l" t="t" r="r" b="b"/>
              <a:pathLst>
                <a:path w="5870" h="2649" extrusionOk="0">
                  <a:moveTo>
                    <a:pt x="4214" y="1"/>
                  </a:moveTo>
                  <a:cubicBezTo>
                    <a:pt x="4184" y="151"/>
                    <a:pt x="4154" y="271"/>
                    <a:pt x="4094" y="392"/>
                  </a:cubicBezTo>
                  <a:cubicBezTo>
                    <a:pt x="4067" y="446"/>
                    <a:pt x="3971" y="464"/>
                    <a:pt x="3856" y="464"/>
                  </a:cubicBezTo>
                  <a:cubicBezTo>
                    <a:pt x="3716" y="464"/>
                    <a:pt x="3547" y="438"/>
                    <a:pt x="3432" y="422"/>
                  </a:cubicBezTo>
                  <a:cubicBezTo>
                    <a:pt x="3414" y="420"/>
                    <a:pt x="3396" y="419"/>
                    <a:pt x="3379" y="419"/>
                  </a:cubicBezTo>
                  <a:cubicBezTo>
                    <a:pt x="3165" y="419"/>
                    <a:pt x="3008" y="581"/>
                    <a:pt x="2980" y="693"/>
                  </a:cubicBezTo>
                  <a:cubicBezTo>
                    <a:pt x="2950" y="783"/>
                    <a:pt x="2559" y="753"/>
                    <a:pt x="2679" y="1204"/>
                  </a:cubicBezTo>
                  <a:cubicBezTo>
                    <a:pt x="2744" y="1445"/>
                    <a:pt x="2688" y="1506"/>
                    <a:pt x="2599" y="1506"/>
                  </a:cubicBezTo>
                  <a:cubicBezTo>
                    <a:pt x="2522" y="1506"/>
                    <a:pt x="2419" y="1459"/>
                    <a:pt x="2348" y="1445"/>
                  </a:cubicBezTo>
                  <a:cubicBezTo>
                    <a:pt x="2271" y="1430"/>
                    <a:pt x="2195" y="1422"/>
                    <a:pt x="2121" y="1422"/>
                  </a:cubicBezTo>
                  <a:cubicBezTo>
                    <a:pt x="1909" y="1422"/>
                    <a:pt x="1714" y="1484"/>
                    <a:pt x="1536" y="1596"/>
                  </a:cubicBezTo>
                  <a:cubicBezTo>
                    <a:pt x="1471" y="1660"/>
                    <a:pt x="1390" y="1690"/>
                    <a:pt x="1304" y="1690"/>
                  </a:cubicBezTo>
                  <a:cubicBezTo>
                    <a:pt x="1231" y="1690"/>
                    <a:pt x="1154" y="1668"/>
                    <a:pt x="1084" y="1626"/>
                  </a:cubicBezTo>
                  <a:cubicBezTo>
                    <a:pt x="1025" y="1590"/>
                    <a:pt x="956" y="1573"/>
                    <a:pt x="887" y="1573"/>
                  </a:cubicBezTo>
                  <a:cubicBezTo>
                    <a:pt x="782" y="1573"/>
                    <a:pt x="676" y="1613"/>
                    <a:pt x="603" y="1686"/>
                  </a:cubicBezTo>
                  <a:cubicBezTo>
                    <a:pt x="579" y="1716"/>
                    <a:pt x="552" y="1728"/>
                    <a:pt x="524" y="1728"/>
                  </a:cubicBezTo>
                  <a:cubicBezTo>
                    <a:pt x="411" y="1728"/>
                    <a:pt x="272" y="1535"/>
                    <a:pt x="151" y="1535"/>
                  </a:cubicBezTo>
                  <a:cubicBezTo>
                    <a:pt x="1" y="1535"/>
                    <a:pt x="91" y="1927"/>
                    <a:pt x="91" y="1987"/>
                  </a:cubicBezTo>
                  <a:cubicBezTo>
                    <a:pt x="91" y="2065"/>
                    <a:pt x="248" y="2209"/>
                    <a:pt x="387" y="2209"/>
                  </a:cubicBezTo>
                  <a:cubicBezTo>
                    <a:pt x="410" y="2209"/>
                    <a:pt x="432" y="2206"/>
                    <a:pt x="452" y="2197"/>
                  </a:cubicBezTo>
                  <a:cubicBezTo>
                    <a:pt x="503" y="2181"/>
                    <a:pt x="556" y="2173"/>
                    <a:pt x="609" y="2173"/>
                  </a:cubicBezTo>
                  <a:cubicBezTo>
                    <a:pt x="746" y="2173"/>
                    <a:pt x="886" y="2223"/>
                    <a:pt x="994" y="2288"/>
                  </a:cubicBezTo>
                  <a:cubicBezTo>
                    <a:pt x="1014" y="2307"/>
                    <a:pt x="1042" y="2316"/>
                    <a:pt x="1075" y="2316"/>
                  </a:cubicBezTo>
                  <a:cubicBezTo>
                    <a:pt x="1195" y="2316"/>
                    <a:pt x="1381" y="2208"/>
                    <a:pt x="1476" y="2137"/>
                  </a:cubicBezTo>
                  <a:cubicBezTo>
                    <a:pt x="1596" y="2077"/>
                    <a:pt x="2047" y="2047"/>
                    <a:pt x="2078" y="2047"/>
                  </a:cubicBezTo>
                  <a:cubicBezTo>
                    <a:pt x="2108" y="2047"/>
                    <a:pt x="2138" y="2348"/>
                    <a:pt x="2258" y="2378"/>
                  </a:cubicBezTo>
                  <a:cubicBezTo>
                    <a:pt x="2499" y="2468"/>
                    <a:pt x="2740" y="2498"/>
                    <a:pt x="2980" y="2498"/>
                  </a:cubicBezTo>
                  <a:lnTo>
                    <a:pt x="3853" y="2649"/>
                  </a:lnTo>
                  <a:cubicBezTo>
                    <a:pt x="4004" y="2649"/>
                    <a:pt x="4214" y="2408"/>
                    <a:pt x="4515" y="2408"/>
                  </a:cubicBezTo>
                  <a:cubicBezTo>
                    <a:pt x="4726" y="2408"/>
                    <a:pt x="4906" y="2348"/>
                    <a:pt x="5087" y="2228"/>
                  </a:cubicBezTo>
                  <a:cubicBezTo>
                    <a:pt x="5087" y="2137"/>
                    <a:pt x="5117" y="2047"/>
                    <a:pt x="5207" y="2047"/>
                  </a:cubicBezTo>
                  <a:cubicBezTo>
                    <a:pt x="5268" y="2047"/>
                    <a:pt x="5237" y="1806"/>
                    <a:pt x="5358" y="1686"/>
                  </a:cubicBezTo>
                  <a:cubicBezTo>
                    <a:pt x="5443" y="1601"/>
                    <a:pt x="5288" y="1382"/>
                    <a:pt x="5395" y="1382"/>
                  </a:cubicBezTo>
                  <a:cubicBezTo>
                    <a:pt x="5402" y="1382"/>
                    <a:pt x="5409" y="1383"/>
                    <a:pt x="5418" y="1385"/>
                  </a:cubicBezTo>
                  <a:cubicBezTo>
                    <a:pt x="5466" y="1404"/>
                    <a:pt x="5518" y="1417"/>
                    <a:pt x="5565" y="1417"/>
                  </a:cubicBezTo>
                  <a:cubicBezTo>
                    <a:pt x="5666" y="1417"/>
                    <a:pt x="5749" y="1358"/>
                    <a:pt x="5749" y="1174"/>
                  </a:cubicBezTo>
                  <a:cubicBezTo>
                    <a:pt x="5749" y="1084"/>
                    <a:pt x="5809" y="1024"/>
                    <a:pt x="5869" y="994"/>
                  </a:cubicBezTo>
                  <a:cubicBezTo>
                    <a:pt x="5749" y="783"/>
                    <a:pt x="5629" y="542"/>
                    <a:pt x="5569" y="301"/>
                  </a:cubicBezTo>
                  <a:cubicBezTo>
                    <a:pt x="5569" y="301"/>
                    <a:pt x="5423" y="354"/>
                    <a:pt x="5266" y="354"/>
                  </a:cubicBezTo>
                  <a:cubicBezTo>
                    <a:pt x="5156" y="354"/>
                    <a:pt x="5041" y="328"/>
                    <a:pt x="4967" y="241"/>
                  </a:cubicBezTo>
                  <a:cubicBezTo>
                    <a:pt x="4756" y="91"/>
                    <a:pt x="4485" y="1"/>
                    <a:pt x="4214"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35" name="Google Shape;2929;p123">
              <a:extLst>
                <a:ext uri="{FF2B5EF4-FFF2-40B4-BE49-F238E27FC236}">
                  <a16:creationId xmlns:a16="http://schemas.microsoft.com/office/drawing/2014/main" id="{043DEA94-116E-7546-8819-537E11AAC6CE}"/>
                </a:ext>
              </a:extLst>
            </p:cNvPr>
            <p:cNvSpPr/>
            <p:nvPr/>
          </p:nvSpPr>
          <p:spPr>
            <a:xfrm>
              <a:off x="4657976" y="1962262"/>
              <a:ext cx="160647" cy="88545"/>
            </a:xfrm>
            <a:custGeom>
              <a:avLst/>
              <a:gdLst/>
              <a:ahLst/>
              <a:cxnLst/>
              <a:rect l="l" t="t" r="r" b="b"/>
              <a:pathLst>
                <a:path w="5178" h="2854" extrusionOk="0">
                  <a:moveTo>
                    <a:pt x="3545" y="0"/>
                  </a:moveTo>
                  <a:cubicBezTo>
                    <a:pt x="3463" y="0"/>
                    <a:pt x="3006" y="453"/>
                    <a:pt x="2860" y="453"/>
                  </a:cubicBezTo>
                  <a:cubicBezTo>
                    <a:pt x="2709" y="453"/>
                    <a:pt x="1987" y="513"/>
                    <a:pt x="1987" y="694"/>
                  </a:cubicBezTo>
                  <a:cubicBezTo>
                    <a:pt x="1987" y="803"/>
                    <a:pt x="1762" y="863"/>
                    <a:pt x="1516" y="863"/>
                  </a:cubicBezTo>
                  <a:cubicBezTo>
                    <a:pt x="1285" y="863"/>
                    <a:pt x="1036" y="810"/>
                    <a:pt x="934" y="694"/>
                  </a:cubicBezTo>
                  <a:lnTo>
                    <a:pt x="813" y="604"/>
                  </a:lnTo>
                  <a:cubicBezTo>
                    <a:pt x="753" y="634"/>
                    <a:pt x="693" y="694"/>
                    <a:pt x="693" y="784"/>
                  </a:cubicBezTo>
                  <a:cubicBezTo>
                    <a:pt x="693" y="972"/>
                    <a:pt x="607" y="1001"/>
                    <a:pt x="503" y="1001"/>
                  </a:cubicBezTo>
                  <a:cubicBezTo>
                    <a:pt x="457" y="1001"/>
                    <a:pt x="408" y="995"/>
                    <a:pt x="362" y="995"/>
                  </a:cubicBezTo>
                  <a:cubicBezTo>
                    <a:pt x="212" y="995"/>
                    <a:pt x="362" y="1206"/>
                    <a:pt x="302" y="1296"/>
                  </a:cubicBezTo>
                  <a:cubicBezTo>
                    <a:pt x="212" y="1416"/>
                    <a:pt x="302" y="1657"/>
                    <a:pt x="151" y="1657"/>
                  </a:cubicBezTo>
                  <a:cubicBezTo>
                    <a:pt x="1" y="1657"/>
                    <a:pt x="31" y="1747"/>
                    <a:pt x="31" y="1838"/>
                  </a:cubicBezTo>
                  <a:lnTo>
                    <a:pt x="212" y="2138"/>
                  </a:lnTo>
                  <a:lnTo>
                    <a:pt x="181" y="2138"/>
                  </a:lnTo>
                  <a:cubicBezTo>
                    <a:pt x="422" y="2259"/>
                    <a:pt x="663" y="2439"/>
                    <a:pt x="844" y="2650"/>
                  </a:cubicBezTo>
                  <a:cubicBezTo>
                    <a:pt x="1024" y="2786"/>
                    <a:pt x="1222" y="2853"/>
                    <a:pt x="1436" y="2853"/>
                  </a:cubicBezTo>
                  <a:cubicBezTo>
                    <a:pt x="1508" y="2853"/>
                    <a:pt x="1581" y="2846"/>
                    <a:pt x="1656" y="2831"/>
                  </a:cubicBezTo>
                  <a:lnTo>
                    <a:pt x="2770" y="2470"/>
                  </a:lnTo>
                  <a:lnTo>
                    <a:pt x="3101" y="2590"/>
                  </a:lnTo>
                  <a:lnTo>
                    <a:pt x="3341" y="2590"/>
                  </a:lnTo>
                  <a:cubicBezTo>
                    <a:pt x="3372" y="2530"/>
                    <a:pt x="3612" y="2470"/>
                    <a:pt x="3793" y="2259"/>
                  </a:cubicBezTo>
                  <a:cubicBezTo>
                    <a:pt x="3973" y="2018"/>
                    <a:pt x="4395" y="1115"/>
                    <a:pt x="4515" y="1055"/>
                  </a:cubicBezTo>
                  <a:lnTo>
                    <a:pt x="5027" y="754"/>
                  </a:lnTo>
                  <a:cubicBezTo>
                    <a:pt x="5177" y="664"/>
                    <a:pt x="5147" y="574"/>
                    <a:pt x="4997" y="513"/>
                  </a:cubicBezTo>
                  <a:lnTo>
                    <a:pt x="4816" y="393"/>
                  </a:lnTo>
                  <a:cubicBezTo>
                    <a:pt x="4575" y="333"/>
                    <a:pt x="4365" y="303"/>
                    <a:pt x="4304" y="212"/>
                  </a:cubicBezTo>
                  <a:cubicBezTo>
                    <a:pt x="4094" y="92"/>
                    <a:pt x="3823" y="2"/>
                    <a:pt x="3552" y="2"/>
                  </a:cubicBezTo>
                  <a:cubicBezTo>
                    <a:pt x="3550" y="1"/>
                    <a:pt x="3548" y="0"/>
                    <a:pt x="3545"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36" name="Google Shape;2930;p123">
              <a:extLst>
                <a:ext uri="{FF2B5EF4-FFF2-40B4-BE49-F238E27FC236}">
                  <a16:creationId xmlns:a16="http://schemas.microsoft.com/office/drawing/2014/main" id="{4AC9E908-C739-1F48-BF01-D97BBD3811FB}"/>
                </a:ext>
              </a:extLst>
            </p:cNvPr>
            <p:cNvSpPr/>
            <p:nvPr/>
          </p:nvSpPr>
          <p:spPr>
            <a:xfrm>
              <a:off x="4563691" y="1886685"/>
              <a:ext cx="156893" cy="77500"/>
            </a:xfrm>
            <a:custGeom>
              <a:avLst/>
              <a:gdLst/>
              <a:ahLst/>
              <a:cxnLst/>
              <a:rect l="l" t="t" r="r" b="b"/>
              <a:pathLst>
                <a:path w="5057" h="2498" extrusionOk="0">
                  <a:moveTo>
                    <a:pt x="2197" y="0"/>
                  </a:moveTo>
                  <a:cubicBezTo>
                    <a:pt x="2197" y="30"/>
                    <a:pt x="2167" y="30"/>
                    <a:pt x="2167" y="60"/>
                  </a:cubicBezTo>
                  <a:cubicBezTo>
                    <a:pt x="2167" y="65"/>
                    <a:pt x="2160" y="67"/>
                    <a:pt x="2147" y="67"/>
                  </a:cubicBezTo>
                  <a:cubicBezTo>
                    <a:pt x="2107" y="67"/>
                    <a:pt x="2013" y="49"/>
                    <a:pt x="1921" y="49"/>
                  </a:cubicBezTo>
                  <a:cubicBezTo>
                    <a:pt x="1854" y="49"/>
                    <a:pt x="1789" y="58"/>
                    <a:pt x="1746" y="90"/>
                  </a:cubicBezTo>
                  <a:cubicBezTo>
                    <a:pt x="1505" y="181"/>
                    <a:pt x="1294" y="271"/>
                    <a:pt x="1084" y="361"/>
                  </a:cubicBezTo>
                  <a:cubicBezTo>
                    <a:pt x="843" y="542"/>
                    <a:pt x="572" y="632"/>
                    <a:pt x="271" y="692"/>
                  </a:cubicBezTo>
                  <a:cubicBezTo>
                    <a:pt x="0" y="752"/>
                    <a:pt x="241" y="963"/>
                    <a:pt x="331" y="1114"/>
                  </a:cubicBezTo>
                  <a:cubicBezTo>
                    <a:pt x="392" y="1264"/>
                    <a:pt x="392" y="1685"/>
                    <a:pt x="572" y="1806"/>
                  </a:cubicBezTo>
                  <a:cubicBezTo>
                    <a:pt x="873" y="1956"/>
                    <a:pt x="1144" y="2167"/>
                    <a:pt x="1415" y="2408"/>
                  </a:cubicBezTo>
                  <a:lnTo>
                    <a:pt x="1415" y="2468"/>
                  </a:lnTo>
                  <a:cubicBezTo>
                    <a:pt x="1520" y="2483"/>
                    <a:pt x="1671" y="2498"/>
                    <a:pt x="1802" y="2498"/>
                  </a:cubicBezTo>
                  <a:cubicBezTo>
                    <a:pt x="1934" y="2498"/>
                    <a:pt x="2047" y="2483"/>
                    <a:pt x="2077" y="2438"/>
                  </a:cubicBezTo>
                  <a:cubicBezTo>
                    <a:pt x="2137" y="2317"/>
                    <a:pt x="2167" y="2197"/>
                    <a:pt x="2197" y="2047"/>
                  </a:cubicBezTo>
                  <a:cubicBezTo>
                    <a:pt x="2468" y="2047"/>
                    <a:pt x="2739" y="2137"/>
                    <a:pt x="2950" y="2287"/>
                  </a:cubicBezTo>
                  <a:cubicBezTo>
                    <a:pt x="3024" y="2374"/>
                    <a:pt x="3139" y="2400"/>
                    <a:pt x="3249" y="2400"/>
                  </a:cubicBezTo>
                  <a:cubicBezTo>
                    <a:pt x="3406" y="2400"/>
                    <a:pt x="3552" y="2347"/>
                    <a:pt x="3552" y="2347"/>
                  </a:cubicBezTo>
                  <a:cubicBezTo>
                    <a:pt x="3552" y="2408"/>
                    <a:pt x="3552" y="2468"/>
                    <a:pt x="3582" y="2498"/>
                  </a:cubicBezTo>
                  <a:cubicBezTo>
                    <a:pt x="3672" y="2378"/>
                    <a:pt x="3732" y="2287"/>
                    <a:pt x="3822" y="2287"/>
                  </a:cubicBezTo>
                  <a:cubicBezTo>
                    <a:pt x="4093" y="2257"/>
                    <a:pt x="4394" y="2137"/>
                    <a:pt x="4575" y="1896"/>
                  </a:cubicBezTo>
                  <a:cubicBezTo>
                    <a:pt x="4695" y="1715"/>
                    <a:pt x="4846" y="1595"/>
                    <a:pt x="5056" y="1535"/>
                  </a:cubicBezTo>
                  <a:cubicBezTo>
                    <a:pt x="4936" y="1384"/>
                    <a:pt x="4876" y="1204"/>
                    <a:pt x="4785" y="1144"/>
                  </a:cubicBezTo>
                  <a:cubicBezTo>
                    <a:pt x="4635" y="1053"/>
                    <a:pt x="4274" y="1114"/>
                    <a:pt x="4274" y="993"/>
                  </a:cubicBezTo>
                  <a:cubicBezTo>
                    <a:pt x="4274" y="873"/>
                    <a:pt x="4184" y="692"/>
                    <a:pt x="4033" y="692"/>
                  </a:cubicBezTo>
                  <a:cubicBezTo>
                    <a:pt x="3966" y="692"/>
                    <a:pt x="3887" y="680"/>
                    <a:pt x="3813" y="680"/>
                  </a:cubicBezTo>
                  <a:cubicBezTo>
                    <a:pt x="3719" y="680"/>
                    <a:pt x="3632" y="699"/>
                    <a:pt x="3582" y="783"/>
                  </a:cubicBezTo>
                  <a:cubicBezTo>
                    <a:pt x="3565" y="823"/>
                    <a:pt x="3531" y="840"/>
                    <a:pt x="3490" y="840"/>
                  </a:cubicBezTo>
                  <a:cubicBezTo>
                    <a:pt x="3378" y="840"/>
                    <a:pt x="3212" y="720"/>
                    <a:pt x="3190" y="632"/>
                  </a:cubicBezTo>
                  <a:cubicBezTo>
                    <a:pt x="3130" y="512"/>
                    <a:pt x="3040" y="361"/>
                    <a:pt x="2649" y="241"/>
                  </a:cubicBezTo>
                  <a:cubicBezTo>
                    <a:pt x="2468" y="181"/>
                    <a:pt x="2318" y="90"/>
                    <a:pt x="2197"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37" name="Google Shape;2931;p123">
              <a:extLst>
                <a:ext uri="{FF2B5EF4-FFF2-40B4-BE49-F238E27FC236}">
                  <a16:creationId xmlns:a16="http://schemas.microsoft.com/office/drawing/2014/main" id="{C4318A5E-6AD6-7C48-BA62-7B8C980778D8}"/>
                </a:ext>
              </a:extLst>
            </p:cNvPr>
            <p:cNvSpPr/>
            <p:nvPr/>
          </p:nvSpPr>
          <p:spPr>
            <a:xfrm>
              <a:off x="4674792" y="1934277"/>
              <a:ext cx="138216" cy="54790"/>
            </a:xfrm>
            <a:custGeom>
              <a:avLst/>
              <a:gdLst/>
              <a:ahLst/>
              <a:cxnLst/>
              <a:rect l="l" t="t" r="r" b="b"/>
              <a:pathLst>
                <a:path w="4455" h="1766" extrusionOk="0">
                  <a:moveTo>
                    <a:pt x="1475" y="1"/>
                  </a:moveTo>
                  <a:cubicBezTo>
                    <a:pt x="1265" y="61"/>
                    <a:pt x="1114" y="181"/>
                    <a:pt x="994" y="362"/>
                  </a:cubicBezTo>
                  <a:cubicBezTo>
                    <a:pt x="813" y="603"/>
                    <a:pt x="512" y="723"/>
                    <a:pt x="241" y="753"/>
                  </a:cubicBezTo>
                  <a:cubicBezTo>
                    <a:pt x="151" y="753"/>
                    <a:pt x="91" y="874"/>
                    <a:pt x="1" y="964"/>
                  </a:cubicBezTo>
                  <a:cubicBezTo>
                    <a:pt x="91" y="1205"/>
                    <a:pt x="211" y="1415"/>
                    <a:pt x="392" y="1596"/>
                  </a:cubicBezTo>
                  <a:cubicBezTo>
                    <a:pt x="494" y="1712"/>
                    <a:pt x="743" y="1765"/>
                    <a:pt x="974" y="1765"/>
                  </a:cubicBezTo>
                  <a:cubicBezTo>
                    <a:pt x="1220" y="1765"/>
                    <a:pt x="1445" y="1705"/>
                    <a:pt x="1445" y="1596"/>
                  </a:cubicBezTo>
                  <a:cubicBezTo>
                    <a:pt x="1445" y="1415"/>
                    <a:pt x="2137" y="1355"/>
                    <a:pt x="2318" y="1355"/>
                  </a:cubicBezTo>
                  <a:cubicBezTo>
                    <a:pt x="2460" y="1355"/>
                    <a:pt x="2897" y="899"/>
                    <a:pt x="2996" y="899"/>
                  </a:cubicBezTo>
                  <a:cubicBezTo>
                    <a:pt x="3002" y="899"/>
                    <a:pt x="3007" y="900"/>
                    <a:pt x="3010" y="904"/>
                  </a:cubicBezTo>
                  <a:cubicBezTo>
                    <a:pt x="3281" y="904"/>
                    <a:pt x="3552" y="994"/>
                    <a:pt x="3762" y="1114"/>
                  </a:cubicBezTo>
                  <a:cubicBezTo>
                    <a:pt x="3823" y="1205"/>
                    <a:pt x="4033" y="1235"/>
                    <a:pt x="4274" y="1295"/>
                  </a:cubicBezTo>
                  <a:cubicBezTo>
                    <a:pt x="4154" y="1235"/>
                    <a:pt x="4124" y="1114"/>
                    <a:pt x="4124" y="994"/>
                  </a:cubicBezTo>
                  <a:cubicBezTo>
                    <a:pt x="4184" y="813"/>
                    <a:pt x="4304" y="603"/>
                    <a:pt x="4455" y="452"/>
                  </a:cubicBezTo>
                  <a:lnTo>
                    <a:pt x="4003" y="332"/>
                  </a:lnTo>
                  <a:cubicBezTo>
                    <a:pt x="3828" y="207"/>
                    <a:pt x="3631" y="144"/>
                    <a:pt x="3431" y="144"/>
                  </a:cubicBezTo>
                  <a:cubicBezTo>
                    <a:pt x="3391" y="144"/>
                    <a:pt x="3351" y="146"/>
                    <a:pt x="3311" y="151"/>
                  </a:cubicBezTo>
                  <a:cubicBezTo>
                    <a:pt x="3289" y="154"/>
                    <a:pt x="3267" y="155"/>
                    <a:pt x="3246" y="155"/>
                  </a:cubicBezTo>
                  <a:cubicBezTo>
                    <a:pt x="3095" y="155"/>
                    <a:pt x="2978" y="92"/>
                    <a:pt x="2850" y="92"/>
                  </a:cubicBezTo>
                  <a:cubicBezTo>
                    <a:pt x="2805" y="92"/>
                    <a:pt x="2759" y="100"/>
                    <a:pt x="2709" y="121"/>
                  </a:cubicBezTo>
                  <a:cubicBezTo>
                    <a:pt x="2639" y="131"/>
                    <a:pt x="2565" y="138"/>
                    <a:pt x="2491" y="138"/>
                  </a:cubicBezTo>
                  <a:cubicBezTo>
                    <a:pt x="2341" y="138"/>
                    <a:pt x="2187" y="111"/>
                    <a:pt x="2047" y="31"/>
                  </a:cubicBezTo>
                  <a:cubicBezTo>
                    <a:pt x="2028" y="23"/>
                    <a:pt x="2008" y="20"/>
                    <a:pt x="1988" y="20"/>
                  </a:cubicBezTo>
                  <a:cubicBezTo>
                    <a:pt x="1892" y="20"/>
                    <a:pt x="1793" y="99"/>
                    <a:pt x="1686" y="99"/>
                  </a:cubicBezTo>
                  <a:cubicBezTo>
                    <a:pt x="1647" y="99"/>
                    <a:pt x="1607" y="89"/>
                    <a:pt x="1566" y="61"/>
                  </a:cubicBezTo>
                  <a:lnTo>
                    <a:pt x="1475" y="1"/>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38" name="Google Shape;2932;p123">
              <a:extLst>
                <a:ext uri="{FF2B5EF4-FFF2-40B4-BE49-F238E27FC236}">
                  <a16:creationId xmlns:a16="http://schemas.microsoft.com/office/drawing/2014/main" id="{BD2BD85A-866B-7F44-9902-D80EE72F37C2}"/>
                </a:ext>
              </a:extLst>
            </p:cNvPr>
            <p:cNvSpPr/>
            <p:nvPr/>
          </p:nvSpPr>
          <p:spPr>
            <a:xfrm>
              <a:off x="4022150" y="2164327"/>
              <a:ext cx="92454" cy="150533"/>
            </a:xfrm>
            <a:custGeom>
              <a:avLst/>
              <a:gdLst/>
              <a:ahLst/>
              <a:cxnLst/>
              <a:rect l="l" t="t" r="r" b="b"/>
              <a:pathLst>
                <a:path w="2980" h="4852" extrusionOk="0">
                  <a:moveTo>
                    <a:pt x="1197" y="0"/>
                  </a:moveTo>
                  <a:cubicBezTo>
                    <a:pt x="1145" y="0"/>
                    <a:pt x="1081" y="38"/>
                    <a:pt x="1024" y="110"/>
                  </a:cubicBezTo>
                  <a:lnTo>
                    <a:pt x="813" y="230"/>
                  </a:lnTo>
                  <a:cubicBezTo>
                    <a:pt x="753" y="380"/>
                    <a:pt x="753" y="561"/>
                    <a:pt x="813" y="742"/>
                  </a:cubicBezTo>
                  <a:cubicBezTo>
                    <a:pt x="993" y="1012"/>
                    <a:pt x="602" y="2276"/>
                    <a:pt x="301" y="2638"/>
                  </a:cubicBezTo>
                  <a:cubicBezTo>
                    <a:pt x="0" y="2969"/>
                    <a:pt x="301" y="3089"/>
                    <a:pt x="602" y="3330"/>
                  </a:cubicBezTo>
                  <a:cubicBezTo>
                    <a:pt x="903" y="3601"/>
                    <a:pt x="723" y="4473"/>
                    <a:pt x="723" y="4684"/>
                  </a:cubicBezTo>
                  <a:cubicBezTo>
                    <a:pt x="723" y="4822"/>
                    <a:pt x="821" y="4851"/>
                    <a:pt x="961" y="4851"/>
                  </a:cubicBezTo>
                  <a:cubicBezTo>
                    <a:pt x="1067" y="4851"/>
                    <a:pt x="1196" y="4834"/>
                    <a:pt x="1325" y="4834"/>
                  </a:cubicBezTo>
                  <a:cubicBezTo>
                    <a:pt x="1535" y="4804"/>
                    <a:pt x="1776" y="4774"/>
                    <a:pt x="1987" y="4684"/>
                  </a:cubicBezTo>
                  <a:cubicBezTo>
                    <a:pt x="1926" y="4624"/>
                    <a:pt x="1866" y="4533"/>
                    <a:pt x="1866" y="4443"/>
                  </a:cubicBezTo>
                  <a:cubicBezTo>
                    <a:pt x="1866" y="4293"/>
                    <a:pt x="1866" y="4022"/>
                    <a:pt x="2197" y="3992"/>
                  </a:cubicBezTo>
                  <a:cubicBezTo>
                    <a:pt x="2498" y="3902"/>
                    <a:pt x="2077" y="3631"/>
                    <a:pt x="2017" y="3570"/>
                  </a:cubicBezTo>
                  <a:cubicBezTo>
                    <a:pt x="1926" y="3480"/>
                    <a:pt x="2047" y="3149"/>
                    <a:pt x="2197" y="3149"/>
                  </a:cubicBezTo>
                  <a:cubicBezTo>
                    <a:pt x="2348" y="3149"/>
                    <a:pt x="2197" y="2938"/>
                    <a:pt x="1987" y="2698"/>
                  </a:cubicBezTo>
                  <a:cubicBezTo>
                    <a:pt x="1746" y="2487"/>
                    <a:pt x="1987" y="2397"/>
                    <a:pt x="2197" y="2397"/>
                  </a:cubicBezTo>
                  <a:cubicBezTo>
                    <a:pt x="2438" y="2397"/>
                    <a:pt x="2137" y="2066"/>
                    <a:pt x="2318" y="1885"/>
                  </a:cubicBezTo>
                  <a:cubicBezTo>
                    <a:pt x="2498" y="1675"/>
                    <a:pt x="2288" y="1283"/>
                    <a:pt x="2288" y="1133"/>
                  </a:cubicBezTo>
                  <a:cubicBezTo>
                    <a:pt x="2288" y="982"/>
                    <a:pt x="2528" y="892"/>
                    <a:pt x="2769" y="681"/>
                  </a:cubicBezTo>
                  <a:cubicBezTo>
                    <a:pt x="2980" y="441"/>
                    <a:pt x="2589" y="531"/>
                    <a:pt x="2589" y="320"/>
                  </a:cubicBezTo>
                  <a:cubicBezTo>
                    <a:pt x="2589" y="218"/>
                    <a:pt x="2501" y="164"/>
                    <a:pt x="2382" y="164"/>
                  </a:cubicBezTo>
                  <a:cubicBezTo>
                    <a:pt x="2291" y="164"/>
                    <a:pt x="2181" y="195"/>
                    <a:pt x="2077" y="260"/>
                  </a:cubicBezTo>
                  <a:cubicBezTo>
                    <a:pt x="2007" y="310"/>
                    <a:pt x="1973" y="327"/>
                    <a:pt x="1952" y="327"/>
                  </a:cubicBezTo>
                  <a:cubicBezTo>
                    <a:pt x="1910" y="327"/>
                    <a:pt x="1916" y="260"/>
                    <a:pt x="1776" y="260"/>
                  </a:cubicBezTo>
                  <a:cubicBezTo>
                    <a:pt x="1704" y="260"/>
                    <a:pt x="1612" y="270"/>
                    <a:pt x="1528" y="270"/>
                  </a:cubicBezTo>
                  <a:cubicBezTo>
                    <a:pt x="1403" y="270"/>
                    <a:pt x="1294" y="248"/>
                    <a:pt x="1294" y="140"/>
                  </a:cubicBezTo>
                  <a:cubicBezTo>
                    <a:pt x="1294" y="45"/>
                    <a:pt x="1253" y="0"/>
                    <a:pt x="1197"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39" name="Google Shape;2933;p123">
              <a:extLst>
                <a:ext uri="{FF2B5EF4-FFF2-40B4-BE49-F238E27FC236}">
                  <a16:creationId xmlns:a16="http://schemas.microsoft.com/office/drawing/2014/main" id="{E00788F9-8973-0849-A954-B3649CEA646B}"/>
                </a:ext>
              </a:extLst>
            </p:cNvPr>
            <p:cNvSpPr/>
            <p:nvPr/>
          </p:nvSpPr>
          <p:spPr>
            <a:xfrm>
              <a:off x="4343321" y="1804562"/>
              <a:ext cx="105547" cy="88669"/>
            </a:xfrm>
            <a:custGeom>
              <a:avLst/>
              <a:gdLst/>
              <a:ahLst/>
              <a:cxnLst/>
              <a:rect l="l" t="t" r="r" b="b"/>
              <a:pathLst>
                <a:path w="3402" h="2858" extrusionOk="0">
                  <a:moveTo>
                    <a:pt x="3122" y="1"/>
                  </a:moveTo>
                  <a:cubicBezTo>
                    <a:pt x="3094" y="1"/>
                    <a:pt x="3071" y="151"/>
                    <a:pt x="2996" y="151"/>
                  </a:cubicBezTo>
                  <a:cubicBezTo>
                    <a:pt x="2991" y="151"/>
                    <a:pt x="2986" y="151"/>
                    <a:pt x="2980" y="149"/>
                  </a:cubicBezTo>
                  <a:cubicBezTo>
                    <a:pt x="2920" y="134"/>
                    <a:pt x="2807" y="127"/>
                    <a:pt x="2668" y="127"/>
                  </a:cubicBezTo>
                  <a:cubicBezTo>
                    <a:pt x="2529" y="127"/>
                    <a:pt x="2363" y="134"/>
                    <a:pt x="2198" y="149"/>
                  </a:cubicBezTo>
                  <a:cubicBezTo>
                    <a:pt x="1837" y="179"/>
                    <a:pt x="1746" y="571"/>
                    <a:pt x="1867" y="721"/>
                  </a:cubicBezTo>
                  <a:cubicBezTo>
                    <a:pt x="1918" y="806"/>
                    <a:pt x="1795" y="862"/>
                    <a:pt x="1674" y="862"/>
                  </a:cubicBezTo>
                  <a:cubicBezTo>
                    <a:pt x="1581" y="862"/>
                    <a:pt x="1489" y="829"/>
                    <a:pt x="1476" y="751"/>
                  </a:cubicBezTo>
                  <a:cubicBezTo>
                    <a:pt x="1466" y="691"/>
                    <a:pt x="1422" y="664"/>
                    <a:pt x="1369" y="664"/>
                  </a:cubicBezTo>
                  <a:cubicBezTo>
                    <a:pt x="1262" y="664"/>
                    <a:pt x="1114" y="771"/>
                    <a:pt x="1114" y="932"/>
                  </a:cubicBezTo>
                  <a:cubicBezTo>
                    <a:pt x="1114" y="1203"/>
                    <a:pt x="723" y="1293"/>
                    <a:pt x="753" y="1594"/>
                  </a:cubicBezTo>
                  <a:cubicBezTo>
                    <a:pt x="814" y="1895"/>
                    <a:pt x="392" y="2135"/>
                    <a:pt x="121" y="2286"/>
                  </a:cubicBezTo>
                  <a:lnTo>
                    <a:pt x="1" y="2376"/>
                  </a:lnTo>
                  <a:lnTo>
                    <a:pt x="272" y="2497"/>
                  </a:lnTo>
                  <a:cubicBezTo>
                    <a:pt x="543" y="2467"/>
                    <a:pt x="814" y="2376"/>
                    <a:pt x="1024" y="2226"/>
                  </a:cubicBezTo>
                  <a:cubicBezTo>
                    <a:pt x="1100" y="2176"/>
                    <a:pt x="1180" y="2151"/>
                    <a:pt x="1259" y="2151"/>
                  </a:cubicBezTo>
                  <a:cubicBezTo>
                    <a:pt x="1370" y="2151"/>
                    <a:pt x="1478" y="2198"/>
                    <a:pt x="1566" y="2286"/>
                  </a:cubicBezTo>
                  <a:cubicBezTo>
                    <a:pt x="1716" y="2436"/>
                    <a:pt x="1927" y="2497"/>
                    <a:pt x="2168" y="2707"/>
                  </a:cubicBezTo>
                  <a:lnTo>
                    <a:pt x="2318" y="2858"/>
                  </a:lnTo>
                  <a:cubicBezTo>
                    <a:pt x="2318" y="2647"/>
                    <a:pt x="2348" y="2436"/>
                    <a:pt x="2409" y="2226"/>
                  </a:cubicBezTo>
                  <a:cubicBezTo>
                    <a:pt x="2469" y="2075"/>
                    <a:pt x="2348" y="1835"/>
                    <a:pt x="2469" y="1835"/>
                  </a:cubicBezTo>
                  <a:cubicBezTo>
                    <a:pt x="2559" y="1835"/>
                    <a:pt x="2920" y="1835"/>
                    <a:pt x="2920" y="1654"/>
                  </a:cubicBezTo>
                  <a:cubicBezTo>
                    <a:pt x="2920" y="1473"/>
                    <a:pt x="2980" y="1503"/>
                    <a:pt x="3071" y="1383"/>
                  </a:cubicBezTo>
                  <a:cubicBezTo>
                    <a:pt x="3131" y="1293"/>
                    <a:pt x="2830" y="1052"/>
                    <a:pt x="2800" y="992"/>
                  </a:cubicBezTo>
                  <a:cubicBezTo>
                    <a:pt x="2770" y="902"/>
                    <a:pt x="3010" y="872"/>
                    <a:pt x="3221" y="601"/>
                  </a:cubicBezTo>
                  <a:cubicBezTo>
                    <a:pt x="3402" y="330"/>
                    <a:pt x="3251" y="300"/>
                    <a:pt x="3161" y="89"/>
                  </a:cubicBezTo>
                  <a:cubicBezTo>
                    <a:pt x="3145" y="24"/>
                    <a:pt x="3133" y="1"/>
                    <a:pt x="3122"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40" name="Google Shape;2934;p123">
              <a:extLst>
                <a:ext uri="{FF2B5EF4-FFF2-40B4-BE49-F238E27FC236}">
                  <a16:creationId xmlns:a16="http://schemas.microsoft.com/office/drawing/2014/main" id="{7D622E11-1B18-D44C-9840-338A1624DBA2}"/>
                </a:ext>
              </a:extLst>
            </p:cNvPr>
            <p:cNvSpPr/>
            <p:nvPr/>
          </p:nvSpPr>
          <p:spPr>
            <a:xfrm>
              <a:off x="4406829" y="1915631"/>
              <a:ext cx="17777" cy="23362"/>
            </a:xfrm>
            <a:custGeom>
              <a:avLst/>
              <a:gdLst/>
              <a:ahLst/>
              <a:cxnLst/>
              <a:rect l="l" t="t" r="r" b="b"/>
              <a:pathLst>
                <a:path w="573" h="753" extrusionOk="0">
                  <a:moveTo>
                    <a:pt x="301" y="0"/>
                  </a:moveTo>
                  <a:cubicBezTo>
                    <a:pt x="91" y="150"/>
                    <a:pt x="0" y="421"/>
                    <a:pt x="31" y="662"/>
                  </a:cubicBezTo>
                  <a:lnTo>
                    <a:pt x="572" y="752"/>
                  </a:lnTo>
                  <a:cubicBezTo>
                    <a:pt x="542" y="482"/>
                    <a:pt x="452" y="241"/>
                    <a:pt x="301" y="60"/>
                  </a:cubicBezTo>
                  <a:lnTo>
                    <a:pt x="301" y="0"/>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41" name="Google Shape;2935;p123">
              <a:extLst>
                <a:ext uri="{FF2B5EF4-FFF2-40B4-BE49-F238E27FC236}">
                  <a16:creationId xmlns:a16="http://schemas.microsoft.com/office/drawing/2014/main" id="{7094FD35-6D9A-1F46-A1A6-915D29D3FCE0}"/>
                </a:ext>
              </a:extLst>
            </p:cNvPr>
            <p:cNvSpPr/>
            <p:nvPr/>
          </p:nvSpPr>
          <p:spPr>
            <a:xfrm>
              <a:off x="4327467" y="1872289"/>
              <a:ext cx="94316" cy="65835"/>
            </a:xfrm>
            <a:custGeom>
              <a:avLst/>
              <a:gdLst/>
              <a:ahLst/>
              <a:cxnLst/>
              <a:rect l="l" t="t" r="r" b="b"/>
              <a:pathLst>
                <a:path w="3040" h="2122" extrusionOk="0">
                  <a:moveTo>
                    <a:pt x="1761" y="1"/>
                  </a:moveTo>
                  <a:cubicBezTo>
                    <a:pt x="1684" y="1"/>
                    <a:pt x="1607" y="25"/>
                    <a:pt x="1535" y="73"/>
                  </a:cubicBezTo>
                  <a:cubicBezTo>
                    <a:pt x="1325" y="223"/>
                    <a:pt x="1054" y="314"/>
                    <a:pt x="783" y="344"/>
                  </a:cubicBezTo>
                  <a:lnTo>
                    <a:pt x="512" y="223"/>
                  </a:lnTo>
                  <a:lnTo>
                    <a:pt x="0" y="464"/>
                  </a:lnTo>
                  <a:cubicBezTo>
                    <a:pt x="30" y="494"/>
                    <a:pt x="61" y="464"/>
                    <a:pt x="61" y="524"/>
                  </a:cubicBezTo>
                  <a:cubicBezTo>
                    <a:pt x="111" y="625"/>
                    <a:pt x="246" y="853"/>
                    <a:pt x="324" y="853"/>
                  </a:cubicBezTo>
                  <a:cubicBezTo>
                    <a:pt x="339" y="853"/>
                    <a:pt x="352" y="845"/>
                    <a:pt x="361" y="825"/>
                  </a:cubicBezTo>
                  <a:cubicBezTo>
                    <a:pt x="377" y="804"/>
                    <a:pt x="395" y="795"/>
                    <a:pt x="414" y="795"/>
                  </a:cubicBezTo>
                  <a:cubicBezTo>
                    <a:pt x="504" y="795"/>
                    <a:pt x="629" y="997"/>
                    <a:pt x="753" y="1096"/>
                  </a:cubicBezTo>
                  <a:cubicBezTo>
                    <a:pt x="933" y="1156"/>
                    <a:pt x="1114" y="1247"/>
                    <a:pt x="1264" y="1367"/>
                  </a:cubicBezTo>
                  <a:cubicBezTo>
                    <a:pt x="1264" y="1443"/>
                    <a:pt x="1307" y="1628"/>
                    <a:pt x="1430" y="1628"/>
                  </a:cubicBezTo>
                  <a:cubicBezTo>
                    <a:pt x="1452" y="1628"/>
                    <a:pt x="1477" y="1622"/>
                    <a:pt x="1505" y="1608"/>
                  </a:cubicBezTo>
                  <a:cubicBezTo>
                    <a:pt x="1644" y="1561"/>
                    <a:pt x="1765" y="1409"/>
                    <a:pt x="1813" y="1409"/>
                  </a:cubicBezTo>
                  <a:cubicBezTo>
                    <a:pt x="1828" y="1409"/>
                    <a:pt x="1836" y="1422"/>
                    <a:pt x="1836" y="1457"/>
                  </a:cubicBezTo>
                  <a:cubicBezTo>
                    <a:pt x="1836" y="1600"/>
                    <a:pt x="1863" y="1851"/>
                    <a:pt x="2046" y="1851"/>
                  </a:cubicBezTo>
                  <a:cubicBezTo>
                    <a:pt x="2056" y="1851"/>
                    <a:pt x="2066" y="1850"/>
                    <a:pt x="2077" y="1848"/>
                  </a:cubicBezTo>
                  <a:cubicBezTo>
                    <a:pt x="2085" y="1847"/>
                    <a:pt x="2092" y="1847"/>
                    <a:pt x="2100" y="1847"/>
                  </a:cubicBezTo>
                  <a:cubicBezTo>
                    <a:pt x="2253" y="1847"/>
                    <a:pt x="2292" y="2121"/>
                    <a:pt x="2445" y="2121"/>
                  </a:cubicBezTo>
                  <a:cubicBezTo>
                    <a:pt x="2453" y="2121"/>
                    <a:pt x="2460" y="2121"/>
                    <a:pt x="2468" y="2119"/>
                  </a:cubicBezTo>
                  <a:lnTo>
                    <a:pt x="2589" y="2119"/>
                  </a:lnTo>
                  <a:cubicBezTo>
                    <a:pt x="2558" y="1848"/>
                    <a:pt x="2649" y="1608"/>
                    <a:pt x="2859" y="1427"/>
                  </a:cubicBezTo>
                  <a:cubicBezTo>
                    <a:pt x="2920" y="1367"/>
                    <a:pt x="3010" y="1277"/>
                    <a:pt x="3040" y="1216"/>
                  </a:cubicBezTo>
                  <a:cubicBezTo>
                    <a:pt x="3040" y="1096"/>
                    <a:pt x="2769" y="855"/>
                    <a:pt x="2829" y="705"/>
                  </a:cubicBezTo>
                  <a:lnTo>
                    <a:pt x="2679" y="554"/>
                  </a:lnTo>
                  <a:cubicBezTo>
                    <a:pt x="2438" y="344"/>
                    <a:pt x="2227" y="314"/>
                    <a:pt x="2077" y="163"/>
                  </a:cubicBezTo>
                  <a:cubicBezTo>
                    <a:pt x="1987" y="55"/>
                    <a:pt x="1875" y="1"/>
                    <a:pt x="1761"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42" name="Google Shape;2936;p123">
              <a:extLst>
                <a:ext uri="{FF2B5EF4-FFF2-40B4-BE49-F238E27FC236}">
                  <a16:creationId xmlns:a16="http://schemas.microsoft.com/office/drawing/2014/main" id="{41F3B0F4-6655-7348-9FC2-4D1BCF714889}"/>
                </a:ext>
              </a:extLst>
            </p:cNvPr>
            <p:cNvSpPr/>
            <p:nvPr/>
          </p:nvSpPr>
          <p:spPr>
            <a:xfrm>
              <a:off x="4758839" y="1972562"/>
              <a:ext cx="223163" cy="141970"/>
            </a:xfrm>
            <a:custGeom>
              <a:avLst/>
              <a:gdLst/>
              <a:ahLst/>
              <a:cxnLst/>
              <a:rect l="l" t="t" r="r" b="b"/>
              <a:pathLst>
                <a:path w="7193" h="4576" extrusionOk="0">
                  <a:moveTo>
                    <a:pt x="5026" y="1"/>
                  </a:moveTo>
                  <a:cubicBezTo>
                    <a:pt x="4815" y="61"/>
                    <a:pt x="4665" y="121"/>
                    <a:pt x="4635" y="181"/>
                  </a:cubicBezTo>
                  <a:cubicBezTo>
                    <a:pt x="4514" y="332"/>
                    <a:pt x="4364" y="392"/>
                    <a:pt x="4183" y="422"/>
                  </a:cubicBezTo>
                  <a:cubicBezTo>
                    <a:pt x="4093" y="422"/>
                    <a:pt x="4003" y="390"/>
                    <a:pt x="3919" y="390"/>
                  </a:cubicBezTo>
                  <a:cubicBezTo>
                    <a:pt x="3863" y="390"/>
                    <a:pt x="3810" y="404"/>
                    <a:pt x="3762" y="452"/>
                  </a:cubicBezTo>
                  <a:cubicBezTo>
                    <a:pt x="3696" y="540"/>
                    <a:pt x="3598" y="596"/>
                    <a:pt x="3514" y="596"/>
                  </a:cubicBezTo>
                  <a:cubicBezTo>
                    <a:pt x="3484" y="596"/>
                    <a:pt x="3455" y="589"/>
                    <a:pt x="3431" y="573"/>
                  </a:cubicBezTo>
                  <a:cubicBezTo>
                    <a:pt x="3311" y="482"/>
                    <a:pt x="3130" y="422"/>
                    <a:pt x="2980" y="422"/>
                  </a:cubicBezTo>
                  <a:lnTo>
                    <a:pt x="2167" y="272"/>
                  </a:lnTo>
                  <a:lnTo>
                    <a:pt x="1866" y="272"/>
                  </a:lnTo>
                  <a:cubicBezTo>
                    <a:pt x="1896" y="302"/>
                    <a:pt x="1866" y="362"/>
                    <a:pt x="1776" y="452"/>
                  </a:cubicBezTo>
                  <a:lnTo>
                    <a:pt x="1264" y="753"/>
                  </a:lnTo>
                  <a:cubicBezTo>
                    <a:pt x="1144" y="813"/>
                    <a:pt x="813" y="1716"/>
                    <a:pt x="542" y="1957"/>
                  </a:cubicBezTo>
                  <a:cubicBezTo>
                    <a:pt x="271" y="2168"/>
                    <a:pt x="90" y="2258"/>
                    <a:pt x="60" y="2318"/>
                  </a:cubicBezTo>
                  <a:cubicBezTo>
                    <a:pt x="0" y="2408"/>
                    <a:pt x="361" y="2619"/>
                    <a:pt x="361" y="2770"/>
                  </a:cubicBezTo>
                  <a:cubicBezTo>
                    <a:pt x="361" y="2920"/>
                    <a:pt x="391" y="3070"/>
                    <a:pt x="602" y="3070"/>
                  </a:cubicBezTo>
                  <a:cubicBezTo>
                    <a:pt x="843" y="3070"/>
                    <a:pt x="572" y="3522"/>
                    <a:pt x="692" y="3582"/>
                  </a:cubicBezTo>
                  <a:cubicBezTo>
                    <a:pt x="813" y="3612"/>
                    <a:pt x="1595" y="3642"/>
                    <a:pt x="1595" y="3823"/>
                  </a:cubicBezTo>
                  <a:cubicBezTo>
                    <a:pt x="1595" y="4033"/>
                    <a:pt x="1655" y="4064"/>
                    <a:pt x="1625" y="4184"/>
                  </a:cubicBezTo>
                  <a:cubicBezTo>
                    <a:pt x="1597" y="4269"/>
                    <a:pt x="1969" y="4487"/>
                    <a:pt x="2063" y="4487"/>
                  </a:cubicBezTo>
                  <a:cubicBezTo>
                    <a:pt x="2068" y="4487"/>
                    <a:pt x="2073" y="4487"/>
                    <a:pt x="2077" y="4485"/>
                  </a:cubicBezTo>
                  <a:cubicBezTo>
                    <a:pt x="2092" y="4475"/>
                    <a:pt x="2123" y="4471"/>
                    <a:pt x="2164" y="4471"/>
                  </a:cubicBezTo>
                  <a:cubicBezTo>
                    <a:pt x="2344" y="4471"/>
                    <a:pt x="2721" y="4549"/>
                    <a:pt x="2874" y="4549"/>
                  </a:cubicBezTo>
                  <a:cubicBezTo>
                    <a:pt x="2893" y="4549"/>
                    <a:pt x="2908" y="4548"/>
                    <a:pt x="2919" y="4545"/>
                  </a:cubicBezTo>
                  <a:lnTo>
                    <a:pt x="3762" y="4545"/>
                  </a:lnTo>
                  <a:cubicBezTo>
                    <a:pt x="3789" y="4549"/>
                    <a:pt x="3816" y="4551"/>
                    <a:pt x="3843" y="4551"/>
                  </a:cubicBezTo>
                  <a:cubicBezTo>
                    <a:pt x="4026" y="4551"/>
                    <a:pt x="4203" y="4465"/>
                    <a:pt x="4334" y="4334"/>
                  </a:cubicBezTo>
                  <a:cubicBezTo>
                    <a:pt x="4557" y="4223"/>
                    <a:pt x="4797" y="4161"/>
                    <a:pt x="5028" y="4161"/>
                  </a:cubicBezTo>
                  <a:cubicBezTo>
                    <a:pt x="5109" y="4161"/>
                    <a:pt x="5189" y="4168"/>
                    <a:pt x="5267" y="4184"/>
                  </a:cubicBezTo>
                  <a:cubicBezTo>
                    <a:pt x="5417" y="4184"/>
                    <a:pt x="5808" y="4214"/>
                    <a:pt x="5869" y="4365"/>
                  </a:cubicBezTo>
                  <a:lnTo>
                    <a:pt x="6380" y="4575"/>
                  </a:lnTo>
                  <a:cubicBezTo>
                    <a:pt x="6380" y="4455"/>
                    <a:pt x="6380" y="4304"/>
                    <a:pt x="6380" y="4184"/>
                  </a:cubicBezTo>
                  <a:cubicBezTo>
                    <a:pt x="6380" y="3913"/>
                    <a:pt x="6531" y="3522"/>
                    <a:pt x="6771" y="3492"/>
                  </a:cubicBezTo>
                  <a:cubicBezTo>
                    <a:pt x="7042" y="3462"/>
                    <a:pt x="7193" y="3492"/>
                    <a:pt x="7193" y="3070"/>
                  </a:cubicBezTo>
                  <a:lnTo>
                    <a:pt x="6892" y="2890"/>
                  </a:lnTo>
                  <a:lnTo>
                    <a:pt x="6440" y="3070"/>
                  </a:lnTo>
                  <a:cubicBezTo>
                    <a:pt x="6290" y="3040"/>
                    <a:pt x="6079" y="2980"/>
                    <a:pt x="6139" y="2890"/>
                  </a:cubicBezTo>
                  <a:lnTo>
                    <a:pt x="6170" y="2890"/>
                  </a:lnTo>
                  <a:cubicBezTo>
                    <a:pt x="5959" y="2649"/>
                    <a:pt x="5899" y="2288"/>
                    <a:pt x="6019" y="1987"/>
                  </a:cubicBezTo>
                  <a:cubicBezTo>
                    <a:pt x="6230" y="1806"/>
                    <a:pt x="5718" y="1114"/>
                    <a:pt x="5538" y="904"/>
                  </a:cubicBezTo>
                  <a:cubicBezTo>
                    <a:pt x="5327" y="633"/>
                    <a:pt x="5146" y="332"/>
                    <a:pt x="5026"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43" name="Google Shape;2937;p123">
              <a:extLst>
                <a:ext uri="{FF2B5EF4-FFF2-40B4-BE49-F238E27FC236}">
                  <a16:creationId xmlns:a16="http://schemas.microsoft.com/office/drawing/2014/main" id="{9ADA1C50-2A0C-F846-AE13-57EE9F443828}"/>
                </a:ext>
              </a:extLst>
            </p:cNvPr>
            <p:cNvSpPr/>
            <p:nvPr/>
          </p:nvSpPr>
          <p:spPr>
            <a:xfrm>
              <a:off x="4914739" y="1966977"/>
              <a:ext cx="75670" cy="94316"/>
            </a:xfrm>
            <a:custGeom>
              <a:avLst/>
              <a:gdLst/>
              <a:ahLst/>
              <a:cxnLst/>
              <a:rect l="l" t="t" r="r" b="b"/>
              <a:pathLst>
                <a:path w="2439" h="3040" extrusionOk="0">
                  <a:moveTo>
                    <a:pt x="543" y="0"/>
                  </a:moveTo>
                  <a:lnTo>
                    <a:pt x="1" y="151"/>
                  </a:lnTo>
                  <a:cubicBezTo>
                    <a:pt x="121" y="452"/>
                    <a:pt x="302" y="753"/>
                    <a:pt x="513" y="1054"/>
                  </a:cubicBezTo>
                  <a:cubicBezTo>
                    <a:pt x="693" y="1264"/>
                    <a:pt x="1205" y="1956"/>
                    <a:pt x="994" y="2137"/>
                  </a:cubicBezTo>
                  <a:cubicBezTo>
                    <a:pt x="874" y="2438"/>
                    <a:pt x="934" y="2799"/>
                    <a:pt x="1145" y="3040"/>
                  </a:cubicBezTo>
                  <a:cubicBezTo>
                    <a:pt x="1235" y="2889"/>
                    <a:pt x="1596" y="2468"/>
                    <a:pt x="1596" y="2318"/>
                  </a:cubicBezTo>
                  <a:cubicBezTo>
                    <a:pt x="1596" y="2183"/>
                    <a:pt x="1596" y="1977"/>
                    <a:pt x="1810" y="1977"/>
                  </a:cubicBezTo>
                  <a:cubicBezTo>
                    <a:pt x="1836" y="1977"/>
                    <a:pt x="1865" y="1980"/>
                    <a:pt x="1897" y="1986"/>
                  </a:cubicBezTo>
                  <a:cubicBezTo>
                    <a:pt x="2130" y="2056"/>
                    <a:pt x="2327" y="2126"/>
                    <a:pt x="2404" y="2126"/>
                  </a:cubicBezTo>
                  <a:cubicBezTo>
                    <a:pt x="2426" y="2126"/>
                    <a:pt x="2439" y="2120"/>
                    <a:pt x="2439" y="2107"/>
                  </a:cubicBezTo>
                  <a:cubicBezTo>
                    <a:pt x="2409" y="1896"/>
                    <a:pt x="2348" y="1716"/>
                    <a:pt x="2228" y="1565"/>
                  </a:cubicBezTo>
                  <a:cubicBezTo>
                    <a:pt x="2017" y="1354"/>
                    <a:pt x="1867" y="1084"/>
                    <a:pt x="1746" y="783"/>
                  </a:cubicBezTo>
                  <a:cubicBezTo>
                    <a:pt x="1656" y="542"/>
                    <a:pt x="1446" y="361"/>
                    <a:pt x="1205" y="331"/>
                  </a:cubicBezTo>
                  <a:cubicBezTo>
                    <a:pt x="1054" y="331"/>
                    <a:pt x="753" y="0"/>
                    <a:pt x="543"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44" name="Google Shape;2938;p123">
              <a:extLst>
                <a:ext uri="{FF2B5EF4-FFF2-40B4-BE49-F238E27FC236}">
                  <a16:creationId xmlns:a16="http://schemas.microsoft.com/office/drawing/2014/main" id="{1CB1859C-F4FD-A944-B97D-8AC25AD71C7C}"/>
                </a:ext>
              </a:extLst>
            </p:cNvPr>
            <p:cNvSpPr/>
            <p:nvPr/>
          </p:nvSpPr>
          <p:spPr>
            <a:xfrm>
              <a:off x="4802708" y="2102557"/>
              <a:ext cx="156893" cy="84791"/>
            </a:xfrm>
            <a:custGeom>
              <a:avLst/>
              <a:gdLst/>
              <a:ahLst/>
              <a:cxnLst/>
              <a:rect l="l" t="t" r="r" b="b"/>
              <a:pathLst>
                <a:path w="5057" h="2733" extrusionOk="0">
                  <a:moveTo>
                    <a:pt x="3614" y="1"/>
                  </a:moveTo>
                  <a:cubicBezTo>
                    <a:pt x="3383" y="1"/>
                    <a:pt x="3143" y="63"/>
                    <a:pt x="2920" y="175"/>
                  </a:cubicBezTo>
                  <a:cubicBezTo>
                    <a:pt x="2789" y="306"/>
                    <a:pt x="2612" y="391"/>
                    <a:pt x="2429" y="391"/>
                  </a:cubicBezTo>
                  <a:cubicBezTo>
                    <a:pt x="2402" y="391"/>
                    <a:pt x="2375" y="389"/>
                    <a:pt x="2348" y="385"/>
                  </a:cubicBezTo>
                  <a:lnTo>
                    <a:pt x="1505" y="385"/>
                  </a:lnTo>
                  <a:cubicBezTo>
                    <a:pt x="1485" y="395"/>
                    <a:pt x="1450" y="400"/>
                    <a:pt x="1405" y="400"/>
                  </a:cubicBezTo>
                  <a:cubicBezTo>
                    <a:pt x="1211" y="400"/>
                    <a:pt x="835" y="321"/>
                    <a:pt x="701" y="321"/>
                  </a:cubicBezTo>
                  <a:cubicBezTo>
                    <a:pt x="684" y="321"/>
                    <a:pt x="671" y="322"/>
                    <a:pt x="663" y="325"/>
                  </a:cubicBezTo>
                  <a:cubicBezTo>
                    <a:pt x="660" y="326"/>
                    <a:pt x="657" y="327"/>
                    <a:pt x="653" y="327"/>
                  </a:cubicBezTo>
                  <a:cubicBezTo>
                    <a:pt x="588" y="327"/>
                    <a:pt x="441" y="53"/>
                    <a:pt x="211" y="24"/>
                  </a:cubicBezTo>
                  <a:lnTo>
                    <a:pt x="151" y="84"/>
                  </a:lnTo>
                  <a:cubicBezTo>
                    <a:pt x="1" y="235"/>
                    <a:pt x="1" y="475"/>
                    <a:pt x="151" y="626"/>
                  </a:cubicBezTo>
                  <a:cubicBezTo>
                    <a:pt x="332" y="807"/>
                    <a:pt x="542" y="1138"/>
                    <a:pt x="392" y="1138"/>
                  </a:cubicBezTo>
                  <a:cubicBezTo>
                    <a:pt x="241" y="1138"/>
                    <a:pt x="91" y="1378"/>
                    <a:pt x="151" y="1469"/>
                  </a:cubicBezTo>
                  <a:cubicBezTo>
                    <a:pt x="181" y="1529"/>
                    <a:pt x="61" y="1800"/>
                    <a:pt x="151" y="1860"/>
                  </a:cubicBezTo>
                  <a:cubicBezTo>
                    <a:pt x="211" y="1950"/>
                    <a:pt x="542" y="2251"/>
                    <a:pt x="542" y="2371"/>
                  </a:cubicBezTo>
                  <a:cubicBezTo>
                    <a:pt x="542" y="2462"/>
                    <a:pt x="753" y="2522"/>
                    <a:pt x="753" y="2582"/>
                  </a:cubicBezTo>
                  <a:cubicBezTo>
                    <a:pt x="918" y="2552"/>
                    <a:pt x="1092" y="2537"/>
                    <a:pt x="1268" y="2537"/>
                  </a:cubicBezTo>
                  <a:cubicBezTo>
                    <a:pt x="1445" y="2537"/>
                    <a:pt x="1626" y="2552"/>
                    <a:pt x="1806" y="2582"/>
                  </a:cubicBezTo>
                  <a:cubicBezTo>
                    <a:pt x="2047" y="2672"/>
                    <a:pt x="2348" y="2733"/>
                    <a:pt x="2619" y="2733"/>
                  </a:cubicBezTo>
                  <a:cubicBezTo>
                    <a:pt x="2799" y="2733"/>
                    <a:pt x="2950" y="2672"/>
                    <a:pt x="2920" y="2552"/>
                  </a:cubicBezTo>
                  <a:cubicBezTo>
                    <a:pt x="2890" y="2432"/>
                    <a:pt x="3161" y="2402"/>
                    <a:pt x="3311" y="2371"/>
                  </a:cubicBezTo>
                  <a:cubicBezTo>
                    <a:pt x="3461" y="2311"/>
                    <a:pt x="3251" y="2161"/>
                    <a:pt x="3311" y="2161"/>
                  </a:cubicBezTo>
                  <a:cubicBezTo>
                    <a:pt x="3431" y="2131"/>
                    <a:pt x="3567" y="2116"/>
                    <a:pt x="3706" y="2116"/>
                  </a:cubicBezTo>
                  <a:cubicBezTo>
                    <a:pt x="3845" y="2116"/>
                    <a:pt x="3988" y="2131"/>
                    <a:pt x="4124" y="2161"/>
                  </a:cubicBezTo>
                  <a:cubicBezTo>
                    <a:pt x="4156" y="2169"/>
                    <a:pt x="4186" y="2173"/>
                    <a:pt x="4214" y="2173"/>
                  </a:cubicBezTo>
                  <a:cubicBezTo>
                    <a:pt x="4292" y="2173"/>
                    <a:pt x="4358" y="2145"/>
                    <a:pt x="4425" y="2101"/>
                  </a:cubicBezTo>
                  <a:cubicBezTo>
                    <a:pt x="4394" y="1980"/>
                    <a:pt x="4394" y="1920"/>
                    <a:pt x="4304" y="1920"/>
                  </a:cubicBezTo>
                  <a:cubicBezTo>
                    <a:pt x="4244" y="1920"/>
                    <a:pt x="4003" y="1348"/>
                    <a:pt x="4154" y="1318"/>
                  </a:cubicBezTo>
                  <a:cubicBezTo>
                    <a:pt x="4304" y="1258"/>
                    <a:pt x="4545" y="716"/>
                    <a:pt x="4816" y="626"/>
                  </a:cubicBezTo>
                  <a:cubicBezTo>
                    <a:pt x="5057" y="566"/>
                    <a:pt x="4966" y="566"/>
                    <a:pt x="4966" y="475"/>
                  </a:cubicBezTo>
                  <a:lnTo>
                    <a:pt x="4455" y="265"/>
                  </a:lnTo>
                  <a:cubicBezTo>
                    <a:pt x="4394" y="54"/>
                    <a:pt x="4003" y="24"/>
                    <a:pt x="3853" y="24"/>
                  </a:cubicBezTo>
                  <a:cubicBezTo>
                    <a:pt x="3775" y="8"/>
                    <a:pt x="3695" y="1"/>
                    <a:pt x="3614"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45" name="Google Shape;2939;p123">
              <a:extLst>
                <a:ext uri="{FF2B5EF4-FFF2-40B4-BE49-F238E27FC236}">
                  <a16:creationId xmlns:a16="http://schemas.microsoft.com/office/drawing/2014/main" id="{DFC07F1E-F0B3-DC4D-AA2B-5778987C64FE}"/>
                </a:ext>
              </a:extLst>
            </p:cNvPr>
            <p:cNvSpPr/>
            <p:nvPr/>
          </p:nvSpPr>
          <p:spPr>
            <a:xfrm>
              <a:off x="4759769" y="2157440"/>
              <a:ext cx="66300" cy="43900"/>
            </a:xfrm>
            <a:custGeom>
              <a:avLst/>
              <a:gdLst/>
              <a:ahLst/>
              <a:cxnLst/>
              <a:rect l="l" t="t" r="r" b="b"/>
              <a:pathLst>
                <a:path w="2137" h="1415" extrusionOk="0">
                  <a:moveTo>
                    <a:pt x="1535" y="1"/>
                  </a:moveTo>
                  <a:lnTo>
                    <a:pt x="151" y="211"/>
                  </a:lnTo>
                  <a:lnTo>
                    <a:pt x="121" y="211"/>
                  </a:lnTo>
                  <a:cubicBezTo>
                    <a:pt x="30" y="482"/>
                    <a:pt x="0" y="753"/>
                    <a:pt x="60" y="1054"/>
                  </a:cubicBezTo>
                  <a:cubicBezTo>
                    <a:pt x="60" y="1114"/>
                    <a:pt x="211" y="1265"/>
                    <a:pt x="482" y="1415"/>
                  </a:cubicBezTo>
                  <a:lnTo>
                    <a:pt x="993" y="1415"/>
                  </a:lnTo>
                  <a:cubicBezTo>
                    <a:pt x="1154" y="1388"/>
                    <a:pt x="1243" y="1195"/>
                    <a:pt x="1346" y="1195"/>
                  </a:cubicBezTo>
                  <a:cubicBezTo>
                    <a:pt x="1358" y="1195"/>
                    <a:pt x="1371" y="1198"/>
                    <a:pt x="1385" y="1204"/>
                  </a:cubicBezTo>
                  <a:cubicBezTo>
                    <a:pt x="1625" y="1144"/>
                    <a:pt x="1866" y="1024"/>
                    <a:pt x="2077" y="843"/>
                  </a:cubicBezTo>
                  <a:lnTo>
                    <a:pt x="2137" y="843"/>
                  </a:lnTo>
                  <a:cubicBezTo>
                    <a:pt x="2137" y="783"/>
                    <a:pt x="1986" y="723"/>
                    <a:pt x="1926" y="633"/>
                  </a:cubicBezTo>
                  <a:cubicBezTo>
                    <a:pt x="1896" y="512"/>
                    <a:pt x="1565" y="181"/>
                    <a:pt x="1535" y="121"/>
                  </a:cubicBezTo>
                  <a:lnTo>
                    <a:pt x="1535" y="61"/>
                  </a:lnTo>
                  <a:lnTo>
                    <a:pt x="1535" y="1"/>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46" name="Google Shape;2940;p123">
              <a:extLst>
                <a:ext uri="{FF2B5EF4-FFF2-40B4-BE49-F238E27FC236}">
                  <a16:creationId xmlns:a16="http://schemas.microsoft.com/office/drawing/2014/main" id="{DC956753-5109-7548-B668-175ACF1AE555}"/>
                </a:ext>
              </a:extLst>
            </p:cNvPr>
            <p:cNvSpPr/>
            <p:nvPr/>
          </p:nvSpPr>
          <p:spPr>
            <a:xfrm>
              <a:off x="4802708" y="1840675"/>
              <a:ext cx="436987" cy="254312"/>
            </a:xfrm>
            <a:custGeom>
              <a:avLst/>
              <a:gdLst/>
              <a:ahLst/>
              <a:cxnLst/>
              <a:rect l="l" t="t" r="r" b="b"/>
              <a:pathLst>
                <a:path w="14085" h="8197" extrusionOk="0">
                  <a:moveTo>
                    <a:pt x="8894" y="1"/>
                  </a:moveTo>
                  <a:cubicBezTo>
                    <a:pt x="8758" y="1"/>
                    <a:pt x="8623" y="24"/>
                    <a:pt x="8578" y="39"/>
                  </a:cubicBezTo>
                  <a:cubicBezTo>
                    <a:pt x="8550" y="45"/>
                    <a:pt x="8514" y="48"/>
                    <a:pt x="8472" y="48"/>
                  </a:cubicBezTo>
                  <a:cubicBezTo>
                    <a:pt x="8398" y="48"/>
                    <a:pt x="8308" y="41"/>
                    <a:pt x="8225" y="41"/>
                  </a:cubicBezTo>
                  <a:cubicBezTo>
                    <a:pt x="8149" y="41"/>
                    <a:pt x="8080" y="46"/>
                    <a:pt x="8036" y="69"/>
                  </a:cubicBezTo>
                  <a:cubicBezTo>
                    <a:pt x="7916" y="159"/>
                    <a:pt x="7855" y="249"/>
                    <a:pt x="7675" y="249"/>
                  </a:cubicBezTo>
                  <a:cubicBezTo>
                    <a:pt x="7464" y="249"/>
                    <a:pt x="7524" y="249"/>
                    <a:pt x="7434" y="189"/>
                  </a:cubicBezTo>
                  <a:cubicBezTo>
                    <a:pt x="7324" y="233"/>
                    <a:pt x="7198" y="261"/>
                    <a:pt x="7079" y="261"/>
                  </a:cubicBezTo>
                  <a:cubicBezTo>
                    <a:pt x="7035" y="261"/>
                    <a:pt x="6993" y="257"/>
                    <a:pt x="6952" y="249"/>
                  </a:cubicBezTo>
                  <a:cubicBezTo>
                    <a:pt x="6952" y="249"/>
                    <a:pt x="6471" y="640"/>
                    <a:pt x="6471" y="791"/>
                  </a:cubicBezTo>
                  <a:cubicBezTo>
                    <a:pt x="6471" y="916"/>
                    <a:pt x="6471" y="1084"/>
                    <a:pt x="6384" y="1084"/>
                  </a:cubicBezTo>
                  <a:cubicBezTo>
                    <a:pt x="6366" y="1084"/>
                    <a:pt x="6346" y="1077"/>
                    <a:pt x="6321" y="1062"/>
                  </a:cubicBezTo>
                  <a:cubicBezTo>
                    <a:pt x="6179" y="991"/>
                    <a:pt x="6038" y="962"/>
                    <a:pt x="5897" y="962"/>
                  </a:cubicBezTo>
                  <a:cubicBezTo>
                    <a:pt x="5798" y="962"/>
                    <a:pt x="5698" y="977"/>
                    <a:pt x="5598" y="1002"/>
                  </a:cubicBezTo>
                  <a:cubicBezTo>
                    <a:pt x="5589" y="1006"/>
                    <a:pt x="5579" y="1008"/>
                    <a:pt x="5569" y="1008"/>
                  </a:cubicBezTo>
                  <a:cubicBezTo>
                    <a:pt x="5468" y="1008"/>
                    <a:pt x="5334" y="796"/>
                    <a:pt x="5195" y="796"/>
                  </a:cubicBezTo>
                  <a:cubicBezTo>
                    <a:pt x="5169" y="796"/>
                    <a:pt x="5143" y="804"/>
                    <a:pt x="5117" y="821"/>
                  </a:cubicBezTo>
                  <a:cubicBezTo>
                    <a:pt x="5077" y="844"/>
                    <a:pt x="5032" y="853"/>
                    <a:pt x="4987" y="853"/>
                  </a:cubicBezTo>
                  <a:cubicBezTo>
                    <a:pt x="4838" y="853"/>
                    <a:pt x="4676" y="759"/>
                    <a:pt x="4608" y="759"/>
                  </a:cubicBezTo>
                  <a:cubicBezTo>
                    <a:pt x="4587" y="759"/>
                    <a:pt x="4575" y="768"/>
                    <a:pt x="4575" y="791"/>
                  </a:cubicBezTo>
                  <a:cubicBezTo>
                    <a:pt x="4575" y="831"/>
                    <a:pt x="4538" y="848"/>
                    <a:pt x="4480" y="848"/>
                  </a:cubicBezTo>
                  <a:cubicBezTo>
                    <a:pt x="4364" y="848"/>
                    <a:pt x="4164" y="781"/>
                    <a:pt x="4003" y="701"/>
                  </a:cubicBezTo>
                  <a:cubicBezTo>
                    <a:pt x="3947" y="676"/>
                    <a:pt x="3881" y="669"/>
                    <a:pt x="3813" y="669"/>
                  </a:cubicBezTo>
                  <a:cubicBezTo>
                    <a:pt x="3724" y="669"/>
                    <a:pt x="3630" y="681"/>
                    <a:pt x="3544" y="681"/>
                  </a:cubicBezTo>
                  <a:cubicBezTo>
                    <a:pt x="3451" y="681"/>
                    <a:pt x="3368" y="668"/>
                    <a:pt x="3311" y="610"/>
                  </a:cubicBezTo>
                  <a:cubicBezTo>
                    <a:pt x="3161" y="460"/>
                    <a:pt x="2258" y="460"/>
                    <a:pt x="1957" y="460"/>
                  </a:cubicBezTo>
                  <a:cubicBezTo>
                    <a:pt x="1656" y="460"/>
                    <a:pt x="1566" y="610"/>
                    <a:pt x="1415" y="761"/>
                  </a:cubicBezTo>
                  <a:cubicBezTo>
                    <a:pt x="1347" y="829"/>
                    <a:pt x="1284" y="848"/>
                    <a:pt x="1223" y="848"/>
                  </a:cubicBezTo>
                  <a:cubicBezTo>
                    <a:pt x="1149" y="848"/>
                    <a:pt x="1076" y="821"/>
                    <a:pt x="994" y="821"/>
                  </a:cubicBezTo>
                  <a:cubicBezTo>
                    <a:pt x="843" y="821"/>
                    <a:pt x="1054" y="1062"/>
                    <a:pt x="1084" y="1092"/>
                  </a:cubicBezTo>
                  <a:cubicBezTo>
                    <a:pt x="1114" y="1122"/>
                    <a:pt x="1505" y="1724"/>
                    <a:pt x="1385" y="1874"/>
                  </a:cubicBezTo>
                  <a:cubicBezTo>
                    <a:pt x="1265" y="2025"/>
                    <a:pt x="1144" y="2025"/>
                    <a:pt x="1054" y="2145"/>
                  </a:cubicBezTo>
                  <a:lnTo>
                    <a:pt x="302" y="2898"/>
                  </a:lnTo>
                  <a:cubicBezTo>
                    <a:pt x="302" y="3018"/>
                    <a:pt x="392" y="3379"/>
                    <a:pt x="332" y="3469"/>
                  </a:cubicBezTo>
                  <a:cubicBezTo>
                    <a:pt x="181" y="3620"/>
                    <a:pt x="61" y="3830"/>
                    <a:pt x="1" y="4011"/>
                  </a:cubicBezTo>
                  <a:cubicBezTo>
                    <a:pt x="1" y="4162"/>
                    <a:pt x="181" y="4372"/>
                    <a:pt x="332" y="4432"/>
                  </a:cubicBezTo>
                  <a:cubicBezTo>
                    <a:pt x="482" y="4523"/>
                    <a:pt x="452" y="4462"/>
                    <a:pt x="452" y="4523"/>
                  </a:cubicBezTo>
                  <a:lnTo>
                    <a:pt x="753" y="4523"/>
                  </a:lnTo>
                  <a:lnTo>
                    <a:pt x="1566" y="4673"/>
                  </a:lnTo>
                  <a:cubicBezTo>
                    <a:pt x="1716" y="4673"/>
                    <a:pt x="1897" y="4733"/>
                    <a:pt x="2017" y="4824"/>
                  </a:cubicBezTo>
                  <a:cubicBezTo>
                    <a:pt x="2041" y="4840"/>
                    <a:pt x="2070" y="4847"/>
                    <a:pt x="2100" y="4847"/>
                  </a:cubicBezTo>
                  <a:cubicBezTo>
                    <a:pt x="2184" y="4847"/>
                    <a:pt x="2282" y="4791"/>
                    <a:pt x="2348" y="4703"/>
                  </a:cubicBezTo>
                  <a:cubicBezTo>
                    <a:pt x="2396" y="4655"/>
                    <a:pt x="2449" y="4641"/>
                    <a:pt x="2505" y="4641"/>
                  </a:cubicBezTo>
                  <a:cubicBezTo>
                    <a:pt x="2589" y="4641"/>
                    <a:pt x="2679" y="4673"/>
                    <a:pt x="2769" y="4673"/>
                  </a:cubicBezTo>
                  <a:cubicBezTo>
                    <a:pt x="2950" y="4643"/>
                    <a:pt x="3100" y="4583"/>
                    <a:pt x="3221" y="4432"/>
                  </a:cubicBezTo>
                  <a:cubicBezTo>
                    <a:pt x="3522" y="4282"/>
                    <a:pt x="3823" y="4162"/>
                    <a:pt x="4154" y="4101"/>
                  </a:cubicBezTo>
                  <a:cubicBezTo>
                    <a:pt x="4364" y="4101"/>
                    <a:pt x="4665" y="4432"/>
                    <a:pt x="4816" y="4432"/>
                  </a:cubicBezTo>
                  <a:cubicBezTo>
                    <a:pt x="5057" y="4462"/>
                    <a:pt x="5267" y="4643"/>
                    <a:pt x="5357" y="4884"/>
                  </a:cubicBezTo>
                  <a:cubicBezTo>
                    <a:pt x="5478" y="5185"/>
                    <a:pt x="5628" y="5456"/>
                    <a:pt x="5869" y="5666"/>
                  </a:cubicBezTo>
                  <a:cubicBezTo>
                    <a:pt x="5959" y="5847"/>
                    <a:pt x="6020" y="6027"/>
                    <a:pt x="6050" y="6208"/>
                  </a:cubicBezTo>
                  <a:cubicBezTo>
                    <a:pt x="6050" y="6222"/>
                    <a:pt x="6036" y="6227"/>
                    <a:pt x="6011" y="6227"/>
                  </a:cubicBezTo>
                  <a:cubicBezTo>
                    <a:pt x="5928" y="6227"/>
                    <a:pt x="5718" y="6158"/>
                    <a:pt x="5508" y="6088"/>
                  </a:cubicBezTo>
                  <a:cubicBezTo>
                    <a:pt x="5486" y="6082"/>
                    <a:pt x="5466" y="6080"/>
                    <a:pt x="5447" y="6080"/>
                  </a:cubicBezTo>
                  <a:cubicBezTo>
                    <a:pt x="5257" y="6080"/>
                    <a:pt x="5207" y="6336"/>
                    <a:pt x="5207" y="6419"/>
                  </a:cubicBezTo>
                  <a:cubicBezTo>
                    <a:pt x="5207" y="6539"/>
                    <a:pt x="4816" y="7081"/>
                    <a:pt x="4725" y="7171"/>
                  </a:cubicBezTo>
                  <a:cubicBezTo>
                    <a:pt x="4665" y="7291"/>
                    <a:pt x="4876" y="7321"/>
                    <a:pt x="5026" y="7382"/>
                  </a:cubicBezTo>
                  <a:lnTo>
                    <a:pt x="5478" y="7171"/>
                  </a:lnTo>
                  <a:lnTo>
                    <a:pt x="5779" y="7382"/>
                  </a:lnTo>
                  <a:cubicBezTo>
                    <a:pt x="5749" y="6990"/>
                    <a:pt x="5809" y="7021"/>
                    <a:pt x="6170" y="6780"/>
                  </a:cubicBezTo>
                  <a:cubicBezTo>
                    <a:pt x="6501" y="6509"/>
                    <a:pt x="6501" y="6027"/>
                    <a:pt x="6832" y="5967"/>
                  </a:cubicBezTo>
                  <a:cubicBezTo>
                    <a:pt x="7103" y="5877"/>
                    <a:pt x="7404" y="5817"/>
                    <a:pt x="7705" y="5817"/>
                  </a:cubicBezTo>
                  <a:cubicBezTo>
                    <a:pt x="8156" y="5907"/>
                    <a:pt x="7464" y="6208"/>
                    <a:pt x="7765" y="6358"/>
                  </a:cubicBezTo>
                  <a:cubicBezTo>
                    <a:pt x="7890" y="6421"/>
                    <a:pt x="8131" y="6426"/>
                    <a:pt x="8371" y="6426"/>
                  </a:cubicBezTo>
                  <a:cubicBezTo>
                    <a:pt x="8419" y="6426"/>
                    <a:pt x="8467" y="6426"/>
                    <a:pt x="8514" y="6426"/>
                  </a:cubicBezTo>
                  <a:cubicBezTo>
                    <a:pt x="8796" y="6426"/>
                    <a:pt x="9044" y="6434"/>
                    <a:pt x="9059" y="6539"/>
                  </a:cubicBezTo>
                  <a:cubicBezTo>
                    <a:pt x="9089" y="6780"/>
                    <a:pt x="8006" y="7021"/>
                    <a:pt x="8006" y="7141"/>
                  </a:cubicBezTo>
                  <a:cubicBezTo>
                    <a:pt x="8006" y="7261"/>
                    <a:pt x="8608" y="7382"/>
                    <a:pt x="8788" y="7472"/>
                  </a:cubicBezTo>
                  <a:cubicBezTo>
                    <a:pt x="8969" y="7592"/>
                    <a:pt x="8758" y="7984"/>
                    <a:pt x="8818" y="8134"/>
                  </a:cubicBezTo>
                  <a:cubicBezTo>
                    <a:pt x="8845" y="8178"/>
                    <a:pt x="8892" y="8196"/>
                    <a:pt x="8952" y="8196"/>
                  </a:cubicBezTo>
                  <a:cubicBezTo>
                    <a:pt x="9097" y="8196"/>
                    <a:pt x="9319" y="8090"/>
                    <a:pt x="9511" y="7984"/>
                  </a:cubicBezTo>
                  <a:cubicBezTo>
                    <a:pt x="9781" y="7833"/>
                    <a:pt x="9932" y="7833"/>
                    <a:pt x="10263" y="7622"/>
                  </a:cubicBezTo>
                  <a:cubicBezTo>
                    <a:pt x="10428" y="7532"/>
                    <a:pt x="10669" y="7525"/>
                    <a:pt x="10880" y="7525"/>
                  </a:cubicBezTo>
                  <a:cubicBezTo>
                    <a:pt x="10922" y="7525"/>
                    <a:pt x="10963" y="7525"/>
                    <a:pt x="11002" y="7525"/>
                  </a:cubicBezTo>
                  <a:cubicBezTo>
                    <a:pt x="11157" y="7525"/>
                    <a:pt x="11280" y="7520"/>
                    <a:pt x="11316" y="7472"/>
                  </a:cubicBezTo>
                  <a:cubicBezTo>
                    <a:pt x="11371" y="7390"/>
                    <a:pt x="11176" y="7257"/>
                    <a:pt x="10685" y="7257"/>
                  </a:cubicBezTo>
                  <a:cubicBezTo>
                    <a:pt x="10638" y="7257"/>
                    <a:pt x="10587" y="7259"/>
                    <a:pt x="10534" y="7261"/>
                  </a:cubicBezTo>
                  <a:cubicBezTo>
                    <a:pt x="10503" y="7266"/>
                    <a:pt x="10472" y="7268"/>
                    <a:pt x="10441" y="7268"/>
                  </a:cubicBezTo>
                  <a:cubicBezTo>
                    <a:pt x="10092" y="7268"/>
                    <a:pt x="9814" y="6962"/>
                    <a:pt x="9842" y="6629"/>
                  </a:cubicBezTo>
                  <a:cubicBezTo>
                    <a:pt x="10082" y="6298"/>
                    <a:pt x="10443" y="6088"/>
                    <a:pt x="10865" y="5967"/>
                  </a:cubicBezTo>
                  <a:cubicBezTo>
                    <a:pt x="11196" y="5937"/>
                    <a:pt x="11557" y="5847"/>
                    <a:pt x="11888" y="5666"/>
                  </a:cubicBezTo>
                  <a:cubicBezTo>
                    <a:pt x="12069" y="5606"/>
                    <a:pt x="12279" y="5546"/>
                    <a:pt x="12520" y="5486"/>
                  </a:cubicBezTo>
                  <a:cubicBezTo>
                    <a:pt x="12490" y="5305"/>
                    <a:pt x="12400" y="5125"/>
                    <a:pt x="12520" y="5064"/>
                  </a:cubicBezTo>
                  <a:cubicBezTo>
                    <a:pt x="12671" y="5064"/>
                    <a:pt x="13002" y="4673"/>
                    <a:pt x="13152" y="4673"/>
                  </a:cubicBezTo>
                  <a:cubicBezTo>
                    <a:pt x="13261" y="4673"/>
                    <a:pt x="13546" y="4737"/>
                    <a:pt x="13693" y="4737"/>
                  </a:cubicBezTo>
                  <a:cubicBezTo>
                    <a:pt x="13748" y="4737"/>
                    <a:pt x="13784" y="4728"/>
                    <a:pt x="13784" y="4703"/>
                  </a:cubicBezTo>
                  <a:cubicBezTo>
                    <a:pt x="13784" y="4613"/>
                    <a:pt x="13995" y="4282"/>
                    <a:pt x="13934" y="4222"/>
                  </a:cubicBezTo>
                  <a:cubicBezTo>
                    <a:pt x="13904" y="4131"/>
                    <a:pt x="13724" y="3981"/>
                    <a:pt x="13754" y="3921"/>
                  </a:cubicBezTo>
                  <a:cubicBezTo>
                    <a:pt x="13784" y="3830"/>
                    <a:pt x="14025" y="3830"/>
                    <a:pt x="14025" y="3710"/>
                  </a:cubicBezTo>
                  <a:cubicBezTo>
                    <a:pt x="14025" y="3620"/>
                    <a:pt x="13814" y="3560"/>
                    <a:pt x="13814" y="3499"/>
                  </a:cubicBezTo>
                  <a:cubicBezTo>
                    <a:pt x="13814" y="3409"/>
                    <a:pt x="14085" y="3319"/>
                    <a:pt x="14055" y="3168"/>
                  </a:cubicBezTo>
                  <a:cubicBezTo>
                    <a:pt x="14025" y="3018"/>
                    <a:pt x="13814" y="3018"/>
                    <a:pt x="13603" y="2898"/>
                  </a:cubicBezTo>
                  <a:cubicBezTo>
                    <a:pt x="13393" y="2777"/>
                    <a:pt x="13152" y="2807"/>
                    <a:pt x="12941" y="2717"/>
                  </a:cubicBezTo>
                  <a:cubicBezTo>
                    <a:pt x="12701" y="2597"/>
                    <a:pt x="12279" y="2657"/>
                    <a:pt x="12279" y="2597"/>
                  </a:cubicBezTo>
                  <a:cubicBezTo>
                    <a:pt x="12279" y="2506"/>
                    <a:pt x="12039" y="2296"/>
                    <a:pt x="11948" y="2175"/>
                  </a:cubicBezTo>
                  <a:cubicBezTo>
                    <a:pt x="11924" y="2127"/>
                    <a:pt x="11871" y="2108"/>
                    <a:pt x="11807" y="2108"/>
                  </a:cubicBezTo>
                  <a:cubicBezTo>
                    <a:pt x="11710" y="2108"/>
                    <a:pt x="11587" y="2151"/>
                    <a:pt x="11497" y="2205"/>
                  </a:cubicBezTo>
                  <a:cubicBezTo>
                    <a:pt x="11419" y="2264"/>
                    <a:pt x="11329" y="2297"/>
                    <a:pt x="11234" y="2297"/>
                  </a:cubicBezTo>
                  <a:cubicBezTo>
                    <a:pt x="11182" y="2297"/>
                    <a:pt x="11129" y="2287"/>
                    <a:pt x="11075" y="2266"/>
                  </a:cubicBezTo>
                  <a:cubicBezTo>
                    <a:pt x="10995" y="2158"/>
                    <a:pt x="10866" y="2050"/>
                    <a:pt x="10753" y="2050"/>
                  </a:cubicBezTo>
                  <a:cubicBezTo>
                    <a:pt x="10740" y="2050"/>
                    <a:pt x="10727" y="2052"/>
                    <a:pt x="10714" y="2055"/>
                  </a:cubicBezTo>
                  <a:cubicBezTo>
                    <a:pt x="10672" y="2076"/>
                    <a:pt x="10620" y="2090"/>
                    <a:pt x="10570" y="2090"/>
                  </a:cubicBezTo>
                  <a:cubicBezTo>
                    <a:pt x="10476" y="2090"/>
                    <a:pt x="10394" y="2042"/>
                    <a:pt x="10413" y="1904"/>
                  </a:cubicBezTo>
                  <a:cubicBezTo>
                    <a:pt x="10443" y="1724"/>
                    <a:pt x="10173" y="1363"/>
                    <a:pt x="10082" y="1303"/>
                  </a:cubicBezTo>
                  <a:cubicBezTo>
                    <a:pt x="9962" y="1272"/>
                    <a:pt x="9571" y="1303"/>
                    <a:pt x="9511" y="1152"/>
                  </a:cubicBezTo>
                  <a:cubicBezTo>
                    <a:pt x="9420" y="1002"/>
                    <a:pt x="9240" y="821"/>
                    <a:pt x="9330" y="701"/>
                  </a:cubicBezTo>
                  <a:cubicBezTo>
                    <a:pt x="9390" y="610"/>
                    <a:pt x="9270" y="249"/>
                    <a:pt x="9210" y="99"/>
                  </a:cubicBezTo>
                  <a:cubicBezTo>
                    <a:pt x="9164" y="24"/>
                    <a:pt x="9029" y="1"/>
                    <a:pt x="8894"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47" name="Google Shape;2941;p123">
              <a:extLst>
                <a:ext uri="{FF2B5EF4-FFF2-40B4-BE49-F238E27FC236}">
                  <a16:creationId xmlns:a16="http://schemas.microsoft.com/office/drawing/2014/main" id="{01CECC49-8B42-8841-BFEB-CFAA20DBED01}"/>
                </a:ext>
              </a:extLst>
            </p:cNvPr>
            <p:cNvSpPr/>
            <p:nvPr/>
          </p:nvSpPr>
          <p:spPr>
            <a:xfrm>
              <a:off x="4827001" y="1710214"/>
              <a:ext cx="229709" cy="165363"/>
            </a:xfrm>
            <a:custGeom>
              <a:avLst/>
              <a:gdLst/>
              <a:ahLst/>
              <a:cxnLst/>
              <a:rect l="l" t="t" r="r" b="b"/>
              <a:pathLst>
                <a:path w="7404" h="5330" extrusionOk="0">
                  <a:moveTo>
                    <a:pt x="3942" y="0"/>
                  </a:moveTo>
                  <a:lnTo>
                    <a:pt x="3672" y="121"/>
                  </a:lnTo>
                  <a:cubicBezTo>
                    <a:pt x="3551" y="181"/>
                    <a:pt x="3551" y="361"/>
                    <a:pt x="3371" y="361"/>
                  </a:cubicBezTo>
                  <a:cubicBezTo>
                    <a:pt x="3326" y="354"/>
                    <a:pt x="3280" y="350"/>
                    <a:pt x="3236" y="350"/>
                  </a:cubicBezTo>
                  <a:cubicBezTo>
                    <a:pt x="3102" y="350"/>
                    <a:pt x="2972" y="384"/>
                    <a:pt x="2859" y="452"/>
                  </a:cubicBezTo>
                  <a:cubicBezTo>
                    <a:pt x="2709" y="542"/>
                    <a:pt x="2618" y="692"/>
                    <a:pt x="2618" y="873"/>
                  </a:cubicBezTo>
                  <a:cubicBezTo>
                    <a:pt x="2678" y="1023"/>
                    <a:pt x="2709" y="1204"/>
                    <a:pt x="2558" y="1204"/>
                  </a:cubicBezTo>
                  <a:cubicBezTo>
                    <a:pt x="2408" y="1204"/>
                    <a:pt x="2438" y="1354"/>
                    <a:pt x="2287" y="1385"/>
                  </a:cubicBezTo>
                  <a:cubicBezTo>
                    <a:pt x="2107" y="1445"/>
                    <a:pt x="1956" y="1595"/>
                    <a:pt x="1866" y="1776"/>
                  </a:cubicBezTo>
                  <a:cubicBezTo>
                    <a:pt x="1866" y="1866"/>
                    <a:pt x="1866" y="2137"/>
                    <a:pt x="1746" y="2137"/>
                  </a:cubicBezTo>
                  <a:cubicBezTo>
                    <a:pt x="1655" y="2137"/>
                    <a:pt x="1354" y="2167"/>
                    <a:pt x="1264" y="2287"/>
                  </a:cubicBezTo>
                  <a:cubicBezTo>
                    <a:pt x="1217" y="2382"/>
                    <a:pt x="1113" y="2496"/>
                    <a:pt x="969" y="2496"/>
                  </a:cubicBezTo>
                  <a:cubicBezTo>
                    <a:pt x="930" y="2496"/>
                    <a:pt x="888" y="2487"/>
                    <a:pt x="843" y="2468"/>
                  </a:cubicBezTo>
                  <a:lnTo>
                    <a:pt x="301" y="2468"/>
                  </a:lnTo>
                  <a:cubicBezTo>
                    <a:pt x="301" y="2528"/>
                    <a:pt x="301" y="2558"/>
                    <a:pt x="241" y="2558"/>
                  </a:cubicBezTo>
                  <a:cubicBezTo>
                    <a:pt x="181" y="2769"/>
                    <a:pt x="241" y="3010"/>
                    <a:pt x="391" y="3160"/>
                  </a:cubicBezTo>
                  <a:cubicBezTo>
                    <a:pt x="512" y="3281"/>
                    <a:pt x="602" y="3762"/>
                    <a:pt x="451" y="3822"/>
                  </a:cubicBezTo>
                  <a:cubicBezTo>
                    <a:pt x="301" y="3913"/>
                    <a:pt x="0" y="4123"/>
                    <a:pt x="0" y="4244"/>
                  </a:cubicBezTo>
                  <a:cubicBezTo>
                    <a:pt x="0" y="4364"/>
                    <a:pt x="301" y="4484"/>
                    <a:pt x="241" y="4665"/>
                  </a:cubicBezTo>
                  <a:cubicBezTo>
                    <a:pt x="211" y="4785"/>
                    <a:pt x="211" y="4936"/>
                    <a:pt x="211" y="5056"/>
                  </a:cubicBezTo>
                  <a:cubicBezTo>
                    <a:pt x="286" y="5056"/>
                    <a:pt x="361" y="5071"/>
                    <a:pt x="433" y="5071"/>
                  </a:cubicBezTo>
                  <a:cubicBezTo>
                    <a:pt x="504" y="5071"/>
                    <a:pt x="572" y="5056"/>
                    <a:pt x="632" y="4996"/>
                  </a:cubicBezTo>
                  <a:cubicBezTo>
                    <a:pt x="752" y="4876"/>
                    <a:pt x="843" y="4695"/>
                    <a:pt x="1144" y="4695"/>
                  </a:cubicBezTo>
                  <a:cubicBezTo>
                    <a:pt x="1445" y="4695"/>
                    <a:pt x="2347" y="4695"/>
                    <a:pt x="2498" y="4845"/>
                  </a:cubicBezTo>
                  <a:cubicBezTo>
                    <a:pt x="2573" y="4921"/>
                    <a:pt x="2709" y="4928"/>
                    <a:pt x="2848" y="4928"/>
                  </a:cubicBezTo>
                  <a:cubicBezTo>
                    <a:pt x="2883" y="4928"/>
                    <a:pt x="2918" y="4928"/>
                    <a:pt x="2952" y="4928"/>
                  </a:cubicBezTo>
                  <a:cubicBezTo>
                    <a:pt x="3055" y="4928"/>
                    <a:pt x="3152" y="4932"/>
                    <a:pt x="3220" y="4966"/>
                  </a:cubicBezTo>
                  <a:cubicBezTo>
                    <a:pt x="3345" y="5007"/>
                    <a:pt x="3555" y="5078"/>
                    <a:pt x="3684" y="5078"/>
                  </a:cubicBezTo>
                  <a:cubicBezTo>
                    <a:pt x="3742" y="5078"/>
                    <a:pt x="3783" y="5063"/>
                    <a:pt x="3792" y="5026"/>
                  </a:cubicBezTo>
                  <a:cubicBezTo>
                    <a:pt x="3797" y="5011"/>
                    <a:pt x="3808" y="5005"/>
                    <a:pt x="3825" y="5005"/>
                  </a:cubicBezTo>
                  <a:cubicBezTo>
                    <a:pt x="3889" y="5005"/>
                    <a:pt x="4027" y="5091"/>
                    <a:pt x="4167" y="5091"/>
                  </a:cubicBezTo>
                  <a:cubicBezTo>
                    <a:pt x="4213" y="5091"/>
                    <a:pt x="4260" y="5081"/>
                    <a:pt x="4304" y="5056"/>
                  </a:cubicBezTo>
                  <a:cubicBezTo>
                    <a:pt x="4333" y="5045"/>
                    <a:pt x="4360" y="5040"/>
                    <a:pt x="4387" y="5040"/>
                  </a:cubicBezTo>
                  <a:cubicBezTo>
                    <a:pt x="4571" y="5040"/>
                    <a:pt x="4696" y="5269"/>
                    <a:pt x="4799" y="5269"/>
                  </a:cubicBezTo>
                  <a:cubicBezTo>
                    <a:pt x="4805" y="5269"/>
                    <a:pt x="4810" y="5268"/>
                    <a:pt x="4815" y="5267"/>
                  </a:cubicBezTo>
                  <a:cubicBezTo>
                    <a:pt x="4927" y="5225"/>
                    <a:pt x="5039" y="5202"/>
                    <a:pt x="5147" y="5202"/>
                  </a:cubicBezTo>
                  <a:cubicBezTo>
                    <a:pt x="5273" y="5202"/>
                    <a:pt x="5395" y="5232"/>
                    <a:pt x="5507" y="5297"/>
                  </a:cubicBezTo>
                  <a:cubicBezTo>
                    <a:pt x="5536" y="5320"/>
                    <a:pt x="5559" y="5329"/>
                    <a:pt x="5578" y="5329"/>
                  </a:cubicBezTo>
                  <a:cubicBezTo>
                    <a:pt x="5658" y="5329"/>
                    <a:pt x="5658" y="5148"/>
                    <a:pt x="5658" y="5026"/>
                  </a:cubicBezTo>
                  <a:cubicBezTo>
                    <a:pt x="5658" y="4876"/>
                    <a:pt x="6169" y="4514"/>
                    <a:pt x="6169" y="4514"/>
                  </a:cubicBezTo>
                  <a:cubicBezTo>
                    <a:pt x="6320" y="4514"/>
                    <a:pt x="6501" y="4484"/>
                    <a:pt x="6651" y="4424"/>
                  </a:cubicBezTo>
                  <a:cubicBezTo>
                    <a:pt x="6591" y="4334"/>
                    <a:pt x="6561" y="4213"/>
                    <a:pt x="6531" y="4093"/>
                  </a:cubicBezTo>
                  <a:cubicBezTo>
                    <a:pt x="6470" y="3672"/>
                    <a:pt x="6320" y="3461"/>
                    <a:pt x="6410" y="3341"/>
                  </a:cubicBezTo>
                  <a:cubicBezTo>
                    <a:pt x="6432" y="3319"/>
                    <a:pt x="6461" y="3310"/>
                    <a:pt x="6493" y="3310"/>
                  </a:cubicBezTo>
                  <a:cubicBezTo>
                    <a:pt x="6627" y="3310"/>
                    <a:pt x="6830" y="3463"/>
                    <a:pt x="6957" y="3463"/>
                  </a:cubicBezTo>
                  <a:cubicBezTo>
                    <a:pt x="6966" y="3463"/>
                    <a:pt x="6974" y="3463"/>
                    <a:pt x="6982" y="3461"/>
                  </a:cubicBezTo>
                  <a:cubicBezTo>
                    <a:pt x="7133" y="3401"/>
                    <a:pt x="7403" y="3220"/>
                    <a:pt x="7403" y="3070"/>
                  </a:cubicBezTo>
                  <a:cubicBezTo>
                    <a:pt x="7313" y="2859"/>
                    <a:pt x="7163" y="2709"/>
                    <a:pt x="6952" y="2618"/>
                  </a:cubicBezTo>
                  <a:cubicBezTo>
                    <a:pt x="6801" y="2588"/>
                    <a:pt x="6741" y="2287"/>
                    <a:pt x="6501" y="2167"/>
                  </a:cubicBezTo>
                  <a:cubicBezTo>
                    <a:pt x="6290" y="2077"/>
                    <a:pt x="6320" y="1806"/>
                    <a:pt x="6139" y="1686"/>
                  </a:cubicBezTo>
                  <a:cubicBezTo>
                    <a:pt x="5929" y="1565"/>
                    <a:pt x="6049" y="1324"/>
                    <a:pt x="6049" y="1114"/>
                  </a:cubicBezTo>
                  <a:cubicBezTo>
                    <a:pt x="6049" y="933"/>
                    <a:pt x="6079" y="632"/>
                    <a:pt x="5989" y="602"/>
                  </a:cubicBezTo>
                  <a:cubicBezTo>
                    <a:pt x="5882" y="549"/>
                    <a:pt x="5512" y="352"/>
                    <a:pt x="5305" y="352"/>
                  </a:cubicBezTo>
                  <a:cubicBezTo>
                    <a:pt x="5279" y="352"/>
                    <a:pt x="5256" y="355"/>
                    <a:pt x="5237" y="361"/>
                  </a:cubicBezTo>
                  <a:cubicBezTo>
                    <a:pt x="5119" y="412"/>
                    <a:pt x="5020" y="453"/>
                    <a:pt x="4945" y="453"/>
                  </a:cubicBezTo>
                  <a:cubicBezTo>
                    <a:pt x="4886" y="453"/>
                    <a:pt x="4842" y="428"/>
                    <a:pt x="4815" y="361"/>
                  </a:cubicBezTo>
                  <a:cubicBezTo>
                    <a:pt x="4744" y="243"/>
                    <a:pt x="4636" y="162"/>
                    <a:pt x="4505" y="162"/>
                  </a:cubicBezTo>
                  <a:cubicBezTo>
                    <a:pt x="4470" y="162"/>
                    <a:pt x="4432" y="168"/>
                    <a:pt x="4394" y="181"/>
                  </a:cubicBezTo>
                  <a:cubicBezTo>
                    <a:pt x="4358" y="188"/>
                    <a:pt x="4323" y="192"/>
                    <a:pt x="4288" y="192"/>
                  </a:cubicBezTo>
                  <a:cubicBezTo>
                    <a:pt x="4174" y="192"/>
                    <a:pt x="4065" y="152"/>
                    <a:pt x="3973" y="60"/>
                  </a:cubicBezTo>
                  <a:cubicBezTo>
                    <a:pt x="3973" y="30"/>
                    <a:pt x="3942" y="30"/>
                    <a:pt x="3942"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48" name="Google Shape;2942;p123">
              <a:extLst>
                <a:ext uri="{FF2B5EF4-FFF2-40B4-BE49-F238E27FC236}">
                  <a16:creationId xmlns:a16="http://schemas.microsoft.com/office/drawing/2014/main" id="{52BB0BF0-D8DC-D54E-9B2E-01572D673BBF}"/>
                </a:ext>
              </a:extLst>
            </p:cNvPr>
            <p:cNvSpPr/>
            <p:nvPr/>
          </p:nvSpPr>
          <p:spPr>
            <a:xfrm>
              <a:off x="4769108" y="1644224"/>
              <a:ext cx="180224" cy="85629"/>
            </a:xfrm>
            <a:custGeom>
              <a:avLst/>
              <a:gdLst/>
              <a:ahLst/>
              <a:cxnLst/>
              <a:rect l="l" t="t" r="r" b="b"/>
              <a:pathLst>
                <a:path w="5809" h="2760" extrusionOk="0">
                  <a:moveTo>
                    <a:pt x="3264" y="1"/>
                  </a:moveTo>
                  <a:cubicBezTo>
                    <a:pt x="3097" y="1"/>
                    <a:pt x="2928" y="15"/>
                    <a:pt x="2769" y="51"/>
                  </a:cubicBezTo>
                  <a:cubicBezTo>
                    <a:pt x="2528" y="291"/>
                    <a:pt x="2679" y="472"/>
                    <a:pt x="2679" y="833"/>
                  </a:cubicBezTo>
                  <a:cubicBezTo>
                    <a:pt x="2679" y="1101"/>
                    <a:pt x="2481" y="1143"/>
                    <a:pt x="2289" y="1143"/>
                  </a:cubicBezTo>
                  <a:cubicBezTo>
                    <a:pt x="2201" y="1143"/>
                    <a:pt x="2113" y="1134"/>
                    <a:pt x="2047" y="1134"/>
                  </a:cubicBezTo>
                  <a:cubicBezTo>
                    <a:pt x="1806" y="1134"/>
                    <a:pt x="1445" y="472"/>
                    <a:pt x="1324" y="322"/>
                  </a:cubicBezTo>
                  <a:cubicBezTo>
                    <a:pt x="1308" y="295"/>
                    <a:pt x="1283" y="283"/>
                    <a:pt x="1250" y="283"/>
                  </a:cubicBezTo>
                  <a:cubicBezTo>
                    <a:pt x="1099" y="283"/>
                    <a:pt x="795" y="529"/>
                    <a:pt x="572" y="653"/>
                  </a:cubicBezTo>
                  <a:cubicBezTo>
                    <a:pt x="301" y="803"/>
                    <a:pt x="452" y="1134"/>
                    <a:pt x="271" y="1285"/>
                  </a:cubicBezTo>
                  <a:cubicBezTo>
                    <a:pt x="60" y="1465"/>
                    <a:pt x="0" y="1796"/>
                    <a:pt x="151" y="2037"/>
                  </a:cubicBezTo>
                  <a:cubicBezTo>
                    <a:pt x="391" y="2037"/>
                    <a:pt x="602" y="1977"/>
                    <a:pt x="813" y="1886"/>
                  </a:cubicBezTo>
                  <a:cubicBezTo>
                    <a:pt x="868" y="1847"/>
                    <a:pt x="957" y="1832"/>
                    <a:pt x="1062" y="1832"/>
                  </a:cubicBezTo>
                  <a:cubicBezTo>
                    <a:pt x="1354" y="1832"/>
                    <a:pt x="1771" y="1947"/>
                    <a:pt x="1926" y="1947"/>
                  </a:cubicBezTo>
                  <a:cubicBezTo>
                    <a:pt x="2092" y="1962"/>
                    <a:pt x="2265" y="1969"/>
                    <a:pt x="2438" y="1969"/>
                  </a:cubicBezTo>
                  <a:cubicBezTo>
                    <a:pt x="2611" y="1969"/>
                    <a:pt x="2784" y="1962"/>
                    <a:pt x="2949" y="1947"/>
                  </a:cubicBezTo>
                  <a:cubicBezTo>
                    <a:pt x="2995" y="1926"/>
                    <a:pt x="3033" y="1918"/>
                    <a:pt x="3065" y="1918"/>
                  </a:cubicBezTo>
                  <a:cubicBezTo>
                    <a:pt x="3216" y="1918"/>
                    <a:pt x="3247" y="2099"/>
                    <a:pt x="3376" y="2099"/>
                  </a:cubicBezTo>
                  <a:cubicBezTo>
                    <a:pt x="3384" y="2099"/>
                    <a:pt x="3392" y="2099"/>
                    <a:pt x="3401" y="2097"/>
                  </a:cubicBezTo>
                  <a:cubicBezTo>
                    <a:pt x="3418" y="2091"/>
                    <a:pt x="3437" y="2089"/>
                    <a:pt x="3457" y="2089"/>
                  </a:cubicBezTo>
                  <a:cubicBezTo>
                    <a:pt x="3645" y="2089"/>
                    <a:pt x="3936" y="2325"/>
                    <a:pt x="4153" y="2488"/>
                  </a:cubicBezTo>
                  <a:lnTo>
                    <a:pt x="4575" y="2759"/>
                  </a:lnTo>
                  <a:lnTo>
                    <a:pt x="4725" y="2579"/>
                  </a:lnTo>
                  <a:cubicBezTo>
                    <a:pt x="4838" y="2511"/>
                    <a:pt x="4968" y="2477"/>
                    <a:pt x="5102" y="2477"/>
                  </a:cubicBezTo>
                  <a:cubicBezTo>
                    <a:pt x="5146" y="2477"/>
                    <a:pt x="5192" y="2481"/>
                    <a:pt x="5237" y="2488"/>
                  </a:cubicBezTo>
                  <a:cubicBezTo>
                    <a:pt x="5417" y="2488"/>
                    <a:pt x="5417" y="2308"/>
                    <a:pt x="5538" y="2248"/>
                  </a:cubicBezTo>
                  <a:lnTo>
                    <a:pt x="5808" y="2127"/>
                  </a:lnTo>
                  <a:cubicBezTo>
                    <a:pt x="5748" y="2007"/>
                    <a:pt x="5748" y="1736"/>
                    <a:pt x="5628" y="1646"/>
                  </a:cubicBezTo>
                  <a:cubicBezTo>
                    <a:pt x="5508" y="1525"/>
                    <a:pt x="5327" y="1285"/>
                    <a:pt x="5387" y="1194"/>
                  </a:cubicBezTo>
                  <a:cubicBezTo>
                    <a:pt x="5447" y="1044"/>
                    <a:pt x="5387" y="863"/>
                    <a:pt x="5267" y="773"/>
                  </a:cubicBezTo>
                  <a:lnTo>
                    <a:pt x="5176" y="532"/>
                  </a:lnTo>
                  <a:cubicBezTo>
                    <a:pt x="5006" y="511"/>
                    <a:pt x="4821" y="490"/>
                    <a:pt x="4642" y="490"/>
                  </a:cubicBezTo>
                  <a:cubicBezTo>
                    <a:pt x="4568" y="490"/>
                    <a:pt x="4495" y="493"/>
                    <a:pt x="4424" y="502"/>
                  </a:cubicBezTo>
                  <a:cubicBezTo>
                    <a:pt x="4419" y="503"/>
                    <a:pt x="4414" y="504"/>
                    <a:pt x="4408" y="504"/>
                  </a:cubicBezTo>
                  <a:cubicBezTo>
                    <a:pt x="4237" y="504"/>
                    <a:pt x="3699" y="79"/>
                    <a:pt x="3612" y="21"/>
                  </a:cubicBezTo>
                  <a:cubicBezTo>
                    <a:pt x="3499" y="8"/>
                    <a:pt x="3382" y="1"/>
                    <a:pt x="3264"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49" name="Google Shape;2943;p123">
              <a:extLst>
                <a:ext uri="{FF2B5EF4-FFF2-40B4-BE49-F238E27FC236}">
                  <a16:creationId xmlns:a16="http://schemas.microsoft.com/office/drawing/2014/main" id="{8186585A-FF68-9E49-8FFA-CA7C1F71CD05}"/>
                </a:ext>
              </a:extLst>
            </p:cNvPr>
            <p:cNvSpPr/>
            <p:nvPr/>
          </p:nvSpPr>
          <p:spPr>
            <a:xfrm>
              <a:off x="4768177" y="1700255"/>
              <a:ext cx="142870" cy="86560"/>
            </a:xfrm>
            <a:custGeom>
              <a:avLst/>
              <a:gdLst/>
              <a:ahLst/>
              <a:cxnLst/>
              <a:rect l="l" t="t" r="r" b="b"/>
              <a:pathLst>
                <a:path w="4605" h="2790" extrusionOk="0">
                  <a:moveTo>
                    <a:pt x="1178" y="0"/>
                  </a:moveTo>
                  <a:cubicBezTo>
                    <a:pt x="1037" y="0"/>
                    <a:pt x="913" y="20"/>
                    <a:pt x="843" y="80"/>
                  </a:cubicBezTo>
                  <a:cubicBezTo>
                    <a:pt x="632" y="171"/>
                    <a:pt x="421" y="231"/>
                    <a:pt x="211" y="231"/>
                  </a:cubicBezTo>
                  <a:cubicBezTo>
                    <a:pt x="331" y="502"/>
                    <a:pt x="301" y="863"/>
                    <a:pt x="120" y="1104"/>
                  </a:cubicBezTo>
                  <a:cubicBezTo>
                    <a:pt x="0" y="1254"/>
                    <a:pt x="90" y="1254"/>
                    <a:pt x="151" y="1344"/>
                  </a:cubicBezTo>
                  <a:cubicBezTo>
                    <a:pt x="171" y="1358"/>
                    <a:pt x="204" y="1362"/>
                    <a:pt x="243" y="1362"/>
                  </a:cubicBezTo>
                  <a:cubicBezTo>
                    <a:pt x="314" y="1362"/>
                    <a:pt x="406" y="1349"/>
                    <a:pt x="488" y="1349"/>
                  </a:cubicBezTo>
                  <a:cubicBezTo>
                    <a:pt x="563" y="1349"/>
                    <a:pt x="629" y="1360"/>
                    <a:pt x="662" y="1405"/>
                  </a:cubicBezTo>
                  <a:cubicBezTo>
                    <a:pt x="752" y="1525"/>
                    <a:pt x="933" y="1585"/>
                    <a:pt x="1114" y="1585"/>
                  </a:cubicBezTo>
                  <a:cubicBezTo>
                    <a:pt x="1126" y="1577"/>
                    <a:pt x="1143" y="1573"/>
                    <a:pt x="1164" y="1573"/>
                  </a:cubicBezTo>
                  <a:cubicBezTo>
                    <a:pt x="1295" y="1573"/>
                    <a:pt x="1565" y="1726"/>
                    <a:pt x="1565" y="1856"/>
                  </a:cubicBezTo>
                  <a:cubicBezTo>
                    <a:pt x="1565" y="2007"/>
                    <a:pt x="1475" y="2428"/>
                    <a:pt x="1565" y="2428"/>
                  </a:cubicBezTo>
                  <a:cubicBezTo>
                    <a:pt x="1625" y="2428"/>
                    <a:pt x="2167" y="2578"/>
                    <a:pt x="2197" y="2759"/>
                  </a:cubicBezTo>
                  <a:lnTo>
                    <a:pt x="2769" y="2759"/>
                  </a:lnTo>
                  <a:cubicBezTo>
                    <a:pt x="2812" y="2780"/>
                    <a:pt x="2852" y="2790"/>
                    <a:pt x="2888" y="2790"/>
                  </a:cubicBezTo>
                  <a:cubicBezTo>
                    <a:pt x="3005" y="2790"/>
                    <a:pt x="3091" y="2693"/>
                    <a:pt x="3160" y="2578"/>
                  </a:cubicBezTo>
                  <a:cubicBezTo>
                    <a:pt x="3280" y="2428"/>
                    <a:pt x="3581" y="2428"/>
                    <a:pt x="3672" y="2428"/>
                  </a:cubicBezTo>
                  <a:cubicBezTo>
                    <a:pt x="3732" y="2428"/>
                    <a:pt x="3762" y="2157"/>
                    <a:pt x="3762" y="2037"/>
                  </a:cubicBezTo>
                  <a:cubicBezTo>
                    <a:pt x="3852" y="1886"/>
                    <a:pt x="4003" y="1736"/>
                    <a:pt x="4183" y="1675"/>
                  </a:cubicBezTo>
                  <a:cubicBezTo>
                    <a:pt x="4334" y="1645"/>
                    <a:pt x="4304" y="1495"/>
                    <a:pt x="4454" y="1495"/>
                  </a:cubicBezTo>
                  <a:cubicBezTo>
                    <a:pt x="4605" y="1495"/>
                    <a:pt x="4574" y="1284"/>
                    <a:pt x="4514" y="1134"/>
                  </a:cubicBezTo>
                  <a:cubicBezTo>
                    <a:pt x="4514" y="1074"/>
                    <a:pt x="4544" y="983"/>
                    <a:pt x="4605" y="923"/>
                  </a:cubicBezTo>
                  <a:lnTo>
                    <a:pt x="4183" y="652"/>
                  </a:lnTo>
                  <a:cubicBezTo>
                    <a:pt x="3955" y="481"/>
                    <a:pt x="3645" y="229"/>
                    <a:pt x="3460" y="229"/>
                  </a:cubicBezTo>
                  <a:cubicBezTo>
                    <a:pt x="3450" y="229"/>
                    <a:pt x="3440" y="229"/>
                    <a:pt x="3431" y="231"/>
                  </a:cubicBezTo>
                  <a:cubicBezTo>
                    <a:pt x="3414" y="236"/>
                    <a:pt x="3399" y="239"/>
                    <a:pt x="3385" y="239"/>
                  </a:cubicBezTo>
                  <a:cubicBezTo>
                    <a:pt x="3268" y="239"/>
                    <a:pt x="3234" y="63"/>
                    <a:pt x="3074" y="63"/>
                  </a:cubicBezTo>
                  <a:cubicBezTo>
                    <a:pt x="3046" y="63"/>
                    <a:pt x="3015" y="69"/>
                    <a:pt x="2979" y="80"/>
                  </a:cubicBezTo>
                  <a:cubicBezTo>
                    <a:pt x="2814" y="111"/>
                    <a:pt x="2641" y="126"/>
                    <a:pt x="2468" y="126"/>
                  </a:cubicBezTo>
                  <a:cubicBezTo>
                    <a:pt x="2295" y="126"/>
                    <a:pt x="2122" y="111"/>
                    <a:pt x="1956" y="80"/>
                  </a:cubicBezTo>
                  <a:cubicBezTo>
                    <a:pt x="1816" y="80"/>
                    <a:pt x="1461" y="0"/>
                    <a:pt x="1178"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50" name="Google Shape;2944;p123">
              <a:extLst>
                <a:ext uri="{FF2B5EF4-FFF2-40B4-BE49-F238E27FC236}">
                  <a16:creationId xmlns:a16="http://schemas.microsoft.com/office/drawing/2014/main" id="{15F56A51-B109-2640-AFB0-2EE58C4A86DB}"/>
                </a:ext>
              </a:extLst>
            </p:cNvPr>
            <p:cNvSpPr/>
            <p:nvPr/>
          </p:nvSpPr>
          <p:spPr>
            <a:xfrm>
              <a:off x="4417284" y="1993969"/>
              <a:ext cx="110945" cy="58327"/>
            </a:xfrm>
            <a:custGeom>
              <a:avLst/>
              <a:gdLst/>
              <a:ahLst/>
              <a:cxnLst/>
              <a:rect l="l" t="t" r="r" b="b"/>
              <a:pathLst>
                <a:path w="3576" h="1880" extrusionOk="0">
                  <a:moveTo>
                    <a:pt x="2112" y="0"/>
                  </a:moveTo>
                  <a:cubicBezTo>
                    <a:pt x="1993" y="0"/>
                    <a:pt x="1882" y="26"/>
                    <a:pt x="1770" y="63"/>
                  </a:cubicBezTo>
                  <a:cubicBezTo>
                    <a:pt x="1629" y="98"/>
                    <a:pt x="1498" y="113"/>
                    <a:pt x="1366" y="113"/>
                  </a:cubicBezTo>
                  <a:cubicBezTo>
                    <a:pt x="1272" y="113"/>
                    <a:pt x="1178" y="106"/>
                    <a:pt x="1078" y="93"/>
                  </a:cubicBezTo>
                  <a:cubicBezTo>
                    <a:pt x="1078" y="123"/>
                    <a:pt x="1048" y="214"/>
                    <a:pt x="1018" y="214"/>
                  </a:cubicBezTo>
                  <a:cubicBezTo>
                    <a:pt x="807" y="214"/>
                    <a:pt x="657" y="364"/>
                    <a:pt x="596" y="545"/>
                  </a:cubicBezTo>
                  <a:cubicBezTo>
                    <a:pt x="566" y="695"/>
                    <a:pt x="175" y="846"/>
                    <a:pt x="85" y="1147"/>
                  </a:cubicBezTo>
                  <a:cubicBezTo>
                    <a:pt x="1" y="1356"/>
                    <a:pt x="5" y="1522"/>
                    <a:pt x="65" y="1522"/>
                  </a:cubicBezTo>
                  <a:cubicBezTo>
                    <a:pt x="92" y="1522"/>
                    <a:pt x="129" y="1490"/>
                    <a:pt x="175" y="1417"/>
                  </a:cubicBezTo>
                  <a:cubicBezTo>
                    <a:pt x="237" y="1319"/>
                    <a:pt x="309" y="1281"/>
                    <a:pt x="372" y="1281"/>
                  </a:cubicBezTo>
                  <a:cubicBezTo>
                    <a:pt x="463" y="1281"/>
                    <a:pt x="536" y="1359"/>
                    <a:pt x="536" y="1448"/>
                  </a:cubicBezTo>
                  <a:cubicBezTo>
                    <a:pt x="536" y="1598"/>
                    <a:pt x="747" y="1628"/>
                    <a:pt x="687" y="1869"/>
                  </a:cubicBezTo>
                  <a:lnTo>
                    <a:pt x="1349" y="1869"/>
                  </a:lnTo>
                  <a:cubicBezTo>
                    <a:pt x="1499" y="1869"/>
                    <a:pt x="1680" y="1327"/>
                    <a:pt x="1770" y="1297"/>
                  </a:cubicBezTo>
                  <a:cubicBezTo>
                    <a:pt x="1772" y="1296"/>
                    <a:pt x="1774" y="1296"/>
                    <a:pt x="1777" y="1296"/>
                  </a:cubicBezTo>
                  <a:cubicBezTo>
                    <a:pt x="1845" y="1296"/>
                    <a:pt x="2046" y="1693"/>
                    <a:pt x="2191" y="1839"/>
                  </a:cubicBezTo>
                  <a:cubicBezTo>
                    <a:pt x="2220" y="1868"/>
                    <a:pt x="2246" y="1880"/>
                    <a:pt x="2268" y="1880"/>
                  </a:cubicBezTo>
                  <a:cubicBezTo>
                    <a:pt x="2363" y="1880"/>
                    <a:pt x="2402" y="1665"/>
                    <a:pt x="2402" y="1568"/>
                  </a:cubicBezTo>
                  <a:cubicBezTo>
                    <a:pt x="2402" y="1448"/>
                    <a:pt x="2553" y="1387"/>
                    <a:pt x="2703" y="1387"/>
                  </a:cubicBezTo>
                  <a:cubicBezTo>
                    <a:pt x="2770" y="1387"/>
                    <a:pt x="2855" y="1399"/>
                    <a:pt x="2928" y="1399"/>
                  </a:cubicBezTo>
                  <a:cubicBezTo>
                    <a:pt x="3020" y="1399"/>
                    <a:pt x="3094" y="1381"/>
                    <a:pt x="3094" y="1297"/>
                  </a:cubicBezTo>
                  <a:cubicBezTo>
                    <a:pt x="3094" y="1213"/>
                    <a:pt x="3122" y="1195"/>
                    <a:pt x="3167" y="1195"/>
                  </a:cubicBezTo>
                  <a:cubicBezTo>
                    <a:pt x="3204" y="1195"/>
                    <a:pt x="3251" y="1207"/>
                    <a:pt x="3305" y="1207"/>
                  </a:cubicBezTo>
                  <a:cubicBezTo>
                    <a:pt x="3425" y="1207"/>
                    <a:pt x="3425" y="996"/>
                    <a:pt x="3425" y="996"/>
                  </a:cubicBezTo>
                  <a:lnTo>
                    <a:pt x="3576" y="876"/>
                  </a:lnTo>
                  <a:cubicBezTo>
                    <a:pt x="3485" y="808"/>
                    <a:pt x="3378" y="774"/>
                    <a:pt x="3267" y="774"/>
                  </a:cubicBezTo>
                  <a:cubicBezTo>
                    <a:pt x="3230" y="774"/>
                    <a:pt x="3192" y="778"/>
                    <a:pt x="3154" y="785"/>
                  </a:cubicBezTo>
                  <a:cubicBezTo>
                    <a:pt x="3136" y="793"/>
                    <a:pt x="3116" y="796"/>
                    <a:pt x="3096" y="796"/>
                  </a:cubicBezTo>
                  <a:cubicBezTo>
                    <a:pt x="2955" y="796"/>
                    <a:pt x="2793" y="631"/>
                    <a:pt x="2793" y="605"/>
                  </a:cubicBezTo>
                  <a:cubicBezTo>
                    <a:pt x="2763" y="484"/>
                    <a:pt x="2763" y="364"/>
                    <a:pt x="2793" y="244"/>
                  </a:cubicBezTo>
                  <a:lnTo>
                    <a:pt x="2342" y="33"/>
                  </a:lnTo>
                  <a:cubicBezTo>
                    <a:pt x="2261" y="10"/>
                    <a:pt x="2185" y="0"/>
                    <a:pt x="2112"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51" name="Google Shape;2945;p123">
              <a:extLst>
                <a:ext uri="{FF2B5EF4-FFF2-40B4-BE49-F238E27FC236}">
                  <a16:creationId xmlns:a16="http://schemas.microsoft.com/office/drawing/2014/main" id="{CB10F87B-47B9-B746-83E4-7FBDF721E562}"/>
                </a:ext>
              </a:extLst>
            </p:cNvPr>
            <p:cNvSpPr/>
            <p:nvPr/>
          </p:nvSpPr>
          <p:spPr>
            <a:xfrm>
              <a:off x="4413375" y="1757838"/>
              <a:ext cx="220371" cy="246804"/>
            </a:xfrm>
            <a:custGeom>
              <a:avLst/>
              <a:gdLst/>
              <a:ahLst/>
              <a:cxnLst/>
              <a:rect l="l" t="t" r="r" b="b"/>
              <a:pathLst>
                <a:path w="7103" h="7955" extrusionOk="0">
                  <a:moveTo>
                    <a:pt x="2107" y="0"/>
                  </a:moveTo>
                  <a:lnTo>
                    <a:pt x="2107" y="0"/>
                  </a:lnTo>
                  <a:cubicBezTo>
                    <a:pt x="2197" y="151"/>
                    <a:pt x="2317" y="301"/>
                    <a:pt x="2257" y="391"/>
                  </a:cubicBezTo>
                  <a:cubicBezTo>
                    <a:pt x="2227" y="451"/>
                    <a:pt x="2317" y="782"/>
                    <a:pt x="2468" y="1083"/>
                  </a:cubicBezTo>
                  <a:cubicBezTo>
                    <a:pt x="2618" y="1384"/>
                    <a:pt x="2167" y="1204"/>
                    <a:pt x="2107" y="1384"/>
                  </a:cubicBezTo>
                  <a:cubicBezTo>
                    <a:pt x="2097" y="1452"/>
                    <a:pt x="2048" y="1476"/>
                    <a:pt x="1982" y="1476"/>
                  </a:cubicBezTo>
                  <a:cubicBezTo>
                    <a:pt x="1841" y="1476"/>
                    <a:pt x="1626" y="1365"/>
                    <a:pt x="1565" y="1324"/>
                  </a:cubicBezTo>
                  <a:cubicBezTo>
                    <a:pt x="1523" y="1293"/>
                    <a:pt x="1430" y="1280"/>
                    <a:pt x="1329" y="1280"/>
                  </a:cubicBezTo>
                  <a:cubicBezTo>
                    <a:pt x="1140" y="1280"/>
                    <a:pt x="924" y="1326"/>
                    <a:pt x="963" y="1384"/>
                  </a:cubicBezTo>
                  <a:cubicBezTo>
                    <a:pt x="963" y="1445"/>
                    <a:pt x="933" y="1535"/>
                    <a:pt x="903" y="1595"/>
                  </a:cubicBezTo>
                  <a:cubicBezTo>
                    <a:pt x="993" y="1806"/>
                    <a:pt x="1023" y="1986"/>
                    <a:pt x="963" y="2107"/>
                  </a:cubicBezTo>
                  <a:cubicBezTo>
                    <a:pt x="752" y="2378"/>
                    <a:pt x="512" y="2408"/>
                    <a:pt x="542" y="2498"/>
                  </a:cubicBezTo>
                  <a:cubicBezTo>
                    <a:pt x="572" y="2558"/>
                    <a:pt x="873" y="2799"/>
                    <a:pt x="783" y="2889"/>
                  </a:cubicBezTo>
                  <a:cubicBezTo>
                    <a:pt x="722" y="3009"/>
                    <a:pt x="662" y="2949"/>
                    <a:pt x="662" y="3160"/>
                  </a:cubicBezTo>
                  <a:cubicBezTo>
                    <a:pt x="662" y="3320"/>
                    <a:pt x="502" y="3347"/>
                    <a:pt x="368" y="3347"/>
                  </a:cubicBezTo>
                  <a:cubicBezTo>
                    <a:pt x="301" y="3347"/>
                    <a:pt x="241" y="3341"/>
                    <a:pt x="211" y="3341"/>
                  </a:cubicBezTo>
                  <a:cubicBezTo>
                    <a:pt x="90" y="3341"/>
                    <a:pt x="211" y="3581"/>
                    <a:pt x="151" y="3732"/>
                  </a:cubicBezTo>
                  <a:cubicBezTo>
                    <a:pt x="120" y="3942"/>
                    <a:pt x="60" y="4153"/>
                    <a:pt x="30" y="4364"/>
                  </a:cubicBezTo>
                  <a:cubicBezTo>
                    <a:pt x="0" y="4514"/>
                    <a:pt x="271" y="4755"/>
                    <a:pt x="271" y="4845"/>
                  </a:cubicBezTo>
                  <a:cubicBezTo>
                    <a:pt x="271" y="4966"/>
                    <a:pt x="30" y="5086"/>
                    <a:pt x="90" y="5146"/>
                  </a:cubicBezTo>
                  <a:cubicBezTo>
                    <a:pt x="241" y="5327"/>
                    <a:pt x="331" y="5568"/>
                    <a:pt x="331" y="5838"/>
                  </a:cubicBezTo>
                  <a:lnTo>
                    <a:pt x="542" y="5899"/>
                  </a:lnTo>
                  <a:cubicBezTo>
                    <a:pt x="632" y="6079"/>
                    <a:pt x="813" y="6169"/>
                    <a:pt x="1023" y="6169"/>
                  </a:cubicBezTo>
                  <a:cubicBezTo>
                    <a:pt x="1264" y="6169"/>
                    <a:pt x="1354" y="6320"/>
                    <a:pt x="1445" y="6320"/>
                  </a:cubicBezTo>
                  <a:cubicBezTo>
                    <a:pt x="1505" y="6320"/>
                    <a:pt x="1866" y="6350"/>
                    <a:pt x="1625" y="6591"/>
                  </a:cubicBezTo>
                  <a:cubicBezTo>
                    <a:pt x="1445" y="6771"/>
                    <a:pt x="1324" y="6982"/>
                    <a:pt x="1294" y="7223"/>
                  </a:cubicBezTo>
                  <a:cubicBezTo>
                    <a:pt x="1264" y="7373"/>
                    <a:pt x="1264" y="7554"/>
                    <a:pt x="1204" y="7704"/>
                  </a:cubicBezTo>
                  <a:cubicBezTo>
                    <a:pt x="1304" y="7717"/>
                    <a:pt x="1398" y="7724"/>
                    <a:pt x="1492" y="7724"/>
                  </a:cubicBezTo>
                  <a:cubicBezTo>
                    <a:pt x="1624" y="7724"/>
                    <a:pt x="1755" y="7709"/>
                    <a:pt x="1896" y="7674"/>
                  </a:cubicBezTo>
                  <a:cubicBezTo>
                    <a:pt x="2008" y="7637"/>
                    <a:pt x="2119" y="7611"/>
                    <a:pt x="2238" y="7611"/>
                  </a:cubicBezTo>
                  <a:cubicBezTo>
                    <a:pt x="2311" y="7611"/>
                    <a:pt x="2387" y="7621"/>
                    <a:pt x="2468" y="7644"/>
                  </a:cubicBezTo>
                  <a:lnTo>
                    <a:pt x="2919" y="7855"/>
                  </a:lnTo>
                  <a:cubicBezTo>
                    <a:pt x="2919" y="7795"/>
                    <a:pt x="2949" y="7734"/>
                    <a:pt x="2979" y="7734"/>
                  </a:cubicBezTo>
                  <a:cubicBezTo>
                    <a:pt x="3004" y="7734"/>
                    <a:pt x="3208" y="7954"/>
                    <a:pt x="3348" y="7954"/>
                  </a:cubicBezTo>
                  <a:cubicBezTo>
                    <a:pt x="3380" y="7954"/>
                    <a:pt x="3409" y="7943"/>
                    <a:pt x="3431" y="7915"/>
                  </a:cubicBezTo>
                  <a:cubicBezTo>
                    <a:pt x="3506" y="7821"/>
                    <a:pt x="3617" y="7774"/>
                    <a:pt x="3726" y="7774"/>
                  </a:cubicBezTo>
                  <a:cubicBezTo>
                    <a:pt x="3791" y="7774"/>
                    <a:pt x="3856" y="7791"/>
                    <a:pt x="3912" y="7825"/>
                  </a:cubicBezTo>
                  <a:cubicBezTo>
                    <a:pt x="3982" y="7867"/>
                    <a:pt x="4059" y="7889"/>
                    <a:pt x="4132" y="7889"/>
                  </a:cubicBezTo>
                  <a:cubicBezTo>
                    <a:pt x="4218" y="7889"/>
                    <a:pt x="4299" y="7859"/>
                    <a:pt x="4364" y="7795"/>
                  </a:cubicBezTo>
                  <a:cubicBezTo>
                    <a:pt x="4542" y="7683"/>
                    <a:pt x="4737" y="7621"/>
                    <a:pt x="4949" y="7621"/>
                  </a:cubicBezTo>
                  <a:cubicBezTo>
                    <a:pt x="5023" y="7621"/>
                    <a:pt x="5099" y="7629"/>
                    <a:pt x="5176" y="7644"/>
                  </a:cubicBezTo>
                  <a:cubicBezTo>
                    <a:pt x="5243" y="7657"/>
                    <a:pt x="5340" y="7695"/>
                    <a:pt x="5416" y="7695"/>
                  </a:cubicBezTo>
                  <a:cubicBezTo>
                    <a:pt x="5511" y="7695"/>
                    <a:pt x="5574" y="7637"/>
                    <a:pt x="5507" y="7403"/>
                  </a:cubicBezTo>
                  <a:cubicBezTo>
                    <a:pt x="5387" y="7012"/>
                    <a:pt x="5778" y="7072"/>
                    <a:pt x="5808" y="6892"/>
                  </a:cubicBezTo>
                  <a:cubicBezTo>
                    <a:pt x="5838" y="6711"/>
                    <a:pt x="6320" y="6651"/>
                    <a:pt x="6260" y="6561"/>
                  </a:cubicBezTo>
                  <a:cubicBezTo>
                    <a:pt x="5989" y="6320"/>
                    <a:pt x="5718" y="6109"/>
                    <a:pt x="5417" y="5959"/>
                  </a:cubicBezTo>
                  <a:cubicBezTo>
                    <a:pt x="5237" y="5838"/>
                    <a:pt x="5237" y="5417"/>
                    <a:pt x="5176" y="5267"/>
                  </a:cubicBezTo>
                  <a:cubicBezTo>
                    <a:pt x="5086" y="5116"/>
                    <a:pt x="4875" y="4905"/>
                    <a:pt x="5116" y="4845"/>
                  </a:cubicBezTo>
                  <a:cubicBezTo>
                    <a:pt x="5417" y="4785"/>
                    <a:pt x="5688" y="4695"/>
                    <a:pt x="5929" y="4514"/>
                  </a:cubicBezTo>
                  <a:cubicBezTo>
                    <a:pt x="6139" y="4424"/>
                    <a:pt x="6350" y="4334"/>
                    <a:pt x="6591" y="4243"/>
                  </a:cubicBezTo>
                  <a:cubicBezTo>
                    <a:pt x="6617" y="4224"/>
                    <a:pt x="6647" y="4217"/>
                    <a:pt x="6679" y="4217"/>
                  </a:cubicBezTo>
                  <a:cubicBezTo>
                    <a:pt x="6756" y="4217"/>
                    <a:pt x="6845" y="4256"/>
                    <a:pt x="6917" y="4256"/>
                  </a:cubicBezTo>
                  <a:cubicBezTo>
                    <a:pt x="6955" y="4256"/>
                    <a:pt x="6988" y="4246"/>
                    <a:pt x="7012" y="4213"/>
                  </a:cubicBezTo>
                  <a:cubicBezTo>
                    <a:pt x="7102" y="4063"/>
                    <a:pt x="7102" y="3912"/>
                    <a:pt x="7012" y="3762"/>
                  </a:cubicBezTo>
                  <a:cubicBezTo>
                    <a:pt x="6892" y="3581"/>
                    <a:pt x="6832" y="3371"/>
                    <a:pt x="6832" y="3160"/>
                  </a:cubicBezTo>
                  <a:cubicBezTo>
                    <a:pt x="6832" y="2859"/>
                    <a:pt x="6711" y="2859"/>
                    <a:pt x="6711" y="2709"/>
                  </a:cubicBezTo>
                  <a:cubicBezTo>
                    <a:pt x="6711" y="2558"/>
                    <a:pt x="6651" y="2438"/>
                    <a:pt x="6561" y="2347"/>
                  </a:cubicBezTo>
                  <a:cubicBezTo>
                    <a:pt x="6440" y="2257"/>
                    <a:pt x="6380" y="2227"/>
                    <a:pt x="6470" y="2046"/>
                  </a:cubicBezTo>
                  <a:cubicBezTo>
                    <a:pt x="6591" y="1836"/>
                    <a:pt x="6561" y="1354"/>
                    <a:pt x="6531" y="1204"/>
                  </a:cubicBezTo>
                  <a:lnTo>
                    <a:pt x="6531" y="1083"/>
                  </a:lnTo>
                  <a:cubicBezTo>
                    <a:pt x="6470" y="1083"/>
                    <a:pt x="6440" y="1053"/>
                    <a:pt x="6440" y="1023"/>
                  </a:cubicBezTo>
                  <a:cubicBezTo>
                    <a:pt x="6410" y="843"/>
                    <a:pt x="6290" y="752"/>
                    <a:pt x="5989" y="752"/>
                  </a:cubicBezTo>
                  <a:cubicBezTo>
                    <a:pt x="5688" y="752"/>
                    <a:pt x="6170" y="451"/>
                    <a:pt x="6019" y="301"/>
                  </a:cubicBezTo>
                  <a:cubicBezTo>
                    <a:pt x="5996" y="278"/>
                    <a:pt x="5971" y="268"/>
                    <a:pt x="5943" y="268"/>
                  </a:cubicBezTo>
                  <a:cubicBezTo>
                    <a:pt x="5811" y="268"/>
                    <a:pt x="5634" y="494"/>
                    <a:pt x="5436" y="494"/>
                  </a:cubicBezTo>
                  <a:cubicBezTo>
                    <a:pt x="5410" y="494"/>
                    <a:pt x="5384" y="490"/>
                    <a:pt x="5357" y="482"/>
                  </a:cubicBezTo>
                  <a:cubicBezTo>
                    <a:pt x="5337" y="477"/>
                    <a:pt x="5316" y="475"/>
                    <a:pt x="5294" y="475"/>
                  </a:cubicBezTo>
                  <a:cubicBezTo>
                    <a:pt x="5032" y="475"/>
                    <a:pt x="4705" y="798"/>
                    <a:pt x="4454" y="993"/>
                  </a:cubicBezTo>
                  <a:cubicBezTo>
                    <a:pt x="4388" y="1037"/>
                    <a:pt x="4318" y="1056"/>
                    <a:pt x="4253" y="1056"/>
                  </a:cubicBezTo>
                  <a:cubicBezTo>
                    <a:pt x="4052" y="1056"/>
                    <a:pt x="3896" y="874"/>
                    <a:pt x="4033" y="692"/>
                  </a:cubicBezTo>
                  <a:cubicBezTo>
                    <a:pt x="4134" y="541"/>
                    <a:pt x="4122" y="483"/>
                    <a:pt x="4044" y="483"/>
                  </a:cubicBezTo>
                  <a:cubicBezTo>
                    <a:pt x="3983" y="483"/>
                    <a:pt x="3881" y="519"/>
                    <a:pt x="3762" y="572"/>
                  </a:cubicBezTo>
                  <a:cubicBezTo>
                    <a:pt x="3705" y="600"/>
                    <a:pt x="3639" y="614"/>
                    <a:pt x="3572" y="614"/>
                  </a:cubicBezTo>
                  <a:cubicBezTo>
                    <a:pt x="3359" y="614"/>
                    <a:pt x="3137" y="477"/>
                    <a:pt x="3160" y="271"/>
                  </a:cubicBezTo>
                  <a:cubicBezTo>
                    <a:pt x="3160" y="211"/>
                    <a:pt x="3160" y="120"/>
                    <a:pt x="3130" y="90"/>
                  </a:cubicBezTo>
                  <a:cubicBezTo>
                    <a:pt x="3085" y="105"/>
                    <a:pt x="3032" y="113"/>
                    <a:pt x="2979" y="113"/>
                  </a:cubicBezTo>
                  <a:cubicBezTo>
                    <a:pt x="2927" y="113"/>
                    <a:pt x="2874" y="105"/>
                    <a:pt x="2829" y="90"/>
                  </a:cubicBezTo>
                  <a:lnTo>
                    <a:pt x="2107" y="0"/>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52" name="Google Shape;2946;p123">
              <a:extLst>
                <a:ext uri="{FF2B5EF4-FFF2-40B4-BE49-F238E27FC236}">
                  <a16:creationId xmlns:a16="http://schemas.microsoft.com/office/drawing/2014/main" id="{D8588753-2945-6948-AA17-6A0AFE63D96E}"/>
                </a:ext>
              </a:extLst>
            </p:cNvPr>
            <p:cNvSpPr/>
            <p:nvPr/>
          </p:nvSpPr>
          <p:spPr>
            <a:xfrm>
              <a:off x="4772831" y="1164609"/>
              <a:ext cx="260517" cy="407700"/>
            </a:xfrm>
            <a:custGeom>
              <a:avLst/>
              <a:gdLst/>
              <a:ahLst/>
              <a:cxnLst/>
              <a:rect l="l" t="t" r="r" b="b"/>
              <a:pathLst>
                <a:path w="8397" h="13141" extrusionOk="0">
                  <a:moveTo>
                    <a:pt x="5442" y="0"/>
                  </a:moveTo>
                  <a:cubicBezTo>
                    <a:pt x="5301" y="0"/>
                    <a:pt x="5155" y="76"/>
                    <a:pt x="5087" y="161"/>
                  </a:cubicBezTo>
                  <a:cubicBezTo>
                    <a:pt x="5036" y="224"/>
                    <a:pt x="4892" y="229"/>
                    <a:pt x="4741" y="229"/>
                  </a:cubicBezTo>
                  <a:cubicBezTo>
                    <a:pt x="4711" y="229"/>
                    <a:pt x="4680" y="229"/>
                    <a:pt x="4650" y="229"/>
                  </a:cubicBezTo>
                  <a:cubicBezTo>
                    <a:pt x="4470" y="229"/>
                    <a:pt x="4304" y="237"/>
                    <a:pt x="4304" y="342"/>
                  </a:cubicBezTo>
                  <a:cubicBezTo>
                    <a:pt x="4304" y="583"/>
                    <a:pt x="3793" y="613"/>
                    <a:pt x="3793" y="884"/>
                  </a:cubicBezTo>
                  <a:cubicBezTo>
                    <a:pt x="3793" y="1138"/>
                    <a:pt x="4005" y="1551"/>
                    <a:pt x="3732" y="1551"/>
                  </a:cubicBezTo>
                  <a:cubicBezTo>
                    <a:pt x="3714" y="1551"/>
                    <a:pt x="3694" y="1549"/>
                    <a:pt x="3672" y="1546"/>
                  </a:cubicBezTo>
                  <a:cubicBezTo>
                    <a:pt x="3644" y="1544"/>
                    <a:pt x="3619" y="1543"/>
                    <a:pt x="3597" y="1543"/>
                  </a:cubicBezTo>
                  <a:cubicBezTo>
                    <a:pt x="3318" y="1543"/>
                    <a:pt x="3534" y="1718"/>
                    <a:pt x="3311" y="1997"/>
                  </a:cubicBezTo>
                  <a:cubicBezTo>
                    <a:pt x="3260" y="2071"/>
                    <a:pt x="3221" y="2097"/>
                    <a:pt x="3188" y="2097"/>
                  </a:cubicBezTo>
                  <a:cubicBezTo>
                    <a:pt x="3098" y="2097"/>
                    <a:pt x="3053" y="1895"/>
                    <a:pt x="2918" y="1895"/>
                  </a:cubicBezTo>
                  <a:cubicBezTo>
                    <a:pt x="2900" y="1895"/>
                    <a:pt x="2881" y="1899"/>
                    <a:pt x="2860" y="1907"/>
                  </a:cubicBezTo>
                  <a:cubicBezTo>
                    <a:pt x="2840" y="1913"/>
                    <a:pt x="2820" y="1915"/>
                    <a:pt x="2799" y="1915"/>
                  </a:cubicBezTo>
                  <a:cubicBezTo>
                    <a:pt x="2652" y="1915"/>
                    <a:pt x="2486" y="1788"/>
                    <a:pt x="2365" y="1788"/>
                  </a:cubicBezTo>
                  <a:cubicBezTo>
                    <a:pt x="2323" y="1788"/>
                    <a:pt x="2286" y="1804"/>
                    <a:pt x="2258" y="1847"/>
                  </a:cubicBezTo>
                  <a:cubicBezTo>
                    <a:pt x="2224" y="1925"/>
                    <a:pt x="2149" y="1954"/>
                    <a:pt x="2048" y="1954"/>
                  </a:cubicBezTo>
                  <a:cubicBezTo>
                    <a:pt x="1880" y="1954"/>
                    <a:pt x="1642" y="1873"/>
                    <a:pt x="1415" y="1817"/>
                  </a:cubicBezTo>
                  <a:cubicBezTo>
                    <a:pt x="1024" y="1756"/>
                    <a:pt x="843" y="1215"/>
                    <a:pt x="542" y="1185"/>
                  </a:cubicBezTo>
                  <a:cubicBezTo>
                    <a:pt x="302" y="1185"/>
                    <a:pt x="91" y="1335"/>
                    <a:pt x="1" y="1546"/>
                  </a:cubicBezTo>
                  <a:cubicBezTo>
                    <a:pt x="302" y="1756"/>
                    <a:pt x="512" y="2057"/>
                    <a:pt x="873" y="2208"/>
                  </a:cubicBezTo>
                  <a:cubicBezTo>
                    <a:pt x="1265" y="2358"/>
                    <a:pt x="2047" y="2599"/>
                    <a:pt x="2017" y="2870"/>
                  </a:cubicBezTo>
                  <a:cubicBezTo>
                    <a:pt x="1957" y="3141"/>
                    <a:pt x="1866" y="3502"/>
                    <a:pt x="2047" y="3622"/>
                  </a:cubicBezTo>
                  <a:cubicBezTo>
                    <a:pt x="2228" y="3743"/>
                    <a:pt x="2017" y="4224"/>
                    <a:pt x="2228" y="4345"/>
                  </a:cubicBezTo>
                  <a:cubicBezTo>
                    <a:pt x="2468" y="4465"/>
                    <a:pt x="2378" y="5007"/>
                    <a:pt x="2197" y="5007"/>
                  </a:cubicBezTo>
                  <a:cubicBezTo>
                    <a:pt x="2017" y="5007"/>
                    <a:pt x="2228" y="5308"/>
                    <a:pt x="2348" y="5428"/>
                  </a:cubicBezTo>
                  <a:cubicBezTo>
                    <a:pt x="2378" y="5548"/>
                    <a:pt x="2438" y="5699"/>
                    <a:pt x="2468" y="5849"/>
                  </a:cubicBezTo>
                  <a:cubicBezTo>
                    <a:pt x="2679" y="5909"/>
                    <a:pt x="2890" y="6000"/>
                    <a:pt x="3100" y="6120"/>
                  </a:cubicBezTo>
                  <a:cubicBezTo>
                    <a:pt x="3401" y="6210"/>
                    <a:pt x="3371" y="6451"/>
                    <a:pt x="3371" y="6722"/>
                  </a:cubicBezTo>
                  <a:cubicBezTo>
                    <a:pt x="3371" y="6898"/>
                    <a:pt x="3387" y="7010"/>
                    <a:pt x="3337" y="7010"/>
                  </a:cubicBezTo>
                  <a:cubicBezTo>
                    <a:pt x="3318" y="7010"/>
                    <a:pt x="3291" y="6995"/>
                    <a:pt x="3251" y="6963"/>
                  </a:cubicBezTo>
                  <a:cubicBezTo>
                    <a:pt x="3216" y="6942"/>
                    <a:pt x="3176" y="6931"/>
                    <a:pt x="3135" y="6931"/>
                  </a:cubicBezTo>
                  <a:cubicBezTo>
                    <a:pt x="2998" y="6931"/>
                    <a:pt x="2846" y="7054"/>
                    <a:pt x="2799" y="7354"/>
                  </a:cubicBezTo>
                  <a:cubicBezTo>
                    <a:pt x="2649" y="7715"/>
                    <a:pt x="2378" y="7986"/>
                    <a:pt x="1987" y="8136"/>
                  </a:cubicBezTo>
                  <a:cubicBezTo>
                    <a:pt x="1686" y="8136"/>
                    <a:pt x="1746" y="8437"/>
                    <a:pt x="1505" y="8468"/>
                  </a:cubicBezTo>
                  <a:cubicBezTo>
                    <a:pt x="1295" y="8528"/>
                    <a:pt x="1084" y="8678"/>
                    <a:pt x="1084" y="8919"/>
                  </a:cubicBezTo>
                  <a:cubicBezTo>
                    <a:pt x="1084" y="9190"/>
                    <a:pt x="753" y="9190"/>
                    <a:pt x="542" y="9190"/>
                  </a:cubicBezTo>
                  <a:cubicBezTo>
                    <a:pt x="302" y="9190"/>
                    <a:pt x="392" y="9611"/>
                    <a:pt x="181" y="9671"/>
                  </a:cubicBezTo>
                  <a:cubicBezTo>
                    <a:pt x="1" y="9762"/>
                    <a:pt x="31" y="9942"/>
                    <a:pt x="241" y="10123"/>
                  </a:cubicBezTo>
                  <a:cubicBezTo>
                    <a:pt x="422" y="10333"/>
                    <a:pt x="241" y="10544"/>
                    <a:pt x="302" y="10695"/>
                  </a:cubicBezTo>
                  <a:cubicBezTo>
                    <a:pt x="392" y="10845"/>
                    <a:pt x="602" y="11236"/>
                    <a:pt x="422" y="11597"/>
                  </a:cubicBezTo>
                  <a:cubicBezTo>
                    <a:pt x="247" y="11977"/>
                    <a:pt x="100" y="12441"/>
                    <a:pt x="229" y="12441"/>
                  </a:cubicBezTo>
                  <a:cubicBezTo>
                    <a:pt x="233" y="12441"/>
                    <a:pt x="237" y="12441"/>
                    <a:pt x="241" y="12440"/>
                  </a:cubicBezTo>
                  <a:cubicBezTo>
                    <a:pt x="253" y="12435"/>
                    <a:pt x="266" y="12433"/>
                    <a:pt x="279" y="12433"/>
                  </a:cubicBezTo>
                  <a:cubicBezTo>
                    <a:pt x="429" y="12433"/>
                    <a:pt x="690" y="12688"/>
                    <a:pt x="883" y="12688"/>
                  </a:cubicBezTo>
                  <a:cubicBezTo>
                    <a:pt x="900" y="12688"/>
                    <a:pt x="917" y="12685"/>
                    <a:pt x="934" y="12681"/>
                  </a:cubicBezTo>
                  <a:cubicBezTo>
                    <a:pt x="942" y="12680"/>
                    <a:pt x="951" y="12679"/>
                    <a:pt x="960" y="12679"/>
                  </a:cubicBezTo>
                  <a:cubicBezTo>
                    <a:pt x="1153" y="12679"/>
                    <a:pt x="1203" y="12965"/>
                    <a:pt x="1376" y="12965"/>
                  </a:cubicBezTo>
                  <a:cubicBezTo>
                    <a:pt x="1397" y="12965"/>
                    <a:pt x="1420" y="12961"/>
                    <a:pt x="1445" y="12952"/>
                  </a:cubicBezTo>
                  <a:cubicBezTo>
                    <a:pt x="1464" y="12946"/>
                    <a:pt x="1482" y="12944"/>
                    <a:pt x="1498" y="12944"/>
                  </a:cubicBezTo>
                  <a:cubicBezTo>
                    <a:pt x="1645" y="12944"/>
                    <a:pt x="1702" y="13140"/>
                    <a:pt x="2129" y="13140"/>
                  </a:cubicBezTo>
                  <a:cubicBezTo>
                    <a:pt x="2177" y="13140"/>
                    <a:pt x="2230" y="13138"/>
                    <a:pt x="2288" y="13132"/>
                  </a:cubicBezTo>
                  <a:cubicBezTo>
                    <a:pt x="2950" y="13102"/>
                    <a:pt x="4244" y="12590"/>
                    <a:pt x="4786" y="12590"/>
                  </a:cubicBezTo>
                  <a:lnTo>
                    <a:pt x="5478" y="12500"/>
                  </a:lnTo>
                  <a:lnTo>
                    <a:pt x="5869" y="12019"/>
                  </a:lnTo>
                  <a:cubicBezTo>
                    <a:pt x="6170" y="11718"/>
                    <a:pt x="6892" y="11447"/>
                    <a:pt x="7073" y="11026"/>
                  </a:cubicBezTo>
                  <a:cubicBezTo>
                    <a:pt x="7284" y="10634"/>
                    <a:pt x="8096" y="10273"/>
                    <a:pt x="8247" y="9912"/>
                  </a:cubicBezTo>
                  <a:cubicBezTo>
                    <a:pt x="8397" y="9521"/>
                    <a:pt x="8367" y="9641"/>
                    <a:pt x="8036" y="9280"/>
                  </a:cubicBezTo>
                  <a:cubicBezTo>
                    <a:pt x="7675" y="8889"/>
                    <a:pt x="7043" y="8708"/>
                    <a:pt x="7043" y="8528"/>
                  </a:cubicBezTo>
                  <a:cubicBezTo>
                    <a:pt x="7043" y="8317"/>
                    <a:pt x="7524" y="8287"/>
                    <a:pt x="7524" y="8046"/>
                  </a:cubicBezTo>
                  <a:cubicBezTo>
                    <a:pt x="7524" y="7836"/>
                    <a:pt x="7223" y="7836"/>
                    <a:pt x="7133" y="7655"/>
                  </a:cubicBezTo>
                  <a:cubicBezTo>
                    <a:pt x="7013" y="7444"/>
                    <a:pt x="7223" y="7354"/>
                    <a:pt x="7223" y="7234"/>
                  </a:cubicBezTo>
                  <a:cubicBezTo>
                    <a:pt x="7223" y="7113"/>
                    <a:pt x="6862" y="7113"/>
                    <a:pt x="6802" y="6963"/>
                  </a:cubicBezTo>
                  <a:cubicBezTo>
                    <a:pt x="6772" y="6812"/>
                    <a:pt x="7043" y="6903"/>
                    <a:pt x="7013" y="6752"/>
                  </a:cubicBezTo>
                  <a:cubicBezTo>
                    <a:pt x="6952" y="6602"/>
                    <a:pt x="6742" y="6361"/>
                    <a:pt x="6892" y="6150"/>
                  </a:cubicBezTo>
                  <a:cubicBezTo>
                    <a:pt x="7043" y="5909"/>
                    <a:pt x="7404" y="6150"/>
                    <a:pt x="7163" y="5699"/>
                  </a:cubicBezTo>
                  <a:cubicBezTo>
                    <a:pt x="6892" y="5247"/>
                    <a:pt x="6471" y="4646"/>
                    <a:pt x="6411" y="4495"/>
                  </a:cubicBezTo>
                  <a:cubicBezTo>
                    <a:pt x="6320" y="4345"/>
                    <a:pt x="6471" y="4104"/>
                    <a:pt x="6621" y="4014"/>
                  </a:cubicBezTo>
                  <a:cubicBezTo>
                    <a:pt x="6772" y="3893"/>
                    <a:pt x="7133" y="3592"/>
                    <a:pt x="7133" y="3442"/>
                  </a:cubicBezTo>
                  <a:cubicBezTo>
                    <a:pt x="7133" y="3291"/>
                    <a:pt x="6682" y="2900"/>
                    <a:pt x="6561" y="2840"/>
                  </a:cubicBezTo>
                  <a:cubicBezTo>
                    <a:pt x="6441" y="2750"/>
                    <a:pt x="6170" y="2810"/>
                    <a:pt x="6050" y="2569"/>
                  </a:cubicBezTo>
                  <a:cubicBezTo>
                    <a:pt x="5959" y="2358"/>
                    <a:pt x="5839" y="2268"/>
                    <a:pt x="5959" y="2118"/>
                  </a:cubicBezTo>
                  <a:cubicBezTo>
                    <a:pt x="6050" y="1997"/>
                    <a:pt x="6080" y="1847"/>
                    <a:pt x="6050" y="1696"/>
                  </a:cubicBezTo>
                  <a:cubicBezTo>
                    <a:pt x="6050" y="1546"/>
                    <a:pt x="6320" y="1666"/>
                    <a:pt x="6381" y="1486"/>
                  </a:cubicBezTo>
                  <a:cubicBezTo>
                    <a:pt x="6411" y="1365"/>
                    <a:pt x="6471" y="1275"/>
                    <a:pt x="6561" y="1185"/>
                  </a:cubicBezTo>
                  <a:lnTo>
                    <a:pt x="6561" y="733"/>
                  </a:lnTo>
                  <a:cubicBezTo>
                    <a:pt x="6501" y="492"/>
                    <a:pt x="5869" y="432"/>
                    <a:pt x="5719" y="161"/>
                  </a:cubicBezTo>
                  <a:cubicBezTo>
                    <a:pt x="5653" y="44"/>
                    <a:pt x="5549" y="0"/>
                    <a:pt x="5442"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53" name="Google Shape;2947;p123">
              <a:extLst>
                <a:ext uri="{FF2B5EF4-FFF2-40B4-BE49-F238E27FC236}">
                  <a16:creationId xmlns:a16="http://schemas.microsoft.com/office/drawing/2014/main" id="{11DF9FB1-394E-6342-8FEF-383A986CAF0A}"/>
                </a:ext>
              </a:extLst>
            </p:cNvPr>
            <p:cNvSpPr/>
            <p:nvPr/>
          </p:nvSpPr>
          <p:spPr>
            <a:xfrm>
              <a:off x="5103371" y="2451557"/>
              <a:ext cx="518211" cy="413656"/>
            </a:xfrm>
            <a:custGeom>
              <a:avLst/>
              <a:gdLst/>
              <a:ahLst/>
              <a:cxnLst/>
              <a:rect l="l" t="t" r="r" b="b"/>
              <a:pathLst>
                <a:path w="16703" h="13333" extrusionOk="0">
                  <a:moveTo>
                    <a:pt x="3491" y="0"/>
                  </a:moveTo>
                  <a:cubicBezTo>
                    <a:pt x="3160" y="0"/>
                    <a:pt x="3311" y="211"/>
                    <a:pt x="2679" y="211"/>
                  </a:cubicBezTo>
                  <a:cubicBezTo>
                    <a:pt x="2047" y="211"/>
                    <a:pt x="1746" y="662"/>
                    <a:pt x="1926" y="753"/>
                  </a:cubicBezTo>
                  <a:cubicBezTo>
                    <a:pt x="2107" y="813"/>
                    <a:pt x="2679" y="1355"/>
                    <a:pt x="2498" y="1415"/>
                  </a:cubicBezTo>
                  <a:cubicBezTo>
                    <a:pt x="2287" y="1505"/>
                    <a:pt x="2287" y="1806"/>
                    <a:pt x="2047" y="1806"/>
                  </a:cubicBezTo>
                  <a:cubicBezTo>
                    <a:pt x="1776" y="1806"/>
                    <a:pt x="1535" y="1836"/>
                    <a:pt x="1535" y="2017"/>
                  </a:cubicBezTo>
                  <a:cubicBezTo>
                    <a:pt x="1535" y="2189"/>
                    <a:pt x="1207" y="2470"/>
                    <a:pt x="942" y="2470"/>
                  </a:cubicBezTo>
                  <a:cubicBezTo>
                    <a:pt x="929" y="2470"/>
                    <a:pt x="916" y="2470"/>
                    <a:pt x="903" y="2468"/>
                  </a:cubicBezTo>
                  <a:cubicBezTo>
                    <a:pt x="632" y="2408"/>
                    <a:pt x="361" y="2288"/>
                    <a:pt x="120" y="2137"/>
                  </a:cubicBezTo>
                  <a:lnTo>
                    <a:pt x="30" y="2348"/>
                  </a:lnTo>
                  <a:lnTo>
                    <a:pt x="30" y="2588"/>
                  </a:lnTo>
                  <a:cubicBezTo>
                    <a:pt x="90" y="2739"/>
                    <a:pt x="0" y="3401"/>
                    <a:pt x="181" y="3491"/>
                  </a:cubicBezTo>
                  <a:cubicBezTo>
                    <a:pt x="391" y="3552"/>
                    <a:pt x="452" y="3852"/>
                    <a:pt x="843" y="4274"/>
                  </a:cubicBezTo>
                  <a:cubicBezTo>
                    <a:pt x="1204" y="4695"/>
                    <a:pt x="1956" y="5779"/>
                    <a:pt x="1956" y="6049"/>
                  </a:cubicBezTo>
                  <a:cubicBezTo>
                    <a:pt x="1986" y="6411"/>
                    <a:pt x="2227" y="6742"/>
                    <a:pt x="2558" y="6892"/>
                  </a:cubicBezTo>
                  <a:cubicBezTo>
                    <a:pt x="3040" y="7253"/>
                    <a:pt x="3040" y="7614"/>
                    <a:pt x="3280" y="7825"/>
                  </a:cubicBezTo>
                  <a:cubicBezTo>
                    <a:pt x="3491" y="8006"/>
                    <a:pt x="3461" y="8216"/>
                    <a:pt x="3491" y="8668"/>
                  </a:cubicBezTo>
                  <a:cubicBezTo>
                    <a:pt x="3491" y="9209"/>
                    <a:pt x="3732" y="9691"/>
                    <a:pt x="4153" y="10022"/>
                  </a:cubicBezTo>
                  <a:cubicBezTo>
                    <a:pt x="4544" y="10233"/>
                    <a:pt x="4875" y="10594"/>
                    <a:pt x="5056" y="11045"/>
                  </a:cubicBezTo>
                  <a:cubicBezTo>
                    <a:pt x="5176" y="11497"/>
                    <a:pt x="5447" y="11918"/>
                    <a:pt x="5748" y="12249"/>
                  </a:cubicBezTo>
                  <a:cubicBezTo>
                    <a:pt x="6019" y="12550"/>
                    <a:pt x="5869" y="12670"/>
                    <a:pt x="6019" y="12881"/>
                  </a:cubicBezTo>
                  <a:cubicBezTo>
                    <a:pt x="6139" y="13001"/>
                    <a:pt x="6230" y="13182"/>
                    <a:pt x="6290" y="13332"/>
                  </a:cubicBezTo>
                  <a:lnTo>
                    <a:pt x="6651" y="13152"/>
                  </a:lnTo>
                  <a:cubicBezTo>
                    <a:pt x="6681" y="13031"/>
                    <a:pt x="6591" y="12760"/>
                    <a:pt x="6651" y="12700"/>
                  </a:cubicBezTo>
                  <a:cubicBezTo>
                    <a:pt x="6741" y="12550"/>
                    <a:pt x="6862" y="12460"/>
                    <a:pt x="6982" y="12399"/>
                  </a:cubicBezTo>
                  <a:cubicBezTo>
                    <a:pt x="6991" y="12397"/>
                    <a:pt x="7001" y="12396"/>
                    <a:pt x="7011" y="12396"/>
                  </a:cubicBezTo>
                  <a:cubicBezTo>
                    <a:pt x="7117" y="12396"/>
                    <a:pt x="7251" y="12523"/>
                    <a:pt x="7487" y="12523"/>
                  </a:cubicBezTo>
                  <a:cubicBezTo>
                    <a:pt x="7508" y="12523"/>
                    <a:pt x="7531" y="12522"/>
                    <a:pt x="7554" y="12520"/>
                  </a:cubicBezTo>
                  <a:cubicBezTo>
                    <a:pt x="7671" y="12498"/>
                    <a:pt x="7788" y="12488"/>
                    <a:pt x="7906" y="12488"/>
                  </a:cubicBezTo>
                  <a:cubicBezTo>
                    <a:pt x="8119" y="12488"/>
                    <a:pt x="8333" y="12522"/>
                    <a:pt x="8547" y="12580"/>
                  </a:cubicBezTo>
                  <a:cubicBezTo>
                    <a:pt x="8607" y="12670"/>
                    <a:pt x="9450" y="12610"/>
                    <a:pt x="9630" y="12760"/>
                  </a:cubicBezTo>
                  <a:cubicBezTo>
                    <a:pt x="9697" y="12816"/>
                    <a:pt x="9773" y="12847"/>
                    <a:pt x="9848" y="12847"/>
                  </a:cubicBezTo>
                  <a:cubicBezTo>
                    <a:pt x="9977" y="12847"/>
                    <a:pt x="10108" y="12758"/>
                    <a:pt x="10202" y="12550"/>
                  </a:cubicBezTo>
                  <a:cubicBezTo>
                    <a:pt x="10353" y="12219"/>
                    <a:pt x="11286" y="11557"/>
                    <a:pt x="11406" y="11497"/>
                  </a:cubicBezTo>
                  <a:cubicBezTo>
                    <a:pt x="11451" y="11451"/>
                    <a:pt x="11737" y="11451"/>
                    <a:pt x="12064" y="11451"/>
                  </a:cubicBezTo>
                  <a:cubicBezTo>
                    <a:pt x="12392" y="11451"/>
                    <a:pt x="12760" y="11451"/>
                    <a:pt x="12971" y="11406"/>
                  </a:cubicBezTo>
                  <a:cubicBezTo>
                    <a:pt x="13392" y="11346"/>
                    <a:pt x="16071" y="10473"/>
                    <a:pt x="16161" y="10353"/>
                  </a:cubicBezTo>
                  <a:cubicBezTo>
                    <a:pt x="16402" y="9841"/>
                    <a:pt x="16582" y="9270"/>
                    <a:pt x="16703" y="8698"/>
                  </a:cubicBezTo>
                  <a:cubicBezTo>
                    <a:pt x="16703" y="8547"/>
                    <a:pt x="16522" y="8156"/>
                    <a:pt x="16281" y="8156"/>
                  </a:cubicBezTo>
                  <a:cubicBezTo>
                    <a:pt x="15619" y="8126"/>
                    <a:pt x="14957" y="8066"/>
                    <a:pt x="14295" y="7915"/>
                  </a:cubicBezTo>
                  <a:cubicBezTo>
                    <a:pt x="13994" y="7735"/>
                    <a:pt x="13784" y="7434"/>
                    <a:pt x="13693" y="7103"/>
                  </a:cubicBezTo>
                  <a:cubicBezTo>
                    <a:pt x="13543" y="6952"/>
                    <a:pt x="13452" y="6772"/>
                    <a:pt x="13392" y="6561"/>
                  </a:cubicBezTo>
                  <a:cubicBezTo>
                    <a:pt x="13362" y="6566"/>
                    <a:pt x="13329" y="6569"/>
                    <a:pt x="13293" y="6569"/>
                  </a:cubicBezTo>
                  <a:cubicBezTo>
                    <a:pt x="13114" y="6569"/>
                    <a:pt x="12876" y="6486"/>
                    <a:pt x="12700" y="6110"/>
                  </a:cubicBezTo>
                  <a:cubicBezTo>
                    <a:pt x="12520" y="5658"/>
                    <a:pt x="12158" y="5447"/>
                    <a:pt x="12309" y="5237"/>
                  </a:cubicBezTo>
                  <a:cubicBezTo>
                    <a:pt x="12459" y="5056"/>
                    <a:pt x="12189" y="4635"/>
                    <a:pt x="11948" y="4424"/>
                  </a:cubicBezTo>
                  <a:cubicBezTo>
                    <a:pt x="11737" y="4184"/>
                    <a:pt x="11165" y="3732"/>
                    <a:pt x="11135" y="3491"/>
                  </a:cubicBezTo>
                  <a:cubicBezTo>
                    <a:pt x="11135" y="3371"/>
                    <a:pt x="11075" y="3251"/>
                    <a:pt x="11015" y="3130"/>
                  </a:cubicBezTo>
                  <a:lnTo>
                    <a:pt x="10413" y="3130"/>
                  </a:lnTo>
                  <a:lnTo>
                    <a:pt x="9961" y="2769"/>
                  </a:lnTo>
                  <a:lnTo>
                    <a:pt x="8577" y="2619"/>
                  </a:lnTo>
                  <a:cubicBezTo>
                    <a:pt x="8246" y="2619"/>
                    <a:pt x="7915" y="2498"/>
                    <a:pt x="7644" y="2288"/>
                  </a:cubicBezTo>
                  <a:cubicBezTo>
                    <a:pt x="7343" y="2047"/>
                    <a:pt x="5989" y="993"/>
                    <a:pt x="5718" y="903"/>
                  </a:cubicBezTo>
                  <a:cubicBezTo>
                    <a:pt x="5447" y="783"/>
                    <a:pt x="4454" y="30"/>
                    <a:pt x="4153"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54" name="Google Shape;2948;p123">
              <a:extLst>
                <a:ext uri="{FF2B5EF4-FFF2-40B4-BE49-F238E27FC236}">
                  <a16:creationId xmlns:a16="http://schemas.microsoft.com/office/drawing/2014/main" id="{059A5A1E-2246-B848-97D3-03864ED37485}"/>
                </a:ext>
              </a:extLst>
            </p:cNvPr>
            <p:cNvSpPr/>
            <p:nvPr/>
          </p:nvSpPr>
          <p:spPr>
            <a:xfrm>
              <a:off x="5528197" y="2640158"/>
              <a:ext cx="198901" cy="220371"/>
            </a:xfrm>
            <a:custGeom>
              <a:avLst/>
              <a:gdLst/>
              <a:ahLst/>
              <a:cxnLst/>
              <a:rect l="l" t="t" r="r" b="b"/>
              <a:pathLst>
                <a:path w="6411" h="7103" extrusionOk="0">
                  <a:moveTo>
                    <a:pt x="3762" y="0"/>
                  </a:moveTo>
                  <a:lnTo>
                    <a:pt x="3461" y="181"/>
                  </a:lnTo>
                  <a:lnTo>
                    <a:pt x="3160" y="181"/>
                  </a:lnTo>
                  <a:lnTo>
                    <a:pt x="3160" y="783"/>
                  </a:lnTo>
                  <a:lnTo>
                    <a:pt x="2679" y="1385"/>
                  </a:lnTo>
                  <a:lnTo>
                    <a:pt x="2408" y="2077"/>
                  </a:lnTo>
                  <a:lnTo>
                    <a:pt x="2558" y="2077"/>
                  </a:lnTo>
                  <a:cubicBezTo>
                    <a:pt x="2799" y="2077"/>
                    <a:pt x="2980" y="2498"/>
                    <a:pt x="2980" y="2649"/>
                  </a:cubicBezTo>
                  <a:cubicBezTo>
                    <a:pt x="2859" y="3191"/>
                    <a:pt x="2679" y="3762"/>
                    <a:pt x="2438" y="4304"/>
                  </a:cubicBezTo>
                  <a:cubicBezTo>
                    <a:pt x="2378" y="4364"/>
                    <a:pt x="933" y="4816"/>
                    <a:pt x="0" y="5117"/>
                  </a:cubicBezTo>
                  <a:cubicBezTo>
                    <a:pt x="241" y="5538"/>
                    <a:pt x="602" y="6350"/>
                    <a:pt x="993" y="7103"/>
                  </a:cubicBezTo>
                  <a:lnTo>
                    <a:pt x="1174" y="7013"/>
                  </a:lnTo>
                  <a:cubicBezTo>
                    <a:pt x="1625" y="6772"/>
                    <a:pt x="2137" y="6892"/>
                    <a:pt x="2498" y="6802"/>
                  </a:cubicBezTo>
                  <a:cubicBezTo>
                    <a:pt x="2829" y="6742"/>
                    <a:pt x="2498" y="6441"/>
                    <a:pt x="2799" y="6170"/>
                  </a:cubicBezTo>
                  <a:cubicBezTo>
                    <a:pt x="2921" y="6061"/>
                    <a:pt x="3057" y="6035"/>
                    <a:pt x="3186" y="6035"/>
                  </a:cubicBezTo>
                  <a:cubicBezTo>
                    <a:pt x="3303" y="6035"/>
                    <a:pt x="3414" y="6056"/>
                    <a:pt x="3503" y="6056"/>
                  </a:cubicBezTo>
                  <a:cubicBezTo>
                    <a:pt x="3559" y="6056"/>
                    <a:pt x="3607" y="6047"/>
                    <a:pt x="3642" y="6019"/>
                  </a:cubicBezTo>
                  <a:cubicBezTo>
                    <a:pt x="3792" y="5899"/>
                    <a:pt x="3913" y="5418"/>
                    <a:pt x="4153" y="5297"/>
                  </a:cubicBezTo>
                  <a:cubicBezTo>
                    <a:pt x="4364" y="5177"/>
                    <a:pt x="4695" y="5267"/>
                    <a:pt x="4665" y="5056"/>
                  </a:cubicBezTo>
                  <a:cubicBezTo>
                    <a:pt x="4635" y="4816"/>
                    <a:pt x="4665" y="4033"/>
                    <a:pt x="4936" y="4003"/>
                  </a:cubicBezTo>
                  <a:cubicBezTo>
                    <a:pt x="5207" y="3943"/>
                    <a:pt x="5568" y="3672"/>
                    <a:pt x="5568" y="3552"/>
                  </a:cubicBezTo>
                  <a:cubicBezTo>
                    <a:pt x="5568" y="3401"/>
                    <a:pt x="6049" y="2859"/>
                    <a:pt x="6200" y="2589"/>
                  </a:cubicBezTo>
                  <a:cubicBezTo>
                    <a:pt x="6350" y="2348"/>
                    <a:pt x="6410" y="2227"/>
                    <a:pt x="6170" y="2197"/>
                  </a:cubicBezTo>
                  <a:cubicBezTo>
                    <a:pt x="5959" y="2137"/>
                    <a:pt x="5598" y="1535"/>
                    <a:pt x="5508" y="1355"/>
                  </a:cubicBezTo>
                  <a:cubicBezTo>
                    <a:pt x="5387" y="1174"/>
                    <a:pt x="4755" y="1295"/>
                    <a:pt x="4183" y="873"/>
                  </a:cubicBezTo>
                  <a:cubicBezTo>
                    <a:pt x="3943" y="632"/>
                    <a:pt x="3792" y="332"/>
                    <a:pt x="3762"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55" name="Google Shape;2949;p123">
              <a:extLst>
                <a:ext uri="{FF2B5EF4-FFF2-40B4-BE49-F238E27FC236}">
                  <a16:creationId xmlns:a16="http://schemas.microsoft.com/office/drawing/2014/main" id="{FFFB48AE-F869-424E-96AF-D4E592A0DAAB}"/>
                </a:ext>
              </a:extLst>
            </p:cNvPr>
            <p:cNvSpPr/>
            <p:nvPr/>
          </p:nvSpPr>
          <p:spPr>
            <a:xfrm>
              <a:off x="5496458" y="2616393"/>
              <a:ext cx="29908" cy="39340"/>
            </a:xfrm>
            <a:custGeom>
              <a:avLst/>
              <a:gdLst/>
              <a:ahLst/>
              <a:cxnLst/>
              <a:rect l="l" t="t" r="r" b="b"/>
              <a:pathLst>
                <a:path w="964" h="1268" extrusionOk="0">
                  <a:moveTo>
                    <a:pt x="529" y="1"/>
                  </a:moveTo>
                  <a:cubicBezTo>
                    <a:pt x="244" y="1"/>
                    <a:pt x="90" y="630"/>
                    <a:pt x="90" y="797"/>
                  </a:cubicBezTo>
                  <a:lnTo>
                    <a:pt x="0" y="797"/>
                  </a:lnTo>
                  <a:cubicBezTo>
                    <a:pt x="168" y="1156"/>
                    <a:pt x="393" y="1267"/>
                    <a:pt x="569" y="1267"/>
                  </a:cubicBezTo>
                  <a:cubicBezTo>
                    <a:pt x="614" y="1267"/>
                    <a:pt x="655" y="1260"/>
                    <a:pt x="692" y="1248"/>
                  </a:cubicBezTo>
                  <a:cubicBezTo>
                    <a:pt x="632" y="1188"/>
                    <a:pt x="632" y="1098"/>
                    <a:pt x="692" y="1037"/>
                  </a:cubicBezTo>
                  <a:cubicBezTo>
                    <a:pt x="843" y="766"/>
                    <a:pt x="963" y="134"/>
                    <a:pt x="602" y="14"/>
                  </a:cubicBezTo>
                  <a:cubicBezTo>
                    <a:pt x="577" y="5"/>
                    <a:pt x="552" y="1"/>
                    <a:pt x="529"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56" name="Google Shape;2950;p123">
              <a:extLst>
                <a:ext uri="{FF2B5EF4-FFF2-40B4-BE49-F238E27FC236}">
                  <a16:creationId xmlns:a16="http://schemas.microsoft.com/office/drawing/2014/main" id="{DED1F7E9-BB5D-B449-8086-AB541EF3EDFA}"/>
                </a:ext>
              </a:extLst>
            </p:cNvPr>
            <p:cNvSpPr/>
            <p:nvPr/>
          </p:nvSpPr>
          <p:spPr>
            <a:xfrm>
              <a:off x="5527266" y="2610281"/>
              <a:ext cx="117678" cy="94316"/>
            </a:xfrm>
            <a:custGeom>
              <a:avLst/>
              <a:gdLst/>
              <a:ahLst/>
              <a:cxnLst/>
              <a:rect l="l" t="t" r="r" b="b"/>
              <a:pathLst>
                <a:path w="3793" h="3040" extrusionOk="0">
                  <a:moveTo>
                    <a:pt x="3551" y="0"/>
                  </a:moveTo>
                  <a:cubicBezTo>
                    <a:pt x="3491" y="0"/>
                    <a:pt x="2859" y="602"/>
                    <a:pt x="2618" y="1084"/>
                  </a:cubicBezTo>
                  <a:cubicBezTo>
                    <a:pt x="2330" y="1504"/>
                    <a:pt x="1858" y="1763"/>
                    <a:pt x="1344" y="1763"/>
                  </a:cubicBezTo>
                  <a:cubicBezTo>
                    <a:pt x="1268" y="1763"/>
                    <a:pt x="1191" y="1758"/>
                    <a:pt x="1114" y="1746"/>
                  </a:cubicBezTo>
                  <a:cubicBezTo>
                    <a:pt x="1031" y="1723"/>
                    <a:pt x="946" y="1712"/>
                    <a:pt x="862" y="1712"/>
                  </a:cubicBezTo>
                  <a:cubicBezTo>
                    <a:pt x="610" y="1712"/>
                    <a:pt x="361" y="1814"/>
                    <a:pt x="181" y="2017"/>
                  </a:cubicBezTo>
                  <a:lnTo>
                    <a:pt x="0" y="2017"/>
                  </a:lnTo>
                  <a:cubicBezTo>
                    <a:pt x="90" y="2348"/>
                    <a:pt x="301" y="2619"/>
                    <a:pt x="602" y="2799"/>
                  </a:cubicBezTo>
                  <a:cubicBezTo>
                    <a:pt x="1204" y="2920"/>
                    <a:pt x="1806" y="3010"/>
                    <a:pt x="2438" y="3040"/>
                  </a:cubicBezTo>
                  <a:lnTo>
                    <a:pt x="2709" y="2348"/>
                  </a:lnTo>
                  <a:lnTo>
                    <a:pt x="3190" y="1746"/>
                  </a:lnTo>
                  <a:lnTo>
                    <a:pt x="3190" y="1144"/>
                  </a:lnTo>
                  <a:lnTo>
                    <a:pt x="3491" y="1144"/>
                  </a:lnTo>
                  <a:lnTo>
                    <a:pt x="3792" y="963"/>
                  </a:lnTo>
                  <a:cubicBezTo>
                    <a:pt x="3672" y="482"/>
                    <a:pt x="3642" y="0"/>
                    <a:pt x="3551"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57" name="Google Shape;2951;p123">
              <a:extLst>
                <a:ext uri="{FF2B5EF4-FFF2-40B4-BE49-F238E27FC236}">
                  <a16:creationId xmlns:a16="http://schemas.microsoft.com/office/drawing/2014/main" id="{6B6EBBF0-9266-C641-9F45-61BFAA40FB56}"/>
                </a:ext>
              </a:extLst>
            </p:cNvPr>
            <p:cNvSpPr/>
            <p:nvPr/>
          </p:nvSpPr>
          <p:spPr>
            <a:xfrm>
              <a:off x="6687818" y="3112607"/>
              <a:ext cx="478561" cy="144732"/>
            </a:xfrm>
            <a:custGeom>
              <a:avLst/>
              <a:gdLst/>
              <a:ahLst/>
              <a:cxnLst/>
              <a:rect l="l" t="t" r="r" b="b"/>
              <a:pathLst>
                <a:path w="15425" h="4665" extrusionOk="0">
                  <a:moveTo>
                    <a:pt x="1" y="121"/>
                  </a:moveTo>
                  <a:cubicBezTo>
                    <a:pt x="182" y="512"/>
                    <a:pt x="242" y="903"/>
                    <a:pt x="242" y="1325"/>
                  </a:cubicBezTo>
                  <a:cubicBezTo>
                    <a:pt x="242" y="1776"/>
                    <a:pt x="964" y="2528"/>
                    <a:pt x="1084" y="2829"/>
                  </a:cubicBezTo>
                  <a:cubicBezTo>
                    <a:pt x="1175" y="3130"/>
                    <a:pt x="1385" y="3251"/>
                    <a:pt x="1837" y="3582"/>
                  </a:cubicBezTo>
                  <a:cubicBezTo>
                    <a:pt x="2262" y="3894"/>
                    <a:pt x="3088" y="4339"/>
                    <a:pt x="3308" y="4339"/>
                  </a:cubicBezTo>
                  <a:cubicBezTo>
                    <a:pt x="3322" y="4339"/>
                    <a:pt x="3333" y="4337"/>
                    <a:pt x="3341" y="4334"/>
                  </a:cubicBezTo>
                  <a:cubicBezTo>
                    <a:pt x="3492" y="4274"/>
                    <a:pt x="3071" y="3461"/>
                    <a:pt x="2800" y="3220"/>
                  </a:cubicBezTo>
                  <a:cubicBezTo>
                    <a:pt x="2529" y="2950"/>
                    <a:pt x="2800" y="2227"/>
                    <a:pt x="2800" y="1716"/>
                  </a:cubicBezTo>
                  <a:cubicBezTo>
                    <a:pt x="2800" y="1174"/>
                    <a:pt x="2318" y="1204"/>
                    <a:pt x="2198" y="873"/>
                  </a:cubicBezTo>
                  <a:cubicBezTo>
                    <a:pt x="2078" y="542"/>
                    <a:pt x="1867" y="723"/>
                    <a:pt x="1777" y="452"/>
                  </a:cubicBezTo>
                  <a:cubicBezTo>
                    <a:pt x="1777" y="422"/>
                    <a:pt x="1777" y="392"/>
                    <a:pt x="1746" y="361"/>
                  </a:cubicBezTo>
                  <a:cubicBezTo>
                    <a:pt x="1476" y="452"/>
                    <a:pt x="1566" y="662"/>
                    <a:pt x="1476" y="693"/>
                  </a:cubicBezTo>
                  <a:cubicBezTo>
                    <a:pt x="1451" y="705"/>
                    <a:pt x="1346" y="717"/>
                    <a:pt x="1231" y="717"/>
                  </a:cubicBezTo>
                  <a:cubicBezTo>
                    <a:pt x="1063" y="717"/>
                    <a:pt x="874" y="691"/>
                    <a:pt x="874" y="602"/>
                  </a:cubicBezTo>
                  <a:cubicBezTo>
                    <a:pt x="874" y="361"/>
                    <a:pt x="693" y="151"/>
                    <a:pt x="482" y="121"/>
                  </a:cubicBezTo>
                  <a:close/>
                  <a:moveTo>
                    <a:pt x="13333" y="0"/>
                  </a:moveTo>
                  <a:cubicBezTo>
                    <a:pt x="13032" y="0"/>
                    <a:pt x="12731" y="572"/>
                    <a:pt x="12731" y="813"/>
                  </a:cubicBezTo>
                  <a:cubicBezTo>
                    <a:pt x="12731" y="1024"/>
                    <a:pt x="12250" y="993"/>
                    <a:pt x="12280" y="1325"/>
                  </a:cubicBezTo>
                  <a:cubicBezTo>
                    <a:pt x="12298" y="1530"/>
                    <a:pt x="12282" y="1550"/>
                    <a:pt x="12239" y="1550"/>
                  </a:cubicBezTo>
                  <a:cubicBezTo>
                    <a:pt x="12228" y="1550"/>
                    <a:pt x="12216" y="1549"/>
                    <a:pt x="12202" y="1549"/>
                  </a:cubicBezTo>
                  <a:cubicBezTo>
                    <a:pt x="12181" y="1549"/>
                    <a:pt x="12157" y="1551"/>
                    <a:pt x="12129" y="1565"/>
                  </a:cubicBezTo>
                  <a:cubicBezTo>
                    <a:pt x="12016" y="1593"/>
                    <a:pt x="12221" y="1992"/>
                    <a:pt x="12148" y="1992"/>
                  </a:cubicBezTo>
                  <a:cubicBezTo>
                    <a:pt x="12143" y="1992"/>
                    <a:pt x="12137" y="1990"/>
                    <a:pt x="12129" y="1987"/>
                  </a:cubicBezTo>
                  <a:cubicBezTo>
                    <a:pt x="12122" y="1985"/>
                    <a:pt x="12115" y="1984"/>
                    <a:pt x="12108" y="1984"/>
                  </a:cubicBezTo>
                  <a:cubicBezTo>
                    <a:pt x="11997" y="1984"/>
                    <a:pt x="11901" y="2197"/>
                    <a:pt x="11618" y="2197"/>
                  </a:cubicBezTo>
                  <a:cubicBezTo>
                    <a:pt x="11317" y="2197"/>
                    <a:pt x="11347" y="1957"/>
                    <a:pt x="11196" y="1625"/>
                  </a:cubicBezTo>
                  <a:lnTo>
                    <a:pt x="11166" y="1625"/>
                  </a:lnTo>
                  <a:cubicBezTo>
                    <a:pt x="10955" y="1625"/>
                    <a:pt x="10534" y="2318"/>
                    <a:pt x="10474" y="2709"/>
                  </a:cubicBezTo>
                  <a:cubicBezTo>
                    <a:pt x="10414" y="3130"/>
                    <a:pt x="9962" y="3070"/>
                    <a:pt x="9300" y="3100"/>
                  </a:cubicBezTo>
                  <a:cubicBezTo>
                    <a:pt x="8668" y="3130"/>
                    <a:pt x="8939" y="3762"/>
                    <a:pt x="8819" y="4093"/>
                  </a:cubicBezTo>
                  <a:cubicBezTo>
                    <a:pt x="8790" y="4178"/>
                    <a:pt x="8730" y="4212"/>
                    <a:pt x="8650" y="4212"/>
                  </a:cubicBezTo>
                  <a:cubicBezTo>
                    <a:pt x="8389" y="4212"/>
                    <a:pt x="7914" y="3861"/>
                    <a:pt x="7615" y="3792"/>
                  </a:cubicBezTo>
                  <a:cubicBezTo>
                    <a:pt x="7597" y="3789"/>
                    <a:pt x="7581" y="3788"/>
                    <a:pt x="7567" y="3788"/>
                  </a:cubicBezTo>
                  <a:cubicBezTo>
                    <a:pt x="7304" y="3788"/>
                    <a:pt x="7771" y="4304"/>
                    <a:pt x="7886" y="4304"/>
                  </a:cubicBezTo>
                  <a:cubicBezTo>
                    <a:pt x="7990" y="4304"/>
                    <a:pt x="8252" y="4664"/>
                    <a:pt x="8437" y="4664"/>
                  </a:cubicBezTo>
                  <a:cubicBezTo>
                    <a:pt x="8466" y="4664"/>
                    <a:pt x="8493" y="4655"/>
                    <a:pt x="8518" y="4635"/>
                  </a:cubicBezTo>
                  <a:cubicBezTo>
                    <a:pt x="8592" y="4573"/>
                    <a:pt x="8731" y="4562"/>
                    <a:pt x="8888" y="4562"/>
                  </a:cubicBezTo>
                  <a:cubicBezTo>
                    <a:pt x="8978" y="4562"/>
                    <a:pt x="9075" y="4566"/>
                    <a:pt x="9169" y="4566"/>
                  </a:cubicBezTo>
                  <a:cubicBezTo>
                    <a:pt x="9310" y="4566"/>
                    <a:pt x="9445" y="4557"/>
                    <a:pt x="9541" y="4515"/>
                  </a:cubicBezTo>
                  <a:cubicBezTo>
                    <a:pt x="9812" y="4394"/>
                    <a:pt x="9872" y="4214"/>
                    <a:pt x="10354" y="4214"/>
                  </a:cubicBezTo>
                  <a:cubicBezTo>
                    <a:pt x="10734" y="4214"/>
                    <a:pt x="10698" y="4430"/>
                    <a:pt x="10853" y="4430"/>
                  </a:cubicBezTo>
                  <a:cubicBezTo>
                    <a:pt x="10906" y="4430"/>
                    <a:pt x="10982" y="4404"/>
                    <a:pt x="11106" y="4334"/>
                  </a:cubicBezTo>
                  <a:cubicBezTo>
                    <a:pt x="11618" y="4063"/>
                    <a:pt x="11858" y="4304"/>
                    <a:pt x="11798" y="3883"/>
                  </a:cubicBezTo>
                  <a:cubicBezTo>
                    <a:pt x="11708" y="3461"/>
                    <a:pt x="12099" y="3461"/>
                    <a:pt x="12009" y="3130"/>
                  </a:cubicBezTo>
                  <a:cubicBezTo>
                    <a:pt x="11949" y="2799"/>
                    <a:pt x="12550" y="3070"/>
                    <a:pt x="12520" y="2408"/>
                  </a:cubicBezTo>
                  <a:cubicBezTo>
                    <a:pt x="12480" y="1980"/>
                    <a:pt x="12867" y="1911"/>
                    <a:pt x="13243" y="1911"/>
                  </a:cubicBezTo>
                  <a:cubicBezTo>
                    <a:pt x="13422" y="1911"/>
                    <a:pt x="13598" y="1926"/>
                    <a:pt x="13724" y="1926"/>
                  </a:cubicBezTo>
                  <a:lnTo>
                    <a:pt x="14085" y="2047"/>
                  </a:lnTo>
                  <a:cubicBezTo>
                    <a:pt x="14386" y="1896"/>
                    <a:pt x="14778" y="1746"/>
                    <a:pt x="14567" y="1535"/>
                  </a:cubicBezTo>
                  <a:cubicBezTo>
                    <a:pt x="14386" y="1355"/>
                    <a:pt x="15229" y="1535"/>
                    <a:pt x="15319" y="1234"/>
                  </a:cubicBezTo>
                  <a:cubicBezTo>
                    <a:pt x="15424" y="972"/>
                    <a:pt x="15095" y="801"/>
                    <a:pt x="14869" y="801"/>
                  </a:cubicBezTo>
                  <a:cubicBezTo>
                    <a:pt x="14836" y="801"/>
                    <a:pt x="14805" y="805"/>
                    <a:pt x="14778" y="813"/>
                  </a:cubicBezTo>
                  <a:cubicBezTo>
                    <a:pt x="14734" y="819"/>
                    <a:pt x="14679" y="823"/>
                    <a:pt x="14618" y="823"/>
                  </a:cubicBezTo>
                  <a:cubicBezTo>
                    <a:pt x="14388" y="823"/>
                    <a:pt x="14085" y="769"/>
                    <a:pt x="14085" y="602"/>
                  </a:cubicBezTo>
                  <a:cubicBezTo>
                    <a:pt x="14085" y="422"/>
                    <a:pt x="13634" y="0"/>
                    <a:pt x="13333"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58" name="Google Shape;2952;p123">
              <a:extLst>
                <a:ext uri="{FF2B5EF4-FFF2-40B4-BE49-F238E27FC236}">
                  <a16:creationId xmlns:a16="http://schemas.microsoft.com/office/drawing/2014/main" id="{387C2F7E-6870-634F-893C-FCB230253C8D}"/>
                </a:ext>
              </a:extLst>
            </p:cNvPr>
            <p:cNvSpPr/>
            <p:nvPr/>
          </p:nvSpPr>
          <p:spPr>
            <a:xfrm>
              <a:off x="7030334" y="3157779"/>
              <a:ext cx="39091" cy="23021"/>
            </a:xfrm>
            <a:custGeom>
              <a:avLst/>
              <a:gdLst/>
              <a:ahLst/>
              <a:cxnLst/>
              <a:rect l="l" t="t" r="r" b="b"/>
              <a:pathLst>
                <a:path w="1260" h="742" extrusionOk="0">
                  <a:moveTo>
                    <a:pt x="964" y="0"/>
                  </a:moveTo>
                  <a:cubicBezTo>
                    <a:pt x="835" y="0"/>
                    <a:pt x="668" y="183"/>
                    <a:pt x="668" y="290"/>
                  </a:cubicBezTo>
                  <a:cubicBezTo>
                    <a:pt x="668" y="325"/>
                    <a:pt x="650" y="339"/>
                    <a:pt x="619" y="339"/>
                  </a:cubicBezTo>
                  <a:cubicBezTo>
                    <a:pt x="521" y="339"/>
                    <a:pt x="294" y="193"/>
                    <a:pt x="156" y="169"/>
                  </a:cubicBezTo>
                  <a:cubicBezTo>
                    <a:pt x="152" y="169"/>
                    <a:pt x="148" y="168"/>
                    <a:pt x="144" y="168"/>
                  </a:cubicBezTo>
                  <a:cubicBezTo>
                    <a:pt x="0" y="168"/>
                    <a:pt x="489" y="741"/>
                    <a:pt x="578" y="741"/>
                  </a:cubicBezTo>
                  <a:cubicBezTo>
                    <a:pt x="845" y="741"/>
                    <a:pt x="899" y="551"/>
                    <a:pt x="1034" y="551"/>
                  </a:cubicBezTo>
                  <a:cubicBezTo>
                    <a:pt x="1051" y="551"/>
                    <a:pt x="1069" y="554"/>
                    <a:pt x="1089" y="561"/>
                  </a:cubicBezTo>
                  <a:cubicBezTo>
                    <a:pt x="1099" y="562"/>
                    <a:pt x="1109" y="563"/>
                    <a:pt x="1118" y="563"/>
                  </a:cubicBezTo>
                  <a:cubicBezTo>
                    <a:pt x="1259" y="563"/>
                    <a:pt x="1174" y="336"/>
                    <a:pt x="1089" y="109"/>
                  </a:cubicBezTo>
                  <a:cubicBezTo>
                    <a:pt x="1063" y="31"/>
                    <a:pt x="1017" y="0"/>
                    <a:pt x="964"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59" name="Google Shape;2953;p123">
              <a:extLst>
                <a:ext uri="{FF2B5EF4-FFF2-40B4-BE49-F238E27FC236}">
                  <a16:creationId xmlns:a16="http://schemas.microsoft.com/office/drawing/2014/main" id="{F6CDBD7D-49DF-D248-9C47-4D39A3382559}"/>
                </a:ext>
              </a:extLst>
            </p:cNvPr>
            <p:cNvSpPr/>
            <p:nvPr/>
          </p:nvSpPr>
          <p:spPr>
            <a:xfrm>
              <a:off x="5205133" y="2301923"/>
              <a:ext cx="239978" cy="233680"/>
            </a:xfrm>
            <a:custGeom>
              <a:avLst/>
              <a:gdLst/>
              <a:ahLst/>
              <a:cxnLst/>
              <a:rect l="l" t="t" r="r" b="b"/>
              <a:pathLst>
                <a:path w="7735" h="7532" extrusionOk="0">
                  <a:moveTo>
                    <a:pt x="3308" y="0"/>
                  </a:moveTo>
                  <a:cubicBezTo>
                    <a:pt x="3280" y="0"/>
                    <a:pt x="3251" y="3"/>
                    <a:pt x="3221" y="8"/>
                  </a:cubicBezTo>
                  <a:cubicBezTo>
                    <a:pt x="2890" y="38"/>
                    <a:pt x="2950" y="159"/>
                    <a:pt x="2859" y="249"/>
                  </a:cubicBezTo>
                  <a:lnTo>
                    <a:pt x="2890" y="249"/>
                  </a:lnTo>
                  <a:lnTo>
                    <a:pt x="2408" y="610"/>
                  </a:lnTo>
                  <a:cubicBezTo>
                    <a:pt x="2408" y="610"/>
                    <a:pt x="1987" y="761"/>
                    <a:pt x="1896" y="971"/>
                  </a:cubicBezTo>
                  <a:cubicBezTo>
                    <a:pt x="1836" y="1212"/>
                    <a:pt x="2107" y="1513"/>
                    <a:pt x="1957" y="1663"/>
                  </a:cubicBezTo>
                  <a:cubicBezTo>
                    <a:pt x="1866" y="1844"/>
                    <a:pt x="1836" y="2055"/>
                    <a:pt x="1896" y="2265"/>
                  </a:cubicBezTo>
                  <a:cubicBezTo>
                    <a:pt x="1957" y="2416"/>
                    <a:pt x="1716" y="2747"/>
                    <a:pt x="1716" y="2747"/>
                  </a:cubicBezTo>
                  <a:lnTo>
                    <a:pt x="0" y="3650"/>
                  </a:lnTo>
                  <a:cubicBezTo>
                    <a:pt x="31" y="3800"/>
                    <a:pt x="31" y="3921"/>
                    <a:pt x="61" y="4011"/>
                  </a:cubicBezTo>
                  <a:cubicBezTo>
                    <a:pt x="91" y="4131"/>
                    <a:pt x="181" y="4552"/>
                    <a:pt x="241" y="4823"/>
                  </a:cubicBezTo>
                  <a:lnTo>
                    <a:pt x="873" y="4823"/>
                  </a:lnTo>
                  <a:cubicBezTo>
                    <a:pt x="1174" y="4853"/>
                    <a:pt x="2167" y="5606"/>
                    <a:pt x="2438" y="5726"/>
                  </a:cubicBezTo>
                  <a:cubicBezTo>
                    <a:pt x="2709" y="5816"/>
                    <a:pt x="4063" y="6870"/>
                    <a:pt x="4364" y="7111"/>
                  </a:cubicBezTo>
                  <a:cubicBezTo>
                    <a:pt x="4635" y="7321"/>
                    <a:pt x="4966" y="7442"/>
                    <a:pt x="5297" y="7442"/>
                  </a:cubicBezTo>
                  <a:lnTo>
                    <a:pt x="6200" y="7532"/>
                  </a:lnTo>
                  <a:cubicBezTo>
                    <a:pt x="6290" y="7291"/>
                    <a:pt x="6381" y="7050"/>
                    <a:pt x="6531" y="6840"/>
                  </a:cubicBezTo>
                  <a:cubicBezTo>
                    <a:pt x="6621" y="6719"/>
                    <a:pt x="6651" y="6569"/>
                    <a:pt x="6892" y="6539"/>
                  </a:cubicBezTo>
                  <a:cubicBezTo>
                    <a:pt x="6914" y="6536"/>
                    <a:pt x="6934" y="6534"/>
                    <a:pt x="6954" y="6534"/>
                  </a:cubicBezTo>
                  <a:cubicBezTo>
                    <a:pt x="7128" y="6534"/>
                    <a:pt x="7242" y="6651"/>
                    <a:pt x="7404" y="6840"/>
                  </a:cubicBezTo>
                  <a:lnTo>
                    <a:pt x="7735" y="6659"/>
                  </a:lnTo>
                  <a:cubicBezTo>
                    <a:pt x="7554" y="6418"/>
                    <a:pt x="7283" y="6178"/>
                    <a:pt x="7313" y="6027"/>
                  </a:cubicBezTo>
                  <a:cubicBezTo>
                    <a:pt x="7374" y="5877"/>
                    <a:pt x="7073" y="5636"/>
                    <a:pt x="7013" y="5485"/>
                  </a:cubicBezTo>
                  <a:cubicBezTo>
                    <a:pt x="6982" y="5335"/>
                    <a:pt x="7223" y="5064"/>
                    <a:pt x="7103" y="4974"/>
                  </a:cubicBezTo>
                  <a:cubicBezTo>
                    <a:pt x="6982" y="4853"/>
                    <a:pt x="6952" y="4522"/>
                    <a:pt x="6712" y="4462"/>
                  </a:cubicBezTo>
                  <a:cubicBezTo>
                    <a:pt x="6501" y="4432"/>
                    <a:pt x="5809" y="4131"/>
                    <a:pt x="5869" y="3921"/>
                  </a:cubicBezTo>
                  <a:cubicBezTo>
                    <a:pt x="5899" y="3680"/>
                    <a:pt x="5598" y="3529"/>
                    <a:pt x="5478" y="3469"/>
                  </a:cubicBezTo>
                  <a:cubicBezTo>
                    <a:pt x="5357" y="3379"/>
                    <a:pt x="5207" y="2807"/>
                    <a:pt x="5357" y="2747"/>
                  </a:cubicBezTo>
                  <a:cubicBezTo>
                    <a:pt x="5508" y="2657"/>
                    <a:pt x="5478" y="2115"/>
                    <a:pt x="5658" y="2115"/>
                  </a:cubicBezTo>
                  <a:cubicBezTo>
                    <a:pt x="5869" y="2115"/>
                    <a:pt x="5718" y="1844"/>
                    <a:pt x="5779" y="1663"/>
                  </a:cubicBezTo>
                  <a:cubicBezTo>
                    <a:pt x="5869" y="1453"/>
                    <a:pt x="5628" y="1362"/>
                    <a:pt x="5478" y="1362"/>
                  </a:cubicBezTo>
                  <a:cubicBezTo>
                    <a:pt x="5237" y="1302"/>
                    <a:pt x="5056" y="1122"/>
                    <a:pt x="5026" y="911"/>
                  </a:cubicBezTo>
                  <a:cubicBezTo>
                    <a:pt x="5026" y="670"/>
                    <a:pt x="4725" y="369"/>
                    <a:pt x="4725" y="249"/>
                  </a:cubicBezTo>
                  <a:cubicBezTo>
                    <a:pt x="4725" y="186"/>
                    <a:pt x="4416" y="108"/>
                    <a:pt x="4169" y="108"/>
                  </a:cubicBezTo>
                  <a:cubicBezTo>
                    <a:pt x="4062" y="108"/>
                    <a:pt x="3967" y="122"/>
                    <a:pt x="3913" y="159"/>
                  </a:cubicBezTo>
                  <a:cubicBezTo>
                    <a:pt x="3885" y="171"/>
                    <a:pt x="3858" y="176"/>
                    <a:pt x="3832" y="176"/>
                  </a:cubicBezTo>
                  <a:cubicBezTo>
                    <a:pt x="3678" y="176"/>
                    <a:pt x="3540" y="0"/>
                    <a:pt x="3308"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60" name="Google Shape;2954;p123">
              <a:extLst>
                <a:ext uri="{FF2B5EF4-FFF2-40B4-BE49-F238E27FC236}">
                  <a16:creationId xmlns:a16="http://schemas.microsoft.com/office/drawing/2014/main" id="{CB7CF69E-1062-5E43-85F2-94DC01F661CF}"/>
                </a:ext>
              </a:extLst>
            </p:cNvPr>
            <p:cNvSpPr/>
            <p:nvPr/>
          </p:nvSpPr>
          <p:spPr>
            <a:xfrm>
              <a:off x="5397457" y="2503679"/>
              <a:ext cx="46724" cy="44087"/>
            </a:xfrm>
            <a:custGeom>
              <a:avLst/>
              <a:gdLst/>
              <a:ahLst/>
              <a:cxnLst/>
              <a:rect l="l" t="t" r="r" b="b"/>
              <a:pathLst>
                <a:path w="1506" h="1421" extrusionOk="0">
                  <a:moveTo>
                    <a:pt x="759" y="0"/>
                  </a:moveTo>
                  <a:cubicBezTo>
                    <a:pt x="737" y="0"/>
                    <a:pt x="715" y="2"/>
                    <a:pt x="693" y="6"/>
                  </a:cubicBezTo>
                  <a:cubicBezTo>
                    <a:pt x="482" y="36"/>
                    <a:pt x="422" y="186"/>
                    <a:pt x="332" y="307"/>
                  </a:cubicBezTo>
                  <a:cubicBezTo>
                    <a:pt x="182" y="517"/>
                    <a:pt x="91" y="728"/>
                    <a:pt x="1" y="969"/>
                  </a:cubicBezTo>
                  <a:lnTo>
                    <a:pt x="482" y="1089"/>
                  </a:lnTo>
                  <a:lnTo>
                    <a:pt x="904" y="1420"/>
                  </a:lnTo>
                  <a:lnTo>
                    <a:pt x="1506" y="1420"/>
                  </a:lnTo>
                  <a:cubicBezTo>
                    <a:pt x="1385" y="1059"/>
                    <a:pt x="1145" y="577"/>
                    <a:pt x="1145" y="427"/>
                  </a:cubicBezTo>
                  <a:lnTo>
                    <a:pt x="1205" y="307"/>
                  </a:lnTo>
                  <a:cubicBezTo>
                    <a:pt x="1046" y="95"/>
                    <a:pt x="911" y="0"/>
                    <a:pt x="759"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61" name="Google Shape;2955;p123">
              <a:extLst>
                <a:ext uri="{FF2B5EF4-FFF2-40B4-BE49-F238E27FC236}">
                  <a16:creationId xmlns:a16="http://schemas.microsoft.com/office/drawing/2014/main" id="{C0B70A6C-F473-BF49-B3F4-68172974FADB}"/>
                </a:ext>
              </a:extLst>
            </p:cNvPr>
            <p:cNvSpPr/>
            <p:nvPr/>
          </p:nvSpPr>
          <p:spPr>
            <a:xfrm>
              <a:off x="4142868" y="1884730"/>
              <a:ext cx="358277" cy="298988"/>
            </a:xfrm>
            <a:custGeom>
              <a:avLst/>
              <a:gdLst/>
              <a:ahLst/>
              <a:cxnLst/>
              <a:rect l="l" t="t" r="r" b="b"/>
              <a:pathLst>
                <a:path w="11548" h="9637" extrusionOk="0">
                  <a:moveTo>
                    <a:pt x="5720" y="0"/>
                  </a:moveTo>
                  <a:cubicBezTo>
                    <a:pt x="5443" y="0"/>
                    <a:pt x="5230" y="240"/>
                    <a:pt x="5258" y="695"/>
                  </a:cubicBezTo>
                  <a:cubicBezTo>
                    <a:pt x="5288" y="1177"/>
                    <a:pt x="4927" y="1177"/>
                    <a:pt x="4446" y="1207"/>
                  </a:cubicBezTo>
                  <a:cubicBezTo>
                    <a:pt x="3964" y="1267"/>
                    <a:pt x="4145" y="1628"/>
                    <a:pt x="3964" y="1778"/>
                  </a:cubicBezTo>
                  <a:cubicBezTo>
                    <a:pt x="3879" y="1798"/>
                    <a:pt x="3794" y="1808"/>
                    <a:pt x="3710" y="1808"/>
                  </a:cubicBezTo>
                  <a:cubicBezTo>
                    <a:pt x="3410" y="1808"/>
                    <a:pt x="3129" y="1683"/>
                    <a:pt x="2941" y="1447"/>
                  </a:cubicBezTo>
                  <a:cubicBezTo>
                    <a:pt x="2915" y="1369"/>
                    <a:pt x="2843" y="1336"/>
                    <a:pt x="2761" y="1336"/>
                  </a:cubicBezTo>
                  <a:cubicBezTo>
                    <a:pt x="2560" y="1336"/>
                    <a:pt x="2297" y="1535"/>
                    <a:pt x="2489" y="1748"/>
                  </a:cubicBezTo>
                  <a:cubicBezTo>
                    <a:pt x="2760" y="2049"/>
                    <a:pt x="2760" y="2501"/>
                    <a:pt x="2610" y="2621"/>
                  </a:cubicBezTo>
                  <a:cubicBezTo>
                    <a:pt x="2590" y="2633"/>
                    <a:pt x="2565" y="2638"/>
                    <a:pt x="2538" y="2638"/>
                  </a:cubicBezTo>
                  <a:cubicBezTo>
                    <a:pt x="2406" y="2638"/>
                    <a:pt x="2204" y="2518"/>
                    <a:pt x="2034" y="2518"/>
                  </a:cubicBezTo>
                  <a:cubicBezTo>
                    <a:pt x="1981" y="2518"/>
                    <a:pt x="1931" y="2530"/>
                    <a:pt x="1888" y="2561"/>
                  </a:cubicBezTo>
                  <a:cubicBezTo>
                    <a:pt x="1840" y="2590"/>
                    <a:pt x="1805" y="2603"/>
                    <a:pt x="1776" y="2603"/>
                  </a:cubicBezTo>
                  <a:cubicBezTo>
                    <a:pt x="1658" y="2603"/>
                    <a:pt x="1654" y="2399"/>
                    <a:pt x="1436" y="2350"/>
                  </a:cubicBezTo>
                  <a:cubicBezTo>
                    <a:pt x="1387" y="2334"/>
                    <a:pt x="1343" y="2327"/>
                    <a:pt x="1301" y="2327"/>
                  </a:cubicBezTo>
                  <a:cubicBezTo>
                    <a:pt x="1142" y="2327"/>
                    <a:pt x="1019" y="2421"/>
                    <a:pt x="792" y="2421"/>
                  </a:cubicBezTo>
                  <a:cubicBezTo>
                    <a:pt x="750" y="2421"/>
                    <a:pt x="704" y="2418"/>
                    <a:pt x="654" y="2410"/>
                  </a:cubicBezTo>
                  <a:cubicBezTo>
                    <a:pt x="629" y="2409"/>
                    <a:pt x="606" y="2408"/>
                    <a:pt x="583" y="2408"/>
                  </a:cubicBezTo>
                  <a:cubicBezTo>
                    <a:pt x="206" y="2408"/>
                    <a:pt x="0" y="2632"/>
                    <a:pt x="142" y="2802"/>
                  </a:cubicBezTo>
                  <a:cubicBezTo>
                    <a:pt x="293" y="2982"/>
                    <a:pt x="112" y="3133"/>
                    <a:pt x="262" y="3283"/>
                  </a:cubicBezTo>
                  <a:cubicBezTo>
                    <a:pt x="413" y="3434"/>
                    <a:pt x="894" y="3404"/>
                    <a:pt x="1316" y="3614"/>
                  </a:cubicBezTo>
                  <a:cubicBezTo>
                    <a:pt x="1737" y="3855"/>
                    <a:pt x="1797" y="3674"/>
                    <a:pt x="2008" y="3825"/>
                  </a:cubicBezTo>
                  <a:cubicBezTo>
                    <a:pt x="2189" y="3975"/>
                    <a:pt x="2219" y="3855"/>
                    <a:pt x="2249" y="4156"/>
                  </a:cubicBezTo>
                  <a:cubicBezTo>
                    <a:pt x="2279" y="4487"/>
                    <a:pt x="2520" y="4758"/>
                    <a:pt x="2851" y="4818"/>
                  </a:cubicBezTo>
                  <a:cubicBezTo>
                    <a:pt x="3272" y="4938"/>
                    <a:pt x="2971" y="5209"/>
                    <a:pt x="3091" y="5480"/>
                  </a:cubicBezTo>
                  <a:cubicBezTo>
                    <a:pt x="3212" y="5721"/>
                    <a:pt x="2911" y="6112"/>
                    <a:pt x="2971" y="6413"/>
                  </a:cubicBezTo>
                  <a:cubicBezTo>
                    <a:pt x="3061" y="6714"/>
                    <a:pt x="2790" y="7737"/>
                    <a:pt x="2610" y="7828"/>
                  </a:cubicBezTo>
                  <a:lnTo>
                    <a:pt x="2550" y="7828"/>
                  </a:lnTo>
                  <a:lnTo>
                    <a:pt x="3001" y="8068"/>
                  </a:lnTo>
                  <a:cubicBezTo>
                    <a:pt x="3152" y="8189"/>
                    <a:pt x="3543" y="8279"/>
                    <a:pt x="3753" y="8429"/>
                  </a:cubicBezTo>
                  <a:cubicBezTo>
                    <a:pt x="3857" y="8494"/>
                    <a:pt x="3995" y="8526"/>
                    <a:pt x="4118" y="8526"/>
                  </a:cubicBezTo>
                  <a:cubicBezTo>
                    <a:pt x="4280" y="8526"/>
                    <a:pt x="4416" y="8472"/>
                    <a:pt x="4416" y="8369"/>
                  </a:cubicBezTo>
                  <a:cubicBezTo>
                    <a:pt x="4416" y="8310"/>
                    <a:pt x="4438" y="8287"/>
                    <a:pt x="4472" y="8287"/>
                  </a:cubicBezTo>
                  <a:cubicBezTo>
                    <a:pt x="4543" y="8287"/>
                    <a:pt x="4665" y="8388"/>
                    <a:pt x="4747" y="8490"/>
                  </a:cubicBezTo>
                  <a:cubicBezTo>
                    <a:pt x="5048" y="8580"/>
                    <a:pt x="5348" y="8640"/>
                    <a:pt x="5679" y="8700"/>
                  </a:cubicBezTo>
                  <a:cubicBezTo>
                    <a:pt x="5815" y="8715"/>
                    <a:pt x="5950" y="8723"/>
                    <a:pt x="6090" y="8723"/>
                  </a:cubicBezTo>
                  <a:cubicBezTo>
                    <a:pt x="6229" y="8723"/>
                    <a:pt x="6372" y="8715"/>
                    <a:pt x="6522" y="8700"/>
                  </a:cubicBezTo>
                  <a:cubicBezTo>
                    <a:pt x="6492" y="8640"/>
                    <a:pt x="6492" y="8580"/>
                    <a:pt x="6462" y="8520"/>
                  </a:cubicBezTo>
                  <a:cubicBezTo>
                    <a:pt x="6311" y="8068"/>
                    <a:pt x="6733" y="7797"/>
                    <a:pt x="7124" y="7737"/>
                  </a:cubicBezTo>
                  <a:cubicBezTo>
                    <a:pt x="7606" y="7737"/>
                    <a:pt x="8117" y="7858"/>
                    <a:pt x="8569" y="8068"/>
                  </a:cubicBezTo>
                  <a:cubicBezTo>
                    <a:pt x="8640" y="8104"/>
                    <a:pt x="8717" y="8124"/>
                    <a:pt x="8799" y="8124"/>
                  </a:cubicBezTo>
                  <a:cubicBezTo>
                    <a:pt x="8993" y="8124"/>
                    <a:pt x="9217" y="8012"/>
                    <a:pt x="9471" y="7737"/>
                  </a:cubicBezTo>
                  <a:cubicBezTo>
                    <a:pt x="9622" y="7587"/>
                    <a:pt x="9772" y="7466"/>
                    <a:pt x="9953" y="7436"/>
                  </a:cubicBezTo>
                  <a:lnTo>
                    <a:pt x="10073" y="7165"/>
                  </a:lnTo>
                  <a:cubicBezTo>
                    <a:pt x="10134" y="7015"/>
                    <a:pt x="9893" y="7045"/>
                    <a:pt x="9712" y="7015"/>
                  </a:cubicBezTo>
                  <a:cubicBezTo>
                    <a:pt x="9502" y="7015"/>
                    <a:pt x="9381" y="6774"/>
                    <a:pt x="9502" y="6624"/>
                  </a:cubicBezTo>
                  <a:cubicBezTo>
                    <a:pt x="9622" y="6443"/>
                    <a:pt x="9411" y="6443"/>
                    <a:pt x="9291" y="6232"/>
                  </a:cubicBezTo>
                  <a:cubicBezTo>
                    <a:pt x="9170" y="5992"/>
                    <a:pt x="9351" y="6112"/>
                    <a:pt x="9441" y="6022"/>
                  </a:cubicBezTo>
                  <a:cubicBezTo>
                    <a:pt x="9502" y="5962"/>
                    <a:pt x="9712" y="5781"/>
                    <a:pt x="9592" y="5721"/>
                  </a:cubicBezTo>
                  <a:cubicBezTo>
                    <a:pt x="9471" y="5631"/>
                    <a:pt x="9441" y="5480"/>
                    <a:pt x="9502" y="5360"/>
                  </a:cubicBezTo>
                  <a:cubicBezTo>
                    <a:pt x="9592" y="5119"/>
                    <a:pt x="9351" y="5119"/>
                    <a:pt x="9351" y="4938"/>
                  </a:cubicBezTo>
                  <a:cubicBezTo>
                    <a:pt x="9351" y="4841"/>
                    <a:pt x="9298" y="4787"/>
                    <a:pt x="9226" y="4787"/>
                  </a:cubicBezTo>
                  <a:cubicBezTo>
                    <a:pt x="9164" y="4787"/>
                    <a:pt x="9089" y="4826"/>
                    <a:pt x="9020" y="4908"/>
                  </a:cubicBezTo>
                  <a:cubicBezTo>
                    <a:pt x="8973" y="4965"/>
                    <a:pt x="8934" y="4992"/>
                    <a:pt x="8907" y="4992"/>
                  </a:cubicBezTo>
                  <a:cubicBezTo>
                    <a:pt x="8847" y="4992"/>
                    <a:pt x="8838" y="4864"/>
                    <a:pt x="8900" y="4637"/>
                  </a:cubicBezTo>
                  <a:cubicBezTo>
                    <a:pt x="9020" y="4306"/>
                    <a:pt x="9411" y="4186"/>
                    <a:pt x="9441" y="4036"/>
                  </a:cubicBezTo>
                  <a:cubicBezTo>
                    <a:pt x="9502" y="3855"/>
                    <a:pt x="9652" y="3705"/>
                    <a:pt x="9863" y="3705"/>
                  </a:cubicBezTo>
                  <a:cubicBezTo>
                    <a:pt x="10013" y="3705"/>
                    <a:pt x="9953" y="3313"/>
                    <a:pt x="10013" y="3103"/>
                  </a:cubicBezTo>
                  <a:cubicBezTo>
                    <a:pt x="10043" y="2862"/>
                    <a:pt x="10164" y="2621"/>
                    <a:pt x="10344" y="2471"/>
                  </a:cubicBezTo>
                  <a:cubicBezTo>
                    <a:pt x="10547" y="2293"/>
                    <a:pt x="10366" y="2223"/>
                    <a:pt x="10232" y="2223"/>
                  </a:cubicBezTo>
                  <a:cubicBezTo>
                    <a:pt x="10206" y="2223"/>
                    <a:pt x="10183" y="2225"/>
                    <a:pt x="10164" y="2230"/>
                  </a:cubicBezTo>
                  <a:cubicBezTo>
                    <a:pt x="10073" y="2230"/>
                    <a:pt x="9983" y="2079"/>
                    <a:pt x="9742" y="2079"/>
                  </a:cubicBezTo>
                  <a:cubicBezTo>
                    <a:pt x="9532" y="2079"/>
                    <a:pt x="9351" y="1989"/>
                    <a:pt x="9261" y="1809"/>
                  </a:cubicBezTo>
                  <a:cubicBezTo>
                    <a:pt x="9080" y="1728"/>
                    <a:pt x="8900" y="1688"/>
                    <a:pt x="8710" y="1688"/>
                  </a:cubicBezTo>
                  <a:cubicBezTo>
                    <a:pt x="8615" y="1688"/>
                    <a:pt x="8518" y="1698"/>
                    <a:pt x="8418" y="1718"/>
                  </a:cubicBezTo>
                  <a:cubicBezTo>
                    <a:pt x="8410" y="1720"/>
                    <a:pt x="8403" y="1720"/>
                    <a:pt x="8395" y="1720"/>
                  </a:cubicBezTo>
                  <a:cubicBezTo>
                    <a:pt x="8242" y="1720"/>
                    <a:pt x="8202" y="1446"/>
                    <a:pt x="8023" y="1446"/>
                  </a:cubicBezTo>
                  <a:cubicBezTo>
                    <a:pt x="8015" y="1446"/>
                    <a:pt x="8006" y="1446"/>
                    <a:pt x="7997" y="1447"/>
                  </a:cubicBezTo>
                  <a:cubicBezTo>
                    <a:pt x="7987" y="1449"/>
                    <a:pt x="7978" y="1450"/>
                    <a:pt x="7970" y="1450"/>
                  </a:cubicBezTo>
                  <a:cubicBezTo>
                    <a:pt x="7813" y="1450"/>
                    <a:pt x="7786" y="1199"/>
                    <a:pt x="7786" y="1056"/>
                  </a:cubicBezTo>
                  <a:cubicBezTo>
                    <a:pt x="7786" y="1024"/>
                    <a:pt x="7778" y="1011"/>
                    <a:pt x="7763" y="1011"/>
                  </a:cubicBezTo>
                  <a:cubicBezTo>
                    <a:pt x="7710" y="1011"/>
                    <a:pt x="7573" y="1183"/>
                    <a:pt x="7455" y="1207"/>
                  </a:cubicBezTo>
                  <a:cubicBezTo>
                    <a:pt x="7437" y="1214"/>
                    <a:pt x="7419" y="1217"/>
                    <a:pt x="7403" y="1217"/>
                  </a:cubicBezTo>
                  <a:cubicBezTo>
                    <a:pt x="7284" y="1217"/>
                    <a:pt x="7214" y="1045"/>
                    <a:pt x="7214" y="966"/>
                  </a:cubicBezTo>
                  <a:cubicBezTo>
                    <a:pt x="7064" y="846"/>
                    <a:pt x="6883" y="755"/>
                    <a:pt x="6703" y="695"/>
                  </a:cubicBezTo>
                  <a:cubicBezTo>
                    <a:pt x="6579" y="596"/>
                    <a:pt x="6454" y="394"/>
                    <a:pt x="6364" y="394"/>
                  </a:cubicBezTo>
                  <a:cubicBezTo>
                    <a:pt x="6345" y="394"/>
                    <a:pt x="6327" y="403"/>
                    <a:pt x="6311" y="424"/>
                  </a:cubicBezTo>
                  <a:cubicBezTo>
                    <a:pt x="6302" y="444"/>
                    <a:pt x="6288" y="452"/>
                    <a:pt x="6272" y="452"/>
                  </a:cubicBezTo>
                  <a:cubicBezTo>
                    <a:pt x="6188" y="452"/>
                    <a:pt x="6036" y="224"/>
                    <a:pt x="6011" y="123"/>
                  </a:cubicBezTo>
                  <a:cubicBezTo>
                    <a:pt x="5980" y="3"/>
                    <a:pt x="5980" y="93"/>
                    <a:pt x="5950" y="3"/>
                  </a:cubicBezTo>
                  <a:lnTo>
                    <a:pt x="5770" y="3"/>
                  </a:lnTo>
                  <a:cubicBezTo>
                    <a:pt x="5753" y="1"/>
                    <a:pt x="5736" y="0"/>
                    <a:pt x="5720" y="0"/>
                  </a:cubicBezTo>
                  <a:close/>
                  <a:moveTo>
                    <a:pt x="11431" y="8188"/>
                  </a:moveTo>
                  <a:cubicBezTo>
                    <a:pt x="11430" y="8188"/>
                    <a:pt x="11429" y="8188"/>
                    <a:pt x="11428" y="8189"/>
                  </a:cubicBezTo>
                  <a:cubicBezTo>
                    <a:pt x="11277" y="8189"/>
                    <a:pt x="11247" y="8399"/>
                    <a:pt x="10946" y="8580"/>
                  </a:cubicBezTo>
                  <a:cubicBezTo>
                    <a:pt x="10655" y="8784"/>
                    <a:pt x="10927" y="9636"/>
                    <a:pt x="11218" y="9636"/>
                  </a:cubicBezTo>
                  <a:cubicBezTo>
                    <a:pt x="11228" y="9636"/>
                    <a:pt x="11237" y="9635"/>
                    <a:pt x="11247" y="9633"/>
                  </a:cubicBezTo>
                  <a:cubicBezTo>
                    <a:pt x="11545" y="9603"/>
                    <a:pt x="11548" y="8188"/>
                    <a:pt x="11431" y="8188"/>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62" name="Google Shape;2956;p123">
              <a:extLst>
                <a:ext uri="{FF2B5EF4-FFF2-40B4-BE49-F238E27FC236}">
                  <a16:creationId xmlns:a16="http://schemas.microsoft.com/office/drawing/2014/main" id="{730B8204-9C20-E74D-B7F3-B8309B8596FD}"/>
                </a:ext>
              </a:extLst>
            </p:cNvPr>
            <p:cNvSpPr/>
            <p:nvPr/>
          </p:nvSpPr>
          <p:spPr>
            <a:xfrm>
              <a:off x="2032455" y="2916529"/>
              <a:ext cx="57924" cy="31770"/>
            </a:xfrm>
            <a:custGeom>
              <a:avLst/>
              <a:gdLst/>
              <a:ahLst/>
              <a:cxnLst/>
              <a:rect l="l" t="t" r="r" b="b"/>
              <a:pathLst>
                <a:path w="1867" h="1024" extrusionOk="0">
                  <a:moveTo>
                    <a:pt x="572" y="0"/>
                  </a:moveTo>
                  <a:lnTo>
                    <a:pt x="0" y="512"/>
                  </a:lnTo>
                  <a:cubicBezTo>
                    <a:pt x="482" y="753"/>
                    <a:pt x="1024" y="933"/>
                    <a:pt x="1535" y="1024"/>
                  </a:cubicBezTo>
                  <a:cubicBezTo>
                    <a:pt x="1656" y="1024"/>
                    <a:pt x="1746" y="964"/>
                    <a:pt x="1806" y="903"/>
                  </a:cubicBezTo>
                  <a:cubicBezTo>
                    <a:pt x="1866" y="723"/>
                    <a:pt x="1866" y="572"/>
                    <a:pt x="1806" y="392"/>
                  </a:cubicBezTo>
                  <a:cubicBezTo>
                    <a:pt x="1656" y="211"/>
                    <a:pt x="1325" y="422"/>
                    <a:pt x="933" y="151"/>
                  </a:cubicBezTo>
                  <a:lnTo>
                    <a:pt x="602" y="0"/>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63" name="Google Shape;2957;p123">
              <a:extLst>
                <a:ext uri="{FF2B5EF4-FFF2-40B4-BE49-F238E27FC236}">
                  <a16:creationId xmlns:a16="http://schemas.microsoft.com/office/drawing/2014/main" id="{59706FAB-E1EC-394F-A3C6-5BFC73652764}"/>
                </a:ext>
              </a:extLst>
            </p:cNvPr>
            <p:cNvSpPr/>
            <p:nvPr/>
          </p:nvSpPr>
          <p:spPr>
            <a:xfrm>
              <a:off x="2051132" y="2874459"/>
              <a:ext cx="160772" cy="78524"/>
            </a:xfrm>
            <a:custGeom>
              <a:avLst/>
              <a:gdLst/>
              <a:ahLst/>
              <a:cxnLst/>
              <a:rect l="l" t="t" r="r" b="b"/>
              <a:pathLst>
                <a:path w="5182" h="2531" extrusionOk="0">
                  <a:moveTo>
                    <a:pt x="3231" y="0"/>
                  </a:moveTo>
                  <a:cubicBezTo>
                    <a:pt x="2879" y="0"/>
                    <a:pt x="2505" y="97"/>
                    <a:pt x="2257" y="213"/>
                  </a:cubicBezTo>
                  <a:cubicBezTo>
                    <a:pt x="2166" y="249"/>
                    <a:pt x="2073" y="262"/>
                    <a:pt x="1977" y="262"/>
                  </a:cubicBezTo>
                  <a:cubicBezTo>
                    <a:pt x="1730" y="262"/>
                    <a:pt x="1472" y="174"/>
                    <a:pt x="1215" y="174"/>
                  </a:cubicBezTo>
                  <a:cubicBezTo>
                    <a:pt x="1080" y="174"/>
                    <a:pt x="945" y="199"/>
                    <a:pt x="813" y="273"/>
                  </a:cubicBezTo>
                  <a:cubicBezTo>
                    <a:pt x="662" y="424"/>
                    <a:pt x="512" y="574"/>
                    <a:pt x="361" y="694"/>
                  </a:cubicBezTo>
                  <a:cubicBezTo>
                    <a:pt x="60" y="995"/>
                    <a:pt x="121" y="1266"/>
                    <a:pt x="0" y="1326"/>
                  </a:cubicBezTo>
                  <a:lnTo>
                    <a:pt x="361" y="1477"/>
                  </a:lnTo>
                  <a:cubicBezTo>
                    <a:pt x="542" y="1612"/>
                    <a:pt x="715" y="1620"/>
                    <a:pt x="862" y="1620"/>
                  </a:cubicBezTo>
                  <a:cubicBezTo>
                    <a:pt x="880" y="1620"/>
                    <a:pt x="898" y="1620"/>
                    <a:pt x="915" y="1620"/>
                  </a:cubicBezTo>
                  <a:cubicBezTo>
                    <a:pt x="1038" y="1620"/>
                    <a:pt x="1138" y="1625"/>
                    <a:pt x="1204" y="1718"/>
                  </a:cubicBezTo>
                  <a:cubicBezTo>
                    <a:pt x="1264" y="1868"/>
                    <a:pt x="1264" y="2049"/>
                    <a:pt x="1204" y="2229"/>
                  </a:cubicBezTo>
                  <a:cubicBezTo>
                    <a:pt x="1239" y="2194"/>
                    <a:pt x="1274" y="2160"/>
                    <a:pt x="1320" y="2160"/>
                  </a:cubicBezTo>
                  <a:cubicBezTo>
                    <a:pt x="1354" y="2160"/>
                    <a:pt x="1394" y="2178"/>
                    <a:pt x="1445" y="2229"/>
                  </a:cubicBezTo>
                  <a:cubicBezTo>
                    <a:pt x="1565" y="2350"/>
                    <a:pt x="1505" y="2410"/>
                    <a:pt x="1505" y="2530"/>
                  </a:cubicBezTo>
                  <a:lnTo>
                    <a:pt x="1806" y="2470"/>
                  </a:lnTo>
                  <a:lnTo>
                    <a:pt x="2047" y="2259"/>
                  </a:lnTo>
                  <a:cubicBezTo>
                    <a:pt x="2077" y="2199"/>
                    <a:pt x="1866" y="1808"/>
                    <a:pt x="2318" y="1778"/>
                  </a:cubicBezTo>
                  <a:cubicBezTo>
                    <a:pt x="2769" y="1748"/>
                    <a:pt x="3100" y="1718"/>
                    <a:pt x="3160" y="1417"/>
                  </a:cubicBezTo>
                  <a:cubicBezTo>
                    <a:pt x="3213" y="1242"/>
                    <a:pt x="3407" y="1219"/>
                    <a:pt x="3590" y="1219"/>
                  </a:cubicBezTo>
                  <a:cubicBezTo>
                    <a:pt x="3654" y="1219"/>
                    <a:pt x="3717" y="1222"/>
                    <a:pt x="3772" y="1222"/>
                  </a:cubicBezTo>
                  <a:cubicBezTo>
                    <a:pt x="3830" y="1222"/>
                    <a:pt x="3880" y="1219"/>
                    <a:pt x="3913" y="1206"/>
                  </a:cubicBezTo>
                  <a:cubicBezTo>
                    <a:pt x="4057" y="1177"/>
                    <a:pt x="4421" y="873"/>
                    <a:pt x="4821" y="873"/>
                  </a:cubicBezTo>
                  <a:cubicBezTo>
                    <a:pt x="4839" y="873"/>
                    <a:pt x="4857" y="874"/>
                    <a:pt x="4876" y="875"/>
                  </a:cubicBezTo>
                  <a:cubicBezTo>
                    <a:pt x="4894" y="876"/>
                    <a:pt x="4909" y="877"/>
                    <a:pt x="4922" y="877"/>
                  </a:cubicBezTo>
                  <a:cubicBezTo>
                    <a:pt x="5182" y="877"/>
                    <a:pt x="4317" y="587"/>
                    <a:pt x="3973" y="243"/>
                  </a:cubicBezTo>
                  <a:cubicBezTo>
                    <a:pt x="3796" y="66"/>
                    <a:pt x="3521" y="0"/>
                    <a:pt x="3231"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64" name="Google Shape;2958;p123">
              <a:extLst>
                <a:ext uri="{FF2B5EF4-FFF2-40B4-BE49-F238E27FC236}">
                  <a16:creationId xmlns:a16="http://schemas.microsoft.com/office/drawing/2014/main" id="{61A852F5-0071-7B48-B78B-BDD4B7977F77}"/>
                </a:ext>
              </a:extLst>
            </p:cNvPr>
            <p:cNvSpPr/>
            <p:nvPr/>
          </p:nvSpPr>
          <p:spPr>
            <a:xfrm>
              <a:off x="1367651" y="2435672"/>
              <a:ext cx="748850" cy="465003"/>
            </a:xfrm>
            <a:custGeom>
              <a:avLst/>
              <a:gdLst/>
              <a:ahLst/>
              <a:cxnLst/>
              <a:rect l="l" t="t" r="r" b="b"/>
              <a:pathLst>
                <a:path w="24137" h="14988" extrusionOk="0">
                  <a:moveTo>
                    <a:pt x="1837" y="1"/>
                  </a:moveTo>
                  <a:lnTo>
                    <a:pt x="1" y="241"/>
                  </a:lnTo>
                  <a:cubicBezTo>
                    <a:pt x="121" y="452"/>
                    <a:pt x="272" y="693"/>
                    <a:pt x="452" y="873"/>
                  </a:cubicBezTo>
                  <a:cubicBezTo>
                    <a:pt x="753" y="1355"/>
                    <a:pt x="964" y="1897"/>
                    <a:pt x="1084" y="2469"/>
                  </a:cubicBezTo>
                  <a:cubicBezTo>
                    <a:pt x="1114" y="2709"/>
                    <a:pt x="1656" y="2950"/>
                    <a:pt x="2077" y="3251"/>
                  </a:cubicBezTo>
                  <a:cubicBezTo>
                    <a:pt x="2378" y="3492"/>
                    <a:pt x="2559" y="3883"/>
                    <a:pt x="2469" y="4304"/>
                  </a:cubicBezTo>
                  <a:cubicBezTo>
                    <a:pt x="2455" y="4339"/>
                    <a:pt x="2415" y="4351"/>
                    <a:pt x="2361" y="4351"/>
                  </a:cubicBezTo>
                  <a:cubicBezTo>
                    <a:pt x="2238" y="4351"/>
                    <a:pt x="2043" y="4287"/>
                    <a:pt x="1928" y="4287"/>
                  </a:cubicBezTo>
                  <a:cubicBezTo>
                    <a:pt x="1878" y="4287"/>
                    <a:pt x="1844" y="4299"/>
                    <a:pt x="1837" y="4334"/>
                  </a:cubicBezTo>
                  <a:cubicBezTo>
                    <a:pt x="1807" y="4485"/>
                    <a:pt x="2559" y="5087"/>
                    <a:pt x="2830" y="5087"/>
                  </a:cubicBezTo>
                  <a:cubicBezTo>
                    <a:pt x="3071" y="5087"/>
                    <a:pt x="3221" y="5207"/>
                    <a:pt x="3672" y="5628"/>
                  </a:cubicBezTo>
                  <a:cubicBezTo>
                    <a:pt x="4124" y="6020"/>
                    <a:pt x="4094" y="6441"/>
                    <a:pt x="3913" y="6591"/>
                  </a:cubicBezTo>
                  <a:cubicBezTo>
                    <a:pt x="3733" y="6742"/>
                    <a:pt x="4244" y="7013"/>
                    <a:pt x="4816" y="7374"/>
                  </a:cubicBezTo>
                  <a:cubicBezTo>
                    <a:pt x="5207" y="7615"/>
                    <a:pt x="5508" y="7976"/>
                    <a:pt x="5689" y="8397"/>
                  </a:cubicBezTo>
                  <a:cubicBezTo>
                    <a:pt x="5698" y="8452"/>
                    <a:pt x="5729" y="8476"/>
                    <a:pt x="5769" y="8476"/>
                  </a:cubicBezTo>
                  <a:cubicBezTo>
                    <a:pt x="5863" y="8476"/>
                    <a:pt x="6008" y="8346"/>
                    <a:pt x="6050" y="8156"/>
                  </a:cubicBezTo>
                  <a:cubicBezTo>
                    <a:pt x="6140" y="7916"/>
                    <a:pt x="5869" y="7825"/>
                    <a:pt x="5869" y="7524"/>
                  </a:cubicBezTo>
                  <a:cubicBezTo>
                    <a:pt x="5869" y="7223"/>
                    <a:pt x="5418" y="7284"/>
                    <a:pt x="5177" y="7223"/>
                  </a:cubicBezTo>
                  <a:cubicBezTo>
                    <a:pt x="4967" y="7193"/>
                    <a:pt x="5237" y="6742"/>
                    <a:pt x="4997" y="6561"/>
                  </a:cubicBezTo>
                  <a:cubicBezTo>
                    <a:pt x="4786" y="6200"/>
                    <a:pt x="4605" y="5839"/>
                    <a:pt x="4515" y="5418"/>
                  </a:cubicBezTo>
                  <a:cubicBezTo>
                    <a:pt x="4395" y="5057"/>
                    <a:pt x="3883" y="4635"/>
                    <a:pt x="3612" y="4214"/>
                  </a:cubicBezTo>
                  <a:cubicBezTo>
                    <a:pt x="3462" y="3913"/>
                    <a:pt x="3251" y="3612"/>
                    <a:pt x="3010" y="3341"/>
                  </a:cubicBezTo>
                  <a:cubicBezTo>
                    <a:pt x="2830" y="3251"/>
                    <a:pt x="3221" y="3100"/>
                    <a:pt x="3071" y="2950"/>
                  </a:cubicBezTo>
                  <a:cubicBezTo>
                    <a:pt x="2920" y="2800"/>
                    <a:pt x="2739" y="2800"/>
                    <a:pt x="2469" y="2679"/>
                  </a:cubicBezTo>
                  <a:cubicBezTo>
                    <a:pt x="2228" y="2589"/>
                    <a:pt x="2047" y="2348"/>
                    <a:pt x="2017" y="2077"/>
                  </a:cubicBezTo>
                  <a:cubicBezTo>
                    <a:pt x="1987" y="1656"/>
                    <a:pt x="1897" y="1265"/>
                    <a:pt x="1776" y="873"/>
                  </a:cubicBezTo>
                  <a:cubicBezTo>
                    <a:pt x="1729" y="763"/>
                    <a:pt x="1781" y="719"/>
                    <a:pt x="1849" y="719"/>
                  </a:cubicBezTo>
                  <a:cubicBezTo>
                    <a:pt x="1912" y="719"/>
                    <a:pt x="1989" y="756"/>
                    <a:pt x="2017" y="813"/>
                  </a:cubicBezTo>
                  <a:cubicBezTo>
                    <a:pt x="2091" y="887"/>
                    <a:pt x="2184" y="980"/>
                    <a:pt x="2265" y="980"/>
                  </a:cubicBezTo>
                  <a:cubicBezTo>
                    <a:pt x="2283" y="980"/>
                    <a:pt x="2301" y="975"/>
                    <a:pt x="2318" y="964"/>
                  </a:cubicBezTo>
                  <a:cubicBezTo>
                    <a:pt x="2367" y="940"/>
                    <a:pt x="2415" y="928"/>
                    <a:pt x="2461" y="928"/>
                  </a:cubicBezTo>
                  <a:cubicBezTo>
                    <a:pt x="2587" y="928"/>
                    <a:pt x="2695" y="1012"/>
                    <a:pt x="2739" y="1144"/>
                  </a:cubicBezTo>
                  <a:cubicBezTo>
                    <a:pt x="2772" y="1208"/>
                    <a:pt x="2830" y="1227"/>
                    <a:pt x="2899" y="1227"/>
                  </a:cubicBezTo>
                  <a:cubicBezTo>
                    <a:pt x="2994" y="1227"/>
                    <a:pt x="3109" y="1192"/>
                    <a:pt x="3202" y="1192"/>
                  </a:cubicBezTo>
                  <a:cubicBezTo>
                    <a:pt x="3231" y="1192"/>
                    <a:pt x="3258" y="1195"/>
                    <a:pt x="3281" y="1205"/>
                  </a:cubicBezTo>
                  <a:cubicBezTo>
                    <a:pt x="3432" y="1295"/>
                    <a:pt x="2980" y="1415"/>
                    <a:pt x="3432" y="2228"/>
                  </a:cubicBezTo>
                  <a:cubicBezTo>
                    <a:pt x="3883" y="3070"/>
                    <a:pt x="3582" y="2559"/>
                    <a:pt x="3582" y="3131"/>
                  </a:cubicBezTo>
                  <a:cubicBezTo>
                    <a:pt x="3582" y="3399"/>
                    <a:pt x="3635" y="3482"/>
                    <a:pt x="3701" y="3482"/>
                  </a:cubicBezTo>
                  <a:cubicBezTo>
                    <a:pt x="3775" y="3482"/>
                    <a:pt x="3865" y="3375"/>
                    <a:pt x="3913" y="3311"/>
                  </a:cubicBezTo>
                  <a:cubicBezTo>
                    <a:pt x="3921" y="3300"/>
                    <a:pt x="3931" y="3295"/>
                    <a:pt x="3945" y="3295"/>
                  </a:cubicBezTo>
                  <a:cubicBezTo>
                    <a:pt x="4040" y="3295"/>
                    <a:pt x="4274" y="3552"/>
                    <a:pt x="4485" y="3763"/>
                  </a:cubicBezTo>
                  <a:cubicBezTo>
                    <a:pt x="4696" y="4033"/>
                    <a:pt x="5147" y="4064"/>
                    <a:pt x="5147" y="4274"/>
                  </a:cubicBezTo>
                  <a:cubicBezTo>
                    <a:pt x="5147" y="4515"/>
                    <a:pt x="5298" y="4726"/>
                    <a:pt x="5538" y="4786"/>
                  </a:cubicBezTo>
                  <a:cubicBezTo>
                    <a:pt x="5839" y="4816"/>
                    <a:pt x="5899" y="5177"/>
                    <a:pt x="6080" y="5207"/>
                  </a:cubicBezTo>
                  <a:cubicBezTo>
                    <a:pt x="6291" y="5237"/>
                    <a:pt x="6321" y="5418"/>
                    <a:pt x="6200" y="5659"/>
                  </a:cubicBezTo>
                  <a:cubicBezTo>
                    <a:pt x="6080" y="5869"/>
                    <a:pt x="6200" y="6110"/>
                    <a:pt x="6682" y="6291"/>
                  </a:cubicBezTo>
                  <a:cubicBezTo>
                    <a:pt x="7194" y="6471"/>
                    <a:pt x="6953" y="6501"/>
                    <a:pt x="7344" y="6892"/>
                  </a:cubicBezTo>
                  <a:cubicBezTo>
                    <a:pt x="7946" y="7464"/>
                    <a:pt x="8548" y="8096"/>
                    <a:pt x="9059" y="8758"/>
                  </a:cubicBezTo>
                  <a:cubicBezTo>
                    <a:pt x="9240" y="9029"/>
                    <a:pt x="9360" y="9330"/>
                    <a:pt x="9451" y="9631"/>
                  </a:cubicBezTo>
                  <a:cubicBezTo>
                    <a:pt x="9511" y="9872"/>
                    <a:pt x="9240" y="10022"/>
                    <a:pt x="9390" y="10203"/>
                  </a:cubicBezTo>
                  <a:cubicBezTo>
                    <a:pt x="9541" y="10383"/>
                    <a:pt x="9150" y="10353"/>
                    <a:pt x="9180" y="10504"/>
                  </a:cubicBezTo>
                  <a:cubicBezTo>
                    <a:pt x="9210" y="10654"/>
                    <a:pt x="9390" y="11437"/>
                    <a:pt x="9782" y="11497"/>
                  </a:cubicBezTo>
                  <a:cubicBezTo>
                    <a:pt x="10143" y="11527"/>
                    <a:pt x="10594" y="11978"/>
                    <a:pt x="10955" y="12249"/>
                  </a:cubicBezTo>
                  <a:cubicBezTo>
                    <a:pt x="11286" y="12490"/>
                    <a:pt x="11738" y="12460"/>
                    <a:pt x="12189" y="12640"/>
                  </a:cubicBezTo>
                  <a:cubicBezTo>
                    <a:pt x="12641" y="12851"/>
                    <a:pt x="13092" y="13242"/>
                    <a:pt x="13754" y="13423"/>
                  </a:cubicBezTo>
                  <a:cubicBezTo>
                    <a:pt x="14386" y="13604"/>
                    <a:pt x="14988" y="13874"/>
                    <a:pt x="15530" y="14175"/>
                  </a:cubicBezTo>
                  <a:cubicBezTo>
                    <a:pt x="15723" y="14317"/>
                    <a:pt x="15938" y="14376"/>
                    <a:pt x="16168" y="14376"/>
                  </a:cubicBezTo>
                  <a:cubicBezTo>
                    <a:pt x="16476" y="14376"/>
                    <a:pt x="16810" y="14270"/>
                    <a:pt x="17155" y="14115"/>
                  </a:cubicBezTo>
                  <a:cubicBezTo>
                    <a:pt x="17318" y="14042"/>
                    <a:pt x="17472" y="14013"/>
                    <a:pt x="17617" y="14013"/>
                  </a:cubicBezTo>
                  <a:cubicBezTo>
                    <a:pt x="18007" y="14013"/>
                    <a:pt x="18328" y="14224"/>
                    <a:pt x="18569" y="14356"/>
                  </a:cubicBezTo>
                  <a:cubicBezTo>
                    <a:pt x="18900" y="14506"/>
                    <a:pt x="19201" y="14717"/>
                    <a:pt x="19442" y="14988"/>
                  </a:cubicBezTo>
                  <a:cubicBezTo>
                    <a:pt x="19653" y="14687"/>
                    <a:pt x="19863" y="14416"/>
                    <a:pt x="20074" y="14145"/>
                  </a:cubicBezTo>
                  <a:cubicBezTo>
                    <a:pt x="20122" y="14145"/>
                    <a:pt x="20402" y="14179"/>
                    <a:pt x="20661" y="14179"/>
                  </a:cubicBezTo>
                  <a:cubicBezTo>
                    <a:pt x="20888" y="14179"/>
                    <a:pt x="21099" y="14153"/>
                    <a:pt x="21127" y="14055"/>
                  </a:cubicBezTo>
                  <a:cubicBezTo>
                    <a:pt x="21218" y="13814"/>
                    <a:pt x="20465" y="13333"/>
                    <a:pt x="20586" y="13303"/>
                  </a:cubicBezTo>
                  <a:cubicBezTo>
                    <a:pt x="20676" y="13242"/>
                    <a:pt x="20676" y="12701"/>
                    <a:pt x="20796" y="12701"/>
                  </a:cubicBezTo>
                  <a:lnTo>
                    <a:pt x="22271" y="12701"/>
                  </a:lnTo>
                  <a:cubicBezTo>
                    <a:pt x="22331" y="12640"/>
                    <a:pt x="22572" y="12249"/>
                    <a:pt x="22753" y="12189"/>
                  </a:cubicBezTo>
                  <a:cubicBezTo>
                    <a:pt x="22903" y="12219"/>
                    <a:pt x="23023" y="12309"/>
                    <a:pt x="23144" y="12430"/>
                  </a:cubicBezTo>
                  <a:cubicBezTo>
                    <a:pt x="23354" y="12249"/>
                    <a:pt x="23445" y="11738"/>
                    <a:pt x="23475" y="11377"/>
                  </a:cubicBezTo>
                  <a:cubicBezTo>
                    <a:pt x="23505" y="10985"/>
                    <a:pt x="23385" y="10745"/>
                    <a:pt x="23625" y="10474"/>
                  </a:cubicBezTo>
                  <a:cubicBezTo>
                    <a:pt x="23836" y="10203"/>
                    <a:pt x="24137" y="10173"/>
                    <a:pt x="24077" y="9842"/>
                  </a:cubicBezTo>
                  <a:cubicBezTo>
                    <a:pt x="24043" y="9705"/>
                    <a:pt x="23974" y="9672"/>
                    <a:pt x="23887" y="9672"/>
                  </a:cubicBezTo>
                  <a:cubicBezTo>
                    <a:pt x="23805" y="9672"/>
                    <a:pt x="23706" y="9702"/>
                    <a:pt x="23604" y="9702"/>
                  </a:cubicBezTo>
                  <a:cubicBezTo>
                    <a:pt x="23530" y="9702"/>
                    <a:pt x="23455" y="9686"/>
                    <a:pt x="23385" y="9631"/>
                  </a:cubicBezTo>
                  <a:cubicBezTo>
                    <a:pt x="23300" y="9568"/>
                    <a:pt x="23212" y="9545"/>
                    <a:pt x="23100" y="9545"/>
                  </a:cubicBezTo>
                  <a:cubicBezTo>
                    <a:pt x="22894" y="9545"/>
                    <a:pt x="22609" y="9622"/>
                    <a:pt x="22121" y="9661"/>
                  </a:cubicBezTo>
                  <a:cubicBezTo>
                    <a:pt x="21368" y="9751"/>
                    <a:pt x="21067" y="10082"/>
                    <a:pt x="21097" y="10624"/>
                  </a:cubicBezTo>
                  <a:cubicBezTo>
                    <a:pt x="21127" y="11136"/>
                    <a:pt x="20887" y="10865"/>
                    <a:pt x="20887" y="11346"/>
                  </a:cubicBezTo>
                  <a:cubicBezTo>
                    <a:pt x="20887" y="11798"/>
                    <a:pt x="20315" y="11768"/>
                    <a:pt x="20345" y="12039"/>
                  </a:cubicBezTo>
                  <a:cubicBezTo>
                    <a:pt x="20355" y="12126"/>
                    <a:pt x="20311" y="12157"/>
                    <a:pt x="20243" y="12157"/>
                  </a:cubicBezTo>
                  <a:cubicBezTo>
                    <a:pt x="20099" y="12157"/>
                    <a:pt x="19845" y="12019"/>
                    <a:pt x="19743" y="11978"/>
                  </a:cubicBezTo>
                  <a:cubicBezTo>
                    <a:pt x="19729" y="11970"/>
                    <a:pt x="19702" y="11966"/>
                    <a:pt x="19665" y="11966"/>
                  </a:cubicBezTo>
                  <a:cubicBezTo>
                    <a:pt x="19320" y="11966"/>
                    <a:pt x="18098" y="12312"/>
                    <a:pt x="17907" y="12340"/>
                  </a:cubicBezTo>
                  <a:cubicBezTo>
                    <a:pt x="17892" y="12343"/>
                    <a:pt x="17877" y="12345"/>
                    <a:pt x="17861" y="12345"/>
                  </a:cubicBezTo>
                  <a:cubicBezTo>
                    <a:pt x="17622" y="12345"/>
                    <a:pt x="17287" y="11948"/>
                    <a:pt x="17004" y="11948"/>
                  </a:cubicBezTo>
                  <a:cubicBezTo>
                    <a:pt x="16703" y="11948"/>
                    <a:pt x="16583" y="11497"/>
                    <a:pt x="16553" y="11136"/>
                  </a:cubicBezTo>
                  <a:cubicBezTo>
                    <a:pt x="16523" y="10805"/>
                    <a:pt x="15951" y="10444"/>
                    <a:pt x="15710" y="10082"/>
                  </a:cubicBezTo>
                  <a:cubicBezTo>
                    <a:pt x="15500" y="9751"/>
                    <a:pt x="15409" y="9029"/>
                    <a:pt x="15409" y="8548"/>
                  </a:cubicBezTo>
                  <a:cubicBezTo>
                    <a:pt x="15349" y="7795"/>
                    <a:pt x="15439" y="7043"/>
                    <a:pt x="15680" y="6321"/>
                  </a:cubicBezTo>
                  <a:cubicBezTo>
                    <a:pt x="15710" y="6230"/>
                    <a:pt x="15710" y="6110"/>
                    <a:pt x="15771" y="5990"/>
                  </a:cubicBezTo>
                  <a:lnTo>
                    <a:pt x="15409" y="5869"/>
                  </a:lnTo>
                  <a:cubicBezTo>
                    <a:pt x="15398" y="5870"/>
                    <a:pt x="15387" y="5871"/>
                    <a:pt x="15375" y="5871"/>
                  </a:cubicBezTo>
                  <a:cubicBezTo>
                    <a:pt x="15060" y="5871"/>
                    <a:pt x="14441" y="5508"/>
                    <a:pt x="14296" y="5508"/>
                  </a:cubicBezTo>
                  <a:cubicBezTo>
                    <a:pt x="14145" y="5508"/>
                    <a:pt x="14176" y="5147"/>
                    <a:pt x="14055" y="4996"/>
                  </a:cubicBezTo>
                  <a:cubicBezTo>
                    <a:pt x="13965" y="4846"/>
                    <a:pt x="14025" y="4515"/>
                    <a:pt x="13875" y="4395"/>
                  </a:cubicBezTo>
                  <a:cubicBezTo>
                    <a:pt x="13513" y="4124"/>
                    <a:pt x="13273" y="3732"/>
                    <a:pt x="13122" y="3311"/>
                  </a:cubicBezTo>
                  <a:cubicBezTo>
                    <a:pt x="12972" y="2800"/>
                    <a:pt x="12069" y="2529"/>
                    <a:pt x="11738" y="2529"/>
                  </a:cubicBezTo>
                  <a:cubicBezTo>
                    <a:pt x="11407" y="2529"/>
                    <a:pt x="11196" y="3221"/>
                    <a:pt x="11136" y="3251"/>
                  </a:cubicBezTo>
                  <a:cubicBezTo>
                    <a:pt x="11133" y="3252"/>
                    <a:pt x="11129" y="3252"/>
                    <a:pt x="11125" y="3252"/>
                  </a:cubicBezTo>
                  <a:cubicBezTo>
                    <a:pt x="11001" y="3252"/>
                    <a:pt x="10377" y="2858"/>
                    <a:pt x="10203" y="2800"/>
                  </a:cubicBezTo>
                  <a:cubicBezTo>
                    <a:pt x="10022" y="2679"/>
                    <a:pt x="9902" y="2469"/>
                    <a:pt x="9932" y="2258"/>
                  </a:cubicBezTo>
                  <a:cubicBezTo>
                    <a:pt x="9932" y="2047"/>
                    <a:pt x="9511" y="1716"/>
                    <a:pt x="9390" y="1656"/>
                  </a:cubicBezTo>
                  <a:cubicBezTo>
                    <a:pt x="9089" y="1415"/>
                    <a:pt x="8789" y="1144"/>
                    <a:pt x="8488" y="873"/>
                  </a:cubicBezTo>
                  <a:lnTo>
                    <a:pt x="7254" y="873"/>
                  </a:lnTo>
                  <a:lnTo>
                    <a:pt x="6983" y="1174"/>
                  </a:lnTo>
                  <a:lnTo>
                    <a:pt x="4786" y="1174"/>
                  </a:lnTo>
                  <a:cubicBezTo>
                    <a:pt x="4786" y="1174"/>
                    <a:pt x="3040" y="542"/>
                    <a:pt x="2709" y="452"/>
                  </a:cubicBezTo>
                  <a:cubicBezTo>
                    <a:pt x="2408" y="332"/>
                    <a:pt x="2108" y="181"/>
                    <a:pt x="1837"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65" name="Google Shape;2959;p123">
              <a:extLst>
                <a:ext uri="{FF2B5EF4-FFF2-40B4-BE49-F238E27FC236}">
                  <a16:creationId xmlns:a16="http://schemas.microsoft.com/office/drawing/2014/main" id="{B2EBADE5-3041-C54F-956F-24B3A70D4539}"/>
                </a:ext>
              </a:extLst>
            </p:cNvPr>
            <p:cNvSpPr/>
            <p:nvPr/>
          </p:nvSpPr>
          <p:spPr>
            <a:xfrm>
              <a:off x="1969908" y="2829690"/>
              <a:ext cx="106447" cy="100862"/>
            </a:xfrm>
            <a:custGeom>
              <a:avLst/>
              <a:gdLst/>
              <a:ahLst/>
              <a:cxnLst/>
              <a:rect l="l" t="t" r="r" b="b"/>
              <a:pathLst>
                <a:path w="3431" h="3251" extrusionOk="0">
                  <a:moveTo>
                    <a:pt x="1354" y="1"/>
                  </a:moveTo>
                  <a:cubicBezTo>
                    <a:pt x="1234" y="1"/>
                    <a:pt x="1204" y="542"/>
                    <a:pt x="1114" y="603"/>
                  </a:cubicBezTo>
                  <a:cubicBezTo>
                    <a:pt x="1053" y="633"/>
                    <a:pt x="1776" y="1114"/>
                    <a:pt x="1685" y="1355"/>
                  </a:cubicBezTo>
                  <a:cubicBezTo>
                    <a:pt x="1657" y="1453"/>
                    <a:pt x="1446" y="1479"/>
                    <a:pt x="1219" y="1479"/>
                  </a:cubicBezTo>
                  <a:cubicBezTo>
                    <a:pt x="959" y="1479"/>
                    <a:pt x="680" y="1445"/>
                    <a:pt x="632" y="1445"/>
                  </a:cubicBezTo>
                  <a:cubicBezTo>
                    <a:pt x="391" y="1716"/>
                    <a:pt x="181" y="2017"/>
                    <a:pt x="0" y="2318"/>
                  </a:cubicBezTo>
                  <a:cubicBezTo>
                    <a:pt x="271" y="2589"/>
                    <a:pt x="542" y="2830"/>
                    <a:pt x="873" y="3070"/>
                  </a:cubicBezTo>
                  <a:cubicBezTo>
                    <a:pt x="993" y="3158"/>
                    <a:pt x="1137" y="3178"/>
                    <a:pt x="1284" y="3178"/>
                  </a:cubicBezTo>
                  <a:cubicBezTo>
                    <a:pt x="1406" y="3178"/>
                    <a:pt x="1529" y="3164"/>
                    <a:pt x="1642" y="3164"/>
                  </a:cubicBezTo>
                  <a:cubicBezTo>
                    <a:pt x="1766" y="3164"/>
                    <a:pt x="1876" y="3181"/>
                    <a:pt x="1956" y="3251"/>
                  </a:cubicBezTo>
                  <a:lnTo>
                    <a:pt x="1986" y="3251"/>
                  </a:lnTo>
                  <a:lnTo>
                    <a:pt x="2558" y="2769"/>
                  </a:lnTo>
                  <a:cubicBezTo>
                    <a:pt x="2739" y="2769"/>
                    <a:pt x="2618" y="2468"/>
                    <a:pt x="2979" y="2167"/>
                  </a:cubicBezTo>
                  <a:cubicBezTo>
                    <a:pt x="3130" y="2047"/>
                    <a:pt x="3280" y="1897"/>
                    <a:pt x="3431" y="1746"/>
                  </a:cubicBezTo>
                  <a:lnTo>
                    <a:pt x="3431" y="1746"/>
                  </a:lnTo>
                  <a:cubicBezTo>
                    <a:pt x="3344" y="1789"/>
                    <a:pt x="3275" y="1808"/>
                    <a:pt x="3222" y="1808"/>
                  </a:cubicBezTo>
                  <a:cubicBezTo>
                    <a:pt x="3088" y="1808"/>
                    <a:pt x="3048" y="1694"/>
                    <a:pt x="3070" y="1566"/>
                  </a:cubicBezTo>
                  <a:lnTo>
                    <a:pt x="2709" y="1566"/>
                  </a:lnTo>
                  <a:lnTo>
                    <a:pt x="2709" y="1"/>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66" name="Google Shape;2960;p123">
              <a:extLst>
                <a:ext uri="{FF2B5EF4-FFF2-40B4-BE49-F238E27FC236}">
                  <a16:creationId xmlns:a16="http://schemas.microsoft.com/office/drawing/2014/main" id="{D8930A0E-8269-5848-94FD-804BFCE4BC16}"/>
                </a:ext>
              </a:extLst>
            </p:cNvPr>
            <p:cNvSpPr/>
            <p:nvPr/>
          </p:nvSpPr>
          <p:spPr>
            <a:xfrm>
              <a:off x="2054855" y="2813836"/>
              <a:ext cx="31770" cy="64439"/>
            </a:xfrm>
            <a:custGeom>
              <a:avLst/>
              <a:gdLst/>
              <a:ahLst/>
              <a:cxnLst/>
              <a:rect l="l" t="t" r="r" b="b"/>
              <a:pathLst>
                <a:path w="1024" h="2077" extrusionOk="0">
                  <a:moveTo>
                    <a:pt x="633" y="0"/>
                  </a:moveTo>
                  <a:cubicBezTo>
                    <a:pt x="422" y="60"/>
                    <a:pt x="181" y="451"/>
                    <a:pt x="121" y="512"/>
                  </a:cubicBezTo>
                  <a:lnTo>
                    <a:pt x="1" y="512"/>
                  </a:lnTo>
                  <a:lnTo>
                    <a:pt x="1" y="2077"/>
                  </a:lnTo>
                  <a:lnTo>
                    <a:pt x="392" y="2077"/>
                  </a:lnTo>
                  <a:cubicBezTo>
                    <a:pt x="422" y="1926"/>
                    <a:pt x="512" y="1776"/>
                    <a:pt x="633" y="1655"/>
                  </a:cubicBezTo>
                  <a:cubicBezTo>
                    <a:pt x="934" y="1415"/>
                    <a:pt x="482" y="421"/>
                    <a:pt x="813" y="361"/>
                  </a:cubicBezTo>
                  <a:cubicBezTo>
                    <a:pt x="903" y="361"/>
                    <a:pt x="994" y="301"/>
                    <a:pt x="1024" y="241"/>
                  </a:cubicBezTo>
                  <a:cubicBezTo>
                    <a:pt x="934" y="120"/>
                    <a:pt x="783" y="30"/>
                    <a:pt x="633"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67" name="Google Shape;2961;p123">
              <a:extLst>
                <a:ext uri="{FF2B5EF4-FFF2-40B4-BE49-F238E27FC236}">
                  <a16:creationId xmlns:a16="http://schemas.microsoft.com/office/drawing/2014/main" id="{7B6E6032-5F37-B441-BDAA-50978585F6EB}"/>
                </a:ext>
              </a:extLst>
            </p:cNvPr>
            <p:cNvSpPr/>
            <p:nvPr/>
          </p:nvSpPr>
          <p:spPr>
            <a:xfrm>
              <a:off x="2414062" y="2769904"/>
              <a:ext cx="73715" cy="57024"/>
            </a:xfrm>
            <a:custGeom>
              <a:avLst/>
              <a:gdLst/>
              <a:ahLst/>
              <a:cxnLst/>
              <a:rect l="l" t="t" r="r" b="b"/>
              <a:pathLst>
                <a:path w="2376" h="1838" extrusionOk="0">
                  <a:moveTo>
                    <a:pt x="1630" y="1"/>
                  </a:moveTo>
                  <a:cubicBezTo>
                    <a:pt x="1408" y="1"/>
                    <a:pt x="1196" y="42"/>
                    <a:pt x="1093" y="122"/>
                  </a:cubicBezTo>
                  <a:cubicBezTo>
                    <a:pt x="761" y="333"/>
                    <a:pt x="1634" y="874"/>
                    <a:pt x="1634" y="1205"/>
                  </a:cubicBezTo>
                  <a:cubicBezTo>
                    <a:pt x="1634" y="1316"/>
                    <a:pt x="1480" y="1343"/>
                    <a:pt x="1270" y="1343"/>
                  </a:cubicBezTo>
                  <a:cubicBezTo>
                    <a:pt x="1071" y="1343"/>
                    <a:pt x="823" y="1319"/>
                    <a:pt x="605" y="1319"/>
                  </a:cubicBezTo>
                  <a:cubicBezTo>
                    <a:pt x="359" y="1319"/>
                    <a:pt x="153" y="1349"/>
                    <a:pt x="99" y="1476"/>
                  </a:cubicBezTo>
                  <a:cubicBezTo>
                    <a:pt x="0" y="1695"/>
                    <a:pt x="241" y="1795"/>
                    <a:pt x="564" y="1795"/>
                  </a:cubicBezTo>
                  <a:cubicBezTo>
                    <a:pt x="730" y="1795"/>
                    <a:pt x="918" y="1768"/>
                    <a:pt x="1093" y="1717"/>
                  </a:cubicBezTo>
                  <a:cubicBezTo>
                    <a:pt x="1232" y="1671"/>
                    <a:pt x="1380" y="1647"/>
                    <a:pt x="1528" y="1647"/>
                  </a:cubicBezTo>
                  <a:cubicBezTo>
                    <a:pt x="1765" y="1647"/>
                    <a:pt x="2003" y="1708"/>
                    <a:pt x="2206" y="1837"/>
                  </a:cubicBezTo>
                  <a:cubicBezTo>
                    <a:pt x="2236" y="1326"/>
                    <a:pt x="2296" y="724"/>
                    <a:pt x="2357" y="333"/>
                  </a:cubicBezTo>
                  <a:cubicBezTo>
                    <a:pt x="2375" y="109"/>
                    <a:pt x="1990" y="1"/>
                    <a:pt x="1630"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68" name="Google Shape;2962;p123">
              <a:extLst>
                <a:ext uri="{FF2B5EF4-FFF2-40B4-BE49-F238E27FC236}">
                  <a16:creationId xmlns:a16="http://schemas.microsoft.com/office/drawing/2014/main" id="{217C3D6C-B45F-C545-869A-9AAEB618CDD8}"/>
                </a:ext>
              </a:extLst>
            </p:cNvPr>
            <p:cNvSpPr/>
            <p:nvPr/>
          </p:nvSpPr>
          <p:spPr>
            <a:xfrm>
              <a:off x="2482503" y="2779460"/>
              <a:ext cx="84047" cy="49423"/>
            </a:xfrm>
            <a:custGeom>
              <a:avLst/>
              <a:gdLst/>
              <a:ahLst/>
              <a:cxnLst/>
              <a:rect l="l" t="t" r="r" b="b"/>
              <a:pathLst>
                <a:path w="2709" h="1593" extrusionOk="0">
                  <a:moveTo>
                    <a:pt x="777" y="0"/>
                  </a:moveTo>
                  <a:cubicBezTo>
                    <a:pt x="705" y="0"/>
                    <a:pt x="645" y="8"/>
                    <a:pt x="602" y="25"/>
                  </a:cubicBezTo>
                  <a:cubicBezTo>
                    <a:pt x="527" y="40"/>
                    <a:pt x="444" y="47"/>
                    <a:pt x="365" y="47"/>
                  </a:cubicBezTo>
                  <a:cubicBezTo>
                    <a:pt x="286" y="47"/>
                    <a:pt x="211" y="40"/>
                    <a:pt x="151" y="25"/>
                  </a:cubicBezTo>
                  <a:cubicBezTo>
                    <a:pt x="90" y="416"/>
                    <a:pt x="30" y="1018"/>
                    <a:pt x="0" y="1529"/>
                  </a:cubicBezTo>
                  <a:lnTo>
                    <a:pt x="60" y="1529"/>
                  </a:lnTo>
                  <a:cubicBezTo>
                    <a:pt x="126" y="1573"/>
                    <a:pt x="180" y="1592"/>
                    <a:pt x="233" y="1592"/>
                  </a:cubicBezTo>
                  <a:cubicBezTo>
                    <a:pt x="396" y="1592"/>
                    <a:pt x="553" y="1410"/>
                    <a:pt x="1053" y="1228"/>
                  </a:cubicBezTo>
                  <a:cubicBezTo>
                    <a:pt x="1214" y="1175"/>
                    <a:pt x="1400" y="1160"/>
                    <a:pt x="1588" y="1160"/>
                  </a:cubicBezTo>
                  <a:cubicBezTo>
                    <a:pt x="1816" y="1160"/>
                    <a:pt x="2046" y="1182"/>
                    <a:pt x="2239" y="1182"/>
                  </a:cubicBezTo>
                  <a:cubicBezTo>
                    <a:pt x="2512" y="1182"/>
                    <a:pt x="2709" y="1138"/>
                    <a:pt x="2709" y="928"/>
                  </a:cubicBezTo>
                  <a:cubicBezTo>
                    <a:pt x="2709" y="499"/>
                    <a:pt x="1353" y="0"/>
                    <a:pt x="777"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69" name="Google Shape;2963;p123">
              <a:extLst>
                <a:ext uri="{FF2B5EF4-FFF2-40B4-BE49-F238E27FC236}">
                  <a16:creationId xmlns:a16="http://schemas.microsoft.com/office/drawing/2014/main" id="{95D18785-5EFF-AD41-8B8A-CAE6B21359E0}"/>
                </a:ext>
              </a:extLst>
            </p:cNvPr>
            <p:cNvSpPr/>
            <p:nvPr/>
          </p:nvSpPr>
          <p:spPr>
            <a:xfrm>
              <a:off x="2096863" y="2901543"/>
              <a:ext cx="105547" cy="107129"/>
            </a:xfrm>
            <a:custGeom>
              <a:avLst/>
              <a:gdLst/>
              <a:ahLst/>
              <a:cxnLst/>
              <a:rect l="l" t="t" r="r" b="b"/>
              <a:pathLst>
                <a:path w="3402" h="3453" extrusionOk="0">
                  <a:moveTo>
                    <a:pt x="3351" y="0"/>
                  </a:moveTo>
                  <a:cubicBezTo>
                    <a:pt x="2947" y="0"/>
                    <a:pt x="2554" y="333"/>
                    <a:pt x="2439" y="333"/>
                  </a:cubicBezTo>
                  <a:cubicBezTo>
                    <a:pt x="2405" y="333"/>
                    <a:pt x="2299" y="320"/>
                    <a:pt x="2177" y="320"/>
                  </a:cubicBezTo>
                  <a:cubicBezTo>
                    <a:pt x="1973" y="320"/>
                    <a:pt x="1724" y="356"/>
                    <a:pt x="1686" y="544"/>
                  </a:cubicBezTo>
                  <a:cubicBezTo>
                    <a:pt x="1656" y="845"/>
                    <a:pt x="1295" y="875"/>
                    <a:pt x="844" y="905"/>
                  </a:cubicBezTo>
                  <a:cubicBezTo>
                    <a:pt x="362" y="935"/>
                    <a:pt x="603" y="1326"/>
                    <a:pt x="573" y="1386"/>
                  </a:cubicBezTo>
                  <a:lnTo>
                    <a:pt x="332" y="1627"/>
                  </a:lnTo>
                  <a:lnTo>
                    <a:pt x="31" y="1687"/>
                  </a:lnTo>
                  <a:cubicBezTo>
                    <a:pt x="1" y="1808"/>
                    <a:pt x="1" y="1898"/>
                    <a:pt x="151" y="1988"/>
                  </a:cubicBezTo>
                  <a:cubicBezTo>
                    <a:pt x="302" y="2109"/>
                    <a:pt x="844" y="2741"/>
                    <a:pt x="1145" y="2891"/>
                  </a:cubicBezTo>
                  <a:cubicBezTo>
                    <a:pt x="1265" y="2981"/>
                    <a:pt x="1355" y="3102"/>
                    <a:pt x="1385" y="3252"/>
                  </a:cubicBezTo>
                  <a:cubicBezTo>
                    <a:pt x="1506" y="3252"/>
                    <a:pt x="1606" y="3233"/>
                    <a:pt x="1687" y="3233"/>
                  </a:cubicBezTo>
                  <a:cubicBezTo>
                    <a:pt x="1748" y="3233"/>
                    <a:pt x="1798" y="3244"/>
                    <a:pt x="1837" y="3282"/>
                  </a:cubicBezTo>
                  <a:cubicBezTo>
                    <a:pt x="1987" y="3342"/>
                    <a:pt x="2439" y="3282"/>
                    <a:pt x="2589" y="3403"/>
                  </a:cubicBezTo>
                  <a:cubicBezTo>
                    <a:pt x="2660" y="3438"/>
                    <a:pt x="2740" y="3453"/>
                    <a:pt x="2826" y="3453"/>
                  </a:cubicBezTo>
                  <a:cubicBezTo>
                    <a:pt x="2886" y="3453"/>
                    <a:pt x="2948" y="3445"/>
                    <a:pt x="3010" y="3433"/>
                  </a:cubicBezTo>
                  <a:lnTo>
                    <a:pt x="2890" y="3282"/>
                  </a:lnTo>
                  <a:cubicBezTo>
                    <a:pt x="2800" y="3042"/>
                    <a:pt x="2980" y="2560"/>
                    <a:pt x="3101" y="2259"/>
                  </a:cubicBezTo>
                  <a:cubicBezTo>
                    <a:pt x="3191" y="1958"/>
                    <a:pt x="3010" y="1085"/>
                    <a:pt x="3191" y="905"/>
                  </a:cubicBezTo>
                  <a:cubicBezTo>
                    <a:pt x="3402" y="724"/>
                    <a:pt x="3281" y="574"/>
                    <a:pt x="3402" y="92"/>
                  </a:cubicBezTo>
                  <a:lnTo>
                    <a:pt x="3402" y="2"/>
                  </a:lnTo>
                  <a:cubicBezTo>
                    <a:pt x="3385" y="1"/>
                    <a:pt x="3368" y="0"/>
                    <a:pt x="3351"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70" name="Google Shape;2964;p123">
              <a:extLst>
                <a:ext uri="{FF2B5EF4-FFF2-40B4-BE49-F238E27FC236}">
                  <a16:creationId xmlns:a16="http://schemas.microsoft.com/office/drawing/2014/main" id="{03801A88-1FAC-444A-9DCA-8B432F0E3ABA}"/>
                </a:ext>
              </a:extLst>
            </p:cNvPr>
            <p:cNvSpPr/>
            <p:nvPr/>
          </p:nvSpPr>
          <p:spPr>
            <a:xfrm>
              <a:off x="2428334" y="3147913"/>
              <a:ext cx="980421" cy="999253"/>
            </a:xfrm>
            <a:custGeom>
              <a:avLst/>
              <a:gdLst/>
              <a:ahLst/>
              <a:cxnLst/>
              <a:rect l="l" t="t" r="r" b="b"/>
              <a:pathLst>
                <a:path w="31601" h="32208" extrusionOk="0">
                  <a:moveTo>
                    <a:pt x="10985" y="0"/>
                  </a:moveTo>
                  <a:cubicBezTo>
                    <a:pt x="10725" y="0"/>
                    <a:pt x="10789" y="373"/>
                    <a:pt x="10564" y="457"/>
                  </a:cubicBezTo>
                  <a:cubicBezTo>
                    <a:pt x="10362" y="515"/>
                    <a:pt x="9858" y="820"/>
                    <a:pt x="9630" y="820"/>
                  </a:cubicBezTo>
                  <a:cubicBezTo>
                    <a:pt x="9620" y="820"/>
                    <a:pt x="9610" y="820"/>
                    <a:pt x="9601" y="819"/>
                  </a:cubicBezTo>
                  <a:cubicBezTo>
                    <a:pt x="9564" y="814"/>
                    <a:pt x="9527" y="811"/>
                    <a:pt x="9489" y="811"/>
                  </a:cubicBezTo>
                  <a:cubicBezTo>
                    <a:pt x="9276" y="811"/>
                    <a:pt x="9059" y="890"/>
                    <a:pt x="9059" y="1119"/>
                  </a:cubicBezTo>
                  <a:cubicBezTo>
                    <a:pt x="9059" y="1242"/>
                    <a:pt x="9004" y="1290"/>
                    <a:pt x="8938" y="1290"/>
                  </a:cubicBezTo>
                  <a:cubicBezTo>
                    <a:pt x="8857" y="1290"/>
                    <a:pt x="8761" y="1219"/>
                    <a:pt x="8728" y="1119"/>
                  </a:cubicBezTo>
                  <a:cubicBezTo>
                    <a:pt x="8638" y="939"/>
                    <a:pt x="8186" y="999"/>
                    <a:pt x="8036" y="849"/>
                  </a:cubicBezTo>
                  <a:cubicBezTo>
                    <a:pt x="7987" y="810"/>
                    <a:pt x="7888" y="793"/>
                    <a:pt x="7786" y="793"/>
                  </a:cubicBezTo>
                  <a:cubicBezTo>
                    <a:pt x="7571" y="793"/>
                    <a:pt x="7341" y="867"/>
                    <a:pt x="7524" y="969"/>
                  </a:cubicBezTo>
                  <a:cubicBezTo>
                    <a:pt x="7795" y="1119"/>
                    <a:pt x="7825" y="1330"/>
                    <a:pt x="7825" y="1571"/>
                  </a:cubicBezTo>
                  <a:cubicBezTo>
                    <a:pt x="7825" y="1842"/>
                    <a:pt x="8036" y="1751"/>
                    <a:pt x="8036" y="2082"/>
                  </a:cubicBezTo>
                  <a:cubicBezTo>
                    <a:pt x="8036" y="2208"/>
                    <a:pt x="8078" y="2244"/>
                    <a:pt x="8139" y="2244"/>
                  </a:cubicBezTo>
                  <a:cubicBezTo>
                    <a:pt x="8226" y="2244"/>
                    <a:pt x="8352" y="2173"/>
                    <a:pt x="8457" y="2173"/>
                  </a:cubicBezTo>
                  <a:cubicBezTo>
                    <a:pt x="8638" y="2173"/>
                    <a:pt x="8608" y="2444"/>
                    <a:pt x="8337" y="2474"/>
                  </a:cubicBezTo>
                  <a:cubicBezTo>
                    <a:pt x="8126" y="2534"/>
                    <a:pt x="7946" y="2714"/>
                    <a:pt x="7885" y="2925"/>
                  </a:cubicBezTo>
                  <a:cubicBezTo>
                    <a:pt x="7825" y="3166"/>
                    <a:pt x="7584" y="3015"/>
                    <a:pt x="7374" y="3196"/>
                  </a:cubicBezTo>
                  <a:cubicBezTo>
                    <a:pt x="7182" y="3340"/>
                    <a:pt x="7048" y="3502"/>
                    <a:pt x="6925" y="3502"/>
                  </a:cubicBezTo>
                  <a:cubicBezTo>
                    <a:pt x="6894" y="3502"/>
                    <a:pt x="6863" y="3491"/>
                    <a:pt x="6832" y="3467"/>
                  </a:cubicBezTo>
                  <a:cubicBezTo>
                    <a:pt x="6785" y="3430"/>
                    <a:pt x="6745" y="3415"/>
                    <a:pt x="6704" y="3415"/>
                  </a:cubicBezTo>
                  <a:cubicBezTo>
                    <a:pt x="6614" y="3415"/>
                    <a:pt x="6526" y="3486"/>
                    <a:pt x="6381" y="3527"/>
                  </a:cubicBezTo>
                  <a:cubicBezTo>
                    <a:pt x="6332" y="3551"/>
                    <a:pt x="6295" y="3562"/>
                    <a:pt x="6261" y="3562"/>
                  </a:cubicBezTo>
                  <a:cubicBezTo>
                    <a:pt x="6169" y="3562"/>
                    <a:pt x="6105" y="3479"/>
                    <a:pt x="5929" y="3346"/>
                  </a:cubicBezTo>
                  <a:cubicBezTo>
                    <a:pt x="5719" y="3166"/>
                    <a:pt x="5628" y="2865"/>
                    <a:pt x="5327" y="2564"/>
                  </a:cubicBezTo>
                  <a:cubicBezTo>
                    <a:pt x="5087" y="2684"/>
                    <a:pt x="4816" y="2745"/>
                    <a:pt x="4545" y="2775"/>
                  </a:cubicBezTo>
                  <a:cubicBezTo>
                    <a:pt x="4424" y="2775"/>
                    <a:pt x="4191" y="2763"/>
                    <a:pt x="3961" y="2763"/>
                  </a:cubicBezTo>
                  <a:cubicBezTo>
                    <a:pt x="3674" y="2763"/>
                    <a:pt x="3391" y="2781"/>
                    <a:pt x="3341" y="2865"/>
                  </a:cubicBezTo>
                  <a:cubicBezTo>
                    <a:pt x="3311" y="3046"/>
                    <a:pt x="3401" y="3226"/>
                    <a:pt x="3582" y="3316"/>
                  </a:cubicBezTo>
                  <a:cubicBezTo>
                    <a:pt x="3732" y="3346"/>
                    <a:pt x="4033" y="3407"/>
                    <a:pt x="3732" y="3617"/>
                  </a:cubicBezTo>
                  <a:cubicBezTo>
                    <a:pt x="3431" y="3798"/>
                    <a:pt x="3191" y="3557"/>
                    <a:pt x="3191" y="4069"/>
                  </a:cubicBezTo>
                  <a:cubicBezTo>
                    <a:pt x="3191" y="4550"/>
                    <a:pt x="3823" y="4881"/>
                    <a:pt x="3672" y="5333"/>
                  </a:cubicBezTo>
                  <a:cubicBezTo>
                    <a:pt x="3612" y="5694"/>
                    <a:pt x="3552" y="6055"/>
                    <a:pt x="3522" y="6416"/>
                  </a:cubicBezTo>
                  <a:cubicBezTo>
                    <a:pt x="3522" y="6657"/>
                    <a:pt x="3431" y="7439"/>
                    <a:pt x="3221" y="7469"/>
                  </a:cubicBezTo>
                  <a:cubicBezTo>
                    <a:pt x="3199" y="7477"/>
                    <a:pt x="3177" y="7480"/>
                    <a:pt x="3155" y="7480"/>
                  </a:cubicBezTo>
                  <a:cubicBezTo>
                    <a:pt x="3060" y="7480"/>
                    <a:pt x="2957" y="7428"/>
                    <a:pt x="2842" y="7428"/>
                  </a:cubicBezTo>
                  <a:cubicBezTo>
                    <a:pt x="2755" y="7428"/>
                    <a:pt x="2661" y="7457"/>
                    <a:pt x="2559" y="7560"/>
                  </a:cubicBezTo>
                  <a:cubicBezTo>
                    <a:pt x="2288" y="7831"/>
                    <a:pt x="1927" y="7620"/>
                    <a:pt x="1565" y="7891"/>
                  </a:cubicBezTo>
                  <a:cubicBezTo>
                    <a:pt x="1234" y="8162"/>
                    <a:pt x="903" y="8041"/>
                    <a:pt x="903" y="8342"/>
                  </a:cubicBezTo>
                  <a:cubicBezTo>
                    <a:pt x="903" y="8643"/>
                    <a:pt x="572" y="8824"/>
                    <a:pt x="633" y="9095"/>
                  </a:cubicBezTo>
                  <a:cubicBezTo>
                    <a:pt x="723" y="9365"/>
                    <a:pt x="482" y="9335"/>
                    <a:pt x="271" y="9516"/>
                  </a:cubicBezTo>
                  <a:cubicBezTo>
                    <a:pt x="31" y="9696"/>
                    <a:pt x="301" y="9877"/>
                    <a:pt x="151" y="10027"/>
                  </a:cubicBezTo>
                  <a:cubicBezTo>
                    <a:pt x="1" y="10178"/>
                    <a:pt x="181" y="10449"/>
                    <a:pt x="362" y="10720"/>
                  </a:cubicBezTo>
                  <a:cubicBezTo>
                    <a:pt x="572" y="10991"/>
                    <a:pt x="723" y="11171"/>
                    <a:pt x="723" y="11382"/>
                  </a:cubicBezTo>
                  <a:cubicBezTo>
                    <a:pt x="723" y="11581"/>
                    <a:pt x="826" y="11698"/>
                    <a:pt x="981" y="11698"/>
                  </a:cubicBezTo>
                  <a:cubicBezTo>
                    <a:pt x="1013" y="11698"/>
                    <a:pt x="1048" y="11693"/>
                    <a:pt x="1084" y="11683"/>
                  </a:cubicBezTo>
                  <a:cubicBezTo>
                    <a:pt x="1091" y="11682"/>
                    <a:pt x="1098" y="11681"/>
                    <a:pt x="1105" y="11681"/>
                  </a:cubicBezTo>
                  <a:cubicBezTo>
                    <a:pt x="1313" y="11681"/>
                    <a:pt x="1126" y="12134"/>
                    <a:pt x="1505" y="12134"/>
                  </a:cubicBezTo>
                  <a:cubicBezTo>
                    <a:pt x="1698" y="12134"/>
                    <a:pt x="1899" y="12168"/>
                    <a:pt x="2063" y="12168"/>
                  </a:cubicBezTo>
                  <a:cubicBezTo>
                    <a:pt x="2207" y="12168"/>
                    <a:pt x="2322" y="12142"/>
                    <a:pt x="2378" y="12044"/>
                  </a:cubicBezTo>
                  <a:cubicBezTo>
                    <a:pt x="2433" y="11898"/>
                    <a:pt x="2542" y="11786"/>
                    <a:pt x="2620" y="11786"/>
                  </a:cubicBezTo>
                  <a:cubicBezTo>
                    <a:pt x="2671" y="11786"/>
                    <a:pt x="2709" y="11834"/>
                    <a:pt x="2709" y="11954"/>
                  </a:cubicBezTo>
                  <a:cubicBezTo>
                    <a:pt x="2709" y="12239"/>
                    <a:pt x="2628" y="13014"/>
                    <a:pt x="2851" y="13014"/>
                  </a:cubicBezTo>
                  <a:cubicBezTo>
                    <a:pt x="2863" y="13014"/>
                    <a:pt x="2876" y="13011"/>
                    <a:pt x="2890" y="13007"/>
                  </a:cubicBezTo>
                  <a:cubicBezTo>
                    <a:pt x="3055" y="12962"/>
                    <a:pt x="3228" y="12939"/>
                    <a:pt x="3401" y="12939"/>
                  </a:cubicBezTo>
                  <a:cubicBezTo>
                    <a:pt x="3574" y="12939"/>
                    <a:pt x="3747" y="12962"/>
                    <a:pt x="3913" y="13007"/>
                  </a:cubicBezTo>
                  <a:cubicBezTo>
                    <a:pt x="3987" y="13035"/>
                    <a:pt x="4065" y="13048"/>
                    <a:pt x="4141" y="13048"/>
                  </a:cubicBezTo>
                  <a:cubicBezTo>
                    <a:pt x="4310" y="13048"/>
                    <a:pt x="4471" y="12981"/>
                    <a:pt x="4575" y="12856"/>
                  </a:cubicBezTo>
                  <a:cubicBezTo>
                    <a:pt x="4786" y="12676"/>
                    <a:pt x="4966" y="12706"/>
                    <a:pt x="5297" y="12525"/>
                  </a:cubicBezTo>
                  <a:cubicBezTo>
                    <a:pt x="5628" y="12345"/>
                    <a:pt x="5899" y="12074"/>
                    <a:pt x="6200" y="12074"/>
                  </a:cubicBezTo>
                  <a:cubicBezTo>
                    <a:pt x="6372" y="12074"/>
                    <a:pt x="6623" y="12015"/>
                    <a:pt x="6789" y="12015"/>
                  </a:cubicBezTo>
                  <a:cubicBezTo>
                    <a:pt x="6914" y="12015"/>
                    <a:pt x="6991" y="12048"/>
                    <a:pt x="6952" y="12164"/>
                  </a:cubicBezTo>
                  <a:cubicBezTo>
                    <a:pt x="6832" y="12676"/>
                    <a:pt x="6922" y="13248"/>
                    <a:pt x="7223" y="13699"/>
                  </a:cubicBezTo>
                  <a:cubicBezTo>
                    <a:pt x="7559" y="14090"/>
                    <a:pt x="7790" y="14274"/>
                    <a:pt x="8087" y="14274"/>
                  </a:cubicBezTo>
                  <a:cubicBezTo>
                    <a:pt x="8110" y="14274"/>
                    <a:pt x="8133" y="14273"/>
                    <a:pt x="8156" y="14271"/>
                  </a:cubicBezTo>
                  <a:cubicBezTo>
                    <a:pt x="8211" y="14261"/>
                    <a:pt x="8257" y="14257"/>
                    <a:pt x="8295" y="14257"/>
                  </a:cubicBezTo>
                  <a:cubicBezTo>
                    <a:pt x="8486" y="14257"/>
                    <a:pt x="8502" y="14361"/>
                    <a:pt x="8728" y="14361"/>
                  </a:cubicBezTo>
                  <a:cubicBezTo>
                    <a:pt x="8999" y="14361"/>
                    <a:pt x="8788" y="14632"/>
                    <a:pt x="9059" y="14632"/>
                  </a:cubicBezTo>
                  <a:cubicBezTo>
                    <a:pt x="9330" y="14632"/>
                    <a:pt x="9691" y="14662"/>
                    <a:pt x="9691" y="14933"/>
                  </a:cubicBezTo>
                  <a:cubicBezTo>
                    <a:pt x="9691" y="15047"/>
                    <a:pt x="9819" y="15070"/>
                    <a:pt x="9979" y="15070"/>
                  </a:cubicBezTo>
                  <a:cubicBezTo>
                    <a:pt x="10089" y="15070"/>
                    <a:pt x="10214" y="15059"/>
                    <a:pt x="10322" y="15059"/>
                  </a:cubicBezTo>
                  <a:cubicBezTo>
                    <a:pt x="10430" y="15059"/>
                    <a:pt x="10520" y="15070"/>
                    <a:pt x="10564" y="15113"/>
                  </a:cubicBezTo>
                  <a:cubicBezTo>
                    <a:pt x="10714" y="15264"/>
                    <a:pt x="10895" y="15384"/>
                    <a:pt x="10865" y="15685"/>
                  </a:cubicBezTo>
                  <a:cubicBezTo>
                    <a:pt x="10835" y="15986"/>
                    <a:pt x="11256" y="16167"/>
                    <a:pt x="10985" y="16287"/>
                  </a:cubicBezTo>
                  <a:cubicBezTo>
                    <a:pt x="10714" y="16408"/>
                    <a:pt x="11045" y="16618"/>
                    <a:pt x="11106" y="16919"/>
                  </a:cubicBezTo>
                  <a:cubicBezTo>
                    <a:pt x="11136" y="17220"/>
                    <a:pt x="11437" y="17340"/>
                    <a:pt x="11948" y="17340"/>
                  </a:cubicBezTo>
                  <a:cubicBezTo>
                    <a:pt x="12490" y="17340"/>
                    <a:pt x="12610" y="17340"/>
                    <a:pt x="12610" y="17732"/>
                  </a:cubicBezTo>
                  <a:cubicBezTo>
                    <a:pt x="12610" y="18093"/>
                    <a:pt x="12971" y="18183"/>
                    <a:pt x="13092" y="18514"/>
                  </a:cubicBezTo>
                  <a:cubicBezTo>
                    <a:pt x="13212" y="18845"/>
                    <a:pt x="12941" y="19267"/>
                    <a:pt x="12971" y="19537"/>
                  </a:cubicBezTo>
                  <a:cubicBezTo>
                    <a:pt x="13001" y="19748"/>
                    <a:pt x="12911" y="19959"/>
                    <a:pt x="12761" y="20079"/>
                  </a:cubicBezTo>
                  <a:cubicBezTo>
                    <a:pt x="12941" y="20320"/>
                    <a:pt x="12941" y="20380"/>
                    <a:pt x="12791" y="20500"/>
                  </a:cubicBezTo>
                  <a:cubicBezTo>
                    <a:pt x="12640" y="20621"/>
                    <a:pt x="13062" y="20952"/>
                    <a:pt x="12941" y="21494"/>
                  </a:cubicBezTo>
                  <a:cubicBezTo>
                    <a:pt x="12821" y="22005"/>
                    <a:pt x="12791" y="22095"/>
                    <a:pt x="13302" y="22126"/>
                  </a:cubicBezTo>
                  <a:cubicBezTo>
                    <a:pt x="13694" y="22147"/>
                    <a:pt x="13802" y="22232"/>
                    <a:pt x="13900" y="22232"/>
                  </a:cubicBezTo>
                  <a:cubicBezTo>
                    <a:pt x="13938" y="22232"/>
                    <a:pt x="13975" y="22219"/>
                    <a:pt x="14025" y="22186"/>
                  </a:cubicBezTo>
                  <a:cubicBezTo>
                    <a:pt x="14040" y="22178"/>
                    <a:pt x="14056" y="22175"/>
                    <a:pt x="14072" y="22175"/>
                  </a:cubicBezTo>
                  <a:cubicBezTo>
                    <a:pt x="14249" y="22175"/>
                    <a:pt x="14484" y="22600"/>
                    <a:pt x="14566" y="22848"/>
                  </a:cubicBezTo>
                  <a:cubicBezTo>
                    <a:pt x="14627" y="23149"/>
                    <a:pt x="14747" y="23450"/>
                    <a:pt x="14928" y="23751"/>
                  </a:cubicBezTo>
                  <a:cubicBezTo>
                    <a:pt x="15024" y="23751"/>
                    <a:pt x="15216" y="23558"/>
                    <a:pt x="15444" y="23558"/>
                  </a:cubicBezTo>
                  <a:cubicBezTo>
                    <a:pt x="15501" y="23558"/>
                    <a:pt x="15560" y="23570"/>
                    <a:pt x="15620" y="23600"/>
                  </a:cubicBezTo>
                  <a:cubicBezTo>
                    <a:pt x="15921" y="23751"/>
                    <a:pt x="15529" y="24593"/>
                    <a:pt x="15529" y="25015"/>
                  </a:cubicBezTo>
                  <a:lnTo>
                    <a:pt x="16071" y="25015"/>
                  </a:lnTo>
                  <a:cubicBezTo>
                    <a:pt x="16222" y="25105"/>
                    <a:pt x="16282" y="26068"/>
                    <a:pt x="16222" y="26248"/>
                  </a:cubicBezTo>
                  <a:cubicBezTo>
                    <a:pt x="16131" y="26459"/>
                    <a:pt x="15529" y="26610"/>
                    <a:pt x="15229" y="26790"/>
                  </a:cubicBezTo>
                  <a:cubicBezTo>
                    <a:pt x="14717" y="27181"/>
                    <a:pt x="14235" y="27663"/>
                    <a:pt x="13874" y="28205"/>
                  </a:cubicBezTo>
                  <a:cubicBezTo>
                    <a:pt x="13664" y="28506"/>
                    <a:pt x="13423" y="28776"/>
                    <a:pt x="13152" y="29047"/>
                  </a:cubicBezTo>
                  <a:cubicBezTo>
                    <a:pt x="13212" y="29062"/>
                    <a:pt x="13257" y="29070"/>
                    <a:pt x="13295" y="29070"/>
                  </a:cubicBezTo>
                  <a:cubicBezTo>
                    <a:pt x="13333" y="29070"/>
                    <a:pt x="13363" y="29062"/>
                    <a:pt x="13393" y="29047"/>
                  </a:cubicBezTo>
                  <a:cubicBezTo>
                    <a:pt x="13453" y="29017"/>
                    <a:pt x="13520" y="28997"/>
                    <a:pt x="13591" y="28997"/>
                  </a:cubicBezTo>
                  <a:cubicBezTo>
                    <a:pt x="13734" y="28997"/>
                    <a:pt x="13894" y="29077"/>
                    <a:pt x="14055" y="29318"/>
                  </a:cubicBezTo>
                  <a:cubicBezTo>
                    <a:pt x="14308" y="29628"/>
                    <a:pt x="14325" y="29833"/>
                    <a:pt x="14424" y="29833"/>
                  </a:cubicBezTo>
                  <a:cubicBezTo>
                    <a:pt x="14431" y="29833"/>
                    <a:pt x="14438" y="29832"/>
                    <a:pt x="14446" y="29830"/>
                  </a:cubicBezTo>
                  <a:cubicBezTo>
                    <a:pt x="14533" y="29808"/>
                    <a:pt x="14605" y="29596"/>
                    <a:pt x="14729" y="29596"/>
                  </a:cubicBezTo>
                  <a:cubicBezTo>
                    <a:pt x="14776" y="29596"/>
                    <a:pt x="14831" y="29627"/>
                    <a:pt x="14897" y="29709"/>
                  </a:cubicBezTo>
                  <a:cubicBezTo>
                    <a:pt x="15108" y="30010"/>
                    <a:pt x="15650" y="30251"/>
                    <a:pt x="15770" y="30402"/>
                  </a:cubicBezTo>
                  <a:cubicBezTo>
                    <a:pt x="15861" y="30552"/>
                    <a:pt x="16282" y="30612"/>
                    <a:pt x="16282" y="31003"/>
                  </a:cubicBezTo>
                  <a:cubicBezTo>
                    <a:pt x="16222" y="31395"/>
                    <a:pt x="16252" y="31816"/>
                    <a:pt x="16402" y="32207"/>
                  </a:cubicBezTo>
                  <a:cubicBezTo>
                    <a:pt x="16492" y="32057"/>
                    <a:pt x="16613" y="31966"/>
                    <a:pt x="16733" y="31846"/>
                  </a:cubicBezTo>
                  <a:cubicBezTo>
                    <a:pt x="17275" y="31485"/>
                    <a:pt x="17124" y="31304"/>
                    <a:pt x="17335" y="30853"/>
                  </a:cubicBezTo>
                  <a:cubicBezTo>
                    <a:pt x="17576" y="30402"/>
                    <a:pt x="17395" y="30281"/>
                    <a:pt x="17787" y="29920"/>
                  </a:cubicBezTo>
                  <a:cubicBezTo>
                    <a:pt x="18208" y="29529"/>
                    <a:pt x="17726" y="29258"/>
                    <a:pt x="18208" y="29047"/>
                  </a:cubicBezTo>
                  <a:cubicBezTo>
                    <a:pt x="18299" y="29002"/>
                    <a:pt x="18371" y="28981"/>
                    <a:pt x="18425" y="28981"/>
                  </a:cubicBezTo>
                  <a:cubicBezTo>
                    <a:pt x="18654" y="28981"/>
                    <a:pt x="18549" y="29361"/>
                    <a:pt x="18208" y="29800"/>
                  </a:cubicBezTo>
                  <a:cubicBezTo>
                    <a:pt x="17956" y="30106"/>
                    <a:pt x="17844" y="30272"/>
                    <a:pt x="17904" y="30272"/>
                  </a:cubicBezTo>
                  <a:cubicBezTo>
                    <a:pt x="17945" y="30272"/>
                    <a:pt x="18063" y="30197"/>
                    <a:pt x="18268" y="30040"/>
                  </a:cubicBezTo>
                  <a:cubicBezTo>
                    <a:pt x="18810" y="29679"/>
                    <a:pt x="18990" y="29107"/>
                    <a:pt x="19291" y="28475"/>
                  </a:cubicBezTo>
                  <a:cubicBezTo>
                    <a:pt x="19592" y="27844"/>
                    <a:pt x="19833" y="27693"/>
                    <a:pt x="20074" y="27663"/>
                  </a:cubicBezTo>
                  <a:cubicBezTo>
                    <a:pt x="20345" y="27603"/>
                    <a:pt x="20345" y="26971"/>
                    <a:pt x="20315" y="26519"/>
                  </a:cubicBezTo>
                  <a:cubicBezTo>
                    <a:pt x="20284" y="26068"/>
                    <a:pt x="20134" y="25617"/>
                    <a:pt x="20315" y="25316"/>
                  </a:cubicBezTo>
                  <a:cubicBezTo>
                    <a:pt x="20495" y="25015"/>
                    <a:pt x="20315" y="24744"/>
                    <a:pt x="20585" y="24744"/>
                  </a:cubicBezTo>
                  <a:cubicBezTo>
                    <a:pt x="20826" y="24744"/>
                    <a:pt x="21187" y="24383"/>
                    <a:pt x="21548" y="23991"/>
                  </a:cubicBezTo>
                  <a:cubicBezTo>
                    <a:pt x="21819" y="23721"/>
                    <a:pt x="22211" y="23540"/>
                    <a:pt x="22602" y="23540"/>
                  </a:cubicBezTo>
                  <a:cubicBezTo>
                    <a:pt x="23023" y="23510"/>
                    <a:pt x="22782" y="23359"/>
                    <a:pt x="23053" y="23299"/>
                  </a:cubicBezTo>
                  <a:cubicBezTo>
                    <a:pt x="23324" y="23209"/>
                    <a:pt x="23474" y="22998"/>
                    <a:pt x="23655" y="22848"/>
                  </a:cubicBezTo>
                  <a:cubicBezTo>
                    <a:pt x="23725" y="22798"/>
                    <a:pt x="23849" y="22781"/>
                    <a:pt x="23998" y="22781"/>
                  </a:cubicBezTo>
                  <a:cubicBezTo>
                    <a:pt x="24297" y="22781"/>
                    <a:pt x="24698" y="22848"/>
                    <a:pt x="24979" y="22848"/>
                  </a:cubicBezTo>
                  <a:cubicBezTo>
                    <a:pt x="25056" y="22848"/>
                    <a:pt x="25128" y="22849"/>
                    <a:pt x="25196" y="22849"/>
                  </a:cubicBezTo>
                  <a:cubicBezTo>
                    <a:pt x="25500" y="22849"/>
                    <a:pt x="25701" y="22829"/>
                    <a:pt x="25701" y="22607"/>
                  </a:cubicBezTo>
                  <a:cubicBezTo>
                    <a:pt x="25671" y="22366"/>
                    <a:pt x="25852" y="22126"/>
                    <a:pt x="26123" y="22126"/>
                  </a:cubicBezTo>
                  <a:cubicBezTo>
                    <a:pt x="26364" y="22126"/>
                    <a:pt x="26484" y="22065"/>
                    <a:pt x="26484" y="21704"/>
                  </a:cubicBezTo>
                  <a:cubicBezTo>
                    <a:pt x="26454" y="21433"/>
                    <a:pt x="26574" y="21162"/>
                    <a:pt x="26785" y="20982"/>
                  </a:cubicBezTo>
                  <a:cubicBezTo>
                    <a:pt x="27026" y="20831"/>
                    <a:pt x="27056" y="20500"/>
                    <a:pt x="27086" y="20290"/>
                  </a:cubicBezTo>
                  <a:cubicBezTo>
                    <a:pt x="27116" y="20049"/>
                    <a:pt x="27387" y="20169"/>
                    <a:pt x="27387" y="19838"/>
                  </a:cubicBezTo>
                  <a:cubicBezTo>
                    <a:pt x="27387" y="19477"/>
                    <a:pt x="27537" y="19146"/>
                    <a:pt x="27537" y="18875"/>
                  </a:cubicBezTo>
                  <a:cubicBezTo>
                    <a:pt x="27537" y="18635"/>
                    <a:pt x="27808" y="18665"/>
                    <a:pt x="27929" y="18424"/>
                  </a:cubicBezTo>
                  <a:cubicBezTo>
                    <a:pt x="28019" y="18213"/>
                    <a:pt x="27838" y="18033"/>
                    <a:pt x="28019" y="17461"/>
                  </a:cubicBezTo>
                  <a:cubicBezTo>
                    <a:pt x="28229" y="16889"/>
                    <a:pt x="28019" y="16408"/>
                    <a:pt x="28019" y="15926"/>
                  </a:cubicBezTo>
                  <a:cubicBezTo>
                    <a:pt x="28019" y="15414"/>
                    <a:pt x="28019" y="14933"/>
                    <a:pt x="28169" y="14752"/>
                  </a:cubicBezTo>
                  <a:cubicBezTo>
                    <a:pt x="28320" y="14542"/>
                    <a:pt x="28290" y="14512"/>
                    <a:pt x="28139" y="14451"/>
                  </a:cubicBezTo>
                  <a:cubicBezTo>
                    <a:pt x="28000" y="14368"/>
                    <a:pt x="28118" y="14207"/>
                    <a:pt x="28256" y="14207"/>
                  </a:cubicBezTo>
                  <a:cubicBezTo>
                    <a:pt x="28267" y="14207"/>
                    <a:pt x="28278" y="14208"/>
                    <a:pt x="28290" y="14211"/>
                  </a:cubicBezTo>
                  <a:cubicBezTo>
                    <a:pt x="28408" y="14234"/>
                    <a:pt x="28507" y="14406"/>
                    <a:pt x="28647" y="14406"/>
                  </a:cubicBezTo>
                  <a:cubicBezTo>
                    <a:pt x="28685" y="14406"/>
                    <a:pt x="28726" y="14393"/>
                    <a:pt x="28771" y="14361"/>
                  </a:cubicBezTo>
                  <a:cubicBezTo>
                    <a:pt x="29012" y="14211"/>
                    <a:pt x="29192" y="13639"/>
                    <a:pt x="29403" y="13127"/>
                  </a:cubicBezTo>
                  <a:cubicBezTo>
                    <a:pt x="29644" y="12586"/>
                    <a:pt x="29915" y="12676"/>
                    <a:pt x="30156" y="12555"/>
                  </a:cubicBezTo>
                  <a:cubicBezTo>
                    <a:pt x="30667" y="12164"/>
                    <a:pt x="31058" y="11622"/>
                    <a:pt x="31269" y="11021"/>
                  </a:cubicBezTo>
                  <a:cubicBezTo>
                    <a:pt x="31600" y="10148"/>
                    <a:pt x="31269" y="9275"/>
                    <a:pt x="31119" y="8673"/>
                  </a:cubicBezTo>
                  <a:cubicBezTo>
                    <a:pt x="31018" y="8272"/>
                    <a:pt x="30891" y="8205"/>
                    <a:pt x="30720" y="8205"/>
                  </a:cubicBezTo>
                  <a:cubicBezTo>
                    <a:pt x="30634" y="8205"/>
                    <a:pt x="30537" y="8222"/>
                    <a:pt x="30426" y="8222"/>
                  </a:cubicBezTo>
                  <a:cubicBezTo>
                    <a:pt x="30095" y="8222"/>
                    <a:pt x="29403" y="8162"/>
                    <a:pt x="28500" y="7229"/>
                  </a:cubicBezTo>
                  <a:cubicBezTo>
                    <a:pt x="28089" y="6703"/>
                    <a:pt x="27469" y="6420"/>
                    <a:pt x="26825" y="6420"/>
                  </a:cubicBezTo>
                  <a:cubicBezTo>
                    <a:pt x="26622" y="6420"/>
                    <a:pt x="26416" y="6449"/>
                    <a:pt x="26213" y="6506"/>
                  </a:cubicBezTo>
                  <a:cubicBezTo>
                    <a:pt x="26124" y="6529"/>
                    <a:pt x="26034" y="6538"/>
                    <a:pt x="25946" y="6538"/>
                  </a:cubicBezTo>
                  <a:cubicBezTo>
                    <a:pt x="25438" y="6538"/>
                    <a:pt x="24956" y="6218"/>
                    <a:pt x="24648" y="6115"/>
                  </a:cubicBezTo>
                  <a:cubicBezTo>
                    <a:pt x="24617" y="6108"/>
                    <a:pt x="24586" y="6105"/>
                    <a:pt x="24555" y="6105"/>
                  </a:cubicBezTo>
                  <a:cubicBezTo>
                    <a:pt x="24200" y="6105"/>
                    <a:pt x="23874" y="6546"/>
                    <a:pt x="23625" y="6657"/>
                  </a:cubicBezTo>
                  <a:cubicBezTo>
                    <a:pt x="23599" y="6669"/>
                    <a:pt x="23579" y="6674"/>
                    <a:pt x="23564" y="6674"/>
                  </a:cubicBezTo>
                  <a:cubicBezTo>
                    <a:pt x="23427" y="6674"/>
                    <a:pt x="23748" y="6203"/>
                    <a:pt x="23775" y="5905"/>
                  </a:cubicBezTo>
                  <a:cubicBezTo>
                    <a:pt x="23806" y="5573"/>
                    <a:pt x="22722" y="5062"/>
                    <a:pt x="21879" y="4761"/>
                  </a:cubicBezTo>
                  <a:cubicBezTo>
                    <a:pt x="21599" y="4657"/>
                    <a:pt x="21376" y="4607"/>
                    <a:pt x="21204" y="4607"/>
                  </a:cubicBezTo>
                  <a:cubicBezTo>
                    <a:pt x="20878" y="4607"/>
                    <a:pt x="20736" y="4787"/>
                    <a:pt x="20736" y="5122"/>
                  </a:cubicBezTo>
                  <a:cubicBezTo>
                    <a:pt x="20736" y="5276"/>
                    <a:pt x="20705" y="5316"/>
                    <a:pt x="20655" y="5316"/>
                  </a:cubicBezTo>
                  <a:cubicBezTo>
                    <a:pt x="20601" y="5316"/>
                    <a:pt x="20525" y="5269"/>
                    <a:pt x="20442" y="5269"/>
                  </a:cubicBezTo>
                  <a:cubicBezTo>
                    <a:pt x="20361" y="5269"/>
                    <a:pt x="20274" y="5313"/>
                    <a:pt x="20194" y="5483"/>
                  </a:cubicBezTo>
                  <a:cubicBezTo>
                    <a:pt x="20106" y="5710"/>
                    <a:pt x="19965" y="5789"/>
                    <a:pt x="19853" y="5789"/>
                  </a:cubicBezTo>
                  <a:cubicBezTo>
                    <a:pt x="19698" y="5789"/>
                    <a:pt x="19598" y="5636"/>
                    <a:pt x="19773" y="5513"/>
                  </a:cubicBezTo>
                  <a:cubicBezTo>
                    <a:pt x="20104" y="5303"/>
                    <a:pt x="20345" y="4972"/>
                    <a:pt x="20465" y="4610"/>
                  </a:cubicBezTo>
                  <a:cubicBezTo>
                    <a:pt x="20562" y="4344"/>
                    <a:pt x="19742" y="4116"/>
                    <a:pt x="19199" y="4116"/>
                  </a:cubicBezTo>
                  <a:cubicBezTo>
                    <a:pt x="19067" y="4116"/>
                    <a:pt x="18952" y="4130"/>
                    <a:pt x="18870" y="4159"/>
                  </a:cubicBezTo>
                  <a:cubicBezTo>
                    <a:pt x="18523" y="4292"/>
                    <a:pt x="18649" y="4851"/>
                    <a:pt x="18452" y="4851"/>
                  </a:cubicBezTo>
                  <a:cubicBezTo>
                    <a:pt x="18427" y="4851"/>
                    <a:pt x="18396" y="4842"/>
                    <a:pt x="18358" y="4821"/>
                  </a:cubicBezTo>
                  <a:cubicBezTo>
                    <a:pt x="18027" y="4610"/>
                    <a:pt x="18268" y="4129"/>
                    <a:pt x="18569" y="4129"/>
                  </a:cubicBezTo>
                  <a:cubicBezTo>
                    <a:pt x="18870" y="4129"/>
                    <a:pt x="19141" y="3617"/>
                    <a:pt x="19382" y="3166"/>
                  </a:cubicBezTo>
                  <a:cubicBezTo>
                    <a:pt x="19592" y="2714"/>
                    <a:pt x="19020" y="2654"/>
                    <a:pt x="18689" y="2323"/>
                  </a:cubicBezTo>
                  <a:cubicBezTo>
                    <a:pt x="18358" y="1992"/>
                    <a:pt x="18479" y="969"/>
                    <a:pt x="18118" y="788"/>
                  </a:cubicBezTo>
                  <a:cubicBezTo>
                    <a:pt x="17756" y="1180"/>
                    <a:pt x="17456" y="1601"/>
                    <a:pt x="17185" y="2052"/>
                  </a:cubicBezTo>
                  <a:cubicBezTo>
                    <a:pt x="17034" y="2564"/>
                    <a:pt x="16824" y="2293"/>
                    <a:pt x="16372" y="2444"/>
                  </a:cubicBezTo>
                  <a:cubicBezTo>
                    <a:pt x="16293" y="2475"/>
                    <a:pt x="16212" y="2490"/>
                    <a:pt x="16132" y="2490"/>
                  </a:cubicBezTo>
                  <a:cubicBezTo>
                    <a:pt x="15907" y="2490"/>
                    <a:pt x="15693" y="2372"/>
                    <a:pt x="15560" y="2173"/>
                  </a:cubicBezTo>
                  <a:cubicBezTo>
                    <a:pt x="15529" y="2113"/>
                    <a:pt x="15459" y="2093"/>
                    <a:pt x="15368" y="2093"/>
                  </a:cubicBezTo>
                  <a:cubicBezTo>
                    <a:pt x="15185" y="2093"/>
                    <a:pt x="14918" y="2173"/>
                    <a:pt x="14717" y="2173"/>
                  </a:cubicBezTo>
                  <a:cubicBezTo>
                    <a:pt x="14416" y="2173"/>
                    <a:pt x="14597" y="2564"/>
                    <a:pt x="14356" y="2654"/>
                  </a:cubicBezTo>
                  <a:cubicBezTo>
                    <a:pt x="14322" y="2674"/>
                    <a:pt x="14279" y="2681"/>
                    <a:pt x="14231" y="2681"/>
                  </a:cubicBezTo>
                  <a:cubicBezTo>
                    <a:pt x="14047" y="2681"/>
                    <a:pt x="13779" y="2569"/>
                    <a:pt x="13590" y="2569"/>
                  </a:cubicBezTo>
                  <a:cubicBezTo>
                    <a:pt x="13522" y="2569"/>
                    <a:pt x="13463" y="2584"/>
                    <a:pt x="13423" y="2624"/>
                  </a:cubicBezTo>
                  <a:cubicBezTo>
                    <a:pt x="13333" y="2714"/>
                    <a:pt x="13257" y="2714"/>
                    <a:pt x="13190" y="2714"/>
                  </a:cubicBezTo>
                  <a:cubicBezTo>
                    <a:pt x="13122" y="2714"/>
                    <a:pt x="13062" y="2714"/>
                    <a:pt x="13001" y="2805"/>
                  </a:cubicBezTo>
                  <a:cubicBezTo>
                    <a:pt x="12911" y="3015"/>
                    <a:pt x="12610" y="2895"/>
                    <a:pt x="12490" y="3015"/>
                  </a:cubicBezTo>
                  <a:cubicBezTo>
                    <a:pt x="12441" y="3052"/>
                    <a:pt x="12362" y="3089"/>
                    <a:pt x="12254" y="3089"/>
                  </a:cubicBezTo>
                  <a:cubicBezTo>
                    <a:pt x="12099" y="3089"/>
                    <a:pt x="11884" y="3012"/>
                    <a:pt x="11617" y="2745"/>
                  </a:cubicBezTo>
                  <a:cubicBezTo>
                    <a:pt x="11166" y="2293"/>
                    <a:pt x="11286" y="1451"/>
                    <a:pt x="11467" y="1300"/>
                  </a:cubicBezTo>
                  <a:cubicBezTo>
                    <a:pt x="11707" y="1150"/>
                    <a:pt x="11647" y="788"/>
                    <a:pt x="11406" y="668"/>
                  </a:cubicBezTo>
                  <a:cubicBezTo>
                    <a:pt x="11136" y="548"/>
                    <a:pt x="11406" y="36"/>
                    <a:pt x="11045" y="6"/>
                  </a:cubicBezTo>
                  <a:cubicBezTo>
                    <a:pt x="11023" y="2"/>
                    <a:pt x="11003" y="0"/>
                    <a:pt x="10985"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71" name="Google Shape;2965;p123">
              <a:extLst>
                <a:ext uri="{FF2B5EF4-FFF2-40B4-BE49-F238E27FC236}">
                  <a16:creationId xmlns:a16="http://schemas.microsoft.com/office/drawing/2014/main" id="{4112790C-ACD9-2D42-A181-D80F7F0A490F}"/>
                </a:ext>
              </a:extLst>
            </p:cNvPr>
            <p:cNvSpPr/>
            <p:nvPr/>
          </p:nvSpPr>
          <p:spPr>
            <a:xfrm>
              <a:off x="2814874" y="4047886"/>
              <a:ext cx="122363" cy="129405"/>
            </a:xfrm>
            <a:custGeom>
              <a:avLst/>
              <a:gdLst/>
              <a:ahLst/>
              <a:cxnLst/>
              <a:rect l="l" t="t" r="r" b="b"/>
              <a:pathLst>
                <a:path w="3944" h="4171" extrusionOk="0">
                  <a:moveTo>
                    <a:pt x="1097" y="1"/>
                  </a:moveTo>
                  <a:cubicBezTo>
                    <a:pt x="1038" y="1"/>
                    <a:pt x="984" y="14"/>
                    <a:pt x="934" y="39"/>
                  </a:cubicBezTo>
                  <a:cubicBezTo>
                    <a:pt x="857" y="65"/>
                    <a:pt x="824" y="74"/>
                    <a:pt x="804" y="74"/>
                  </a:cubicBezTo>
                  <a:cubicBezTo>
                    <a:pt x="777" y="74"/>
                    <a:pt x="775" y="57"/>
                    <a:pt x="723" y="39"/>
                  </a:cubicBezTo>
                  <a:cubicBezTo>
                    <a:pt x="573" y="160"/>
                    <a:pt x="512" y="310"/>
                    <a:pt x="482" y="491"/>
                  </a:cubicBezTo>
                  <a:cubicBezTo>
                    <a:pt x="482" y="822"/>
                    <a:pt x="211" y="1213"/>
                    <a:pt x="211" y="1845"/>
                  </a:cubicBezTo>
                  <a:cubicBezTo>
                    <a:pt x="211" y="2477"/>
                    <a:pt x="1" y="2357"/>
                    <a:pt x="1" y="2898"/>
                  </a:cubicBezTo>
                  <a:cubicBezTo>
                    <a:pt x="1" y="3410"/>
                    <a:pt x="151" y="3259"/>
                    <a:pt x="211" y="3350"/>
                  </a:cubicBezTo>
                  <a:cubicBezTo>
                    <a:pt x="302" y="3410"/>
                    <a:pt x="211" y="3560"/>
                    <a:pt x="151" y="3681"/>
                  </a:cubicBezTo>
                  <a:cubicBezTo>
                    <a:pt x="76" y="3780"/>
                    <a:pt x="229" y="3839"/>
                    <a:pt x="386" y="3839"/>
                  </a:cubicBezTo>
                  <a:cubicBezTo>
                    <a:pt x="419" y="3839"/>
                    <a:pt x="451" y="3836"/>
                    <a:pt x="482" y="3831"/>
                  </a:cubicBezTo>
                  <a:cubicBezTo>
                    <a:pt x="843" y="3831"/>
                    <a:pt x="1174" y="3921"/>
                    <a:pt x="1506" y="4102"/>
                  </a:cubicBezTo>
                  <a:cubicBezTo>
                    <a:pt x="1608" y="4153"/>
                    <a:pt x="1669" y="4171"/>
                    <a:pt x="1713" y="4171"/>
                  </a:cubicBezTo>
                  <a:cubicBezTo>
                    <a:pt x="1807" y="4171"/>
                    <a:pt x="1823" y="4092"/>
                    <a:pt x="1991" y="4092"/>
                  </a:cubicBezTo>
                  <a:cubicBezTo>
                    <a:pt x="2024" y="4092"/>
                    <a:pt x="2062" y="4095"/>
                    <a:pt x="2107" y="4102"/>
                  </a:cubicBezTo>
                  <a:cubicBezTo>
                    <a:pt x="2242" y="4143"/>
                    <a:pt x="2383" y="4163"/>
                    <a:pt x="2525" y="4163"/>
                  </a:cubicBezTo>
                  <a:cubicBezTo>
                    <a:pt x="2798" y="4163"/>
                    <a:pt x="3074" y="4090"/>
                    <a:pt x="3311" y="3952"/>
                  </a:cubicBezTo>
                  <a:cubicBezTo>
                    <a:pt x="3552" y="3741"/>
                    <a:pt x="3793" y="3470"/>
                    <a:pt x="3943" y="3199"/>
                  </a:cubicBezTo>
                  <a:cubicBezTo>
                    <a:pt x="3793" y="2808"/>
                    <a:pt x="3763" y="2387"/>
                    <a:pt x="3823" y="1995"/>
                  </a:cubicBezTo>
                  <a:cubicBezTo>
                    <a:pt x="3823" y="1604"/>
                    <a:pt x="3462" y="1544"/>
                    <a:pt x="3311" y="1394"/>
                  </a:cubicBezTo>
                  <a:cubicBezTo>
                    <a:pt x="3161" y="1243"/>
                    <a:pt x="2619" y="1002"/>
                    <a:pt x="2438" y="701"/>
                  </a:cubicBezTo>
                  <a:cubicBezTo>
                    <a:pt x="2391" y="622"/>
                    <a:pt x="2346" y="593"/>
                    <a:pt x="2302" y="593"/>
                  </a:cubicBezTo>
                  <a:cubicBezTo>
                    <a:pt x="2181" y="593"/>
                    <a:pt x="2076" y="822"/>
                    <a:pt x="1987" y="822"/>
                  </a:cubicBezTo>
                  <a:cubicBezTo>
                    <a:pt x="1867" y="822"/>
                    <a:pt x="1867" y="581"/>
                    <a:pt x="1626" y="310"/>
                  </a:cubicBezTo>
                  <a:cubicBezTo>
                    <a:pt x="1430" y="93"/>
                    <a:pt x="1250" y="1"/>
                    <a:pt x="1097"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72" name="Google Shape;2966;p123">
              <a:extLst>
                <a:ext uri="{FF2B5EF4-FFF2-40B4-BE49-F238E27FC236}">
                  <a16:creationId xmlns:a16="http://schemas.microsoft.com/office/drawing/2014/main" id="{93BD8795-D00F-1842-8F9F-CE32FCDE3D6E}"/>
                </a:ext>
              </a:extLst>
            </p:cNvPr>
            <p:cNvSpPr/>
            <p:nvPr/>
          </p:nvSpPr>
          <p:spPr>
            <a:xfrm>
              <a:off x="2433949" y="3828726"/>
              <a:ext cx="499534" cy="975550"/>
            </a:xfrm>
            <a:custGeom>
              <a:avLst/>
              <a:gdLst/>
              <a:ahLst/>
              <a:cxnLst/>
              <a:rect l="l" t="t" r="r" b="b"/>
              <a:pathLst>
                <a:path w="16101" h="31444" extrusionOk="0">
                  <a:moveTo>
                    <a:pt x="6097" y="1"/>
                  </a:moveTo>
                  <a:cubicBezTo>
                    <a:pt x="6038" y="1"/>
                    <a:pt x="5964" y="46"/>
                    <a:pt x="5839" y="182"/>
                  </a:cubicBezTo>
                  <a:cubicBezTo>
                    <a:pt x="5658" y="362"/>
                    <a:pt x="5447" y="543"/>
                    <a:pt x="5237" y="663"/>
                  </a:cubicBezTo>
                  <a:cubicBezTo>
                    <a:pt x="5237" y="994"/>
                    <a:pt x="5176" y="1295"/>
                    <a:pt x="5086" y="1596"/>
                  </a:cubicBezTo>
                  <a:cubicBezTo>
                    <a:pt x="4996" y="1746"/>
                    <a:pt x="4213" y="2138"/>
                    <a:pt x="4183" y="2318"/>
                  </a:cubicBezTo>
                  <a:cubicBezTo>
                    <a:pt x="4153" y="2499"/>
                    <a:pt x="4304" y="2770"/>
                    <a:pt x="4153" y="2890"/>
                  </a:cubicBezTo>
                  <a:cubicBezTo>
                    <a:pt x="4003" y="3010"/>
                    <a:pt x="4484" y="3612"/>
                    <a:pt x="4213" y="3763"/>
                  </a:cubicBezTo>
                  <a:cubicBezTo>
                    <a:pt x="3943" y="3913"/>
                    <a:pt x="4394" y="4124"/>
                    <a:pt x="4213" y="4244"/>
                  </a:cubicBezTo>
                  <a:cubicBezTo>
                    <a:pt x="4033" y="4365"/>
                    <a:pt x="3762" y="4455"/>
                    <a:pt x="3762" y="4666"/>
                  </a:cubicBezTo>
                  <a:cubicBezTo>
                    <a:pt x="3762" y="4846"/>
                    <a:pt x="3732" y="5207"/>
                    <a:pt x="3491" y="5298"/>
                  </a:cubicBezTo>
                  <a:cubicBezTo>
                    <a:pt x="3280" y="5478"/>
                    <a:pt x="3160" y="5719"/>
                    <a:pt x="3160" y="6020"/>
                  </a:cubicBezTo>
                  <a:cubicBezTo>
                    <a:pt x="3160" y="6261"/>
                    <a:pt x="2829" y="6110"/>
                    <a:pt x="2949" y="6471"/>
                  </a:cubicBezTo>
                  <a:cubicBezTo>
                    <a:pt x="3040" y="6802"/>
                    <a:pt x="3190" y="7163"/>
                    <a:pt x="2949" y="7254"/>
                  </a:cubicBezTo>
                  <a:cubicBezTo>
                    <a:pt x="2679" y="7314"/>
                    <a:pt x="2739" y="7856"/>
                    <a:pt x="2588" y="7856"/>
                  </a:cubicBezTo>
                  <a:cubicBezTo>
                    <a:pt x="2438" y="7856"/>
                    <a:pt x="2408" y="8458"/>
                    <a:pt x="2588" y="8728"/>
                  </a:cubicBezTo>
                  <a:cubicBezTo>
                    <a:pt x="2799" y="8939"/>
                    <a:pt x="2889" y="9210"/>
                    <a:pt x="2859" y="9511"/>
                  </a:cubicBezTo>
                  <a:cubicBezTo>
                    <a:pt x="2859" y="9782"/>
                    <a:pt x="3160" y="9932"/>
                    <a:pt x="3040" y="10173"/>
                  </a:cubicBezTo>
                  <a:cubicBezTo>
                    <a:pt x="2949" y="10444"/>
                    <a:pt x="3010" y="10745"/>
                    <a:pt x="2859" y="10865"/>
                  </a:cubicBezTo>
                  <a:cubicBezTo>
                    <a:pt x="2709" y="10985"/>
                    <a:pt x="2829" y="11347"/>
                    <a:pt x="2588" y="11437"/>
                  </a:cubicBezTo>
                  <a:cubicBezTo>
                    <a:pt x="2378" y="11497"/>
                    <a:pt x="2799" y="12280"/>
                    <a:pt x="2588" y="12430"/>
                  </a:cubicBezTo>
                  <a:cubicBezTo>
                    <a:pt x="2408" y="12581"/>
                    <a:pt x="2047" y="12701"/>
                    <a:pt x="2047" y="13243"/>
                  </a:cubicBezTo>
                  <a:cubicBezTo>
                    <a:pt x="2077" y="13574"/>
                    <a:pt x="2077" y="13905"/>
                    <a:pt x="2047" y="14236"/>
                  </a:cubicBezTo>
                  <a:cubicBezTo>
                    <a:pt x="1986" y="14476"/>
                    <a:pt x="2287" y="14386"/>
                    <a:pt x="2227" y="14687"/>
                  </a:cubicBezTo>
                  <a:cubicBezTo>
                    <a:pt x="2137" y="14988"/>
                    <a:pt x="1806" y="14838"/>
                    <a:pt x="1776" y="15048"/>
                  </a:cubicBezTo>
                  <a:cubicBezTo>
                    <a:pt x="1746" y="15229"/>
                    <a:pt x="1896" y="15590"/>
                    <a:pt x="1746" y="15590"/>
                  </a:cubicBezTo>
                  <a:cubicBezTo>
                    <a:pt x="1595" y="15590"/>
                    <a:pt x="1505" y="15801"/>
                    <a:pt x="1505" y="16132"/>
                  </a:cubicBezTo>
                  <a:cubicBezTo>
                    <a:pt x="1505" y="16463"/>
                    <a:pt x="1324" y="16493"/>
                    <a:pt x="1324" y="16643"/>
                  </a:cubicBezTo>
                  <a:cubicBezTo>
                    <a:pt x="1324" y="16794"/>
                    <a:pt x="1475" y="17035"/>
                    <a:pt x="1475" y="17215"/>
                  </a:cubicBezTo>
                  <a:cubicBezTo>
                    <a:pt x="1475" y="17396"/>
                    <a:pt x="1595" y="18058"/>
                    <a:pt x="1445" y="18088"/>
                  </a:cubicBezTo>
                  <a:cubicBezTo>
                    <a:pt x="1294" y="18118"/>
                    <a:pt x="1174" y="18810"/>
                    <a:pt x="1324" y="18900"/>
                  </a:cubicBezTo>
                  <a:cubicBezTo>
                    <a:pt x="1475" y="19021"/>
                    <a:pt x="1445" y="19171"/>
                    <a:pt x="1384" y="19322"/>
                  </a:cubicBezTo>
                  <a:cubicBezTo>
                    <a:pt x="1354" y="19472"/>
                    <a:pt x="1716" y="19623"/>
                    <a:pt x="1505" y="19803"/>
                  </a:cubicBezTo>
                  <a:cubicBezTo>
                    <a:pt x="1347" y="19988"/>
                    <a:pt x="1419" y="20241"/>
                    <a:pt x="1641" y="20241"/>
                  </a:cubicBezTo>
                  <a:cubicBezTo>
                    <a:pt x="1673" y="20241"/>
                    <a:pt x="1708" y="20236"/>
                    <a:pt x="1746" y="20225"/>
                  </a:cubicBezTo>
                  <a:cubicBezTo>
                    <a:pt x="1764" y="20221"/>
                    <a:pt x="1782" y="20219"/>
                    <a:pt x="1799" y="20219"/>
                  </a:cubicBezTo>
                  <a:cubicBezTo>
                    <a:pt x="2053" y="20219"/>
                    <a:pt x="2092" y="20616"/>
                    <a:pt x="1866" y="20616"/>
                  </a:cubicBezTo>
                  <a:cubicBezTo>
                    <a:pt x="1595" y="20616"/>
                    <a:pt x="1324" y="20616"/>
                    <a:pt x="1535" y="20766"/>
                  </a:cubicBezTo>
                  <a:cubicBezTo>
                    <a:pt x="1776" y="20917"/>
                    <a:pt x="1956" y="21157"/>
                    <a:pt x="1655" y="21278"/>
                  </a:cubicBezTo>
                  <a:cubicBezTo>
                    <a:pt x="1354" y="21398"/>
                    <a:pt x="1625" y="21609"/>
                    <a:pt x="1535" y="21880"/>
                  </a:cubicBezTo>
                  <a:cubicBezTo>
                    <a:pt x="1475" y="22151"/>
                    <a:pt x="1776" y="22452"/>
                    <a:pt x="1505" y="22512"/>
                  </a:cubicBezTo>
                  <a:cubicBezTo>
                    <a:pt x="1264" y="22602"/>
                    <a:pt x="1625" y="23023"/>
                    <a:pt x="1294" y="23053"/>
                  </a:cubicBezTo>
                  <a:cubicBezTo>
                    <a:pt x="963" y="23084"/>
                    <a:pt x="1174" y="23415"/>
                    <a:pt x="963" y="23565"/>
                  </a:cubicBezTo>
                  <a:cubicBezTo>
                    <a:pt x="722" y="23716"/>
                    <a:pt x="1264" y="24016"/>
                    <a:pt x="993" y="24227"/>
                  </a:cubicBezTo>
                  <a:cubicBezTo>
                    <a:pt x="722" y="24408"/>
                    <a:pt x="903" y="24739"/>
                    <a:pt x="632" y="24739"/>
                  </a:cubicBezTo>
                  <a:cubicBezTo>
                    <a:pt x="391" y="24739"/>
                    <a:pt x="241" y="25130"/>
                    <a:pt x="241" y="25280"/>
                  </a:cubicBezTo>
                  <a:cubicBezTo>
                    <a:pt x="241" y="25431"/>
                    <a:pt x="0" y="25762"/>
                    <a:pt x="241" y="26033"/>
                  </a:cubicBezTo>
                  <a:cubicBezTo>
                    <a:pt x="452" y="26274"/>
                    <a:pt x="211" y="26424"/>
                    <a:pt x="391" y="26544"/>
                  </a:cubicBezTo>
                  <a:cubicBezTo>
                    <a:pt x="572" y="26665"/>
                    <a:pt x="1204" y="26484"/>
                    <a:pt x="1144" y="26785"/>
                  </a:cubicBezTo>
                  <a:cubicBezTo>
                    <a:pt x="1053" y="27086"/>
                    <a:pt x="1053" y="27688"/>
                    <a:pt x="1174" y="27688"/>
                  </a:cubicBezTo>
                  <a:cubicBezTo>
                    <a:pt x="1294" y="27688"/>
                    <a:pt x="1354" y="28019"/>
                    <a:pt x="1535" y="28019"/>
                  </a:cubicBezTo>
                  <a:cubicBezTo>
                    <a:pt x="1840" y="27962"/>
                    <a:pt x="2133" y="27941"/>
                    <a:pt x="2430" y="27941"/>
                  </a:cubicBezTo>
                  <a:cubicBezTo>
                    <a:pt x="2601" y="27941"/>
                    <a:pt x="2773" y="27948"/>
                    <a:pt x="2949" y="27959"/>
                  </a:cubicBezTo>
                  <a:cubicBezTo>
                    <a:pt x="3130" y="28019"/>
                    <a:pt x="3280" y="28109"/>
                    <a:pt x="3401" y="28230"/>
                  </a:cubicBezTo>
                  <a:cubicBezTo>
                    <a:pt x="3432" y="28209"/>
                    <a:pt x="3471" y="28201"/>
                    <a:pt x="3514" y="28201"/>
                  </a:cubicBezTo>
                  <a:cubicBezTo>
                    <a:pt x="3692" y="28201"/>
                    <a:pt x="3951" y="28337"/>
                    <a:pt x="4088" y="28337"/>
                  </a:cubicBezTo>
                  <a:cubicBezTo>
                    <a:pt x="4115" y="28337"/>
                    <a:pt x="4137" y="28332"/>
                    <a:pt x="4153" y="28320"/>
                  </a:cubicBezTo>
                  <a:cubicBezTo>
                    <a:pt x="4243" y="28200"/>
                    <a:pt x="3702" y="27748"/>
                    <a:pt x="3702" y="27598"/>
                  </a:cubicBezTo>
                  <a:cubicBezTo>
                    <a:pt x="3702" y="27387"/>
                    <a:pt x="3672" y="27207"/>
                    <a:pt x="3611" y="26996"/>
                  </a:cubicBezTo>
                  <a:cubicBezTo>
                    <a:pt x="3611" y="26815"/>
                    <a:pt x="3551" y="26424"/>
                    <a:pt x="3762" y="26243"/>
                  </a:cubicBezTo>
                  <a:cubicBezTo>
                    <a:pt x="3982" y="26079"/>
                    <a:pt x="4026" y="25939"/>
                    <a:pt x="4147" y="25939"/>
                  </a:cubicBezTo>
                  <a:cubicBezTo>
                    <a:pt x="4158" y="25939"/>
                    <a:pt x="4170" y="25940"/>
                    <a:pt x="4183" y="25943"/>
                  </a:cubicBezTo>
                  <a:cubicBezTo>
                    <a:pt x="4194" y="25945"/>
                    <a:pt x="4206" y="25946"/>
                    <a:pt x="4218" y="25946"/>
                  </a:cubicBezTo>
                  <a:cubicBezTo>
                    <a:pt x="4379" y="25946"/>
                    <a:pt x="4665" y="25762"/>
                    <a:pt x="4665" y="25371"/>
                  </a:cubicBezTo>
                  <a:cubicBezTo>
                    <a:pt x="4695" y="25010"/>
                    <a:pt x="4906" y="24679"/>
                    <a:pt x="5237" y="24498"/>
                  </a:cubicBezTo>
                  <a:cubicBezTo>
                    <a:pt x="5658" y="24167"/>
                    <a:pt x="6260" y="23866"/>
                    <a:pt x="6170" y="23716"/>
                  </a:cubicBezTo>
                  <a:cubicBezTo>
                    <a:pt x="6109" y="23565"/>
                    <a:pt x="6320" y="23114"/>
                    <a:pt x="6320" y="22933"/>
                  </a:cubicBezTo>
                  <a:cubicBezTo>
                    <a:pt x="6320" y="22753"/>
                    <a:pt x="5718" y="22813"/>
                    <a:pt x="5538" y="22753"/>
                  </a:cubicBezTo>
                  <a:cubicBezTo>
                    <a:pt x="5357" y="22662"/>
                    <a:pt x="4635" y="22181"/>
                    <a:pt x="4966" y="21549"/>
                  </a:cubicBezTo>
                  <a:cubicBezTo>
                    <a:pt x="5237" y="21067"/>
                    <a:pt x="5748" y="20796"/>
                    <a:pt x="6290" y="20796"/>
                  </a:cubicBezTo>
                  <a:cubicBezTo>
                    <a:pt x="6531" y="20796"/>
                    <a:pt x="6290" y="20495"/>
                    <a:pt x="6470" y="20375"/>
                  </a:cubicBezTo>
                  <a:cubicBezTo>
                    <a:pt x="6681" y="20255"/>
                    <a:pt x="6711" y="20074"/>
                    <a:pt x="6711" y="19803"/>
                  </a:cubicBezTo>
                  <a:cubicBezTo>
                    <a:pt x="6711" y="19532"/>
                    <a:pt x="6711" y="19051"/>
                    <a:pt x="7012" y="19021"/>
                  </a:cubicBezTo>
                  <a:cubicBezTo>
                    <a:pt x="7313" y="18991"/>
                    <a:pt x="7434" y="18780"/>
                    <a:pt x="7223" y="18750"/>
                  </a:cubicBezTo>
                  <a:cubicBezTo>
                    <a:pt x="7042" y="18720"/>
                    <a:pt x="6922" y="18449"/>
                    <a:pt x="7283" y="18419"/>
                  </a:cubicBezTo>
                  <a:cubicBezTo>
                    <a:pt x="7299" y="18417"/>
                    <a:pt x="7313" y="18417"/>
                    <a:pt x="7327" y="18417"/>
                  </a:cubicBezTo>
                  <a:cubicBezTo>
                    <a:pt x="7601" y="18417"/>
                    <a:pt x="7474" y="18690"/>
                    <a:pt x="7674" y="18690"/>
                  </a:cubicBezTo>
                  <a:cubicBezTo>
                    <a:pt x="7915" y="18690"/>
                    <a:pt x="8306" y="18298"/>
                    <a:pt x="8035" y="18088"/>
                  </a:cubicBezTo>
                  <a:cubicBezTo>
                    <a:pt x="7957" y="18025"/>
                    <a:pt x="7891" y="18001"/>
                    <a:pt x="7833" y="18001"/>
                  </a:cubicBezTo>
                  <a:cubicBezTo>
                    <a:pt x="7670" y="18001"/>
                    <a:pt x="7575" y="18194"/>
                    <a:pt x="7464" y="18238"/>
                  </a:cubicBezTo>
                  <a:cubicBezTo>
                    <a:pt x="7456" y="18240"/>
                    <a:pt x="7448" y="18241"/>
                    <a:pt x="7440" y="18241"/>
                  </a:cubicBezTo>
                  <a:cubicBezTo>
                    <a:pt x="7300" y="18241"/>
                    <a:pt x="7185" y="17998"/>
                    <a:pt x="7042" y="17998"/>
                  </a:cubicBezTo>
                  <a:cubicBezTo>
                    <a:pt x="6892" y="17998"/>
                    <a:pt x="6982" y="17576"/>
                    <a:pt x="6892" y="17396"/>
                  </a:cubicBezTo>
                  <a:cubicBezTo>
                    <a:pt x="6771" y="17185"/>
                    <a:pt x="6771" y="16914"/>
                    <a:pt x="6862" y="16673"/>
                  </a:cubicBezTo>
                  <a:cubicBezTo>
                    <a:pt x="6885" y="16645"/>
                    <a:pt x="6920" y="16633"/>
                    <a:pt x="6963" y="16633"/>
                  </a:cubicBezTo>
                  <a:cubicBezTo>
                    <a:pt x="7198" y="16633"/>
                    <a:pt x="7694" y="16984"/>
                    <a:pt x="8126" y="17035"/>
                  </a:cubicBezTo>
                  <a:cubicBezTo>
                    <a:pt x="8151" y="17036"/>
                    <a:pt x="8176" y="17037"/>
                    <a:pt x="8201" y="17037"/>
                  </a:cubicBezTo>
                  <a:cubicBezTo>
                    <a:pt x="8701" y="17037"/>
                    <a:pt x="9029" y="16755"/>
                    <a:pt x="9029" y="16583"/>
                  </a:cubicBezTo>
                  <a:cubicBezTo>
                    <a:pt x="9029" y="16372"/>
                    <a:pt x="8818" y="16011"/>
                    <a:pt x="9119" y="15771"/>
                  </a:cubicBezTo>
                  <a:cubicBezTo>
                    <a:pt x="9420" y="15560"/>
                    <a:pt x="9179" y="15530"/>
                    <a:pt x="9089" y="15259"/>
                  </a:cubicBezTo>
                  <a:cubicBezTo>
                    <a:pt x="8996" y="15051"/>
                    <a:pt x="9135" y="14878"/>
                    <a:pt x="9273" y="14878"/>
                  </a:cubicBezTo>
                  <a:cubicBezTo>
                    <a:pt x="9314" y="14878"/>
                    <a:pt x="9355" y="14893"/>
                    <a:pt x="9390" y="14928"/>
                  </a:cubicBezTo>
                  <a:cubicBezTo>
                    <a:pt x="9443" y="14981"/>
                    <a:pt x="9599" y="15004"/>
                    <a:pt x="9818" y="15004"/>
                  </a:cubicBezTo>
                  <a:cubicBezTo>
                    <a:pt x="10223" y="15004"/>
                    <a:pt x="10840" y="14925"/>
                    <a:pt x="11406" y="14808"/>
                  </a:cubicBezTo>
                  <a:cubicBezTo>
                    <a:pt x="12279" y="14627"/>
                    <a:pt x="12881" y="14326"/>
                    <a:pt x="12911" y="14055"/>
                  </a:cubicBezTo>
                  <a:cubicBezTo>
                    <a:pt x="12941" y="13784"/>
                    <a:pt x="13513" y="13213"/>
                    <a:pt x="13633" y="13032"/>
                  </a:cubicBezTo>
                  <a:cubicBezTo>
                    <a:pt x="13753" y="12851"/>
                    <a:pt x="13663" y="12550"/>
                    <a:pt x="13302" y="12520"/>
                  </a:cubicBezTo>
                  <a:cubicBezTo>
                    <a:pt x="12911" y="12460"/>
                    <a:pt x="12941" y="12069"/>
                    <a:pt x="13152" y="11798"/>
                  </a:cubicBezTo>
                  <a:cubicBezTo>
                    <a:pt x="13332" y="11527"/>
                    <a:pt x="13061" y="11377"/>
                    <a:pt x="12730" y="11347"/>
                  </a:cubicBezTo>
                  <a:cubicBezTo>
                    <a:pt x="12399" y="11317"/>
                    <a:pt x="11857" y="11076"/>
                    <a:pt x="12158" y="10775"/>
                  </a:cubicBezTo>
                  <a:cubicBezTo>
                    <a:pt x="12272" y="10662"/>
                    <a:pt x="12334" y="10625"/>
                    <a:pt x="12369" y="10625"/>
                  </a:cubicBezTo>
                  <a:cubicBezTo>
                    <a:pt x="12427" y="10625"/>
                    <a:pt x="12410" y="10726"/>
                    <a:pt x="12429" y="10745"/>
                  </a:cubicBezTo>
                  <a:cubicBezTo>
                    <a:pt x="12431" y="10746"/>
                    <a:pt x="12432" y="10747"/>
                    <a:pt x="12434" y="10747"/>
                  </a:cubicBezTo>
                  <a:cubicBezTo>
                    <a:pt x="12467" y="10747"/>
                    <a:pt x="12547" y="10442"/>
                    <a:pt x="12489" y="10414"/>
                  </a:cubicBezTo>
                  <a:cubicBezTo>
                    <a:pt x="12459" y="10354"/>
                    <a:pt x="12249" y="10444"/>
                    <a:pt x="12279" y="9962"/>
                  </a:cubicBezTo>
                  <a:cubicBezTo>
                    <a:pt x="12309" y="9451"/>
                    <a:pt x="12459" y="9541"/>
                    <a:pt x="12489" y="8909"/>
                  </a:cubicBezTo>
                  <a:cubicBezTo>
                    <a:pt x="12550" y="8247"/>
                    <a:pt x="12760" y="7886"/>
                    <a:pt x="12760" y="7555"/>
                  </a:cubicBezTo>
                  <a:cubicBezTo>
                    <a:pt x="12760" y="7194"/>
                    <a:pt x="13362" y="6832"/>
                    <a:pt x="13693" y="6261"/>
                  </a:cubicBezTo>
                  <a:cubicBezTo>
                    <a:pt x="14054" y="5719"/>
                    <a:pt x="14536" y="5237"/>
                    <a:pt x="15048" y="4846"/>
                  </a:cubicBezTo>
                  <a:cubicBezTo>
                    <a:pt x="15348" y="4636"/>
                    <a:pt x="15950" y="4455"/>
                    <a:pt x="16041" y="4304"/>
                  </a:cubicBezTo>
                  <a:cubicBezTo>
                    <a:pt x="16101" y="4154"/>
                    <a:pt x="16041" y="3131"/>
                    <a:pt x="15890" y="3071"/>
                  </a:cubicBezTo>
                  <a:lnTo>
                    <a:pt x="15348" y="3071"/>
                  </a:lnTo>
                  <a:lnTo>
                    <a:pt x="15348" y="3131"/>
                  </a:lnTo>
                  <a:cubicBezTo>
                    <a:pt x="15409" y="3492"/>
                    <a:pt x="15198" y="4304"/>
                    <a:pt x="14957" y="4304"/>
                  </a:cubicBezTo>
                  <a:cubicBezTo>
                    <a:pt x="14698" y="4304"/>
                    <a:pt x="14549" y="4607"/>
                    <a:pt x="14379" y="4607"/>
                  </a:cubicBezTo>
                  <a:cubicBezTo>
                    <a:pt x="14371" y="4607"/>
                    <a:pt x="14363" y="4607"/>
                    <a:pt x="14355" y="4605"/>
                  </a:cubicBezTo>
                  <a:cubicBezTo>
                    <a:pt x="14345" y="4604"/>
                    <a:pt x="14335" y="4603"/>
                    <a:pt x="14325" y="4603"/>
                  </a:cubicBezTo>
                  <a:cubicBezTo>
                    <a:pt x="14157" y="4603"/>
                    <a:pt x="13972" y="4784"/>
                    <a:pt x="13784" y="4784"/>
                  </a:cubicBezTo>
                  <a:cubicBezTo>
                    <a:pt x="13744" y="4784"/>
                    <a:pt x="13704" y="4776"/>
                    <a:pt x="13663" y="4756"/>
                  </a:cubicBezTo>
                  <a:cubicBezTo>
                    <a:pt x="13597" y="4723"/>
                    <a:pt x="13521" y="4712"/>
                    <a:pt x="13442" y="4712"/>
                  </a:cubicBezTo>
                  <a:cubicBezTo>
                    <a:pt x="13315" y="4712"/>
                    <a:pt x="13181" y="4739"/>
                    <a:pt x="13065" y="4739"/>
                  </a:cubicBezTo>
                  <a:cubicBezTo>
                    <a:pt x="12994" y="4739"/>
                    <a:pt x="12931" y="4729"/>
                    <a:pt x="12881" y="4696"/>
                  </a:cubicBezTo>
                  <a:cubicBezTo>
                    <a:pt x="12700" y="4575"/>
                    <a:pt x="12158" y="4636"/>
                    <a:pt x="12158" y="4515"/>
                  </a:cubicBezTo>
                  <a:cubicBezTo>
                    <a:pt x="12158" y="4365"/>
                    <a:pt x="12429" y="4425"/>
                    <a:pt x="12429" y="3973"/>
                  </a:cubicBezTo>
                  <a:cubicBezTo>
                    <a:pt x="12429" y="3522"/>
                    <a:pt x="13152" y="3071"/>
                    <a:pt x="13031" y="2920"/>
                  </a:cubicBezTo>
                  <a:cubicBezTo>
                    <a:pt x="12911" y="2770"/>
                    <a:pt x="11707" y="2409"/>
                    <a:pt x="11557" y="2168"/>
                  </a:cubicBezTo>
                  <a:cubicBezTo>
                    <a:pt x="11346" y="1927"/>
                    <a:pt x="11015" y="1746"/>
                    <a:pt x="10684" y="1716"/>
                  </a:cubicBezTo>
                  <a:cubicBezTo>
                    <a:pt x="10202" y="1686"/>
                    <a:pt x="10232" y="1445"/>
                    <a:pt x="9781" y="1205"/>
                  </a:cubicBezTo>
                  <a:cubicBezTo>
                    <a:pt x="9360" y="874"/>
                    <a:pt x="8998" y="513"/>
                    <a:pt x="8698" y="61"/>
                  </a:cubicBezTo>
                  <a:cubicBezTo>
                    <a:pt x="8562" y="31"/>
                    <a:pt x="8427" y="16"/>
                    <a:pt x="8295" y="16"/>
                  </a:cubicBezTo>
                  <a:cubicBezTo>
                    <a:pt x="8163" y="16"/>
                    <a:pt x="8035" y="31"/>
                    <a:pt x="7915" y="61"/>
                  </a:cubicBezTo>
                  <a:cubicBezTo>
                    <a:pt x="7817" y="183"/>
                    <a:pt x="7680" y="623"/>
                    <a:pt x="7551" y="623"/>
                  </a:cubicBezTo>
                  <a:cubicBezTo>
                    <a:pt x="7521" y="623"/>
                    <a:pt x="7492" y="599"/>
                    <a:pt x="7464" y="543"/>
                  </a:cubicBezTo>
                  <a:cubicBezTo>
                    <a:pt x="7313" y="242"/>
                    <a:pt x="6892" y="212"/>
                    <a:pt x="6501" y="182"/>
                  </a:cubicBezTo>
                  <a:cubicBezTo>
                    <a:pt x="6265" y="162"/>
                    <a:pt x="6208" y="1"/>
                    <a:pt x="6097" y="1"/>
                  </a:cubicBezTo>
                  <a:close/>
                  <a:moveTo>
                    <a:pt x="3999" y="28651"/>
                  </a:moveTo>
                  <a:cubicBezTo>
                    <a:pt x="3763" y="28651"/>
                    <a:pt x="3883" y="31239"/>
                    <a:pt x="4003" y="31239"/>
                  </a:cubicBezTo>
                  <a:cubicBezTo>
                    <a:pt x="4067" y="31239"/>
                    <a:pt x="4362" y="31205"/>
                    <a:pt x="4665" y="31205"/>
                  </a:cubicBezTo>
                  <a:cubicBezTo>
                    <a:pt x="4930" y="31205"/>
                    <a:pt x="5200" y="31231"/>
                    <a:pt x="5327" y="31329"/>
                  </a:cubicBezTo>
                  <a:cubicBezTo>
                    <a:pt x="5436" y="31411"/>
                    <a:pt x="5495" y="31443"/>
                    <a:pt x="5539" y="31443"/>
                  </a:cubicBezTo>
                  <a:cubicBezTo>
                    <a:pt x="5592" y="31443"/>
                    <a:pt x="5622" y="31396"/>
                    <a:pt x="5688" y="31329"/>
                  </a:cubicBezTo>
                  <a:cubicBezTo>
                    <a:pt x="5808" y="31209"/>
                    <a:pt x="6410" y="31239"/>
                    <a:pt x="6681" y="31059"/>
                  </a:cubicBezTo>
                  <a:cubicBezTo>
                    <a:pt x="6922" y="30878"/>
                    <a:pt x="6591" y="30848"/>
                    <a:pt x="6139" y="30848"/>
                  </a:cubicBezTo>
                  <a:cubicBezTo>
                    <a:pt x="5718" y="30788"/>
                    <a:pt x="4875" y="30005"/>
                    <a:pt x="4605" y="29795"/>
                  </a:cubicBezTo>
                  <a:cubicBezTo>
                    <a:pt x="4354" y="29572"/>
                    <a:pt x="4490" y="29400"/>
                    <a:pt x="4248" y="29400"/>
                  </a:cubicBezTo>
                  <a:cubicBezTo>
                    <a:pt x="4229" y="29400"/>
                    <a:pt x="4208" y="29401"/>
                    <a:pt x="4183" y="29403"/>
                  </a:cubicBezTo>
                  <a:cubicBezTo>
                    <a:pt x="4164" y="29405"/>
                    <a:pt x="4147" y="29406"/>
                    <a:pt x="4132" y="29406"/>
                  </a:cubicBezTo>
                  <a:cubicBezTo>
                    <a:pt x="3883" y="29406"/>
                    <a:pt x="4132" y="29186"/>
                    <a:pt x="4274" y="29072"/>
                  </a:cubicBezTo>
                  <a:cubicBezTo>
                    <a:pt x="4394" y="28952"/>
                    <a:pt x="4213" y="28681"/>
                    <a:pt x="4003" y="28651"/>
                  </a:cubicBezTo>
                  <a:cubicBezTo>
                    <a:pt x="4001" y="28651"/>
                    <a:pt x="4000" y="28651"/>
                    <a:pt x="3999" y="2865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73" name="Google Shape;2967;p123">
              <a:extLst>
                <a:ext uri="{FF2B5EF4-FFF2-40B4-BE49-F238E27FC236}">
                  <a16:creationId xmlns:a16="http://schemas.microsoft.com/office/drawing/2014/main" id="{2A5BED05-464D-1746-8FE6-BC1AB9907DD1}"/>
                </a:ext>
              </a:extLst>
            </p:cNvPr>
            <p:cNvSpPr/>
            <p:nvPr/>
          </p:nvSpPr>
          <p:spPr>
            <a:xfrm>
              <a:off x="2382231" y="3715608"/>
              <a:ext cx="216058" cy="1104955"/>
            </a:xfrm>
            <a:custGeom>
              <a:avLst/>
              <a:gdLst/>
              <a:ahLst/>
              <a:cxnLst/>
              <a:rect l="l" t="t" r="r" b="b"/>
              <a:pathLst>
                <a:path w="6964" h="35615" extrusionOk="0">
                  <a:moveTo>
                    <a:pt x="5000" y="1"/>
                  </a:moveTo>
                  <a:cubicBezTo>
                    <a:pt x="4991" y="1"/>
                    <a:pt x="4984" y="12"/>
                    <a:pt x="4978" y="36"/>
                  </a:cubicBezTo>
                  <a:cubicBezTo>
                    <a:pt x="4947" y="126"/>
                    <a:pt x="4857" y="547"/>
                    <a:pt x="4647" y="668"/>
                  </a:cubicBezTo>
                  <a:lnTo>
                    <a:pt x="4466" y="788"/>
                  </a:lnTo>
                  <a:cubicBezTo>
                    <a:pt x="4466" y="969"/>
                    <a:pt x="4376" y="1300"/>
                    <a:pt x="4496" y="1480"/>
                  </a:cubicBezTo>
                  <a:cubicBezTo>
                    <a:pt x="4616" y="2172"/>
                    <a:pt x="4616" y="2834"/>
                    <a:pt x="4526" y="3527"/>
                  </a:cubicBezTo>
                  <a:lnTo>
                    <a:pt x="4225" y="4730"/>
                  </a:lnTo>
                  <a:cubicBezTo>
                    <a:pt x="4105" y="5031"/>
                    <a:pt x="4466" y="5031"/>
                    <a:pt x="4315" y="5182"/>
                  </a:cubicBezTo>
                  <a:cubicBezTo>
                    <a:pt x="4165" y="5332"/>
                    <a:pt x="4225" y="5663"/>
                    <a:pt x="4225" y="6235"/>
                  </a:cubicBezTo>
                  <a:cubicBezTo>
                    <a:pt x="4225" y="6807"/>
                    <a:pt x="3894" y="7740"/>
                    <a:pt x="3894" y="8041"/>
                  </a:cubicBezTo>
                  <a:cubicBezTo>
                    <a:pt x="3894" y="8342"/>
                    <a:pt x="3623" y="8522"/>
                    <a:pt x="3653" y="8853"/>
                  </a:cubicBezTo>
                  <a:cubicBezTo>
                    <a:pt x="3683" y="9124"/>
                    <a:pt x="3563" y="9395"/>
                    <a:pt x="3322" y="9546"/>
                  </a:cubicBezTo>
                  <a:cubicBezTo>
                    <a:pt x="3142" y="9696"/>
                    <a:pt x="3623" y="10208"/>
                    <a:pt x="3623" y="10478"/>
                  </a:cubicBezTo>
                  <a:cubicBezTo>
                    <a:pt x="3623" y="10749"/>
                    <a:pt x="3202" y="10900"/>
                    <a:pt x="3322" y="11351"/>
                  </a:cubicBezTo>
                  <a:cubicBezTo>
                    <a:pt x="3383" y="11923"/>
                    <a:pt x="3383" y="12495"/>
                    <a:pt x="3322" y="13067"/>
                  </a:cubicBezTo>
                  <a:cubicBezTo>
                    <a:pt x="3322" y="13307"/>
                    <a:pt x="3112" y="13277"/>
                    <a:pt x="3142" y="13638"/>
                  </a:cubicBezTo>
                  <a:cubicBezTo>
                    <a:pt x="3172" y="14030"/>
                    <a:pt x="2901" y="14090"/>
                    <a:pt x="2871" y="14631"/>
                  </a:cubicBezTo>
                  <a:cubicBezTo>
                    <a:pt x="2720" y="15203"/>
                    <a:pt x="2510" y="15775"/>
                    <a:pt x="2239" y="16317"/>
                  </a:cubicBezTo>
                  <a:cubicBezTo>
                    <a:pt x="2088" y="16738"/>
                    <a:pt x="2088" y="16949"/>
                    <a:pt x="1848" y="16949"/>
                  </a:cubicBezTo>
                  <a:cubicBezTo>
                    <a:pt x="1637" y="16949"/>
                    <a:pt x="1607" y="17190"/>
                    <a:pt x="1787" y="17521"/>
                  </a:cubicBezTo>
                  <a:cubicBezTo>
                    <a:pt x="1968" y="17852"/>
                    <a:pt x="1667" y="18153"/>
                    <a:pt x="1848" y="18544"/>
                  </a:cubicBezTo>
                  <a:cubicBezTo>
                    <a:pt x="2058" y="18905"/>
                    <a:pt x="1998" y="18995"/>
                    <a:pt x="1908" y="19326"/>
                  </a:cubicBezTo>
                  <a:cubicBezTo>
                    <a:pt x="1787" y="19657"/>
                    <a:pt x="1667" y="19687"/>
                    <a:pt x="1667" y="19988"/>
                  </a:cubicBezTo>
                  <a:cubicBezTo>
                    <a:pt x="1667" y="20289"/>
                    <a:pt x="1396" y="20560"/>
                    <a:pt x="1547" y="20951"/>
                  </a:cubicBezTo>
                  <a:cubicBezTo>
                    <a:pt x="1697" y="21313"/>
                    <a:pt x="1667" y="21403"/>
                    <a:pt x="1487" y="21403"/>
                  </a:cubicBezTo>
                  <a:cubicBezTo>
                    <a:pt x="1306" y="21403"/>
                    <a:pt x="1216" y="21704"/>
                    <a:pt x="1156" y="22245"/>
                  </a:cubicBezTo>
                  <a:cubicBezTo>
                    <a:pt x="1082" y="22711"/>
                    <a:pt x="1088" y="22797"/>
                    <a:pt x="1320" y="22797"/>
                  </a:cubicBezTo>
                  <a:cubicBezTo>
                    <a:pt x="1373" y="22797"/>
                    <a:pt x="1438" y="22793"/>
                    <a:pt x="1517" y="22787"/>
                  </a:cubicBezTo>
                  <a:cubicBezTo>
                    <a:pt x="1938" y="22757"/>
                    <a:pt x="1607" y="21343"/>
                    <a:pt x="1848" y="21343"/>
                  </a:cubicBezTo>
                  <a:cubicBezTo>
                    <a:pt x="2119" y="21343"/>
                    <a:pt x="1908" y="21132"/>
                    <a:pt x="2149" y="21042"/>
                  </a:cubicBezTo>
                  <a:cubicBezTo>
                    <a:pt x="2171" y="21037"/>
                    <a:pt x="2190" y="21034"/>
                    <a:pt x="2207" y="21034"/>
                  </a:cubicBezTo>
                  <a:cubicBezTo>
                    <a:pt x="2387" y="21034"/>
                    <a:pt x="2224" y="21315"/>
                    <a:pt x="2389" y="21343"/>
                  </a:cubicBezTo>
                  <a:cubicBezTo>
                    <a:pt x="2570" y="21403"/>
                    <a:pt x="2690" y="21553"/>
                    <a:pt x="2419" y="21734"/>
                  </a:cubicBezTo>
                  <a:cubicBezTo>
                    <a:pt x="2149" y="21914"/>
                    <a:pt x="2510" y="22185"/>
                    <a:pt x="2389" y="22366"/>
                  </a:cubicBezTo>
                  <a:cubicBezTo>
                    <a:pt x="2269" y="22546"/>
                    <a:pt x="2088" y="22787"/>
                    <a:pt x="2149" y="22998"/>
                  </a:cubicBezTo>
                  <a:cubicBezTo>
                    <a:pt x="2239" y="23239"/>
                    <a:pt x="2058" y="23239"/>
                    <a:pt x="2058" y="23540"/>
                  </a:cubicBezTo>
                  <a:cubicBezTo>
                    <a:pt x="2058" y="23840"/>
                    <a:pt x="2209" y="23840"/>
                    <a:pt x="2088" y="23901"/>
                  </a:cubicBezTo>
                  <a:cubicBezTo>
                    <a:pt x="1968" y="23991"/>
                    <a:pt x="2239" y="24202"/>
                    <a:pt x="2058" y="24262"/>
                  </a:cubicBezTo>
                  <a:cubicBezTo>
                    <a:pt x="1848" y="24292"/>
                    <a:pt x="1968" y="24503"/>
                    <a:pt x="2088" y="24713"/>
                  </a:cubicBezTo>
                  <a:cubicBezTo>
                    <a:pt x="2209" y="24894"/>
                    <a:pt x="1848" y="24803"/>
                    <a:pt x="1667" y="24954"/>
                  </a:cubicBezTo>
                  <a:cubicBezTo>
                    <a:pt x="1487" y="25104"/>
                    <a:pt x="1848" y="25255"/>
                    <a:pt x="1757" y="25496"/>
                  </a:cubicBezTo>
                  <a:cubicBezTo>
                    <a:pt x="1730" y="25544"/>
                    <a:pt x="1694" y="25564"/>
                    <a:pt x="1653" y="25564"/>
                  </a:cubicBezTo>
                  <a:cubicBezTo>
                    <a:pt x="1520" y="25564"/>
                    <a:pt x="1338" y="25347"/>
                    <a:pt x="1246" y="25255"/>
                  </a:cubicBezTo>
                  <a:cubicBezTo>
                    <a:pt x="1156" y="25135"/>
                    <a:pt x="1456" y="24954"/>
                    <a:pt x="1607" y="24743"/>
                  </a:cubicBezTo>
                  <a:cubicBezTo>
                    <a:pt x="1740" y="24530"/>
                    <a:pt x="1519" y="24151"/>
                    <a:pt x="1279" y="24151"/>
                  </a:cubicBezTo>
                  <a:cubicBezTo>
                    <a:pt x="1248" y="24151"/>
                    <a:pt x="1217" y="24158"/>
                    <a:pt x="1186" y="24172"/>
                  </a:cubicBezTo>
                  <a:cubicBezTo>
                    <a:pt x="915" y="24292"/>
                    <a:pt x="1456" y="24563"/>
                    <a:pt x="1456" y="24773"/>
                  </a:cubicBezTo>
                  <a:cubicBezTo>
                    <a:pt x="1456" y="24861"/>
                    <a:pt x="1397" y="24881"/>
                    <a:pt x="1322" y="24881"/>
                  </a:cubicBezTo>
                  <a:cubicBezTo>
                    <a:pt x="1260" y="24881"/>
                    <a:pt x="1188" y="24867"/>
                    <a:pt x="1131" y="24867"/>
                  </a:cubicBezTo>
                  <a:cubicBezTo>
                    <a:pt x="1069" y="24867"/>
                    <a:pt x="1025" y="24884"/>
                    <a:pt x="1035" y="24954"/>
                  </a:cubicBezTo>
                  <a:cubicBezTo>
                    <a:pt x="1065" y="25195"/>
                    <a:pt x="734" y="25165"/>
                    <a:pt x="554" y="25315"/>
                  </a:cubicBezTo>
                  <a:cubicBezTo>
                    <a:pt x="343" y="25435"/>
                    <a:pt x="764" y="25646"/>
                    <a:pt x="584" y="25706"/>
                  </a:cubicBezTo>
                  <a:cubicBezTo>
                    <a:pt x="373" y="25797"/>
                    <a:pt x="192" y="25947"/>
                    <a:pt x="102" y="26158"/>
                  </a:cubicBezTo>
                  <a:cubicBezTo>
                    <a:pt x="102" y="26275"/>
                    <a:pt x="158" y="26337"/>
                    <a:pt x="208" y="26337"/>
                  </a:cubicBezTo>
                  <a:cubicBezTo>
                    <a:pt x="247" y="26337"/>
                    <a:pt x="283" y="26298"/>
                    <a:pt x="283" y="26218"/>
                  </a:cubicBezTo>
                  <a:cubicBezTo>
                    <a:pt x="283" y="26109"/>
                    <a:pt x="363" y="26048"/>
                    <a:pt x="449" y="26048"/>
                  </a:cubicBezTo>
                  <a:cubicBezTo>
                    <a:pt x="529" y="26048"/>
                    <a:pt x="615" y="26102"/>
                    <a:pt x="644" y="26218"/>
                  </a:cubicBezTo>
                  <a:cubicBezTo>
                    <a:pt x="676" y="26292"/>
                    <a:pt x="715" y="26314"/>
                    <a:pt x="761" y="26314"/>
                  </a:cubicBezTo>
                  <a:cubicBezTo>
                    <a:pt x="830" y="26314"/>
                    <a:pt x="914" y="26267"/>
                    <a:pt x="1014" y="26267"/>
                  </a:cubicBezTo>
                  <a:cubicBezTo>
                    <a:pt x="1040" y="26267"/>
                    <a:pt x="1067" y="26270"/>
                    <a:pt x="1095" y="26278"/>
                  </a:cubicBezTo>
                  <a:cubicBezTo>
                    <a:pt x="1326" y="26365"/>
                    <a:pt x="1336" y="26671"/>
                    <a:pt x="1204" y="26671"/>
                  </a:cubicBezTo>
                  <a:cubicBezTo>
                    <a:pt x="1198" y="26671"/>
                    <a:pt x="1192" y="26671"/>
                    <a:pt x="1186" y="26669"/>
                  </a:cubicBezTo>
                  <a:cubicBezTo>
                    <a:pt x="1171" y="26664"/>
                    <a:pt x="1157" y="26661"/>
                    <a:pt x="1143" y="26661"/>
                  </a:cubicBezTo>
                  <a:cubicBezTo>
                    <a:pt x="1014" y="26661"/>
                    <a:pt x="918" y="26906"/>
                    <a:pt x="945" y="27151"/>
                  </a:cubicBezTo>
                  <a:cubicBezTo>
                    <a:pt x="966" y="27245"/>
                    <a:pt x="1037" y="27274"/>
                    <a:pt x="1130" y="27274"/>
                  </a:cubicBezTo>
                  <a:cubicBezTo>
                    <a:pt x="1275" y="27274"/>
                    <a:pt x="1471" y="27202"/>
                    <a:pt x="1601" y="27202"/>
                  </a:cubicBezTo>
                  <a:cubicBezTo>
                    <a:pt x="1626" y="27202"/>
                    <a:pt x="1648" y="27205"/>
                    <a:pt x="1667" y="27211"/>
                  </a:cubicBezTo>
                  <a:cubicBezTo>
                    <a:pt x="1828" y="27291"/>
                    <a:pt x="1822" y="27587"/>
                    <a:pt x="1733" y="27587"/>
                  </a:cubicBezTo>
                  <a:cubicBezTo>
                    <a:pt x="1723" y="27587"/>
                    <a:pt x="1710" y="27582"/>
                    <a:pt x="1697" y="27572"/>
                  </a:cubicBezTo>
                  <a:cubicBezTo>
                    <a:pt x="1633" y="27486"/>
                    <a:pt x="1460" y="27338"/>
                    <a:pt x="1323" y="27338"/>
                  </a:cubicBezTo>
                  <a:cubicBezTo>
                    <a:pt x="1269" y="27338"/>
                    <a:pt x="1220" y="27362"/>
                    <a:pt x="1186" y="27422"/>
                  </a:cubicBezTo>
                  <a:cubicBezTo>
                    <a:pt x="1132" y="27501"/>
                    <a:pt x="1062" y="27528"/>
                    <a:pt x="986" y="27528"/>
                  </a:cubicBezTo>
                  <a:cubicBezTo>
                    <a:pt x="891" y="27528"/>
                    <a:pt x="788" y="27485"/>
                    <a:pt x="704" y="27452"/>
                  </a:cubicBezTo>
                  <a:cubicBezTo>
                    <a:pt x="689" y="27443"/>
                    <a:pt x="669" y="27438"/>
                    <a:pt x="646" y="27438"/>
                  </a:cubicBezTo>
                  <a:cubicBezTo>
                    <a:pt x="445" y="27438"/>
                    <a:pt x="0" y="27768"/>
                    <a:pt x="162" y="27903"/>
                  </a:cubicBezTo>
                  <a:cubicBezTo>
                    <a:pt x="331" y="28044"/>
                    <a:pt x="342" y="28237"/>
                    <a:pt x="441" y="28237"/>
                  </a:cubicBezTo>
                  <a:cubicBezTo>
                    <a:pt x="448" y="28237"/>
                    <a:pt x="455" y="28236"/>
                    <a:pt x="463" y="28234"/>
                  </a:cubicBezTo>
                  <a:cubicBezTo>
                    <a:pt x="614" y="28234"/>
                    <a:pt x="764" y="28144"/>
                    <a:pt x="855" y="27994"/>
                  </a:cubicBezTo>
                  <a:cubicBezTo>
                    <a:pt x="888" y="27926"/>
                    <a:pt x="987" y="27840"/>
                    <a:pt x="1069" y="27840"/>
                  </a:cubicBezTo>
                  <a:cubicBezTo>
                    <a:pt x="1133" y="27840"/>
                    <a:pt x="1186" y="27894"/>
                    <a:pt x="1186" y="28054"/>
                  </a:cubicBezTo>
                  <a:cubicBezTo>
                    <a:pt x="1186" y="28385"/>
                    <a:pt x="855" y="28204"/>
                    <a:pt x="764" y="28385"/>
                  </a:cubicBezTo>
                  <a:cubicBezTo>
                    <a:pt x="704" y="28565"/>
                    <a:pt x="554" y="28746"/>
                    <a:pt x="343" y="28836"/>
                  </a:cubicBezTo>
                  <a:cubicBezTo>
                    <a:pt x="164" y="28939"/>
                    <a:pt x="268" y="29193"/>
                    <a:pt x="451" y="29193"/>
                  </a:cubicBezTo>
                  <a:cubicBezTo>
                    <a:pt x="483" y="29193"/>
                    <a:pt x="518" y="29185"/>
                    <a:pt x="554" y="29167"/>
                  </a:cubicBezTo>
                  <a:cubicBezTo>
                    <a:pt x="570" y="29162"/>
                    <a:pt x="583" y="29159"/>
                    <a:pt x="593" y="29159"/>
                  </a:cubicBezTo>
                  <a:cubicBezTo>
                    <a:pt x="695" y="29159"/>
                    <a:pt x="515" y="29411"/>
                    <a:pt x="734" y="29438"/>
                  </a:cubicBezTo>
                  <a:cubicBezTo>
                    <a:pt x="750" y="29440"/>
                    <a:pt x="765" y="29441"/>
                    <a:pt x="779" y="29441"/>
                  </a:cubicBezTo>
                  <a:cubicBezTo>
                    <a:pt x="958" y="29441"/>
                    <a:pt x="1033" y="29274"/>
                    <a:pt x="1005" y="29107"/>
                  </a:cubicBezTo>
                  <a:cubicBezTo>
                    <a:pt x="956" y="28936"/>
                    <a:pt x="1046" y="28667"/>
                    <a:pt x="1194" y="28667"/>
                  </a:cubicBezTo>
                  <a:cubicBezTo>
                    <a:pt x="1228" y="28667"/>
                    <a:pt x="1266" y="28682"/>
                    <a:pt x="1306" y="28716"/>
                  </a:cubicBezTo>
                  <a:cubicBezTo>
                    <a:pt x="1487" y="28896"/>
                    <a:pt x="1216" y="29137"/>
                    <a:pt x="1216" y="29288"/>
                  </a:cubicBezTo>
                  <a:cubicBezTo>
                    <a:pt x="1216" y="29438"/>
                    <a:pt x="1065" y="29709"/>
                    <a:pt x="1065" y="29889"/>
                  </a:cubicBezTo>
                  <a:cubicBezTo>
                    <a:pt x="1065" y="30070"/>
                    <a:pt x="855" y="30010"/>
                    <a:pt x="885" y="30190"/>
                  </a:cubicBezTo>
                  <a:cubicBezTo>
                    <a:pt x="915" y="30371"/>
                    <a:pt x="403" y="30251"/>
                    <a:pt x="614" y="30431"/>
                  </a:cubicBezTo>
                  <a:cubicBezTo>
                    <a:pt x="855" y="30582"/>
                    <a:pt x="463" y="30762"/>
                    <a:pt x="584" y="30883"/>
                  </a:cubicBezTo>
                  <a:cubicBezTo>
                    <a:pt x="600" y="30895"/>
                    <a:pt x="615" y="30900"/>
                    <a:pt x="631" y="30900"/>
                  </a:cubicBezTo>
                  <a:cubicBezTo>
                    <a:pt x="715" y="30900"/>
                    <a:pt x="797" y="30745"/>
                    <a:pt x="947" y="30745"/>
                  </a:cubicBezTo>
                  <a:cubicBezTo>
                    <a:pt x="974" y="30745"/>
                    <a:pt x="1003" y="30750"/>
                    <a:pt x="1035" y="30762"/>
                  </a:cubicBezTo>
                  <a:cubicBezTo>
                    <a:pt x="1168" y="30800"/>
                    <a:pt x="1193" y="30838"/>
                    <a:pt x="1247" y="30838"/>
                  </a:cubicBezTo>
                  <a:cubicBezTo>
                    <a:pt x="1278" y="30838"/>
                    <a:pt x="1319" y="30826"/>
                    <a:pt x="1396" y="30792"/>
                  </a:cubicBezTo>
                  <a:cubicBezTo>
                    <a:pt x="1422" y="30786"/>
                    <a:pt x="1448" y="30783"/>
                    <a:pt x="1472" y="30783"/>
                  </a:cubicBezTo>
                  <a:cubicBezTo>
                    <a:pt x="1671" y="30783"/>
                    <a:pt x="1788" y="30983"/>
                    <a:pt x="1547" y="31063"/>
                  </a:cubicBezTo>
                  <a:cubicBezTo>
                    <a:pt x="1306" y="31123"/>
                    <a:pt x="1095" y="31364"/>
                    <a:pt x="1216" y="31394"/>
                  </a:cubicBezTo>
                  <a:cubicBezTo>
                    <a:pt x="1225" y="31397"/>
                    <a:pt x="1236" y="31398"/>
                    <a:pt x="1248" y="31398"/>
                  </a:cubicBezTo>
                  <a:cubicBezTo>
                    <a:pt x="1324" y="31398"/>
                    <a:pt x="1436" y="31351"/>
                    <a:pt x="1527" y="31351"/>
                  </a:cubicBezTo>
                  <a:cubicBezTo>
                    <a:pt x="1591" y="31351"/>
                    <a:pt x="1644" y="31374"/>
                    <a:pt x="1667" y="31454"/>
                  </a:cubicBezTo>
                  <a:cubicBezTo>
                    <a:pt x="1704" y="31553"/>
                    <a:pt x="1756" y="31596"/>
                    <a:pt x="1805" y="31596"/>
                  </a:cubicBezTo>
                  <a:cubicBezTo>
                    <a:pt x="1875" y="31596"/>
                    <a:pt x="1938" y="31506"/>
                    <a:pt x="1938" y="31364"/>
                  </a:cubicBezTo>
                  <a:cubicBezTo>
                    <a:pt x="1938" y="31274"/>
                    <a:pt x="1988" y="31237"/>
                    <a:pt x="2057" y="31237"/>
                  </a:cubicBezTo>
                  <a:cubicBezTo>
                    <a:pt x="2195" y="31237"/>
                    <a:pt x="2409" y="31384"/>
                    <a:pt x="2450" y="31545"/>
                  </a:cubicBezTo>
                  <a:cubicBezTo>
                    <a:pt x="2531" y="31734"/>
                    <a:pt x="2102" y="31850"/>
                    <a:pt x="1840" y="31850"/>
                  </a:cubicBezTo>
                  <a:cubicBezTo>
                    <a:pt x="1810" y="31850"/>
                    <a:pt x="1782" y="31849"/>
                    <a:pt x="1757" y="31846"/>
                  </a:cubicBezTo>
                  <a:cubicBezTo>
                    <a:pt x="1743" y="31844"/>
                    <a:pt x="1730" y="31843"/>
                    <a:pt x="1716" y="31843"/>
                  </a:cubicBezTo>
                  <a:cubicBezTo>
                    <a:pt x="1472" y="31843"/>
                    <a:pt x="1345" y="32097"/>
                    <a:pt x="1517" y="32297"/>
                  </a:cubicBezTo>
                  <a:cubicBezTo>
                    <a:pt x="1570" y="32360"/>
                    <a:pt x="1627" y="32385"/>
                    <a:pt x="1684" y="32385"/>
                  </a:cubicBezTo>
                  <a:cubicBezTo>
                    <a:pt x="1820" y="32385"/>
                    <a:pt x="1962" y="32243"/>
                    <a:pt x="2088" y="32116"/>
                  </a:cubicBezTo>
                  <a:cubicBezTo>
                    <a:pt x="2166" y="32026"/>
                    <a:pt x="2394" y="31985"/>
                    <a:pt x="2633" y="31985"/>
                  </a:cubicBezTo>
                  <a:cubicBezTo>
                    <a:pt x="2951" y="31985"/>
                    <a:pt x="3288" y="32057"/>
                    <a:pt x="3322" y="32177"/>
                  </a:cubicBezTo>
                  <a:cubicBezTo>
                    <a:pt x="3360" y="32277"/>
                    <a:pt x="3287" y="32299"/>
                    <a:pt x="3188" y="32299"/>
                  </a:cubicBezTo>
                  <a:cubicBezTo>
                    <a:pt x="3112" y="32299"/>
                    <a:pt x="3021" y="32287"/>
                    <a:pt x="2951" y="32287"/>
                  </a:cubicBezTo>
                  <a:cubicBezTo>
                    <a:pt x="2893" y="32287"/>
                    <a:pt x="2849" y="32295"/>
                    <a:pt x="2841" y="32327"/>
                  </a:cubicBezTo>
                  <a:cubicBezTo>
                    <a:pt x="2821" y="32407"/>
                    <a:pt x="2627" y="32488"/>
                    <a:pt x="2491" y="32488"/>
                  </a:cubicBezTo>
                  <a:cubicBezTo>
                    <a:pt x="2423" y="32488"/>
                    <a:pt x="2369" y="32468"/>
                    <a:pt x="2359" y="32417"/>
                  </a:cubicBezTo>
                  <a:cubicBezTo>
                    <a:pt x="2345" y="32382"/>
                    <a:pt x="2313" y="32367"/>
                    <a:pt x="2272" y="32367"/>
                  </a:cubicBezTo>
                  <a:cubicBezTo>
                    <a:pt x="2138" y="32367"/>
                    <a:pt x="1908" y="32534"/>
                    <a:pt x="1908" y="32718"/>
                  </a:cubicBezTo>
                  <a:cubicBezTo>
                    <a:pt x="1908" y="32929"/>
                    <a:pt x="1607" y="32929"/>
                    <a:pt x="1908" y="33019"/>
                  </a:cubicBezTo>
                  <a:cubicBezTo>
                    <a:pt x="1928" y="33023"/>
                    <a:pt x="1946" y="33025"/>
                    <a:pt x="1963" y="33025"/>
                  </a:cubicBezTo>
                  <a:cubicBezTo>
                    <a:pt x="2183" y="33025"/>
                    <a:pt x="2160" y="32712"/>
                    <a:pt x="2560" y="32712"/>
                  </a:cubicBezTo>
                  <a:cubicBezTo>
                    <a:pt x="2591" y="32712"/>
                    <a:pt x="2624" y="32714"/>
                    <a:pt x="2660" y="32718"/>
                  </a:cubicBezTo>
                  <a:cubicBezTo>
                    <a:pt x="2676" y="32719"/>
                    <a:pt x="2691" y="32720"/>
                    <a:pt x="2706" y="32720"/>
                  </a:cubicBezTo>
                  <a:cubicBezTo>
                    <a:pt x="3068" y="32720"/>
                    <a:pt x="3287" y="32469"/>
                    <a:pt x="3410" y="32469"/>
                  </a:cubicBezTo>
                  <a:cubicBezTo>
                    <a:pt x="3451" y="32469"/>
                    <a:pt x="3481" y="32496"/>
                    <a:pt x="3503" y="32568"/>
                  </a:cubicBezTo>
                  <a:cubicBezTo>
                    <a:pt x="3594" y="32795"/>
                    <a:pt x="3343" y="32953"/>
                    <a:pt x="3110" y="32953"/>
                  </a:cubicBezTo>
                  <a:cubicBezTo>
                    <a:pt x="3034" y="32953"/>
                    <a:pt x="2960" y="32936"/>
                    <a:pt x="2901" y="32899"/>
                  </a:cubicBezTo>
                  <a:cubicBezTo>
                    <a:pt x="2859" y="32869"/>
                    <a:pt x="2818" y="32856"/>
                    <a:pt x="2780" y="32856"/>
                  </a:cubicBezTo>
                  <a:cubicBezTo>
                    <a:pt x="2627" y="32856"/>
                    <a:pt x="2516" y="33067"/>
                    <a:pt x="2540" y="33260"/>
                  </a:cubicBezTo>
                  <a:cubicBezTo>
                    <a:pt x="2548" y="33338"/>
                    <a:pt x="2505" y="33366"/>
                    <a:pt x="2432" y="33366"/>
                  </a:cubicBezTo>
                  <a:cubicBezTo>
                    <a:pt x="2250" y="33366"/>
                    <a:pt x="1882" y="33191"/>
                    <a:pt x="1667" y="33170"/>
                  </a:cubicBezTo>
                  <a:cubicBezTo>
                    <a:pt x="1641" y="33165"/>
                    <a:pt x="1618" y="33162"/>
                    <a:pt x="1598" y="33162"/>
                  </a:cubicBezTo>
                  <a:cubicBezTo>
                    <a:pt x="1393" y="33162"/>
                    <a:pt x="1540" y="33434"/>
                    <a:pt x="1787" y="33681"/>
                  </a:cubicBezTo>
                  <a:cubicBezTo>
                    <a:pt x="1882" y="33776"/>
                    <a:pt x="1955" y="33801"/>
                    <a:pt x="2022" y="33801"/>
                  </a:cubicBezTo>
                  <a:cubicBezTo>
                    <a:pt x="2096" y="33801"/>
                    <a:pt x="2164" y="33770"/>
                    <a:pt x="2248" y="33770"/>
                  </a:cubicBezTo>
                  <a:cubicBezTo>
                    <a:pt x="2306" y="33770"/>
                    <a:pt x="2370" y="33784"/>
                    <a:pt x="2450" y="33832"/>
                  </a:cubicBezTo>
                  <a:cubicBezTo>
                    <a:pt x="2675" y="33967"/>
                    <a:pt x="2732" y="34137"/>
                    <a:pt x="2835" y="34137"/>
                  </a:cubicBezTo>
                  <a:cubicBezTo>
                    <a:pt x="2869" y="34137"/>
                    <a:pt x="2909" y="34118"/>
                    <a:pt x="2961" y="34073"/>
                  </a:cubicBezTo>
                  <a:cubicBezTo>
                    <a:pt x="3142" y="33862"/>
                    <a:pt x="2961" y="33862"/>
                    <a:pt x="2841" y="33802"/>
                  </a:cubicBezTo>
                  <a:cubicBezTo>
                    <a:pt x="2744" y="33729"/>
                    <a:pt x="2784" y="33520"/>
                    <a:pt x="2976" y="33520"/>
                  </a:cubicBezTo>
                  <a:cubicBezTo>
                    <a:pt x="3022" y="33520"/>
                    <a:pt x="3077" y="33532"/>
                    <a:pt x="3142" y="33561"/>
                  </a:cubicBezTo>
                  <a:cubicBezTo>
                    <a:pt x="3208" y="33594"/>
                    <a:pt x="3274" y="33609"/>
                    <a:pt x="3338" y="33609"/>
                  </a:cubicBezTo>
                  <a:cubicBezTo>
                    <a:pt x="3619" y="33609"/>
                    <a:pt x="3842" y="33314"/>
                    <a:pt x="3744" y="33019"/>
                  </a:cubicBezTo>
                  <a:cubicBezTo>
                    <a:pt x="3653" y="32598"/>
                    <a:pt x="4045" y="32357"/>
                    <a:pt x="4466" y="32267"/>
                  </a:cubicBezTo>
                  <a:cubicBezTo>
                    <a:pt x="4521" y="32250"/>
                    <a:pt x="4563" y="32243"/>
                    <a:pt x="4596" y="32243"/>
                  </a:cubicBezTo>
                  <a:cubicBezTo>
                    <a:pt x="4797" y="32243"/>
                    <a:pt x="4604" y="32525"/>
                    <a:pt x="4346" y="32628"/>
                  </a:cubicBezTo>
                  <a:cubicBezTo>
                    <a:pt x="4045" y="32748"/>
                    <a:pt x="4015" y="32869"/>
                    <a:pt x="4225" y="33080"/>
                  </a:cubicBezTo>
                  <a:cubicBezTo>
                    <a:pt x="4285" y="33140"/>
                    <a:pt x="4349" y="33160"/>
                    <a:pt x="4414" y="33160"/>
                  </a:cubicBezTo>
                  <a:cubicBezTo>
                    <a:pt x="4557" y="33160"/>
                    <a:pt x="4704" y="33060"/>
                    <a:pt x="4826" y="33060"/>
                  </a:cubicBezTo>
                  <a:cubicBezTo>
                    <a:pt x="4870" y="33060"/>
                    <a:pt x="4911" y="33073"/>
                    <a:pt x="4947" y="33110"/>
                  </a:cubicBezTo>
                  <a:cubicBezTo>
                    <a:pt x="5128" y="33320"/>
                    <a:pt x="4616" y="33260"/>
                    <a:pt x="4496" y="33471"/>
                  </a:cubicBezTo>
                  <a:cubicBezTo>
                    <a:pt x="4376" y="33651"/>
                    <a:pt x="4827" y="33922"/>
                    <a:pt x="4526" y="34012"/>
                  </a:cubicBezTo>
                  <a:cubicBezTo>
                    <a:pt x="4501" y="34022"/>
                    <a:pt x="4479" y="34027"/>
                    <a:pt x="4460" y="34027"/>
                  </a:cubicBezTo>
                  <a:cubicBezTo>
                    <a:pt x="4248" y="34027"/>
                    <a:pt x="4363" y="33463"/>
                    <a:pt x="4225" y="33380"/>
                  </a:cubicBezTo>
                  <a:cubicBezTo>
                    <a:pt x="4204" y="33372"/>
                    <a:pt x="4182" y="33368"/>
                    <a:pt x="4161" y="33368"/>
                  </a:cubicBezTo>
                  <a:cubicBezTo>
                    <a:pt x="4030" y="33368"/>
                    <a:pt x="3915" y="33526"/>
                    <a:pt x="4045" y="33862"/>
                  </a:cubicBezTo>
                  <a:cubicBezTo>
                    <a:pt x="4097" y="34008"/>
                    <a:pt x="4091" y="34064"/>
                    <a:pt x="4052" y="34064"/>
                  </a:cubicBezTo>
                  <a:cubicBezTo>
                    <a:pt x="3979" y="34064"/>
                    <a:pt x="3791" y="33869"/>
                    <a:pt x="3653" y="33712"/>
                  </a:cubicBezTo>
                  <a:cubicBezTo>
                    <a:pt x="3612" y="33664"/>
                    <a:pt x="3570" y="33644"/>
                    <a:pt x="3530" y="33644"/>
                  </a:cubicBezTo>
                  <a:cubicBezTo>
                    <a:pt x="3397" y="33644"/>
                    <a:pt x="3303" y="33873"/>
                    <a:pt x="3443" y="34012"/>
                  </a:cubicBezTo>
                  <a:cubicBezTo>
                    <a:pt x="3623" y="34223"/>
                    <a:pt x="3051" y="34012"/>
                    <a:pt x="3051" y="34374"/>
                  </a:cubicBezTo>
                  <a:cubicBezTo>
                    <a:pt x="3051" y="34496"/>
                    <a:pt x="3088" y="34532"/>
                    <a:pt x="3150" y="34532"/>
                  </a:cubicBezTo>
                  <a:cubicBezTo>
                    <a:pt x="3239" y="34532"/>
                    <a:pt x="3381" y="34456"/>
                    <a:pt x="3538" y="34456"/>
                  </a:cubicBezTo>
                  <a:cubicBezTo>
                    <a:pt x="3566" y="34456"/>
                    <a:pt x="3594" y="34458"/>
                    <a:pt x="3623" y="34464"/>
                  </a:cubicBezTo>
                  <a:cubicBezTo>
                    <a:pt x="3924" y="34554"/>
                    <a:pt x="3804" y="35006"/>
                    <a:pt x="4045" y="35186"/>
                  </a:cubicBezTo>
                  <a:cubicBezTo>
                    <a:pt x="4067" y="35205"/>
                    <a:pt x="4085" y="35214"/>
                    <a:pt x="4100" y="35214"/>
                  </a:cubicBezTo>
                  <a:cubicBezTo>
                    <a:pt x="4222" y="35214"/>
                    <a:pt x="4100" y="34608"/>
                    <a:pt x="4315" y="34554"/>
                  </a:cubicBezTo>
                  <a:cubicBezTo>
                    <a:pt x="4329" y="34548"/>
                    <a:pt x="4341" y="34546"/>
                    <a:pt x="4351" y="34546"/>
                  </a:cubicBezTo>
                  <a:cubicBezTo>
                    <a:pt x="4506" y="34546"/>
                    <a:pt x="4378" y="35137"/>
                    <a:pt x="4857" y="35307"/>
                  </a:cubicBezTo>
                  <a:cubicBezTo>
                    <a:pt x="4975" y="35346"/>
                    <a:pt x="5044" y="35362"/>
                    <a:pt x="5083" y="35362"/>
                  </a:cubicBezTo>
                  <a:cubicBezTo>
                    <a:pt x="5224" y="35362"/>
                    <a:pt x="4970" y="35147"/>
                    <a:pt x="5158" y="35006"/>
                  </a:cubicBezTo>
                  <a:cubicBezTo>
                    <a:pt x="5189" y="34985"/>
                    <a:pt x="5221" y="34976"/>
                    <a:pt x="5252" y="34976"/>
                  </a:cubicBezTo>
                  <a:cubicBezTo>
                    <a:pt x="5498" y="34976"/>
                    <a:pt x="5761" y="35528"/>
                    <a:pt x="6001" y="35607"/>
                  </a:cubicBezTo>
                  <a:cubicBezTo>
                    <a:pt x="6021" y="35612"/>
                    <a:pt x="6039" y="35614"/>
                    <a:pt x="6054" y="35614"/>
                  </a:cubicBezTo>
                  <a:cubicBezTo>
                    <a:pt x="6240" y="35614"/>
                    <a:pt x="6047" y="35288"/>
                    <a:pt x="5880" y="35066"/>
                  </a:cubicBezTo>
                  <a:cubicBezTo>
                    <a:pt x="5811" y="34985"/>
                    <a:pt x="5822" y="34957"/>
                    <a:pt x="5876" y="34957"/>
                  </a:cubicBezTo>
                  <a:cubicBezTo>
                    <a:pt x="5964" y="34957"/>
                    <a:pt x="6165" y="35029"/>
                    <a:pt x="6332" y="35066"/>
                  </a:cubicBezTo>
                  <a:cubicBezTo>
                    <a:pt x="6467" y="35111"/>
                    <a:pt x="6588" y="35149"/>
                    <a:pt x="6682" y="35149"/>
                  </a:cubicBezTo>
                  <a:cubicBezTo>
                    <a:pt x="6776" y="35149"/>
                    <a:pt x="6843" y="35111"/>
                    <a:pt x="6874" y="35006"/>
                  </a:cubicBezTo>
                  <a:lnTo>
                    <a:pt x="6964" y="35006"/>
                  </a:lnTo>
                  <a:cubicBezTo>
                    <a:pt x="6865" y="34931"/>
                    <a:pt x="6644" y="34913"/>
                    <a:pt x="6412" y="34913"/>
                  </a:cubicBezTo>
                  <a:cubicBezTo>
                    <a:pt x="6186" y="34913"/>
                    <a:pt x="5949" y="34930"/>
                    <a:pt x="5803" y="34930"/>
                  </a:cubicBezTo>
                  <a:cubicBezTo>
                    <a:pt x="5735" y="34930"/>
                    <a:pt x="5687" y="34927"/>
                    <a:pt x="5670" y="34915"/>
                  </a:cubicBezTo>
                  <a:cubicBezTo>
                    <a:pt x="5549" y="34885"/>
                    <a:pt x="5610" y="32809"/>
                    <a:pt x="5670" y="32327"/>
                  </a:cubicBezTo>
                  <a:lnTo>
                    <a:pt x="5579" y="32327"/>
                  </a:lnTo>
                  <a:cubicBezTo>
                    <a:pt x="5527" y="32327"/>
                    <a:pt x="5455" y="32331"/>
                    <a:pt x="5379" y="32331"/>
                  </a:cubicBezTo>
                  <a:cubicBezTo>
                    <a:pt x="5151" y="32331"/>
                    <a:pt x="4880" y="32297"/>
                    <a:pt x="4947" y="32026"/>
                  </a:cubicBezTo>
                  <a:cubicBezTo>
                    <a:pt x="4974" y="31881"/>
                    <a:pt x="4983" y="31840"/>
                    <a:pt x="4992" y="31840"/>
                  </a:cubicBezTo>
                  <a:cubicBezTo>
                    <a:pt x="5004" y="31840"/>
                    <a:pt x="5017" y="31906"/>
                    <a:pt x="5068" y="31906"/>
                  </a:cubicBezTo>
                  <a:cubicBezTo>
                    <a:pt x="4947" y="31785"/>
                    <a:pt x="4797" y="31695"/>
                    <a:pt x="4616" y="31665"/>
                  </a:cubicBezTo>
                  <a:cubicBezTo>
                    <a:pt x="4376" y="31635"/>
                    <a:pt x="4142" y="31620"/>
                    <a:pt x="3913" y="31620"/>
                  </a:cubicBezTo>
                  <a:cubicBezTo>
                    <a:pt x="3683" y="31620"/>
                    <a:pt x="3458" y="31635"/>
                    <a:pt x="3232" y="31665"/>
                  </a:cubicBezTo>
                  <a:cubicBezTo>
                    <a:pt x="3021" y="31665"/>
                    <a:pt x="2961" y="31334"/>
                    <a:pt x="2841" y="31334"/>
                  </a:cubicBezTo>
                  <a:cubicBezTo>
                    <a:pt x="2720" y="31334"/>
                    <a:pt x="2690" y="30672"/>
                    <a:pt x="2811" y="30431"/>
                  </a:cubicBezTo>
                  <a:cubicBezTo>
                    <a:pt x="2931" y="30160"/>
                    <a:pt x="2239" y="30281"/>
                    <a:pt x="2058" y="30190"/>
                  </a:cubicBezTo>
                  <a:cubicBezTo>
                    <a:pt x="1878" y="30130"/>
                    <a:pt x="2119" y="29889"/>
                    <a:pt x="1908" y="29679"/>
                  </a:cubicBezTo>
                  <a:cubicBezTo>
                    <a:pt x="1667" y="29438"/>
                    <a:pt x="1878" y="29077"/>
                    <a:pt x="1908" y="28926"/>
                  </a:cubicBezTo>
                  <a:cubicBezTo>
                    <a:pt x="1938" y="28776"/>
                    <a:pt x="2058" y="28385"/>
                    <a:pt x="2329" y="28385"/>
                  </a:cubicBezTo>
                  <a:cubicBezTo>
                    <a:pt x="2570" y="28385"/>
                    <a:pt x="2389" y="28024"/>
                    <a:pt x="2660" y="27873"/>
                  </a:cubicBezTo>
                  <a:cubicBezTo>
                    <a:pt x="2931" y="27723"/>
                    <a:pt x="2389" y="27422"/>
                    <a:pt x="2630" y="27211"/>
                  </a:cubicBezTo>
                  <a:cubicBezTo>
                    <a:pt x="2841" y="27030"/>
                    <a:pt x="2630" y="26760"/>
                    <a:pt x="2961" y="26699"/>
                  </a:cubicBezTo>
                  <a:cubicBezTo>
                    <a:pt x="3292" y="26609"/>
                    <a:pt x="2961" y="26248"/>
                    <a:pt x="3172" y="26158"/>
                  </a:cubicBezTo>
                  <a:cubicBezTo>
                    <a:pt x="3413" y="26098"/>
                    <a:pt x="3142" y="25827"/>
                    <a:pt x="3232" y="25526"/>
                  </a:cubicBezTo>
                  <a:cubicBezTo>
                    <a:pt x="3292" y="25225"/>
                    <a:pt x="3021" y="25044"/>
                    <a:pt x="3322" y="24924"/>
                  </a:cubicBezTo>
                  <a:cubicBezTo>
                    <a:pt x="3623" y="24803"/>
                    <a:pt x="3443" y="24563"/>
                    <a:pt x="3232" y="24412"/>
                  </a:cubicBezTo>
                  <a:cubicBezTo>
                    <a:pt x="2991" y="24262"/>
                    <a:pt x="3262" y="24262"/>
                    <a:pt x="3533" y="24262"/>
                  </a:cubicBezTo>
                  <a:cubicBezTo>
                    <a:pt x="3759" y="24262"/>
                    <a:pt x="3641" y="23865"/>
                    <a:pt x="3451" y="23865"/>
                  </a:cubicBezTo>
                  <a:cubicBezTo>
                    <a:pt x="3439" y="23865"/>
                    <a:pt x="3426" y="23867"/>
                    <a:pt x="3413" y="23871"/>
                  </a:cubicBezTo>
                  <a:cubicBezTo>
                    <a:pt x="3380" y="23883"/>
                    <a:pt x="3348" y="23888"/>
                    <a:pt x="3318" y="23888"/>
                  </a:cubicBezTo>
                  <a:cubicBezTo>
                    <a:pt x="3123" y="23888"/>
                    <a:pt x="2990" y="23658"/>
                    <a:pt x="3172" y="23449"/>
                  </a:cubicBezTo>
                  <a:cubicBezTo>
                    <a:pt x="3413" y="23239"/>
                    <a:pt x="2991" y="23118"/>
                    <a:pt x="3082" y="22968"/>
                  </a:cubicBezTo>
                  <a:cubicBezTo>
                    <a:pt x="3142" y="22817"/>
                    <a:pt x="3112" y="22637"/>
                    <a:pt x="2991" y="22546"/>
                  </a:cubicBezTo>
                  <a:cubicBezTo>
                    <a:pt x="2871" y="22486"/>
                    <a:pt x="2931" y="21734"/>
                    <a:pt x="3112" y="21734"/>
                  </a:cubicBezTo>
                  <a:cubicBezTo>
                    <a:pt x="3292" y="21734"/>
                    <a:pt x="3142" y="21042"/>
                    <a:pt x="3142" y="20861"/>
                  </a:cubicBezTo>
                  <a:cubicBezTo>
                    <a:pt x="3142" y="20681"/>
                    <a:pt x="2961" y="20500"/>
                    <a:pt x="2991" y="20289"/>
                  </a:cubicBezTo>
                  <a:cubicBezTo>
                    <a:pt x="3021" y="20109"/>
                    <a:pt x="3172" y="20109"/>
                    <a:pt x="3172" y="19778"/>
                  </a:cubicBezTo>
                  <a:cubicBezTo>
                    <a:pt x="3172" y="19447"/>
                    <a:pt x="3262" y="19296"/>
                    <a:pt x="3413" y="19236"/>
                  </a:cubicBezTo>
                  <a:cubicBezTo>
                    <a:pt x="3563" y="19206"/>
                    <a:pt x="3443" y="18875"/>
                    <a:pt x="3443" y="18694"/>
                  </a:cubicBezTo>
                  <a:cubicBezTo>
                    <a:pt x="3443" y="18484"/>
                    <a:pt x="3864" y="18694"/>
                    <a:pt x="3894" y="18333"/>
                  </a:cubicBezTo>
                  <a:cubicBezTo>
                    <a:pt x="3924" y="18002"/>
                    <a:pt x="3683" y="18122"/>
                    <a:pt x="3714" y="17882"/>
                  </a:cubicBezTo>
                  <a:cubicBezTo>
                    <a:pt x="3744" y="17551"/>
                    <a:pt x="3744" y="17220"/>
                    <a:pt x="3714" y="16889"/>
                  </a:cubicBezTo>
                  <a:cubicBezTo>
                    <a:pt x="3714" y="16347"/>
                    <a:pt x="4135" y="16227"/>
                    <a:pt x="4285" y="16076"/>
                  </a:cubicBezTo>
                  <a:cubicBezTo>
                    <a:pt x="4436" y="15926"/>
                    <a:pt x="4075" y="15173"/>
                    <a:pt x="4285" y="15083"/>
                  </a:cubicBezTo>
                  <a:cubicBezTo>
                    <a:pt x="4466" y="14963"/>
                    <a:pt x="4346" y="14631"/>
                    <a:pt x="4526" y="14511"/>
                  </a:cubicBezTo>
                  <a:cubicBezTo>
                    <a:pt x="4707" y="14391"/>
                    <a:pt x="4647" y="14120"/>
                    <a:pt x="4707" y="13819"/>
                  </a:cubicBezTo>
                  <a:cubicBezTo>
                    <a:pt x="4797" y="13518"/>
                    <a:pt x="4526" y="13428"/>
                    <a:pt x="4526" y="13157"/>
                  </a:cubicBezTo>
                  <a:cubicBezTo>
                    <a:pt x="4556" y="12856"/>
                    <a:pt x="4466" y="12585"/>
                    <a:pt x="4285" y="12374"/>
                  </a:cubicBezTo>
                  <a:cubicBezTo>
                    <a:pt x="4075" y="12104"/>
                    <a:pt x="4165" y="11502"/>
                    <a:pt x="4285" y="11502"/>
                  </a:cubicBezTo>
                  <a:cubicBezTo>
                    <a:pt x="4376" y="11502"/>
                    <a:pt x="4346" y="10960"/>
                    <a:pt x="4616" y="10900"/>
                  </a:cubicBezTo>
                  <a:cubicBezTo>
                    <a:pt x="4887" y="10809"/>
                    <a:pt x="4737" y="10418"/>
                    <a:pt x="4616" y="10117"/>
                  </a:cubicBezTo>
                  <a:cubicBezTo>
                    <a:pt x="4496" y="9816"/>
                    <a:pt x="4827" y="9907"/>
                    <a:pt x="4827" y="9666"/>
                  </a:cubicBezTo>
                  <a:cubicBezTo>
                    <a:pt x="4827" y="9365"/>
                    <a:pt x="4947" y="9124"/>
                    <a:pt x="5188" y="8944"/>
                  </a:cubicBezTo>
                  <a:cubicBezTo>
                    <a:pt x="5399" y="8853"/>
                    <a:pt x="5429" y="8462"/>
                    <a:pt x="5429" y="8312"/>
                  </a:cubicBezTo>
                  <a:cubicBezTo>
                    <a:pt x="5429" y="8161"/>
                    <a:pt x="5730" y="8041"/>
                    <a:pt x="5880" y="7890"/>
                  </a:cubicBezTo>
                  <a:cubicBezTo>
                    <a:pt x="6031" y="7740"/>
                    <a:pt x="5640" y="7499"/>
                    <a:pt x="5880" y="7409"/>
                  </a:cubicBezTo>
                  <a:cubicBezTo>
                    <a:pt x="6151" y="7288"/>
                    <a:pt x="5670" y="6656"/>
                    <a:pt x="5820" y="6536"/>
                  </a:cubicBezTo>
                  <a:cubicBezTo>
                    <a:pt x="5971" y="6416"/>
                    <a:pt x="5820" y="6145"/>
                    <a:pt x="5850" y="5964"/>
                  </a:cubicBezTo>
                  <a:cubicBezTo>
                    <a:pt x="5880" y="5784"/>
                    <a:pt x="6663" y="5392"/>
                    <a:pt x="6753" y="5242"/>
                  </a:cubicBezTo>
                  <a:cubicBezTo>
                    <a:pt x="6843" y="4941"/>
                    <a:pt x="6904" y="4640"/>
                    <a:pt x="6904" y="4309"/>
                  </a:cubicBezTo>
                  <a:lnTo>
                    <a:pt x="6904" y="4309"/>
                  </a:lnTo>
                  <a:cubicBezTo>
                    <a:pt x="6753" y="4417"/>
                    <a:pt x="6587" y="4509"/>
                    <a:pt x="6494" y="4509"/>
                  </a:cubicBezTo>
                  <a:cubicBezTo>
                    <a:pt x="6456" y="4509"/>
                    <a:pt x="6431" y="4494"/>
                    <a:pt x="6422" y="4460"/>
                  </a:cubicBezTo>
                  <a:cubicBezTo>
                    <a:pt x="6362" y="4339"/>
                    <a:pt x="6452" y="3828"/>
                    <a:pt x="6211" y="3587"/>
                  </a:cubicBezTo>
                  <a:cubicBezTo>
                    <a:pt x="6001" y="3376"/>
                    <a:pt x="6151" y="2955"/>
                    <a:pt x="5971" y="2895"/>
                  </a:cubicBezTo>
                  <a:cubicBezTo>
                    <a:pt x="5790" y="2804"/>
                    <a:pt x="5459" y="2353"/>
                    <a:pt x="5670" y="2202"/>
                  </a:cubicBezTo>
                  <a:cubicBezTo>
                    <a:pt x="5850" y="2052"/>
                    <a:pt x="5670" y="1781"/>
                    <a:pt x="5850" y="1631"/>
                  </a:cubicBezTo>
                  <a:cubicBezTo>
                    <a:pt x="6031" y="1480"/>
                    <a:pt x="5730" y="1480"/>
                    <a:pt x="5519" y="1239"/>
                  </a:cubicBezTo>
                  <a:cubicBezTo>
                    <a:pt x="5278" y="969"/>
                    <a:pt x="5579" y="577"/>
                    <a:pt x="5309" y="367"/>
                  </a:cubicBezTo>
                  <a:cubicBezTo>
                    <a:pt x="5116" y="174"/>
                    <a:pt x="5039" y="1"/>
                    <a:pt x="5000"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74" name="Google Shape;2968;p123">
              <a:extLst>
                <a:ext uri="{FF2B5EF4-FFF2-40B4-BE49-F238E27FC236}">
                  <a16:creationId xmlns:a16="http://schemas.microsoft.com/office/drawing/2014/main" id="{166D498A-A509-DB46-A58E-2E326F360D8A}"/>
                </a:ext>
              </a:extLst>
            </p:cNvPr>
            <p:cNvSpPr/>
            <p:nvPr/>
          </p:nvSpPr>
          <p:spPr>
            <a:xfrm>
              <a:off x="2703774" y="3760253"/>
              <a:ext cx="218509" cy="216337"/>
            </a:xfrm>
            <a:custGeom>
              <a:avLst/>
              <a:gdLst/>
              <a:ahLst/>
              <a:cxnLst/>
              <a:rect l="l" t="t" r="r" b="b"/>
              <a:pathLst>
                <a:path w="7043" h="6973" extrusionOk="0">
                  <a:moveTo>
                    <a:pt x="2763" y="0"/>
                  </a:moveTo>
                  <a:cubicBezTo>
                    <a:pt x="2526" y="0"/>
                    <a:pt x="2284" y="39"/>
                    <a:pt x="2077" y="131"/>
                  </a:cubicBezTo>
                  <a:cubicBezTo>
                    <a:pt x="2002" y="169"/>
                    <a:pt x="1906" y="177"/>
                    <a:pt x="1802" y="177"/>
                  </a:cubicBezTo>
                  <a:cubicBezTo>
                    <a:pt x="1720" y="177"/>
                    <a:pt x="1633" y="172"/>
                    <a:pt x="1545" y="172"/>
                  </a:cubicBezTo>
                  <a:cubicBezTo>
                    <a:pt x="1389" y="172"/>
                    <a:pt x="1234" y="189"/>
                    <a:pt x="1114" y="282"/>
                  </a:cubicBezTo>
                  <a:cubicBezTo>
                    <a:pt x="873" y="462"/>
                    <a:pt x="482" y="824"/>
                    <a:pt x="482" y="1034"/>
                  </a:cubicBezTo>
                  <a:cubicBezTo>
                    <a:pt x="482" y="1215"/>
                    <a:pt x="422" y="2208"/>
                    <a:pt x="271" y="2238"/>
                  </a:cubicBezTo>
                  <a:cubicBezTo>
                    <a:pt x="221" y="2248"/>
                    <a:pt x="188" y="2251"/>
                    <a:pt x="161" y="2251"/>
                  </a:cubicBezTo>
                  <a:cubicBezTo>
                    <a:pt x="108" y="2251"/>
                    <a:pt x="81" y="2238"/>
                    <a:pt x="1" y="2238"/>
                  </a:cubicBezTo>
                  <a:cubicBezTo>
                    <a:pt x="301" y="2659"/>
                    <a:pt x="663" y="3051"/>
                    <a:pt x="1084" y="3352"/>
                  </a:cubicBezTo>
                  <a:cubicBezTo>
                    <a:pt x="1535" y="3622"/>
                    <a:pt x="1505" y="3833"/>
                    <a:pt x="1987" y="3893"/>
                  </a:cubicBezTo>
                  <a:cubicBezTo>
                    <a:pt x="2318" y="3923"/>
                    <a:pt x="2649" y="4074"/>
                    <a:pt x="2860" y="4345"/>
                  </a:cubicBezTo>
                  <a:cubicBezTo>
                    <a:pt x="3010" y="4555"/>
                    <a:pt x="4244" y="4947"/>
                    <a:pt x="4334" y="5097"/>
                  </a:cubicBezTo>
                  <a:cubicBezTo>
                    <a:pt x="4394" y="5248"/>
                    <a:pt x="3732" y="5729"/>
                    <a:pt x="3732" y="6150"/>
                  </a:cubicBezTo>
                  <a:cubicBezTo>
                    <a:pt x="3732" y="6542"/>
                    <a:pt x="3461" y="6542"/>
                    <a:pt x="3461" y="6662"/>
                  </a:cubicBezTo>
                  <a:cubicBezTo>
                    <a:pt x="3461" y="6782"/>
                    <a:pt x="4003" y="6752"/>
                    <a:pt x="4184" y="6843"/>
                  </a:cubicBezTo>
                  <a:cubicBezTo>
                    <a:pt x="4235" y="6877"/>
                    <a:pt x="4299" y="6887"/>
                    <a:pt x="4370" y="6887"/>
                  </a:cubicBezTo>
                  <a:cubicBezTo>
                    <a:pt x="4465" y="6887"/>
                    <a:pt x="4573" y="6869"/>
                    <a:pt x="4683" y="6869"/>
                  </a:cubicBezTo>
                  <a:cubicBezTo>
                    <a:pt x="4779" y="6869"/>
                    <a:pt x="4876" y="6883"/>
                    <a:pt x="4966" y="6933"/>
                  </a:cubicBezTo>
                  <a:cubicBezTo>
                    <a:pt x="5017" y="6961"/>
                    <a:pt x="5065" y="6972"/>
                    <a:pt x="5112" y="6972"/>
                  </a:cubicBezTo>
                  <a:cubicBezTo>
                    <a:pt x="5305" y="6972"/>
                    <a:pt x="5468" y="6780"/>
                    <a:pt x="5631" y="6780"/>
                  </a:cubicBezTo>
                  <a:cubicBezTo>
                    <a:pt x="5640" y="6780"/>
                    <a:pt x="5649" y="6781"/>
                    <a:pt x="5658" y="6782"/>
                  </a:cubicBezTo>
                  <a:cubicBezTo>
                    <a:pt x="5666" y="6784"/>
                    <a:pt x="5673" y="6784"/>
                    <a:pt x="5680" y="6784"/>
                  </a:cubicBezTo>
                  <a:cubicBezTo>
                    <a:pt x="5846" y="6784"/>
                    <a:pt x="6014" y="6480"/>
                    <a:pt x="6232" y="6480"/>
                  </a:cubicBezTo>
                  <a:cubicBezTo>
                    <a:pt x="6241" y="6480"/>
                    <a:pt x="6251" y="6480"/>
                    <a:pt x="6260" y="6481"/>
                  </a:cubicBezTo>
                  <a:cubicBezTo>
                    <a:pt x="6264" y="6482"/>
                    <a:pt x="6267" y="6482"/>
                    <a:pt x="6271" y="6482"/>
                  </a:cubicBezTo>
                  <a:cubicBezTo>
                    <a:pt x="6479" y="6482"/>
                    <a:pt x="6711" y="5633"/>
                    <a:pt x="6651" y="5308"/>
                  </a:cubicBezTo>
                  <a:cubicBezTo>
                    <a:pt x="6621" y="4977"/>
                    <a:pt x="7043" y="4014"/>
                    <a:pt x="6742" y="3833"/>
                  </a:cubicBezTo>
                  <a:cubicBezTo>
                    <a:pt x="6687" y="3811"/>
                    <a:pt x="6633" y="3802"/>
                    <a:pt x="6581" y="3802"/>
                  </a:cubicBezTo>
                  <a:cubicBezTo>
                    <a:pt x="6347" y="3802"/>
                    <a:pt x="6148" y="3984"/>
                    <a:pt x="6050" y="3984"/>
                  </a:cubicBezTo>
                  <a:cubicBezTo>
                    <a:pt x="5869" y="3713"/>
                    <a:pt x="5749" y="3412"/>
                    <a:pt x="5688" y="3081"/>
                  </a:cubicBezTo>
                  <a:cubicBezTo>
                    <a:pt x="5609" y="2869"/>
                    <a:pt x="5412" y="2423"/>
                    <a:pt x="5223" y="2423"/>
                  </a:cubicBezTo>
                  <a:cubicBezTo>
                    <a:pt x="5197" y="2423"/>
                    <a:pt x="5172" y="2431"/>
                    <a:pt x="5147" y="2449"/>
                  </a:cubicBezTo>
                  <a:cubicBezTo>
                    <a:pt x="5099" y="2488"/>
                    <a:pt x="5066" y="2503"/>
                    <a:pt x="5034" y="2503"/>
                  </a:cubicBezTo>
                  <a:cubicBezTo>
                    <a:pt x="4942" y="2503"/>
                    <a:pt x="4854" y="2389"/>
                    <a:pt x="4455" y="2389"/>
                  </a:cubicBezTo>
                  <a:cubicBezTo>
                    <a:pt x="3883" y="2389"/>
                    <a:pt x="3913" y="2268"/>
                    <a:pt x="4063" y="1757"/>
                  </a:cubicBezTo>
                  <a:cubicBezTo>
                    <a:pt x="4214" y="1215"/>
                    <a:pt x="3702" y="884"/>
                    <a:pt x="3913" y="763"/>
                  </a:cubicBezTo>
                  <a:cubicBezTo>
                    <a:pt x="4123" y="643"/>
                    <a:pt x="4063" y="583"/>
                    <a:pt x="3883" y="342"/>
                  </a:cubicBezTo>
                  <a:lnTo>
                    <a:pt x="3732" y="342"/>
                  </a:lnTo>
                  <a:cubicBezTo>
                    <a:pt x="3552" y="342"/>
                    <a:pt x="3311" y="11"/>
                    <a:pt x="2980" y="11"/>
                  </a:cubicBezTo>
                  <a:cubicBezTo>
                    <a:pt x="2909" y="4"/>
                    <a:pt x="2836" y="0"/>
                    <a:pt x="2763"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75" name="Google Shape;2969;p123">
              <a:extLst>
                <a:ext uri="{FF2B5EF4-FFF2-40B4-BE49-F238E27FC236}">
                  <a16:creationId xmlns:a16="http://schemas.microsoft.com/office/drawing/2014/main" id="{6FCD89D4-EBDD-C748-BDA9-E23114F836C1}"/>
                </a:ext>
              </a:extLst>
            </p:cNvPr>
            <p:cNvSpPr/>
            <p:nvPr/>
          </p:nvSpPr>
          <p:spPr>
            <a:xfrm>
              <a:off x="2131424" y="3001816"/>
              <a:ext cx="83116" cy="65990"/>
            </a:xfrm>
            <a:custGeom>
              <a:avLst/>
              <a:gdLst/>
              <a:ahLst/>
              <a:cxnLst/>
              <a:rect l="l" t="t" r="r" b="b"/>
              <a:pathLst>
                <a:path w="2679" h="2127" extrusionOk="0">
                  <a:moveTo>
                    <a:pt x="548" y="1"/>
                  </a:moveTo>
                  <a:cubicBezTo>
                    <a:pt x="473" y="1"/>
                    <a:pt x="392" y="20"/>
                    <a:pt x="271" y="20"/>
                  </a:cubicBezTo>
                  <a:cubicBezTo>
                    <a:pt x="91" y="20"/>
                    <a:pt x="331" y="261"/>
                    <a:pt x="211" y="321"/>
                  </a:cubicBezTo>
                  <a:cubicBezTo>
                    <a:pt x="0" y="532"/>
                    <a:pt x="121" y="923"/>
                    <a:pt x="422" y="983"/>
                  </a:cubicBezTo>
                  <a:cubicBezTo>
                    <a:pt x="528" y="1032"/>
                    <a:pt x="597" y="1050"/>
                    <a:pt x="644" y="1050"/>
                  </a:cubicBezTo>
                  <a:cubicBezTo>
                    <a:pt x="770" y="1050"/>
                    <a:pt x="742" y="923"/>
                    <a:pt x="873" y="923"/>
                  </a:cubicBezTo>
                  <a:cubicBezTo>
                    <a:pt x="1084" y="923"/>
                    <a:pt x="1084" y="1224"/>
                    <a:pt x="1234" y="1224"/>
                  </a:cubicBezTo>
                  <a:cubicBezTo>
                    <a:pt x="1385" y="1224"/>
                    <a:pt x="1836" y="1435"/>
                    <a:pt x="1776" y="1705"/>
                  </a:cubicBezTo>
                  <a:cubicBezTo>
                    <a:pt x="1746" y="1976"/>
                    <a:pt x="1926" y="2127"/>
                    <a:pt x="2288" y="2127"/>
                  </a:cubicBezTo>
                  <a:lnTo>
                    <a:pt x="2468" y="2127"/>
                  </a:lnTo>
                  <a:cubicBezTo>
                    <a:pt x="2498" y="1916"/>
                    <a:pt x="2589" y="1766"/>
                    <a:pt x="2528" y="1705"/>
                  </a:cubicBezTo>
                  <a:cubicBezTo>
                    <a:pt x="2528" y="1525"/>
                    <a:pt x="2589" y="1314"/>
                    <a:pt x="2679" y="1164"/>
                  </a:cubicBezTo>
                  <a:cubicBezTo>
                    <a:pt x="2378" y="863"/>
                    <a:pt x="2137" y="562"/>
                    <a:pt x="1896" y="201"/>
                  </a:cubicBezTo>
                  <a:cubicBezTo>
                    <a:pt x="1834" y="213"/>
                    <a:pt x="1772" y="221"/>
                    <a:pt x="1712" y="221"/>
                  </a:cubicBezTo>
                  <a:cubicBezTo>
                    <a:pt x="1626" y="221"/>
                    <a:pt x="1546" y="206"/>
                    <a:pt x="1475" y="171"/>
                  </a:cubicBezTo>
                  <a:cubicBezTo>
                    <a:pt x="1325" y="50"/>
                    <a:pt x="873" y="110"/>
                    <a:pt x="723" y="50"/>
                  </a:cubicBezTo>
                  <a:cubicBezTo>
                    <a:pt x="658" y="12"/>
                    <a:pt x="605" y="1"/>
                    <a:pt x="548"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76" name="Google Shape;2970;p123">
              <a:extLst>
                <a:ext uri="{FF2B5EF4-FFF2-40B4-BE49-F238E27FC236}">
                  <a16:creationId xmlns:a16="http://schemas.microsoft.com/office/drawing/2014/main" id="{F897ADE5-9172-784C-AF17-73B685483B8B}"/>
                </a:ext>
              </a:extLst>
            </p:cNvPr>
            <p:cNvSpPr/>
            <p:nvPr/>
          </p:nvSpPr>
          <p:spPr>
            <a:xfrm>
              <a:off x="2207994" y="3036657"/>
              <a:ext cx="141939" cy="61274"/>
            </a:xfrm>
            <a:custGeom>
              <a:avLst/>
              <a:gdLst/>
              <a:ahLst/>
              <a:cxnLst/>
              <a:rect l="l" t="t" r="r" b="b"/>
              <a:pathLst>
                <a:path w="4575" h="1975" extrusionOk="0">
                  <a:moveTo>
                    <a:pt x="2790" y="0"/>
                  </a:moveTo>
                  <a:cubicBezTo>
                    <a:pt x="2519" y="0"/>
                    <a:pt x="2193" y="159"/>
                    <a:pt x="1866" y="462"/>
                  </a:cubicBezTo>
                  <a:cubicBezTo>
                    <a:pt x="1710" y="607"/>
                    <a:pt x="1534" y="660"/>
                    <a:pt x="1356" y="660"/>
                  </a:cubicBezTo>
                  <a:cubicBezTo>
                    <a:pt x="1090" y="660"/>
                    <a:pt x="819" y="540"/>
                    <a:pt x="602" y="432"/>
                  </a:cubicBezTo>
                  <a:lnTo>
                    <a:pt x="211" y="41"/>
                  </a:lnTo>
                  <a:cubicBezTo>
                    <a:pt x="121" y="191"/>
                    <a:pt x="60" y="402"/>
                    <a:pt x="60" y="582"/>
                  </a:cubicBezTo>
                  <a:cubicBezTo>
                    <a:pt x="121" y="643"/>
                    <a:pt x="30" y="793"/>
                    <a:pt x="0" y="1004"/>
                  </a:cubicBezTo>
                  <a:cubicBezTo>
                    <a:pt x="361" y="1034"/>
                    <a:pt x="722" y="1184"/>
                    <a:pt x="1023" y="1425"/>
                  </a:cubicBezTo>
                  <a:cubicBezTo>
                    <a:pt x="1264" y="1786"/>
                    <a:pt x="1415" y="1546"/>
                    <a:pt x="1565" y="1846"/>
                  </a:cubicBezTo>
                  <a:cubicBezTo>
                    <a:pt x="1611" y="1939"/>
                    <a:pt x="1680" y="1974"/>
                    <a:pt x="1755" y="1974"/>
                  </a:cubicBezTo>
                  <a:cubicBezTo>
                    <a:pt x="1924" y="1974"/>
                    <a:pt x="2125" y="1791"/>
                    <a:pt x="2167" y="1666"/>
                  </a:cubicBezTo>
                  <a:cubicBezTo>
                    <a:pt x="2257" y="1485"/>
                    <a:pt x="1986" y="1425"/>
                    <a:pt x="1956" y="1245"/>
                  </a:cubicBezTo>
                  <a:cubicBezTo>
                    <a:pt x="1926" y="1064"/>
                    <a:pt x="2317" y="1094"/>
                    <a:pt x="2408" y="823"/>
                  </a:cubicBezTo>
                  <a:cubicBezTo>
                    <a:pt x="2452" y="647"/>
                    <a:pt x="2754" y="535"/>
                    <a:pt x="3019" y="535"/>
                  </a:cubicBezTo>
                  <a:cubicBezTo>
                    <a:pt x="3116" y="535"/>
                    <a:pt x="3208" y="550"/>
                    <a:pt x="3281" y="582"/>
                  </a:cubicBezTo>
                  <a:cubicBezTo>
                    <a:pt x="3521" y="703"/>
                    <a:pt x="3732" y="823"/>
                    <a:pt x="3491" y="1094"/>
                  </a:cubicBezTo>
                  <a:cubicBezTo>
                    <a:pt x="3281" y="1365"/>
                    <a:pt x="3672" y="1666"/>
                    <a:pt x="3943" y="1937"/>
                  </a:cubicBezTo>
                  <a:lnTo>
                    <a:pt x="4514" y="1425"/>
                  </a:lnTo>
                  <a:cubicBezTo>
                    <a:pt x="4544" y="1365"/>
                    <a:pt x="4575" y="1275"/>
                    <a:pt x="4575" y="1184"/>
                  </a:cubicBezTo>
                  <a:cubicBezTo>
                    <a:pt x="4394" y="974"/>
                    <a:pt x="4244" y="793"/>
                    <a:pt x="4093" y="582"/>
                  </a:cubicBezTo>
                  <a:cubicBezTo>
                    <a:pt x="3822" y="131"/>
                    <a:pt x="3311" y="161"/>
                    <a:pt x="3010" y="41"/>
                  </a:cubicBezTo>
                  <a:cubicBezTo>
                    <a:pt x="2942" y="14"/>
                    <a:pt x="2868" y="0"/>
                    <a:pt x="2790"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77" name="Google Shape;2971;p123">
              <a:extLst>
                <a:ext uri="{FF2B5EF4-FFF2-40B4-BE49-F238E27FC236}">
                  <a16:creationId xmlns:a16="http://schemas.microsoft.com/office/drawing/2014/main" id="{A4F65F52-F256-2E40-A3B3-87412DFD3C6E}"/>
                </a:ext>
              </a:extLst>
            </p:cNvPr>
            <p:cNvSpPr/>
            <p:nvPr/>
          </p:nvSpPr>
          <p:spPr>
            <a:xfrm>
              <a:off x="2305102" y="2965858"/>
              <a:ext cx="295048" cy="412881"/>
            </a:xfrm>
            <a:custGeom>
              <a:avLst/>
              <a:gdLst/>
              <a:ahLst/>
              <a:cxnLst/>
              <a:rect l="l" t="t" r="r" b="b"/>
              <a:pathLst>
                <a:path w="9510" h="13308" extrusionOk="0">
                  <a:moveTo>
                    <a:pt x="5982" y="0"/>
                  </a:moveTo>
                  <a:cubicBezTo>
                    <a:pt x="5725" y="0"/>
                    <a:pt x="5545" y="431"/>
                    <a:pt x="5206" y="457"/>
                  </a:cubicBezTo>
                  <a:cubicBezTo>
                    <a:pt x="4845" y="487"/>
                    <a:pt x="4815" y="728"/>
                    <a:pt x="4544" y="878"/>
                  </a:cubicBezTo>
                  <a:cubicBezTo>
                    <a:pt x="4273" y="1029"/>
                    <a:pt x="3822" y="878"/>
                    <a:pt x="3822" y="1089"/>
                  </a:cubicBezTo>
                  <a:cubicBezTo>
                    <a:pt x="3822" y="1166"/>
                    <a:pt x="3807" y="1194"/>
                    <a:pt x="3779" y="1194"/>
                  </a:cubicBezTo>
                  <a:cubicBezTo>
                    <a:pt x="3719" y="1194"/>
                    <a:pt x="3604" y="1070"/>
                    <a:pt x="3461" y="1029"/>
                  </a:cubicBezTo>
                  <a:cubicBezTo>
                    <a:pt x="3443" y="1022"/>
                    <a:pt x="3423" y="1019"/>
                    <a:pt x="3402" y="1019"/>
                  </a:cubicBezTo>
                  <a:cubicBezTo>
                    <a:pt x="3146" y="1019"/>
                    <a:pt x="2711" y="1498"/>
                    <a:pt x="2739" y="1721"/>
                  </a:cubicBezTo>
                  <a:cubicBezTo>
                    <a:pt x="2769" y="1992"/>
                    <a:pt x="2799" y="2233"/>
                    <a:pt x="2438" y="2473"/>
                  </a:cubicBezTo>
                  <a:cubicBezTo>
                    <a:pt x="2107" y="2744"/>
                    <a:pt x="1836" y="3045"/>
                    <a:pt x="1655" y="3376"/>
                  </a:cubicBezTo>
                  <a:cubicBezTo>
                    <a:pt x="1617" y="3433"/>
                    <a:pt x="1579" y="3454"/>
                    <a:pt x="1533" y="3454"/>
                  </a:cubicBezTo>
                  <a:cubicBezTo>
                    <a:pt x="1507" y="3454"/>
                    <a:pt x="1478" y="3447"/>
                    <a:pt x="1445" y="3436"/>
                  </a:cubicBezTo>
                  <a:cubicBezTo>
                    <a:pt x="1445" y="3527"/>
                    <a:pt x="1414" y="3617"/>
                    <a:pt x="1384" y="3677"/>
                  </a:cubicBezTo>
                  <a:lnTo>
                    <a:pt x="813" y="4189"/>
                  </a:lnTo>
                  <a:lnTo>
                    <a:pt x="1083" y="4429"/>
                  </a:lnTo>
                  <a:cubicBezTo>
                    <a:pt x="1354" y="4700"/>
                    <a:pt x="1144" y="4941"/>
                    <a:pt x="1234" y="5031"/>
                  </a:cubicBezTo>
                  <a:cubicBezTo>
                    <a:pt x="1294" y="5152"/>
                    <a:pt x="1384" y="5423"/>
                    <a:pt x="1234" y="5483"/>
                  </a:cubicBezTo>
                  <a:cubicBezTo>
                    <a:pt x="1083" y="5573"/>
                    <a:pt x="1234" y="6536"/>
                    <a:pt x="1384" y="6747"/>
                  </a:cubicBezTo>
                  <a:cubicBezTo>
                    <a:pt x="1535" y="6927"/>
                    <a:pt x="1384" y="7078"/>
                    <a:pt x="1204" y="7409"/>
                  </a:cubicBezTo>
                  <a:cubicBezTo>
                    <a:pt x="1114" y="7710"/>
                    <a:pt x="843" y="7920"/>
                    <a:pt x="542" y="7950"/>
                  </a:cubicBezTo>
                  <a:cubicBezTo>
                    <a:pt x="241" y="7950"/>
                    <a:pt x="241" y="8432"/>
                    <a:pt x="151" y="8432"/>
                  </a:cubicBezTo>
                  <a:cubicBezTo>
                    <a:pt x="30" y="8432"/>
                    <a:pt x="30" y="8613"/>
                    <a:pt x="0" y="8763"/>
                  </a:cubicBezTo>
                  <a:cubicBezTo>
                    <a:pt x="271" y="9004"/>
                    <a:pt x="602" y="9214"/>
                    <a:pt x="963" y="9335"/>
                  </a:cubicBezTo>
                  <a:cubicBezTo>
                    <a:pt x="1144" y="9365"/>
                    <a:pt x="1264" y="9606"/>
                    <a:pt x="1445" y="9696"/>
                  </a:cubicBezTo>
                  <a:cubicBezTo>
                    <a:pt x="1535" y="9771"/>
                    <a:pt x="1640" y="9809"/>
                    <a:pt x="1746" y="9809"/>
                  </a:cubicBezTo>
                  <a:cubicBezTo>
                    <a:pt x="1851" y="9809"/>
                    <a:pt x="1956" y="9771"/>
                    <a:pt x="2046" y="9696"/>
                  </a:cubicBezTo>
                  <a:cubicBezTo>
                    <a:pt x="2058" y="9688"/>
                    <a:pt x="2072" y="9685"/>
                    <a:pt x="2087" y="9685"/>
                  </a:cubicBezTo>
                  <a:cubicBezTo>
                    <a:pt x="2192" y="9685"/>
                    <a:pt x="2382" y="9859"/>
                    <a:pt x="2618" y="10147"/>
                  </a:cubicBezTo>
                  <a:lnTo>
                    <a:pt x="2648" y="10147"/>
                  </a:lnTo>
                  <a:cubicBezTo>
                    <a:pt x="2769" y="10117"/>
                    <a:pt x="2889" y="10102"/>
                    <a:pt x="3010" y="10102"/>
                  </a:cubicBezTo>
                  <a:cubicBezTo>
                    <a:pt x="3130" y="10102"/>
                    <a:pt x="3250" y="10117"/>
                    <a:pt x="3371" y="10147"/>
                  </a:cubicBezTo>
                  <a:cubicBezTo>
                    <a:pt x="3551" y="10268"/>
                    <a:pt x="3521" y="10809"/>
                    <a:pt x="3822" y="10809"/>
                  </a:cubicBezTo>
                  <a:cubicBezTo>
                    <a:pt x="4123" y="10809"/>
                    <a:pt x="4364" y="11141"/>
                    <a:pt x="4304" y="11291"/>
                  </a:cubicBezTo>
                  <a:cubicBezTo>
                    <a:pt x="4273" y="11441"/>
                    <a:pt x="4665" y="11562"/>
                    <a:pt x="4605" y="11803"/>
                  </a:cubicBezTo>
                  <a:cubicBezTo>
                    <a:pt x="4588" y="11950"/>
                    <a:pt x="4829" y="11999"/>
                    <a:pt x="5068" y="11999"/>
                  </a:cubicBezTo>
                  <a:cubicBezTo>
                    <a:pt x="5268" y="11999"/>
                    <a:pt x="5466" y="11964"/>
                    <a:pt x="5507" y="11923"/>
                  </a:cubicBezTo>
                  <a:cubicBezTo>
                    <a:pt x="5599" y="11850"/>
                    <a:pt x="5701" y="11810"/>
                    <a:pt x="5807" y="11810"/>
                  </a:cubicBezTo>
                  <a:cubicBezTo>
                    <a:pt x="5877" y="11810"/>
                    <a:pt x="5948" y="11827"/>
                    <a:pt x="6019" y="11863"/>
                  </a:cubicBezTo>
                  <a:cubicBezTo>
                    <a:pt x="6045" y="11873"/>
                    <a:pt x="6072" y="11877"/>
                    <a:pt x="6100" y="11877"/>
                  </a:cubicBezTo>
                  <a:cubicBezTo>
                    <a:pt x="6224" y="11877"/>
                    <a:pt x="6369" y="11799"/>
                    <a:pt x="6487" y="11799"/>
                  </a:cubicBezTo>
                  <a:cubicBezTo>
                    <a:pt x="6502" y="11799"/>
                    <a:pt x="6517" y="11800"/>
                    <a:pt x="6531" y="11803"/>
                  </a:cubicBezTo>
                  <a:cubicBezTo>
                    <a:pt x="6681" y="11863"/>
                    <a:pt x="7223" y="12104"/>
                    <a:pt x="7102" y="12314"/>
                  </a:cubicBezTo>
                  <a:cubicBezTo>
                    <a:pt x="6982" y="12495"/>
                    <a:pt x="6621" y="12796"/>
                    <a:pt x="6681" y="12946"/>
                  </a:cubicBezTo>
                  <a:cubicBezTo>
                    <a:pt x="6771" y="13097"/>
                    <a:pt x="7072" y="13157"/>
                    <a:pt x="7163" y="13307"/>
                  </a:cubicBezTo>
                  <a:lnTo>
                    <a:pt x="7223" y="13307"/>
                  </a:lnTo>
                  <a:cubicBezTo>
                    <a:pt x="7403" y="13277"/>
                    <a:pt x="7524" y="12495"/>
                    <a:pt x="7524" y="12254"/>
                  </a:cubicBezTo>
                  <a:cubicBezTo>
                    <a:pt x="7524" y="11893"/>
                    <a:pt x="7584" y="11532"/>
                    <a:pt x="7674" y="11171"/>
                  </a:cubicBezTo>
                  <a:cubicBezTo>
                    <a:pt x="7825" y="10719"/>
                    <a:pt x="7163" y="10388"/>
                    <a:pt x="7163" y="9907"/>
                  </a:cubicBezTo>
                  <a:cubicBezTo>
                    <a:pt x="7163" y="9395"/>
                    <a:pt x="7403" y="9666"/>
                    <a:pt x="7704" y="9455"/>
                  </a:cubicBezTo>
                  <a:cubicBezTo>
                    <a:pt x="8005" y="9214"/>
                    <a:pt x="7704" y="9184"/>
                    <a:pt x="7554" y="9154"/>
                  </a:cubicBezTo>
                  <a:cubicBezTo>
                    <a:pt x="7373" y="9064"/>
                    <a:pt x="7283" y="8883"/>
                    <a:pt x="7313" y="8703"/>
                  </a:cubicBezTo>
                  <a:cubicBezTo>
                    <a:pt x="7363" y="8619"/>
                    <a:pt x="7655" y="8601"/>
                    <a:pt x="7946" y="8601"/>
                  </a:cubicBezTo>
                  <a:cubicBezTo>
                    <a:pt x="8178" y="8601"/>
                    <a:pt x="8410" y="8613"/>
                    <a:pt x="8517" y="8613"/>
                  </a:cubicBezTo>
                  <a:cubicBezTo>
                    <a:pt x="8848" y="8552"/>
                    <a:pt x="9149" y="8462"/>
                    <a:pt x="9420" y="8312"/>
                  </a:cubicBezTo>
                  <a:cubicBezTo>
                    <a:pt x="9480" y="8161"/>
                    <a:pt x="9420" y="7981"/>
                    <a:pt x="9269" y="7890"/>
                  </a:cubicBezTo>
                  <a:cubicBezTo>
                    <a:pt x="9059" y="7740"/>
                    <a:pt x="9119" y="7529"/>
                    <a:pt x="9329" y="7349"/>
                  </a:cubicBezTo>
                  <a:cubicBezTo>
                    <a:pt x="9510" y="7138"/>
                    <a:pt x="9209" y="6957"/>
                    <a:pt x="9028" y="6687"/>
                  </a:cubicBezTo>
                  <a:cubicBezTo>
                    <a:pt x="8818" y="6446"/>
                    <a:pt x="8938" y="5633"/>
                    <a:pt x="9209" y="5272"/>
                  </a:cubicBezTo>
                  <a:cubicBezTo>
                    <a:pt x="9379" y="5026"/>
                    <a:pt x="9145" y="4971"/>
                    <a:pt x="8836" y="4971"/>
                  </a:cubicBezTo>
                  <a:cubicBezTo>
                    <a:pt x="8653" y="4971"/>
                    <a:pt x="8444" y="4990"/>
                    <a:pt x="8276" y="5001"/>
                  </a:cubicBezTo>
                  <a:cubicBezTo>
                    <a:pt x="8218" y="5009"/>
                    <a:pt x="8161" y="5013"/>
                    <a:pt x="8104" y="5013"/>
                  </a:cubicBezTo>
                  <a:cubicBezTo>
                    <a:pt x="7719" y="5013"/>
                    <a:pt x="7369" y="4838"/>
                    <a:pt x="7133" y="4550"/>
                  </a:cubicBezTo>
                  <a:cubicBezTo>
                    <a:pt x="7007" y="4383"/>
                    <a:pt x="6863" y="4338"/>
                    <a:pt x="6673" y="4338"/>
                  </a:cubicBezTo>
                  <a:cubicBezTo>
                    <a:pt x="6451" y="4338"/>
                    <a:pt x="6167" y="4399"/>
                    <a:pt x="5778" y="4399"/>
                  </a:cubicBezTo>
                  <a:cubicBezTo>
                    <a:pt x="5056" y="4399"/>
                    <a:pt x="5267" y="3647"/>
                    <a:pt x="5297" y="3376"/>
                  </a:cubicBezTo>
                  <a:cubicBezTo>
                    <a:pt x="5327" y="3135"/>
                    <a:pt x="4966" y="3045"/>
                    <a:pt x="4966" y="2864"/>
                  </a:cubicBezTo>
                  <a:cubicBezTo>
                    <a:pt x="4966" y="2684"/>
                    <a:pt x="4725" y="2684"/>
                    <a:pt x="4574" y="2684"/>
                  </a:cubicBezTo>
                  <a:cubicBezTo>
                    <a:pt x="4424" y="2684"/>
                    <a:pt x="4574" y="2443"/>
                    <a:pt x="4695" y="2293"/>
                  </a:cubicBezTo>
                  <a:cubicBezTo>
                    <a:pt x="4815" y="2142"/>
                    <a:pt x="4815" y="2022"/>
                    <a:pt x="4815" y="1721"/>
                  </a:cubicBezTo>
                  <a:cubicBezTo>
                    <a:pt x="4815" y="1420"/>
                    <a:pt x="5267" y="1119"/>
                    <a:pt x="5477" y="818"/>
                  </a:cubicBezTo>
                  <a:lnTo>
                    <a:pt x="5748" y="668"/>
                  </a:lnTo>
                  <a:cubicBezTo>
                    <a:pt x="5778" y="607"/>
                    <a:pt x="5808" y="517"/>
                    <a:pt x="5929" y="517"/>
                  </a:cubicBezTo>
                  <a:cubicBezTo>
                    <a:pt x="6049" y="517"/>
                    <a:pt x="6470" y="216"/>
                    <a:pt x="6109" y="36"/>
                  </a:cubicBezTo>
                  <a:cubicBezTo>
                    <a:pt x="6064" y="11"/>
                    <a:pt x="6022" y="0"/>
                    <a:pt x="5982"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78" name="Google Shape;2972;p123">
              <a:extLst>
                <a:ext uri="{FF2B5EF4-FFF2-40B4-BE49-F238E27FC236}">
                  <a16:creationId xmlns:a16="http://schemas.microsoft.com/office/drawing/2014/main" id="{D88B49DD-14F1-134F-8D32-85D0192CE411}"/>
                </a:ext>
              </a:extLst>
            </p:cNvPr>
            <p:cNvSpPr/>
            <p:nvPr/>
          </p:nvSpPr>
          <p:spPr>
            <a:xfrm>
              <a:off x="2536642" y="3520461"/>
              <a:ext cx="301625" cy="335535"/>
            </a:xfrm>
            <a:custGeom>
              <a:avLst/>
              <a:gdLst/>
              <a:ahLst/>
              <a:cxnLst/>
              <a:rect l="l" t="t" r="r" b="b"/>
              <a:pathLst>
                <a:path w="9722" h="10815" extrusionOk="0">
                  <a:moveTo>
                    <a:pt x="3331" y="1"/>
                  </a:moveTo>
                  <a:cubicBezTo>
                    <a:pt x="3171" y="1"/>
                    <a:pt x="2908" y="66"/>
                    <a:pt x="2709" y="66"/>
                  </a:cubicBezTo>
                  <a:cubicBezTo>
                    <a:pt x="2378" y="66"/>
                    <a:pt x="2107" y="337"/>
                    <a:pt x="1806" y="517"/>
                  </a:cubicBezTo>
                  <a:cubicBezTo>
                    <a:pt x="1505" y="698"/>
                    <a:pt x="1295" y="668"/>
                    <a:pt x="1084" y="848"/>
                  </a:cubicBezTo>
                  <a:cubicBezTo>
                    <a:pt x="980" y="973"/>
                    <a:pt x="819" y="1040"/>
                    <a:pt x="650" y="1040"/>
                  </a:cubicBezTo>
                  <a:cubicBezTo>
                    <a:pt x="574" y="1040"/>
                    <a:pt x="496" y="1027"/>
                    <a:pt x="422" y="999"/>
                  </a:cubicBezTo>
                  <a:lnTo>
                    <a:pt x="151" y="999"/>
                  </a:lnTo>
                  <a:cubicBezTo>
                    <a:pt x="301" y="1330"/>
                    <a:pt x="633" y="1902"/>
                    <a:pt x="723" y="2082"/>
                  </a:cubicBezTo>
                  <a:cubicBezTo>
                    <a:pt x="783" y="2293"/>
                    <a:pt x="602" y="2443"/>
                    <a:pt x="482" y="2504"/>
                  </a:cubicBezTo>
                  <a:cubicBezTo>
                    <a:pt x="392" y="2594"/>
                    <a:pt x="572" y="3437"/>
                    <a:pt x="572" y="3647"/>
                  </a:cubicBezTo>
                  <a:cubicBezTo>
                    <a:pt x="572" y="3828"/>
                    <a:pt x="241" y="4189"/>
                    <a:pt x="392" y="4309"/>
                  </a:cubicBezTo>
                  <a:cubicBezTo>
                    <a:pt x="542" y="4430"/>
                    <a:pt x="181" y="4761"/>
                    <a:pt x="181" y="5001"/>
                  </a:cubicBezTo>
                  <a:cubicBezTo>
                    <a:pt x="181" y="5212"/>
                    <a:pt x="482" y="5182"/>
                    <a:pt x="482" y="5363"/>
                  </a:cubicBezTo>
                  <a:cubicBezTo>
                    <a:pt x="422" y="5633"/>
                    <a:pt x="271" y="5844"/>
                    <a:pt x="91" y="5995"/>
                  </a:cubicBezTo>
                  <a:cubicBezTo>
                    <a:pt x="1" y="6055"/>
                    <a:pt x="1" y="6145"/>
                    <a:pt x="1" y="6296"/>
                  </a:cubicBezTo>
                  <a:cubicBezTo>
                    <a:pt x="1" y="6446"/>
                    <a:pt x="121" y="6506"/>
                    <a:pt x="332" y="6687"/>
                  </a:cubicBezTo>
                  <a:cubicBezTo>
                    <a:pt x="572" y="6867"/>
                    <a:pt x="301" y="7259"/>
                    <a:pt x="542" y="7559"/>
                  </a:cubicBezTo>
                  <a:cubicBezTo>
                    <a:pt x="753" y="7860"/>
                    <a:pt x="1024" y="7860"/>
                    <a:pt x="873" y="7951"/>
                  </a:cubicBezTo>
                  <a:cubicBezTo>
                    <a:pt x="723" y="8071"/>
                    <a:pt x="873" y="8402"/>
                    <a:pt x="693" y="8523"/>
                  </a:cubicBezTo>
                  <a:cubicBezTo>
                    <a:pt x="482" y="8643"/>
                    <a:pt x="753" y="9094"/>
                    <a:pt x="994" y="9215"/>
                  </a:cubicBezTo>
                  <a:cubicBezTo>
                    <a:pt x="1204" y="9305"/>
                    <a:pt x="1054" y="9696"/>
                    <a:pt x="1234" y="9907"/>
                  </a:cubicBezTo>
                  <a:cubicBezTo>
                    <a:pt x="1445" y="10148"/>
                    <a:pt x="1355" y="10629"/>
                    <a:pt x="1445" y="10780"/>
                  </a:cubicBezTo>
                  <a:cubicBezTo>
                    <a:pt x="1455" y="10803"/>
                    <a:pt x="1479" y="10814"/>
                    <a:pt x="1515" y="10814"/>
                  </a:cubicBezTo>
                  <a:cubicBezTo>
                    <a:pt x="1707" y="10814"/>
                    <a:pt x="2224" y="10502"/>
                    <a:pt x="2529" y="10148"/>
                  </a:cubicBezTo>
                  <a:cubicBezTo>
                    <a:pt x="2674" y="9991"/>
                    <a:pt x="2757" y="9939"/>
                    <a:pt x="2822" y="9939"/>
                  </a:cubicBezTo>
                  <a:cubicBezTo>
                    <a:pt x="2933" y="9939"/>
                    <a:pt x="2993" y="10091"/>
                    <a:pt x="3221" y="10148"/>
                  </a:cubicBezTo>
                  <a:cubicBezTo>
                    <a:pt x="3552" y="10208"/>
                    <a:pt x="3973" y="10178"/>
                    <a:pt x="4154" y="10509"/>
                  </a:cubicBezTo>
                  <a:cubicBezTo>
                    <a:pt x="4190" y="10582"/>
                    <a:pt x="4226" y="10612"/>
                    <a:pt x="4260" y="10612"/>
                  </a:cubicBezTo>
                  <a:cubicBezTo>
                    <a:pt x="4394" y="10612"/>
                    <a:pt x="4509" y="10147"/>
                    <a:pt x="4605" y="10027"/>
                  </a:cubicBezTo>
                  <a:cubicBezTo>
                    <a:pt x="4632" y="9982"/>
                    <a:pt x="4725" y="9967"/>
                    <a:pt x="4846" y="9967"/>
                  </a:cubicBezTo>
                  <a:cubicBezTo>
                    <a:pt x="5094" y="9967"/>
                    <a:pt x="5458" y="10031"/>
                    <a:pt x="5611" y="10031"/>
                  </a:cubicBezTo>
                  <a:cubicBezTo>
                    <a:pt x="5630" y="10031"/>
                    <a:pt x="5646" y="10030"/>
                    <a:pt x="5658" y="10027"/>
                  </a:cubicBezTo>
                  <a:cubicBezTo>
                    <a:pt x="5809" y="9997"/>
                    <a:pt x="5929" y="8974"/>
                    <a:pt x="5869" y="8823"/>
                  </a:cubicBezTo>
                  <a:cubicBezTo>
                    <a:pt x="5839" y="8673"/>
                    <a:pt x="6230" y="8252"/>
                    <a:pt x="6501" y="8071"/>
                  </a:cubicBezTo>
                  <a:cubicBezTo>
                    <a:pt x="6651" y="7981"/>
                    <a:pt x="6832" y="7973"/>
                    <a:pt x="7005" y="7973"/>
                  </a:cubicBezTo>
                  <a:cubicBezTo>
                    <a:pt x="7040" y="7973"/>
                    <a:pt x="7074" y="7974"/>
                    <a:pt x="7108" y="7974"/>
                  </a:cubicBezTo>
                  <a:cubicBezTo>
                    <a:pt x="7243" y="7974"/>
                    <a:pt x="7368" y="7969"/>
                    <a:pt x="7464" y="7921"/>
                  </a:cubicBezTo>
                  <a:cubicBezTo>
                    <a:pt x="7671" y="7829"/>
                    <a:pt x="7913" y="7789"/>
                    <a:pt x="8150" y="7789"/>
                  </a:cubicBezTo>
                  <a:cubicBezTo>
                    <a:pt x="8223" y="7789"/>
                    <a:pt x="8296" y="7793"/>
                    <a:pt x="8367" y="7800"/>
                  </a:cubicBezTo>
                  <a:cubicBezTo>
                    <a:pt x="8698" y="7800"/>
                    <a:pt x="8939" y="8161"/>
                    <a:pt x="9119" y="8161"/>
                  </a:cubicBezTo>
                  <a:cubicBezTo>
                    <a:pt x="9390" y="8101"/>
                    <a:pt x="9571" y="7830"/>
                    <a:pt x="9480" y="7559"/>
                  </a:cubicBezTo>
                  <a:cubicBezTo>
                    <a:pt x="9450" y="7259"/>
                    <a:pt x="9721" y="6837"/>
                    <a:pt x="9601" y="6506"/>
                  </a:cubicBezTo>
                  <a:cubicBezTo>
                    <a:pt x="9480" y="6175"/>
                    <a:pt x="9119" y="6085"/>
                    <a:pt x="9119" y="5694"/>
                  </a:cubicBezTo>
                  <a:cubicBezTo>
                    <a:pt x="9119" y="5397"/>
                    <a:pt x="9038" y="5324"/>
                    <a:pt x="8725" y="5324"/>
                  </a:cubicBezTo>
                  <a:cubicBezTo>
                    <a:pt x="8657" y="5324"/>
                    <a:pt x="8579" y="5327"/>
                    <a:pt x="8487" y="5332"/>
                  </a:cubicBezTo>
                  <a:cubicBezTo>
                    <a:pt x="8442" y="5335"/>
                    <a:pt x="8398" y="5336"/>
                    <a:pt x="8355" y="5336"/>
                  </a:cubicBezTo>
                  <a:cubicBezTo>
                    <a:pt x="7892" y="5336"/>
                    <a:pt x="7615" y="5187"/>
                    <a:pt x="7615" y="4911"/>
                  </a:cubicBezTo>
                  <a:cubicBezTo>
                    <a:pt x="7615" y="4610"/>
                    <a:pt x="7253" y="4400"/>
                    <a:pt x="7494" y="4279"/>
                  </a:cubicBezTo>
                  <a:cubicBezTo>
                    <a:pt x="7705" y="4159"/>
                    <a:pt x="7344" y="3948"/>
                    <a:pt x="7374" y="3677"/>
                  </a:cubicBezTo>
                  <a:cubicBezTo>
                    <a:pt x="7404" y="3406"/>
                    <a:pt x="7253" y="3256"/>
                    <a:pt x="7073" y="3105"/>
                  </a:cubicBezTo>
                  <a:cubicBezTo>
                    <a:pt x="7021" y="3062"/>
                    <a:pt x="6926" y="3051"/>
                    <a:pt x="6818" y="3051"/>
                  </a:cubicBezTo>
                  <a:cubicBezTo>
                    <a:pt x="6709" y="3051"/>
                    <a:pt x="6586" y="3062"/>
                    <a:pt x="6479" y="3062"/>
                  </a:cubicBezTo>
                  <a:cubicBezTo>
                    <a:pt x="6323" y="3062"/>
                    <a:pt x="6200" y="3039"/>
                    <a:pt x="6200" y="2925"/>
                  </a:cubicBezTo>
                  <a:cubicBezTo>
                    <a:pt x="6200" y="2654"/>
                    <a:pt x="5809" y="2624"/>
                    <a:pt x="5568" y="2624"/>
                  </a:cubicBezTo>
                  <a:cubicBezTo>
                    <a:pt x="5367" y="2624"/>
                    <a:pt x="5494" y="2351"/>
                    <a:pt x="5273" y="2351"/>
                  </a:cubicBezTo>
                  <a:cubicBezTo>
                    <a:pt x="5262" y="2351"/>
                    <a:pt x="5250" y="2352"/>
                    <a:pt x="5237" y="2353"/>
                  </a:cubicBezTo>
                  <a:cubicBezTo>
                    <a:pt x="5219" y="2355"/>
                    <a:pt x="5202" y="2356"/>
                    <a:pt x="5186" y="2356"/>
                  </a:cubicBezTo>
                  <a:cubicBezTo>
                    <a:pt x="4998" y="2356"/>
                    <a:pt x="4977" y="2222"/>
                    <a:pt x="4775" y="2222"/>
                  </a:cubicBezTo>
                  <a:cubicBezTo>
                    <a:pt x="4743" y="2222"/>
                    <a:pt x="4707" y="2225"/>
                    <a:pt x="4665" y="2233"/>
                  </a:cubicBezTo>
                  <a:cubicBezTo>
                    <a:pt x="4618" y="2246"/>
                    <a:pt x="4573" y="2252"/>
                    <a:pt x="4529" y="2252"/>
                  </a:cubicBezTo>
                  <a:cubicBezTo>
                    <a:pt x="4263" y="2252"/>
                    <a:pt x="4042" y="2027"/>
                    <a:pt x="3732" y="1691"/>
                  </a:cubicBezTo>
                  <a:cubicBezTo>
                    <a:pt x="3431" y="1240"/>
                    <a:pt x="3341" y="668"/>
                    <a:pt x="3461" y="126"/>
                  </a:cubicBezTo>
                  <a:cubicBezTo>
                    <a:pt x="3498" y="30"/>
                    <a:pt x="3437" y="1"/>
                    <a:pt x="3331"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79" name="Google Shape;2973;p123">
              <a:extLst>
                <a:ext uri="{FF2B5EF4-FFF2-40B4-BE49-F238E27FC236}">
                  <a16:creationId xmlns:a16="http://schemas.microsoft.com/office/drawing/2014/main" id="{994ABAAD-CBC0-6943-9841-9780C1330DAC}"/>
                </a:ext>
              </a:extLst>
            </p:cNvPr>
            <p:cNvSpPr/>
            <p:nvPr/>
          </p:nvSpPr>
          <p:spPr>
            <a:xfrm>
              <a:off x="2245317" y="3282065"/>
              <a:ext cx="316579" cy="458953"/>
            </a:xfrm>
            <a:custGeom>
              <a:avLst/>
              <a:gdLst/>
              <a:ahLst/>
              <a:cxnLst/>
              <a:rect l="l" t="t" r="r" b="b"/>
              <a:pathLst>
                <a:path w="10204" h="14793" extrusionOk="0">
                  <a:moveTo>
                    <a:pt x="4937" y="1"/>
                  </a:moveTo>
                  <a:cubicBezTo>
                    <a:pt x="4816" y="1"/>
                    <a:pt x="4696" y="16"/>
                    <a:pt x="4575" y="46"/>
                  </a:cubicBezTo>
                  <a:cubicBezTo>
                    <a:pt x="4846" y="347"/>
                    <a:pt x="4967" y="437"/>
                    <a:pt x="4756" y="587"/>
                  </a:cubicBezTo>
                  <a:cubicBezTo>
                    <a:pt x="4575" y="738"/>
                    <a:pt x="4756" y="828"/>
                    <a:pt x="4365" y="1430"/>
                  </a:cubicBezTo>
                  <a:cubicBezTo>
                    <a:pt x="3943" y="2032"/>
                    <a:pt x="3161" y="2152"/>
                    <a:pt x="2770" y="2243"/>
                  </a:cubicBezTo>
                  <a:cubicBezTo>
                    <a:pt x="2409" y="2363"/>
                    <a:pt x="2288" y="3055"/>
                    <a:pt x="2047" y="3537"/>
                  </a:cubicBezTo>
                  <a:cubicBezTo>
                    <a:pt x="1952" y="3754"/>
                    <a:pt x="1876" y="3837"/>
                    <a:pt x="1801" y="3837"/>
                  </a:cubicBezTo>
                  <a:cubicBezTo>
                    <a:pt x="1710" y="3837"/>
                    <a:pt x="1621" y="3715"/>
                    <a:pt x="1506" y="3567"/>
                  </a:cubicBezTo>
                  <a:cubicBezTo>
                    <a:pt x="1419" y="3470"/>
                    <a:pt x="1345" y="3446"/>
                    <a:pt x="1274" y="3446"/>
                  </a:cubicBezTo>
                  <a:cubicBezTo>
                    <a:pt x="1208" y="3446"/>
                    <a:pt x="1147" y="3467"/>
                    <a:pt x="1083" y="3467"/>
                  </a:cubicBezTo>
                  <a:cubicBezTo>
                    <a:pt x="1026" y="3467"/>
                    <a:pt x="968" y="3450"/>
                    <a:pt x="904" y="3386"/>
                  </a:cubicBezTo>
                  <a:cubicBezTo>
                    <a:pt x="663" y="3145"/>
                    <a:pt x="783" y="3145"/>
                    <a:pt x="904" y="2965"/>
                  </a:cubicBezTo>
                  <a:cubicBezTo>
                    <a:pt x="994" y="2784"/>
                    <a:pt x="904" y="2754"/>
                    <a:pt x="753" y="2604"/>
                  </a:cubicBezTo>
                  <a:cubicBezTo>
                    <a:pt x="736" y="2586"/>
                    <a:pt x="714" y="2578"/>
                    <a:pt x="691" y="2578"/>
                  </a:cubicBezTo>
                  <a:cubicBezTo>
                    <a:pt x="514" y="2578"/>
                    <a:pt x="197" y="3027"/>
                    <a:pt x="91" y="3266"/>
                  </a:cubicBezTo>
                  <a:cubicBezTo>
                    <a:pt x="1" y="3537"/>
                    <a:pt x="332" y="4139"/>
                    <a:pt x="392" y="4349"/>
                  </a:cubicBezTo>
                  <a:cubicBezTo>
                    <a:pt x="437" y="4470"/>
                    <a:pt x="385" y="4470"/>
                    <a:pt x="317" y="4470"/>
                  </a:cubicBezTo>
                  <a:cubicBezTo>
                    <a:pt x="249" y="4470"/>
                    <a:pt x="166" y="4470"/>
                    <a:pt x="151" y="4590"/>
                  </a:cubicBezTo>
                  <a:cubicBezTo>
                    <a:pt x="91" y="4801"/>
                    <a:pt x="693" y="5041"/>
                    <a:pt x="994" y="5252"/>
                  </a:cubicBezTo>
                  <a:cubicBezTo>
                    <a:pt x="1295" y="5493"/>
                    <a:pt x="1536" y="6065"/>
                    <a:pt x="1807" y="6366"/>
                  </a:cubicBezTo>
                  <a:cubicBezTo>
                    <a:pt x="2047" y="6667"/>
                    <a:pt x="2047" y="6877"/>
                    <a:pt x="2348" y="7569"/>
                  </a:cubicBezTo>
                  <a:cubicBezTo>
                    <a:pt x="2679" y="8382"/>
                    <a:pt x="3101" y="9164"/>
                    <a:pt x="3612" y="9887"/>
                  </a:cubicBezTo>
                  <a:cubicBezTo>
                    <a:pt x="3973" y="10368"/>
                    <a:pt x="4124" y="10759"/>
                    <a:pt x="4064" y="10910"/>
                  </a:cubicBezTo>
                  <a:cubicBezTo>
                    <a:pt x="4004" y="11181"/>
                    <a:pt x="4124" y="11452"/>
                    <a:pt x="4365" y="11632"/>
                  </a:cubicBezTo>
                  <a:cubicBezTo>
                    <a:pt x="4756" y="11963"/>
                    <a:pt x="5147" y="12264"/>
                    <a:pt x="5599" y="12535"/>
                  </a:cubicBezTo>
                  <a:cubicBezTo>
                    <a:pt x="6351" y="12866"/>
                    <a:pt x="7705" y="13588"/>
                    <a:pt x="7886" y="13919"/>
                  </a:cubicBezTo>
                  <a:cubicBezTo>
                    <a:pt x="8066" y="14250"/>
                    <a:pt x="8728" y="14551"/>
                    <a:pt x="8819" y="14642"/>
                  </a:cubicBezTo>
                  <a:cubicBezTo>
                    <a:pt x="8939" y="14702"/>
                    <a:pt x="8879" y="14702"/>
                    <a:pt x="8879" y="14792"/>
                  </a:cubicBezTo>
                  <a:lnTo>
                    <a:pt x="9060" y="14672"/>
                  </a:lnTo>
                  <a:cubicBezTo>
                    <a:pt x="9300" y="14521"/>
                    <a:pt x="9330" y="14100"/>
                    <a:pt x="9391" y="13980"/>
                  </a:cubicBezTo>
                  <a:cubicBezTo>
                    <a:pt x="9391" y="13859"/>
                    <a:pt x="9391" y="13739"/>
                    <a:pt x="9481" y="13679"/>
                  </a:cubicBezTo>
                  <a:cubicBezTo>
                    <a:pt x="9661" y="13528"/>
                    <a:pt x="9812" y="13317"/>
                    <a:pt x="9872" y="13047"/>
                  </a:cubicBezTo>
                  <a:cubicBezTo>
                    <a:pt x="9872" y="12866"/>
                    <a:pt x="9571" y="12866"/>
                    <a:pt x="9571" y="12685"/>
                  </a:cubicBezTo>
                  <a:cubicBezTo>
                    <a:pt x="9571" y="12475"/>
                    <a:pt x="9932" y="12114"/>
                    <a:pt x="9782" y="11993"/>
                  </a:cubicBezTo>
                  <a:cubicBezTo>
                    <a:pt x="9631" y="11873"/>
                    <a:pt x="9992" y="11512"/>
                    <a:pt x="9962" y="11331"/>
                  </a:cubicBezTo>
                  <a:cubicBezTo>
                    <a:pt x="9932" y="11121"/>
                    <a:pt x="9812" y="10308"/>
                    <a:pt x="9872" y="10188"/>
                  </a:cubicBezTo>
                  <a:cubicBezTo>
                    <a:pt x="9962" y="10067"/>
                    <a:pt x="10203" y="10037"/>
                    <a:pt x="10113" y="9766"/>
                  </a:cubicBezTo>
                  <a:cubicBezTo>
                    <a:pt x="10023" y="9525"/>
                    <a:pt x="9691" y="9014"/>
                    <a:pt x="9541" y="8683"/>
                  </a:cubicBezTo>
                  <a:cubicBezTo>
                    <a:pt x="9441" y="8670"/>
                    <a:pt x="9336" y="8663"/>
                    <a:pt x="9231" y="8663"/>
                  </a:cubicBezTo>
                  <a:cubicBezTo>
                    <a:pt x="9081" y="8663"/>
                    <a:pt x="8930" y="8678"/>
                    <a:pt x="8789" y="8713"/>
                  </a:cubicBezTo>
                  <a:cubicBezTo>
                    <a:pt x="8777" y="8717"/>
                    <a:pt x="8765" y="8720"/>
                    <a:pt x="8754" y="8720"/>
                  </a:cubicBezTo>
                  <a:cubicBezTo>
                    <a:pt x="8554" y="8720"/>
                    <a:pt x="8608" y="7945"/>
                    <a:pt x="8608" y="7660"/>
                  </a:cubicBezTo>
                  <a:cubicBezTo>
                    <a:pt x="8608" y="7545"/>
                    <a:pt x="8569" y="7500"/>
                    <a:pt x="8517" y="7500"/>
                  </a:cubicBezTo>
                  <a:cubicBezTo>
                    <a:pt x="8433" y="7500"/>
                    <a:pt x="8314" y="7619"/>
                    <a:pt x="8277" y="7750"/>
                  </a:cubicBezTo>
                  <a:cubicBezTo>
                    <a:pt x="8228" y="7863"/>
                    <a:pt x="8084" y="7890"/>
                    <a:pt x="7904" y="7890"/>
                  </a:cubicBezTo>
                  <a:cubicBezTo>
                    <a:pt x="7750" y="7890"/>
                    <a:pt x="7571" y="7870"/>
                    <a:pt x="7404" y="7870"/>
                  </a:cubicBezTo>
                  <a:cubicBezTo>
                    <a:pt x="7013" y="7870"/>
                    <a:pt x="7224" y="7419"/>
                    <a:pt x="6983" y="7419"/>
                  </a:cubicBezTo>
                  <a:cubicBezTo>
                    <a:pt x="6772" y="7419"/>
                    <a:pt x="6562" y="7329"/>
                    <a:pt x="6622" y="7118"/>
                  </a:cubicBezTo>
                  <a:cubicBezTo>
                    <a:pt x="6652" y="6877"/>
                    <a:pt x="6411" y="6697"/>
                    <a:pt x="6261" y="6426"/>
                  </a:cubicBezTo>
                  <a:cubicBezTo>
                    <a:pt x="6110" y="6155"/>
                    <a:pt x="5900" y="5944"/>
                    <a:pt x="6050" y="5764"/>
                  </a:cubicBezTo>
                  <a:cubicBezTo>
                    <a:pt x="6200" y="5553"/>
                    <a:pt x="5960" y="5463"/>
                    <a:pt x="6170" y="5222"/>
                  </a:cubicBezTo>
                  <a:cubicBezTo>
                    <a:pt x="6351" y="5011"/>
                    <a:pt x="6622" y="5102"/>
                    <a:pt x="6532" y="4801"/>
                  </a:cubicBezTo>
                  <a:cubicBezTo>
                    <a:pt x="6471" y="4530"/>
                    <a:pt x="6772" y="4379"/>
                    <a:pt x="6802" y="4048"/>
                  </a:cubicBezTo>
                  <a:cubicBezTo>
                    <a:pt x="6832" y="3747"/>
                    <a:pt x="7133" y="3868"/>
                    <a:pt x="7464" y="3627"/>
                  </a:cubicBezTo>
                  <a:cubicBezTo>
                    <a:pt x="7826" y="3356"/>
                    <a:pt x="8157" y="3507"/>
                    <a:pt x="8458" y="3266"/>
                  </a:cubicBezTo>
                  <a:cubicBezTo>
                    <a:pt x="8572" y="3186"/>
                    <a:pt x="8665" y="3162"/>
                    <a:pt x="8746" y="3162"/>
                  </a:cubicBezTo>
                  <a:cubicBezTo>
                    <a:pt x="8860" y="3162"/>
                    <a:pt x="8951" y="3209"/>
                    <a:pt x="9046" y="3209"/>
                  </a:cubicBezTo>
                  <a:cubicBezTo>
                    <a:pt x="9061" y="3209"/>
                    <a:pt x="9075" y="3208"/>
                    <a:pt x="9090" y="3206"/>
                  </a:cubicBezTo>
                  <a:cubicBezTo>
                    <a:pt x="9270" y="3176"/>
                    <a:pt x="8668" y="2965"/>
                    <a:pt x="8608" y="2814"/>
                  </a:cubicBezTo>
                  <a:cubicBezTo>
                    <a:pt x="8518" y="2664"/>
                    <a:pt x="8909" y="2363"/>
                    <a:pt x="9029" y="2182"/>
                  </a:cubicBezTo>
                  <a:cubicBezTo>
                    <a:pt x="9120" y="2002"/>
                    <a:pt x="8578" y="1761"/>
                    <a:pt x="8458" y="1701"/>
                  </a:cubicBezTo>
                  <a:cubicBezTo>
                    <a:pt x="8435" y="1684"/>
                    <a:pt x="8408" y="1678"/>
                    <a:pt x="8378" y="1678"/>
                  </a:cubicBezTo>
                  <a:cubicBezTo>
                    <a:pt x="8272" y="1678"/>
                    <a:pt x="8127" y="1754"/>
                    <a:pt x="8009" y="1754"/>
                  </a:cubicBezTo>
                  <a:cubicBezTo>
                    <a:pt x="7975" y="1754"/>
                    <a:pt x="7944" y="1748"/>
                    <a:pt x="7916" y="1731"/>
                  </a:cubicBezTo>
                  <a:cubicBezTo>
                    <a:pt x="7863" y="1710"/>
                    <a:pt x="7806" y="1700"/>
                    <a:pt x="7747" y="1700"/>
                  </a:cubicBezTo>
                  <a:cubicBezTo>
                    <a:pt x="7641" y="1700"/>
                    <a:pt x="7532" y="1733"/>
                    <a:pt x="7434" y="1791"/>
                  </a:cubicBezTo>
                  <a:cubicBezTo>
                    <a:pt x="7380" y="1832"/>
                    <a:pt x="7193" y="1860"/>
                    <a:pt x="7003" y="1860"/>
                  </a:cubicBezTo>
                  <a:cubicBezTo>
                    <a:pt x="6770" y="1860"/>
                    <a:pt x="6532" y="1817"/>
                    <a:pt x="6532" y="1701"/>
                  </a:cubicBezTo>
                  <a:cubicBezTo>
                    <a:pt x="6532" y="1460"/>
                    <a:pt x="6200" y="1340"/>
                    <a:pt x="6231" y="1159"/>
                  </a:cubicBezTo>
                  <a:cubicBezTo>
                    <a:pt x="6261" y="979"/>
                    <a:pt x="6050" y="708"/>
                    <a:pt x="5749" y="678"/>
                  </a:cubicBezTo>
                  <a:cubicBezTo>
                    <a:pt x="5448" y="648"/>
                    <a:pt x="5478" y="136"/>
                    <a:pt x="5298" y="46"/>
                  </a:cubicBezTo>
                  <a:cubicBezTo>
                    <a:pt x="5177" y="16"/>
                    <a:pt x="5057" y="1"/>
                    <a:pt x="4937"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80" name="Google Shape;2974;p123">
              <a:extLst>
                <a:ext uri="{FF2B5EF4-FFF2-40B4-BE49-F238E27FC236}">
                  <a16:creationId xmlns:a16="http://schemas.microsoft.com/office/drawing/2014/main" id="{E0BCF691-1380-D747-BB5A-6DCF9FFEDE30}"/>
                </a:ext>
              </a:extLst>
            </p:cNvPr>
            <p:cNvSpPr/>
            <p:nvPr/>
          </p:nvSpPr>
          <p:spPr>
            <a:xfrm>
              <a:off x="2441985" y="2975352"/>
              <a:ext cx="340251" cy="283351"/>
            </a:xfrm>
            <a:custGeom>
              <a:avLst/>
              <a:gdLst/>
              <a:ahLst/>
              <a:cxnLst/>
              <a:rect l="l" t="t" r="r" b="b"/>
              <a:pathLst>
                <a:path w="10967" h="9133" extrusionOk="0">
                  <a:moveTo>
                    <a:pt x="2961" y="0"/>
                  </a:moveTo>
                  <a:cubicBezTo>
                    <a:pt x="2600" y="0"/>
                    <a:pt x="2961" y="422"/>
                    <a:pt x="2721" y="482"/>
                  </a:cubicBezTo>
                  <a:cubicBezTo>
                    <a:pt x="2510" y="572"/>
                    <a:pt x="1697" y="783"/>
                    <a:pt x="1667" y="1114"/>
                  </a:cubicBezTo>
                  <a:cubicBezTo>
                    <a:pt x="1637" y="1475"/>
                    <a:pt x="2089" y="1957"/>
                    <a:pt x="1938" y="2288"/>
                  </a:cubicBezTo>
                  <a:cubicBezTo>
                    <a:pt x="1892" y="2389"/>
                    <a:pt x="1809" y="2431"/>
                    <a:pt x="1711" y="2431"/>
                  </a:cubicBezTo>
                  <a:cubicBezTo>
                    <a:pt x="1489" y="2431"/>
                    <a:pt x="1190" y="2216"/>
                    <a:pt x="1065" y="1987"/>
                  </a:cubicBezTo>
                  <a:cubicBezTo>
                    <a:pt x="885" y="1656"/>
                    <a:pt x="1517" y="1174"/>
                    <a:pt x="1426" y="963"/>
                  </a:cubicBezTo>
                  <a:cubicBezTo>
                    <a:pt x="1366" y="783"/>
                    <a:pt x="1246" y="572"/>
                    <a:pt x="1336" y="422"/>
                  </a:cubicBezTo>
                  <a:lnTo>
                    <a:pt x="1336" y="422"/>
                  </a:lnTo>
                  <a:lnTo>
                    <a:pt x="1065" y="572"/>
                  </a:lnTo>
                  <a:cubicBezTo>
                    <a:pt x="855" y="873"/>
                    <a:pt x="403" y="1114"/>
                    <a:pt x="403" y="1475"/>
                  </a:cubicBezTo>
                  <a:cubicBezTo>
                    <a:pt x="403" y="1806"/>
                    <a:pt x="403" y="1866"/>
                    <a:pt x="283" y="2017"/>
                  </a:cubicBezTo>
                  <a:cubicBezTo>
                    <a:pt x="169" y="2159"/>
                    <a:pt x="0" y="2410"/>
                    <a:pt x="137" y="2410"/>
                  </a:cubicBezTo>
                  <a:cubicBezTo>
                    <a:pt x="145" y="2410"/>
                    <a:pt x="153" y="2410"/>
                    <a:pt x="162" y="2408"/>
                  </a:cubicBezTo>
                  <a:cubicBezTo>
                    <a:pt x="201" y="2402"/>
                    <a:pt x="240" y="2398"/>
                    <a:pt x="277" y="2398"/>
                  </a:cubicBezTo>
                  <a:cubicBezTo>
                    <a:pt x="412" y="2398"/>
                    <a:pt x="524" y="2447"/>
                    <a:pt x="524" y="2589"/>
                  </a:cubicBezTo>
                  <a:cubicBezTo>
                    <a:pt x="524" y="2769"/>
                    <a:pt x="915" y="2829"/>
                    <a:pt x="885" y="3130"/>
                  </a:cubicBezTo>
                  <a:cubicBezTo>
                    <a:pt x="856" y="3420"/>
                    <a:pt x="715" y="4127"/>
                    <a:pt x="1294" y="4127"/>
                  </a:cubicBezTo>
                  <a:cubicBezTo>
                    <a:pt x="1317" y="4127"/>
                    <a:pt x="1341" y="4126"/>
                    <a:pt x="1366" y="4123"/>
                  </a:cubicBezTo>
                  <a:cubicBezTo>
                    <a:pt x="1725" y="4108"/>
                    <a:pt x="2003" y="4052"/>
                    <a:pt x="2226" y="4052"/>
                  </a:cubicBezTo>
                  <a:cubicBezTo>
                    <a:pt x="2432" y="4052"/>
                    <a:pt x="2590" y="4100"/>
                    <a:pt x="2721" y="4274"/>
                  </a:cubicBezTo>
                  <a:cubicBezTo>
                    <a:pt x="2953" y="4583"/>
                    <a:pt x="3295" y="4738"/>
                    <a:pt x="3673" y="4738"/>
                  </a:cubicBezTo>
                  <a:cubicBezTo>
                    <a:pt x="3736" y="4738"/>
                    <a:pt x="3800" y="4734"/>
                    <a:pt x="3864" y="4725"/>
                  </a:cubicBezTo>
                  <a:cubicBezTo>
                    <a:pt x="4005" y="4715"/>
                    <a:pt x="4178" y="4702"/>
                    <a:pt x="4340" y="4702"/>
                  </a:cubicBezTo>
                  <a:cubicBezTo>
                    <a:pt x="4663" y="4702"/>
                    <a:pt x="4937" y="4755"/>
                    <a:pt x="4797" y="4996"/>
                  </a:cubicBezTo>
                  <a:cubicBezTo>
                    <a:pt x="4556" y="5387"/>
                    <a:pt x="4376" y="6200"/>
                    <a:pt x="4616" y="6441"/>
                  </a:cubicBezTo>
                  <a:cubicBezTo>
                    <a:pt x="4827" y="6651"/>
                    <a:pt x="5038" y="6892"/>
                    <a:pt x="4917" y="7073"/>
                  </a:cubicBezTo>
                  <a:cubicBezTo>
                    <a:pt x="4767" y="7253"/>
                    <a:pt x="4647" y="7494"/>
                    <a:pt x="4857" y="7644"/>
                  </a:cubicBezTo>
                  <a:cubicBezTo>
                    <a:pt x="5008" y="7735"/>
                    <a:pt x="5068" y="7885"/>
                    <a:pt x="5008" y="8036"/>
                  </a:cubicBezTo>
                  <a:lnTo>
                    <a:pt x="4917" y="8126"/>
                  </a:lnTo>
                  <a:cubicBezTo>
                    <a:pt x="5218" y="8427"/>
                    <a:pt x="5309" y="8758"/>
                    <a:pt x="5519" y="8908"/>
                  </a:cubicBezTo>
                  <a:cubicBezTo>
                    <a:pt x="5654" y="9021"/>
                    <a:pt x="5755" y="9133"/>
                    <a:pt x="5860" y="9133"/>
                  </a:cubicBezTo>
                  <a:cubicBezTo>
                    <a:pt x="5896" y="9133"/>
                    <a:pt x="5932" y="9120"/>
                    <a:pt x="5971" y="9089"/>
                  </a:cubicBezTo>
                  <a:cubicBezTo>
                    <a:pt x="6044" y="9016"/>
                    <a:pt x="6139" y="8976"/>
                    <a:pt x="6229" y="8976"/>
                  </a:cubicBezTo>
                  <a:cubicBezTo>
                    <a:pt x="6288" y="8976"/>
                    <a:pt x="6345" y="8993"/>
                    <a:pt x="6392" y="9029"/>
                  </a:cubicBezTo>
                  <a:cubicBezTo>
                    <a:pt x="6415" y="9038"/>
                    <a:pt x="6439" y="9042"/>
                    <a:pt x="6465" y="9042"/>
                  </a:cubicBezTo>
                  <a:cubicBezTo>
                    <a:pt x="6606" y="9042"/>
                    <a:pt x="6781" y="8911"/>
                    <a:pt x="6934" y="8758"/>
                  </a:cubicBezTo>
                  <a:cubicBezTo>
                    <a:pt x="7114" y="8577"/>
                    <a:pt x="7385" y="8728"/>
                    <a:pt x="7475" y="8487"/>
                  </a:cubicBezTo>
                  <a:cubicBezTo>
                    <a:pt x="7506" y="8276"/>
                    <a:pt x="7686" y="8096"/>
                    <a:pt x="7897" y="8036"/>
                  </a:cubicBezTo>
                  <a:cubicBezTo>
                    <a:pt x="8168" y="8006"/>
                    <a:pt x="8168" y="7735"/>
                    <a:pt x="8017" y="7735"/>
                  </a:cubicBezTo>
                  <a:cubicBezTo>
                    <a:pt x="7929" y="7735"/>
                    <a:pt x="7811" y="7806"/>
                    <a:pt x="7727" y="7806"/>
                  </a:cubicBezTo>
                  <a:cubicBezTo>
                    <a:pt x="7668" y="7806"/>
                    <a:pt x="7626" y="7770"/>
                    <a:pt x="7626" y="7644"/>
                  </a:cubicBezTo>
                  <a:cubicBezTo>
                    <a:pt x="7626" y="7313"/>
                    <a:pt x="7385" y="7404"/>
                    <a:pt x="7385" y="7133"/>
                  </a:cubicBezTo>
                  <a:cubicBezTo>
                    <a:pt x="7385" y="6862"/>
                    <a:pt x="7385" y="6681"/>
                    <a:pt x="7084" y="6531"/>
                  </a:cubicBezTo>
                  <a:cubicBezTo>
                    <a:pt x="6880" y="6429"/>
                    <a:pt x="7134" y="6368"/>
                    <a:pt x="7365" y="6368"/>
                  </a:cubicBezTo>
                  <a:cubicBezTo>
                    <a:pt x="7474" y="6368"/>
                    <a:pt x="7578" y="6382"/>
                    <a:pt x="7626" y="6411"/>
                  </a:cubicBezTo>
                  <a:cubicBezTo>
                    <a:pt x="7776" y="6531"/>
                    <a:pt x="8258" y="6471"/>
                    <a:pt x="8288" y="6681"/>
                  </a:cubicBezTo>
                  <a:cubicBezTo>
                    <a:pt x="8304" y="6805"/>
                    <a:pt x="8391" y="6873"/>
                    <a:pt x="8472" y="6873"/>
                  </a:cubicBezTo>
                  <a:cubicBezTo>
                    <a:pt x="8548" y="6873"/>
                    <a:pt x="8619" y="6813"/>
                    <a:pt x="8619" y="6681"/>
                  </a:cubicBezTo>
                  <a:cubicBezTo>
                    <a:pt x="8619" y="6452"/>
                    <a:pt x="8836" y="6373"/>
                    <a:pt x="9049" y="6373"/>
                  </a:cubicBezTo>
                  <a:cubicBezTo>
                    <a:pt x="9087" y="6373"/>
                    <a:pt x="9124" y="6376"/>
                    <a:pt x="9161" y="6381"/>
                  </a:cubicBezTo>
                  <a:cubicBezTo>
                    <a:pt x="9170" y="6382"/>
                    <a:pt x="9180" y="6382"/>
                    <a:pt x="9190" y="6382"/>
                  </a:cubicBezTo>
                  <a:cubicBezTo>
                    <a:pt x="9418" y="6382"/>
                    <a:pt x="9922" y="6077"/>
                    <a:pt x="10124" y="6019"/>
                  </a:cubicBezTo>
                  <a:cubicBezTo>
                    <a:pt x="10365" y="5929"/>
                    <a:pt x="10274" y="5869"/>
                    <a:pt x="10365" y="5749"/>
                  </a:cubicBezTo>
                  <a:cubicBezTo>
                    <a:pt x="10214" y="5508"/>
                    <a:pt x="10034" y="5297"/>
                    <a:pt x="9823" y="5117"/>
                  </a:cubicBezTo>
                  <a:cubicBezTo>
                    <a:pt x="9642" y="4966"/>
                    <a:pt x="9943" y="4876"/>
                    <a:pt x="9913" y="4665"/>
                  </a:cubicBezTo>
                  <a:cubicBezTo>
                    <a:pt x="9853" y="4424"/>
                    <a:pt x="9913" y="4304"/>
                    <a:pt x="10274" y="4274"/>
                  </a:cubicBezTo>
                  <a:cubicBezTo>
                    <a:pt x="10666" y="4244"/>
                    <a:pt x="10575" y="3973"/>
                    <a:pt x="10395" y="3883"/>
                  </a:cubicBezTo>
                  <a:cubicBezTo>
                    <a:pt x="10214" y="3762"/>
                    <a:pt x="10485" y="3461"/>
                    <a:pt x="10696" y="3341"/>
                  </a:cubicBezTo>
                  <a:cubicBezTo>
                    <a:pt x="10816" y="3251"/>
                    <a:pt x="10906" y="3100"/>
                    <a:pt x="10966" y="2980"/>
                  </a:cubicBezTo>
                  <a:cubicBezTo>
                    <a:pt x="10605" y="2859"/>
                    <a:pt x="10214" y="2799"/>
                    <a:pt x="9823" y="2799"/>
                  </a:cubicBezTo>
                  <a:cubicBezTo>
                    <a:pt x="9800" y="2804"/>
                    <a:pt x="9783" y="2806"/>
                    <a:pt x="9769" y="2806"/>
                  </a:cubicBezTo>
                  <a:cubicBezTo>
                    <a:pt x="9595" y="2806"/>
                    <a:pt x="10034" y="2474"/>
                    <a:pt x="10034" y="2167"/>
                  </a:cubicBezTo>
                  <a:cubicBezTo>
                    <a:pt x="10034" y="1836"/>
                    <a:pt x="9191" y="1806"/>
                    <a:pt x="8860" y="1776"/>
                  </a:cubicBezTo>
                  <a:cubicBezTo>
                    <a:pt x="8529" y="1716"/>
                    <a:pt x="8619" y="1325"/>
                    <a:pt x="8980" y="1325"/>
                  </a:cubicBezTo>
                  <a:cubicBezTo>
                    <a:pt x="9278" y="1325"/>
                    <a:pt x="8869" y="1105"/>
                    <a:pt x="8433" y="1105"/>
                  </a:cubicBezTo>
                  <a:cubicBezTo>
                    <a:pt x="8385" y="1105"/>
                    <a:pt x="8336" y="1108"/>
                    <a:pt x="8288" y="1114"/>
                  </a:cubicBezTo>
                  <a:cubicBezTo>
                    <a:pt x="7776" y="1234"/>
                    <a:pt x="7265" y="1415"/>
                    <a:pt x="6783" y="1656"/>
                  </a:cubicBezTo>
                  <a:cubicBezTo>
                    <a:pt x="6734" y="1680"/>
                    <a:pt x="6682" y="1691"/>
                    <a:pt x="6628" y="1691"/>
                  </a:cubicBezTo>
                  <a:cubicBezTo>
                    <a:pt x="6265" y="1691"/>
                    <a:pt x="5800" y="1208"/>
                    <a:pt x="5421" y="1208"/>
                  </a:cubicBezTo>
                  <a:cubicBezTo>
                    <a:pt x="5372" y="1208"/>
                    <a:pt x="5324" y="1216"/>
                    <a:pt x="5279" y="1234"/>
                  </a:cubicBezTo>
                  <a:cubicBezTo>
                    <a:pt x="5100" y="1306"/>
                    <a:pt x="4898" y="1344"/>
                    <a:pt x="4719" y="1344"/>
                  </a:cubicBezTo>
                  <a:cubicBezTo>
                    <a:pt x="4445" y="1344"/>
                    <a:pt x="4225" y="1254"/>
                    <a:pt x="4225" y="1054"/>
                  </a:cubicBezTo>
                  <a:cubicBezTo>
                    <a:pt x="4280" y="724"/>
                    <a:pt x="4034" y="444"/>
                    <a:pt x="3715" y="444"/>
                  </a:cubicBezTo>
                  <a:cubicBezTo>
                    <a:pt x="3685" y="444"/>
                    <a:pt x="3655" y="447"/>
                    <a:pt x="3623" y="452"/>
                  </a:cubicBezTo>
                  <a:cubicBezTo>
                    <a:pt x="3172" y="452"/>
                    <a:pt x="3292" y="0"/>
                    <a:pt x="2961"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81" name="Google Shape;2975;p123">
              <a:extLst>
                <a:ext uri="{FF2B5EF4-FFF2-40B4-BE49-F238E27FC236}">
                  <a16:creationId xmlns:a16="http://schemas.microsoft.com/office/drawing/2014/main" id="{8CAA2414-1077-964C-B274-AA5E7083176E}"/>
                </a:ext>
              </a:extLst>
            </p:cNvPr>
            <p:cNvSpPr/>
            <p:nvPr/>
          </p:nvSpPr>
          <p:spPr>
            <a:xfrm>
              <a:off x="2824213" y="3123217"/>
              <a:ext cx="103686" cy="107998"/>
            </a:xfrm>
            <a:custGeom>
              <a:avLst/>
              <a:gdLst/>
              <a:ahLst/>
              <a:cxnLst/>
              <a:rect l="l" t="t" r="r" b="b"/>
              <a:pathLst>
                <a:path w="3342" h="3481" extrusionOk="0">
                  <a:moveTo>
                    <a:pt x="1279" y="0"/>
                  </a:moveTo>
                  <a:cubicBezTo>
                    <a:pt x="1174" y="0"/>
                    <a:pt x="1058" y="61"/>
                    <a:pt x="934" y="170"/>
                  </a:cubicBezTo>
                  <a:lnTo>
                    <a:pt x="873" y="170"/>
                  </a:lnTo>
                  <a:cubicBezTo>
                    <a:pt x="783" y="381"/>
                    <a:pt x="723" y="561"/>
                    <a:pt x="783" y="682"/>
                  </a:cubicBezTo>
                  <a:cubicBezTo>
                    <a:pt x="904" y="922"/>
                    <a:pt x="633" y="1013"/>
                    <a:pt x="422" y="1013"/>
                  </a:cubicBezTo>
                  <a:cubicBezTo>
                    <a:pt x="181" y="1013"/>
                    <a:pt x="211" y="1584"/>
                    <a:pt x="121" y="1735"/>
                  </a:cubicBezTo>
                  <a:cubicBezTo>
                    <a:pt x="1" y="1885"/>
                    <a:pt x="633" y="2216"/>
                    <a:pt x="753" y="2578"/>
                  </a:cubicBezTo>
                  <a:lnTo>
                    <a:pt x="1235" y="3420"/>
                  </a:lnTo>
                  <a:cubicBezTo>
                    <a:pt x="1355" y="3480"/>
                    <a:pt x="1475" y="3480"/>
                    <a:pt x="1626" y="3480"/>
                  </a:cubicBezTo>
                  <a:cubicBezTo>
                    <a:pt x="1829" y="3364"/>
                    <a:pt x="1668" y="2967"/>
                    <a:pt x="1928" y="2967"/>
                  </a:cubicBezTo>
                  <a:cubicBezTo>
                    <a:pt x="1937" y="2967"/>
                    <a:pt x="1947" y="2968"/>
                    <a:pt x="1957" y="2969"/>
                  </a:cubicBezTo>
                  <a:cubicBezTo>
                    <a:pt x="1992" y="2976"/>
                    <a:pt x="2029" y="2979"/>
                    <a:pt x="2067" y="2979"/>
                  </a:cubicBezTo>
                  <a:cubicBezTo>
                    <a:pt x="2265" y="2979"/>
                    <a:pt x="2497" y="2900"/>
                    <a:pt x="2659" y="2900"/>
                  </a:cubicBezTo>
                  <a:cubicBezTo>
                    <a:pt x="2735" y="2900"/>
                    <a:pt x="2796" y="2918"/>
                    <a:pt x="2830" y="2969"/>
                  </a:cubicBezTo>
                  <a:cubicBezTo>
                    <a:pt x="2875" y="3074"/>
                    <a:pt x="2890" y="3097"/>
                    <a:pt x="2894" y="3097"/>
                  </a:cubicBezTo>
                  <a:cubicBezTo>
                    <a:pt x="2896" y="3097"/>
                    <a:pt x="2894" y="3089"/>
                    <a:pt x="2892" y="3086"/>
                  </a:cubicBezTo>
                  <a:lnTo>
                    <a:pt x="2892" y="3086"/>
                  </a:lnTo>
                  <a:lnTo>
                    <a:pt x="3161" y="2728"/>
                  </a:lnTo>
                  <a:cubicBezTo>
                    <a:pt x="3191" y="2367"/>
                    <a:pt x="3161" y="2006"/>
                    <a:pt x="3040" y="1675"/>
                  </a:cubicBezTo>
                  <a:cubicBezTo>
                    <a:pt x="2950" y="1344"/>
                    <a:pt x="3010" y="983"/>
                    <a:pt x="3191" y="712"/>
                  </a:cubicBezTo>
                  <a:cubicBezTo>
                    <a:pt x="3281" y="591"/>
                    <a:pt x="3311" y="441"/>
                    <a:pt x="3341" y="320"/>
                  </a:cubicBezTo>
                  <a:cubicBezTo>
                    <a:pt x="3155" y="204"/>
                    <a:pt x="2950" y="159"/>
                    <a:pt x="2741" y="159"/>
                  </a:cubicBezTo>
                  <a:cubicBezTo>
                    <a:pt x="2681" y="159"/>
                    <a:pt x="2620" y="163"/>
                    <a:pt x="2559" y="170"/>
                  </a:cubicBezTo>
                  <a:cubicBezTo>
                    <a:pt x="2288" y="189"/>
                    <a:pt x="2005" y="271"/>
                    <a:pt x="1798" y="271"/>
                  </a:cubicBezTo>
                  <a:cubicBezTo>
                    <a:pt x="1682" y="271"/>
                    <a:pt x="1589" y="245"/>
                    <a:pt x="1536" y="170"/>
                  </a:cubicBezTo>
                  <a:cubicBezTo>
                    <a:pt x="1463" y="54"/>
                    <a:pt x="1376" y="0"/>
                    <a:pt x="1279"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82" name="Google Shape;2976;p123">
              <a:extLst>
                <a:ext uri="{FF2B5EF4-FFF2-40B4-BE49-F238E27FC236}">
                  <a16:creationId xmlns:a16="http://schemas.microsoft.com/office/drawing/2014/main" id="{4EEF1F74-22AF-2940-8A25-B8EE1040C315}"/>
                </a:ext>
              </a:extLst>
            </p:cNvPr>
            <p:cNvSpPr/>
            <p:nvPr/>
          </p:nvSpPr>
          <p:spPr>
            <a:xfrm>
              <a:off x="2741128" y="3067775"/>
              <a:ext cx="121401" cy="176687"/>
            </a:xfrm>
            <a:custGeom>
              <a:avLst/>
              <a:gdLst/>
              <a:ahLst/>
              <a:cxnLst/>
              <a:rect l="l" t="t" r="r" b="b"/>
              <a:pathLst>
                <a:path w="3913" h="5695" extrusionOk="0">
                  <a:moveTo>
                    <a:pt x="1324" y="1"/>
                  </a:moveTo>
                  <a:cubicBezTo>
                    <a:pt x="1264" y="121"/>
                    <a:pt x="1174" y="272"/>
                    <a:pt x="1054" y="362"/>
                  </a:cubicBezTo>
                  <a:cubicBezTo>
                    <a:pt x="843" y="482"/>
                    <a:pt x="572" y="783"/>
                    <a:pt x="753" y="904"/>
                  </a:cubicBezTo>
                  <a:cubicBezTo>
                    <a:pt x="933" y="994"/>
                    <a:pt x="1024" y="1295"/>
                    <a:pt x="632" y="1295"/>
                  </a:cubicBezTo>
                  <a:cubicBezTo>
                    <a:pt x="271" y="1295"/>
                    <a:pt x="241" y="1506"/>
                    <a:pt x="271" y="1686"/>
                  </a:cubicBezTo>
                  <a:cubicBezTo>
                    <a:pt x="301" y="1867"/>
                    <a:pt x="0" y="1987"/>
                    <a:pt x="181" y="2138"/>
                  </a:cubicBezTo>
                  <a:cubicBezTo>
                    <a:pt x="392" y="2318"/>
                    <a:pt x="572" y="2529"/>
                    <a:pt x="723" y="2770"/>
                  </a:cubicBezTo>
                  <a:cubicBezTo>
                    <a:pt x="749" y="2665"/>
                    <a:pt x="820" y="2583"/>
                    <a:pt x="937" y="2583"/>
                  </a:cubicBezTo>
                  <a:cubicBezTo>
                    <a:pt x="955" y="2583"/>
                    <a:pt x="974" y="2585"/>
                    <a:pt x="993" y="2589"/>
                  </a:cubicBezTo>
                  <a:cubicBezTo>
                    <a:pt x="1114" y="2619"/>
                    <a:pt x="1054" y="3161"/>
                    <a:pt x="1324" y="3251"/>
                  </a:cubicBezTo>
                  <a:cubicBezTo>
                    <a:pt x="1565" y="3371"/>
                    <a:pt x="1625" y="3733"/>
                    <a:pt x="1385" y="3913"/>
                  </a:cubicBezTo>
                  <a:cubicBezTo>
                    <a:pt x="1204" y="4064"/>
                    <a:pt x="1144" y="4846"/>
                    <a:pt x="1535" y="5328"/>
                  </a:cubicBezTo>
                  <a:cubicBezTo>
                    <a:pt x="1780" y="5607"/>
                    <a:pt x="2014" y="5694"/>
                    <a:pt x="2180" y="5694"/>
                  </a:cubicBezTo>
                  <a:cubicBezTo>
                    <a:pt x="2299" y="5694"/>
                    <a:pt x="2383" y="5649"/>
                    <a:pt x="2408" y="5598"/>
                  </a:cubicBezTo>
                  <a:cubicBezTo>
                    <a:pt x="2498" y="5478"/>
                    <a:pt x="2859" y="5598"/>
                    <a:pt x="2950" y="5418"/>
                  </a:cubicBezTo>
                  <a:cubicBezTo>
                    <a:pt x="2973" y="5335"/>
                    <a:pt x="3011" y="5322"/>
                    <a:pt x="3059" y="5322"/>
                  </a:cubicBezTo>
                  <a:cubicBezTo>
                    <a:pt x="3081" y="5322"/>
                    <a:pt x="3105" y="5325"/>
                    <a:pt x="3132" y="5325"/>
                  </a:cubicBezTo>
                  <a:cubicBezTo>
                    <a:pt x="3193" y="5325"/>
                    <a:pt x="3264" y="5309"/>
                    <a:pt x="3341" y="5207"/>
                  </a:cubicBezTo>
                  <a:cubicBezTo>
                    <a:pt x="3416" y="5132"/>
                    <a:pt x="3484" y="5107"/>
                    <a:pt x="3549" y="5107"/>
                  </a:cubicBezTo>
                  <a:cubicBezTo>
                    <a:pt x="3667" y="5107"/>
                    <a:pt x="3777" y="5188"/>
                    <a:pt x="3913" y="5207"/>
                  </a:cubicBezTo>
                  <a:lnTo>
                    <a:pt x="3431" y="4334"/>
                  </a:lnTo>
                  <a:cubicBezTo>
                    <a:pt x="3311" y="4003"/>
                    <a:pt x="2649" y="3642"/>
                    <a:pt x="2799" y="3522"/>
                  </a:cubicBezTo>
                  <a:cubicBezTo>
                    <a:pt x="2950" y="3402"/>
                    <a:pt x="2859" y="2830"/>
                    <a:pt x="3100" y="2800"/>
                  </a:cubicBezTo>
                  <a:cubicBezTo>
                    <a:pt x="3311" y="2770"/>
                    <a:pt x="3582" y="2679"/>
                    <a:pt x="3461" y="2469"/>
                  </a:cubicBezTo>
                  <a:cubicBezTo>
                    <a:pt x="3341" y="2258"/>
                    <a:pt x="3461" y="2168"/>
                    <a:pt x="3551" y="1927"/>
                  </a:cubicBezTo>
                  <a:cubicBezTo>
                    <a:pt x="3612" y="1716"/>
                    <a:pt x="3010" y="1295"/>
                    <a:pt x="2829" y="1295"/>
                  </a:cubicBezTo>
                  <a:cubicBezTo>
                    <a:pt x="2558" y="1295"/>
                    <a:pt x="2348" y="1084"/>
                    <a:pt x="2408" y="813"/>
                  </a:cubicBezTo>
                  <a:cubicBezTo>
                    <a:pt x="2438" y="512"/>
                    <a:pt x="1926" y="482"/>
                    <a:pt x="1625" y="151"/>
                  </a:cubicBezTo>
                  <a:lnTo>
                    <a:pt x="1324" y="1"/>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83" name="Google Shape;2977;p123">
              <a:extLst>
                <a:ext uri="{FF2B5EF4-FFF2-40B4-BE49-F238E27FC236}">
                  <a16:creationId xmlns:a16="http://schemas.microsoft.com/office/drawing/2014/main" id="{10E5A9F1-7BE5-E144-973A-2E54EF39C7A7}"/>
                </a:ext>
              </a:extLst>
            </p:cNvPr>
            <p:cNvSpPr/>
            <p:nvPr/>
          </p:nvSpPr>
          <p:spPr>
            <a:xfrm>
              <a:off x="2913844" y="3133145"/>
              <a:ext cx="77531" cy="91896"/>
            </a:xfrm>
            <a:custGeom>
              <a:avLst/>
              <a:gdLst/>
              <a:ahLst/>
              <a:cxnLst/>
              <a:rect l="l" t="t" r="r" b="b"/>
              <a:pathLst>
                <a:path w="2499" h="2962" extrusionOk="0">
                  <a:moveTo>
                    <a:pt x="452" y="0"/>
                  </a:moveTo>
                  <a:cubicBezTo>
                    <a:pt x="422" y="121"/>
                    <a:pt x="392" y="271"/>
                    <a:pt x="302" y="392"/>
                  </a:cubicBezTo>
                  <a:cubicBezTo>
                    <a:pt x="121" y="663"/>
                    <a:pt x="61" y="1024"/>
                    <a:pt x="151" y="1355"/>
                  </a:cubicBezTo>
                  <a:cubicBezTo>
                    <a:pt x="272" y="1686"/>
                    <a:pt x="302" y="2047"/>
                    <a:pt x="272" y="2408"/>
                  </a:cubicBezTo>
                  <a:lnTo>
                    <a:pt x="1" y="2769"/>
                  </a:lnTo>
                  <a:cubicBezTo>
                    <a:pt x="126" y="2894"/>
                    <a:pt x="308" y="2961"/>
                    <a:pt x="488" y="2961"/>
                  </a:cubicBezTo>
                  <a:cubicBezTo>
                    <a:pt x="568" y="2961"/>
                    <a:pt x="649" y="2948"/>
                    <a:pt x="723" y="2920"/>
                  </a:cubicBezTo>
                  <a:cubicBezTo>
                    <a:pt x="874" y="2869"/>
                    <a:pt x="997" y="2866"/>
                    <a:pt x="1101" y="2866"/>
                  </a:cubicBezTo>
                  <a:cubicBezTo>
                    <a:pt x="1117" y="2866"/>
                    <a:pt x="1132" y="2866"/>
                    <a:pt x="1147" y="2866"/>
                  </a:cubicBezTo>
                  <a:cubicBezTo>
                    <a:pt x="1328" y="2866"/>
                    <a:pt x="1443" y="2855"/>
                    <a:pt x="1536" y="2558"/>
                  </a:cubicBezTo>
                  <a:cubicBezTo>
                    <a:pt x="1807" y="2077"/>
                    <a:pt x="2107" y="1656"/>
                    <a:pt x="2499" y="1264"/>
                  </a:cubicBezTo>
                  <a:cubicBezTo>
                    <a:pt x="2138" y="1144"/>
                    <a:pt x="1626" y="331"/>
                    <a:pt x="1144" y="211"/>
                  </a:cubicBezTo>
                  <a:lnTo>
                    <a:pt x="452" y="0"/>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84" name="Google Shape;2978;p123">
              <a:extLst>
                <a:ext uri="{FF2B5EF4-FFF2-40B4-BE49-F238E27FC236}">
                  <a16:creationId xmlns:a16="http://schemas.microsoft.com/office/drawing/2014/main" id="{6E842813-4B04-E749-8EAA-1BE7F5903E6F}"/>
                </a:ext>
              </a:extLst>
            </p:cNvPr>
            <p:cNvSpPr/>
            <p:nvPr/>
          </p:nvSpPr>
          <p:spPr>
            <a:xfrm>
              <a:off x="2165707" y="2691845"/>
              <a:ext cx="260796" cy="82992"/>
            </a:xfrm>
            <a:custGeom>
              <a:avLst/>
              <a:gdLst/>
              <a:ahLst/>
              <a:cxnLst/>
              <a:rect l="l" t="t" r="r" b="b"/>
              <a:pathLst>
                <a:path w="8406" h="2675" extrusionOk="0">
                  <a:moveTo>
                    <a:pt x="2280" y="1"/>
                  </a:moveTo>
                  <a:cubicBezTo>
                    <a:pt x="1003" y="1"/>
                    <a:pt x="0" y="892"/>
                    <a:pt x="129" y="1073"/>
                  </a:cubicBezTo>
                  <a:cubicBezTo>
                    <a:pt x="154" y="1112"/>
                    <a:pt x="195" y="1129"/>
                    <a:pt x="249" y="1129"/>
                  </a:cubicBezTo>
                  <a:cubicBezTo>
                    <a:pt x="530" y="1129"/>
                    <a:pt x="1155" y="668"/>
                    <a:pt x="1484" y="441"/>
                  </a:cubicBezTo>
                  <a:cubicBezTo>
                    <a:pt x="1568" y="378"/>
                    <a:pt x="1654" y="352"/>
                    <a:pt x="1737" y="352"/>
                  </a:cubicBezTo>
                  <a:cubicBezTo>
                    <a:pt x="2008" y="352"/>
                    <a:pt x="2243" y="627"/>
                    <a:pt x="2266" y="742"/>
                  </a:cubicBezTo>
                  <a:cubicBezTo>
                    <a:pt x="2296" y="893"/>
                    <a:pt x="2778" y="1043"/>
                    <a:pt x="3590" y="1073"/>
                  </a:cubicBezTo>
                  <a:cubicBezTo>
                    <a:pt x="4373" y="1133"/>
                    <a:pt x="4523" y="1765"/>
                    <a:pt x="5276" y="1946"/>
                  </a:cubicBezTo>
                  <a:cubicBezTo>
                    <a:pt x="6028" y="2126"/>
                    <a:pt x="5276" y="2427"/>
                    <a:pt x="5637" y="2578"/>
                  </a:cubicBezTo>
                  <a:cubicBezTo>
                    <a:pt x="5806" y="2643"/>
                    <a:pt x="6290" y="2674"/>
                    <a:pt x="6797" y="2674"/>
                  </a:cubicBezTo>
                  <a:cubicBezTo>
                    <a:pt x="7463" y="2674"/>
                    <a:pt x="8169" y="2620"/>
                    <a:pt x="8255" y="2518"/>
                  </a:cubicBezTo>
                  <a:cubicBezTo>
                    <a:pt x="8405" y="2337"/>
                    <a:pt x="7262" y="1645"/>
                    <a:pt x="6750" y="1645"/>
                  </a:cubicBezTo>
                  <a:cubicBezTo>
                    <a:pt x="6208" y="1645"/>
                    <a:pt x="4523" y="441"/>
                    <a:pt x="2928" y="80"/>
                  </a:cubicBezTo>
                  <a:cubicBezTo>
                    <a:pt x="2707" y="25"/>
                    <a:pt x="2490" y="1"/>
                    <a:pt x="2280"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85" name="Google Shape;2979;p123">
              <a:extLst>
                <a:ext uri="{FF2B5EF4-FFF2-40B4-BE49-F238E27FC236}">
                  <a16:creationId xmlns:a16="http://schemas.microsoft.com/office/drawing/2014/main" id="{EEBD8D53-44EB-8841-924B-6C891C5F18BA}"/>
                </a:ext>
              </a:extLst>
            </p:cNvPr>
            <p:cNvSpPr/>
            <p:nvPr/>
          </p:nvSpPr>
          <p:spPr>
            <a:xfrm>
              <a:off x="2318226" y="2813308"/>
              <a:ext cx="55411" cy="16816"/>
            </a:xfrm>
            <a:custGeom>
              <a:avLst/>
              <a:gdLst/>
              <a:ahLst/>
              <a:cxnLst/>
              <a:rect l="l" t="t" r="r" b="b"/>
              <a:pathLst>
                <a:path w="1786" h="542" extrusionOk="0">
                  <a:moveTo>
                    <a:pt x="404" y="0"/>
                  </a:moveTo>
                  <a:cubicBezTo>
                    <a:pt x="162" y="0"/>
                    <a:pt x="1" y="41"/>
                    <a:pt x="59" y="137"/>
                  </a:cubicBezTo>
                  <a:cubicBezTo>
                    <a:pt x="166" y="309"/>
                    <a:pt x="868" y="541"/>
                    <a:pt x="1318" y="541"/>
                  </a:cubicBezTo>
                  <a:cubicBezTo>
                    <a:pt x="1500" y="541"/>
                    <a:pt x="1640" y="504"/>
                    <a:pt x="1684" y="408"/>
                  </a:cubicBezTo>
                  <a:cubicBezTo>
                    <a:pt x="1786" y="183"/>
                    <a:pt x="916" y="0"/>
                    <a:pt x="404"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86" name="Google Shape;2980;p123">
              <a:extLst>
                <a:ext uri="{FF2B5EF4-FFF2-40B4-BE49-F238E27FC236}">
                  <a16:creationId xmlns:a16="http://schemas.microsoft.com/office/drawing/2014/main" id="{C6195582-A215-8447-B6BA-C295CD5A5F8C}"/>
                </a:ext>
              </a:extLst>
            </p:cNvPr>
            <p:cNvSpPr/>
            <p:nvPr/>
          </p:nvSpPr>
          <p:spPr>
            <a:xfrm>
              <a:off x="2595962" y="2811602"/>
              <a:ext cx="45079" cy="16847"/>
            </a:xfrm>
            <a:custGeom>
              <a:avLst/>
              <a:gdLst/>
              <a:ahLst/>
              <a:cxnLst/>
              <a:rect l="l" t="t" r="r" b="b"/>
              <a:pathLst>
                <a:path w="1453" h="543" extrusionOk="0">
                  <a:moveTo>
                    <a:pt x="477" y="1"/>
                  </a:moveTo>
                  <a:cubicBezTo>
                    <a:pt x="199" y="1"/>
                    <a:pt x="0" y="75"/>
                    <a:pt x="135" y="283"/>
                  </a:cubicBezTo>
                  <a:cubicBezTo>
                    <a:pt x="255" y="475"/>
                    <a:pt x="472" y="543"/>
                    <a:pt x="693" y="543"/>
                  </a:cubicBezTo>
                  <a:cubicBezTo>
                    <a:pt x="1023" y="543"/>
                    <a:pt x="1363" y="391"/>
                    <a:pt x="1399" y="283"/>
                  </a:cubicBezTo>
                  <a:cubicBezTo>
                    <a:pt x="1453" y="158"/>
                    <a:pt x="881" y="1"/>
                    <a:pt x="477"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87" name="Google Shape;2981;p123">
              <a:extLst>
                <a:ext uri="{FF2B5EF4-FFF2-40B4-BE49-F238E27FC236}">
                  <a16:creationId xmlns:a16="http://schemas.microsoft.com/office/drawing/2014/main" id="{AC2D7E08-4E77-4748-90DF-B33F1F48E4B9}"/>
                </a:ext>
              </a:extLst>
            </p:cNvPr>
            <p:cNvSpPr/>
            <p:nvPr/>
          </p:nvSpPr>
          <p:spPr>
            <a:xfrm>
              <a:off x="2744323" y="4670837"/>
              <a:ext cx="87863" cy="31770"/>
            </a:xfrm>
            <a:custGeom>
              <a:avLst/>
              <a:gdLst/>
              <a:ahLst/>
              <a:cxnLst/>
              <a:rect l="l" t="t" r="r" b="b"/>
              <a:pathLst>
                <a:path w="2832" h="1024" extrusionOk="0">
                  <a:moveTo>
                    <a:pt x="1236" y="0"/>
                  </a:moveTo>
                  <a:cubicBezTo>
                    <a:pt x="826" y="0"/>
                    <a:pt x="1" y="732"/>
                    <a:pt x="349" y="906"/>
                  </a:cubicBezTo>
                  <a:cubicBezTo>
                    <a:pt x="381" y="921"/>
                    <a:pt x="417" y="928"/>
                    <a:pt x="456" y="928"/>
                  </a:cubicBezTo>
                  <a:cubicBezTo>
                    <a:pt x="886" y="928"/>
                    <a:pt x="1640" y="86"/>
                    <a:pt x="1282" y="3"/>
                  </a:cubicBezTo>
                  <a:cubicBezTo>
                    <a:pt x="1267" y="1"/>
                    <a:pt x="1252" y="0"/>
                    <a:pt x="1236" y="0"/>
                  </a:cubicBezTo>
                  <a:close/>
                  <a:moveTo>
                    <a:pt x="2427" y="234"/>
                  </a:moveTo>
                  <a:cubicBezTo>
                    <a:pt x="1949" y="234"/>
                    <a:pt x="1188" y="878"/>
                    <a:pt x="1402" y="996"/>
                  </a:cubicBezTo>
                  <a:cubicBezTo>
                    <a:pt x="1436" y="1015"/>
                    <a:pt x="1484" y="1024"/>
                    <a:pt x="1541" y="1024"/>
                  </a:cubicBezTo>
                  <a:cubicBezTo>
                    <a:pt x="1945" y="1024"/>
                    <a:pt x="2832" y="605"/>
                    <a:pt x="2726" y="395"/>
                  </a:cubicBezTo>
                  <a:cubicBezTo>
                    <a:pt x="2663" y="280"/>
                    <a:pt x="2555" y="234"/>
                    <a:pt x="2427" y="234"/>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88" name="Google Shape;2982;p123">
              <a:extLst>
                <a:ext uri="{FF2B5EF4-FFF2-40B4-BE49-F238E27FC236}">
                  <a16:creationId xmlns:a16="http://schemas.microsoft.com/office/drawing/2014/main" id="{D3B97501-9CDE-BB42-B1F1-C25C2C16206E}"/>
                </a:ext>
              </a:extLst>
            </p:cNvPr>
            <p:cNvSpPr/>
            <p:nvPr/>
          </p:nvSpPr>
          <p:spPr>
            <a:xfrm>
              <a:off x="1990292" y="3238661"/>
              <a:ext cx="410057" cy="160523"/>
            </a:xfrm>
            <a:custGeom>
              <a:avLst/>
              <a:gdLst/>
              <a:ahLst/>
              <a:cxnLst/>
              <a:rect l="l" t="t" r="r" b="b"/>
              <a:pathLst>
                <a:path w="13217" h="5174" extrusionOk="0">
                  <a:moveTo>
                    <a:pt x="477" y="1000"/>
                  </a:moveTo>
                  <a:cubicBezTo>
                    <a:pt x="417" y="1000"/>
                    <a:pt x="350" y="1042"/>
                    <a:pt x="276" y="1144"/>
                  </a:cubicBezTo>
                  <a:cubicBezTo>
                    <a:pt x="1" y="1569"/>
                    <a:pt x="454" y="2015"/>
                    <a:pt x="666" y="2015"/>
                  </a:cubicBezTo>
                  <a:cubicBezTo>
                    <a:pt x="709" y="2015"/>
                    <a:pt x="742" y="1997"/>
                    <a:pt x="757" y="1956"/>
                  </a:cubicBezTo>
                  <a:cubicBezTo>
                    <a:pt x="855" y="1785"/>
                    <a:pt x="735" y="1000"/>
                    <a:pt x="477" y="1000"/>
                  </a:cubicBezTo>
                  <a:close/>
                  <a:moveTo>
                    <a:pt x="10147" y="0"/>
                  </a:moveTo>
                  <a:lnTo>
                    <a:pt x="10147" y="121"/>
                  </a:lnTo>
                  <a:cubicBezTo>
                    <a:pt x="10177" y="271"/>
                    <a:pt x="9906" y="391"/>
                    <a:pt x="9605" y="421"/>
                  </a:cubicBezTo>
                  <a:cubicBezTo>
                    <a:pt x="9304" y="452"/>
                    <a:pt x="9334" y="753"/>
                    <a:pt x="9334" y="993"/>
                  </a:cubicBezTo>
                  <a:cubicBezTo>
                    <a:pt x="9334" y="1204"/>
                    <a:pt x="9094" y="1204"/>
                    <a:pt x="8973" y="1475"/>
                  </a:cubicBezTo>
                  <a:cubicBezTo>
                    <a:pt x="8853" y="1746"/>
                    <a:pt x="9003" y="1746"/>
                    <a:pt x="8793" y="1896"/>
                  </a:cubicBezTo>
                  <a:cubicBezTo>
                    <a:pt x="8552" y="2047"/>
                    <a:pt x="8432" y="2227"/>
                    <a:pt x="8582" y="2408"/>
                  </a:cubicBezTo>
                  <a:cubicBezTo>
                    <a:pt x="8733" y="2618"/>
                    <a:pt x="8582" y="2829"/>
                    <a:pt x="8552" y="2949"/>
                  </a:cubicBezTo>
                  <a:cubicBezTo>
                    <a:pt x="8522" y="3070"/>
                    <a:pt x="8733" y="3130"/>
                    <a:pt x="9003" y="3371"/>
                  </a:cubicBezTo>
                  <a:cubicBezTo>
                    <a:pt x="9079" y="3430"/>
                    <a:pt x="9134" y="3449"/>
                    <a:pt x="9176" y="3449"/>
                  </a:cubicBezTo>
                  <a:cubicBezTo>
                    <a:pt x="9251" y="3449"/>
                    <a:pt x="9286" y="3387"/>
                    <a:pt x="9329" y="3387"/>
                  </a:cubicBezTo>
                  <a:cubicBezTo>
                    <a:pt x="9348" y="3387"/>
                    <a:pt x="9369" y="3398"/>
                    <a:pt x="9395" y="3431"/>
                  </a:cubicBezTo>
                  <a:cubicBezTo>
                    <a:pt x="9455" y="3672"/>
                    <a:pt x="9274" y="3912"/>
                    <a:pt x="9034" y="3912"/>
                  </a:cubicBezTo>
                  <a:lnTo>
                    <a:pt x="8973" y="3912"/>
                  </a:lnTo>
                  <a:cubicBezTo>
                    <a:pt x="9124" y="4063"/>
                    <a:pt x="9184" y="4213"/>
                    <a:pt x="9124" y="4304"/>
                  </a:cubicBezTo>
                  <a:cubicBezTo>
                    <a:pt x="9034" y="4364"/>
                    <a:pt x="8883" y="4484"/>
                    <a:pt x="9124" y="4725"/>
                  </a:cubicBezTo>
                  <a:cubicBezTo>
                    <a:pt x="9182" y="4784"/>
                    <a:pt x="9241" y="4800"/>
                    <a:pt x="9299" y="4800"/>
                  </a:cubicBezTo>
                  <a:cubicBezTo>
                    <a:pt x="9375" y="4800"/>
                    <a:pt x="9451" y="4771"/>
                    <a:pt x="9523" y="4771"/>
                  </a:cubicBezTo>
                  <a:cubicBezTo>
                    <a:pt x="9594" y="4771"/>
                    <a:pt x="9662" y="4799"/>
                    <a:pt x="9726" y="4906"/>
                  </a:cubicBezTo>
                  <a:cubicBezTo>
                    <a:pt x="9821" y="5065"/>
                    <a:pt x="9917" y="5174"/>
                    <a:pt x="10017" y="5174"/>
                  </a:cubicBezTo>
                  <a:cubicBezTo>
                    <a:pt x="10106" y="5174"/>
                    <a:pt x="10198" y="5088"/>
                    <a:pt x="10298" y="4875"/>
                  </a:cubicBezTo>
                  <a:cubicBezTo>
                    <a:pt x="10478" y="4424"/>
                    <a:pt x="10659" y="3702"/>
                    <a:pt x="10990" y="3581"/>
                  </a:cubicBezTo>
                  <a:cubicBezTo>
                    <a:pt x="11351" y="3461"/>
                    <a:pt x="12133" y="3311"/>
                    <a:pt x="12585" y="2769"/>
                  </a:cubicBezTo>
                  <a:cubicBezTo>
                    <a:pt x="13036" y="2197"/>
                    <a:pt x="12765" y="2107"/>
                    <a:pt x="13006" y="1926"/>
                  </a:cubicBezTo>
                  <a:cubicBezTo>
                    <a:pt x="13217" y="1746"/>
                    <a:pt x="13066" y="1716"/>
                    <a:pt x="12765" y="1354"/>
                  </a:cubicBezTo>
                  <a:cubicBezTo>
                    <a:pt x="12529" y="1066"/>
                    <a:pt x="12339" y="892"/>
                    <a:pt x="12234" y="892"/>
                  </a:cubicBezTo>
                  <a:cubicBezTo>
                    <a:pt x="12219" y="892"/>
                    <a:pt x="12205" y="895"/>
                    <a:pt x="12193" y="903"/>
                  </a:cubicBezTo>
                  <a:cubicBezTo>
                    <a:pt x="12103" y="978"/>
                    <a:pt x="11998" y="1016"/>
                    <a:pt x="11893" y="1016"/>
                  </a:cubicBezTo>
                  <a:cubicBezTo>
                    <a:pt x="11787" y="1016"/>
                    <a:pt x="11682" y="978"/>
                    <a:pt x="11592" y="903"/>
                  </a:cubicBezTo>
                  <a:cubicBezTo>
                    <a:pt x="11411" y="813"/>
                    <a:pt x="11291" y="572"/>
                    <a:pt x="11110" y="572"/>
                  </a:cubicBezTo>
                  <a:cubicBezTo>
                    <a:pt x="10749" y="452"/>
                    <a:pt x="10418" y="271"/>
                    <a:pt x="10147"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89" name="Google Shape;2983;p123">
              <a:extLst>
                <a:ext uri="{FF2B5EF4-FFF2-40B4-BE49-F238E27FC236}">
                  <a16:creationId xmlns:a16="http://schemas.microsoft.com/office/drawing/2014/main" id="{03DA8834-69E6-554E-B2E5-947BAC08AFAB}"/>
                </a:ext>
              </a:extLst>
            </p:cNvPr>
            <p:cNvSpPr/>
            <p:nvPr/>
          </p:nvSpPr>
          <p:spPr>
            <a:xfrm>
              <a:off x="2461934" y="457177"/>
              <a:ext cx="1505147" cy="1120623"/>
            </a:xfrm>
            <a:custGeom>
              <a:avLst/>
              <a:gdLst/>
              <a:ahLst/>
              <a:cxnLst/>
              <a:rect l="l" t="t" r="r" b="b"/>
              <a:pathLst>
                <a:path w="48514" h="36120" extrusionOk="0">
                  <a:moveTo>
                    <a:pt x="14920" y="22634"/>
                  </a:moveTo>
                  <a:cubicBezTo>
                    <a:pt x="14683" y="22634"/>
                    <a:pt x="14491" y="22691"/>
                    <a:pt x="14446" y="22813"/>
                  </a:cubicBezTo>
                  <a:cubicBezTo>
                    <a:pt x="14356" y="23144"/>
                    <a:pt x="13995" y="23144"/>
                    <a:pt x="14296" y="23475"/>
                  </a:cubicBezTo>
                  <a:cubicBezTo>
                    <a:pt x="14597" y="23836"/>
                    <a:pt x="14838" y="23686"/>
                    <a:pt x="15169" y="24017"/>
                  </a:cubicBezTo>
                  <a:cubicBezTo>
                    <a:pt x="15269" y="24117"/>
                    <a:pt x="15442" y="24159"/>
                    <a:pt x="15634" y="24159"/>
                  </a:cubicBezTo>
                  <a:cubicBezTo>
                    <a:pt x="16073" y="24159"/>
                    <a:pt x="16613" y="23937"/>
                    <a:pt x="16613" y="23686"/>
                  </a:cubicBezTo>
                  <a:cubicBezTo>
                    <a:pt x="16643" y="23294"/>
                    <a:pt x="16222" y="23535"/>
                    <a:pt x="16011" y="23084"/>
                  </a:cubicBezTo>
                  <a:cubicBezTo>
                    <a:pt x="15860" y="22799"/>
                    <a:pt x="15325" y="22634"/>
                    <a:pt x="14920" y="22634"/>
                  </a:cubicBezTo>
                  <a:close/>
                  <a:moveTo>
                    <a:pt x="33433" y="1"/>
                  </a:moveTo>
                  <a:cubicBezTo>
                    <a:pt x="33212" y="1"/>
                    <a:pt x="32988" y="11"/>
                    <a:pt x="32774" y="31"/>
                  </a:cubicBezTo>
                  <a:cubicBezTo>
                    <a:pt x="31841" y="91"/>
                    <a:pt x="29915" y="61"/>
                    <a:pt x="29464" y="91"/>
                  </a:cubicBezTo>
                  <a:cubicBezTo>
                    <a:pt x="29103" y="212"/>
                    <a:pt x="28711" y="272"/>
                    <a:pt x="28350" y="272"/>
                  </a:cubicBezTo>
                  <a:cubicBezTo>
                    <a:pt x="27959" y="272"/>
                    <a:pt x="27327" y="392"/>
                    <a:pt x="27598" y="663"/>
                  </a:cubicBezTo>
                  <a:cubicBezTo>
                    <a:pt x="27769" y="856"/>
                    <a:pt x="27361" y="1110"/>
                    <a:pt x="27144" y="1110"/>
                  </a:cubicBezTo>
                  <a:cubicBezTo>
                    <a:pt x="27057" y="1110"/>
                    <a:pt x="27000" y="1068"/>
                    <a:pt x="27026" y="964"/>
                  </a:cubicBezTo>
                  <a:cubicBezTo>
                    <a:pt x="27065" y="710"/>
                    <a:pt x="26659" y="583"/>
                    <a:pt x="26288" y="583"/>
                  </a:cubicBezTo>
                  <a:cubicBezTo>
                    <a:pt x="26088" y="583"/>
                    <a:pt x="25898" y="620"/>
                    <a:pt x="25792" y="693"/>
                  </a:cubicBezTo>
                  <a:cubicBezTo>
                    <a:pt x="25729" y="740"/>
                    <a:pt x="25618" y="757"/>
                    <a:pt x="25480" y="757"/>
                  </a:cubicBezTo>
                  <a:cubicBezTo>
                    <a:pt x="25063" y="757"/>
                    <a:pt x="24392" y="600"/>
                    <a:pt x="23973" y="600"/>
                  </a:cubicBezTo>
                  <a:cubicBezTo>
                    <a:pt x="23807" y="600"/>
                    <a:pt x="23681" y="624"/>
                    <a:pt x="23625" y="693"/>
                  </a:cubicBezTo>
                  <a:cubicBezTo>
                    <a:pt x="23415" y="994"/>
                    <a:pt x="21579" y="934"/>
                    <a:pt x="21007" y="1024"/>
                  </a:cubicBezTo>
                  <a:cubicBezTo>
                    <a:pt x="20435" y="1145"/>
                    <a:pt x="21880" y="1536"/>
                    <a:pt x="21820" y="1747"/>
                  </a:cubicBezTo>
                  <a:cubicBezTo>
                    <a:pt x="21790" y="1987"/>
                    <a:pt x="20074" y="1747"/>
                    <a:pt x="20405" y="2168"/>
                  </a:cubicBezTo>
                  <a:cubicBezTo>
                    <a:pt x="20736" y="2589"/>
                    <a:pt x="21850" y="2890"/>
                    <a:pt x="22422" y="3432"/>
                  </a:cubicBezTo>
                  <a:cubicBezTo>
                    <a:pt x="22636" y="3646"/>
                    <a:pt x="22630" y="3729"/>
                    <a:pt x="22507" y="3729"/>
                  </a:cubicBezTo>
                  <a:cubicBezTo>
                    <a:pt x="22301" y="3729"/>
                    <a:pt x="21764" y="3496"/>
                    <a:pt x="21368" y="3251"/>
                  </a:cubicBezTo>
                  <a:cubicBezTo>
                    <a:pt x="20736" y="2890"/>
                    <a:pt x="20014" y="2981"/>
                    <a:pt x="19653" y="2589"/>
                  </a:cubicBezTo>
                  <a:cubicBezTo>
                    <a:pt x="19363" y="2277"/>
                    <a:pt x="18511" y="2048"/>
                    <a:pt x="17942" y="2048"/>
                  </a:cubicBezTo>
                  <a:cubicBezTo>
                    <a:pt x="17744" y="2048"/>
                    <a:pt x="17580" y="2076"/>
                    <a:pt x="17486" y="2138"/>
                  </a:cubicBezTo>
                  <a:cubicBezTo>
                    <a:pt x="17155" y="2349"/>
                    <a:pt x="18479" y="2920"/>
                    <a:pt x="18479" y="3221"/>
                  </a:cubicBezTo>
                  <a:cubicBezTo>
                    <a:pt x="18479" y="3309"/>
                    <a:pt x="18400" y="3338"/>
                    <a:pt x="18283" y="3338"/>
                  </a:cubicBezTo>
                  <a:cubicBezTo>
                    <a:pt x="18054" y="3338"/>
                    <a:pt x="17680" y="3228"/>
                    <a:pt x="17463" y="3228"/>
                  </a:cubicBezTo>
                  <a:cubicBezTo>
                    <a:pt x="17409" y="3228"/>
                    <a:pt x="17365" y="3234"/>
                    <a:pt x="17336" y="3251"/>
                  </a:cubicBezTo>
                  <a:cubicBezTo>
                    <a:pt x="17324" y="3259"/>
                    <a:pt x="17311" y="3262"/>
                    <a:pt x="17295" y="3262"/>
                  </a:cubicBezTo>
                  <a:cubicBezTo>
                    <a:pt x="17058" y="3262"/>
                    <a:pt x="16344" y="2469"/>
                    <a:pt x="15921" y="2469"/>
                  </a:cubicBezTo>
                  <a:cubicBezTo>
                    <a:pt x="15470" y="2469"/>
                    <a:pt x="15831" y="2890"/>
                    <a:pt x="15831" y="3492"/>
                  </a:cubicBezTo>
                  <a:cubicBezTo>
                    <a:pt x="15831" y="3907"/>
                    <a:pt x="15402" y="4193"/>
                    <a:pt x="15214" y="4193"/>
                  </a:cubicBezTo>
                  <a:cubicBezTo>
                    <a:pt x="15130" y="4193"/>
                    <a:pt x="15094" y="4135"/>
                    <a:pt x="15169" y="4004"/>
                  </a:cubicBezTo>
                  <a:cubicBezTo>
                    <a:pt x="15379" y="3582"/>
                    <a:pt x="15229" y="2589"/>
                    <a:pt x="14747" y="2379"/>
                  </a:cubicBezTo>
                  <a:cubicBezTo>
                    <a:pt x="14684" y="2355"/>
                    <a:pt x="14608" y="2345"/>
                    <a:pt x="14523" y="2345"/>
                  </a:cubicBezTo>
                  <a:cubicBezTo>
                    <a:pt x="13968" y="2345"/>
                    <a:pt x="12998" y="2771"/>
                    <a:pt x="12392" y="2771"/>
                  </a:cubicBezTo>
                  <a:cubicBezTo>
                    <a:pt x="12374" y="2771"/>
                    <a:pt x="12357" y="2771"/>
                    <a:pt x="12340" y="2770"/>
                  </a:cubicBezTo>
                  <a:cubicBezTo>
                    <a:pt x="12298" y="2768"/>
                    <a:pt x="12255" y="2767"/>
                    <a:pt x="12212" y="2767"/>
                  </a:cubicBezTo>
                  <a:cubicBezTo>
                    <a:pt x="11576" y="2767"/>
                    <a:pt x="10871" y="2971"/>
                    <a:pt x="11407" y="3282"/>
                  </a:cubicBezTo>
                  <a:cubicBezTo>
                    <a:pt x="11752" y="3500"/>
                    <a:pt x="11669" y="3652"/>
                    <a:pt x="11437" y="3652"/>
                  </a:cubicBezTo>
                  <a:cubicBezTo>
                    <a:pt x="11284" y="3652"/>
                    <a:pt x="11068" y="3587"/>
                    <a:pt x="10865" y="3432"/>
                  </a:cubicBezTo>
                  <a:cubicBezTo>
                    <a:pt x="10720" y="3323"/>
                    <a:pt x="10472" y="3280"/>
                    <a:pt x="10205" y="3280"/>
                  </a:cubicBezTo>
                  <a:cubicBezTo>
                    <a:pt x="9585" y="3280"/>
                    <a:pt x="8867" y="3513"/>
                    <a:pt x="9120" y="3703"/>
                  </a:cubicBezTo>
                  <a:cubicBezTo>
                    <a:pt x="9421" y="4004"/>
                    <a:pt x="9511" y="4485"/>
                    <a:pt x="9330" y="4877"/>
                  </a:cubicBezTo>
                  <a:cubicBezTo>
                    <a:pt x="9286" y="4940"/>
                    <a:pt x="9221" y="4964"/>
                    <a:pt x="9140" y="4964"/>
                  </a:cubicBezTo>
                  <a:cubicBezTo>
                    <a:pt x="8842" y="4964"/>
                    <a:pt x="8330" y="4635"/>
                    <a:pt x="7845" y="4635"/>
                  </a:cubicBezTo>
                  <a:cubicBezTo>
                    <a:pt x="7828" y="4635"/>
                    <a:pt x="7812" y="4635"/>
                    <a:pt x="7796" y="4636"/>
                  </a:cubicBezTo>
                  <a:cubicBezTo>
                    <a:pt x="7164" y="4696"/>
                    <a:pt x="4034" y="6201"/>
                    <a:pt x="4214" y="6592"/>
                  </a:cubicBezTo>
                  <a:cubicBezTo>
                    <a:pt x="4299" y="6790"/>
                    <a:pt x="4643" y="6822"/>
                    <a:pt x="5028" y="6822"/>
                  </a:cubicBezTo>
                  <a:cubicBezTo>
                    <a:pt x="5210" y="6822"/>
                    <a:pt x="5402" y="6815"/>
                    <a:pt x="5579" y="6815"/>
                  </a:cubicBezTo>
                  <a:cubicBezTo>
                    <a:pt x="5824" y="6815"/>
                    <a:pt x="6041" y="6828"/>
                    <a:pt x="6170" y="6893"/>
                  </a:cubicBezTo>
                  <a:cubicBezTo>
                    <a:pt x="6592" y="7134"/>
                    <a:pt x="6020" y="8006"/>
                    <a:pt x="5508" y="8337"/>
                  </a:cubicBezTo>
                  <a:cubicBezTo>
                    <a:pt x="4967" y="8668"/>
                    <a:pt x="3101" y="8368"/>
                    <a:pt x="3010" y="8789"/>
                  </a:cubicBezTo>
                  <a:cubicBezTo>
                    <a:pt x="2950" y="9210"/>
                    <a:pt x="1" y="9270"/>
                    <a:pt x="1" y="9963"/>
                  </a:cubicBezTo>
                  <a:cubicBezTo>
                    <a:pt x="1" y="10233"/>
                    <a:pt x="212" y="10504"/>
                    <a:pt x="482" y="10564"/>
                  </a:cubicBezTo>
                  <a:cubicBezTo>
                    <a:pt x="904" y="10625"/>
                    <a:pt x="1385" y="10504"/>
                    <a:pt x="1777" y="10926"/>
                  </a:cubicBezTo>
                  <a:cubicBezTo>
                    <a:pt x="1980" y="11163"/>
                    <a:pt x="2402" y="11276"/>
                    <a:pt x="2867" y="11276"/>
                  </a:cubicBezTo>
                  <a:cubicBezTo>
                    <a:pt x="3228" y="11276"/>
                    <a:pt x="3614" y="11208"/>
                    <a:pt x="3943" y="11076"/>
                  </a:cubicBezTo>
                  <a:cubicBezTo>
                    <a:pt x="4144" y="10996"/>
                    <a:pt x="4328" y="10960"/>
                    <a:pt x="4489" y="10960"/>
                  </a:cubicBezTo>
                  <a:cubicBezTo>
                    <a:pt x="4932" y="10960"/>
                    <a:pt x="5207" y="11227"/>
                    <a:pt x="5207" y="11558"/>
                  </a:cubicBezTo>
                  <a:cubicBezTo>
                    <a:pt x="5207" y="11685"/>
                    <a:pt x="5075" y="11726"/>
                    <a:pt x="4874" y="11726"/>
                  </a:cubicBezTo>
                  <a:cubicBezTo>
                    <a:pt x="4513" y="11726"/>
                    <a:pt x="3930" y="11593"/>
                    <a:pt x="3498" y="11593"/>
                  </a:cubicBezTo>
                  <a:cubicBezTo>
                    <a:pt x="3322" y="11593"/>
                    <a:pt x="3171" y="11615"/>
                    <a:pt x="3071" y="11678"/>
                  </a:cubicBezTo>
                  <a:cubicBezTo>
                    <a:pt x="2559" y="11979"/>
                    <a:pt x="1024" y="11768"/>
                    <a:pt x="1114" y="12069"/>
                  </a:cubicBezTo>
                  <a:cubicBezTo>
                    <a:pt x="1175" y="12370"/>
                    <a:pt x="1927" y="12310"/>
                    <a:pt x="2529" y="12430"/>
                  </a:cubicBezTo>
                  <a:cubicBezTo>
                    <a:pt x="3131" y="12551"/>
                    <a:pt x="2619" y="12822"/>
                    <a:pt x="2559" y="13062"/>
                  </a:cubicBezTo>
                  <a:cubicBezTo>
                    <a:pt x="2529" y="13333"/>
                    <a:pt x="2920" y="13303"/>
                    <a:pt x="3522" y="13604"/>
                  </a:cubicBezTo>
                  <a:cubicBezTo>
                    <a:pt x="3896" y="13791"/>
                    <a:pt x="4422" y="13932"/>
                    <a:pt x="4686" y="13932"/>
                  </a:cubicBezTo>
                  <a:cubicBezTo>
                    <a:pt x="4847" y="13932"/>
                    <a:pt x="4911" y="13880"/>
                    <a:pt x="4786" y="13754"/>
                  </a:cubicBezTo>
                  <a:cubicBezTo>
                    <a:pt x="4602" y="13570"/>
                    <a:pt x="4818" y="13489"/>
                    <a:pt x="5072" y="13489"/>
                  </a:cubicBezTo>
                  <a:cubicBezTo>
                    <a:pt x="5275" y="13489"/>
                    <a:pt x="5502" y="13541"/>
                    <a:pt x="5568" y="13634"/>
                  </a:cubicBezTo>
                  <a:cubicBezTo>
                    <a:pt x="5596" y="13679"/>
                    <a:pt x="5635" y="13696"/>
                    <a:pt x="5682" y="13696"/>
                  </a:cubicBezTo>
                  <a:cubicBezTo>
                    <a:pt x="5861" y="13696"/>
                    <a:pt x="6164" y="13436"/>
                    <a:pt x="6484" y="13436"/>
                  </a:cubicBezTo>
                  <a:cubicBezTo>
                    <a:pt x="6529" y="13436"/>
                    <a:pt x="6576" y="13441"/>
                    <a:pt x="6622" y="13453"/>
                  </a:cubicBezTo>
                  <a:cubicBezTo>
                    <a:pt x="6668" y="13466"/>
                    <a:pt x="6711" y="13471"/>
                    <a:pt x="6752" y="13471"/>
                  </a:cubicBezTo>
                  <a:cubicBezTo>
                    <a:pt x="7033" y="13471"/>
                    <a:pt x="7190" y="13211"/>
                    <a:pt x="7418" y="13211"/>
                  </a:cubicBezTo>
                  <a:cubicBezTo>
                    <a:pt x="7478" y="13211"/>
                    <a:pt x="7542" y="13228"/>
                    <a:pt x="7615" y="13273"/>
                  </a:cubicBezTo>
                  <a:cubicBezTo>
                    <a:pt x="7976" y="13484"/>
                    <a:pt x="9601" y="13634"/>
                    <a:pt x="10173" y="13935"/>
                  </a:cubicBezTo>
                  <a:cubicBezTo>
                    <a:pt x="10745" y="14236"/>
                    <a:pt x="11497" y="14326"/>
                    <a:pt x="11407" y="14778"/>
                  </a:cubicBezTo>
                  <a:cubicBezTo>
                    <a:pt x="11347" y="15229"/>
                    <a:pt x="11888" y="15530"/>
                    <a:pt x="12490" y="15831"/>
                  </a:cubicBezTo>
                  <a:cubicBezTo>
                    <a:pt x="13002" y="16042"/>
                    <a:pt x="13273" y="16553"/>
                    <a:pt x="13243" y="17095"/>
                  </a:cubicBezTo>
                  <a:cubicBezTo>
                    <a:pt x="13213" y="17516"/>
                    <a:pt x="13935" y="17787"/>
                    <a:pt x="13814" y="17968"/>
                  </a:cubicBezTo>
                  <a:cubicBezTo>
                    <a:pt x="13694" y="18148"/>
                    <a:pt x="13784" y="18419"/>
                    <a:pt x="14206" y="18780"/>
                  </a:cubicBezTo>
                  <a:cubicBezTo>
                    <a:pt x="14597" y="19171"/>
                    <a:pt x="13544" y="19442"/>
                    <a:pt x="13814" y="19773"/>
                  </a:cubicBezTo>
                  <a:cubicBezTo>
                    <a:pt x="14085" y="20104"/>
                    <a:pt x="13453" y="20736"/>
                    <a:pt x="14206" y="20857"/>
                  </a:cubicBezTo>
                  <a:cubicBezTo>
                    <a:pt x="14271" y="20867"/>
                    <a:pt x="14330" y="20872"/>
                    <a:pt x="14383" y="20872"/>
                  </a:cubicBezTo>
                  <a:cubicBezTo>
                    <a:pt x="14937" y="20872"/>
                    <a:pt x="14855" y="20345"/>
                    <a:pt x="15349" y="20345"/>
                  </a:cubicBezTo>
                  <a:cubicBezTo>
                    <a:pt x="15921" y="20345"/>
                    <a:pt x="15349" y="20827"/>
                    <a:pt x="15650" y="21128"/>
                  </a:cubicBezTo>
                  <a:cubicBezTo>
                    <a:pt x="15951" y="21429"/>
                    <a:pt x="16613" y="21338"/>
                    <a:pt x="17155" y="21850"/>
                  </a:cubicBezTo>
                  <a:cubicBezTo>
                    <a:pt x="17529" y="22165"/>
                    <a:pt x="17517" y="22390"/>
                    <a:pt x="17312" y="22390"/>
                  </a:cubicBezTo>
                  <a:cubicBezTo>
                    <a:pt x="17204" y="22390"/>
                    <a:pt x="17041" y="22327"/>
                    <a:pt x="16854" y="22181"/>
                  </a:cubicBezTo>
                  <a:cubicBezTo>
                    <a:pt x="16591" y="21965"/>
                    <a:pt x="16043" y="21891"/>
                    <a:pt x="15572" y="21891"/>
                  </a:cubicBezTo>
                  <a:cubicBezTo>
                    <a:pt x="15125" y="21891"/>
                    <a:pt x="14747" y="21957"/>
                    <a:pt x="14747" y="22030"/>
                  </a:cubicBezTo>
                  <a:cubicBezTo>
                    <a:pt x="14747" y="22170"/>
                    <a:pt x="16250" y="23009"/>
                    <a:pt x="16756" y="23009"/>
                  </a:cubicBezTo>
                  <a:cubicBezTo>
                    <a:pt x="16795" y="23009"/>
                    <a:pt x="16828" y="23004"/>
                    <a:pt x="16854" y="22994"/>
                  </a:cubicBezTo>
                  <a:cubicBezTo>
                    <a:pt x="16889" y="22980"/>
                    <a:pt x="16926" y="22974"/>
                    <a:pt x="16963" y="22974"/>
                  </a:cubicBezTo>
                  <a:cubicBezTo>
                    <a:pt x="17341" y="22974"/>
                    <a:pt x="17795" y="23617"/>
                    <a:pt x="17576" y="23836"/>
                  </a:cubicBezTo>
                  <a:cubicBezTo>
                    <a:pt x="17366" y="24047"/>
                    <a:pt x="17456" y="24649"/>
                    <a:pt x="17426" y="24920"/>
                  </a:cubicBezTo>
                  <a:cubicBezTo>
                    <a:pt x="17416" y="25012"/>
                    <a:pt x="17339" y="25041"/>
                    <a:pt x="17228" y="25041"/>
                  </a:cubicBezTo>
                  <a:cubicBezTo>
                    <a:pt x="17029" y="25041"/>
                    <a:pt x="16717" y="24947"/>
                    <a:pt x="16468" y="24947"/>
                  </a:cubicBezTo>
                  <a:cubicBezTo>
                    <a:pt x="16446" y="24947"/>
                    <a:pt x="16424" y="24948"/>
                    <a:pt x="16403" y="24950"/>
                  </a:cubicBezTo>
                  <a:cubicBezTo>
                    <a:pt x="16041" y="24980"/>
                    <a:pt x="15771" y="25160"/>
                    <a:pt x="15771" y="25521"/>
                  </a:cubicBezTo>
                  <a:cubicBezTo>
                    <a:pt x="15771" y="25913"/>
                    <a:pt x="15169" y="26214"/>
                    <a:pt x="15139" y="26695"/>
                  </a:cubicBezTo>
                  <a:cubicBezTo>
                    <a:pt x="15109" y="27177"/>
                    <a:pt x="15590" y="27177"/>
                    <a:pt x="15891" y="27357"/>
                  </a:cubicBezTo>
                  <a:cubicBezTo>
                    <a:pt x="16192" y="27538"/>
                    <a:pt x="15319" y="27748"/>
                    <a:pt x="15289" y="28079"/>
                  </a:cubicBezTo>
                  <a:cubicBezTo>
                    <a:pt x="15259" y="28411"/>
                    <a:pt x="16072" y="29043"/>
                    <a:pt x="16373" y="29253"/>
                  </a:cubicBezTo>
                  <a:cubicBezTo>
                    <a:pt x="16673" y="29434"/>
                    <a:pt x="16403" y="30186"/>
                    <a:pt x="16523" y="30607"/>
                  </a:cubicBezTo>
                  <a:cubicBezTo>
                    <a:pt x="16564" y="30740"/>
                    <a:pt x="16640" y="30769"/>
                    <a:pt x="16718" y="30769"/>
                  </a:cubicBezTo>
                  <a:cubicBezTo>
                    <a:pt x="16778" y="30769"/>
                    <a:pt x="16839" y="30753"/>
                    <a:pt x="16888" y="30753"/>
                  </a:cubicBezTo>
                  <a:cubicBezTo>
                    <a:pt x="16964" y="30753"/>
                    <a:pt x="17011" y="30793"/>
                    <a:pt x="16974" y="30999"/>
                  </a:cubicBezTo>
                  <a:cubicBezTo>
                    <a:pt x="16914" y="31540"/>
                    <a:pt x="17366" y="31510"/>
                    <a:pt x="17396" y="31811"/>
                  </a:cubicBezTo>
                  <a:cubicBezTo>
                    <a:pt x="17426" y="32112"/>
                    <a:pt x="18148" y="32052"/>
                    <a:pt x="17998" y="32473"/>
                  </a:cubicBezTo>
                  <a:cubicBezTo>
                    <a:pt x="17847" y="32895"/>
                    <a:pt x="18208" y="33196"/>
                    <a:pt x="18359" y="33466"/>
                  </a:cubicBezTo>
                  <a:cubicBezTo>
                    <a:pt x="18509" y="33707"/>
                    <a:pt x="19171" y="34068"/>
                    <a:pt x="19262" y="34369"/>
                  </a:cubicBezTo>
                  <a:cubicBezTo>
                    <a:pt x="19370" y="34640"/>
                    <a:pt x="19649" y="34984"/>
                    <a:pt x="20011" y="34984"/>
                  </a:cubicBezTo>
                  <a:cubicBezTo>
                    <a:pt x="20051" y="34984"/>
                    <a:pt x="20092" y="34980"/>
                    <a:pt x="20134" y="34971"/>
                  </a:cubicBezTo>
                  <a:cubicBezTo>
                    <a:pt x="20188" y="34956"/>
                    <a:pt x="20235" y="34949"/>
                    <a:pt x="20277" y="34949"/>
                  </a:cubicBezTo>
                  <a:cubicBezTo>
                    <a:pt x="20535" y="34949"/>
                    <a:pt x="20611" y="35195"/>
                    <a:pt x="20827" y="35195"/>
                  </a:cubicBezTo>
                  <a:cubicBezTo>
                    <a:pt x="20855" y="35195"/>
                    <a:pt x="20884" y="35191"/>
                    <a:pt x="20917" y="35182"/>
                  </a:cubicBezTo>
                  <a:cubicBezTo>
                    <a:pt x="20947" y="35179"/>
                    <a:pt x="20977" y="35178"/>
                    <a:pt x="21008" y="35178"/>
                  </a:cubicBezTo>
                  <a:cubicBezTo>
                    <a:pt x="21338" y="35178"/>
                    <a:pt x="21659" y="35327"/>
                    <a:pt x="21880" y="35603"/>
                  </a:cubicBezTo>
                  <a:cubicBezTo>
                    <a:pt x="21940" y="35874"/>
                    <a:pt x="22963" y="36085"/>
                    <a:pt x="23264" y="36115"/>
                  </a:cubicBezTo>
                  <a:cubicBezTo>
                    <a:pt x="23281" y="36118"/>
                    <a:pt x="23296" y="36120"/>
                    <a:pt x="23311" y="36120"/>
                  </a:cubicBezTo>
                  <a:cubicBezTo>
                    <a:pt x="23566" y="36120"/>
                    <a:pt x="23580" y="35655"/>
                    <a:pt x="23836" y="35513"/>
                  </a:cubicBezTo>
                  <a:cubicBezTo>
                    <a:pt x="24077" y="35362"/>
                    <a:pt x="23987" y="34369"/>
                    <a:pt x="24227" y="34279"/>
                  </a:cubicBezTo>
                  <a:cubicBezTo>
                    <a:pt x="24498" y="34219"/>
                    <a:pt x="24378" y="33105"/>
                    <a:pt x="24167" y="33045"/>
                  </a:cubicBezTo>
                  <a:cubicBezTo>
                    <a:pt x="23936" y="32958"/>
                    <a:pt x="24010" y="32622"/>
                    <a:pt x="24469" y="32622"/>
                  </a:cubicBezTo>
                  <a:cubicBezTo>
                    <a:pt x="24488" y="32622"/>
                    <a:pt x="24508" y="32623"/>
                    <a:pt x="24528" y="32624"/>
                  </a:cubicBezTo>
                  <a:cubicBezTo>
                    <a:pt x="24545" y="32625"/>
                    <a:pt x="24560" y="32625"/>
                    <a:pt x="24575" y="32625"/>
                  </a:cubicBezTo>
                  <a:cubicBezTo>
                    <a:pt x="25061" y="32625"/>
                    <a:pt x="24928" y="32171"/>
                    <a:pt x="25190" y="32112"/>
                  </a:cubicBezTo>
                  <a:cubicBezTo>
                    <a:pt x="25431" y="32022"/>
                    <a:pt x="25281" y="31540"/>
                    <a:pt x="25491" y="31510"/>
                  </a:cubicBezTo>
                  <a:cubicBezTo>
                    <a:pt x="25672" y="31450"/>
                    <a:pt x="25672" y="31119"/>
                    <a:pt x="25521" y="30938"/>
                  </a:cubicBezTo>
                  <a:cubicBezTo>
                    <a:pt x="25371" y="30758"/>
                    <a:pt x="25551" y="30607"/>
                    <a:pt x="25822" y="30547"/>
                  </a:cubicBezTo>
                  <a:cubicBezTo>
                    <a:pt x="26093" y="30517"/>
                    <a:pt x="26033" y="30096"/>
                    <a:pt x="25672" y="29945"/>
                  </a:cubicBezTo>
                  <a:cubicBezTo>
                    <a:pt x="25365" y="29827"/>
                    <a:pt x="25373" y="29580"/>
                    <a:pt x="25579" y="29580"/>
                  </a:cubicBezTo>
                  <a:cubicBezTo>
                    <a:pt x="25636" y="29580"/>
                    <a:pt x="25708" y="29599"/>
                    <a:pt x="25792" y="29644"/>
                  </a:cubicBezTo>
                  <a:cubicBezTo>
                    <a:pt x="25919" y="29729"/>
                    <a:pt x="26034" y="29765"/>
                    <a:pt x="26123" y="29765"/>
                  </a:cubicBezTo>
                  <a:cubicBezTo>
                    <a:pt x="26288" y="29765"/>
                    <a:pt x="26361" y="29640"/>
                    <a:pt x="26244" y="29464"/>
                  </a:cubicBezTo>
                  <a:cubicBezTo>
                    <a:pt x="26033" y="29193"/>
                    <a:pt x="26454" y="29043"/>
                    <a:pt x="26936" y="28982"/>
                  </a:cubicBezTo>
                  <a:cubicBezTo>
                    <a:pt x="27447" y="28892"/>
                    <a:pt x="27688" y="28681"/>
                    <a:pt x="27628" y="28290"/>
                  </a:cubicBezTo>
                  <a:cubicBezTo>
                    <a:pt x="27584" y="28114"/>
                    <a:pt x="27720" y="28030"/>
                    <a:pt x="27845" y="28030"/>
                  </a:cubicBezTo>
                  <a:cubicBezTo>
                    <a:pt x="27977" y="28030"/>
                    <a:pt x="28097" y="28121"/>
                    <a:pt x="27989" y="28290"/>
                  </a:cubicBezTo>
                  <a:cubicBezTo>
                    <a:pt x="27854" y="28561"/>
                    <a:pt x="27904" y="28798"/>
                    <a:pt x="28040" y="28798"/>
                  </a:cubicBezTo>
                  <a:cubicBezTo>
                    <a:pt x="28085" y="28798"/>
                    <a:pt x="28140" y="28772"/>
                    <a:pt x="28200" y="28711"/>
                  </a:cubicBezTo>
                  <a:cubicBezTo>
                    <a:pt x="28410" y="28501"/>
                    <a:pt x="28862" y="28651"/>
                    <a:pt x="29644" y="28411"/>
                  </a:cubicBezTo>
                  <a:cubicBezTo>
                    <a:pt x="30457" y="28200"/>
                    <a:pt x="31239" y="27508"/>
                    <a:pt x="31420" y="26876"/>
                  </a:cubicBezTo>
                  <a:cubicBezTo>
                    <a:pt x="31600" y="26244"/>
                    <a:pt x="32503" y="26304"/>
                    <a:pt x="32413" y="25913"/>
                  </a:cubicBezTo>
                  <a:cubicBezTo>
                    <a:pt x="32334" y="25636"/>
                    <a:pt x="32424" y="25476"/>
                    <a:pt x="32666" y="25476"/>
                  </a:cubicBezTo>
                  <a:cubicBezTo>
                    <a:pt x="32792" y="25476"/>
                    <a:pt x="32959" y="25519"/>
                    <a:pt x="33165" y="25612"/>
                  </a:cubicBezTo>
                  <a:cubicBezTo>
                    <a:pt x="33292" y="25662"/>
                    <a:pt x="33369" y="25682"/>
                    <a:pt x="33419" y="25682"/>
                  </a:cubicBezTo>
                  <a:cubicBezTo>
                    <a:pt x="33604" y="25682"/>
                    <a:pt x="33395" y="25401"/>
                    <a:pt x="33918" y="25401"/>
                  </a:cubicBezTo>
                  <a:cubicBezTo>
                    <a:pt x="34550" y="25401"/>
                    <a:pt x="34459" y="25190"/>
                    <a:pt x="35061" y="25160"/>
                  </a:cubicBezTo>
                  <a:cubicBezTo>
                    <a:pt x="35663" y="25100"/>
                    <a:pt x="37379" y="24859"/>
                    <a:pt x="37920" y="24408"/>
                  </a:cubicBezTo>
                  <a:cubicBezTo>
                    <a:pt x="38492" y="23957"/>
                    <a:pt x="39666" y="23535"/>
                    <a:pt x="40178" y="23234"/>
                  </a:cubicBezTo>
                  <a:cubicBezTo>
                    <a:pt x="40613" y="22992"/>
                    <a:pt x="40737" y="22770"/>
                    <a:pt x="40613" y="22770"/>
                  </a:cubicBezTo>
                  <a:cubicBezTo>
                    <a:pt x="40583" y="22770"/>
                    <a:pt x="40538" y="22783"/>
                    <a:pt x="40478" y="22813"/>
                  </a:cubicBezTo>
                  <a:cubicBezTo>
                    <a:pt x="40196" y="22907"/>
                    <a:pt x="39891" y="22954"/>
                    <a:pt x="39591" y="22954"/>
                  </a:cubicBezTo>
                  <a:cubicBezTo>
                    <a:pt x="39411" y="22954"/>
                    <a:pt x="39233" y="22937"/>
                    <a:pt x="39064" y="22903"/>
                  </a:cubicBezTo>
                  <a:cubicBezTo>
                    <a:pt x="38727" y="22813"/>
                    <a:pt x="38223" y="22556"/>
                    <a:pt x="37764" y="22556"/>
                  </a:cubicBezTo>
                  <a:cubicBezTo>
                    <a:pt x="37607" y="22556"/>
                    <a:pt x="37456" y="22586"/>
                    <a:pt x="37318" y="22662"/>
                  </a:cubicBezTo>
                  <a:cubicBezTo>
                    <a:pt x="37234" y="22712"/>
                    <a:pt x="37171" y="22733"/>
                    <a:pt x="37128" y="22733"/>
                  </a:cubicBezTo>
                  <a:cubicBezTo>
                    <a:pt x="36911" y="22733"/>
                    <a:pt x="37183" y="22206"/>
                    <a:pt x="37559" y="22181"/>
                  </a:cubicBezTo>
                  <a:cubicBezTo>
                    <a:pt x="38011" y="22151"/>
                    <a:pt x="37830" y="21880"/>
                    <a:pt x="37710" y="21429"/>
                  </a:cubicBezTo>
                  <a:cubicBezTo>
                    <a:pt x="37667" y="21270"/>
                    <a:pt x="37744" y="21201"/>
                    <a:pt x="37876" y="21201"/>
                  </a:cubicBezTo>
                  <a:cubicBezTo>
                    <a:pt x="38122" y="21201"/>
                    <a:pt x="38559" y="21438"/>
                    <a:pt x="38793" y="21790"/>
                  </a:cubicBezTo>
                  <a:cubicBezTo>
                    <a:pt x="39092" y="22204"/>
                    <a:pt x="39568" y="22425"/>
                    <a:pt x="40071" y="22425"/>
                  </a:cubicBezTo>
                  <a:cubicBezTo>
                    <a:pt x="40226" y="22425"/>
                    <a:pt x="40383" y="22404"/>
                    <a:pt x="40539" y="22362"/>
                  </a:cubicBezTo>
                  <a:cubicBezTo>
                    <a:pt x="41171" y="22181"/>
                    <a:pt x="40569" y="21699"/>
                    <a:pt x="40840" y="21308"/>
                  </a:cubicBezTo>
                  <a:cubicBezTo>
                    <a:pt x="41080" y="20947"/>
                    <a:pt x="38883" y="19894"/>
                    <a:pt x="38763" y="19503"/>
                  </a:cubicBezTo>
                  <a:cubicBezTo>
                    <a:pt x="38719" y="19370"/>
                    <a:pt x="38784" y="19318"/>
                    <a:pt x="38915" y="19318"/>
                  </a:cubicBezTo>
                  <a:cubicBezTo>
                    <a:pt x="39139" y="19318"/>
                    <a:pt x="39556" y="19471"/>
                    <a:pt x="39937" y="19623"/>
                  </a:cubicBezTo>
                  <a:cubicBezTo>
                    <a:pt x="40014" y="19650"/>
                    <a:pt x="40084" y="19662"/>
                    <a:pt x="40147" y="19662"/>
                  </a:cubicBezTo>
                  <a:cubicBezTo>
                    <a:pt x="40575" y="19662"/>
                    <a:pt x="40689" y="19103"/>
                    <a:pt x="40689" y="18840"/>
                  </a:cubicBezTo>
                  <a:cubicBezTo>
                    <a:pt x="40689" y="18660"/>
                    <a:pt x="40296" y="18560"/>
                    <a:pt x="39845" y="18560"/>
                  </a:cubicBezTo>
                  <a:cubicBezTo>
                    <a:pt x="39469" y="18560"/>
                    <a:pt x="39053" y="18630"/>
                    <a:pt x="38793" y="18780"/>
                  </a:cubicBezTo>
                  <a:cubicBezTo>
                    <a:pt x="38691" y="18839"/>
                    <a:pt x="38588" y="18864"/>
                    <a:pt x="38492" y="18864"/>
                  </a:cubicBezTo>
                  <a:cubicBezTo>
                    <a:pt x="38052" y="18864"/>
                    <a:pt x="37764" y="18343"/>
                    <a:pt x="38432" y="18269"/>
                  </a:cubicBezTo>
                  <a:cubicBezTo>
                    <a:pt x="39214" y="18148"/>
                    <a:pt x="38492" y="17847"/>
                    <a:pt x="38763" y="17607"/>
                  </a:cubicBezTo>
                  <a:cubicBezTo>
                    <a:pt x="38788" y="17584"/>
                    <a:pt x="38822" y="17575"/>
                    <a:pt x="38863" y="17575"/>
                  </a:cubicBezTo>
                  <a:cubicBezTo>
                    <a:pt x="39178" y="17575"/>
                    <a:pt x="39906" y="18165"/>
                    <a:pt x="40358" y="18165"/>
                  </a:cubicBezTo>
                  <a:cubicBezTo>
                    <a:pt x="40401" y="18165"/>
                    <a:pt x="40441" y="18160"/>
                    <a:pt x="40478" y="18148"/>
                  </a:cubicBezTo>
                  <a:cubicBezTo>
                    <a:pt x="40990" y="17998"/>
                    <a:pt x="41381" y="18148"/>
                    <a:pt x="41833" y="17817"/>
                  </a:cubicBezTo>
                  <a:cubicBezTo>
                    <a:pt x="42284" y="17456"/>
                    <a:pt x="41050" y="17125"/>
                    <a:pt x="40779" y="16824"/>
                  </a:cubicBezTo>
                  <a:cubicBezTo>
                    <a:pt x="40646" y="16657"/>
                    <a:pt x="41060" y="16620"/>
                    <a:pt x="41532" y="16620"/>
                  </a:cubicBezTo>
                  <a:cubicBezTo>
                    <a:pt x="41910" y="16620"/>
                    <a:pt x="42324" y="16644"/>
                    <a:pt x="42525" y="16644"/>
                  </a:cubicBezTo>
                  <a:cubicBezTo>
                    <a:pt x="42932" y="16644"/>
                    <a:pt x="43094" y="16080"/>
                    <a:pt x="42835" y="16080"/>
                  </a:cubicBezTo>
                  <a:cubicBezTo>
                    <a:pt x="42807" y="16080"/>
                    <a:pt x="42774" y="16087"/>
                    <a:pt x="42736" y="16102"/>
                  </a:cubicBezTo>
                  <a:cubicBezTo>
                    <a:pt x="42697" y="16118"/>
                    <a:pt x="42647" y="16125"/>
                    <a:pt x="42590" y="16125"/>
                  </a:cubicBezTo>
                  <a:cubicBezTo>
                    <a:pt x="42110" y="16125"/>
                    <a:pt x="41079" y="15602"/>
                    <a:pt x="41321" y="15199"/>
                  </a:cubicBezTo>
                  <a:cubicBezTo>
                    <a:pt x="41409" y="15062"/>
                    <a:pt x="41522" y="15024"/>
                    <a:pt x="41655" y="15024"/>
                  </a:cubicBezTo>
                  <a:cubicBezTo>
                    <a:pt x="41828" y="15024"/>
                    <a:pt x="42035" y="15089"/>
                    <a:pt x="42265" y="15089"/>
                  </a:cubicBezTo>
                  <a:cubicBezTo>
                    <a:pt x="42404" y="15089"/>
                    <a:pt x="42552" y="15065"/>
                    <a:pt x="42705" y="14988"/>
                  </a:cubicBezTo>
                  <a:cubicBezTo>
                    <a:pt x="43307" y="14687"/>
                    <a:pt x="42736" y="13544"/>
                    <a:pt x="42344" y="13544"/>
                  </a:cubicBezTo>
                  <a:cubicBezTo>
                    <a:pt x="41923" y="13544"/>
                    <a:pt x="40900" y="13393"/>
                    <a:pt x="40900" y="13183"/>
                  </a:cubicBezTo>
                  <a:cubicBezTo>
                    <a:pt x="40900" y="12942"/>
                    <a:pt x="40117" y="12791"/>
                    <a:pt x="40328" y="12581"/>
                  </a:cubicBezTo>
                  <a:cubicBezTo>
                    <a:pt x="40378" y="12530"/>
                    <a:pt x="40431" y="12513"/>
                    <a:pt x="40488" y="12513"/>
                  </a:cubicBezTo>
                  <a:cubicBezTo>
                    <a:pt x="40618" y="12513"/>
                    <a:pt x="40768" y="12603"/>
                    <a:pt x="40955" y="12603"/>
                  </a:cubicBezTo>
                  <a:cubicBezTo>
                    <a:pt x="41079" y="12603"/>
                    <a:pt x="41220" y="12563"/>
                    <a:pt x="41381" y="12430"/>
                  </a:cubicBezTo>
                  <a:cubicBezTo>
                    <a:pt x="41538" y="12308"/>
                    <a:pt x="41748" y="12267"/>
                    <a:pt x="41978" y="12267"/>
                  </a:cubicBezTo>
                  <a:cubicBezTo>
                    <a:pt x="42461" y="12267"/>
                    <a:pt x="43036" y="12448"/>
                    <a:pt x="43407" y="12448"/>
                  </a:cubicBezTo>
                  <a:cubicBezTo>
                    <a:pt x="43470" y="12448"/>
                    <a:pt x="43528" y="12443"/>
                    <a:pt x="43578" y="12430"/>
                  </a:cubicBezTo>
                  <a:cubicBezTo>
                    <a:pt x="44022" y="12319"/>
                    <a:pt x="43444" y="11570"/>
                    <a:pt x="43162" y="11570"/>
                  </a:cubicBezTo>
                  <a:cubicBezTo>
                    <a:pt x="43138" y="11570"/>
                    <a:pt x="43116" y="11576"/>
                    <a:pt x="43097" y="11588"/>
                  </a:cubicBezTo>
                  <a:cubicBezTo>
                    <a:pt x="42989" y="11659"/>
                    <a:pt x="42769" y="11707"/>
                    <a:pt x="42538" y="11707"/>
                  </a:cubicBezTo>
                  <a:cubicBezTo>
                    <a:pt x="42185" y="11707"/>
                    <a:pt x="41809" y="11596"/>
                    <a:pt x="41773" y="11287"/>
                  </a:cubicBezTo>
                  <a:cubicBezTo>
                    <a:pt x="41740" y="11112"/>
                    <a:pt x="41850" y="11064"/>
                    <a:pt x="42011" y="11064"/>
                  </a:cubicBezTo>
                  <a:cubicBezTo>
                    <a:pt x="42204" y="11064"/>
                    <a:pt x="42471" y="11133"/>
                    <a:pt x="42650" y="11133"/>
                  </a:cubicBezTo>
                  <a:cubicBezTo>
                    <a:pt x="42732" y="11133"/>
                    <a:pt x="42796" y="11118"/>
                    <a:pt x="42826" y="11076"/>
                  </a:cubicBezTo>
                  <a:cubicBezTo>
                    <a:pt x="42934" y="10903"/>
                    <a:pt x="42190" y="10545"/>
                    <a:pt x="41672" y="10545"/>
                  </a:cubicBezTo>
                  <a:cubicBezTo>
                    <a:pt x="41468" y="10545"/>
                    <a:pt x="41299" y="10600"/>
                    <a:pt x="41231" y="10745"/>
                  </a:cubicBezTo>
                  <a:cubicBezTo>
                    <a:pt x="41133" y="10968"/>
                    <a:pt x="40901" y="11055"/>
                    <a:pt x="40721" y="11055"/>
                  </a:cubicBezTo>
                  <a:cubicBezTo>
                    <a:pt x="40511" y="11055"/>
                    <a:pt x="40372" y="10937"/>
                    <a:pt x="40599" y="10775"/>
                  </a:cubicBezTo>
                  <a:cubicBezTo>
                    <a:pt x="41020" y="10474"/>
                    <a:pt x="41171" y="9692"/>
                    <a:pt x="41080" y="9300"/>
                  </a:cubicBezTo>
                  <a:cubicBezTo>
                    <a:pt x="41020" y="8939"/>
                    <a:pt x="42705" y="8879"/>
                    <a:pt x="42525" y="8217"/>
                  </a:cubicBezTo>
                  <a:cubicBezTo>
                    <a:pt x="42344" y="7555"/>
                    <a:pt x="43277" y="7435"/>
                    <a:pt x="43849" y="7435"/>
                  </a:cubicBezTo>
                  <a:cubicBezTo>
                    <a:pt x="44359" y="7435"/>
                    <a:pt x="43856" y="6795"/>
                    <a:pt x="43368" y="6795"/>
                  </a:cubicBezTo>
                  <a:cubicBezTo>
                    <a:pt x="43338" y="6795"/>
                    <a:pt x="43307" y="6797"/>
                    <a:pt x="43277" y="6803"/>
                  </a:cubicBezTo>
                  <a:cubicBezTo>
                    <a:pt x="42834" y="6852"/>
                    <a:pt x="42411" y="7263"/>
                    <a:pt x="42124" y="7263"/>
                  </a:cubicBezTo>
                  <a:cubicBezTo>
                    <a:pt x="42060" y="7263"/>
                    <a:pt x="42002" y="7243"/>
                    <a:pt x="41953" y="7194"/>
                  </a:cubicBezTo>
                  <a:cubicBezTo>
                    <a:pt x="41682" y="6953"/>
                    <a:pt x="42585" y="6562"/>
                    <a:pt x="43037" y="6562"/>
                  </a:cubicBezTo>
                  <a:cubicBezTo>
                    <a:pt x="43488" y="6562"/>
                    <a:pt x="44632" y="6532"/>
                    <a:pt x="45053" y="6291"/>
                  </a:cubicBezTo>
                  <a:cubicBezTo>
                    <a:pt x="45386" y="6112"/>
                    <a:pt x="44628" y="5910"/>
                    <a:pt x="43931" y="5910"/>
                  </a:cubicBezTo>
                  <a:cubicBezTo>
                    <a:pt x="43809" y="5910"/>
                    <a:pt x="43690" y="5916"/>
                    <a:pt x="43578" y="5930"/>
                  </a:cubicBezTo>
                  <a:cubicBezTo>
                    <a:pt x="43510" y="5935"/>
                    <a:pt x="43448" y="5938"/>
                    <a:pt x="43393" y="5938"/>
                  </a:cubicBezTo>
                  <a:cubicBezTo>
                    <a:pt x="42835" y="5938"/>
                    <a:pt x="42927" y="5686"/>
                    <a:pt x="43939" y="5659"/>
                  </a:cubicBezTo>
                  <a:cubicBezTo>
                    <a:pt x="45083" y="5629"/>
                    <a:pt x="44902" y="5448"/>
                    <a:pt x="45685" y="5328"/>
                  </a:cubicBezTo>
                  <a:cubicBezTo>
                    <a:pt x="46467" y="5208"/>
                    <a:pt x="46257" y="4907"/>
                    <a:pt x="46738" y="4877"/>
                  </a:cubicBezTo>
                  <a:cubicBezTo>
                    <a:pt x="47220" y="4846"/>
                    <a:pt x="48514" y="4305"/>
                    <a:pt x="48514" y="4034"/>
                  </a:cubicBezTo>
                  <a:cubicBezTo>
                    <a:pt x="48514" y="3793"/>
                    <a:pt x="46648" y="3282"/>
                    <a:pt x="45775" y="3282"/>
                  </a:cubicBezTo>
                  <a:cubicBezTo>
                    <a:pt x="44932" y="3282"/>
                    <a:pt x="44210" y="3432"/>
                    <a:pt x="44180" y="4034"/>
                  </a:cubicBezTo>
                  <a:cubicBezTo>
                    <a:pt x="44161" y="4224"/>
                    <a:pt x="44037" y="4285"/>
                    <a:pt x="43861" y="4285"/>
                  </a:cubicBezTo>
                  <a:cubicBezTo>
                    <a:pt x="43549" y="4285"/>
                    <a:pt x="43076" y="4093"/>
                    <a:pt x="42746" y="4093"/>
                  </a:cubicBezTo>
                  <a:cubicBezTo>
                    <a:pt x="42675" y="4093"/>
                    <a:pt x="42610" y="4102"/>
                    <a:pt x="42555" y="4124"/>
                  </a:cubicBezTo>
                  <a:cubicBezTo>
                    <a:pt x="42502" y="4145"/>
                    <a:pt x="42458" y="4155"/>
                    <a:pt x="42421" y="4155"/>
                  </a:cubicBezTo>
                  <a:cubicBezTo>
                    <a:pt x="42191" y="4155"/>
                    <a:pt x="42230" y="3802"/>
                    <a:pt x="42008" y="3802"/>
                  </a:cubicBezTo>
                  <a:cubicBezTo>
                    <a:pt x="41962" y="3802"/>
                    <a:pt x="41905" y="3817"/>
                    <a:pt x="41833" y="3853"/>
                  </a:cubicBezTo>
                  <a:cubicBezTo>
                    <a:pt x="41351" y="4094"/>
                    <a:pt x="40870" y="4696"/>
                    <a:pt x="40298" y="4907"/>
                  </a:cubicBezTo>
                  <a:cubicBezTo>
                    <a:pt x="39726" y="5117"/>
                    <a:pt x="39305" y="5719"/>
                    <a:pt x="38974" y="5779"/>
                  </a:cubicBezTo>
                  <a:cubicBezTo>
                    <a:pt x="38969" y="5780"/>
                    <a:pt x="38965" y="5780"/>
                    <a:pt x="38961" y="5780"/>
                  </a:cubicBezTo>
                  <a:cubicBezTo>
                    <a:pt x="38671" y="5780"/>
                    <a:pt x="39734" y="4688"/>
                    <a:pt x="40298" y="4124"/>
                  </a:cubicBezTo>
                  <a:cubicBezTo>
                    <a:pt x="40844" y="3578"/>
                    <a:pt x="40539" y="2977"/>
                    <a:pt x="39907" y="2977"/>
                  </a:cubicBezTo>
                  <a:cubicBezTo>
                    <a:pt x="39877" y="2977"/>
                    <a:pt x="39847" y="2978"/>
                    <a:pt x="39816" y="2981"/>
                  </a:cubicBezTo>
                  <a:cubicBezTo>
                    <a:pt x="39094" y="3071"/>
                    <a:pt x="39214" y="3522"/>
                    <a:pt x="38793" y="3613"/>
                  </a:cubicBezTo>
                  <a:cubicBezTo>
                    <a:pt x="38427" y="3717"/>
                    <a:pt x="36855" y="4482"/>
                    <a:pt x="36391" y="4482"/>
                  </a:cubicBezTo>
                  <a:cubicBezTo>
                    <a:pt x="36322" y="4482"/>
                    <a:pt x="36277" y="4464"/>
                    <a:pt x="36265" y="4425"/>
                  </a:cubicBezTo>
                  <a:cubicBezTo>
                    <a:pt x="36205" y="4124"/>
                    <a:pt x="37920" y="3582"/>
                    <a:pt x="37890" y="3372"/>
                  </a:cubicBezTo>
                  <a:cubicBezTo>
                    <a:pt x="37873" y="3237"/>
                    <a:pt x="37181" y="3178"/>
                    <a:pt x="36405" y="3178"/>
                  </a:cubicBezTo>
                  <a:cubicBezTo>
                    <a:pt x="35791" y="3178"/>
                    <a:pt x="35125" y="3215"/>
                    <a:pt x="34700" y="3282"/>
                  </a:cubicBezTo>
                  <a:cubicBezTo>
                    <a:pt x="33909" y="3401"/>
                    <a:pt x="32658" y="3789"/>
                    <a:pt x="32153" y="3789"/>
                  </a:cubicBezTo>
                  <a:cubicBezTo>
                    <a:pt x="32024" y="3789"/>
                    <a:pt x="31944" y="3764"/>
                    <a:pt x="31932" y="3703"/>
                  </a:cubicBezTo>
                  <a:cubicBezTo>
                    <a:pt x="31901" y="3402"/>
                    <a:pt x="33978" y="3011"/>
                    <a:pt x="35001" y="2920"/>
                  </a:cubicBezTo>
                  <a:cubicBezTo>
                    <a:pt x="36024" y="2800"/>
                    <a:pt x="37920" y="2981"/>
                    <a:pt x="38703" y="2650"/>
                  </a:cubicBezTo>
                  <a:cubicBezTo>
                    <a:pt x="39515" y="2318"/>
                    <a:pt x="40719" y="2318"/>
                    <a:pt x="40900" y="2048"/>
                  </a:cubicBezTo>
                  <a:cubicBezTo>
                    <a:pt x="41080" y="1777"/>
                    <a:pt x="39997" y="1446"/>
                    <a:pt x="39425" y="1446"/>
                  </a:cubicBezTo>
                  <a:cubicBezTo>
                    <a:pt x="38883" y="1446"/>
                    <a:pt x="38312" y="1416"/>
                    <a:pt x="38372" y="1145"/>
                  </a:cubicBezTo>
                  <a:cubicBezTo>
                    <a:pt x="38462" y="874"/>
                    <a:pt x="37499" y="784"/>
                    <a:pt x="37409" y="573"/>
                  </a:cubicBezTo>
                  <a:cubicBezTo>
                    <a:pt x="37288" y="392"/>
                    <a:pt x="35573" y="513"/>
                    <a:pt x="35182" y="272"/>
                  </a:cubicBezTo>
                  <a:cubicBezTo>
                    <a:pt x="34903" y="110"/>
                    <a:pt x="34178" y="1"/>
                    <a:pt x="33433"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90" name="Google Shape;2984;p123">
              <a:extLst>
                <a:ext uri="{FF2B5EF4-FFF2-40B4-BE49-F238E27FC236}">
                  <a16:creationId xmlns:a16="http://schemas.microsoft.com/office/drawing/2014/main" id="{C8A761D7-D67B-5748-B922-371574EF93B4}"/>
                </a:ext>
              </a:extLst>
            </p:cNvPr>
            <p:cNvSpPr/>
            <p:nvPr/>
          </p:nvSpPr>
          <p:spPr>
            <a:xfrm>
              <a:off x="3323467" y="4767759"/>
              <a:ext cx="55876" cy="30498"/>
            </a:xfrm>
            <a:custGeom>
              <a:avLst/>
              <a:gdLst/>
              <a:ahLst/>
              <a:cxnLst/>
              <a:rect l="l" t="t" r="r" b="b"/>
              <a:pathLst>
                <a:path w="1801" h="983" extrusionOk="0">
                  <a:moveTo>
                    <a:pt x="98" y="0"/>
                  </a:moveTo>
                  <a:cubicBezTo>
                    <a:pt x="34" y="0"/>
                    <a:pt x="1" y="13"/>
                    <a:pt x="9" y="39"/>
                  </a:cubicBezTo>
                  <a:cubicBezTo>
                    <a:pt x="40" y="340"/>
                    <a:pt x="371" y="190"/>
                    <a:pt x="672" y="491"/>
                  </a:cubicBezTo>
                  <a:cubicBezTo>
                    <a:pt x="881" y="700"/>
                    <a:pt x="1076" y="983"/>
                    <a:pt x="1277" y="983"/>
                  </a:cubicBezTo>
                  <a:cubicBezTo>
                    <a:pt x="1364" y="983"/>
                    <a:pt x="1453" y="929"/>
                    <a:pt x="1544" y="792"/>
                  </a:cubicBezTo>
                  <a:cubicBezTo>
                    <a:pt x="1801" y="407"/>
                    <a:pt x="462" y="0"/>
                    <a:pt x="98"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91" name="Google Shape;2985;p123">
              <a:extLst>
                <a:ext uri="{FF2B5EF4-FFF2-40B4-BE49-F238E27FC236}">
                  <a16:creationId xmlns:a16="http://schemas.microsoft.com/office/drawing/2014/main" id="{B3DB135E-A559-4F4C-8F79-01700FC45EB5}"/>
                </a:ext>
              </a:extLst>
            </p:cNvPr>
            <p:cNvSpPr/>
            <p:nvPr/>
          </p:nvSpPr>
          <p:spPr>
            <a:xfrm>
              <a:off x="771971" y="483393"/>
              <a:ext cx="2190210" cy="1678763"/>
            </a:xfrm>
            <a:custGeom>
              <a:avLst/>
              <a:gdLst/>
              <a:ahLst/>
              <a:cxnLst/>
              <a:rect l="l" t="t" r="r" b="b"/>
              <a:pathLst>
                <a:path w="70595" h="54110" extrusionOk="0">
                  <a:moveTo>
                    <a:pt x="32888" y="5934"/>
                  </a:moveTo>
                  <a:cubicBezTo>
                    <a:pt x="32723" y="5934"/>
                    <a:pt x="32641" y="5985"/>
                    <a:pt x="32774" y="6108"/>
                  </a:cubicBezTo>
                  <a:cubicBezTo>
                    <a:pt x="33070" y="6362"/>
                    <a:pt x="33351" y="6645"/>
                    <a:pt x="33575" y="6645"/>
                  </a:cubicBezTo>
                  <a:cubicBezTo>
                    <a:pt x="33670" y="6645"/>
                    <a:pt x="33755" y="6594"/>
                    <a:pt x="33827" y="6469"/>
                  </a:cubicBezTo>
                  <a:cubicBezTo>
                    <a:pt x="34013" y="6180"/>
                    <a:pt x="33250" y="5934"/>
                    <a:pt x="32888" y="5934"/>
                  </a:cubicBezTo>
                  <a:close/>
                  <a:moveTo>
                    <a:pt x="24343" y="8403"/>
                  </a:moveTo>
                  <a:cubicBezTo>
                    <a:pt x="24080" y="8403"/>
                    <a:pt x="23839" y="8443"/>
                    <a:pt x="23715" y="8516"/>
                  </a:cubicBezTo>
                  <a:cubicBezTo>
                    <a:pt x="23324" y="8696"/>
                    <a:pt x="21759" y="8817"/>
                    <a:pt x="22210" y="9148"/>
                  </a:cubicBezTo>
                  <a:cubicBezTo>
                    <a:pt x="22345" y="9246"/>
                    <a:pt x="22453" y="9278"/>
                    <a:pt x="22547" y="9278"/>
                  </a:cubicBezTo>
                  <a:cubicBezTo>
                    <a:pt x="22717" y="9278"/>
                    <a:pt x="22841" y="9174"/>
                    <a:pt x="22995" y="9174"/>
                  </a:cubicBezTo>
                  <a:cubicBezTo>
                    <a:pt x="23041" y="9174"/>
                    <a:pt x="23090" y="9183"/>
                    <a:pt x="23143" y="9208"/>
                  </a:cubicBezTo>
                  <a:cubicBezTo>
                    <a:pt x="23198" y="9229"/>
                    <a:pt x="23252" y="9238"/>
                    <a:pt x="23304" y="9238"/>
                  </a:cubicBezTo>
                  <a:cubicBezTo>
                    <a:pt x="23549" y="9238"/>
                    <a:pt x="23768" y="9049"/>
                    <a:pt x="23961" y="9049"/>
                  </a:cubicBezTo>
                  <a:cubicBezTo>
                    <a:pt x="24022" y="9049"/>
                    <a:pt x="24080" y="9068"/>
                    <a:pt x="24136" y="9118"/>
                  </a:cubicBezTo>
                  <a:cubicBezTo>
                    <a:pt x="24252" y="9219"/>
                    <a:pt x="24555" y="9306"/>
                    <a:pt x="24839" y="9306"/>
                  </a:cubicBezTo>
                  <a:cubicBezTo>
                    <a:pt x="25146" y="9306"/>
                    <a:pt x="25430" y="9204"/>
                    <a:pt x="25430" y="8907"/>
                  </a:cubicBezTo>
                  <a:cubicBezTo>
                    <a:pt x="25430" y="8551"/>
                    <a:pt x="24846" y="8403"/>
                    <a:pt x="24343" y="8403"/>
                  </a:cubicBezTo>
                  <a:close/>
                  <a:moveTo>
                    <a:pt x="37697" y="3418"/>
                  </a:moveTo>
                  <a:cubicBezTo>
                    <a:pt x="37282" y="3418"/>
                    <a:pt x="37076" y="3631"/>
                    <a:pt x="37408" y="3700"/>
                  </a:cubicBezTo>
                  <a:cubicBezTo>
                    <a:pt x="37950" y="3791"/>
                    <a:pt x="37920" y="4062"/>
                    <a:pt x="37468" y="4062"/>
                  </a:cubicBezTo>
                  <a:cubicBezTo>
                    <a:pt x="37017" y="4062"/>
                    <a:pt x="36235" y="4062"/>
                    <a:pt x="36957" y="4363"/>
                  </a:cubicBezTo>
                  <a:cubicBezTo>
                    <a:pt x="37649" y="4664"/>
                    <a:pt x="36867" y="4754"/>
                    <a:pt x="36295" y="4754"/>
                  </a:cubicBezTo>
                  <a:cubicBezTo>
                    <a:pt x="35753" y="4754"/>
                    <a:pt x="35663" y="5536"/>
                    <a:pt x="36415" y="5657"/>
                  </a:cubicBezTo>
                  <a:cubicBezTo>
                    <a:pt x="37044" y="5732"/>
                    <a:pt x="36790" y="6060"/>
                    <a:pt x="36320" y="6060"/>
                  </a:cubicBezTo>
                  <a:cubicBezTo>
                    <a:pt x="36228" y="6060"/>
                    <a:pt x="36127" y="6047"/>
                    <a:pt x="36024" y="6018"/>
                  </a:cubicBezTo>
                  <a:cubicBezTo>
                    <a:pt x="35892" y="5982"/>
                    <a:pt x="35780" y="5966"/>
                    <a:pt x="35689" y="5966"/>
                  </a:cubicBezTo>
                  <a:cubicBezTo>
                    <a:pt x="35320" y="5966"/>
                    <a:pt x="35295" y="6222"/>
                    <a:pt x="35753" y="6439"/>
                  </a:cubicBezTo>
                  <a:cubicBezTo>
                    <a:pt x="36235" y="6710"/>
                    <a:pt x="35934" y="7041"/>
                    <a:pt x="36505" y="7252"/>
                  </a:cubicBezTo>
                  <a:cubicBezTo>
                    <a:pt x="36617" y="7299"/>
                    <a:pt x="36769" y="7316"/>
                    <a:pt x="36941" y="7316"/>
                  </a:cubicBezTo>
                  <a:cubicBezTo>
                    <a:pt x="37398" y="7316"/>
                    <a:pt x="38001" y="7195"/>
                    <a:pt x="38402" y="7195"/>
                  </a:cubicBezTo>
                  <a:cubicBezTo>
                    <a:pt x="38621" y="7195"/>
                    <a:pt x="38780" y="7231"/>
                    <a:pt x="38823" y="7342"/>
                  </a:cubicBezTo>
                  <a:cubicBezTo>
                    <a:pt x="38973" y="7703"/>
                    <a:pt x="37167" y="7793"/>
                    <a:pt x="37408" y="8004"/>
                  </a:cubicBezTo>
                  <a:cubicBezTo>
                    <a:pt x="37619" y="8245"/>
                    <a:pt x="38672" y="8666"/>
                    <a:pt x="38522" y="8847"/>
                  </a:cubicBezTo>
                  <a:cubicBezTo>
                    <a:pt x="38399" y="8993"/>
                    <a:pt x="39589" y="9438"/>
                    <a:pt x="40152" y="9438"/>
                  </a:cubicBezTo>
                  <a:cubicBezTo>
                    <a:pt x="40282" y="9438"/>
                    <a:pt x="40378" y="9415"/>
                    <a:pt x="40418" y="9358"/>
                  </a:cubicBezTo>
                  <a:cubicBezTo>
                    <a:pt x="40497" y="9226"/>
                    <a:pt x="40629" y="9175"/>
                    <a:pt x="40793" y="9175"/>
                  </a:cubicBezTo>
                  <a:cubicBezTo>
                    <a:pt x="41002" y="9175"/>
                    <a:pt x="41262" y="9257"/>
                    <a:pt x="41531" y="9358"/>
                  </a:cubicBezTo>
                  <a:cubicBezTo>
                    <a:pt x="41565" y="9370"/>
                    <a:pt x="41597" y="9376"/>
                    <a:pt x="41627" y="9376"/>
                  </a:cubicBezTo>
                  <a:cubicBezTo>
                    <a:pt x="42014" y="9376"/>
                    <a:pt x="42056" y="8438"/>
                    <a:pt x="42263" y="8438"/>
                  </a:cubicBezTo>
                  <a:cubicBezTo>
                    <a:pt x="42279" y="8438"/>
                    <a:pt x="42296" y="8443"/>
                    <a:pt x="42314" y="8455"/>
                  </a:cubicBezTo>
                  <a:cubicBezTo>
                    <a:pt x="42354" y="8484"/>
                    <a:pt x="42390" y="8496"/>
                    <a:pt x="42422" y="8496"/>
                  </a:cubicBezTo>
                  <a:cubicBezTo>
                    <a:pt x="42631" y="8496"/>
                    <a:pt x="42713" y="7976"/>
                    <a:pt x="43156" y="7793"/>
                  </a:cubicBezTo>
                  <a:cubicBezTo>
                    <a:pt x="43668" y="7553"/>
                    <a:pt x="44420" y="7613"/>
                    <a:pt x="44480" y="7342"/>
                  </a:cubicBezTo>
                  <a:cubicBezTo>
                    <a:pt x="44505" y="7125"/>
                    <a:pt x="44393" y="6985"/>
                    <a:pt x="44006" y="6985"/>
                  </a:cubicBezTo>
                  <a:cubicBezTo>
                    <a:pt x="43910" y="6985"/>
                    <a:pt x="43799" y="6993"/>
                    <a:pt x="43668" y="7011"/>
                  </a:cubicBezTo>
                  <a:cubicBezTo>
                    <a:pt x="43608" y="7017"/>
                    <a:pt x="43550" y="7019"/>
                    <a:pt x="43495" y="7019"/>
                  </a:cubicBezTo>
                  <a:cubicBezTo>
                    <a:pt x="42963" y="7019"/>
                    <a:pt x="42643" y="6769"/>
                    <a:pt x="42916" y="6469"/>
                  </a:cubicBezTo>
                  <a:cubicBezTo>
                    <a:pt x="43247" y="6138"/>
                    <a:pt x="42223" y="6018"/>
                    <a:pt x="42585" y="5717"/>
                  </a:cubicBezTo>
                  <a:cubicBezTo>
                    <a:pt x="42826" y="5531"/>
                    <a:pt x="42517" y="5357"/>
                    <a:pt x="42266" y="5357"/>
                  </a:cubicBezTo>
                  <a:cubicBezTo>
                    <a:pt x="42111" y="5357"/>
                    <a:pt x="41978" y="5424"/>
                    <a:pt x="42013" y="5596"/>
                  </a:cubicBezTo>
                  <a:cubicBezTo>
                    <a:pt x="42051" y="5739"/>
                    <a:pt x="42002" y="5798"/>
                    <a:pt x="41913" y="5798"/>
                  </a:cubicBezTo>
                  <a:cubicBezTo>
                    <a:pt x="41721" y="5798"/>
                    <a:pt x="41343" y="5523"/>
                    <a:pt x="41260" y="5235"/>
                  </a:cubicBezTo>
                  <a:cubicBezTo>
                    <a:pt x="41170" y="4814"/>
                    <a:pt x="39726" y="4694"/>
                    <a:pt x="38793" y="3881"/>
                  </a:cubicBezTo>
                  <a:cubicBezTo>
                    <a:pt x="38402" y="3528"/>
                    <a:pt x="37996" y="3418"/>
                    <a:pt x="37697" y="3418"/>
                  </a:cubicBezTo>
                  <a:close/>
                  <a:moveTo>
                    <a:pt x="34455" y="8167"/>
                  </a:moveTo>
                  <a:cubicBezTo>
                    <a:pt x="34376" y="8167"/>
                    <a:pt x="34315" y="8190"/>
                    <a:pt x="34278" y="8245"/>
                  </a:cubicBezTo>
                  <a:cubicBezTo>
                    <a:pt x="34068" y="8576"/>
                    <a:pt x="34760" y="9900"/>
                    <a:pt x="35302" y="9900"/>
                  </a:cubicBezTo>
                  <a:cubicBezTo>
                    <a:pt x="35363" y="9904"/>
                    <a:pt x="35424" y="9906"/>
                    <a:pt x="35485" y="9906"/>
                  </a:cubicBezTo>
                  <a:cubicBezTo>
                    <a:pt x="35905" y="9906"/>
                    <a:pt x="36322" y="9817"/>
                    <a:pt x="36716" y="9659"/>
                  </a:cubicBezTo>
                  <a:cubicBezTo>
                    <a:pt x="37167" y="9479"/>
                    <a:pt x="36475" y="9479"/>
                    <a:pt x="36806" y="9057"/>
                  </a:cubicBezTo>
                  <a:cubicBezTo>
                    <a:pt x="37023" y="8782"/>
                    <a:pt x="36622" y="8674"/>
                    <a:pt x="36293" y="8674"/>
                  </a:cubicBezTo>
                  <a:cubicBezTo>
                    <a:pt x="36119" y="8674"/>
                    <a:pt x="35965" y="8704"/>
                    <a:pt x="35934" y="8756"/>
                  </a:cubicBezTo>
                  <a:cubicBezTo>
                    <a:pt x="35927" y="8767"/>
                    <a:pt x="35915" y="8772"/>
                    <a:pt x="35898" y="8772"/>
                  </a:cubicBezTo>
                  <a:cubicBezTo>
                    <a:pt x="35703" y="8772"/>
                    <a:pt x="34857" y="8167"/>
                    <a:pt x="34455" y="8167"/>
                  </a:cubicBezTo>
                  <a:close/>
                  <a:moveTo>
                    <a:pt x="29224" y="7178"/>
                  </a:moveTo>
                  <a:cubicBezTo>
                    <a:pt x="28908" y="7178"/>
                    <a:pt x="28633" y="7204"/>
                    <a:pt x="28500" y="7252"/>
                  </a:cubicBezTo>
                  <a:cubicBezTo>
                    <a:pt x="28102" y="7384"/>
                    <a:pt x="28476" y="8171"/>
                    <a:pt x="28858" y="8171"/>
                  </a:cubicBezTo>
                  <a:cubicBezTo>
                    <a:pt x="28910" y="8171"/>
                    <a:pt x="28962" y="8157"/>
                    <a:pt x="29012" y="8124"/>
                  </a:cubicBezTo>
                  <a:cubicBezTo>
                    <a:pt x="29106" y="8057"/>
                    <a:pt x="29218" y="8029"/>
                    <a:pt x="29333" y="8029"/>
                  </a:cubicBezTo>
                  <a:cubicBezTo>
                    <a:pt x="29736" y="8029"/>
                    <a:pt x="30182" y="8372"/>
                    <a:pt x="30065" y="8606"/>
                  </a:cubicBezTo>
                  <a:cubicBezTo>
                    <a:pt x="30013" y="8711"/>
                    <a:pt x="29832" y="8735"/>
                    <a:pt x="29623" y="8735"/>
                  </a:cubicBezTo>
                  <a:cubicBezTo>
                    <a:pt x="29444" y="8735"/>
                    <a:pt x="29243" y="8717"/>
                    <a:pt x="29088" y="8717"/>
                  </a:cubicBezTo>
                  <a:cubicBezTo>
                    <a:pt x="28909" y="8717"/>
                    <a:pt x="28789" y="8742"/>
                    <a:pt x="28831" y="8847"/>
                  </a:cubicBezTo>
                  <a:cubicBezTo>
                    <a:pt x="28894" y="9056"/>
                    <a:pt x="28942" y="9222"/>
                    <a:pt x="29251" y="9222"/>
                  </a:cubicBezTo>
                  <a:cubicBezTo>
                    <a:pt x="29385" y="9222"/>
                    <a:pt x="29569" y="9191"/>
                    <a:pt x="29824" y="9118"/>
                  </a:cubicBezTo>
                  <a:cubicBezTo>
                    <a:pt x="30065" y="9027"/>
                    <a:pt x="30316" y="8984"/>
                    <a:pt x="30564" y="8984"/>
                  </a:cubicBezTo>
                  <a:cubicBezTo>
                    <a:pt x="31062" y="8984"/>
                    <a:pt x="31550" y="9158"/>
                    <a:pt x="31931" y="9479"/>
                  </a:cubicBezTo>
                  <a:cubicBezTo>
                    <a:pt x="32272" y="9748"/>
                    <a:pt x="32602" y="9921"/>
                    <a:pt x="32890" y="9921"/>
                  </a:cubicBezTo>
                  <a:cubicBezTo>
                    <a:pt x="33085" y="9921"/>
                    <a:pt x="33260" y="9841"/>
                    <a:pt x="33406" y="9659"/>
                  </a:cubicBezTo>
                  <a:cubicBezTo>
                    <a:pt x="33797" y="9208"/>
                    <a:pt x="32924" y="9148"/>
                    <a:pt x="33105" y="8817"/>
                  </a:cubicBezTo>
                  <a:cubicBezTo>
                    <a:pt x="33285" y="8455"/>
                    <a:pt x="32533" y="8245"/>
                    <a:pt x="32142" y="8245"/>
                  </a:cubicBezTo>
                  <a:cubicBezTo>
                    <a:pt x="31760" y="8245"/>
                    <a:pt x="31625" y="7652"/>
                    <a:pt x="31380" y="7652"/>
                  </a:cubicBezTo>
                  <a:cubicBezTo>
                    <a:pt x="31354" y="7652"/>
                    <a:pt x="31327" y="7659"/>
                    <a:pt x="31299" y="7673"/>
                  </a:cubicBezTo>
                  <a:cubicBezTo>
                    <a:pt x="31128" y="7759"/>
                    <a:pt x="30986" y="7873"/>
                    <a:pt x="30895" y="7873"/>
                  </a:cubicBezTo>
                  <a:cubicBezTo>
                    <a:pt x="30827" y="7873"/>
                    <a:pt x="30787" y="7807"/>
                    <a:pt x="30787" y="7613"/>
                  </a:cubicBezTo>
                  <a:cubicBezTo>
                    <a:pt x="30787" y="7303"/>
                    <a:pt x="29911" y="7178"/>
                    <a:pt x="29224" y="7178"/>
                  </a:cubicBezTo>
                  <a:close/>
                  <a:moveTo>
                    <a:pt x="21394" y="9744"/>
                  </a:moveTo>
                  <a:cubicBezTo>
                    <a:pt x="21125" y="9744"/>
                    <a:pt x="20875" y="9801"/>
                    <a:pt x="20916" y="9870"/>
                  </a:cubicBezTo>
                  <a:cubicBezTo>
                    <a:pt x="21000" y="9975"/>
                    <a:pt x="21391" y="10226"/>
                    <a:pt x="21681" y="10226"/>
                  </a:cubicBezTo>
                  <a:cubicBezTo>
                    <a:pt x="21808" y="10226"/>
                    <a:pt x="21915" y="10178"/>
                    <a:pt x="21970" y="10050"/>
                  </a:cubicBezTo>
                  <a:cubicBezTo>
                    <a:pt x="22051" y="9823"/>
                    <a:pt x="21710" y="9744"/>
                    <a:pt x="21394" y="9744"/>
                  </a:cubicBezTo>
                  <a:close/>
                  <a:moveTo>
                    <a:pt x="37819" y="10026"/>
                  </a:moveTo>
                  <a:cubicBezTo>
                    <a:pt x="37094" y="10026"/>
                    <a:pt x="35504" y="10264"/>
                    <a:pt x="35813" y="10502"/>
                  </a:cubicBezTo>
                  <a:cubicBezTo>
                    <a:pt x="35908" y="10570"/>
                    <a:pt x="36083" y="10598"/>
                    <a:pt x="36296" y="10598"/>
                  </a:cubicBezTo>
                  <a:cubicBezTo>
                    <a:pt x="37027" y="10598"/>
                    <a:pt x="38207" y="10267"/>
                    <a:pt x="38161" y="10081"/>
                  </a:cubicBezTo>
                  <a:cubicBezTo>
                    <a:pt x="38142" y="10043"/>
                    <a:pt x="38011" y="10026"/>
                    <a:pt x="37819" y="10026"/>
                  </a:cubicBezTo>
                  <a:close/>
                  <a:moveTo>
                    <a:pt x="24662" y="9545"/>
                  </a:moveTo>
                  <a:cubicBezTo>
                    <a:pt x="24578" y="9545"/>
                    <a:pt x="24483" y="9552"/>
                    <a:pt x="24377" y="9569"/>
                  </a:cubicBezTo>
                  <a:cubicBezTo>
                    <a:pt x="23625" y="9659"/>
                    <a:pt x="22391" y="9659"/>
                    <a:pt x="22391" y="10201"/>
                  </a:cubicBezTo>
                  <a:cubicBezTo>
                    <a:pt x="22391" y="10713"/>
                    <a:pt x="22632" y="10833"/>
                    <a:pt x="23444" y="10923"/>
                  </a:cubicBezTo>
                  <a:cubicBezTo>
                    <a:pt x="23475" y="10925"/>
                    <a:pt x="23506" y="10926"/>
                    <a:pt x="23537" y="10926"/>
                  </a:cubicBezTo>
                  <a:cubicBezTo>
                    <a:pt x="24335" y="10926"/>
                    <a:pt x="24936" y="10201"/>
                    <a:pt x="24588" y="10201"/>
                  </a:cubicBezTo>
                  <a:cubicBezTo>
                    <a:pt x="24197" y="10201"/>
                    <a:pt x="24437" y="9930"/>
                    <a:pt x="24889" y="9900"/>
                  </a:cubicBezTo>
                  <a:cubicBezTo>
                    <a:pt x="25277" y="9822"/>
                    <a:pt x="25176" y="9545"/>
                    <a:pt x="24662" y="9545"/>
                  </a:cubicBezTo>
                  <a:close/>
                  <a:moveTo>
                    <a:pt x="40407" y="10291"/>
                  </a:moveTo>
                  <a:cubicBezTo>
                    <a:pt x="39897" y="10291"/>
                    <a:pt x="39487" y="10759"/>
                    <a:pt x="39996" y="10953"/>
                  </a:cubicBezTo>
                  <a:cubicBezTo>
                    <a:pt x="40104" y="10989"/>
                    <a:pt x="40217" y="11005"/>
                    <a:pt x="40327" y="11005"/>
                  </a:cubicBezTo>
                  <a:cubicBezTo>
                    <a:pt x="40863" y="11005"/>
                    <a:pt x="41328" y="10631"/>
                    <a:pt x="40779" y="10381"/>
                  </a:cubicBezTo>
                  <a:cubicBezTo>
                    <a:pt x="40657" y="10318"/>
                    <a:pt x="40529" y="10291"/>
                    <a:pt x="40407" y="10291"/>
                  </a:cubicBezTo>
                  <a:close/>
                  <a:moveTo>
                    <a:pt x="28225" y="9978"/>
                  </a:moveTo>
                  <a:cubicBezTo>
                    <a:pt x="28144" y="9978"/>
                    <a:pt x="28090" y="10018"/>
                    <a:pt x="28079" y="10111"/>
                  </a:cubicBezTo>
                  <a:cubicBezTo>
                    <a:pt x="28005" y="10557"/>
                    <a:pt x="28664" y="11166"/>
                    <a:pt x="29068" y="11166"/>
                  </a:cubicBezTo>
                  <a:cubicBezTo>
                    <a:pt x="29155" y="11166"/>
                    <a:pt x="29229" y="11138"/>
                    <a:pt x="29283" y="11074"/>
                  </a:cubicBezTo>
                  <a:cubicBezTo>
                    <a:pt x="29480" y="10778"/>
                    <a:pt x="28588" y="9978"/>
                    <a:pt x="28225" y="9978"/>
                  </a:cubicBezTo>
                  <a:close/>
                  <a:moveTo>
                    <a:pt x="54773" y="1"/>
                  </a:moveTo>
                  <a:cubicBezTo>
                    <a:pt x="54334" y="1"/>
                    <a:pt x="53889" y="217"/>
                    <a:pt x="53990" y="420"/>
                  </a:cubicBezTo>
                  <a:cubicBezTo>
                    <a:pt x="54066" y="571"/>
                    <a:pt x="54021" y="653"/>
                    <a:pt x="53904" y="653"/>
                  </a:cubicBezTo>
                  <a:cubicBezTo>
                    <a:pt x="53787" y="653"/>
                    <a:pt x="53599" y="571"/>
                    <a:pt x="53389" y="390"/>
                  </a:cubicBezTo>
                  <a:cubicBezTo>
                    <a:pt x="53250" y="261"/>
                    <a:pt x="53069" y="221"/>
                    <a:pt x="52863" y="221"/>
                  </a:cubicBezTo>
                  <a:cubicBezTo>
                    <a:pt x="52506" y="221"/>
                    <a:pt x="52074" y="343"/>
                    <a:pt x="51655" y="343"/>
                  </a:cubicBezTo>
                  <a:cubicBezTo>
                    <a:pt x="51580" y="343"/>
                    <a:pt x="51506" y="339"/>
                    <a:pt x="51432" y="330"/>
                  </a:cubicBezTo>
                  <a:cubicBezTo>
                    <a:pt x="51399" y="327"/>
                    <a:pt x="51368" y="326"/>
                    <a:pt x="51339" y="326"/>
                  </a:cubicBezTo>
                  <a:cubicBezTo>
                    <a:pt x="50868" y="326"/>
                    <a:pt x="50910" y="667"/>
                    <a:pt x="50582" y="667"/>
                  </a:cubicBezTo>
                  <a:cubicBezTo>
                    <a:pt x="50490" y="667"/>
                    <a:pt x="50369" y="640"/>
                    <a:pt x="50199" y="571"/>
                  </a:cubicBezTo>
                  <a:cubicBezTo>
                    <a:pt x="49806" y="416"/>
                    <a:pt x="49407" y="367"/>
                    <a:pt x="49120" y="367"/>
                  </a:cubicBezTo>
                  <a:cubicBezTo>
                    <a:pt x="48791" y="367"/>
                    <a:pt x="48609" y="432"/>
                    <a:pt x="48754" y="480"/>
                  </a:cubicBezTo>
                  <a:cubicBezTo>
                    <a:pt x="48973" y="578"/>
                    <a:pt x="48798" y="754"/>
                    <a:pt x="48532" y="754"/>
                  </a:cubicBezTo>
                  <a:cubicBezTo>
                    <a:pt x="48469" y="754"/>
                    <a:pt x="48402" y="744"/>
                    <a:pt x="48333" y="721"/>
                  </a:cubicBezTo>
                  <a:cubicBezTo>
                    <a:pt x="48256" y="693"/>
                    <a:pt x="48180" y="680"/>
                    <a:pt x="48109" y="680"/>
                  </a:cubicBezTo>
                  <a:cubicBezTo>
                    <a:pt x="47876" y="680"/>
                    <a:pt x="47712" y="828"/>
                    <a:pt x="47851" y="1082"/>
                  </a:cubicBezTo>
                  <a:cubicBezTo>
                    <a:pt x="47912" y="1205"/>
                    <a:pt x="47779" y="1234"/>
                    <a:pt x="47576" y="1234"/>
                  </a:cubicBezTo>
                  <a:cubicBezTo>
                    <a:pt x="47396" y="1234"/>
                    <a:pt x="47161" y="1211"/>
                    <a:pt x="46959" y="1211"/>
                  </a:cubicBezTo>
                  <a:cubicBezTo>
                    <a:pt x="46720" y="1211"/>
                    <a:pt x="46527" y="1243"/>
                    <a:pt x="46527" y="1383"/>
                  </a:cubicBezTo>
                  <a:cubicBezTo>
                    <a:pt x="46527" y="1647"/>
                    <a:pt x="46327" y="1804"/>
                    <a:pt x="46074" y="1804"/>
                  </a:cubicBezTo>
                  <a:cubicBezTo>
                    <a:pt x="45922" y="1804"/>
                    <a:pt x="45752" y="1748"/>
                    <a:pt x="45594" y="1624"/>
                  </a:cubicBezTo>
                  <a:cubicBezTo>
                    <a:pt x="45340" y="1424"/>
                    <a:pt x="44746" y="1301"/>
                    <a:pt x="44400" y="1301"/>
                  </a:cubicBezTo>
                  <a:cubicBezTo>
                    <a:pt x="44174" y="1301"/>
                    <a:pt x="44055" y="1354"/>
                    <a:pt x="44210" y="1473"/>
                  </a:cubicBezTo>
                  <a:cubicBezTo>
                    <a:pt x="44571" y="1774"/>
                    <a:pt x="43036" y="1624"/>
                    <a:pt x="43457" y="1955"/>
                  </a:cubicBezTo>
                  <a:cubicBezTo>
                    <a:pt x="43784" y="2211"/>
                    <a:pt x="43297" y="2396"/>
                    <a:pt x="43062" y="2396"/>
                  </a:cubicBezTo>
                  <a:cubicBezTo>
                    <a:pt x="42993" y="2396"/>
                    <a:pt x="42946" y="2380"/>
                    <a:pt x="42946" y="2346"/>
                  </a:cubicBezTo>
                  <a:cubicBezTo>
                    <a:pt x="42946" y="2218"/>
                    <a:pt x="42506" y="2014"/>
                    <a:pt x="42111" y="2014"/>
                  </a:cubicBezTo>
                  <a:cubicBezTo>
                    <a:pt x="41949" y="2014"/>
                    <a:pt x="41795" y="2048"/>
                    <a:pt x="41682" y="2136"/>
                  </a:cubicBezTo>
                  <a:cubicBezTo>
                    <a:pt x="41388" y="2380"/>
                    <a:pt x="41274" y="2704"/>
                    <a:pt x="41144" y="2704"/>
                  </a:cubicBezTo>
                  <a:cubicBezTo>
                    <a:pt x="41114" y="2704"/>
                    <a:pt x="41084" y="2687"/>
                    <a:pt x="41050" y="2647"/>
                  </a:cubicBezTo>
                  <a:cubicBezTo>
                    <a:pt x="40979" y="2553"/>
                    <a:pt x="40821" y="2509"/>
                    <a:pt x="40611" y="2509"/>
                  </a:cubicBezTo>
                  <a:cubicBezTo>
                    <a:pt x="40285" y="2509"/>
                    <a:pt x="39834" y="2615"/>
                    <a:pt x="39394" y="2798"/>
                  </a:cubicBezTo>
                  <a:cubicBezTo>
                    <a:pt x="38933" y="2990"/>
                    <a:pt x="39098" y="3133"/>
                    <a:pt x="39410" y="3133"/>
                  </a:cubicBezTo>
                  <a:cubicBezTo>
                    <a:pt x="39587" y="3133"/>
                    <a:pt x="39811" y="3087"/>
                    <a:pt x="39996" y="2978"/>
                  </a:cubicBezTo>
                  <a:cubicBezTo>
                    <a:pt x="40181" y="2851"/>
                    <a:pt x="40352" y="2804"/>
                    <a:pt x="40469" y="2804"/>
                  </a:cubicBezTo>
                  <a:cubicBezTo>
                    <a:pt x="40658" y="2804"/>
                    <a:pt x="40708" y="2927"/>
                    <a:pt x="40448" y="3038"/>
                  </a:cubicBezTo>
                  <a:cubicBezTo>
                    <a:pt x="40058" y="3234"/>
                    <a:pt x="40132" y="3403"/>
                    <a:pt x="40623" y="3403"/>
                  </a:cubicBezTo>
                  <a:cubicBezTo>
                    <a:pt x="40663" y="3403"/>
                    <a:pt x="40704" y="3402"/>
                    <a:pt x="40749" y="3400"/>
                  </a:cubicBezTo>
                  <a:cubicBezTo>
                    <a:pt x="40817" y="3393"/>
                    <a:pt x="40868" y="3389"/>
                    <a:pt x="40903" y="3389"/>
                  </a:cubicBezTo>
                  <a:cubicBezTo>
                    <a:pt x="41176" y="3389"/>
                    <a:pt x="40538" y="3591"/>
                    <a:pt x="40538" y="3911"/>
                  </a:cubicBezTo>
                  <a:cubicBezTo>
                    <a:pt x="40538" y="4302"/>
                    <a:pt x="41200" y="4062"/>
                    <a:pt x="41230" y="4393"/>
                  </a:cubicBezTo>
                  <a:cubicBezTo>
                    <a:pt x="41265" y="4600"/>
                    <a:pt x="41776" y="4738"/>
                    <a:pt x="42290" y="4738"/>
                  </a:cubicBezTo>
                  <a:cubicBezTo>
                    <a:pt x="42672" y="4738"/>
                    <a:pt x="43054" y="4662"/>
                    <a:pt x="43247" y="4483"/>
                  </a:cubicBezTo>
                  <a:cubicBezTo>
                    <a:pt x="43366" y="4371"/>
                    <a:pt x="43443" y="4327"/>
                    <a:pt x="43491" y="4327"/>
                  </a:cubicBezTo>
                  <a:cubicBezTo>
                    <a:pt x="43625" y="4327"/>
                    <a:pt x="43532" y="4667"/>
                    <a:pt x="43487" y="4844"/>
                  </a:cubicBezTo>
                  <a:cubicBezTo>
                    <a:pt x="43467" y="5026"/>
                    <a:pt x="44449" y="5207"/>
                    <a:pt x="45125" y="5207"/>
                  </a:cubicBezTo>
                  <a:cubicBezTo>
                    <a:pt x="45457" y="5207"/>
                    <a:pt x="45715" y="5164"/>
                    <a:pt x="45744" y="5055"/>
                  </a:cubicBezTo>
                  <a:cubicBezTo>
                    <a:pt x="45805" y="4874"/>
                    <a:pt x="45910" y="4814"/>
                    <a:pt x="46053" y="4814"/>
                  </a:cubicBezTo>
                  <a:cubicBezTo>
                    <a:pt x="46196" y="4814"/>
                    <a:pt x="46376" y="4874"/>
                    <a:pt x="46587" y="4934"/>
                  </a:cubicBezTo>
                  <a:cubicBezTo>
                    <a:pt x="46630" y="4946"/>
                    <a:pt x="46689" y="4952"/>
                    <a:pt x="46760" y="4952"/>
                  </a:cubicBezTo>
                  <a:cubicBezTo>
                    <a:pt x="47401" y="4952"/>
                    <a:pt x="49061" y="4498"/>
                    <a:pt x="49115" y="4092"/>
                  </a:cubicBezTo>
                  <a:cubicBezTo>
                    <a:pt x="49122" y="3988"/>
                    <a:pt x="49160" y="3945"/>
                    <a:pt x="49208" y="3945"/>
                  </a:cubicBezTo>
                  <a:cubicBezTo>
                    <a:pt x="49367" y="3945"/>
                    <a:pt x="49625" y="4436"/>
                    <a:pt x="49115" y="4784"/>
                  </a:cubicBezTo>
                  <a:cubicBezTo>
                    <a:pt x="48423" y="5235"/>
                    <a:pt x="47099" y="5145"/>
                    <a:pt x="46497" y="5356"/>
                  </a:cubicBezTo>
                  <a:cubicBezTo>
                    <a:pt x="45895" y="5536"/>
                    <a:pt x="46888" y="5958"/>
                    <a:pt x="47490" y="6409"/>
                  </a:cubicBezTo>
                  <a:cubicBezTo>
                    <a:pt x="47705" y="6570"/>
                    <a:pt x="47671" y="6643"/>
                    <a:pt x="47512" y="6643"/>
                  </a:cubicBezTo>
                  <a:cubicBezTo>
                    <a:pt x="47226" y="6643"/>
                    <a:pt x="46534" y="6405"/>
                    <a:pt x="46166" y="6018"/>
                  </a:cubicBezTo>
                  <a:cubicBezTo>
                    <a:pt x="45698" y="5526"/>
                    <a:pt x="44769" y="5436"/>
                    <a:pt x="44100" y="5436"/>
                  </a:cubicBezTo>
                  <a:cubicBezTo>
                    <a:pt x="43950" y="5436"/>
                    <a:pt x="43814" y="5440"/>
                    <a:pt x="43698" y="5446"/>
                  </a:cubicBezTo>
                  <a:cubicBezTo>
                    <a:pt x="43036" y="5506"/>
                    <a:pt x="43186" y="6740"/>
                    <a:pt x="43698" y="6740"/>
                  </a:cubicBezTo>
                  <a:cubicBezTo>
                    <a:pt x="44180" y="6740"/>
                    <a:pt x="44691" y="6891"/>
                    <a:pt x="45203" y="7673"/>
                  </a:cubicBezTo>
                  <a:cubicBezTo>
                    <a:pt x="45684" y="8455"/>
                    <a:pt x="46738" y="8275"/>
                    <a:pt x="46738" y="8606"/>
                  </a:cubicBezTo>
                  <a:cubicBezTo>
                    <a:pt x="46738" y="8682"/>
                    <a:pt x="46676" y="8713"/>
                    <a:pt x="46571" y="8713"/>
                  </a:cubicBezTo>
                  <a:cubicBezTo>
                    <a:pt x="46181" y="8713"/>
                    <a:pt x="45194" y="8286"/>
                    <a:pt x="44601" y="8215"/>
                  </a:cubicBezTo>
                  <a:cubicBezTo>
                    <a:pt x="44518" y="8201"/>
                    <a:pt x="44429" y="8195"/>
                    <a:pt x="44336" y="8195"/>
                  </a:cubicBezTo>
                  <a:cubicBezTo>
                    <a:pt x="43585" y="8195"/>
                    <a:pt x="42581" y="8609"/>
                    <a:pt x="42554" y="9118"/>
                  </a:cubicBezTo>
                  <a:cubicBezTo>
                    <a:pt x="42540" y="9384"/>
                    <a:pt x="42817" y="9505"/>
                    <a:pt x="43192" y="9505"/>
                  </a:cubicBezTo>
                  <a:cubicBezTo>
                    <a:pt x="43578" y="9505"/>
                    <a:pt x="44069" y="9377"/>
                    <a:pt x="44450" y="9148"/>
                  </a:cubicBezTo>
                  <a:cubicBezTo>
                    <a:pt x="44642" y="9032"/>
                    <a:pt x="44750" y="8986"/>
                    <a:pt x="44797" y="8986"/>
                  </a:cubicBezTo>
                  <a:cubicBezTo>
                    <a:pt x="44934" y="8986"/>
                    <a:pt x="44554" y="9383"/>
                    <a:pt x="44240" y="9629"/>
                  </a:cubicBezTo>
                  <a:cubicBezTo>
                    <a:pt x="43849" y="9960"/>
                    <a:pt x="45203" y="10261"/>
                    <a:pt x="45203" y="10682"/>
                  </a:cubicBezTo>
                  <a:cubicBezTo>
                    <a:pt x="45203" y="10859"/>
                    <a:pt x="45028" y="10935"/>
                    <a:pt x="44821" y="10935"/>
                  </a:cubicBezTo>
                  <a:cubicBezTo>
                    <a:pt x="44534" y="10935"/>
                    <a:pt x="44184" y="10789"/>
                    <a:pt x="44149" y="10562"/>
                  </a:cubicBezTo>
                  <a:cubicBezTo>
                    <a:pt x="44068" y="10237"/>
                    <a:pt x="43767" y="9887"/>
                    <a:pt x="43004" y="9887"/>
                  </a:cubicBezTo>
                  <a:cubicBezTo>
                    <a:pt x="42920" y="9887"/>
                    <a:pt x="42830" y="9891"/>
                    <a:pt x="42735" y="9900"/>
                  </a:cubicBezTo>
                  <a:cubicBezTo>
                    <a:pt x="41802" y="9960"/>
                    <a:pt x="42103" y="10562"/>
                    <a:pt x="42645" y="10652"/>
                  </a:cubicBezTo>
                  <a:cubicBezTo>
                    <a:pt x="43156" y="10713"/>
                    <a:pt x="43247" y="11134"/>
                    <a:pt x="42645" y="11134"/>
                  </a:cubicBezTo>
                  <a:cubicBezTo>
                    <a:pt x="42043" y="11134"/>
                    <a:pt x="40568" y="11555"/>
                    <a:pt x="41020" y="11977"/>
                  </a:cubicBezTo>
                  <a:cubicBezTo>
                    <a:pt x="41192" y="12126"/>
                    <a:pt x="41561" y="12161"/>
                    <a:pt x="41971" y="12161"/>
                  </a:cubicBezTo>
                  <a:cubicBezTo>
                    <a:pt x="42339" y="12161"/>
                    <a:pt x="42740" y="12133"/>
                    <a:pt x="43058" y="12133"/>
                  </a:cubicBezTo>
                  <a:cubicBezTo>
                    <a:pt x="43314" y="12133"/>
                    <a:pt x="43517" y="12151"/>
                    <a:pt x="43608" y="12217"/>
                  </a:cubicBezTo>
                  <a:cubicBezTo>
                    <a:pt x="43803" y="12377"/>
                    <a:pt x="44174" y="12484"/>
                    <a:pt x="44491" y="12484"/>
                  </a:cubicBezTo>
                  <a:cubicBezTo>
                    <a:pt x="44712" y="12484"/>
                    <a:pt x="44905" y="12431"/>
                    <a:pt x="44992" y="12308"/>
                  </a:cubicBezTo>
                  <a:cubicBezTo>
                    <a:pt x="45126" y="12140"/>
                    <a:pt x="45390" y="12103"/>
                    <a:pt x="45722" y="12103"/>
                  </a:cubicBezTo>
                  <a:cubicBezTo>
                    <a:pt x="45987" y="12103"/>
                    <a:pt x="46296" y="12127"/>
                    <a:pt x="46617" y="12127"/>
                  </a:cubicBezTo>
                  <a:cubicBezTo>
                    <a:pt x="47339" y="12127"/>
                    <a:pt x="47490" y="12217"/>
                    <a:pt x="47821" y="12518"/>
                  </a:cubicBezTo>
                  <a:cubicBezTo>
                    <a:pt x="47952" y="12637"/>
                    <a:pt x="48116" y="12686"/>
                    <a:pt x="48289" y="12686"/>
                  </a:cubicBezTo>
                  <a:cubicBezTo>
                    <a:pt x="48553" y="12686"/>
                    <a:pt x="48837" y="12573"/>
                    <a:pt x="49055" y="12428"/>
                  </a:cubicBezTo>
                  <a:cubicBezTo>
                    <a:pt x="49248" y="12210"/>
                    <a:pt x="49500" y="12109"/>
                    <a:pt x="49764" y="12109"/>
                  </a:cubicBezTo>
                  <a:cubicBezTo>
                    <a:pt x="49828" y="12109"/>
                    <a:pt x="49893" y="12115"/>
                    <a:pt x="49958" y="12127"/>
                  </a:cubicBezTo>
                  <a:cubicBezTo>
                    <a:pt x="50469" y="12127"/>
                    <a:pt x="50560" y="11826"/>
                    <a:pt x="50319" y="11435"/>
                  </a:cubicBezTo>
                  <a:cubicBezTo>
                    <a:pt x="50255" y="11350"/>
                    <a:pt x="50174" y="11320"/>
                    <a:pt x="50085" y="11320"/>
                  </a:cubicBezTo>
                  <a:cubicBezTo>
                    <a:pt x="49865" y="11320"/>
                    <a:pt x="49600" y="11504"/>
                    <a:pt x="49454" y="11504"/>
                  </a:cubicBezTo>
                  <a:cubicBezTo>
                    <a:pt x="49407" y="11504"/>
                    <a:pt x="49373" y="11485"/>
                    <a:pt x="49356" y="11435"/>
                  </a:cubicBezTo>
                  <a:cubicBezTo>
                    <a:pt x="49310" y="11226"/>
                    <a:pt x="48942" y="11054"/>
                    <a:pt x="48323" y="11054"/>
                  </a:cubicBezTo>
                  <a:cubicBezTo>
                    <a:pt x="48138" y="11054"/>
                    <a:pt x="47930" y="11069"/>
                    <a:pt x="47701" y="11104"/>
                  </a:cubicBezTo>
                  <a:cubicBezTo>
                    <a:pt x="47615" y="11117"/>
                    <a:pt x="47541" y="11123"/>
                    <a:pt x="47476" y="11123"/>
                  </a:cubicBezTo>
                  <a:cubicBezTo>
                    <a:pt x="46890" y="11123"/>
                    <a:pt x="47135" y="10625"/>
                    <a:pt x="47579" y="10625"/>
                  </a:cubicBezTo>
                  <a:cubicBezTo>
                    <a:pt x="47637" y="10625"/>
                    <a:pt x="47698" y="10633"/>
                    <a:pt x="47761" y="10652"/>
                  </a:cubicBezTo>
                  <a:cubicBezTo>
                    <a:pt x="48037" y="10715"/>
                    <a:pt x="48323" y="10746"/>
                    <a:pt x="48611" y="10746"/>
                  </a:cubicBezTo>
                  <a:cubicBezTo>
                    <a:pt x="49014" y="10746"/>
                    <a:pt x="49421" y="10685"/>
                    <a:pt x="49807" y="10562"/>
                  </a:cubicBezTo>
                  <a:cubicBezTo>
                    <a:pt x="50499" y="10412"/>
                    <a:pt x="49958" y="10081"/>
                    <a:pt x="49958" y="9810"/>
                  </a:cubicBezTo>
                  <a:cubicBezTo>
                    <a:pt x="49958" y="9703"/>
                    <a:pt x="50124" y="9673"/>
                    <a:pt x="50365" y="9673"/>
                  </a:cubicBezTo>
                  <a:cubicBezTo>
                    <a:pt x="50665" y="9673"/>
                    <a:pt x="51081" y="9719"/>
                    <a:pt x="51432" y="9719"/>
                  </a:cubicBezTo>
                  <a:cubicBezTo>
                    <a:pt x="52064" y="9719"/>
                    <a:pt x="52967" y="8696"/>
                    <a:pt x="53027" y="8094"/>
                  </a:cubicBezTo>
                  <a:cubicBezTo>
                    <a:pt x="53047" y="7693"/>
                    <a:pt x="52412" y="7626"/>
                    <a:pt x="51781" y="7626"/>
                  </a:cubicBezTo>
                  <a:cubicBezTo>
                    <a:pt x="51466" y="7626"/>
                    <a:pt x="51152" y="7643"/>
                    <a:pt x="50921" y="7643"/>
                  </a:cubicBezTo>
                  <a:cubicBezTo>
                    <a:pt x="50254" y="7643"/>
                    <a:pt x="51177" y="7181"/>
                    <a:pt x="52365" y="7181"/>
                  </a:cubicBezTo>
                  <a:cubicBezTo>
                    <a:pt x="52464" y="7181"/>
                    <a:pt x="52564" y="7185"/>
                    <a:pt x="52666" y="7191"/>
                  </a:cubicBezTo>
                  <a:cubicBezTo>
                    <a:pt x="52729" y="7194"/>
                    <a:pt x="52787" y="7196"/>
                    <a:pt x="52841" y="7196"/>
                  </a:cubicBezTo>
                  <a:cubicBezTo>
                    <a:pt x="53938" y="7196"/>
                    <a:pt x="53431" y="6640"/>
                    <a:pt x="53689" y="6439"/>
                  </a:cubicBezTo>
                  <a:cubicBezTo>
                    <a:pt x="53743" y="6392"/>
                    <a:pt x="53809" y="6374"/>
                    <a:pt x="53885" y="6374"/>
                  </a:cubicBezTo>
                  <a:cubicBezTo>
                    <a:pt x="54147" y="6374"/>
                    <a:pt x="54535" y="6588"/>
                    <a:pt x="54965" y="6588"/>
                  </a:cubicBezTo>
                  <a:cubicBezTo>
                    <a:pt x="55050" y="6588"/>
                    <a:pt x="55137" y="6579"/>
                    <a:pt x="55224" y="6559"/>
                  </a:cubicBezTo>
                  <a:cubicBezTo>
                    <a:pt x="55917" y="6409"/>
                    <a:pt x="55405" y="5837"/>
                    <a:pt x="55856" y="5837"/>
                  </a:cubicBezTo>
                  <a:cubicBezTo>
                    <a:pt x="56308" y="5837"/>
                    <a:pt x="56910" y="5356"/>
                    <a:pt x="58384" y="4543"/>
                  </a:cubicBezTo>
                  <a:cubicBezTo>
                    <a:pt x="59859" y="3761"/>
                    <a:pt x="60942" y="3881"/>
                    <a:pt x="61033" y="3430"/>
                  </a:cubicBezTo>
                  <a:cubicBezTo>
                    <a:pt x="61054" y="3269"/>
                    <a:pt x="60806" y="3223"/>
                    <a:pt x="60461" y="3223"/>
                  </a:cubicBezTo>
                  <a:cubicBezTo>
                    <a:pt x="59985" y="3223"/>
                    <a:pt x="59325" y="3311"/>
                    <a:pt x="58932" y="3311"/>
                  </a:cubicBezTo>
                  <a:cubicBezTo>
                    <a:pt x="58808" y="3311"/>
                    <a:pt x="58711" y="3302"/>
                    <a:pt x="58655" y="3279"/>
                  </a:cubicBezTo>
                  <a:cubicBezTo>
                    <a:pt x="58315" y="3148"/>
                    <a:pt x="59637" y="2835"/>
                    <a:pt x="60284" y="2835"/>
                  </a:cubicBezTo>
                  <a:cubicBezTo>
                    <a:pt x="60381" y="2835"/>
                    <a:pt x="60462" y="2842"/>
                    <a:pt x="60521" y="2858"/>
                  </a:cubicBezTo>
                  <a:cubicBezTo>
                    <a:pt x="60618" y="2884"/>
                    <a:pt x="60720" y="2899"/>
                    <a:pt x="60833" y="2899"/>
                  </a:cubicBezTo>
                  <a:cubicBezTo>
                    <a:pt x="61246" y="2899"/>
                    <a:pt x="61819" y="2702"/>
                    <a:pt x="62929" y="2136"/>
                  </a:cubicBezTo>
                  <a:cubicBezTo>
                    <a:pt x="64128" y="1561"/>
                    <a:pt x="63917" y="1360"/>
                    <a:pt x="63466" y="1360"/>
                  </a:cubicBezTo>
                  <a:cubicBezTo>
                    <a:pt x="63373" y="1360"/>
                    <a:pt x="63271" y="1368"/>
                    <a:pt x="63169" y="1383"/>
                  </a:cubicBezTo>
                  <a:cubicBezTo>
                    <a:pt x="63055" y="1406"/>
                    <a:pt x="62937" y="1417"/>
                    <a:pt x="62822" y="1417"/>
                  </a:cubicBezTo>
                  <a:cubicBezTo>
                    <a:pt x="62332" y="1417"/>
                    <a:pt x="61887" y="1219"/>
                    <a:pt x="61935" y="902"/>
                  </a:cubicBezTo>
                  <a:cubicBezTo>
                    <a:pt x="61948" y="747"/>
                    <a:pt x="61790" y="719"/>
                    <a:pt x="61602" y="719"/>
                  </a:cubicBezTo>
                  <a:cubicBezTo>
                    <a:pt x="61498" y="719"/>
                    <a:pt x="61385" y="728"/>
                    <a:pt x="61287" y="728"/>
                  </a:cubicBezTo>
                  <a:cubicBezTo>
                    <a:pt x="61150" y="728"/>
                    <a:pt x="61043" y="711"/>
                    <a:pt x="61033" y="631"/>
                  </a:cubicBezTo>
                  <a:cubicBezTo>
                    <a:pt x="61013" y="561"/>
                    <a:pt x="60906" y="527"/>
                    <a:pt x="60738" y="527"/>
                  </a:cubicBezTo>
                  <a:cubicBezTo>
                    <a:pt x="60404" y="527"/>
                    <a:pt x="59829" y="661"/>
                    <a:pt x="59227" y="902"/>
                  </a:cubicBezTo>
                  <a:cubicBezTo>
                    <a:pt x="59044" y="981"/>
                    <a:pt x="58932" y="1013"/>
                    <a:pt x="58872" y="1013"/>
                  </a:cubicBezTo>
                  <a:cubicBezTo>
                    <a:pt x="58637" y="1013"/>
                    <a:pt x="59222" y="510"/>
                    <a:pt x="59558" y="390"/>
                  </a:cubicBezTo>
                  <a:cubicBezTo>
                    <a:pt x="59979" y="240"/>
                    <a:pt x="57211" y="390"/>
                    <a:pt x="56759" y="89"/>
                  </a:cubicBezTo>
                  <a:cubicBezTo>
                    <a:pt x="56685" y="40"/>
                    <a:pt x="56610" y="21"/>
                    <a:pt x="56534" y="21"/>
                  </a:cubicBezTo>
                  <a:cubicBezTo>
                    <a:pt x="56243" y="21"/>
                    <a:pt x="55936" y="303"/>
                    <a:pt x="55642" y="303"/>
                  </a:cubicBezTo>
                  <a:cubicBezTo>
                    <a:pt x="55541" y="303"/>
                    <a:pt x="55442" y="270"/>
                    <a:pt x="55345" y="179"/>
                  </a:cubicBezTo>
                  <a:cubicBezTo>
                    <a:pt x="55197" y="52"/>
                    <a:pt x="54986" y="1"/>
                    <a:pt x="54773" y="1"/>
                  </a:cubicBezTo>
                  <a:close/>
                  <a:moveTo>
                    <a:pt x="19615" y="10384"/>
                  </a:moveTo>
                  <a:cubicBezTo>
                    <a:pt x="19435" y="10384"/>
                    <a:pt x="19351" y="10676"/>
                    <a:pt x="19351" y="10833"/>
                  </a:cubicBezTo>
                  <a:cubicBezTo>
                    <a:pt x="19351" y="10912"/>
                    <a:pt x="19277" y="10942"/>
                    <a:pt x="19165" y="10942"/>
                  </a:cubicBezTo>
                  <a:cubicBezTo>
                    <a:pt x="18934" y="10942"/>
                    <a:pt x="18541" y="10814"/>
                    <a:pt x="18298" y="10713"/>
                  </a:cubicBezTo>
                  <a:cubicBezTo>
                    <a:pt x="18256" y="10696"/>
                    <a:pt x="18212" y="10689"/>
                    <a:pt x="18167" y="10689"/>
                  </a:cubicBezTo>
                  <a:cubicBezTo>
                    <a:pt x="17795" y="10689"/>
                    <a:pt x="17333" y="11197"/>
                    <a:pt x="16823" y="11465"/>
                  </a:cubicBezTo>
                  <a:cubicBezTo>
                    <a:pt x="16270" y="11756"/>
                    <a:pt x="16224" y="12189"/>
                    <a:pt x="15757" y="12189"/>
                  </a:cubicBezTo>
                  <a:cubicBezTo>
                    <a:pt x="15742" y="12189"/>
                    <a:pt x="15726" y="12188"/>
                    <a:pt x="15710" y="12187"/>
                  </a:cubicBezTo>
                  <a:cubicBezTo>
                    <a:pt x="15694" y="12186"/>
                    <a:pt x="15677" y="12186"/>
                    <a:pt x="15660" y="12186"/>
                  </a:cubicBezTo>
                  <a:cubicBezTo>
                    <a:pt x="15124" y="12186"/>
                    <a:pt x="14423" y="12642"/>
                    <a:pt x="14657" y="12759"/>
                  </a:cubicBezTo>
                  <a:cubicBezTo>
                    <a:pt x="14865" y="12863"/>
                    <a:pt x="14712" y="13239"/>
                    <a:pt x="14864" y="13239"/>
                  </a:cubicBezTo>
                  <a:cubicBezTo>
                    <a:pt x="14887" y="13239"/>
                    <a:pt x="14917" y="13230"/>
                    <a:pt x="14958" y="13210"/>
                  </a:cubicBezTo>
                  <a:cubicBezTo>
                    <a:pt x="15068" y="13122"/>
                    <a:pt x="15210" y="13066"/>
                    <a:pt x="15349" y="13066"/>
                  </a:cubicBezTo>
                  <a:cubicBezTo>
                    <a:pt x="15400" y="13066"/>
                    <a:pt x="15451" y="13074"/>
                    <a:pt x="15499" y="13090"/>
                  </a:cubicBezTo>
                  <a:cubicBezTo>
                    <a:pt x="15568" y="13117"/>
                    <a:pt x="15627" y="13128"/>
                    <a:pt x="15678" y="13128"/>
                  </a:cubicBezTo>
                  <a:cubicBezTo>
                    <a:pt x="15916" y="13128"/>
                    <a:pt x="15988" y="12878"/>
                    <a:pt x="16161" y="12729"/>
                  </a:cubicBezTo>
                  <a:cubicBezTo>
                    <a:pt x="16181" y="12705"/>
                    <a:pt x="16198" y="12695"/>
                    <a:pt x="16212" y="12695"/>
                  </a:cubicBezTo>
                  <a:cubicBezTo>
                    <a:pt x="16323" y="12695"/>
                    <a:pt x="16275" y="13361"/>
                    <a:pt x="16703" y="13361"/>
                  </a:cubicBezTo>
                  <a:cubicBezTo>
                    <a:pt x="17151" y="13361"/>
                    <a:pt x="17045" y="12716"/>
                    <a:pt x="17254" y="12716"/>
                  </a:cubicBezTo>
                  <a:cubicBezTo>
                    <a:pt x="17284" y="12716"/>
                    <a:pt x="17320" y="12729"/>
                    <a:pt x="17365" y="12759"/>
                  </a:cubicBezTo>
                  <a:cubicBezTo>
                    <a:pt x="17440" y="12806"/>
                    <a:pt x="17504" y="12826"/>
                    <a:pt x="17559" y="12826"/>
                  </a:cubicBezTo>
                  <a:cubicBezTo>
                    <a:pt x="17747" y="12826"/>
                    <a:pt x="17830" y="12591"/>
                    <a:pt x="17877" y="12428"/>
                  </a:cubicBezTo>
                  <a:cubicBezTo>
                    <a:pt x="17967" y="12187"/>
                    <a:pt x="17967" y="11736"/>
                    <a:pt x="18328" y="11676"/>
                  </a:cubicBezTo>
                  <a:cubicBezTo>
                    <a:pt x="18363" y="11668"/>
                    <a:pt x="18392" y="11664"/>
                    <a:pt x="18416" y="11664"/>
                  </a:cubicBezTo>
                  <a:cubicBezTo>
                    <a:pt x="18670" y="11664"/>
                    <a:pt x="18434" y="12066"/>
                    <a:pt x="18599" y="12368"/>
                  </a:cubicBezTo>
                  <a:cubicBezTo>
                    <a:pt x="18659" y="12488"/>
                    <a:pt x="18759" y="12535"/>
                    <a:pt x="18868" y="12535"/>
                  </a:cubicBezTo>
                  <a:cubicBezTo>
                    <a:pt x="19084" y="12535"/>
                    <a:pt x="19331" y="12348"/>
                    <a:pt x="19351" y="12187"/>
                  </a:cubicBezTo>
                  <a:cubicBezTo>
                    <a:pt x="19381" y="11977"/>
                    <a:pt x="19983" y="12127"/>
                    <a:pt x="19953" y="11886"/>
                  </a:cubicBezTo>
                  <a:cubicBezTo>
                    <a:pt x="19923" y="11676"/>
                    <a:pt x="20134" y="11555"/>
                    <a:pt x="19953" y="11284"/>
                  </a:cubicBezTo>
                  <a:cubicBezTo>
                    <a:pt x="19773" y="11013"/>
                    <a:pt x="20254" y="11074"/>
                    <a:pt x="20435" y="10863"/>
                  </a:cubicBezTo>
                  <a:cubicBezTo>
                    <a:pt x="20615" y="10682"/>
                    <a:pt x="20164" y="10833"/>
                    <a:pt x="19833" y="10502"/>
                  </a:cubicBezTo>
                  <a:cubicBezTo>
                    <a:pt x="19749" y="10418"/>
                    <a:pt x="19677" y="10384"/>
                    <a:pt x="19615" y="10384"/>
                  </a:cubicBezTo>
                  <a:close/>
                  <a:moveTo>
                    <a:pt x="18736" y="12886"/>
                  </a:moveTo>
                  <a:cubicBezTo>
                    <a:pt x="18432" y="12886"/>
                    <a:pt x="17312" y="13696"/>
                    <a:pt x="17576" y="13722"/>
                  </a:cubicBezTo>
                  <a:cubicBezTo>
                    <a:pt x="17621" y="13728"/>
                    <a:pt x="17667" y="13732"/>
                    <a:pt x="17712" y="13732"/>
                  </a:cubicBezTo>
                  <a:cubicBezTo>
                    <a:pt x="18299" y="13732"/>
                    <a:pt x="18866" y="13219"/>
                    <a:pt x="18810" y="12940"/>
                  </a:cubicBezTo>
                  <a:cubicBezTo>
                    <a:pt x="18806" y="12902"/>
                    <a:pt x="18779" y="12886"/>
                    <a:pt x="18736" y="12886"/>
                  </a:cubicBezTo>
                  <a:close/>
                  <a:moveTo>
                    <a:pt x="29400" y="13867"/>
                  </a:moveTo>
                  <a:cubicBezTo>
                    <a:pt x="29290" y="13867"/>
                    <a:pt x="29190" y="13920"/>
                    <a:pt x="29132" y="14053"/>
                  </a:cubicBezTo>
                  <a:cubicBezTo>
                    <a:pt x="28971" y="14396"/>
                    <a:pt x="29242" y="14590"/>
                    <a:pt x="29520" y="14590"/>
                  </a:cubicBezTo>
                  <a:cubicBezTo>
                    <a:pt x="29657" y="14590"/>
                    <a:pt x="29795" y="14543"/>
                    <a:pt x="29885" y="14444"/>
                  </a:cubicBezTo>
                  <a:cubicBezTo>
                    <a:pt x="30037" y="14227"/>
                    <a:pt x="29685" y="13867"/>
                    <a:pt x="29400" y="13867"/>
                  </a:cubicBezTo>
                  <a:close/>
                  <a:moveTo>
                    <a:pt x="32137" y="11618"/>
                  </a:moveTo>
                  <a:cubicBezTo>
                    <a:pt x="31837" y="11618"/>
                    <a:pt x="32182" y="12215"/>
                    <a:pt x="32593" y="12548"/>
                  </a:cubicBezTo>
                  <a:cubicBezTo>
                    <a:pt x="32782" y="12714"/>
                    <a:pt x="32786" y="12786"/>
                    <a:pt x="32680" y="12786"/>
                  </a:cubicBezTo>
                  <a:cubicBezTo>
                    <a:pt x="32517" y="12786"/>
                    <a:pt x="32093" y="12612"/>
                    <a:pt x="31690" y="12338"/>
                  </a:cubicBezTo>
                  <a:cubicBezTo>
                    <a:pt x="31537" y="12237"/>
                    <a:pt x="31421" y="12197"/>
                    <a:pt x="31339" y="12197"/>
                  </a:cubicBezTo>
                  <a:cubicBezTo>
                    <a:pt x="31050" y="12197"/>
                    <a:pt x="31162" y="12699"/>
                    <a:pt x="31419" y="12909"/>
                  </a:cubicBezTo>
                  <a:cubicBezTo>
                    <a:pt x="31617" y="13071"/>
                    <a:pt x="31557" y="13254"/>
                    <a:pt x="31388" y="13254"/>
                  </a:cubicBezTo>
                  <a:cubicBezTo>
                    <a:pt x="31273" y="13254"/>
                    <a:pt x="31108" y="13170"/>
                    <a:pt x="30938" y="12940"/>
                  </a:cubicBezTo>
                  <a:cubicBezTo>
                    <a:pt x="30517" y="12368"/>
                    <a:pt x="30306" y="11766"/>
                    <a:pt x="29614" y="11736"/>
                  </a:cubicBezTo>
                  <a:cubicBezTo>
                    <a:pt x="29598" y="11735"/>
                    <a:pt x="29584" y="11735"/>
                    <a:pt x="29569" y="11735"/>
                  </a:cubicBezTo>
                  <a:cubicBezTo>
                    <a:pt x="28936" y="11735"/>
                    <a:pt x="29258" y="12375"/>
                    <a:pt x="29493" y="12699"/>
                  </a:cubicBezTo>
                  <a:cubicBezTo>
                    <a:pt x="29764" y="13060"/>
                    <a:pt x="30216" y="13271"/>
                    <a:pt x="30787" y="13572"/>
                  </a:cubicBezTo>
                  <a:cubicBezTo>
                    <a:pt x="30936" y="13654"/>
                    <a:pt x="31114" y="13682"/>
                    <a:pt x="31302" y="13682"/>
                  </a:cubicBezTo>
                  <a:cubicBezTo>
                    <a:pt x="31710" y="13682"/>
                    <a:pt x="32166" y="13549"/>
                    <a:pt x="32473" y="13549"/>
                  </a:cubicBezTo>
                  <a:cubicBezTo>
                    <a:pt x="32541" y="13549"/>
                    <a:pt x="32602" y="13556"/>
                    <a:pt x="32653" y="13572"/>
                  </a:cubicBezTo>
                  <a:cubicBezTo>
                    <a:pt x="33075" y="13692"/>
                    <a:pt x="32202" y="14173"/>
                    <a:pt x="32503" y="14565"/>
                  </a:cubicBezTo>
                  <a:cubicBezTo>
                    <a:pt x="32616" y="14700"/>
                    <a:pt x="32792" y="14742"/>
                    <a:pt x="33000" y="14742"/>
                  </a:cubicBezTo>
                  <a:cubicBezTo>
                    <a:pt x="33347" y="14742"/>
                    <a:pt x="33782" y="14625"/>
                    <a:pt x="34158" y="14625"/>
                  </a:cubicBezTo>
                  <a:cubicBezTo>
                    <a:pt x="34760" y="14625"/>
                    <a:pt x="34459" y="14204"/>
                    <a:pt x="34790" y="13993"/>
                  </a:cubicBezTo>
                  <a:cubicBezTo>
                    <a:pt x="35151" y="13752"/>
                    <a:pt x="34459" y="13752"/>
                    <a:pt x="34730" y="13150"/>
                  </a:cubicBezTo>
                  <a:cubicBezTo>
                    <a:pt x="34956" y="12647"/>
                    <a:pt x="34195" y="11914"/>
                    <a:pt x="33921" y="11914"/>
                  </a:cubicBezTo>
                  <a:cubicBezTo>
                    <a:pt x="33867" y="11914"/>
                    <a:pt x="33832" y="11942"/>
                    <a:pt x="33827" y="12007"/>
                  </a:cubicBezTo>
                  <a:cubicBezTo>
                    <a:pt x="33819" y="12094"/>
                    <a:pt x="33759" y="12129"/>
                    <a:pt x="33663" y="12129"/>
                  </a:cubicBezTo>
                  <a:cubicBezTo>
                    <a:pt x="33394" y="12129"/>
                    <a:pt x="32840" y="11853"/>
                    <a:pt x="32352" y="11676"/>
                  </a:cubicBezTo>
                  <a:cubicBezTo>
                    <a:pt x="32259" y="11636"/>
                    <a:pt x="32189" y="11618"/>
                    <a:pt x="32137" y="11618"/>
                  </a:cubicBezTo>
                  <a:close/>
                  <a:moveTo>
                    <a:pt x="36902" y="13736"/>
                  </a:moveTo>
                  <a:cubicBezTo>
                    <a:pt x="36141" y="13736"/>
                    <a:pt x="35166" y="14478"/>
                    <a:pt x="35362" y="14625"/>
                  </a:cubicBezTo>
                  <a:cubicBezTo>
                    <a:pt x="35623" y="14828"/>
                    <a:pt x="37029" y="15198"/>
                    <a:pt x="37696" y="15198"/>
                  </a:cubicBezTo>
                  <a:cubicBezTo>
                    <a:pt x="37722" y="15198"/>
                    <a:pt x="37746" y="15198"/>
                    <a:pt x="37769" y="15197"/>
                  </a:cubicBezTo>
                  <a:cubicBezTo>
                    <a:pt x="38431" y="15197"/>
                    <a:pt x="38070" y="14414"/>
                    <a:pt x="37378" y="13872"/>
                  </a:cubicBezTo>
                  <a:cubicBezTo>
                    <a:pt x="37242" y="13776"/>
                    <a:pt x="37078" y="13736"/>
                    <a:pt x="36902" y="13736"/>
                  </a:cubicBezTo>
                  <a:close/>
                  <a:moveTo>
                    <a:pt x="36365" y="11304"/>
                  </a:moveTo>
                  <a:cubicBezTo>
                    <a:pt x="35752" y="11304"/>
                    <a:pt x="35189" y="11441"/>
                    <a:pt x="35392" y="11736"/>
                  </a:cubicBezTo>
                  <a:cubicBezTo>
                    <a:pt x="35681" y="12121"/>
                    <a:pt x="36991" y="12583"/>
                    <a:pt x="37595" y="12583"/>
                  </a:cubicBezTo>
                  <a:cubicBezTo>
                    <a:pt x="37746" y="12583"/>
                    <a:pt x="37854" y="12554"/>
                    <a:pt x="37890" y="12488"/>
                  </a:cubicBezTo>
                  <a:cubicBezTo>
                    <a:pt x="37921" y="12431"/>
                    <a:pt x="37964" y="12406"/>
                    <a:pt x="38015" y="12406"/>
                  </a:cubicBezTo>
                  <a:cubicBezTo>
                    <a:pt x="38260" y="12406"/>
                    <a:pt x="38694" y="12972"/>
                    <a:pt x="38943" y="13271"/>
                  </a:cubicBezTo>
                  <a:cubicBezTo>
                    <a:pt x="39244" y="13662"/>
                    <a:pt x="38762" y="13812"/>
                    <a:pt x="38973" y="14535"/>
                  </a:cubicBezTo>
                  <a:cubicBezTo>
                    <a:pt x="39109" y="14866"/>
                    <a:pt x="39244" y="14911"/>
                    <a:pt x="39398" y="14911"/>
                  </a:cubicBezTo>
                  <a:cubicBezTo>
                    <a:pt x="39456" y="14911"/>
                    <a:pt x="39517" y="14904"/>
                    <a:pt x="39581" y="14904"/>
                  </a:cubicBezTo>
                  <a:cubicBezTo>
                    <a:pt x="39688" y="14904"/>
                    <a:pt x="39805" y="14922"/>
                    <a:pt x="39936" y="15016"/>
                  </a:cubicBezTo>
                  <a:cubicBezTo>
                    <a:pt x="40185" y="15207"/>
                    <a:pt x="40507" y="15338"/>
                    <a:pt x="40786" y="15338"/>
                  </a:cubicBezTo>
                  <a:cubicBezTo>
                    <a:pt x="40945" y="15338"/>
                    <a:pt x="41091" y="15295"/>
                    <a:pt x="41200" y="15197"/>
                  </a:cubicBezTo>
                  <a:cubicBezTo>
                    <a:pt x="41414" y="15004"/>
                    <a:pt x="41552" y="14827"/>
                    <a:pt x="41657" y="14827"/>
                  </a:cubicBezTo>
                  <a:cubicBezTo>
                    <a:pt x="41700" y="14827"/>
                    <a:pt x="41737" y="14856"/>
                    <a:pt x="41772" y="14926"/>
                  </a:cubicBezTo>
                  <a:cubicBezTo>
                    <a:pt x="41892" y="15197"/>
                    <a:pt x="42705" y="15377"/>
                    <a:pt x="44390" y="15407"/>
                  </a:cubicBezTo>
                  <a:cubicBezTo>
                    <a:pt x="44457" y="15410"/>
                    <a:pt x="44520" y="15411"/>
                    <a:pt x="44580" y="15411"/>
                  </a:cubicBezTo>
                  <a:cubicBezTo>
                    <a:pt x="45813" y="15411"/>
                    <a:pt x="45776" y="14945"/>
                    <a:pt x="45985" y="14945"/>
                  </a:cubicBezTo>
                  <a:cubicBezTo>
                    <a:pt x="46030" y="14945"/>
                    <a:pt x="46085" y="14966"/>
                    <a:pt x="46166" y="15016"/>
                  </a:cubicBezTo>
                  <a:cubicBezTo>
                    <a:pt x="46451" y="15194"/>
                    <a:pt x="46968" y="15246"/>
                    <a:pt x="47442" y="15246"/>
                  </a:cubicBezTo>
                  <a:cubicBezTo>
                    <a:pt x="47769" y="15246"/>
                    <a:pt x="48076" y="15221"/>
                    <a:pt x="48272" y="15197"/>
                  </a:cubicBezTo>
                  <a:cubicBezTo>
                    <a:pt x="48754" y="15106"/>
                    <a:pt x="48995" y="14294"/>
                    <a:pt x="48995" y="13903"/>
                  </a:cubicBezTo>
                  <a:cubicBezTo>
                    <a:pt x="48995" y="13652"/>
                    <a:pt x="47166" y="13415"/>
                    <a:pt x="45816" y="13415"/>
                  </a:cubicBezTo>
                  <a:cubicBezTo>
                    <a:pt x="45223" y="13415"/>
                    <a:pt x="44722" y="13461"/>
                    <a:pt x="44511" y="13572"/>
                  </a:cubicBezTo>
                  <a:cubicBezTo>
                    <a:pt x="44312" y="13684"/>
                    <a:pt x="44087" y="13719"/>
                    <a:pt x="43853" y="13719"/>
                  </a:cubicBezTo>
                  <a:cubicBezTo>
                    <a:pt x="43449" y="13719"/>
                    <a:pt x="43020" y="13613"/>
                    <a:pt x="42667" y="13613"/>
                  </a:cubicBezTo>
                  <a:cubicBezTo>
                    <a:pt x="42512" y="13613"/>
                    <a:pt x="42371" y="13633"/>
                    <a:pt x="42253" y="13692"/>
                  </a:cubicBezTo>
                  <a:cubicBezTo>
                    <a:pt x="42160" y="13741"/>
                    <a:pt x="42090" y="13762"/>
                    <a:pt x="42032" y="13762"/>
                  </a:cubicBezTo>
                  <a:cubicBezTo>
                    <a:pt x="41771" y="13762"/>
                    <a:pt x="41753" y="13350"/>
                    <a:pt x="40989" y="13301"/>
                  </a:cubicBezTo>
                  <a:cubicBezTo>
                    <a:pt x="40026" y="13271"/>
                    <a:pt x="41050" y="12789"/>
                    <a:pt x="41200" y="12548"/>
                  </a:cubicBezTo>
                  <a:cubicBezTo>
                    <a:pt x="41333" y="12363"/>
                    <a:pt x="40111" y="11920"/>
                    <a:pt x="39366" y="11920"/>
                  </a:cubicBezTo>
                  <a:cubicBezTo>
                    <a:pt x="39265" y="11920"/>
                    <a:pt x="39172" y="11928"/>
                    <a:pt x="39094" y="11946"/>
                  </a:cubicBezTo>
                  <a:cubicBezTo>
                    <a:pt x="38986" y="11971"/>
                    <a:pt x="38885" y="11982"/>
                    <a:pt x="38790" y="11982"/>
                  </a:cubicBezTo>
                  <a:cubicBezTo>
                    <a:pt x="38298" y="11982"/>
                    <a:pt x="37937" y="11692"/>
                    <a:pt x="37408" y="11465"/>
                  </a:cubicBezTo>
                  <a:cubicBezTo>
                    <a:pt x="37163" y="11360"/>
                    <a:pt x="36754" y="11304"/>
                    <a:pt x="36365" y="11304"/>
                  </a:cubicBezTo>
                  <a:close/>
                  <a:moveTo>
                    <a:pt x="25788" y="11696"/>
                  </a:moveTo>
                  <a:cubicBezTo>
                    <a:pt x="25762" y="11696"/>
                    <a:pt x="25734" y="11699"/>
                    <a:pt x="25701" y="11706"/>
                  </a:cubicBezTo>
                  <a:cubicBezTo>
                    <a:pt x="25250" y="11766"/>
                    <a:pt x="24227" y="12518"/>
                    <a:pt x="24829" y="12548"/>
                  </a:cubicBezTo>
                  <a:cubicBezTo>
                    <a:pt x="25430" y="12608"/>
                    <a:pt x="25220" y="12970"/>
                    <a:pt x="24919" y="13090"/>
                  </a:cubicBezTo>
                  <a:cubicBezTo>
                    <a:pt x="24618" y="13210"/>
                    <a:pt x="25671" y="13511"/>
                    <a:pt x="25521" y="13692"/>
                  </a:cubicBezTo>
                  <a:cubicBezTo>
                    <a:pt x="25477" y="13745"/>
                    <a:pt x="25307" y="13769"/>
                    <a:pt x="25087" y="13769"/>
                  </a:cubicBezTo>
                  <a:cubicBezTo>
                    <a:pt x="24554" y="13769"/>
                    <a:pt x="23728" y="13625"/>
                    <a:pt x="23685" y="13391"/>
                  </a:cubicBezTo>
                  <a:cubicBezTo>
                    <a:pt x="23602" y="13087"/>
                    <a:pt x="22555" y="12504"/>
                    <a:pt x="21965" y="12504"/>
                  </a:cubicBezTo>
                  <a:cubicBezTo>
                    <a:pt x="21912" y="12504"/>
                    <a:pt x="21863" y="12508"/>
                    <a:pt x="21819" y="12518"/>
                  </a:cubicBezTo>
                  <a:cubicBezTo>
                    <a:pt x="21768" y="12530"/>
                    <a:pt x="21724" y="12536"/>
                    <a:pt x="21685" y="12536"/>
                  </a:cubicBezTo>
                  <a:cubicBezTo>
                    <a:pt x="21337" y="12536"/>
                    <a:pt x="21437" y="12094"/>
                    <a:pt x="20976" y="12067"/>
                  </a:cubicBezTo>
                  <a:cubicBezTo>
                    <a:pt x="20960" y="12066"/>
                    <a:pt x="20944" y="12065"/>
                    <a:pt x="20929" y="12065"/>
                  </a:cubicBezTo>
                  <a:cubicBezTo>
                    <a:pt x="20445" y="12065"/>
                    <a:pt x="20601" y="12520"/>
                    <a:pt x="20134" y="12578"/>
                  </a:cubicBezTo>
                  <a:cubicBezTo>
                    <a:pt x="19652" y="12608"/>
                    <a:pt x="19682" y="13090"/>
                    <a:pt x="20254" y="13090"/>
                  </a:cubicBezTo>
                  <a:cubicBezTo>
                    <a:pt x="20782" y="13090"/>
                    <a:pt x="20951" y="13244"/>
                    <a:pt x="20335" y="13244"/>
                  </a:cubicBezTo>
                  <a:cubicBezTo>
                    <a:pt x="20283" y="13244"/>
                    <a:pt x="20226" y="13243"/>
                    <a:pt x="20164" y="13240"/>
                  </a:cubicBezTo>
                  <a:cubicBezTo>
                    <a:pt x="20148" y="13240"/>
                    <a:pt x="20132" y="13240"/>
                    <a:pt x="20116" y="13240"/>
                  </a:cubicBezTo>
                  <a:cubicBezTo>
                    <a:pt x="19439" y="13240"/>
                    <a:pt x="19100" y="13803"/>
                    <a:pt x="19432" y="13803"/>
                  </a:cubicBezTo>
                  <a:cubicBezTo>
                    <a:pt x="19468" y="13803"/>
                    <a:pt x="19511" y="13796"/>
                    <a:pt x="19562" y="13782"/>
                  </a:cubicBezTo>
                  <a:cubicBezTo>
                    <a:pt x="19848" y="13707"/>
                    <a:pt x="20164" y="13669"/>
                    <a:pt x="20356" y="13669"/>
                  </a:cubicBezTo>
                  <a:cubicBezTo>
                    <a:pt x="20548" y="13669"/>
                    <a:pt x="20615" y="13707"/>
                    <a:pt x="20405" y="13782"/>
                  </a:cubicBezTo>
                  <a:cubicBezTo>
                    <a:pt x="19983" y="13933"/>
                    <a:pt x="18810" y="13993"/>
                    <a:pt x="18960" y="14234"/>
                  </a:cubicBezTo>
                  <a:cubicBezTo>
                    <a:pt x="19111" y="14444"/>
                    <a:pt x="19532" y="14324"/>
                    <a:pt x="19983" y="14535"/>
                  </a:cubicBezTo>
                  <a:cubicBezTo>
                    <a:pt x="20196" y="14620"/>
                    <a:pt x="20376" y="14678"/>
                    <a:pt x="20541" y="14678"/>
                  </a:cubicBezTo>
                  <a:cubicBezTo>
                    <a:pt x="20725" y="14678"/>
                    <a:pt x="20892" y="14605"/>
                    <a:pt x="21067" y="14414"/>
                  </a:cubicBezTo>
                  <a:cubicBezTo>
                    <a:pt x="21304" y="14157"/>
                    <a:pt x="21594" y="13899"/>
                    <a:pt x="21713" y="13899"/>
                  </a:cubicBezTo>
                  <a:cubicBezTo>
                    <a:pt x="21775" y="13899"/>
                    <a:pt x="21791" y="13968"/>
                    <a:pt x="21729" y="14143"/>
                  </a:cubicBezTo>
                  <a:cubicBezTo>
                    <a:pt x="21644" y="14362"/>
                    <a:pt x="21715" y="14428"/>
                    <a:pt x="21894" y="14428"/>
                  </a:cubicBezTo>
                  <a:cubicBezTo>
                    <a:pt x="22159" y="14428"/>
                    <a:pt x="22659" y="14282"/>
                    <a:pt x="23234" y="14264"/>
                  </a:cubicBezTo>
                  <a:cubicBezTo>
                    <a:pt x="23276" y="14261"/>
                    <a:pt x="23314" y="14260"/>
                    <a:pt x="23348" y="14260"/>
                  </a:cubicBezTo>
                  <a:cubicBezTo>
                    <a:pt x="24068" y="14260"/>
                    <a:pt x="23037" y="14838"/>
                    <a:pt x="22060" y="14896"/>
                  </a:cubicBezTo>
                  <a:cubicBezTo>
                    <a:pt x="21037" y="14986"/>
                    <a:pt x="21277" y="15467"/>
                    <a:pt x="22030" y="15648"/>
                  </a:cubicBezTo>
                  <a:cubicBezTo>
                    <a:pt x="22117" y="15669"/>
                    <a:pt x="22216" y="15679"/>
                    <a:pt x="22325" y="15679"/>
                  </a:cubicBezTo>
                  <a:cubicBezTo>
                    <a:pt x="23155" y="15679"/>
                    <a:pt x="24509" y="15118"/>
                    <a:pt x="24829" y="14745"/>
                  </a:cubicBezTo>
                  <a:cubicBezTo>
                    <a:pt x="24929" y="14637"/>
                    <a:pt x="25027" y="14600"/>
                    <a:pt x="25125" y="14600"/>
                  </a:cubicBezTo>
                  <a:cubicBezTo>
                    <a:pt x="25332" y="14600"/>
                    <a:pt x="25535" y="14766"/>
                    <a:pt x="25743" y="14766"/>
                  </a:cubicBezTo>
                  <a:cubicBezTo>
                    <a:pt x="25819" y="14766"/>
                    <a:pt x="25895" y="14745"/>
                    <a:pt x="25972" y="14685"/>
                  </a:cubicBezTo>
                  <a:cubicBezTo>
                    <a:pt x="26093" y="14575"/>
                    <a:pt x="26256" y="14541"/>
                    <a:pt x="26447" y="14541"/>
                  </a:cubicBezTo>
                  <a:cubicBezTo>
                    <a:pt x="26740" y="14541"/>
                    <a:pt x="27097" y="14620"/>
                    <a:pt x="27456" y="14620"/>
                  </a:cubicBezTo>
                  <a:cubicBezTo>
                    <a:pt x="27563" y="14620"/>
                    <a:pt x="27671" y="14613"/>
                    <a:pt x="27778" y="14595"/>
                  </a:cubicBezTo>
                  <a:cubicBezTo>
                    <a:pt x="28440" y="14474"/>
                    <a:pt x="28530" y="13180"/>
                    <a:pt x="28049" y="12970"/>
                  </a:cubicBezTo>
                  <a:cubicBezTo>
                    <a:pt x="27960" y="12938"/>
                    <a:pt x="27886" y="12925"/>
                    <a:pt x="27823" y="12925"/>
                  </a:cubicBezTo>
                  <a:cubicBezTo>
                    <a:pt x="27526" y="12925"/>
                    <a:pt x="27474" y="13221"/>
                    <a:pt x="27176" y="13271"/>
                  </a:cubicBezTo>
                  <a:cubicBezTo>
                    <a:pt x="27145" y="13278"/>
                    <a:pt x="27115" y="13281"/>
                    <a:pt x="27086" y="13281"/>
                  </a:cubicBezTo>
                  <a:cubicBezTo>
                    <a:pt x="26751" y="13281"/>
                    <a:pt x="26548" y="12823"/>
                    <a:pt x="26243" y="12518"/>
                  </a:cubicBezTo>
                  <a:cubicBezTo>
                    <a:pt x="25908" y="12211"/>
                    <a:pt x="26117" y="11696"/>
                    <a:pt x="25788" y="11696"/>
                  </a:cubicBezTo>
                  <a:close/>
                  <a:moveTo>
                    <a:pt x="48232" y="16506"/>
                  </a:moveTo>
                  <a:cubicBezTo>
                    <a:pt x="48101" y="16506"/>
                    <a:pt x="47998" y="16549"/>
                    <a:pt x="47941" y="16671"/>
                  </a:cubicBezTo>
                  <a:cubicBezTo>
                    <a:pt x="47761" y="17123"/>
                    <a:pt x="48423" y="17123"/>
                    <a:pt x="48453" y="17634"/>
                  </a:cubicBezTo>
                  <a:cubicBezTo>
                    <a:pt x="48493" y="17992"/>
                    <a:pt x="48781" y="18192"/>
                    <a:pt x="49111" y="18192"/>
                  </a:cubicBezTo>
                  <a:cubicBezTo>
                    <a:pt x="49281" y="18192"/>
                    <a:pt x="49463" y="18138"/>
                    <a:pt x="49627" y="18026"/>
                  </a:cubicBezTo>
                  <a:cubicBezTo>
                    <a:pt x="49781" y="17920"/>
                    <a:pt x="50033" y="17894"/>
                    <a:pt x="50305" y="17894"/>
                  </a:cubicBezTo>
                  <a:cubicBezTo>
                    <a:pt x="50565" y="17894"/>
                    <a:pt x="50844" y="17918"/>
                    <a:pt x="51072" y="17918"/>
                  </a:cubicBezTo>
                  <a:cubicBezTo>
                    <a:pt x="51351" y="17918"/>
                    <a:pt x="51553" y="17882"/>
                    <a:pt x="51553" y="17725"/>
                  </a:cubicBezTo>
                  <a:cubicBezTo>
                    <a:pt x="51553" y="17330"/>
                    <a:pt x="50230" y="16723"/>
                    <a:pt x="49619" y="16723"/>
                  </a:cubicBezTo>
                  <a:cubicBezTo>
                    <a:pt x="49578" y="16723"/>
                    <a:pt x="49540" y="16726"/>
                    <a:pt x="49506" y="16731"/>
                  </a:cubicBezTo>
                  <a:cubicBezTo>
                    <a:pt x="49460" y="16742"/>
                    <a:pt x="49412" y="16747"/>
                    <a:pt x="49361" y="16747"/>
                  </a:cubicBezTo>
                  <a:cubicBezTo>
                    <a:pt x="49001" y="16747"/>
                    <a:pt x="48540" y="16506"/>
                    <a:pt x="48232" y="16506"/>
                  </a:cubicBezTo>
                  <a:close/>
                  <a:moveTo>
                    <a:pt x="34423" y="15935"/>
                  </a:moveTo>
                  <a:cubicBezTo>
                    <a:pt x="34023" y="15935"/>
                    <a:pt x="33234" y="16152"/>
                    <a:pt x="33616" y="16280"/>
                  </a:cubicBezTo>
                  <a:cubicBezTo>
                    <a:pt x="33955" y="16420"/>
                    <a:pt x="33858" y="16599"/>
                    <a:pt x="33597" y="16599"/>
                  </a:cubicBezTo>
                  <a:cubicBezTo>
                    <a:pt x="33463" y="16599"/>
                    <a:pt x="33287" y="16552"/>
                    <a:pt x="33105" y="16431"/>
                  </a:cubicBezTo>
                  <a:cubicBezTo>
                    <a:pt x="32998" y="16361"/>
                    <a:pt x="32856" y="16332"/>
                    <a:pt x="32702" y="16332"/>
                  </a:cubicBezTo>
                  <a:cubicBezTo>
                    <a:pt x="32119" y="16332"/>
                    <a:pt x="31369" y="16759"/>
                    <a:pt x="31750" y="17093"/>
                  </a:cubicBezTo>
                  <a:cubicBezTo>
                    <a:pt x="31916" y="17219"/>
                    <a:pt x="32138" y="17239"/>
                    <a:pt x="32340" y="17239"/>
                  </a:cubicBezTo>
                  <a:cubicBezTo>
                    <a:pt x="32429" y="17239"/>
                    <a:pt x="32514" y="17235"/>
                    <a:pt x="32589" y="17235"/>
                  </a:cubicBezTo>
                  <a:cubicBezTo>
                    <a:pt x="32865" y="17235"/>
                    <a:pt x="32992" y="17288"/>
                    <a:pt x="32623" y="17785"/>
                  </a:cubicBezTo>
                  <a:cubicBezTo>
                    <a:pt x="32432" y="18063"/>
                    <a:pt x="32273" y="18160"/>
                    <a:pt x="32129" y="18160"/>
                  </a:cubicBezTo>
                  <a:cubicBezTo>
                    <a:pt x="31793" y="18160"/>
                    <a:pt x="31535" y="17629"/>
                    <a:pt x="31126" y="17629"/>
                  </a:cubicBezTo>
                  <a:cubicBezTo>
                    <a:pt x="31104" y="17629"/>
                    <a:pt x="31081" y="17631"/>
                    <a:pt x="31058" y="17634"/>
                  </a:cubicBezTo>
                  <a:cubicBezTo>
                    <a:pt x="30396" y="17755"/>
                    <a:pt x="30697" y="18507"/>
                    <a:pt x="31660" y="18808"/>
                  </a:cubicBezTo>
                  <a:cubicBezTo>
                    <a:pt x="32593" y="19109"/>
                    <a:pt x="32503" y="19590"/>
                    <a:pt x="33255" y="20132"/>
                  </a:cubicBezTo>
                  <a:cubicBezTo>
                    <a:pt x="33431" y="20243"/>
                    <a:pt x="33556" y="20286"/>
                    <a:pt x="33653" y="20286"/>
                  </a:cubicBezTo>
                  <a:cubicBezTo>
                    <a:pt x="33998" y="20286"/>
                    <a:pt x="33992" y="19740"/>
                    <a:pt x="34657" y="19740"/>
                  </a:cubicBezTo>
                  <a:cubicBezTo>
                    <a:pt x="34671" y="19740"/>
                    <a:pt x="34685" y="19740"/>
                    <a:pt x="34700" y="19741"/>
                  </a:cubicBezTo>
                  <a:cubicBezTo>
                    <a:pt x="34718" y="19742"/>
                    <a:pt x="34736" y="19743"/>
                    <a:pt x="34754" y="19743"/>
                  </a:cubicBezTo>
                  <a:cubicBezTo>
                    <a:pt x="35603" y="19743"/>
                    <a:pt x="35606" y="18346"/>
                    <a:pt x="35753" y="17845"/>
                  </a:cubicBezTo>
                  <a:cubicBezTo>
                    <a:pt x="35833" y="17557"/>
                    <a:pt x="35624" y="17422"/>
                    <a:pt x="35438" y="17422"/>
                  </a:cubicBezTo>
                  <a:cubicBezTo>
                    <a:pt x="35273" y="17422"/>
                    <a:pt x="35127" y="17527"/>
                    <a:pt x="35211" y="17725"/>
                  </a:cubicBezTo>
                  <a:cubicBezTo>
                    <a:pt x="35350" y="18003"/>
                    <a:pt x="35306" y="18242"/>
                    <a:pt x="35242" y="18242"/>
                  </a:cubicBezTo>
                  <a:cubicBezTo>
                    <a:pt x="35209" y="18242"/>
                    <a:pt x="35172" y="18179"/>
                    <a:pt x="35151" y="18026"/>
                  </a:cubicBezTo>
                  <a:cubicBezTo>
                    <a:pt x="35110" y="17820"/>
                    <a:pt x="34951" y="17795"/>
                    <a:pt x="34767" y="17795"/>
                  </a:cubicBezTo>
                  <a:cubicBezTo>
                    <a:pt x="34708" y="17795"/>
                    <a:pt x="34647" y="17798"/>
                    <a:pt x="34586" y="17798"/>
                  </a:cubicBezTo>
                  <a:cubicBezTo>
                    <a:pt x="34418" y="17798"/>
                    <a:pt x="34254" y="17779"/>
                    <a:pt x="34158" y="17634"/>
                  </a:cubicBezTo>
                  <a:cubicBezTo>
                    <a:pt x="33947" y="17303"/>
                    <a:pt x="34910" y="17273"/>
                    <a:pt x="35181" y="16792"/>
                  </a:cubicBezTo>
                  <a:cubicBezTo>
                    <a:pt x="35452" y="16280"/>
                    <a:pt x="34369" y="16400"/>
                    <a:pt x="34609" y="16069"/>
                  </a:cubicBezTo>
                  <a:cubicBezTo>
                    <a:pt x="34689" y="15972"/>
                    <a:pt x="34590" y="15935"/>
                    <a:pt x="34423" y="15935"/>
                  </a:cubicBezTo>
                  <a:close/>
                  <a:moveTo>
                    <a:pt x="15631" y="15283"/>
                  </a:moveTo>
                  <a:cubicBezTo>
                    <a:pt x="15157" y="15283"/>
                    <a:pt x="13695" y="15738"/>
                    <a:pt x="13302" y="15738"/>
                  </a:cubicBezTo>
                  <a:cubicBezTo>
                    <a:pt x="12851" y="15738"/>
                    <a:pt x="13332" y="16220"/>
                    <a:pt x="13633" y="16431"/>
                  </a:cubicBezTo>
                  <a:cubicBezTo>
                    <a:pt x="13934" y="16671"/>
                    <a:pt x="12881" y="17454"/>
                    <a:pt x="13062" y="17634"/>
                  </a:cubicBezTo>
                  <a:cubicBezTo>
                    <a:pt x="13242" y="17845"/>
                    <a:pt x="12881" y="18296"/>
                    <a:pt x="12399" y="18838"/>
                  </a:cubicBezTo>
                  <a:cubicBezTo>
                    <a:pt x="11888" y="19410"/>
                    <a:pt x="12730" y="19380"/>
                    <a:pt x="13362" y="19500"/>
                  </a:cubicBezTo>
                  <a:cubicBezTo>
                    <a:pt x="13994" y="19651"/>
                    <a:pt x="14055" y="20764"/>
                    <a:pt x="14506" y="20764"/>
                  </a:cubicBezTo>
                  <a:cubicBezTo>
                    <a:pt x="14958" y="20764"/>
                    <a:pt x="14566" y="20433"/>
                    <a:pt x="15018" y="20433"/>
                  </a:cubicBezTo>
                  <a:cubicBezTo>
                    <a:pt x="15445" y="20433"/>
                    <a:pt x="15360" y="20190"/>
                    <a:pt x="15708" y="20190"/>
                  </a:cubicBezTo>
                  <a:cubicBezTo>
                    <a:pt x="15727" y="20190"/>
                    <a:pt x="15748" y="20191"/>
                    <a:pt x="15770" y="20192"/>
                  </a:cubicBezTo>
                  <a:cubicBezTo>
                    <a:pt x="15827" y="20201"/>
                    <a:pt x="15884" y="20205"/>
                    <a:pt x="15938" y="20205"/>
                  </a:cubicBezTo>
                  <a:cubicBezTo>
                    <a:pt x="16283" y="20205"/>
                    <a:pt x="16553" y="20032"/>
                    <a:pt x="16553" y="19590"/>
                  </a:cubicBezTo>
                  <a:cubicBezTo>
                    <a:pt x="16553" y="19109"/>
                    <a:pt x="16853" y="18928"/>
                    <a:pt x="17275" y="18838"/>
                  </a:cubicBezTo>
                  <a:cubicBezTo>
                    <a:pt x="17696" y="18778"/>
                    <a:pt x="17305" y="18206"/>
                    <a:pt x="17907" y="18056"/>
                  </a:cubicBezTo>
                  <a:cubicBezTo>
                    <a:pt x="18780" y="17785"/>
                    <a:pt x="19622" y="17454"/>
                    <a:pt x="20435" y="17002"/>
                  </a:cubicBezTo>
                  <a:cubicBezTo>
                    <a:pt x="20736" y="16792"/>
                    <a:pt x="20104" y="16521"/>
                    <a:pt x="19472" y="16130"/>
                  </a:cubicBezTo>
                  <a:cubicBezTo>
                    <a:pt x="19068" y="15909"/>
                    <a:pt x="18731" y="15778"/>
                    <a:pt x="18420" y="15778"/>
                  </a:cubicBezTo>
                  <a:cubicBezTo>
                    <a:pt x="18222" y="15778"/>
                    <a:pt x="18034" y="15832"/>
                    <a:pt x="17847" y="15949"/>
                  </a:cubicBezTo>
                  <a:cubicBezTo>
                    <a:pt x="17752" y="16008"/>
                    <a:pt x="17691" y="16031"/>
                    <a:pt x="17651" y="16031"/>
                  </a:cubicBezTo>
                  <a:cubicBezTo>
                    <a:pt x="17511" y="16031"/>
                    <a:pt x="17634" y="15745"/>
                    <a:pt x="17467" y="15745"/>
                  </a:cubicBezTo>
                  <a:cubicBezTo>
                    <a:pt x="17441" y="15745"/>
                    <a:pt x="17408" y="15752"/>
                    <a:pt x="17365" y="15768"/>
                  </a:cubicBezTo>
                  <a:cubicBezTo>
                    <a:pt x="17303" y="15791"/>
                    <a:pt x="17228" y="15800"/>
                    <a:pt x="17145" y="15800"/>
                  </a:cubicBezTo>
                  <a:cubicBezTo>
                    <a:pt x="16662" y="15800"/>
                    <a:pt x="15898" y="15471"/>
                    <a:pt x="15770" y="15317"/>
                  </a:cubicBezTo>
                  <a:cubicBezTo>
                    <a:pt x="15750" y="15293"/>
                    <a:pt x="15702" y="15283"/>
                    <a:pt x="15631" y="15283"/>
                  </a:cubicBezTo>
                  <a:close/>
                  <a:moveTo>
                    <a:pt x="28429" y="16568"/>
                  </a:moveTo>
                  <a:cubicBezTo>
                    <a:pt x="27862" y="16568"/>
                    <a:pt x="27232" y="16854"/>
                    <a:pt x="27326" y="16972"/>
                  </a:cubicBezTo>
                  <a:cubicBezTo>
                    <a:pt x="27447" y="17123"/>
                    <a:pt x="28289" y="17604"/>
                    <a:pt x="28289" y="17845"/>
                  </a:cubicBezTo>
                  <a:cubicBezTo>
                    <a:pt x="28289" y="17869"/>
                    <a:pt x="28279" y="17880"/>
                    <a:pt x="28259" y="17880"/>
                  </a:cubicBezTo>
                  <a:cubicBezTo>
                    <a:pt x="28120" y="17880"/>
                    <a:pt x="27547" y="17351"/>
                    <a:pt x="27270" y="17351"/>
                  </a:cubicBezTo>
                  <a:cubicBezTo>
                    <a:pt x="27246" y="17351"/>
                    <a:pt x="27225" y="17355"/>
                    <a:pt x="27206" y="17363"/>
                  </a:cubicBezTo>
                  <a:cubicBezTo>
                    <a:pt x="27168" y="17385"/>
                    <a:pt x="27128" y="17393"/>
                    <a:pt x="27087" y="17393"/>
                  </a:cubicBezTo>
                  <a:cubicBezTo>
                    <a:pt x="26919" y="17393"/>
                    <a:pt x="26735" y="17245"/>
                    <a:pt x="26561" y="17245"/>
                  </a:cubicBezTo>
                  <a:cubicBezTo>
                    <a:pt x="26482" y="17245"/>
                    <a:pt x="26406" y="17275"/>
                    <a:pt x="26333" y="17363"/>
                  </a:cubicBezTo>
                  <a:cubicBezTo>
                    <a:pt x="26062" y="17725"/>
                    <a:pt x="26694" y="18958"/>
                    <a:pt x="26875" y="19350"/>
                  </a:cubicBezTo>
                  <a:cubicBezTo>
                    <a:pt x="27056" y="19711"/>
                    <a:pt x="26664" y="19681"/>
                    <a:pt x="26363" y="19741"/>
                  </a:cubicBezTo>
                  <a:cubicBezTo>
                    <a:pt x="26351" y="19745"/>
                    <a:pt x="26339" y="19746"/>
                    <a:pt x="26328" y="19746"/>
                  </a:cubicBezTo>
                  <a:cubicBezTo>
                    <a:pt x="26062" y="19746"/>
                    <a:pt x="26051" y="18761"/>
                    <a:pt x="25792" y="18357"/>
                  </a:cubicBezTo>
                  <a:cubicBezTo>
                    <a:pt x="25566" y="18041"/>
                    <a:pt x="24886" y="17726"/>
                    <a:pt x="24533" y="17726"/>
                  </a:cubicBezTo>
                  <a:cubicBezTo>
                    <a:pt x="24414" y="17726"/>
                    <a:pt x="24332" y="17762"/>
                    <a:pt x="24317" y="17845"/>
                  </a:cubicBezTo>
                  <a:cubicBezTo>
                    <a:pt x="24227" y="18146"/>
                    <a:pt x="25039" y="18086"/>
                    <a:pt x="24919" y="18477"/>
                  </a:cubicBezTo>
                  <a:cubicBezTo>
                    <a:pt x="24889" y="18566"/>
                    <a:pt x="24841" y="18596"/>
                    <a:pt x="24781" y="18596"/>
                  </a:cubicBezTo>
                  <a:cubicBezTo>
                    <a:pt x="24647" y="18596"/>
                    <a:pt x="24453" y="18450"/>
                    <a:pt x="24253" y="18450"/>
                  </a:cubicBezTo>
                  <a:cubicBezTo>
                    <a:pt x="24173" y="18450"/>
                    <a:pt x="24093" y="18473"/>
                    <a:pt x="24016" y="18537"/>
                  </a:cubicBezTo>
                  <a:cubicBezTo>
                    <a:pt x="23875" y="18646"/>
                    <a:pt x="23788" y="18692"/>
                    <a:pt x="23740" y="18692"/>
                  </a:cubicBezTo>
                  <a:cubicBezTo>
                    <a:pt x="23654" y="18692"/>
                    <a:pt x="23688" y="18549"/>
                    <a:pt x="23745" y="18357"/>
                  </a:cubicBezTo>
                  <a:cubicBezTo>
                    <a:pt x="23801" y="18078"/>
                    <a:pt x="23264" y="17748"/>
                    <a:pt x="22659" y="17748"/>
                  </a:cubicBezTo>
                  <a:cubicBezTo>
                    <a:pt x="22610" y="17748"/>
                    <a:pt x="22561" y="17750"/>
                    <a:pt x="22511" y="17755"/>
                  </a:cubicBezTo>
                  <a:cubicBezTo>
                    <a:pt x="21819" y="17845"/>
                    <a:pt x="22150" y="18326"/>
                    <a:pt x="21970" y="18477"/>
                  </a:cubicBezTo>
                  <a:cubicBezTo>
                    <a:pt x="21932" y="18508"/>
                    <a:pt x="21855" y="18521"/>
                    <a:pt x="21764" y="18521"/>
                  </a:cubicBezTo>
                  <a:cubicBezTo>
                    <a:pt x="21414" y="18521"/>
                    <a:pt x="20843" y="18332"/>
                    <a:pt x="21368" y="18236"/>
                  </a:cubicBezTo>
                  <a:cubicBezTo>
                    <a:pt x="22060" y="18116"/>
                    <a:pt x="21759" y="17725"/>
                    <a:pt x="21488" y="17303"/>
                  </a:cubicBezTo>
                  <a:cubicBezTo>
                    <a:pt x="21416" y="17191"/>
                    <a:pt x="21319" y="17145"/>
                    <a:pt x="21194" y="17145"/>
                  </a:cubicBezTo>
                  <a:cubicBezTo>
                    <a:pt x="20850" y="17145"/>
                    <a:pt x="20297" y="17497"/>
                    <a:pt x="19502" y="17785"/>
                  </a:cubicBezTo>
                  <a:cubicBezTo>
                    <a:pt x="18388" y="18206"/>
                    <a:pt x="17907" y="18597"/>
                    <a:pt x="18057" y="18627"/>
                  </a:cubicBezTo>
                  <a:cubicBezTo>
                    <a:pt x="18208" y="18658"/>
                    <a:pt x="18238" y="18838"/>
                    <a:pt x="17786" y="19199"/>
                  </a:cubicBezTo>
                  <a:cubicBezTo>
                    <a:pt x="17335" y="19530"/>
                    <a:pt x="17786" y="19861"/>
                    <a:pt x="18208" y="19861"/>
                  </a:cubicBezTo>
                  <a:cubicBezTo>
                    <a:pt x="18629" y="19861"/>
                    <a:pt x="18238" y="20162"/>
                    <a:pt x="18509" y="20253"/>
                  </a:cubicBezTo>
                  <a:cubicBezTo>
                    <a:pt x="18522" y="20256"/>
                    <a:pt x="18539" y="20257"/>
                    <a:pt x="18557" y="20257"/>
                  </a:cubicBezTo>
                  <a:cubicBezTo>
                    <a:pt x="18838" y="20257"/>
                    <a:pt x="19642" y="19922"/>
                    <a:pt x="20131" y="19922"/>
                  </a:cubicBezTo>
                  <a:cubicBezTo>
                    <a:pt x="20241" y="19922"/>
                    <a:pt x="20336" y="19939"/>
                    <a:pt x="20405" y="19982"/>
                  </a:cubicBezTo>
                  <a:cubicBezTo>
                    <a:pt x="20766" y="20192"/>
                    <a:pt x="18328" y="20373"/>
                    <a:pt x="18328" y="20794"/>
                  </a:cubicBezTo>
                  <a:cubicBezTo>
                    <a:pt x="18328" y="21115"/>
                    <a:pt x="19096" y="21349"/>
                    <a:pt x="19888" y="21349"/>
                  </a:cubicBezTo>
                  <a:cubicBezTo>
                    <a:pt x="20136" y="21349"/>
                    <a:pt x="20386" y="21326"/>
                    <a:pt x="20615" y="21276"/>
                  </a:cubicBezTo>
                  <a:cubicBezTo>
                    <a:pt x="20814" y="21240"/>
                    <a:pt x="21041" y="21224"/>
                    <a:pt x="21278" y="21224"/>
                  </a:cubicBezTo>
                  <a:cubicBezTo>
                    <a:pt x="22226" y="21224"/>
                    <a:pt x="23324" y="21474"/>
                    <a:pt x="23324" y="21667"/>
                  </a:cubicBezTo>
                  <a:cubicBezTo>
                    <a:pt x="23324" y="21803"/>
                    <a:pt x="22833" y="21839"/>
                    <a:pt x="22259" y="21839"/>
                  </a:cubicBezTo>
                  <a:cubicBezTo>
                    <a:pt x="21945" y="21839"/>
                    <a:pt x="21605" y="21828"/>
                    <a:pt x="21308" y="21817"/>
                  </a:cubicBezTo>
                  <a:cubicBezTo>
                    <a:pt x="21258" y="21816"/>
                    <a:pt x="21206" y="21815"/>
                    <a:pt x="21153" y="21815"/>
                  </a:cubicBezTo>
                  <a:cubicBezTo>
                    <a:pt x="20266" y="21815"/>
                    <a:pt x="18903" y="22045"/>
                    <a:pt x="18960" y="22329"/>
                  </a:cubicBezTo>
                  <a:cubicBezTo>
                    <a:pt x="19050" y="22630"/>
                    <a:pt x="19141" y="22630"/>
                    <a:pt x="20044" y="23081"/>
                  </a:cubicBezTo>
                  <a:cubicBezTo>
                    <a:pt x="20314" y="23226"/>
                    <a:pt x="20592" y="23265"/>
                    <a:pt x="20849" y="23265"/>
                  </a:cubicBezTo>
                  <a:cubicBezTo>
                    <a:pt x="21151" y="23265"/>
                    <a:pt x="21423" y="23210"/>
                    <a:pt x="21616" y="23210"/>
                  </a:cubicBezTo>
                  <a:cubicBezTo>
                    <a:pt x="21806" y="23210"/>
                    <a:pt x="21920" y="23263"/>
                    <a:pt x="21909" y="23473"/>
                  </a:cubicBezTo>
                  <a:cubicBezTo>
                    <a:pt x="21849" y="24075"/>
                    <a:pt x="22391" y="24195"/>
                    <a:pt x="23595" y="24225"/>
                  </a:cubicBezTo>
                  <a:cubicBezTo>
                    <a:pt x="23624" y="24226"/>
                    <a:pt x="23653" y="24226"/>
                    <a:pt x="23682" y="24226"/>
                  </a:cubicBezTo>
                  <a:cubicBezTo>
                    <a:pt x="24799" y="24226"/>
                    <a:pt x="25385" y="23682"/>
                    <a:pt x="25958" y="23682"/>
                  </a:cubicBezTo>
                  <a:cubicBezTo>
                    <a:pt x="25973" y="23682"/>
                    <a:pt x="25988" y="23683"/>
                    <a:pt x="26002" y="23683"/>
                  </a:cubicBezTo>
                  <a:cubicBezTo>
                    <a:pt x="26098" y="23693"/>
                    <a:pt x="26185" y="23698"/>
                    <a:pt x="26265" y="23698"/>
                  </a:cubicBezTo>
                  <a:cubicBezTo>
                    <a:pt x="26691" y="23698"/>
                    <a:pt x="26923" y="23556"/>
                    <a:pt x="27176" y="23202"/>
                  </a:cubicBezTo>
                  <a:cubicBezTo>
                    <a:pt x="27294" y="23037"/>
                    <a:pt x="27397" y="22978"/>
                    <a:pt x="27485" y="22978"/>
                  </a:cubicBezTo>
                  <a:cubicBezTo>
                    <a:pt x="27623" y="22978"/>
                    <a:pt x="27723" y="23122"/>
                    <a:pt x="27778" y="23232"/>
                  </a:cubicBezTo>
                  <a:cubicBezTo>
                    <a:pt x="27838" y="23443"/>
                    <a:pt x="28590" y="23443"/>
                    <a:pt x="28771" y="23623"/>
                  </a:cubicBezTo>
                  <a:cubicBezTo>
                    <a:pt x="28889" y="23724"/>
                    <a:pt x="29478" y="23806"/>
                    <a:pt x="30075" y="23806"/>
                  </a:cubicBezTo>
                  <a:cubicBezTo>
                    <a:pt x="30544" y="23806"/>
                    <a:pt x="31017" y="23756"/>
                    <a:pt x="31269" y="23623"/>
                  </a:cubicBezTo>
                  <a:cubicBezTo>
                    <a:pt x="31734" y="23378"/>
                    <a:pt x="31263" y="22835"/>
                    <a:pt x="30926" y="22835"/>
                  </a:cubicBezTo>
                  <a:cubicBezTo>
                    <a:pt x="30848" y="22835"/>
                    <a:pt x="30778" y="22864"/>
                    <a:pt x="30727" y="22931"/>
                  </a:cubicBezTo>
                  <a:cubicBezTo>
                    <a:pt x="30632" y="23085"/>
                    <a:pt x="30532" y="23141"/>
                    <a:pt x="30441" y="23141"/>
                  </a:cubicBezTo>
                  <a:cubicBezTo>
                    <a:pt x="30301" y="23141"/>
                    <a:pt x="30180" y="23010"/>
                    <a:pt x="30125" y="22901"/>
                  </a:cubicBezTo>
                  <a:cubicBezTo>
                    <a:pt x="30065" y="22720"/>
                    <a:pt x="30697" y="22600"/>
                    <a:pt x="30938" y="22389"/>
                  </a:cubicBezTo>
                  <a:cubicBezTo>
                    <a:pt x="30967" y="22346"/>
                    <a:pt x="31015" y="22328"/>
                    <a:pt x="31075" y="22328"/>
                  </a:cubicBezTo>
                  <a:cubicBezTo>
                    <a:pt x="31288" y="22328"/>
                    <a:pt x="31653" y="22542"/>
                    <a:pt x="31871" y="22542"/>
                  </a:cubicBezTo>
                  <a:cubicBezTo>
                    <a:pt x="31973" y="22542"/>
                    <a:pt x="32043" y="22496"/>
                    <a:pt x="32051" y="22359"/>
                  </a:cubicBezTo>
                  <a:cubicBezTo>
                    <a:pt x="32112" y="21817"/>
                    <a:pt x="31058" y="21547"/>
                    <a:pt x="30637" y="21306"/>
                  </a:cubicBezTo>
                  <a:cubicBezTo>
                    <a:pt x="30216" y="21035"/>
                    <a:pt x="30035" y="21155"/>
                    <a:pt x="29403" y="20644"/>
                  </a:cubicBezTo>
                  <a:cubicBezTo>
                    <a:pt x="28741" y="20162"/>
                    <a:pt x="29553" y="19952"/>
                    <a:pt x="29042" y="19530"/>
                  </a:cubicBezTo>
                  <a:cubicBezTo>
                    <a:pt x="28560" y="19109"/>
                    <a:pt x="28380" y="18086"/>
                    <a:pt x="28741" y="17755"/>
                  </a:cubicBezTo>
                  <a:cubicBezTo>
                    <a:pt x="29132" y="17424"/>
                    <a:pt x="29463" y="16852"/>
                    <a:pt x="28861" y="16641"/>
                  </a:cubicBezTo>
                  <a:cubicBezTo>
                    <a:pt x="28732" y="16590"/>
                    <a:pt x="28583" y="16568"/>
                    <a:pt x="28429" y="16568"/>
                  </a:cubicBezTo>
                  <a:close/>
                  <a:moveTo>
                    <a:pt x="51715" y="24461"/>
                  </a:moveTo>
                  <a:cubicBezTo>
                    <a:pt x="51621" y="24461"/>
                    <a:pt x="51527" y="24472"/>
                    <a:pt x="51432" y="24496"/>
                  </a:cubicBezTo>
                  <a:cubicBezTo>
                    <a:pt x="51071" y="24526"/>
                    <a:pt x="50379" y="25128"/>
                    <a:pt x="50710" y="25730"/>
                  </a:cubicBezTo>
                  <a:cubicBezTo>
                    <a:pt x="50844" y="25954"/>
                    <a:pt x="51045" y="26028"/>
                    <a:pt x="51266" y="26028"/>
                  </a:cubicBezTo>
                  <a:cubicBezTo>
                    <a:pt x="51640" y="26028"/>
                    <a:pt x="52071" y="25817"/>
                    <a:pt x="52335" y="25760"/>
                  </a:cubicBezTo>
                  <a:cubicBezTo>
                    <a:pt x="52757" y="25730"/>
                    <a:pt x="52666" y="25068"/>
                    <a:pt x="52456" y="24707"/>
                  </a:cubicBezTo>
                  <a:cubicBezTo>
                    <a:pt x="52233" y="24551"/>
                    <a:pt x="51978" y="24461"/>
                    <a:pt x="51715" y="24461"/>
                  </a:cubicBezTo>
                  <a:close/>
                  <a:moveTo>
                    <a:pt x="16976" y="26459"/>
                  </a:moveTo>
                  <a:cubicBezTo>
                    <a:pt x="17155" y="26459"/>
                    <a:pt x="17281" y="26492"/>
                    <a:pt x="17305" y="26572"/>
                  </a:cubicBezTo>
                  <a:cubicBezTo>
                    <a:pt x="17425" y="26873"/>
                    <a:pt x="16492" y="27024"/>
                    <a:pt x="16944" y="27265"/>
                  </a:cubicBezTo>
                  <a:cubicBezTo>
                    <a:pt x="17117" y="27357"/>
                    <a:pt x="17303" y="27401"/>
                    <a:pt x="17488" y="27401"/>
                  </a:cubicBezTo>
                  <a:cubicBezTo>
                    <a:pt x="17784" y="27401"/>
                    <a:pt x="18075" y="27288"/>
                    <a:pt x="18298" y="27084"/>
                  </a:cubicBezTo>
                  <a:cubicBezTo>
                    <a:pt x="18355" y="26982"/>
                    <a:pt x="18497" y="26927"/>
                    <a:pt x="18626" y="26927"/>
                  </a:cubicBezTo>
                  <a:cubicBezTo>
                    <a:pt x="18840" y="26927"/>
                    <a:pt x="19019" y="27077"/>
                    <a:pt x="18719" y="27415"/>
                  </a:cubicBezTo>
                  <a:cubicBezTo>
                    <a:pt x="18371" y="27857"/>
                    <a:pt x="18201" y="28029"/>
                    <a:pt x="17907" y="28029"/>
                  </a:cubicBezTo>
                  <a:cubicBezTo>
                    <a:pt x="17820" y="28029"/>
                    <a:pt x="17722" y="28014"/>
                    <a:pt x="17606" y="27987"/>
                  </a:cubicBezTo>
                  <a:cubicBezTo>
                    <a:pt x="17529" y="27968"/>
                    <a:pt x="17457" y="27959"/>
                    <a:pt x="17392" y="27959"/>
                  </a:cubicBezTo>
                  <a:cubicBezTo>
                    <a:pt x="17051" y="27959"/>
                    <a:pt x="16892" y="28192"/>
                    <a:pt x="17094" y="28318"/>
                  </a:cubicBezTo>
                  <a:cubicBezTo>
                    <a:pt x="17305" y="28468"/>
                    <a:pt x="17335" y="28619"/>
                    <a:pt x="16853" y="28739"/>
                  </a:cubicBezTo>
                  <a:cubicBezTo>
                    <a:pt x="16391" y="28855"/>
                    <a:pt x="16067" y="29192"/>
                    <a:pt x="15883" y="29192"/>
                  </a:cubicBezTo>
                  <a:cubicBezTo>
                    <a:pt x="15875" y="29192"/>
                    <a:pt x="15868" y="29192"/>
                    <a:pt x="15860" y="29191"/>
                  </a:cubicBezTo>
                  <a:cubicBezTo>
                    <a:pt x="15650" y="29161"/>
                    <a:pt x="16703" y="28408"/>
                    <a:pt x="16402" y="28228"/>
                  </a:cubicBezTo>
                  <a:cubicBezTo>
                    <a:pt x="16355" y="28194"/>
                    <a:pt x="16299" y="28180"/>
                    <a:pt x="16240" y="28180"/>
                  </a:cubicBezTo>
                  <a:cubicBezTo>
                    <a:pt x="15926" y="28180"/>
                    <a:pt x="15499" y="28592"/>
                    <a:pt x="15499" y="28769"/>
                  </a:cubicBezTo>
                  <a:cubicBezTo>
                    <a:pt x="15499" y="29010"/>
                    <a:pt x="15048" y="29040"/>
                    <a:pt x="14777" y="29040"/>
                  </a:cubicBezTo>
                  <a:cubicBezTo>
                    <a:pt x="14536" y="29040"/>
                    <a:pt x="14145" y="28769"/>
                    <a:pt x="14416" y="28739"/>
                  </a:cubicBezTo>
                  <a:cubicBezTo>
                    <a:pt x="14687" y="28709"/>
                    <a:pt x="14536" y="28408"/>
                    <a:pt x="14867" y="28288"/>
                  </a:cubicBezTo>
                  <a:cubicBezTo>
                    <a:pt x="15198" y="28167"/>
                    <a:pt x="14777" y="27927"/>
                    <a:pt x="14897" y="27776"/>
                  </a:cubicBezTo>
                  <a:cubicBezTo>
                    <a:pt x="14924" y="27743"/>
                    <a:pt x="14982" y="27732"/>
                    <a:pt x="15057" y="27732"/>
                  </a:cubicBezTo>
                  <a:cubicBezTo>
                    <a:pt x="15202" y="27732"/>
                    <a:pt x="15409" y="27774"/>
                    <a:pt x="15563" y="27774"/>
                  </a:cubicBezTo>
                  <a:cubicBezTo>
                    <a:pt x="15683" y="27774"/>
                    <a:pt x="15770" y="27748"/>
                    <a:pt x="15770" y="27656"/>
                  </a:cubicBezTo>
                  <a:cubicBezTo>
                    <a:pt x="15770" y="27453"/>
                    <a:pt x="15364" y="27250"/>
                    <a:pt x="15046" y="27250"/>
                  </a:cubicBezTo>
                  <a:cubicBezTo>
                    <a:pt x="14941" y="27250"/>
                    <a:pt x="14845" y="27272"/>
                    <a:pt x="14777" y="27325"/>
                  </a:cubicBezTo>
                  <a:cubicBezTo>
                    <a:pt x="14510" y="27534"/>
                    <a:pt x="14171" y="27635"/>
                    <a:pt x="13828" y="27635"/>
                  </a:cubicBezTo>
                  <a:cubicBezTo>
                    <a:pt x="13629" y="27635"/>
                    <a:pt x="13430" y="27602"/>
                    <a:pt x="13242" y="27535"/>
                  </a:cubicBezTo>
                  <a:cubicBezTo>
                    <a:pt x="13031" y="27445"/>
                    <a:pt x="15018" y="27234"/>
                    <a:pt x="15349" y="26934"/>
                  </a:cubicBezTo>
                  <a:cubicBezTo>
                    <a:pt x="15592" y="26713"/>
                    <a:pt x="16484" y="26459"/>
                    <a:pt x="16976" y="26459"/>
                  </a:cubicBezTo>
                  <a:close/>
                  <a:moveTo>
                    <a:pt x="44454" y="27836"/>
                  </a:moveTo>
                  <a:cubicBezTo>
                    <a:pt x="44194" y="27836"/>
                    <a:pt x="43779" y="28106"/>
                    <a:pt x="43758" y="28559"/>
                  </a:cubicBezTo>
                  <a:cubicBezTo>
                    <a:pt x="43728" y="29191"/>
                    <a:pt x="43397" y="29040"/>
                    <a:pt x="43578" y="29642"/>
                  </a:cubicBezTo>
                  <a:cubicBezTo>
                    <a:pt x="43758" y="30244"/>
                    <a:pt x="42795" y="30394"/>
                    <a:pt x="42885" y="30695"/>
                  </a:cubicBezTo>
                  <a:cubicBezTo>
                    <a:pt x="42923" y="30789"/>
                    <a:pt x="42993" y="30822"/>
                    <a:pt x="43084" y="30822"/>
                  </a:cubicBezTo>
                  <a:cubicBezTo>
                    <a:pt x="43285" y="30822"/>
                    <a:pt x="43589" y="30665"/>
                    <a:pt x="43879" y="30665"/>
                  </a:cubicBezTo>
                  <a:cubicBezTo>
                    <a:pt x="44300" y="30665"/>
                    <a:pt x="43758" y="31267"/>
                    <a:pt x="44300" y="31297"/>
                  </a:cubicBezTo>
                  <a:cubicBezTo>
                    <a:pt x="44812" y="31237"/>
                    <a:pt x="45323" y="30966"/>
                    <a:pt x="45654" y="30545"/>
                  </a:cubicBezTo>
                  <a:cubicBezTo>
                    <a:pt x="45753" y="30396"/>
                    <a:pt x="45898" y="30302"/>
                    <a:pt x="46088" y="30302"/>
                  </a:cubicBezTo>
                  <a:cubicBezTo>
                    <a:pt x="46244" y="30302"/>
                    <a:pt x="46430" y="30366"/>
                    <a:pt x="46647" y="30515"/>
                  </a:cubicBezTo>
                  <a:cubicBezTo>
                    <a:pt x="46908" y="30694"/>
                    <a:pt x="47345" y="30803"/>
                    <a:pt x="47700" y="30803"/>
                  </a:cubicBezTo>
                  <a:cubicBezTo>
                    <a:pt x="48002" y="30803"/>
                    <a:pt x="48245" y="30724"/>
                    <a:pt x="48272" y="30545"/>
                  </a:cubicBezTo>
                  <a:cubicBezTo>
                    <a:pt x="48363" y="30214"/>
                    <a:pt x="47099" y="30063"/>
                    <a:pt x="47189" y="29672"/>
                  </a:cubicBezTo>
                  <a:cubicBezTo>
                    <a:pt x="47249" y="29311"/>
                    <a:pt x="46015" y="28950"/>
                    <a:pt x="45654" y="28769"/>
                  </a:cubicBezTo>
                  <a:cubicBezTo>
                    <a:pt x="45263" y="28589"/>
                    <a:pt x="44661" y="28438"/>
                    <a:pt x="44661" y="28017"/>
                  </a:cubicBezTo>
                  <a:cubicBezTo>
                    <a:pt x="44661" y="27893"/>
                    <a:pt x="44574" y="27836"/>
                    <a:pt x="44454" y="27836"/>
                  </a:cubicBezTo>
                  <a:close/>
                  <a:moveTo>
                    <a:pt x="46923" y="31531"/>
                  </a:moveTo>
                  <a:cubicBezTo>
                    <a:pt x="46474" y="31531"/>
                    <a:pt x="45185" y="32145"/>
                    <a:pt x="45744" y="32501"/>
                  </a:cubicBezTo>
                  <a:cubicBezTo>
                    <a:pt x="45829" y="32550"/>
                    <a:pt x="45919" y="32571"/>
                    <a:pt x="46011" y="32571"/>
                  </a:cubicBezTo>
                  <a:cubicBezTo>
                    <a:pt x="46544" y="32571"/>
                    <a:pt x="47146" y="31855"/>
                    <a:pt x="47069" y="31598"/>
                  </a:cubicBezTo>
                  <a:cubicBezTo>
                    <a:pt x="47059" y="31552"/>
                    <a:pt x="47005" y="31531"/>
                    <a:pt x="46923" y="31531"/>
                  </a:cubicBezTo>
                  <a:close/>
                  <a:moveTo>
                    <a:pt x="44082" y="16465"/>
                  </a:moveTo>
                  <a:cubicBezTo>
                    <a:pt x="43404" y="16465"/>
                    <a:pt x="42305" y="16679"/>
                    <a:pt x="41561" y="17363"/>
                  </a:cubicBezTo>
                  <a:cubicBezTo>
                    <a:pt x="40839" y="18086"/>
                    <a:pt x="40538" y="19139"/>
                    <a:pt x="40809" y="20132"/>
                  </a:cubicBezTo>
                  <a:cubicBezTo>
                    <a:pt x="40899" y="20433"/>
                    <a:pt x="41922" y="20283"/>
                    <a:pt x="42524" y="20463"/>
                  </a:cubicBezTo>
                  <a:cubicBezTo>
                    <a:pt x="43036" y="20617"/>
                    <a:pt x="42852" y="20814"/>
                    <a:pt x="42507" y="20814"/>
                  </a:cubicBezTo>
                  <a:cubicBezTo>
                    <a:pt x="42447" y="20814"/>
                    <a:pt x="42381" y="20808"/>
                    <a:pt x="42314" y="20794"/>
                  </a:cubicBezTo>
                  <a:cubicBezTo>
                    <a:pt x="42080" y="20763"/>
                    <a:pt x="41756" y="20708"/>
                    <a:pt x="41504" y="20708"/>
                  </a:cubicBezTo>
                  <a:cubicBezTo>
                    <a:pt x="41269" y="20708"/>
                    <a:pt x="41095" y="20755"/>
                    <a:pt x="41110" y="20915"/>
                  </a:cubicBezTo>
                  <a:cubicBezTo>
                    <a:pt x="41163" y="21208"/>
                    <a:pt x="41904" y="21692"/>
                    <a:pt x="42470" y="21692"/>
                  </a:cubicBezTo>
                  <a:cubicBezTo>
                    <a:pt x="42541" y="21692"/>
                    <a:pt x="42610" y="21684"/>
                    <a:pt x="42675" y="21667"/>
                  </a:cubicBezTo>
                  <a:cubicBezTo>
                    <a:pt x="42893" y="21606"/>
                    <a:pt x="43023" y="21570"/>
                    <a:pt x="43119" y="21570"/>
                  </a:cubicBezTo>
                  <a:cubicBezTo>
                    <a:pt x="43260" y="21570"/>
                    <a:pt x="43326" y="21650"/>
                    <a:pt x="43487" y="21848"/>
                  </a:cubicBezTo>
                  <a:cubicBezTo>
                    <a:pt x="43655" y="22053"/>
                    <a:pt x="43962" y="22073"/>
                    <a:pt x="44337" y="22073"/>
                  </a:cubicBezTo>
                  <a:cubicBezTo>
                    <a:pt x="44427" y="22073"/>
                    <a:pt x="44522" y="22072"/>
                    <a:pt x="44620" y="22072"/>
                  </a:cubicBezTo>
                  <a:cubicBezTo>
                    <a:pt x="44768" y="22072"/>
                    <a:pt x="44924" y="22075"/>
                    <a:pt x="45082" y="22088"/>
                  </a:cubicBezTo>
                  <a:cubicBezTo>
                    <a:pt x="45684" y="22149"/>
                    <a:pt x="46256" y="22269"/>
                    <a:pt x="46828" y="22419"/>
                  </a:cubicBezTo>
                  <a:cubicBezTo>
                    <a:pt x="47159" y="22419"/>
                    <a:pt x="47460" y="22299"/>
                    <a:pt x="47640" y="22028"/>
                  </a:cubicBezTo>
                  <a:cubicBezTo>
                    <a:pt x="47653" y="22007"/>
                    <a:pt x="47691" y="21997"/>
                    <a:pt x="47748" y="21997"/>
                  </a:cubicBezTo>
                  <a:cubicBezTo>
                    <a:pt x="48072" y="21997"/>
                    <a:pt x="49010" y="22300"/>
                    <a:pt x="49402" y="22300"/>
                  </a:cubicBezTo>
                  <a:cubicBezTo>
                    <a:pt x="49418" y="22300"/>
                    <a:pt x="49432" y="22300"/>
                    <a:pt x="49446" y="22299"/>
                  </a:cubicBezTo>
                  <a:cubicBezTo>
                    <a:pt x="49837" y="22269"/>
                    <a:pt x="49536" y="21938"/>
                    <a:pt x="49326" y="21817"/>
                  </a:cubicBezTo>
                  <a:cubicBezTo>
                    <a:pt x="49124" y="21717"/>
                    <a:pt x="49155" y="21384"/>
                    <a:pt x="49364" y="21384"/>
                  </a:cubicBezTo>
                  <a:cubicBezTo>
                    <a:pt x="49405" y="21384"/>
                    <a:pt x="49452" y="21397"/>
                    <a:pt x="49506" y="21426"/>
                  </a:cubicBezTo>
                  <a:cubicBezTo>
                    <a:pt x="49837" y="21637"/>
                    <a:pt x="50349" y="21697"/>
                    <a:pt x="50439" y="22028"/>
                  </a:cubicBezTo>
                  <a:cubicBezTo>
                    <a:pt x="50560" y="22389"/>
                    <a:pt x="50830" y="22149"/>
                    <a:pt x="50861" y="22419"/>
                  </a:cubicBezTo>
                  <a:cubicBezTo>
                    <a:pt x="50891" y="22690"/>
                    <a:pt x="52034" y="22931"/>
                    <a:pt x="52064" y="23202"/>
                  </a:cubicBezTo>
                  <a:cubicBezTo>
                    <a:pt x="52094" y="23473"/>
                    <a:pt x="50981" y="23623"/>
                    <a:pt x="51282" y="23894"/>
                  </a:cubicBezTo>
                  <a:cubicBezTo>
                    <a:pt x="51336" y="23937"/>
                    <a:pt x="51397" y="23955"/>
                    <a:pt x="51463" y="23955"/>
                  </a:cubicBezTo>
                  <a:cubicBezTo>
                    <a:pt x="51764" y="23955"/>
                    <a:pt x="52170" y="23582"/>
                    <a:pt x="52516" y="23533"/>
                  </a:cubicBezTo>
                  <a:cubicBezTo>
                    <a:pt x="52522" y="23532"/>
                    <a:pt x="52529" y="23532"/>
                    <a:pt x="52536" y="23532"/>
                  </a:cubicBezTo>
                  <a:cubicBezTo>
                    <a:pt x="52907" y="23532"/>
                    <a:pt x="52939" y="24302"/>
                    <a:pt x="53175" y="24302"/>
                  </a:cubicBezTo>
                  <a:cubicBezTo>
                    <a:pt x="53195" y="24302"/>
                    <a:pt x="53216" y="24296"/>
                    <a:pt x="53238" y="24285"/>
                  </a:cubicBezTo>
                  <a:cubicBezTo>
                    <a:pt x="53284" y="24262"/>
                    <a:pt x="53335" y="24251"/>
                    <a:pt x="53388" y="24251"/>
                  </a:cubicBezTo>
                  <a:cubicBezTo>
                    <a:pt x="53685" y="24251"/>
                    <a:pt x="54085" y="24588"/>
                    <a:pt x="54442" y="25098"/>
                  </a:cubicBezTo>
                  <a:cubicBezTo>
                    <a:pt x="54863" y="25700"/>
                    <a:pt x="54412" y="26241"/>
                    <a:pt x="54442" y="26452"/>
                  </a:cubicBezTo>
                  <a:cubicBezTo>
                    <a:pt x="54454" y="26527"/>
                    <a:pt x="54608" y="26566"/>
                    <a:pt x="54815" y="26566"/>
                  </a:cubicBezTo>
                  <a:cubicBezTo>
                    <a:pt x="55106" y="26566"/>
                    <a:pt x="55502" y="26490"/>
                    <a:pt x="55766" y="26332"/>
                  </a:cubicBezTo>
                  <a:cubicBezTo>
                    <a:pt x="55849" y="26282"/>
                    <a:pt x="55929" y="26261"/>
                    <a:pt x="56008" y="26261"/>
                  </a:cubicBezTo>
                  <a:cubicBezTo>
                    <a:pt x="56359" y="26261"/>
                    <a:pt x="56675" y="26688"/>
                    <a:pt x="56970" y="26934"/>
                  </a:cubicBezTo>
                  <a:cubicBezTo>
                    <a:pt x="57235" y="27175"/>
                    <a:pt x="56243" y="27590"/>
                    <a:pt x="55917" y="27590"/>
                  </a:cubicBezTo>
                  <a:cubicBezTo>
                    <a:pt x="55836" y="27590"/>
                    <a:pt x="55796" y="27565"/>
                    <a:pt x="55826" y="27505"/>
                  </a:cubicBezTo>
                  <a:cubicBezTo>
                    <a:pt x="55948" y="27263"/>
                    <a:pt x="55207" y="26667"/>
                    <a:pt x="54395" y="26667"/>
                  </a:cubicBezTo>
                  <a:cubicBezTo>
                    <a:pt x="54201" y="26667"/>
                    <a:pt x="54002" y="26702"/>
                    <a:pt x="53810" y="26783"/>
                  </a:cubicBezTo>
                  <a:cubicBezTo>
                    <a:pt x="52787" y="27204"/>
                    <a:pt x="53509" y="27746"/>
                    <a:pt x="53599" y="28107"/>
                  </a:cubicBezTo>
                  <a:cubicBezTo>
                    <a:pt x="53686" y="28346"/>
                    <a:pt x="53164" y="28600"/>
                    <a:pt x="52517" y="28600"/>
                  </a:cubicBezTo>
                  <a:cubicBezTo>
                    <a:pt x="52265" y="28600"/>
                    <a:pt x="51995" y="28561"/>
                    <a:pt x="51733" y="28468"/>
                  </a:cubicBezTo>
                  <a:cubicBezTo>
                    <a:pt x="51524" y="28394"/>
                    <a:pt x="51377" y="28365"/>
                    <a:pt x="51269" y="28365"/>
                  </a:cubicBezTo>
                  <a:cubicBezTo>
                    <a:pt x="50899" y="28365"/>
                    <a:pt x="51007" y="28709"/>
                    <a:pt x="50680" y="28709"/>
                  </a:cubicBezTo>
                  <a:cubicBezTo>
                    <a:pt x="50259" y="28709"/>
                    <a:pt x="49898" y="29311"/>
                    <a:pt x="50229" y="29672"/>
                  </a:cubicBezTo>
                  <a:cubicBezTo>
                    <a:pt x="50349" y="29814"/>
                    <a:pt x="50528" y="29857"/>
                    <a:pt x="50739" y="29857"/>
                  </a:cubicBezTo>
                  <a:cubicBezTo>
                    <a:pt x="51064" y="29857"/>
                    <a:pt x="51465" y="29755"/>
                    <a:pt x="51842" y="29755"/>
                  </a:cubicBezTo>
                  <a:cubicBezTo>
                    <a:pt x="51897" y="29755"/>
                    <a:pt x="51951" y="29758"/>
                    <a:pt x="52004" y="29762"/>
                  </a:cubicBezTo>
                  <a:cubicBezTo>
                    <a:pt x="52332" y="29778"/>
                    <a:pt x="52498" y="29834"/>
                    <a:pt x="52594" y="29834"/>
                  </a:cubicBezTo>
                  <a:cubicBezTo>
                    <a:pt x="52684" y="29834"/>
                    <a:pt x="52713" y="29786"/>
                    <a:pt x="52757" y="29612"/>
                  </a:cubicBezTo>
                  <a:cubicBezTo>
                    <a:pt x="52782" y="29445"/>
                    <a:pt x="52923" y="29393"/>
                    <a:pt x="53111" y="29393"/>
                  </a:cubicBezTo>
                  <a:cubicBezTo>
                    <a:pt x="53363" y="29393"/>
                    <a:pt x="53701" y="29487"/>
                    <a:pt x="53960" y="29522"/>
                  </a:cubicBezTo>
                  <a:cubicBezTo>
                    <a:pt x="54412" y="29612"/>
                    <a:pt x="54291" y="30274"/>
                    <a:pt x="54863" y="30364"/>
                  </a:cubicBezTo>
                  <a:cubicBezTo>
                    <a:pt x="55405" y="30425"/>
                    <a:pt x="54953" y="30996"/>
                    <a:pt x="55345" y="31357"/>
                  </a:cubicBezTo>
                  <a:cubicBezTo>
                    <a:pt x="55706" y="31749"/>
                    <a:pt x="56819" y="31568"/>
                    <a:pt x="57211" y="31959"/>
                  </a:cubicBezTo>
                  <a:cubicBezTo>
                    <a:pt x="57570" y="32319"/>
                    <a:pt x="58939" y="32986"/>
                    <a:pt x="59482" y="32986"/>
                  </a:cubicBezTo>
                  <a:cubicBezTo>
                    <a:pt x="59575" y="32986"/>
                    <a:pt x="59643" y="32966"/>
                    <a:pt x="59678" y="32922"/>
                  </a:cubicBezTo>
                  <a:cubicBezTo>
                    <a:pt x="59889" y="32621"/>
                    <a:pt x="58113" y="30966"/>
                    <a:pt x="57602" y="30816"/>
                  </a:cubicBezTo>
                  <a:cubicBezTo>
                    <a:pt x="57344" y="30744"/>
                    <a:pt x="57448" y="30672"/>
                    <a:pt x="57703" y="30672"/>
                  </a:cubicBezTo>
                  <a:cubicBezTo>
                    <a:pt x="57982" y="30672"/>
                    <a:pt x="58443" y="30759"/>
                    <a:pt x="58806" y="31026"/>
                  </a:cubicBezTo>
                  <a:cubicBezTo>
                    <a:pt x="59182" y="31334"/>
                    <a:pt x="59665" y="31535"/>
                    <a:pt x="60101" y="31535"/>
                  </a:cubicBezTo>
                  <a:cubicBezTo>
                    <a:pt x="60431" y="31535"/>
                    <a:pt x="60735" y="31420"/>
                    <a:pt x="60942" y="31147"/>
                  </a:cubicBezTo>
                  <a:cubicBezTo>
                    <a:pt x="61424" y="30515"/>
                    <a:pt x="60521" y="30695"/>
                    <a:pt x="60521" y="30244"/>
                  </a:cubicBezTo>
                  <a:cubicBezTo>
                    <a:pt x="60521" y="29793"/>
                    <a:pt x="60190" y="29161"/>
                    <a:pt x="59708" y="29161"/>
                  </a:cubicBezTo>
                  <a:cubicBezTo>
                    <a:pt x="59227" y="29161"/>
                    <a:pt x="57963" y="28167"/>
                    <a:pt x="58414" y="27957"/>
                  </a:cubicBezTo>
                  <a:cubicBezTo>
                    <a:pt x="58866" y="27716"/>
                    <a:pt x="58264" y="27445"/>
                    <a:pt x="58625" y="27084"/>
                  </a:cubicBezTo>
                  <a:cubicBezTo>
                    <a:pt x="58695" y="27001"/>
                    <a:pt x="58768" y="26968"/>
                    <a:pt x="58843" y="26968"/>
                  </a:cubicBezTo>
                  <a:cubicBezTo>
                    <a:pt x="59122" y="26968"/>
                    <a:pt x="59430" y="27421"/>
                    <a:pt x="59739" y="27445"/>
                  </a:cubicBezTo>
                  <a:cubicBezTo>
                    <a:pt x="60160" y="27505"/>
                    <a:pt x="60250" y="28017"/>
                    <a:pt x="60912" y="28589"/>
                  </a:cubicBezTo>
                  <a:cubicBezTo>
                    <a:pt x="61166" y="28798"/>
                    <a:pt x="61334" y="28878"/>
                    <a:pt x="61451" y="28878"/>
                  </a:cubicBezTo>
                  <a:cubicBezTo>
                    <a:pt x="61653" y="28878"/>
                    <a:pt x="61698" y="28637"/>
                    <a:pt x="61755" y="28408"/>
                  </a:cubicBezTo>
                  <a:cubicBezTo>
                    <a:pt x="61815" y="28017"/>
                    <a:pt x="62598" y="28318"/>
                    <a:pt x="62567" y="27897"/>
                  </a:cubicBezTo>
                  <a:cubicBezTo>
                    <a:pt x="62537" y="27505"/>
                    <a:pt x="63169" y="27084"/>
                    <a:pt x="63591" y="26903"/>
                  </a:cubicBezTo>
                  <a:cubicBezTo>
                    <a:pt x="63968" y="26701"/>
                    <a:pt x="63283" y="26330"/>
                    <a:pt x="62748" y="26330"/>
                  </a:cubicBezTo>
                  <a:cubicBezTo>
                    <a:pt x="62728" y="26330"/>
                    <a:pt x="62708" y="26331"/>
                    <a:pt x="62688" y="26332"/>
                  </a:cubicBezTo>
                  <a:cubicBezTo>
                    <a:pt x="62665" y="26333"/>
                    <a:pt x="62643" y="26333"/>
                    <a:pt x="62622" y="26333"/>
                  </a:cubicBezTo>
                  <a:cubicBezTo>
                    <a:pt x="62107" y="26333"/>
                    <a:pt x="61996" y="25991"/>
                    <a:pt x="61996" y="25760"/>
                  </a:cubicBezTo>
                  <a:cubicBezTo>
                    <a:pt x="61996" y="25567"/>
                    <a:pt x="61109" y="24993"/>
                    <a:pt x="60707" y="24993"/>
                  </a:cubicBezTo>
                  <a:cubicBezTo>
                    <a:pt x="60671" y="24993"/>
                    <a:pt x="60639" y="24998"/>
                    <a:pt x="60611" y="25007"/>
                  </a:cubicBezTo>
                  <a:cubicBezTo>
                    <a:pt x="60580" y="25019"/>
                    <a:pt x="60545" y="25024"/>
                    <a:pt x="60508" y="25024"/>
                  </a:cubicBezTo>
                  <a:cubicBezTo>
                    <a:pt x="60156" y="25024"/>
                    <a:pt x="59575" y="24553"/>
                    <a:pt x="59167" y="24526"/>
                  </a:cubicBezTo>
                  <a:cubicBezTo>
                    <a:pt x="58715" y="24496"/>
                    <a:pt x="58053" y="24135"/>
                    <a:pt x="58113" y="23623"/>
                  </a:cubicBezTo>
                  <a:cubicBezTo>
                    <a:pt x="58141" y="23456"/>
                    <a:pt x="58238" y="23406"/>
                    <a:pt x="58365" y="23406"/>
                  </a:cubicBezTo>
                  <a:cubicBezTo>
                    <a:pt x="58549" y="23406"/>
                    <a:pt x="58794" y="23509"/>
                    <a:pt x="58984" y="23509"/>
                  </a:cubicBezTo>
                  <a:cubicBezTo>
                    <a:pt x="59088" y="23509"/>
                    <a:pt x="59175" y="23478"/>
                    <a:pt x="59227" y="23382"/>
                  </a:cubicBezTo>
                  <a:cubicBezTo>
                    <a:pt x="59408" y="23021"/>
                    <a:pt x="58354" y="23202"/>
                    <a:pt x="58324" y="22931"/>
                  </a:cubicBezTo>
                  <a:cubicBezTo>
                    <a:pt x="58264" y="22690"/>
                    <a:pt x="58535" y="22750"/>
                    <a:pt x="58776" y="22570"/>
                  </a:cubicBezTo>
                  <a:cubicBezTo>
                    <a:pt x="58986" y="22389"/>
                    <a:pt x="58565" y="22028"/>
                    <a:pt x="58354" y="21938"/>
                  </a:cubicBezTo>
                  <a:cubicBezTo>
                    <a:pt x="58320" y="21921"/>
                    <a:pt x="58288" y="21913"/>
                    <a:pt x="58259" y="21913"/>
                  </a:cubicBezTo>
                  <a:cubicBezTo>
                    <a:pt x="58085" y="21913"/>
                    <a:pt x="57989" y="22179"/>
                    <a:pt x="57782" y="22179"/>
                  </a:cubicBezTo>
                  <a:cubicBezTo>
                    <a:pt x="57572" y="22179"/>
                    <a:pt x="57752" y="21817"/>
                    <a:pt x="57933" y="21547"/>
                  </a:cubicBezTo>
                  <a:cubicBezTo>
                    <a:pt x="58075" y="21334"/>
                    <a:pt x="57491" y="21139"/>
                    <a:pt x="57030" y="21139"/>
                  </a:cubicBezTo>
                  <a:cubicBezTo>
                    <a:pt x="56905" y="21139"/>
                    <a:pt x="56789" y="21153"/>
                    <a:pt x="56699" y="21185"/>
                  </a:cubicBezTo>
                  <a:cubicBezTo>
                    <a:pt x="56615" y="21215"/>
                    <a:pt x="56543" y="21229"/>
                    <a:pt x="56479" y="21229"/>
                  </a:cubicBezTo>
                  <a:cubicBezTo>
                    <a:pt x="56224" y="21229"/>
                    <a:pt x="56127" y="21011"/>
                    <a:pt x="56127" y="20794"/>
                  </a:cubicBezTo>
                  <a:cubicBezTo>
                    <a:pt x="56127" y="20712"/>
                    <a:pt x="56058" y="20680"/>
                    <a:pt x="55953" y="20680"/>
                  </a:cubicBezTo>
                  <a:cubicBezTo>
                    <a:pt x="55714" y="20680"/>
                    <a:pt x="55293" y="20849"/>
                    <a:pt x="55104" y="20975"/>
                  </a:cubicBezTo>
                  <a:cubicBezTo>
                    <a:pt x="55053" y="21019"/>
                    <a:pt x="54996" y="21037"/>
                    <a:pt x="54940" y="21037"/>
                  </a:cubicBezTo>
                  <a:cubicBezTo>
                    <a:pt x="54731" y="21037"/>
                    <a:pt x="54542" y="20788"/>
                    <a:pt x="54803" y="20764"/>
                  </a:cubicBezTo>
                  <a:cubicBezTo>
                    <a:pt x="55164" y="20734"/>
                    <a:pt x="55616" y="20463"/>
                    <a:pt x="55495" y="20132"/>
                  </a:cubicBezTo>
                  <a:cubicBezTo>
                    <a:pt x="55436" y="19955"/>
                    <a:pt x="55189" y="19865"/>
                    <a:pt x="54932" y="19865"/>
                  </a:cubicBezTo>
                  <a:cubicBezTo>
                    <a:pt x="54663" y="19865"/>
                    <a:pt x="54383" y="19963"/>
                    <a:pt x="54291" y="20162"/>
                  </a:cubicBezTo>
                  <a:cubicBezTo>
                    <a:pt x="54259" y="20227"/>
                    <a:pt x="54208" y="20255"/>
                    <a:pt x="54148" y="20255"/>
                  </a:cubicBezTo>
                  <a:cubicBezTo>
                    <a:pt x="53873" y="20255"/>
                    <a:pt x="53389" y="19681"/>
                    <a:pt x="53389" y="19410"/>
                  </a:cubicBezTo>
                  <a:cubicBezTo>
                    <a:pt x="53389" y="19079"/>
                    <a:pt x="52245" y="19410"/>
                    <a:pt x="52395" y="18868"/>
                  </a:cubicBezTo>
                  <a:cubicBezTo>
                    <a:pt x="52546" y="18357"/>
                    <a:pt x="51101" y="18206"/>
                    <a:pt x="50710" y="18206"/>
                  </a:cubicBezTo>
                  <a:cubicBezTo>
                    <a:pt x="50349" y="18206"/>
                    <a:pt x="49777" y="18507"/>
                    <a:pt x="49837" y="18868"/>
                  </a:cubicBezTo>
                  <a:cubicBezTo>
                    <a:pt x="49873" y="19021"/>
                    <a:pt x="49821" y="19086"/>
                    <a:pt x="49739" y="19086"/>
                  </a:cubicBezTo>
                  <a:cubicBezTo>
                    <a:pt x="49611" y="19086"/>
                    <a:pt x="49411" y="18926"/>
                    <a:pt x="49356" y="18688"/>
                  </a:cubicBezTo>
                  <a:cubicBezTo>
                    <a:pt x="49345" y="18620"/>
                    <a:pt x="49302" y="18592"/>
                    <a:pt x="49237" y="18592"/>
                  </a:cubicBezTo>
                  <a:cubicBezTo>
                    <a:pt x="48958" y="18592"/>
                    <a:pt x="48276" y="19109"/>
                    <a:pt x="48032" y="19109"/>
                  </a:cubicBezTo>
                  <a:cubicBezTo>
                    <a:pt x="47731" y="19109"/>
                    <a:pt x="48242" y="18086"/>
                    <a:pt x="48092" y="17785"/>
                  </a:cubicBezTo>
                  <a:cubicBezTo>
                    <a:pt x="47941" y="17484"/>
                    <a:pt x="47731" y="17333"/>
                    <a:pt x="47520" y="16822"/>
                  </a:cubicBezTo>
                  <a:cubicBezTo>
                    <a:pt x="47416" y="16587"/>
                    <a:pt x="47171" y="16500"/>
                    <a:pt x="46902" y="16500"/>
                  </a:cubicBezTo>
                  <a:cubicBezTo>
                    <a:pt x="46550" y="16500"/>
                    <a:pt x="46156" y="16651"/>
                    <a:pt x="45985" y="16822"/>
                  </a:cubicBezTo>
                  <a:cubicBezTo>
                    <a:pt x="45684" y="17123"/>
                    <a:pt x="44781" y="17002"/>
                    <a:pt x="44270" y="17484"/>
                  </a:cubicBezTo>
                  <a:cubicBezTo>
                    <a:pt x="43788" y="17965"/>
                    <a:pt x="44330" y="18477"/>
                    <a:pt x="44541" y="18658"/>
                  </a:cubicBezTo>
                  <a:cubicBezTo>
                    <a:pt x="44781" y="18838"/>
                    <a:pt x="43788" y="19109"/>
                    <a:pt x="44119" y="19410"/>
                  </a:cubicBezTo>
                  <a:cubicBezTo>
                    <a:pt x="44480" y="19711"/>
                    <a:pt x="44932" y="19530"/>
                    <a:pt x="44962" y="19982"/>
                  </a:cubicBezTo>
                  <a:cubicBezTo>
                    <a:pt x="44970" y="20099"/>
                    <a:pt x="44895" y="20147"/>
                    <a:pt x="44777" y="20147"/>
                  </a:cubicBezTo>
                  <a:cubicBezTo>
                    <a:pt x="44439" y="20147"/>
                    <a:pt x="43749" y="19752"/>
                    <a:pt x="43638" y="19440"/>
                  </a:cubicBezTo>
                  <a:cubicBezTo>
                    <a:pt x="43487" y="19019"/>
                    <a:pt x="43668" y="18718"/>
                    <a:pt x="43457" y="18417"/>
                  </a:cubicBezTo>
                  <a:cubicBezTo>
                    <a:pt x="43217" y="18116"/>
                    <a:pt x="43427" y="17815"/>
                    <a:pt x="43879" y="17303"/>
                  </a:cubicBezTo>
                  <a:cubicBezTo>
                    <a:pt x="44330" y="16762"/>
                    <a:pt x="44691" y="16882"/>
                    <a:pt x="44691" y="16611"/>
                  </a:cubicBezTo>
                  <a:cubicBezTo>
                    <a:pt x="44691" y="16527"/>
                    <a:pt x="44448" y="16465"/>
                    <a:pt x="44082" y="16465"/>
                  </a:cubicBezTo>
                  <a:close/>
                  <a:moveTo>
                    <a:pt x="48994" y="32380"/>
                  </a:moveTo>
                  <a:cubicBezTo>
                    <a:pt x="48985" y="32380"/>
                    <a:pt x="48975" y="32380"/>
                    <a:pt x="48965" y="32381"/>
                  </a:cubicBezTo>
                  <a:cubicBezTo>
                    <a:pt x="48391" y="32438"/>
                    <a:pt x="48446" y="33260"/>
                    <a:pt x="48791" y="33260"/>
                  </a:cubicBezTo>
                  <a:cubicBezTo>
                    <a:pt x="48808" y="33260"/>
                    <a:pt x="48826" y="33258"/>
                    <a:pt x="48844" y="33253"/>
                  </a:cubicBezTo>
                  <a:cubicBezTo>
                    <a:pt x="49051" y="33224"/>
                    <a:pt x="49549" y="32380"/>
                    <a:pt x="48994" y="32380"/>
                  </a:cubicBezTo>
                  <a:close/>
                  <a:moveTo>
                    <a:pt x="24900" y="31787"/>
                  </a:moveTo>
                  <a:cubicBezTo>
                    <a:pt x="25006" y="31787"/>
                    <a:pt x="25069" y="31820"/>
                    <a:pt x="25069" y="31899"/>
                  </a:cubicBezTo>
                  <a:cubicBezTo>
                    <a:pt x="25069" y="32320"/>
                    <a:pt x="23715" y="32621"/>
                    <a:pt x="23143" y="33073"/>
                  </a:cubicBezTo>
                  <a:cubicBezTo>
                    <a:pt x="22602" y="33554"/>
                    <a:pt x="22662" y="33404"/>
                    <a:pt x="22180" y="33524"/>
                  </a:cubicBezTo>
                  <a:cubicBezTo>
                    <a:pt x="21669" y="33645"/>
                    <a:pt x="22090" y="34096"/>
                    <a:pt x="21518" y="34126"/>
                  </a:cubicBezTo>
                  <a:cubicBezTo>
                    <a:pt x="21355" y="34135"/>
                    <a:pt x="21112" y="34144"/>
                    <a:pt x="20847" y="34144"/>
                  </a:cubicBezTo>
                  <a:cubicBezTo>
                    <a:pt x="20233" y="34144"/>
                    <a:pt x="19498" y="34096"/>
                    <a:pt x="19351" y="33885"/>
                  </a:cubicBezTo>
                  <a:cubicBezTo>
                    <a:pt x="19243" y="33751"/>
                    <a:pt x="19383" y="33731"/>
                    <a:pt x="19576" y="33731"/>
                  </a:cubicBezTo>
                  <a:cubicBezTo>
                    <a:pt x="19657" y="33731"/>
                    <a:pt x="19748" y="33734"/>
                    <a:pt x="19834" y="33734"/>
                  </a:cubicBezTo>
                  <a:cubicBezTo>
                    <a:pt x="19998" y="33734"/>
                    <a:pt x="20142" y="33721"/>
                    <a:pt x="20164" y="33645"/>
                  </a:cubicBezTo>
                  <a:cubicBezTo>
                    <a:pt x="20194" y="33284"/>
                    <a:pt x="20465" y="33013"/>
                    <a:pt x="20826" y="32983"/>
                  </a:cubicBezTo>
                  <a:cubicBezTo>
                    <a:pt x="21157" y="32983"/>
                    <a:pt x="21127" y="32531"/>
                    <a:pt x="20555" y="32260"/>
                  </a:cubicBezTo>
                  <a:cubicBezTo>
                    <a:pt x="20218" y="32118"/>
                    <a:pt x="20561" y="31976"/>
                    <a:pt x="20961" y="31976"/>
                  </a:cubicBezTo>
                  <a:cubicBezTo>
                    <a:pt x="21239" y="31976"/>
                    <a:pt x="21545" y="32045"/>
                    <a:pt x="21669" y="32230"/>
                  </a:cubicBezTo>
                  <a:cubicBezTo>
                    <a:pt x="21885" y="32554"/>
                    <a:pt x="22255" y="32816"/>
                    <a:pt x="22581" y="32816"/>
                  </a:cubicBezTo>
                  <a:cubicBezTo>
                    <a:pt x="22709" y="32816"/>
                    <a:pt x="22831" y="32775"/>
                    <a:pt x="22933" y="32682"/>
                  </a:cubicBezTo>
                  <a:cubicBezTo>
                    <a:pt x="23201" y="32413"/>
                    <a:pt x="24443" y="31787"/>
                    <a:pt x="24900" y="31787"/>
                  </a:cubicBezTo>
                  <a:close/>
                  <a:moveTo>
                    <a:pt x="6944" y="42047"/>
                  </a:moveTo>
                  <a:cubicBezTo>
                    <a:pt x="6840" y="42047"/>
                    <a:pt x="6714" y="42081"/>
                    <a:pt x="6561" y="42161"/>
                  </a:cubicBezTo>
                  <a:cubicBezTo>
                    <a:pt x="5934" y="42503"/>
                    <a:pt x="7250" y="43951"/>
                    <a:pt x="7698" y="43951"/>
                  </a:cubicBezTo>
                  <a:cubicBezTo>
                    <a:pt x="7723" y="43951"/>
                    <a:pt x="7746" y="43947"/>
                    <a:pt x="7765" y="43937"/>
                  </a:cubicBezTo>
                  <a:cubicBezTo>
                    <a:pt x="8096" y="43756"/>
                    <a:pt x="7374" y="43124"/>
                    <a:pt x="7374" y="42703"/>
                  </a:cubicBezTo>
                  <a:cubicBezTo>
                    <a:pt x="7374" y="42384"/>
                    <a:pt x="7270" y="42047"/>
                    <a:pt x="6944" y="42047"/>
                  </a:cubicBezTo>
                  <a:close/>
                  <a:moveTo>
                    <a:pt x="34069" y="42170"/>
                  </a:moveTo>
                  <a:cubicBezTo>
                    <a:pt x="34218" y="42170"/>
                    <a:pt x="34371" y="42232"/>
                    <a:pt x="34489" y="42372"/>
                  </a:cubicBezTo>
                  <a:cubicBezTo>
                    <a:pt x="34760" y="42703"/>
                    <a:pt x="35211" y="44178"/>
                    <a:pt x="35452" y="44629"/>
                  </a:cubicBezTo>
                  <a:cubicBezTo>
                    <a:pt x="35663" y="45081"/>
                    <a:pt x="35723" y="45833"/>
                    <a:pt x="35362" y="45863"/>
                  </a:cubicBezTo>
                  <a:cubicBezTo>
                    <a:pt x="35357" y="45863"/>
                    <a:pt x="35352" y="45864"/>
                    <a:pt x="35347" y="45864"/>
                  </a:cubicBezTo>
                  <a:cubicBezTo>
                    <a:pt x="35011" y="45864"/>
                    <a:pt x="35382" y="44804"/>
                    <a:pt x="34700" y="44419"/>
                  </a:cubicBezTo>
                  <a:cubicBezTo>
                    <a:pt x="34038" y="44057"/>
                    <a:pt x="33616" y="43425"/>
                    <a:pt x="33526" y="42703"/>
                  </a:cubicBezTo>
                  <a:cubicBezTo>
                    <a:pt x="33545" y="42374"/>
                    <a:pt x="33801" y="42170"/>
                    <a:pt x="34069" y="42170"/>
                  </a:cubicBezTo>
                  <a:close/>
                  <a:moveTo>
                    <a:pt x="61245" y="46482"/>
                  </a:moveTo>
                  <a:cubicBezTo>
                    <a:pt x="61175" y="46482"/>
                    <a:pt x="61140" y="46495"/>
                    <a:pt x="61153" y="46525"/>
                  </a:cubicBezTo>
                  <a:cubicBezTo>
                    <a:pt x="61178" y="46771"/>
                    <a:pt x="62570" y="47379"/>
                    <a:pt x="63094" y="47379"/>
                  </a:cubicBezTo>
                  <a:cubicBezTo>
                    <a:pt x="63211" y="47379"/>
                    <a:pt x="63284" y="47349"/>
                    <a:pt x="63290" y="47278"/>
                  </a:cubicBezTo>
                  <a:cubicBezTo>
                    <a:pt x="63316" y="46968"/>
                    <a:pt x="61661" y="46482"/>
                    <a:pt x="61245" y="46482"/>
                  </a:cubicBezTo>
                  <a:close/>
                  <a:moveTo>
                    <a:pt x="10581" y="45487"/>
                  </a:moveTo>
                  <a:cubicBezTo>
                    <a:pt x="10460" y="45487"/>
                    <a:pt x="10339" y="45521"/>
                    <a:pt x="10233" y="45592"/>
                  </a:cubicBezTo>
                  <a:cubicBezTo>
                    <a:pt x="10022" y="45743"/>
                    <a:pt x="10503" y="45773"/>
                    <a:pt x="10503" y="45983"/>
                  </a:cubicBezTo>
                  <a:cubicBezTo>
                    <a:pt x="10503" y="46135"/>
                    <a:pt x="10609" y="46202"/>
                    <a:pt x="10785" y="46202"/>
                  </a:cubicBezTo>
                  <a:cubicBezTo>
                    <a:pt x="10819" y="46202"/>
                    <a:pt x="10856" y="46199"/>
                    <a:pt x="10895" y="46194"/>
                  </a:cubicBezTo>
                  <a:cubicBezTo>
                    <a:pt x="10901" y="46193"/>
                    <a:pt x="10908" y="46193"/>
                    <a:pt x="10915" y="46193"/>
                  </a:cubicBezTo>
                  <a:cubicBezTo>
                    <a:pt x="11111" y="46193"/>
                    <a:pt x="11202" y="46616"/>
                    <a:pt x="11406" y="46646"/>
                  </a:cubicBezTo>
                  <a:cubicBezTo>
                    <a:pt x="11647" y="46676"/>
                    <a:pt x="11707" y="46977"/>
                    <a:pt x="11948" y="46977"/>
                  </a:cubicBezTo>
                  <a:cubicBezTo>
                    <a:pt x="12159" y="46977"/>
                    <a:pt x="12249" y="47247"/>
                    <a:pt x="12339" y="47428"/>
                  </a:cubicBezTo>
                  <a:cubicBezTo>
                    <a:pt x="12387" y="47511"/>
                    <a:pt x="12462" y="47529"/>
                    <a:pt x="12536" y="47529"/>
                  </a:cubicBezTo>
                  <a:cubicBezTo>
                    <a:pt x="12591" y="47529"/>
                    <a:pt x="12644" y="47519"/>
                    <a:pt x="12685" y="47519"/>
                  </a:cubicBezTo>
                  <a:cubicBezTo>
                    <a:pt x="12730" y="47519"/>
                    <a:pt x="12761" y="47531"/>
                    <a:pt x="12761" y="47578"/>
                  </a:cubicBezTo>
                  <a:cubicBezTo>
                    <a:pt x="12761" y="47729"/>
                    <a:pt x="13031" y="47849"/>
                    <a:pt x="13092" y="48030"/>
                  </a:cubicBezTo>
                  <a:cubicBezTo>
                    <a:pt x="13302" y="48075"/>
                    <a:pt x="13520" y="48098"/>
                    <a:pt x="13739" y="48098"/>
                  </a:cubicBezTo>
                  <a:cubicBezTo>
                    <a:pt x="13957" y="48098"/>
                    <a:pt x="14175" y="48075"/>
                    <a:pt x="14386" y="48030"/>
                  </a:cubicBezTo>
                  <a:cubicBezTo>
                    <a:pt x="14356" y="47910"/>
                    <a:pt x="14386" y="47789"/>
                    <a:pt x="14446" y="47699"/>
                  </a:cubicBezTo>
                  <a:cubicBezTo>
                    <a:pt x="14566" y="47488"/>
                    <a:pt x="14205" y="47669"/>
                    <a:pt x="13964" y="47398"/>
                  </a:cubicBezTo>
                  <a:cubicBezTo>
                    <a:pt x="13754" y="47187"/>
                    <a:pt x="13152" y="47217"/>
                    <a:pt x="13031" y="46977"/>
                  </a:cubicBezTo>
                  <a:cubicBezTo>
                    <a:pt x="12911" y="46766"/>
                    <a:pt x="12430" y="45923"/>
                    <a:pt x="12129" y="45923"/>
                  </a:cubicBezTo>
                  <a:cubicBezTo>
                    <a:pt x="12041" y="45938"/>
                    <a:pt x="11952" y="45945"/>
                    <a:pt x="11862" y="45945"/>
                  </a:cubicBezTo>
                  <a:cubicBezTo>
                    <a:pt x="11583" y="45945"/>
                    <a:pt x="11303" y="45872"/>
                    <a:pt x="11075" y="45713"/>
                  </a:cubicBezTo>
                  <a:cubicBezTo>
                    <a:pt x="10948" y="45567"/>
                    <a:pt x="10765" y="45487"/>
                    <a:pt x="10581" y="45487"/>
                  </a:cubicBezTo>
                  <a:close/>
                  <a:moveTo>
                    <a:pt x="67906" y="44759"/>
                  </a:moveTo>
                  <a:cubicBezTo>
                    <a:pt x="67838" y="44759"/>
                    <a:pt x="67762" y="44774"/>
                    <a:pt x="67684" y="44810"/>
                  </a:cubicBezTo>
                  <a:cubicBezTo>
                    <a:pt x="67353" y="44960"/>
                    <a:pt x="66359" y="46224"/>
                    <a:pt x="66359" y="46585"/>
                  </a:cubicBezTo>
                  <a:cubicBezTo>
                    <a:pt x="66359" y="46906"/>
                    <a:pt x="66359" y="47339"/>
                    <a:pt x="66059" y="47339"/>
                  </a:cubicBezTo>
                  <a:cubicBezTo>
                    <a:pt x="66049" y="47339"/>
                    <a:pt x="66039" y="47339"/>
                    <a:pt x="66028" y="47338"/>
                  </a:cubicBezTo>
                  <a:cubicBezTo>
                    <a:pt x="66003" y="47333"/>
                    <a:pt x="65978" y="47331"/>
                    <a:pt x="65953" y="47331"/>
                  </a:cubicBezTo>
                  <a:cubicBezTo>
                    <a:pt x="65642" y="47331"/>
                    <a:pt x="65327" y="47652"/>
                    <a:pt x="65577" y="47819"/>
                  </a:cubicBezTo>
                  <a:cubicBezTo>
                    <a:pt x="65848" y="48000"/>
                    <a:pt x="64885" y="48542"/>
                    <a:pt x="65366" y="48752"/>
                  </a:cubicBezTo>
                  <a:cubicBezTo>
                    <a:pt x="65497" y="48822"/>
                    <a:pt x="65618" y="48846"/>
                    <a:pt x="65734" y="48846"/>
                  </a:cubicBezTo>
                  <a:cubicBezTo>
                    <a:pt x="65998" y="48846"/>
                    <a:pt x="66236" y="48720"/>
                    <a:pt x="66509" y="48720"/>
                  </a:cubicBezTo>
                  <a:cubicBezTo>
                    <a:pt x="66529" y="48720"/>
                    <a:pt x="66550" y="48721"/>
                    <a:pt x="66570" y="48722"/>
                  </a:cubicBezTo>
                  <a:cubicBezTo>
                    <a:pt x="66678" y="48749"/>
                    <a:pt x="66792" y="48763"/>
                    <a:pt x="66907" y="48763"/>
                  </a:cubicBezTo>
                  <a:cubicBezTo>
                    <a:pt x="67176" y="48763"/>
                    <a:pt x="67452" y="48689"/>
                    <a:pt x="67684" y="48542"/>
                  </a:cubicBezTo>
                  <a:cubicBezTo>
                    <a:pt x="67751" y="48493"/>
                    <a:pt x="67804" y="48474"/>
                    <a:pt x="67850" y="48474"/>
                  </a:cubicBezTo>
                  <a:cubicBezTo>
                    <a:pt x="68017" y="48474"/>
                    <a:pt x="68084" y="48727"/>
                    <a:pt x="68340" y="48727"/>
                  </a:cubicBezTo>
                  <a:cubicBezTo>
                    <a:pt x="68361" y="48727"/>
                    <a:pt x="68382" y="48726"/>
                    <a:pt x="68406" y="48722"/>
                  </a:cubicBezTo>
                  <a:cubicBezTo>
                    <a:pt x="68442" y="48713"/>
                    <a:pt x="68469" y="48709"/>
                    <a:pt x="68489" y="48709"/>
                  </a:cubicBezTo>
                  <a:cubicBezTo>
                    <a:pt x="68664" y="48709"/>
                    <a:pt x="68225" y="49050"/>
                    <a:pt x="68225" y="49294"/>
                  </a:cubicBezTo>
                  <a:cubicBezTo>
                    <a:pt x="68225" y="49351"/>
                    <a:pt x="68248" y="49374"/>
                    <a:pt x="68285" y="49374"/>
                  </a:cubicBezTo>
                  <a:cubicBezTo>
                    <a:pt x="68407" y="49374"/>
                    <a:pt x="68688" y="49138"/>
                    <a:pt x="68917" y="49023"/>
                  </a:cubicBezTo>
                  <a:cubicBezTo>
                    <a:pt x="69002" y="48981"/>
                    <a:pt x="69087" y="48962"/>
                    <a:pt x="69163" y="48962"/>
                  </a:cubicBezTo>
                  <a:cubicBezTo>
                    <a:pt x="69357" y="48962"/>
                    <a:pt x="69494" y="49082"/>
                    <a:pt x="69429" y="49234"/>
                  </a:cubicBezTo>
                  <a:cubicBezTo>
                    <a:pt x="69353" y="49387"/>
                    <a:pt x="69676" y="49551"/>
                    <a:pt x="69977" y="49551"/>
                  </a:cubicBezTo>
                  <a:cubicBezTo>
                    <a:pt x="70150" y="49551"/>
                    <a:pt x="70315" y="49497"/>
                    <a:pt x="70392" y="49354"/>
                  </a:cubicBezTo>
                  <a:cubicBezTo>
                    <a:pt x="70595" y="49050"/>
                    <a:pt x="70308" y="48576"/>
                    <a:pt x="70122" y="48576"/>
                  </a:cubicBezTo>
                  <a:cubicBezTo>
                    <a:pt x="70086" y="48576"/>
                    <a:pt x="70055" y="48593"/>
                    <a:pt x="70031" y="48632"/>
                  </a:cubicBezTo>
                  <a:cubicBezTo>
                    <a:pt x="70005" y="48691"/>
                    <a:pt x="69972" y="48716"/>
                    <a:pt x="69941" y="48716"/>
                  </a:cubicBezTo>
                  <a:cubicBezTo>
                    <a:pt x="69831" y="48716"/>
                    <a:pt x="69736" y="48405"/>
                    <a:pt x="69971" y="48241"/>
                  </a:cubicBezTo>
                  <a:cubicBezTo>
                    <a:pt x="70180" y="48073"/>
                    <a:pt x="70083" y="47964"/>
                    <a:pt x="69903" y="47964"/>
                  </a:cubicBezTo>
                  <a:cubicBezTo>
                    <a:pt x="69825" y="47964"/>
                    <a:pt x="69731" y="47984"/>
                    <a:pt x="69640" y="48030"/>
                  </a:cubicBezTo>
                  <a:cubicBezTo>
                    <a:pt x="69614" y="48043"/>
                    <a:pt x="69591" y="48049"/>
                    <a:pt x="69571" y="48049"/>
                  </a:cubicBezTo>
                  <a:cubicBezTo>
                    <a:pt x="69361" y="48049"/>
                    <a:pt x="69483" y="47385"/>
                    <a:pt x="69730" y="47247"/>
                  </a:cubicBezTo>
                  <a:cubicBezTo>
                    <a:pt x="69897" y="47143"/>
                    <a:pt x="69516" y="46982"/>
                    <a:pt x="69265" y="46982"/>
                  </a:cubicBezTo>
                  <a:cubicBezTo>
                    <a:pt x="69154" y="46982"/>
                    <a:pt x="69068" y="47014"/>
                    <a:pt x="69068" y="47097"/>
                  </a:cubicBezTo>
                  <a:cubicBezTo>
                    <a:pt x="69068" y="47193"/>
                    <a:pt x="68989" y="47232"/>
                    <a:pt x="68883" y="47232"/>
                  </a:cubicBezTo>
                  <a:cubicBezTo>
                    <a:pt x="68692" y="47232"/>
                    <a:pt x="68415" y="47102"/>
                    <a:pt x="68376" y="46946"/>
                  </a:cubicBezTo>
                  <a:cubicBezTo>
                    <a:pt x="68285" y="46736"/>
                    <a:pt x="67864" y="46646"/>
                    <a:pt x="68015" y="46495"/>
                  </a:cubicBezTo>
                  <a:cubicBezTo>
                    <a:pt x="68100" y="46410"/>
                    <a:pt x="67924" y="46334"/>
                    <a:pt x="67739" y="46334"/>
                  </a:cubicBezTo>
                  <a:cubicBezTo>
                    <a:pt x="67598" y="46334"/>
                    <a:pt x="67452" y="46378"/>
                    <a:pt x="67413" y="46495"/>
                  </a:cubicBezTo>
                  <a:cubicBezTo>
                    <a:pt x="67400" y="46552"/>
                    <a:pt x="67379" y="46577"/>
                    <a:pt x="67358" y="46577"/>
                  </a:cubicBezTo>
                  <a:cubicBezTo>
                    <a:pt x="67279" y="46577"/>
                    <a:pt x="67195" y="46232"/>
                    <a:pt x="67503" y="45923"/>
                  </a:cubicBezTo>
                  <a:cubicBezTo>
                    <a:pt x="67864" y="45562"/>
                    <a:pt x="67714" y="45261"/>
                    <a:pt x="68015" y="45081"/>
                  </a:cubicBezTo>
                  <a:cubicBezTo>
                    <a:pt x="68244" y="44920"/>
                    <a:pt x="68123" y="44759"/>
                    <a:pt x="67906" y="44759"/>
                  </a:cubicBezTo>
                  <a:close/>
                  <a:moveTo>
                    <a:pt x="37940" y="15943"/>
                  </a:moveTo>
                  <a:cubicBezTo>
                    <a:pt x="37391" y="15943"/>
                    <a:pt x="36637" y="16036"/>
                    <a:pt x="36505" y="16220"/>
                  </a:cubicBezTo>
                  <a:cubicBezTo>
                    <a:pt x="36355" y="16400"/>
                    <a:pt x="36776" y="16521"/>
                    <a:pt x="36716" y="16671"/>
                  </a:cubicBezTo>
                  <a:cubicBezTo>
                    <a:pt x="36709" y="16705"/>
                    <a:pt x="36688" y="16717"/>
                    <a:pt x="36656" y="16717"/>
                  </a:cubicBezTo>
                  <a:cubicBezTo>
                    <a:pt x="36562" y="16717"/>
                    <a:pt x="36379" y="16602"/>
                    <a:pt x="36256" y="16602"/>
                  </a:cubicBezTo>
                  <a:cubicBezTo>
                    <a:pt x="36237" y="16602"/>
                    <a:pt x="36220" y="16605"/>
                    <a:pt x="36204" y="16611"/>
                  </a:cubicBezTo>
                  <a:cubicBezTo>
                    <a:pt x="36054" y="16701"/>
                    <a:pt x="36265" y="16912"/>
                    <a:pt x="36204" y="17514"/>
                  </a:cubicBezTo>
                  <a:cubicBezTo>
                    <a:pt x="36114" y="17845"/>
                    <a:pt x="36235" y="18176"/>
                    <a:pt x="36505" y="18387"/>
                  </a:cubicBezTo>
                  <a:cubicBezTo>
                    <a:pt x="36686" y="18627"/>
                    <a:pt x="36656" y="18928"/>
                    <a:pt x="36656" y="19320"/>
                  </a:cubicBezTo>
                  <a:cubicBezTo>
                    <a:pt x="36656" y="19741"/>
                    <a:pt x="36265" y="19681"/>
                    <a:pt x="36174" y="19771"/>
                  </a:cubicBezTo>
                  <a:cubicBezTo>
                    <a:pt x="36054" y="19891"/>
                    <a:pt x="36475" y="20012"/>
                    <a:pt x="36385" y="20222"/>
                  </a:cubicBezTo>
                  <a:cubicBezTo>
                    <a:pt x="36360" y="20288"/>
                    <a:pt x="36318" y="20311"/>
                    <a:pt x="36264" y="20311"/>
                  </a:cubicBezTo>
                  <a:cubicBezTo>
                    <a:pt x="36139" y="20311"/>
                    <a:pt x="35956" y="20185"/>
                    <a:pt x="35810" y="20185"/>
                  </a:cubicBezTo>
                  <a:cubicBezTo>
                    <a:pt x="35790" y="20185"/>
                    <a:pt x="35771" y="20187"/>
                    <a:pt x="35753" y="20192"/>
                  </a:cubicBezTo>
                  <a:cubicBezTo>
                    <a:pt x="35512" y="20283"/>
                    <a:pt x="35362" y="20824"/>
                    <a:pt x="35603" y="21035"/>
                  </a:cubicBezTo>
                  <a:cubicBezTo>
                    <a:pt x="35813" y="21216"/>
                    <a:pt x="35903" y="21216"/>
                    <a:pt x="35753" y="21426"/>
                  </a:cubicBezTo>
                  <a:cubicBezTo>
                    <a:pt x="35603" y="21667"/>
                    <a:pt x="35362" y="21998"/>
                    <a:pt x="35783" y="22299"/>
                  </a:cubicBezTo>
                  <a:cubicBezTo>
                    <a:pt x="36204" y="22600"/>
                    <a:pt x="36987" y="22600"/>
                    <a:pt x="37348" y="22871"/>
                  </a:cubicBezTo>
                  <a:cubicBezTo>
                    <a:pt x="37739" y="23142"/>
                    <a:pt x="37198" y="22991"/>
                    <a:pt x="37348" y="23292"/>
                  </a:cubicBezTo>
                  <a:cubicBezTo>
                    <a:pt x="37529" y="23593"/>
                    <a:pt x="37107" y="23683"/>
                    <a:pt x="37107" y="23924"/>
                  </a:cubicBezTo>
                  <a:cubicBezTo>
                    <a:pt x="37107" y="23997"/>
                    <a:pt x="37129" y="24033"/>
                    <a:pt x="37166" y="24033"/>
                  </a:cubicBezTo>
                  <a:cubicBezTo>
                    <a:pt x="37239" y="24033"/>
                    <a:pt x="37371" y="23899"/>
                    <a:pt x="37529" y="23623"/>
                  </a:cubicBezTo>
                  <a:cubicBezTo>
                    <a:pt x="37583" y="23514"/>
                    <a:pt x="37634" y="23469"/>
                    <a:pt x="37679" y="23469"/>
                  </a:cubicBezTo>
                  <a:cubicBezTo>
                    <a:pt x="37805" y="23469"/>
                    <a:pt x="37882" y="23830"/>
                    <a:pt x="37860" y="24075"/>
                  </a:cubicBezTo>
                  <a:cubicBezTo>
                    <a:pt x="37830" y="24406"/>
                    <a:pt x="37559" y="24225"/>
                    <a:pt x="37318" y="24556"/>
                  </a:cubicBezTo>
                  <a:cubicBezTo>
                    <a:pt x="37206" y="24779"/>
                    <a:pt x="36995" y="24903"/>
                    <a:pt x="36771" y="24903"/>
                  </a:cubicBezTo>
                  <a:cubicBezTo>
                    <a:pt x="36693" y="24903"/>
                    <a:pt x="36613" y="24888"/>
                    <a:pt x="36535" y="24857"/>
                  </a:cubicBezTo>
                  <a:cubicBezTo>
                    <a:pt x="36518" y="24854"/>
                    <a:pt x="36502" y="24852"/>
                    <a:pt x="36488" y="24852"/>
                  </a:cubicBezTo>
                  <a:cubicBezTo>
                    <a:pt x="36223" y="24852"/>
                    <a:pt x="36393" y="25354"/>
                    <a:pt x="36535" y="25639"/>
                  </a:cubicBezTo>
                  <a:cubicBezTo>
                    <a:pt x="36649" y="25867"/>
                    <a:pt x="36574" y="25974"/>
                    <a:pt x="36362" y="25974"/>
                  </a:cubicBezTo>
                  <a:cubicBezTo>
                    <a:pt x="36293" y="25974"/>
                    <a:pt x="36210" y="25963"/>
                    <a:pt x="36114" y="25940"/>
                  </a:cubicBezTo>
                  <a:cubicBezTo>
                    <a:pt x="35753" y="25880"/>
                    <a:pt x="35482" y="25579"/>
                    <a:pt x="35723" y="25278"/>
                  </a:cubicBezTo>
                  <a:cubicBezTo>
                    <a:pt x="35925" y="24990"/>
                    <a:pt x="36044" y="24675"/>
                    <a:pt x="35816" y="24675"/>
                  </a:cubicBezTo>
                  <a:cubicBezTo>
                    <a:pt x="35805" y="24675"/>
                    <a:pt x="35795" y="24675"/>
                    <a:pt x="35783" y="24676"/>
                  </a:cubicBezTo>
                  <a:cubicBezTo>
                    <a:pt x="35731" y="24682"/>
                    <a:pt x="35670" y="24686"/>
                    <a:pt x="35606" y="24686"/>
                  </a:cubicBezTo>
                  <a:cubicBezTo>
                    <a:pt x="35338" y="24686"/>
                    <a:pt x="35002" y="24624"/>
                    <a:pt x="34880" y="24406"/>
                  </a:cubicBezTo>
                  <a:cubicBezTo>
                    <a:pt x="34811" y="24281"/>
                    <a:pt x="34831" y="24239"/>
                    <a:pt x="34920" y="24239"/>
                  </a:cubicBezTo>
                  <a:cubicBezTo>
                    <a:pt x="35024" y="24239"/>
                    <a:pt x="35222" y="24297"/>
                    <a:pt x="35482" y="24345"/>
                  </a:cubicBezTo>
                  <a:cubicBezTo>
                    <a:pt x="35514" y="24349"/>
                    <a:pt x="35542" y="24351"/>
                    <a:pt x="35567" y="24351"/>
                  </a:cubicBezTo>
                  <a:cubicBezTo>
                    <a:pt x="35907" y="24351"/>
                    <a:pt x="35538" y="23984"/>
                    <a:pt x="35903" y="23984"/>
                  </a:cubicBezTo>
                  <a:cubicBezTo>
                    <a:pt x="36123" y="23984"/>
                    <a:pt x="36299" y="24062"/>
                    <a:pt x="36470" y="24062"/>
                  </a:cubicBezTo>
                  <a:cubicBezTo>
                    <a:pt x="36580" y="24062"/>
                    <a:pt x="36689" y="24030"/>
                    <a:pt x="36806" y="23924"/>
                  </a:cubicBezTo>
                  <a:cubicBezTo>
                    <a:pt x="37090" y="23669"/>
                    <a:pt x="36652" y="23227"/>
                    <a:pt x="36399" y="23227"/>
                  </a:cubicBezTo>
                  <a:cubicBezTo>
                    <a:pt x="36384" y="23227"/>
                    <a:pt x="36369" y="23228"/>
                    <a:pt x="36355" y="23232"/>
                  </a:cubicBezTo>
                  <a:cubicBezTo>
                    <a:pt x="36202" y="23283"/>
                    <a:pt x="36031" y="23343"/>
                    <a:pt x="35910" y="23343"/>
                  </a:cubicBezTo>
                  <a:cubicBezTo>
                    <a:pt x="35816" y="23343"/>
                    <a:pt x="35753" y="23307"/>
                    <a:pt x="35753" y="23202"/>
                  </a:cubicBezTo>
                  <a:cubicBezTo>
                    <a:pt x="35753" y="23106"/>
                    <a:pt x="35841" y="23085"/>
                    <a:pt x="35957" y="23085"/>
                  </a:cubicBezTo>
                  <a:cubicBezTo>
                    <a:pt x="36045" y="23085"/>
                    <a:pt x="36150" y="23097"/>
                    <a:pt x="36243" y="23097"/>
                  </a:cubicBezTo>
                  <a:cubicBezTo>
                    <a:pt x="36295" y="23097"/>
                    <a:pt x="36344" y="23093"/>
                    <a:pt x="36385" y="23081"/>
                  </a:cubicBezTo>
                  <a:cubicBezTo>
                    <a:pt x="36578" y="23054"/>
                    <a:pt x="36316" y="22773"/>
                    <a:pt x="35993" y="22773"/>
                  </a:cubicBezTo>
                  <a:cubicBezTo>
                    <a:pt x="35963" y="22773"/>
                    <a:pt x="35933" y="22775"/>
                    <a:pt x="35903" y="22780"/>
                  </a:cubicBezTo>
                  <a:cubicBezTo>
                    <a:pt x="35748" y="22816"/>
                    <a:pt x="35622" y="22843"/>
                    <a:pt x="35508" y="22843"/>
                  </a:cubicBezTo>
                  <a:cubicBezTo>
                    <a:pt x="35336" y="22843"/>
                    <a:pt x="35194" y="22782"/>
                    <a:pt x="35031" y="22600"/>
                  </a:cubicBezTo>
                  <a:cubicBezTo>
                    <a:pt x="34899" y="22454"/>
                    <a:pt x="34711" y="22336"/>
                    <a:pt x="34539" y="22336"/>
                  </a:cubicBezTo>
                  <a:cubicBezTo>
                    <a:pt x="34356" y="22336"/>
                    <a:pt x="34190" y="22469"/>
                    <a:pt x="34128" y="22841"/>
                  </a:cubicBezTo>
                  <a:cubicBezTo>
                    <a:pt x="34057" y="23251"/>
                    <a:pt x="33848" y="23281"/>
                    <a:pt x="33646" y="23281"/>
                  </a:cubicBezTo>
                  <a:cubicBezTo>
                    <a:pt x="33612" y="23281"/>
                    <a:pt x="33577" y="23280"/>
                    <a:pt x="33544" y="23280"/>
                  </a:cubicBezTo>
                  <a:cubicBezTo>
                    <a:pt x="33443" y="23280"/>
                    <a:pt x="33350" y="23288"/>
                    <a:pt x="33285" y="23352"/>
                  </a:cubicBezTo>
                  <a:cubicBezTo>
                    <a:pt x="33105" y="23593"/>
                    <a:pt x="33526" y="23744"/>
                    <a:pt x="34008" y="23774"/>
                  </a:cubicBezTo>
                  <a:cubicBezTo>
                    <a:pt x="34519" y="23804"/>
                    <a:pt x="34850" y="24225"/>
                    <a:pt x="34609" y="24225"/>
                  </a:cubicBezTo>
                  <a:cubicBezTo>
                    <a:pt x="34431" y="24225"/>
                    <a:pt x="34447" y="24462"/>
                    <a:pt x="34328" y="24462"/>
                  </a:cubicBezTo>
                  <a:cubicBezTo>
                    <a:pt x="34307" y="24462"/>
                    <a:pt x="34281" y="24454"/>
                    <a:pt x="34248" y="24436"/>
                  </a:cubicBezTo>
                  <a:cubicBezTo>
                    <a:pt x="34185" y="24412"/>
                    <a:pt x="34120" y="24401"/>
                    <a:pt x="34061" y="24401"/>
                  </a:cubicBezTo>
                  <a:cubicBezTo>
                    <a:pt x="33895" y="24401"/>
                    <a:pt x="33776" y="24491"/>
                    <a:pt x="33887" y="24646"/>
                  </a:cubicBezTo>
                  <a:cubicBezTo>
                    <a:pt x="34038" y="24827"/>
                    <a:pt x="33857" y="24947"/>
                    <a:pt x="33857" y="25158"/>
                  </a:cubicBezTo>
                  <a:cubicBezTo>
                    <a:pt x="33857" y="25237"/>
                    <a:pt x="33818" y="25264"/>
                    <a:pt x="33753" y="25264"/>
                  </a:cubicBezTo>
                  <a:cubicBezTo>
                    <a:pt x="33618" y="25264"/>
                    <a:pt x="33368" y="25148"/>
                    <a:pt x="33105" y="25128"/>
                  </a:cubicBezTo>
                  <a:cubicBezTo>
                    <a:pt x="32593" y="25158"/>
                    <a:pt x="32081" y="25218"/>
                    <a:pt x="31570" y="25308"/>
                  </a:cubicBezTo>
                  <a:cubicBezTo>
                    <a:pt x="31459" y="25331"/>
                    <a:pt x="31349" y="25342"/>
                    <a:pt x="31240" y="25342"/>
                  </a:cubicBezTo>
                  <a:cubicBezTo>
                    <a:pt x="30904" y="25342"/>
                    <a:pt x="30586" y="25235"/>
                    <a:pt x="30336" y="25007"/>
                  </a:cubicBezTo>
                  <a:cubicBezTo>
                    <a:pt x="30172" y="24844"/>
                    <a:pt x="29954" y="24825"/>
                    <a:pt x="29709" y="24825"/>
                  </a:cubicBezTo>
                  <a:cubicBezTo>
                    <a:pt x="29639" y="24825"/>
                    <a:pt x="29567" y="24827"/>
                    <a:pt x="29493" y="24827"/>
                  </a:cubicBezTo>
                  <a:cubicBezTo>
                    <a:pt x="29162" y="24827"/>
                    <a:pt x="29253" y="24496"/>
                    <a:pt x="28771" y="24496"/>
                  </a:cubicBezTo>
                  <a:cubicBezTo>
                    <a:pt x="28320" y="24496"/>
                    <a:pt x="28440" y="24075"/>
                    <a:pt x="28380" y="23834"/>
                  </a:cubicBezTo>
                  <a:cubicBezTo>
                    <a:pt x="28342" y="23746"/>
                    <a:pt x="28168" y="23705"/>
                    <a:pt x="27953" y="23705"/>
                  </a:cubicBezTo>
                  <a:cubicBezTo>
                    <a:pt x="27655" y="23705"/>
                    <a:pt x="27278" y="23784"/>
                    <a:pt x="27086" y="23924"/>
                  </a:cubicBezTo>
                  <a:cubicBezTo>
                    <a:pt x="26755" y="24135"/>
                    <a:pt x="26123" y="24044"/>
                    <a:pt x="25912" y="24406"/>
                  </a:cubicBezTo>
                  <a:cubicBezTo>
                    <a:pt x="25774" y="24705"/>
                    <a:pt x="25935" y="24740"/>
                    <a:pt x="26113" y="24740"/>
                  </a:cubicBezTo>
                  <a:cubicBezTo>
                    <a:pt x="26167" y="24740"/>
                    <a:pt x="26224" y="24737"/>
                    <a:pt x="26273" y="24737"/>
                  </a:cubicBezTo>
                  <a:cubicBezTo>
                    <a:pt x="26437" y="24737"/>
                    <a:pt x="26527" y="24488"/>
                    <a:pt x="26904" y="24488"/>
                  </a:cubicBezTo>
                  <a:cubicBezTo>
                    <a:pt x="26941" y="24488"/>
                    <a:pt x="26982" y="24490"/>
                    <a:pt x="27026" y="24496"/>
                  </a:cubicBezTo>
                  <a:cubicBezTo>
                    <a:pt x="27039" y="24497"/>
                    <a:pt x="27052" y="24497"/>
                    <a:pt x="27064" y="24497"/>
                  </a:cubicBezTo>
                  <a:cubicBezTo>
                    <a:pt x="27448" y="24497"/>
                    <a:pt x="27733" y="24146"/>
                    <a:pt x="27953" y="24146"/>
                  </a:cubicBezTo>
                  <a:cubicBezTo>
                    <a:pt x="27998" y="24146"/>
                    <a:pt x="28039" y="24160"/>
                    <a:pt x="28079" y="24195"/>
                  </a:cubicBezTo>
                  <a:cubicBezTo>
                    <a:pt x="28289" y="24376"/>
                    <a:pt x="27236" y="24827"/>
                    <a:pt x="26785" y="24887"/>
                  </a:cubicBezTo>
                  <a:cubicBezTo>
                    <a:pt x="26333" y="24977"/>
                    <a:pt x="26424" y="25308"/>
                    <a:pt x="26875" y="26001"/>
                  </a:cubicBezTo>
                  <a:cubicBezTo>
                    <a:pt x="27326" y="26663"/>
                    <a:pt x="26664" y="26241"/>
                    <a:pt x="26664" y="26542"/>
                  </a:cubicBezTo>
                  <a:cubicBezTo>
                    <a:pt x="26664" y="26627"/>
                    <a:pt x="26600" y="26659"/>
                    <a:pt x="26515" y="26659"/>
                  </a:cubicBezTo>
                  <a:cubicBezTo>
                    <a:pt x="26298" y="26659"/>
                    <a:pt x="25945" y="26448"/>
                    <a:pt x="26183" y="26362"/>
                  </a:cubicBezTo>
                  <a:cubicBezTo>
                    <a:pt x="26544" y="26241"/>
                    <a:pt x="26333" y="25910"/>
                    <a:pt x="26062" y="25730"/>
                  </a:cubicBezTo>
                  <a:cubicBezTo>
                    <a:pt x="25822" y="25549"/>
                    <a:pt x="25671" y="25730"/>
                    <a:pt x="25701" y="25489"/>
                  </a:cubicBezTo>
                  <a:cubicBezTo>
                    <a:pt x="25714" y="25400"/>
                    <a:pt x="25663" y="25386"/>
                    <a:pt x="25581" y="25386"/>
                  </a:cubicBezTo>
                  <a:cubicBezTo>
                    <a:pt x="25543" y="25386"/>
                    <a:pt x="25499" y="25389"/>
                    <a:pt x="25451" y="25389"/>
                  </a:cubicBezTo>
                  <a:cubicBezTo>
                    <a:pt x="25358" y="25389"/>
                    <a:pt x="25252" y="25378"/>
                    <a:pt x="25160" y="25308"/>
                  </a:cubicBezTo>
                  <a:cubicBezTo>
                    <a:pt x="25009" y="25180"/>
                    <a:pt x="24890" y="25066"/>
                    <a:pt x="24714" y="25066"/>
                  </a:cubicBezTo>
                  <a:cubicBezTo>
                    <a:pt x="24643" y="25066"/>
                    <a:pt x="24562" y="25085"/>
                    <a:pt x="24467" y="25128"/>
                  </a:cubicBezTo>
                  <a:cubicBezTo>
                    <a:pt x="24106" y="25278"/>
                    <a:pt x="23745" y="25248"/>
                    <a:pt x="22993" y="25399"/>
                  </a:cubicBezTo>
                  <a:cubicBezTo>
                    <a:pt x="22736" y="25450"/>
                    <a:pt x="22412" y="25473"/>
                    <a:pt x="22086" y="25473"/>
                  </a:cubicBezTo>
                  <a:cubicBezTo>
                    <a:pt x="21459" y="25473"/>
                    <a:pt x="20824" y="25387"/>
                    <a:pt x="20645" y="25248"/>
                  </a:cubicBezTo>
                  <a:cubicBezTo>
                    <a:pt x="20419" y="25021"/>
                    <a:pt x="21207" y="24581"/>
                    <a:pt x="21500" y="24581"/>
                  </a:cubicBezTo>
                  <a:cubicBezTo>
                    <a:pt x="21518" y="24581"/>
                    <a:pt x="21534" y="24583"/>
                    <a:pt x="21548" y="24586"/>
                  </a:cubicBezTo>
                  <a:cubicBezTo>
                    <a:pt x="21579" y="24596"/>
                    <a:pt x="21604" y="24601"/>
                    <a:pt x="21624" y="24601"/>
                  </a:cubicBezTo>
                  <a:cubicBezTo>
                    <a:pt x="21782" y="24601"/>
                    <a:pt x="21621" y="24305"/>
                    <a:pt x="21247" y="23984"/>
                  </a:cubicBezTo>
                  <a:cubicBezTo>
                    <a:pt x="20970" y="23750"/>
                    <a:pt x="20437" y="23606"/>
                    <a:pt x="20160" y="23606"/>
                  </a:cubicBezTo>
                  <a:cubicBezTo>
                    <a:pt x="20045" y="23606"/>
                    <a:pt x="19975" y="23631"/>
                    <a:pt x="19983" y="23683"/>
                  </a:cubicBezTo>
                  <a:cubicBezTo>
                    <a:pt x="19993" y="23749"/>
                    <a:pt x="19943" y="23774"/>
                    <a:pt x="19851" y="23774"/>
                  </a:cubicBezTo>
                  <a:cubicBezTo>
                    <a:pt x="19650" y="23774"/>
                    <a:pt x="19244" y="23655"/>
                    <a:pt x="18810" y="23593"/>
                  </a:cubicBezTo>
                  <a:cubicBezTo>
                    <a:pt x="18178" y="23473"/>
                    <a:pt x="18057" y="23232"/>
                    <a:pt x="17636" y="23202"/>
                  </a:cubicBezTo>
                  <a:cubicBezTo>
                    <a:pt x="17094" y="23202"/>
                    <a:pt x="16553" y="23021"/>
                    <a:pt x="16101" y="22690"/>
                  </a:cubicBezTo>
                  <a:cubicBezTo>
                    <a:pt x="15890" y="22518"/>
                    <a:pt x="15545" y="22445"/>
                    <a:pt x="15214" y="22445"/>
                  </a:cubicBezTo>
                  <a:cubicBezTo>
                    <a:pt x="14792" y="22445"/>
                    <a:pt x="14393" y="22565"/>
                    <a:pt x="14326" y="22750"/>
                  </a:cubicBezTo>
                  <a:cubicBezTo>
                    <a:pt x="14235" y="23081"/>
                    <a:pt x="13814" y="23081"/>
                    <a:pt x="13393" y="23081"/>
                  </a:cubicBezTo>
                  <a:cubicBezTo>
                    <a:pt x="13001" y="23081"/>
                    <a:pt x="13573" y="22630"/>
                    <a:pt x="13423" y="22570"/>
                  </a:cubicBezTo>
                  <a:cubicBezTo>
                    <a:pt x="13272" y="22480"/>
                    <a:pt x="13483" y="21998"/>
                    <a:pt x="13182" y="21968"/>
                  </a:cubicBezTo>
                  <a:cubicBezTo>
                    <a:pt x="13178" y="21968"/>
                    <a:pt x="13174" y="21967"/>
                    <a:pt x="13171" y="21967"/>
                  </a:cubicBezTo>
                  <a:cubicBezTo>
                    <a:pt x="12882" y="21967"/>
                    <a:pt x="12646" y="23084"/>
                    <a:pt x="12166" y="23084"/>
                  </a:cubicBezTo>
                  <a:cubicBezTo>
                    <a:pt x="12153" y="23084"/>
                    <a:pt x="12141" y="23083"/>
                    <a:pt x="12129" y="23081"/>
                  </a:cubicBezTo>
                  <a:cubicBezTo>
                    <a:pt x="11587" y="23051"/>
                    <a:pt x="11376" y="21817"/>
                    <a:pt x="10925" y="21517"/>
                  </a:cubicBezTo>
                  <a:cubicBezTo>
                    <a:pt x="10717" y="21378"/>
                    <a:pt x="10521" y="21297"/>
                    <a:pt x="10404" y="21297"/>
                  </a:cubicBezTo>
                  <a:cubicBezTo>
                    <a:pt x="10266" y="21297"/>
                    <a:pt x="10235" y="21407"/>
                    <a:pt x="10413" y="21667"/>
                  </a:cubicBezTo>
                  <a:cubicBezTo>
                    <a:pt x="10774" y="22149"/>
                    <a:pt x="10112" y="21787"/>
                    <a:pt x="10172" y="22118"/>
                  </a:cubicBezTo>
                  <a:cubicBezTo>
                    <a:pt x="10197" y="22385"/>
                    <a:pt x="9792" y="22651"/>
                    <a:pt x="9649" y="22651"/>
                  </a:cubicBezTo>
                  <a:cubicBezTo>
                    <a:pt x="9614" y="22651"/>
                    <a:pt x="9595" y="22635"/>
                    <a:pt x="9601" y="22600"/>
                  </a:cubicBezTo>
                  <a:cubicBezTo>
                    <a:pt x="9616" y="22510"/>
                    <a:pt x="9518" y="22427"/>
                    <a:pt x="9367" y="22427"/>
                  </a:cubicBezTo>
                  <a:cubicBezTo>
                    <a:pt x="9217" y="22427"/>
                    <a:pt x="9014" y="22510"/>
                    <a:pt x="8818" y="22750"/>
                  </a:cubicBezTo>
                  <a:cubicBezTo>
                    <a:pt x="8577" y="23026"/>
                    <a:pt x="8376" y="23124"/>
                    <a:pt x="8242" y="23124"/>
                  </a:cubicBezTo>
                  <a:cubicBezTo>
                    <a:pt x="8141" y="23124"/>
                    <a:pt x="8079" y="23069"/>
                    <a:pt x="8066" y="22991"/>
                  </a:cubicBezTo>
                  <a:cubicBezTo>
                    <a:pt x="8058" y="22963"/>
                    <a:pt x="8028" y="22950"/>
                    <a:pt x="7984" y="22950"/>
                  </a:cubicBezTo>
                  <a:cubicBezTo>
                    <a:pt x="7697" y="22950"/>
                    <a:pt x="6776" y="23471"/>
                    <a:pt x="6802" y="23653"/>
                  </a:cubicBezTo>
                  <a:cubicBezTo>
                    <a:pt x="6853" y="23858"/>
                    <a:pt x="6686" y="23998"/>
                    <a:pt x="6432" y="23998"/>
                  </a:cubicBezTo>
                  <a:cubicBezTo>
                    <a:pt x="6387" y="23998"/>
                    <a:pt x="6340" y="23993"/>
                    <a:pt x="6290" y="23984"/>
                  </a:cubicBezTo>
                  <a:cubicBezTo>
                    <a:pt x="5959" y="23954"/>
                    <a:pt x="6200" y="23683"/>
                    <a:pt x="6471" y="23593"/>
                  </a:cubicBezTo>
                  <a:cubicBezTo>
                    <a:pt x="6742" y="23473"/>
                    <a:pt x="7614" y="22750"/>
                    <a:pt x="8006" y="22690"/>
                  </a:cubicBezTo>
                  <a:cubicBezTo>
                    <a:pt x="8427" y="22600"/>
                    <a:pt x="9270" y="22299"/>
                    <a:pt x="9270" y="22088"/>
                  </a:cubicBezTo>
                  <a:cubicBezTo>
                    <a:pt x="9270" y="21988"/>
                    <a:pt x="9197" y="21961"/>
                    <a:pt x="9093" y="21961"/>
                  </a:cubicBezTo>
                  <a:cubicBezTo>
                    <a:pt x="8966" y="21961"/>
                    <a:pt x="8793" y="22002"/>
                    <a:pt x="8646" y="22002"/>
                  </a:cubicBezTo>
                  <a:cubicBezTo>
                    <a:pt x="8622" y="22002"/>
                    <a:pt x="8599" y="22000"/>
                    <a:pt x="8577" y="21998"/>
                  </a:cubicBezTo>
                  <a:cubicBezTo>
                    <a:pt x="8565" y="21997"/>
                    <a:pt x="8552" y="21996"/>
                    <a:pt x="8538" y="21996"/>
                  </a:cubicBezTo>
                  <a:cubicBezTo>
                    <a:pt x="8259" y="21996"/>
                    <a:pt x="7774" y="22279"/>
                    <a:pt x="7344" y="22480"/>
                  </a:cubicBezTo>
                  <a:cubicBezTo>
                    <a:pt x="6892" y="22720"/>
                    <a:pt x="6320" y="22600"/>
                    <a:pt x="6441" y="22901"/>
                  </a:cubicBezTo>
                  <a:cubicBezTo>
                    <a:pt x="6482" y="23005"/>
                    <a:pt x="6444" y="23034"/>
                    <a:pt x="6371" y="23034"/>
                  </a:cubicBezTo>
                  <a:cubicBezTo>
                    <a:pt x="6283" y="23034"/>
                    <a:pt x="6146" y="22994"/>
                    <a:pt x="6032" y="22994"/>
                  </a:cubicBezTo>
                  <a:cubicBezTo>
                    <a:pt x="5965" y="22994"/>
                    <a:pt x="5905" y="23008"/>
                    <a:pt x="5869" y="23051"/>
                  </a:cubicBezTo>
                  <a:cubicBezTo>
                    <a:pt x="5823" y="23106"/>
                    <a:pt x="5775" y="23128"/>
                    <a:pt x="5734" y="23128"/>
                  </a:cubicBezTo>
                  <a:cubicBezTo>
                    <a:pt x="5642" y="23128"/>
                    <a:pt x="5593" y="23015"/>
                    <a:pt x="5718" y="22931"/>
                  </a:cubicBezTo>
                  <a:cubicBezTo>
                    <a:pt x="5861" y="22860"/>
                    <a:pt x="5518" y="22714"/>
                    <a:pt x="5365" y="22714"/>
                  </a:cubicBezTo>
                  <a:cubicBezTo>
                    <a:pt x="5324" y="22714"/>
                    <a:pt x="5297" y="22725"/>
                    <a:pt x="5297" y="22750"/>
                  </a:cubicBezTo>
                  <a:cubicBezTo>
                    <a:pt x="5297" y="22871"/>
                    <a:pt x="5207" y="23051"/>
                    <a:pt x="4785" y="23051"/>
                  </a:cubicBezTo>
                  <a:cubicBezTo>
                    <a:pt x="4364" y="23051"/>
                    <a:pt x="3913" y="23352"/>
                    <a:pt x="4214" y="23533"/>
                  </a:cubicBezTo>
                  <a:cubicBezTo>
                    <a:pt x="4515" y="23744"/>
                    <a:pt x="4665" y="23894"/>
                    <a:pt x="4515" y="23984"/>
                  </a:cubicBezTo>
                  <a:cubicBezTo>
                    <a:pt x="4498" y="23998"/>
                    <a:pt x="4478" y="24004"/>
                    <a:pt x="4454" y="24004"/>
                  </a:cubicBezTo>
                  <a:cubicBezTo>
                    <a:pt x="4280" y="24004"/>
                    <a:pt x="3924" y="23678"/>
                    <a:pt x="3421" y="23678"/>
                  </a:cubicBezTo>
                  <a:cubicBezTo>
                    <a:pt x="3385" y="23678"/>
                    <a:pt x="3348" y="23680"/>
                    <a:pt x="3311" y="23683"/>
                  </a:cubicBezTo>
                  <a:cubicBezTo>
                    <a:pt x="3275" y="23688"/>
                    <a:pt x="3238" y="23691"/>
                    <a:pt x="3199" y="23691"/>
                  </a:cubicBezTo>
                  <a:cubicBezTo>
                    <a:pt x="2547" y="23691"/>
                    <a:pt x="1475" y="23011"/>
                    <a:pt x="1475" y="22841"/>
                  </a:cubicBezTo>
                  <a:cubicBezTo>
                    <a:pt x="1475" y="22744"/>
                    <a:pt x="1293" y="22724"/>
                    <a:pt x="1037" y="22724"/>
                  </a:cubicBezTo>
                  <a:cubicBezTo>
                    <a:pt x="842" y="22724"/>
                    <a:pt x="604" y="22736"/>
                    <a:pt x="373" y="22736"/>
                  </a:cubicBezTo>
                  <a:cubicBezTo>
                    <a:pt x="244" y="22736"/>
                    <a:pt x="117" y="22732"/>
                    <a:pt x="0" y="22720"/>
                  </a:cubicBezTo>
                  <a:lnTo>
                    <a:pt x="0" y="34879"/>
                  </a:lnTo>
                  <a:cubicBezTo>
                    <a:pt x="0" y="34879"/>
                    <a:pt x="180" y="34993"/>
                    <a:pt x="323" y="34993"/>
                  </a:cubicBezTo>
                  <a:cubicBezTo>
                    <a:pt x="374" y="34993"/>
                    <a:pt x="420" y="34978"/>
                    <a:pt x="452" y="34939"/>
                  </a:cubicBezTo>
                  <a:cubicBezTo>
                    <a:pt x="490" y="34891"/>
                    <a:pt x="534" y="34880"/>
                    <a:pt x="591" y="34880"/>
                  </a:cubicBezTo>
                  <a:cubicBezTo>
                    <a:pt x="641" y="34880"/>
                    <a:pt x="702" y="34889"/>
                    <a:pt x="777" y="34889"/>
                  </a:cubicBezTo>
                  <a:cubicBezTo>
                    <a:pt x="879" y="34889"/>
                    <a:pt x="1008" y="34871"/>
                    <a:pt x="1174" y="34788"/>
                  </a:cubicBezTo>
                  <a:cubicBezTo>
                    <a:pt x="1246" y="34757"/>
                    <a:pt x="1308" y="34744"/>
                    <a:pt x="1362" y="34744"/>
                  </a:cubicBezTo>
                  <a:cubicBezTo>
                    <a:pt x="1624" y="34744"/>
                    <a:pt x="1686" y="35060"/>
                    <a:pt x="1686" y="35210"/>
                  </a:cubicBezTo>
                  <a:cubicBezTo>
                    <a:pt x="1686" y="35390"/>
                    <a:pt x="2258" y="35691"/>
                    <a:pt x="2498" y="35992"/>
                  </a:cubicBezTo>
                  <a:cubicBezTo>
                    <a:pt x="2662" y="36226"/>
                    <a:pt x="2789" y="36441"/>
                    <a:pt x="2965" y="36441"/>
                  </a:cubicBezTo>
                  <a:cubicBezTo>
                    <a:pt x="3015" y="36441"/>
                    <a:pt x="3070" y="36424"/>
                    <a:pt x="3130" y="36383"/>
                  </a:cubicBezTo>
                  <a:cubicBezTo>
                    <a:pt x="3401" y="36173"/>
                    <a:pt x="3853" y="36143"/>
                    <a:pt x="3853" y="35811"/>
                  </a:cubicBezTo>
                  <a:cubicBezTo>
                    <a:pt x="3853" y="35653"/>
                    <a:pt x="4094" y="35570"/>
                    <a:pt x="4346" y="35570"/>
                  </a:cubicBezTo>
                  <a:cubicBezTo>
                    <a:pt x="4620" y="35570"/>
                    <a:pt x="4906" y="35668"/>
                    <a:pt x="4906" y="35872"/>
                  </a:cubicBezTo>
                  <a:cubicBezTo>
                    <a:pt x="4906" y="36293"/>
                    <a:pt x="6019" y="36744"/>
                    <a:pt x="6621" y="37798"/>
                  </a:cubicBezTo>
                  <a:cubicBezTo>
                    <a:pt x="7223" y="38851"/>
                    <a:pt x="7163" y="39122"/>
                    <a:pt x="8006" y="39483"/>
                  </a:cubicBezTo>
                  <a:cubicBezTo>
                    <a:pt x="8878" y="39874"/>
                    <a:pt x="8878" y="40025"/>
                    <a:pt x="8758" y="40326"/>
                  </a:cubicBezTo>
                  <a:cubicBezTo>
                    <a:pt x="8668" y="40627"/>
                    <a:pt x="9330" y="40777"/>
                    <a:pt x="8969" y="41048"/>
                  </a:cubicBezTo>
                  <a:lnTo>
                    <a:pt x="8397" y="41409"/>
                  </a:lnTo>
                  <a:cubicBezTo>
                    <a:pt x="8427" y="41590"/>
                    <a:pt x="8547" y="41680"/>
                    <a:pt x="8728" y="41830"/>
                  </a:cubicBezTo>
                  <a:cubicBezTo>
                    <a:pt x="8908" y="41981"/>
                    <a:pt x="8367" y="42011"/>
                    <a:pt x="8517" y="42161"/>
                  </a:cubicBezTo>
                  <a:cubicBezTo>
                    <a:pt x="8668" y="42312"/>
                    <a:pt x="8517" y="42583"/>
                    <a:pt x="8668" y="42763"/>
                  </a:cubicBezTo>
                  <a:cubicBezTo>
                    <a:pt x="8768" y="42835"/>
                    <a:pt x="8882" y="42873"/>
                    <a:pt x="8994" y="42873"/>
                  </a:cubicBezTo>
                  <a:cubicBezTo>
                    <a:pt x="9116" y="42873"/>
                    <a:pt x="9235" y="42828"/>
                    <a:pt x="9330" y="42733"/>
                  </a:cubicBezTo>
                  <a:cubicBezTo>
                    <a:pt x="9371" y="42707"/>
                    <a:pt x="9409" y="42696"/>
                    <a:pt x="9441" y="42696"/>
                  </a:cubicBezTo>
                  <a:cubicBezTo>
                    <a:pt x="9595" y="42696"/>
                    <a:pt x="9635" y="42961"/>
                    <a:pt x="9510" y="43185"/>
                  </a:cubicBezTo>
                  <a:cubicBezTo>
                    <a:pt x="9464" y="43349"/>
                    <a:pt x="9599" y="43494"/>
                    <a:pt x="9746" y="43494"/>
                  </a:cubicBezTo>
                  <a:cubicBezTo>
                    <a:pt x="9788" y="43494"/>
                    <a:pt x="9831" y="43482"/>
                    <a:pt x="9871" y="43456"/>
                  </a:cubicBezTo>
                  <a:cubicBezTo>
                    <a:pt x="9895" y="43427"/>
                    <a:pt x="9923" y="43415"/>
                    <a:pt x="9953" y="43415"/>
                  </a:cubicBezTo>
                  <a:cubicBezTo>
                    <a:pt x="10121" y="43415"/>
                    <a:pt x="10376" y="43771"/>
                    <a:pt x="10503" y="43847"/>
                  </a:cubicBezTo>
                  <a:cubicBezTo>
                    <a:pt x="10654" y="43967"/>
                    <a:pt x="10835" y="44208"/>
                    <a:pt x="10564" y="44208"/>
                  </a:cubicBezTo>
                  <a:cubicBezTo>
                    <a:pt x="10323" y="44208"/>
                    <a:pt x="10353" y="44659"/>
                    <a:pt x="10534" y="44689"/>
                  </a:cubicBezTo>
                  <a:cubicBezTo>
                    <a:pt x="10744" y="44719"/>
                    <a:pt x="10684" y="44960"/>
                    <a:pt x="10684" y="45111"/>
                  </a:cubicBezTo>
                  <a:cubicBezTo>
                    <a:pt x="10684" y="45243"/>
                    <a:pt x="11197" y="45422"/>
                    <a:pt x="11463" y="45422"/>
                  </a:cubicBezTo>
                  <a:cubicBezTo>
                    <a:pt x="11500" y="45422"/>
                    <a:pt x="11532" y="45419"/>
                    <a:pt x="11557" y="45412"/>
                  </a:cubicBezTo>
                  <a:cubicBezTo>
                    <a:pt x="11588" y="45398"/>
                    <a:pt x="11620" y="45392"/>
                    <a:pt x="11651" y="45392"/>
                  </a:cubicBezTo>
                  <a:cubicBezTo>
                    <a:pt x="11828" y="45392"/>
                    <a:pt x="11996" y="45589"/>
                    <a:pt x="12098" y="45743"/>
                  </a:cubicBezTo>
                  <a:cubicBezTo>
                    <a:pt x="12166" y="45878"/>
                    <a:pt x="12420" y="45997"/>
                    <a:pt x="12606" y="45997"/>
                  </a:cubicBezTo>
                  <a:cubicBezTo>
                    <a:pt x="12668" y="45997"/>
                    <a:pt x="12723" y="45983"/>
                    <a:pt x="12761" y="45953"/>
                  </a:cubicBezTo>
                  <a:cubicBezTo>
                    <a:pt x="12778" y="45943"/>
                    <a:pt x="12795" y="45938"/>
                    <a:pt x="12812" y="45938"/>
                  </a:cubicBezTo>
                  <a:cubicBezTo>
                    <a:pt x="12938" y="45938"/>
                    <a:pt x="13035" y="46219"/>
                    <a:pt x="13062" y="46405"/>
                  </a:cubicBezTo>
                  <a:cubicBezTo>
                    <a:pt x="13077" y="46525"/>
                    <a:pt x="13182" y="46555"/>
                    <a:pt x="13306" y="46555"/>
                  </a:cubicBezTo>
                  <a:cubicBezTo>
                    <a:pt x="13430" y="46555"/>
                    <a:pt x="13573" y="46525"/>
                    <a:pt x="13663" y="46525"/>
                  </a:cubicBezTo>
                  <a:cubicBezTo>
                    <a:pt x="13834" y="46525"/>
                    <a:pt x="13979" y="46768"/>
                    <a:pt x="14121" y="46768"/>
                  </a:cubicBezTo>
                  <a:cubicBezTo>
                    <a:pt x="14129" y="46768"/>
                    <a:pt x="14137" y="46768"/>
                    <a:pt x="14145" y="46766"/>
                  </a:cubicBezTo>
                  <a:cubicBezTo>
                    <a:pt x="14154" y="46762"/>
                    <a:pt x="14164" y="46760"/>
                    <a:pt x="14174" y="46760"/>
                  </a:cubicBezTo>
                  <a:cubicBezTo>
                    <a:pt x="14328" y="46760"/>
                    <a:pt x="14577" y="47179"/>
                    <a:pt x="14747" y="47518"/>
                  </a:cubicBezTo>
                  <a:lnTo>
                    <a:pt x="36566" y="47368"/>
                  </a:lnTo>
                  <a:cubicBezTo>
                    <a:pt x="36566" y="47368"/>
                    <a:pt x="36588" y="46970"/>
                    <a:pt x="36746" y="46970"/>
                  </a:cubicBezTo>
                  <a:cubicBezTo>
                    <a:pt x="36772" y="46970"/>
                    <a:pt x="36802" y="46981"/>
                    <a:pt x="36836" y="47007"/>
                  </a:cubicBezTo>
                  <a:cubicBezTo>
                    <a:pt x="37047" y="47217"/>
                    <a:pt x="36867" y="47518"/>
                    <a:pt x="37167" y="47609"/>
                  </a:cubicBezTo>
                  <a:cubicBezTo>
                    <a:pt x="37427" y="47712"/>
                    <a:pt x="37642" y="47861"/>
                    <a:pt x="37793" y="47861"/>
                  </a:cubicBezTo>
                  <a:cubicBezTo>
                    <a:pt x="37817" y="47861"/>
                    <a:pt x="37839" y="47858"/>
                    <a:pt x="37860" y="47849"/>
                  </a:cubicBezTo>
                  <a:cubicBezTo>
                    <a:pt x="37949" y="47796"/>
                    <a:pt x="38091" y="47700"/>
                    <a:pt x="38242" y="47700"/>
                  </a:cubicBezTo>
                  <a:cubicBezTo>
                    <a:pt x="38346" y="47700"/>
                    <a:pt x="38454" y="47745"/>
                    <a:pt x="38552" y="47879"/>
                  </a:cubicBezTo>
                  <a:cubicBezTo>
                    <a:pt x="38674" y="48028"/>
                    <a:pt x="38795" y="48049"/>
                    <a:pt x="38906" y="48049"/>
                  </a:cubicBezTo>
                  <a:cubicBezTo>
                    <a:pt x="38950" y="48049"/>
                    <a:pt x="38992" y="48046"/>
                    <a:pt x="39032" y="48046"/>
                  </a:cubicBezTo>
                  <a:cubicBezTo>
                    <a:pt x="39115" y="48046"/>
                    <a:pt x="39188" y="48061"/>
                    <a:pt x="39244" y="48150"/>
                  </a:cubicBezTo>
                  <a:cubicBezTo>
                    <a:pt x="39340" y="48284"/>
                    <a:pt x="39496" y="48394"/>
                    <a:pt x="39660" y="48394"/>
                  </a:cubicBezTo>
                  <a:cubicBezTo>
                    <a:pt x="39753" y="48394"/>
                    <a:pt x="39849" y="48358"/>
                    <a:pt x="39936" y="48271"/>
                  </a:cubicBezTo>
                  <a:cubicBezTo>
                    <a:pt x="39998" y="48191"/>
                    <a:pt x="40094" y="48161"/>
                    <a:pt x="40205" y="48161"/>
                  </a:cubicBezTo>
                  <a:cubicBezTo>
                    <a:pt x="40474" y="48161"/>
                    <a:pt x="40837" y="48336"/>
                    <a:pt x="41050" y="48421"/>
                  </a:cubicBezTo>
                  <a:cubicBezTo>
                    <a:pt x="41062" y="48425"/>
                    <a:pt x="41074" y="48426"/>
                    <a:pt x="41086" y="48426"/>
                  </a:cubicBezTo>
                  <a:cubicBezTo>
                    <a:pt x="41382" y="48426"/>
                    <a:pt x="41756" y="47428"/>
                    <a:pt x="42103" y="47428"/>
                  </a:cubicBezTo>
                  <a:cubicBezTo>
                    <a:pt x="42494" y="47428"/>
                    <a:pt x="43698" y="47548"/>
                    <a:pt x="43758" y="48150"/>
                  </a:cubicBezTo>
                  <a:cubicBezTo>
                    <a:pt x="43849" y="48752"/>
                    <a:pt x="44541" y="48180"/>
                    <a:pt x="44631" y="48752"/>
                  </a:cubicBezTo>
                  <a:cubicBezTo>
                    <a:pt x="44691" y="49324"/>
                    <a:pt x="45143" y="49625"/>
                    <a:pt x="45082" y="49836"/>
                  </a:cubicBezTo>
                  <a:lnTo>
                    <a:pt x="45534" y="50167"/>
                  </a:lnTo>
                  <a:cubicBezTo>
                    <a:pt x="45622" y="50160"/>
                    <a:pt x="45711" y="50156"/>
                    <a:pt x="45801" y="50156"/>
                  </a:cubicBezTo>
                  <a:cubicBezTo>
                    <a:pt x="46113" y="50156"/>
                    <a:pt x="46434" y="50200"/>
                    <a:pt x="46738" y="50317"/>
                  </a:cubicBezTo>
                  <a:cubicBezTo>
                    <a:pt x="46856" y="50369"/>
                    <a:pt x="46989" y="50382"/>
                    <a:pt x="47126" y="50382"/>
                  </a:cubicBezTo>
                  <a:cubicBezTo>
                    <a:pt x="47278" y="50382"/>
                    <a:pt x="47435" y="50366"/>
                    <a:pt x="47583" y="50366"/>
                  </a:cubicBezTo>
                  <a:cubicBezTo>
                    <a:pt x="47846" y="50366"/>
                    <a:pt x="48082" y="50418"/>
                    <a:pt x="48212" y="50708"/>
                  </a:cubicBezTo>
                  <a:cubicBezTo>
                    <a:pt x="48453" y="51310"/>
                    <a:pt x="49025" y="51762"/>
                    <a:pt x="48453" y="51792"/>
                  </a:cubicBezTo>
                  <a:cubicBezTo>
                    <a:pt x="48440" y="51792"/>
                    <a:pt x="48428" y="51793"/>
                    <a:pt x="48415" y="51793"/>
                  </a:cubicBezTo>
                  <a:cubicBezTo>
                    <a:pt x="48016" y="51793"/>
                    <a:pt x="47640" y="51453"/>
                    <a:pt x="47507" y="51453"/>
                  </a:cubicBezTo>
                  <a:cubicBezTo>
                    <a:pt x="47464" y="51453"/>
                    <a:pt x="47446" y="51488"/>
                    <a:pt x="47460" y="51581"/>
                  </a:cubicBezTo>
                  <a:cubicBezTo>
                    <a:pt x="47490" y="51942"/>
                    <a:pt x="47219" y="51732"/>
                    <a:pt x="47219" y="52243"/>
                  </a:cubicBezTo>
                  <a:cubicBezTo>
                    <a:pt x="47219" y="52774"/>
                    <a:pt x="46901" y="53508"/>
                    <a:pt x="46661" y="53508"/>
                  </a:cubicBezTo>
                  <a:cubicBezTo>
                    <a:pt x="46657" y="53508"/>
                    <a:pt x="46652" y="53508"/>
                    <a:pt x="46647" y="53507"/>
                  </a:cubicBezTo>
                  <a:lnTo>
                    <a:pt x="46617" y="53507"/>
                  </a:lnTo>
                  <a:cubicBezTo>
                    <a:pt x="46557" y="53718"/>
                    <a:pt x="46617" y="53928"/>
                    <a:pt x="46768" y="54109"/>
                  </a:cubicBezTo>
                  <a:cubicBezTo>
                    <a:pt x="47027" y="53907"/>
                    <a:pt x="47369" y="53595"/>
                    <a:pt x="47714" y="53595"/>
                  </a:cubicBezTo>
                  <a:cubicBezTo>
                    <a:pt x="47730" y="53595"/>
                    <a:pt x="47745" y="53596"/>
                    <a:pt x="47761" y="53597"/>
                  </a:cubicBezTo>
                  <a:cubicBezTo>
                    <a:pt x="48000" y="53641"/>
                    <a:pt x="48239" y="53810"/>
                    <a:pt x="48478" y="53810"/>
                  </a:cubicBezTo>
                  <a:cubicBezTo>
                    <a:pt x="48570" y="53810"/>
                    <a:pt x="48662" y="53785"/>
                    <a:pt x="48754" y="53718"/>
                  </a:cubicBezTo>
                  <a:cubicBezTo>
                    <a:pt x="48981" y="53573"/>
                    <a:pt x="49095" y="53457"/>
                    <a:pt x="49173" y="53457"/>
                  </a:cubicBezTo>
                  <a:cubicBezTo>
                    <a:pt x="49209" y="53457"/>
                    <a:pt x="49237" y="53481"/>
                    <a:pt x="49266" y="53537"/>
                  </a:cubicBezTo>
                  <a:lnTo>
                    <a:pt x="49266" y="53597"/>
                  </a:lnTo>
                  <a:lnTo>
                    <a:pt x="49476" y="53417"/>
                  </a:lnTo>
                  <a:cubicBezTo>
                    <a:pt x="49476" y="53327"/>
                    <a:pt x="49476" y="53206"/>
                    <a:pt x="49446" y="53116"/>
                  </a:cubicBezTo>
                  <a:cubicBezTo>
                    <a:pt x="49316" y="53126"/>
                    <a:pt x="49219" y="53136"/>
                    <a:pt x="49144" y="53136"/>
                  </a:cubicBezTo>
                  <a:cubicBezTo>
                    <a:pt x="48995" y="53136"/>
                    <a:pt x="48935" y="53096"/>
                    <a:pt x="48874" y="52935"/>
                  </a:cubicBezTo>
                  <a:cubicBezTo>
                    <a:pt x="48819" y="52688"/>
                    <a:pt x="49740" y="52292"/>
                    <a:pt x="50336" y="52292"/>
                  </a:cubicBezTo>
                  <a:cubicBezTo>
                    <a:pt x="50394" y="52292"/>
                    <a:pt x="50449" y="52295"/>
                    <a:pt x="50499" y="52303"/>
                  </a:cubicBezTo>
                  <a:cubicBezTo>
                    <a:pt x="50544" y="52308"/>
                    <a:pt x="50588" y="52310"/>
                    <a:pt x="50630" y="52310"/>
                  </a:cubicBezTo>
                  <a:cubicBezTo>
                    <a:pt x="50999" y="52310"/>
                    <a:pt x="51257" y="52146"/>
                    <a:pt x="51433" y="52146"/>
                  </a:cubicBezTo>
                  <a:cubicBezTo>
                    <a:pt x="51492" y="52146"/>
                    <a:pt x="51541" y="52165"/>
                    <a:pt x="51583" y="52213"/>
                  </a:cubicBezTo>
                  <a:cubicBezTo>
                    <a:pt x="51602" y="52238"/>
                    <a:pt x="51627" y="52250"/>
                    <a:pt x="51657" y="52250"/>
                  </a:cubicBezTo>
                  <a:cubicBezTo>
                    <a:pt x="51909" y="52250"/>
                    <a:pt x="52502" y="51431"/>
                    <a:pt x="52636" y="51431"/>
                  </a:cubicBezTo>
                  <a:lnTo>
                    <a:pt x="55345" y="51431"/>
                  </a:lnTo>
                  <a:cubicBezTo>
                    <a:pt x="55345" y="51431"/>
                    <a:pt x="56217" y="50889"/>
                    <a:pt x="56338" y="50407"/>
                  </a:cubicBezTo>
                  <a:cubicBezTo>
                    <a:pt x="56419" y="49975"/>
                    <a:pt x="56889" y="48983"/>
                    <a:pt x="57224" y="48983"/>
                  </a:cubicBezTo>
                  <a:cubicBezTo>
                    <a:pt x="57261" y="48983"/>
                    <a:pt x="57297" y="48996"/>
                    <a:pt x="57331" y="49023"/>
                  </a:cubicBezTo>
                  <a:cubicBezTo>
                    <a:pt x="57662" y="49294"/>
                    <a:pt x="58354" y="49053"/>
                    <a:pt x="58384" y="49324"/>
                  </a:cubicBezTo>
                  <a:cubicBezTo>
                    <a:pt x="58324" y="50106"/>
                    <a:pt x="58565" y="50889"/>
                    <a:pt x="59076" y="51491"/>
                  </a:cubicBezTo>
                  <a:cubicBezTo>
                    <a:pt x="59317" y="51310"/>
                    <a:pt x="59588" y="51220"/>
                    <a:pt x="59889" y="51160"/>
                  </a:cubicBezTo>
                  <a:cubicBezTo>
                    <a:pt x="59899" y="51161"/>
                    <a:pt x="59908" y="51161"/>
                    <a:pt x="59919" y="51161"/>
                  </a:cubicBezTo>
                  <a:cubicBezTo>
                    <a:pt x="60222" y="51161"/>
                    <a:pt x="60706" y="50731"/>
                    <a:pt x="60852" y="50498"/>
                  </a:cubicBezTo>
                  <a:cubicBezTo>
                    <a:pt x="60883" y="50442"/>
                    <a:pt x="60914" y="50419"/>
                    <a:pt x="60941" y="50419"/>
                  </a:cubicBezTo>
                  <a:cubicBezTo>
                    <a:pt x="61047" y="50419"/>
                    <a:pt x="61097" y="50757"/>
                    <a:pt x="60882" y="50829"/>
                  </a:cubicBezTo>
                  <a:cubicBezTo>
                    <a:pt x="60611" y="50889"/>
                    <a:pt x="61093" y="51130"/>
                    <a:pt x="61604" y="51130"/>
                  </a:cubicBezTo>
                  <a:cubicBezTo>
                    <a:pt x="62086" y="51130"/>
                    <a:pt x="61364" y="51280"/>
                    <a:pt x="61003" y="51280"/>
                  </a:cubicBezTo>
                  <a:cubicBezTo>
                    <a:pt x="60611" y="51280"/>
                    <a:pt x="60461" y="51310"/>
                    <a:pt x="59979" y="51792"/>
                  </a:cubicBezTo>
                  <a:cubicBezTo>
                    <a:pt x="59498" y="52303"/>
                    <a:pt x="59588" y="52454"/>
                    <a:pt x="59889" y="52664"/>
                  </a:cubicBezTo>
                  <a:cubicBezTo>
                    <a:pt x="60005" y="52757"/>
                    <a:pt x="60129" y="52800"/>
                    <a:pt x="60259" y="52800"/>
                  </a:cubicBezTo>
                  <a:cubicBezTo>
                    <a:pt x="60467" y="52800"/>
                    <a:pt x="60690" y="52688"/>
                    <a:pt x="60912" y="52484"/>
                  </a:cubicBezTo>
                  <a:cubicBezTo>
                    <a:pt x="61274" y="52177"/>
                    <a:pt x="61301" y="51845"/>
                    <a:pt x="61590" y="51845"/>
                  </a:cubicBezTo>
                  <a:cubicBezTo>
                    <a:pt x="61613" y="51845"/>
                    <a:pt x="61638" y="51847"/>
                    <a:pt x="61665" y="51852"/>
                  </a:cubicBezTo>
                  <a:cubicBezTo>
                    <a:pt x="61678" y="51853"/>
                    <a:pt x="61692" y="51853"/>
                    <a:pt x="61707" y="51853"/>
                  </a:cubicBezTo>
                  <a:cubicBezTo>
                    <a:pt x="62123" y="51853"/>
                    <a:pt x="63064" y="51457"/>
                    <a:pt x="63500" y="51340"/>
                  </a:cubicBezTo>
                  <a:cubicBezTo>
                    <a:pt x="63952" y="51250"/>
                    <a:pt x="63651" y="51130"/>
                    <a:pt x="63651" y="50949"/>
                  </a:cubicBezTo>
                  <a:cubicBezTo>
                    <a:pt x="63651" y="50738"/>
                    <a:pt x="64463" y="50738"/>
                    <a:pt x="64704" y="50558"/>
                  </a:cubicBezTo>
                  <a:cubicBezTo>
                    <a:pt x="64946" y="50397"/>
                    <a:pt x="64732" y="50187"/>
                    <a:pt x="64490" y="50187"/>
                  </a:cubicBezTo>
                  <a:cubicBezTo>
                    <a:pt x="64461" y="50187"/>
                    <a:pt x="64432" y="50190"/>
                    <a:pt x="64403" y="50197"/>
                  </a:cubicBezTo>
                  <a:cubicBezTo>
                    <a:pt x="64396" y="50198"/>
                    <a:pt x="64388" y="50198"/>
                    <a:pt x="64382" y="50198"/>
                  </a:cubicBezTo>
                  <a:cubicBezTo>
                    <a:pt x="64206" y="50198"/>
                    <a:pt x="64374" y="49829"/>
                    <a:pt x="64403" y="49655"/>
                  </a:cubicBezTo>
                  <a:cubicBezTo>
                    <a:pt x="64417" y="49613"/>
                    <a:pt x="64398" y="49596"/>
                    <a:pt x="64359" y="49596"/>
                  </a:cubicBezTo>
                  <a:cubicBezTo>
                    <a:pt x="64229" y="49596"/>
                    <a:pt x="63885" y="49794"/>
                    <a:pt x="63862" y="49956"/>
                  </a:cubicBezTo>
                  <a:cubicBezTo>
                    <a:pt x="63801" y="50197"/>
                    <a:pt x="63470" y="50287"/>
                    <a:pt x="63470" y="50407"/>
                  </a:cubicBezTo>
                  <a:cubicBezTo>
                    <a:pt x="63470" y="50528"/>
                    <a:pt x="63410" y="50648"/>
                    <a:pt x="63139" y="50738"/>
                  </a:cubicBezTo>
                  <a:cubicBezTo>
                    <a:pt x="63065" y="50771"/>
                    <a:pt x="62928" y="50786"/>
                    <a:pt x="62767" y="50786"/>
                  </a:cubicBezTo>
                  <a:cubicBezTo>
                    <a:pt x="62338" y="50786"/>
                    <a:pt x="61738" y="50681"/>
                    <a:pt x="61695" y="50528"/>
                  </a:cubicBezTo>
                  <a:cubicBezTo>
                    <a:pt x="61665" y="50287"/>
                    <a:pt x="60882" y="50137"/>
                    <a:pt x="60882" y="49805"/>
                  </a:cubicBezTo>
                  <a:cubicBezTo>
                    <a:pt x="60882" y="49474"/>
                    <a:pt x="60431" y="49354"/>
                    <a:pt x="60762" y="49023"/>
                  </a:cubicBezTo>
                  <a:cubicBezTo>
                    <a:pt x="60987" y="48798"/>
                    <a:pt x="60878" y="48615"/>
                    <a:pt x="60691" y="48615"/>
                  </a:cubicBezTo>
                  <a:cubicBezTo>
                    <a:pt x="60603" y="48615"/>
                    <a:pt x="60497" y="48656"/>
                    <a:pt x="60401" y="48752"/>
                  </a:cubicBezTo>
                  <a:cubicBezTo>
                    <a:pt x="60331" y="48821"/>
                    <a:pt x="60270" y="48849"/>
                    <a:pt x="60222" y="48849"/>
                  </a:cubicBezTo>
                  <a:cubicBezTo>
                    <a:pt x="60059" y="48849"/>
                    <a:pt x="60039" y="48537"/>
                    <a:pt x="60340" y="48421"/>
                  </a:cubicBezTo>
                  <a:cubicBezTo>
                    <a:pt x="60762" y="48271"/>
                    <a:pt x="61484" y="48120"/>
                    <a:pt x="61093" y="47398"/>
                  </a:cubicBezTo>
                  <a:cubicBezTo>
                    <a:pt x="60998" y="47209"/>
                    <a:pt x="60763" y="47136"/>
                    <a:pt x="60455" y="47136"/>
                  </a:cubicBezTo>
                  <a:cubicBezTo>
                    <a:pt x="59584" y="47136"/>
                    <a:pt x="58137" y="47725"/>
                    <a:pt x="57692" y="47970"/>
                  </a:cubicBezTo>
                  <a:cubicBezTo>
                    <a:pt x="57090" y="48301"/>
                    <a:pt x="56278" y="49444"/>
                    <a:pt x="55947" y="49444"/>
                  </a:cubicBezTo>
                  <a:cubicBezTo>
                    <a:pt x="55616" y="49444"/>
                    <a:pt x="56549" y="48842"/>
                    <a:pt x="56669" y="48602"/>
                  </a:cubicBezTo>
                  <a:cubicBezTo>
                    <a:pt x="56771" y="48422"/>
                    <a:pt x="56699" y="48221"/>
                    <a:pt x="56787" y="48221"/>
                  </a:cubicBezTo>
                  <a:cubicBezTo>
                    <a:pt x="56802" y="48221"/>
                    <a:pt x="56823" y="48227"/>
                    <a:pt x="56849" y="48241"/>
                  </a:cubicBezTo>
                  <a:cubicBezTo>
                    <a:pt x="56856" y="48243"/>
                    <a:pt x="56863" y="48244"/>
                    <a:pt x="56870" y="48244"/>
                  </a:cubicBezTo>
                  <a:cubicBezTo>
                    <a:pt x="57068" y="48244"/>
                    <a:pt x="57585" y="47479"/>
                    <a:pt x="57933" y="47217"/>
                  </a:cubicBezTo>
                  <a:cubicBezTo>
                    <a:pt x="58324" y="46946"/>
                    <a:pt x="58745" y="47187"/>
                    <a:pt x="58776" y="46946"/>
                  </a:cubicBezTo>
                  <a:cubicBezTo>
                    <a:pt x="58806" y="46736"/>
                    <a:pt x="58986" y="46585"/>
                    <a:pt x="59347" y="46284"/>
                  </a:cubicBezTo>
                  <a:cubicBezTo>
                    <a:pt x="59623" y="46034"/>
                    <a:pt x="62595" y="46013"/>
                    <a:pt x="63822" y="46013"/>
                  </a:cubicBezTo>
                  <a:cubicBezTo>
                    <a:pt x="64067" y="46013"/>
                    <a:pt x="64243" y="46014"/>
                    <a:pt x="64313" y="46014"/>
                  </a:cubicBezTo>
                  <a:cubicBezTo>
                    <a:pt x="64704" y="46014"/>
                    <a:pt x="65517" y="45472"/>
                    <a:pt x="65727" y="45141"/>
                  </a:cubicBezTo>
                  <a:cubicBezTo>
                    <a:pt x="65968" y="44810"/>
                    <a:pt x="66269" y="44810"/>
                    <a:pt x="66811" y="44810"/>
                  </a:cubicBezTo>
                  <a:cubicBezTo>
                    <a:pt x="67383" y="44810"/>
                    <a:pt x="67653" y="44358"/>
                    <a:pt x="67924" y="44178"/>
                  </a:cubicBezTo>
                  <a:cubicBezTo>
                    <a:pt x="68165" y="43967"/>
                    <a:pt x="68105" y="43877"/>
                    <a:pt x="67834" y="43817"/>
                  </a:cubicBezTo>
                  <a:cubicBezTo>
                    <a:pt x="67563" y="43787"/>
                    <a:pt x="67383" y="43606"/>
                    <a:pt x="67623" y="43606"/>
                  </a:cubicBezTo>
                  <a:cubicBezTo>
                    <a:pt x="67834" y="43606"/>
                    <a:pt x="67985" y="43456"/>
                    <a:pt x="68105" y="43124"/>
                  </a:cubicBezTo>
                  <a:cubicBezTo>
                    <a:pt x="68225" y="42763"/>
                    <a:pt x="68015" y="42974"/>
                    <a:pt x="67684" y="42523"/>
                  </a:cubicBezTo>
                  <a:cubicBezTo>
                    <a:pt x="67592" y="42398"/>
                    <a:pt x="67512" y="42353"/>
                    <a:pt x="67436" y="42353"/>
                  </a:cubicBezTo>
                  <a:cubicBezTo>
                    <a:pt x="67252" y="42353"/>
                    <a:pt x="67095" y="42617"/>
                    <a:pt x="66862" y="42617"/>
                  </a:cubicBezTo>
                  <a:cubicBezTo>
                    <a:pt x="66845" y="42617"/>
                    <a:pt x="66828" y="42616"/>
                    <a:pt x="66811" y="42613"/>
                  </a:cubicBezTo>
                  <a:cubicBezTo>
                    <a:pt x="66480" y="42583"/>
                    <a:pt x="67052" y="42161"/>
                    <a:pt x="66781" y="41981"/>
                  </a:cubicBezTo>
                  <a:cubicBezTo>
                    <a:pt x="66697" y="41925"/>
                    <a:pt x="66587" y="41898"/>
                    <a:pt x="66463" y="41898"/>
                  </a:cubicBezTo>
                  <a:cubicBezTo>
                    <a:pt x="66186" y="41898"/>
                    <a:pt x="65838" y="42032"/>
                    <a:pt x="65547" y="42282"/>
                  </a:cubicBezTo>
                  <a:cubicBezTo>
                    <a:pt x="65382" y="42434"/>
                    <a:pt x="65287" y="42463"/>
                    <a:pt x="65210" y="42463"/>
                  </a:cubicBezTo>
                  <a:cubicBezTo>
                    <a:pt x="65163" y="42463"/>
                    <a:pt x="65123" y="42453"/>
                    <a:pt x="65078" y="42453"/>
                  </a:cubicBezTo>
                  <a:cubicBezTo>
                    <a:pt x="65009" y="42453"/>
                    <a:pt x="64929" y="42479"/>
                    <a:pt x="64794" y="42613"/>
                  </a:cubicBezTo>
                  <a:cubicBezTo>
                    <a:pt x="64698" y="42709"/>
                    <a:pt x="64625" y="42747"/>
                    <a:pt x="64573" y="42747"/>
                  </a:cubicBezTo>
                  <a:cubicBezTo>
                    <a:pt x="64416" y="42747"/>
                    <a:pt x="64455" y="42395"/>
                    <a:pt x="64614" y="42282"/>
                  </a:cubicBezTo>
                  <a:cubicBezTo>
                    <a:pt x="64689" y="42219"/>
                    <a:pt x="64754" y="42214"/>
                    <a:pt x="64815" y="42214"/>
                  </a:cubicBezTo>
                  <a:cubicBezTo>
                    <a:pt x="64827" y="42214"/>
                    <a:pt x="64839" y="42214"/>
                    <a:pt x="64851" y="42214"/>
                  </a:cubicBezTo>
                  <a:cubicBezTo>
                    <a:pt x="64922" y="42214"/>
                    <a:pt x="64990" y="42207"/>
                    <a:pt x="65065" y="42101"/>
                  </a:cubicBezTo>
                  <a:cubicBezTo>
                    <a:pt x="65216" y="41860"/>
                    <a:pt x="65396" y="42101"/>
                    <a:pt x="65758" y="41830"/>
                  </a:cubicBezTo>
                  <a:cubicBezTo>
                    <a:pt x="66149" y="41560"/>
                    <a:pt x="66510" y="41680"/>
                    <a:pt x="66660" y="41499"/>
                  </a:cubicBezTo>
                  <a:cubicBezTo>
                    <a:pt x="66796" y="41336"/>
                    <a:pt x="66515" y="41100"/>
                    <a:pt x="66171" y="41100"/>
                  </a:cubicBezTo>
                  <a:cubicBezTo>
                    <a:pt x="66134" y="41100"/>
                    <a:pt x="66096" y="41102"/>
                    <a:pt x="66058" y="41108"/>
                  </a:cubicBezTo>
                  <a:cubicBezTo>
                    <a:pt x="66033" y="41114"/>
                    <a:pt x="66008" y="41117"/>
                    <a:pt x="65983" y="41117"/>
                  </a:cubicBezTo>
                  <a:cubicBezTo>
                    <a:pt x="65705" y="41117"/>
                    <a:pt x="65480" y="40743"/>
                    <a:pt x="65263" y="40743"/>
                  </a:cubicBezTo>
                  <a:cubicBezTo>
                    <a:pt x="65227" y="40743"/>
                    <a:pt x="65191" y="40753"/>
                    <a:pt x="65156" y="40777"/>
                  </a:cubicBezTo>
                  <a:cubicBezTo>
                    <a:pt x="65114" y="40808"/>
                    <a:pt x="65081" y="40821"/>
                    <a:pt x="65054" y="40821"/>
                  </a:cubicBezTo>
                  <a:cubicBezTo>
                    <a:pt x="64956" y="40821"/>
                    <a:pt x="64934" y="40660"/>
                    <a:pt x="64831" y="40660"/>
                  </a:cubicBezTo>
                  <a:cubicBezTo>
                    <a:pt x="64798" y="40660"/>
                    <a:pt x="64758" y="40675"/>
                    <a:pt x="64704" y="40717"/>
                  </a:cubicBezTo>
                  <a:cubicBezTo>
                    <a:pt x="64651" y="40757"/>
                    <a:pt x="64599" y="40775"/>
                    <a:pt x="64550" y="40775"/>
                  </a:cubicBezTo>
                  <a:cubicBezTo>
                    <a:pt x="64376" y="40775"/>
                    <a:pt x="64233" y="40553"/>
                    <a:pt x="64162" y="40296"/>
                  </a:cubicBezTo>
                  <a:cubicBezTo>
                    <a:pt x="64042" y="39965"/>
                    <a:pt x="63260" y="39423"/>
                    <a:pt x="62808" y="39272"/>
                  </a:cubicBezTo>
                  <a:cubicBezTo>
                    <a:pt x="62481" y="39163"/>
                    <a:pt x="62549" y="39022"/>
                    <a:pt x="62704" y="39022"/>
                  </a:cubicBezTo>
                  <a:cubicBezTo>
                    <a:pt x="62762" y="39022"/>
                    <a:pt x="62833" y="39042"/>
                    <a:pt x="62899" y="39092"/>
                  </a:cubicBezTo>
                  <a:cubicBezTo>
                    <a:pt x="62950" y="39126"/>
                    <a:pt x="63001" y="39141"/>
                    <a:pt x="63052" y="39141"/>
                  </a:cubicBezTo>
                  <a:cubicBezTo>
                    <a:pt x="63267" y="39141"/>
                    <a:pt x="63463" y="38871"/>
                    <a:pt x="63561" y="38701"/>
                  </a:cubicBezTo>
                  <a:cubicBezTo>
                    <a:pt x="63651" y="38520"/>
                    <a:pt x="63350" y="38400"/>
                    <a:pt x="63199" y="38370"/>
                  </a:cubicBezTo>
                  <a:cubicBezTo>
                    <a:pt x="63049" y="38339"/>
                    <a:pt x="63049" y="38159"/>
                    <a:pt x="63109" y="37948"/>
                  </a:cubicBezTo>
                  <a:cubicBezTo>
                    <a:pt x="63139" y="37768"/>
                    <a:pt x="62598" y="37557"/>
                    <a:pt x="62598" y="37406"/>
                  </a:cubicBezTo>
                  <a:cubicBezTo>
                    <a:pt x="62598" y="37256"/>
                    <a:pt x="62267" y="37106"/>
                    <a:pt x="62297" y="36895"/>
                  </a:cubicBezTo>
                  <a:cubicBezTo>
                    <a:pt x="62357" y="36714"/>
                    <a:pt x="61996" y="36534"/>
                    <a:pt x="61996" y="36353"/>
                  </a:cubicBezTo>
                  <a:cubicBezTo>
                    <a:pt x="61996" y="36143"/>
                    <a:pt x="61484" y="35691"/>
                    <a:pt x="61454" y="35450"/>
                  </a:cubicBezTo>
                  <a:cubicBezTo>
                    <a:pt x="61394" y="35179"/>
                    <a:pt x="61153" y="35029"/>
                    <a:pt x="61063" y="34728"/>
                  </a:cubicBezTo>
                  <a:cubicBezTo>
                    <a:pt x="61041" y="34620"/>
                    <a:pt x="61000" y="34570"/>
                    <a:pt x="60952" y="34570"/>
                  </a:cubicBezTo>
                  <a:cubicBezTo>
                    <a:pt x="60867" y="34570"/>
                    <a:pt x="60759" y="34729"/>
                    <a:pt x="60702" y="34999"/>
                  </a:cubicBezTo>
                  <a:cubicBezTo>
                    <a:pt x="60581" y="35390"/>
                    <a:pt x="60250" y="35390"/>
                    <a:pt x="60340" y="35541"/>
                  </a:cubicBezTo>
                  <a:cubicBezTo>
                    <a:pt x="60461" y="35691"/>
                    <a:pt x="60401" y="35811"/>
                    <a:pt x="60250" y="35992"/>
                  </a:cubicBezTo>
                  <a:cubicBezTo>
                    <a:pt x="60100" y="36203"/>
                    <a:pt x="60340" y="36443"/>
                    <a:pt x="60100" y="36443"/>
                  </a:cubicBezTo>
                  <a:cubicBezTo>
                    <a:pt x="59878" y="36443"/>
                    <a:pt x="59918" y="36806"/>
                    <a:pt x="59858" y="36806"/>
                  </a:cubicBezTo>
                  <a:cubicBezTo>
                    <a:pt x="59845" y="36806"/>
                    <a:pt x="59826" y="36788"/>
                    <a:pt x="59799" y="36744"/>
                  </a:cubicBezTo>
                  <a:cubicBezTo>
                    <a:pt x="59720" y="36652"/>
                    <a:pt x="59612" y="36606"/>
                    <a:pt x="59516" y="36606"/>
                  </a:cubicBezTo>
                  <a:cubicBezTo>
                    <a:pt x="59392" y="36606"/>
                    <a:pt x="59287" y="36682"/>
                    <a:pt x="59287" y="36835"/>
                  </a:cubicBezTo>
                  <a:cubicBezTo>
                    <a:pt x="59287" y="37106"/>
                    <a:pt x="58776" y="37286"/>
                    <a:pt x="58505" y="37286"/>
                  </a:cubicBezTo>
                  <a:cubicBezTo>
                    <a:pt x="58257" y="37286"/>
                    <a:pt x="58286" y="36884"/>
                    <a:pt x="58132" y="36884"/>
                  </a:cubicBezTo>
                  <a:cubicBezTo>
                    <a:pt x="58117" y="36884"/>
                    <a:pt x="58101" y="36887"/>
                    <a:pt x="58083" y="36895"/>
                  </a:cubicBezTo>
                  <a:cubicBezTo>
                    <a:pt x="58063" y="36908"/>
                    <a:pt x="58046" y="36914"/>
                    <a:pt x="58030" y="36914"/>
                  </a:cubicBezTo>
                  <a:cubicBezTo>
                    <a:pt x="57905" y="36914"/>
                    <a:pt x="57899" y="36534"/>
                    <a:pt x="57632" y="36534"/>
                  </a:cubicBezTo>
                  <a:cubicBezTo>
                    <a:pt x="57331" y="36534"/>
                    <a:pt x="57150" y="36534"/>
                    <a:pt x="57241" y="36263"/>
                  </a:cubicBezTo>
                  <a:cubicBezTo>
                    <a:pt x="57301" y="35992"/>
                    <a:pt x="56699" y="35842"/>
                    <a:pt x="56940" y="35691"/>
                  </a:cubicBezTo>
                  <a:cubicBezTo>
                    <a:pt x="57150" y="35541"/>
                    <a:pt x="56849" y="35300"/>
                    <a:pt x="56819" y="34788"/>
                  </a:cubicBezTo>
                  <a:cubicBezTo>
                    <a:pt x="56759" y="34307"/>
                    <a:pt x="57060" y="34307"/>
                    <a:pt x="57060" y="34156"/>
                  </a:cubicBezTo>
                  <a:cubicBezTo>
                    <a:pt x="57060" y="34074"/>
                    <a:pt x="57006" y="34027"/>
                    <a:pt x="56922" y="34027"/>
                  </a:cubicBezTo>
                  <a:cubicBezTo>
                    <a:pt x="56853" y="34027"/>
                    <a:pt x="56764" y="34058"/>
                    <a:pt x="56669" y="34126"/>
                  </a:cubicBezTo>
                  <a:cubicBezTo>
                    <a:pt x="56624" y="34154"/>
                    <a:pt x="56588" y="34165"/>
                    <a:pt x="56557" y="34165"/>
                  </a:cubicBezTo>
                  <a:cubicBezTo>
                    <a:pt x="56421" y="34165"/>
                    <a:pt x="56389" y="33946"/>
                    <a:pt x="56217" y="33946"/>
                  </a:cubicBezTo>
                  <a:cubicBezTo>
                    <a:pt x="55977" y="33946"/>
                    <a:pt x="55315" y="33946"/>
                    <a:pt x="55285" y="33584"/>
                  </a:cubicBezTo>
                  <a:cubicBezTo>
                    <a:pt x="55224" y="33253"/>
                    <a:pt x="55014" y="33434"/>
                    <a:pt x="54893" y="33133"/>
                  </a:cubicBezTo>
                  <a:cubicBezTo>
                    <a:pt x="54833" y="32983"/>
                    <a:pt x="54743" y="32968"/>
                    <a:pt x="54668" y="32968"/>
                  </a:cubicBezTo>
                  <a:cubicBezTo>
                    <a:pt x="54649" y="32968"/>
                    <a:pt x="54631" y="32968"/>
                    <a:pt x="54615" y="32968"/>
                  </a:cubicBezTo>
                  <a:cubicBezTo>
                    <a:pt x="54566" y="32968"/>
                    <a:pt x="54532" y="32960"/>
                    <a:pt x="54532" y="32892"/>
                  </a:cubicBezTo>
                  <a:cubicBezTo>
                    <a:pt x="54532" y="32682"/>
                    <a:pt x="54412" y="32591"/>
                    <a:pt x="54171" y="32531"/>
                  </a:cubicBezTo>
                  <a:cubicBezTo>
                    <a:pt x="53960" y="32501"/>
                    <a:pt x="53930" y="32320"/>
                    <a:pt x="53599" y="32290"/>
                  </a:cubicBezTo>
                  <a:cubicBezTo>
                    <a:pt x="53328" y="32290"/>
                    <a:pt x="53058" y="32381"/>
                    <a:pt x="52817" y="32531"/>
                  </a:cubicBezTo>
                  <a:cubicBezTo>
                    <a:pt x="52798" y="32542"/>
                    <a:pt x="52776" y="32547"/>
                    <a:pt x="52752" y="32547"/>
                  </a:cubicBezTo>
                  <a:cubicBezTo>
                    <a:pt x="52599" y="32547"/>
                    <a:pt x="52339" y="32365"/>
                    <a:pt x="52169" y="32365"/>
                  </a:cubicBezTo>
                  <a:cubicBezTo>
                    <a:pt x="52142" y="32365"/>
                    <a:pt x="52117" y="32370"/>
                    <a:pt x="52094" y="32381"/>
                  </a:cubicBezTo>
                  <a:cubicBezTo>
                    <a:pt x="52060" y="32409"/>
                    <a:pt x="52031" y="32420"/>
                    <a:pt x="52002" y="32420"/>
                  </a:cubicBezTo>
                  <a:cubicBezTo>
                    <a:pt x="51907" y="32420"/>
                    <a:pt x="51809" y="32293"/>
                    <a:pt x="51462" y="32200"/>
                  </a:cubicBezTo>
                  <a:cubicBezTo>
                    <a:pt x="51224" y="32137"/>
                    <a:pt x="50961" y="32098"/>
                    <a:pt x="50757" y="32098"/>
                  </a:cubicBezTo>
                  <a:cubicBezTo>
                    <a:pt x="50574" y="32098"/>
                    <a:pt x="50438" y="32129"/>
                    <a:pt x="50409" y="32200"/>
                  </a:cubicBezTo>
                  <a:cubicBezTo>
                    <a:pt x="50379" y="32351"/>
                    <a:pt x="50048" y="32381"/>
                    <a:pt x="50078" y="32772"/>
                  </a:cubicBezTo>
                  <a:cubicBezTo>
                    <a:pt x="50108" y="33133"/>
                    <a:pt x="50530" y="33073"/>
                    <a:pt x="50590" y="33344"/>
                  </a:cubicBezTo>
                  <a:cubicBezTo>
                    <a:pt x="50680" y="33584"/>
                    <a:pt x="50409" y="33494"/>
                    <a:pt x="50409" y="33705"/>
                  </a:cubicBezTo>
                  <a:cubicBezTo>
                    <a:pt x="50409" y="33946"/>
                    <a:pt x="50168" y="33946"/>
                    <a:pt x="50168" y="34096"/>
                  </a:cubicBezTo>
                  <a:cubicBezTo>
                    <a:pt x="50168" y="34247"/>
                    <a:pt x="50319" y="34186"/>
                    <a:pt x="50409" y="34487"/>
                  </a:cubicBezTo>
                  <a:cubicBezTo>
                    <a:pt x="50530" y="34788"/>
                    <a:pt x="50680" y="34788"/>
                    <a:pt x="50710" y="35240"/>
                  </a:cubicBezTo>
                  <a:cubicBezTo>
                    <a:pt x="50770" y="35691"/>
                    <a:pt x="50560" y="35541"/>
                    <a:pt x="50409" y="35631"/>
                  </a:cubicBezTo>
                  <a:cubicBezTo>
                    <a:pt x="50259" y="35691"/>
                    <a:pt x="50409" y="35902"/>
                    <a:pt x="50199" y="36143"/>
                  </a:cubicBezTo>
                  <a:cubicBezTo>
                    <a:pt x="49958" y="36413"/>
                    <a:pt x="49747" y="36744"/>
                    <a:pt x="49928" y="36895"/>
                  </a:cubicBezTo>
                  <a:cubicBezTo>
                    <a:pt x="50108" y="37045"/>
                    <a:pt x="50830" y="37406"/>
                    <a:pt x="51101" y="37888"/>
                  </a:cubicBezTo>
                  <a:cubicBezTo>
                    <a:pt x="51342" y="38370"/>
                    <a:pt x="51342" y="39092"/>
                    <a:pt x="51282" y="39603"/>
                  </a:cubicBezTo>
                  <a:cubicBezTo>
                    <a:pt x="51222" y="40145"/>
                    <a:pt x="50590" y="40265"/>
                    <a:pt x="50168" y="40717"/>
                  </a:cubicBezTo>
                  <a:cubicBezTo>
                    <a:pt x="49907" y="40952"/>
                    <a:pt x="49577" y="41120"/>
                    <a:pt x="49218" y="41120"/>
                  </a:cubicBezTo>
                  <a:cubicBezTo>
                    <a:pt x="49164" y="41120"/>
                    <a:pt x="49110" y="41116"/>
                    <a:pt x="49055" y="41108"/>
                  </a:cubicBezTo>
                  <a:cubicBezTo>
                    <a:pt x="48844" y="41108"/>
                    <a:pt x="48995" y="41560"/>
                    <a:pt x="49266" y="41891"/>
                  </a:cubicBezTo>
                  <a:cubicBezTo>
                    <a:pt x="49506" y="42252"/>
                    <a:pt x="49326" y="42312"/>
                    <a:pt x="49476" y="42703"/>
                  </a:cubicBezTo>
                  <a:cubicBezTo>
                    <a:pt x="49627" y="43064"/>
                    <a:pt x="49476" y="43305"/>
                    <a:pt x="49687" y="43636"/>
                  </a:cubicBezTo>
                  <a:cubicBezTo>
                    <a:pt x="49928" y="43967"/>
                    <a:pt x="49777" y="44057"/>
                    <a:pt x="49506" y="44268"/>
                  </a:cubicBezTo>
                  <a:cubicBezTo>
                    <a:pt x="49266" y="44509"/>
                    <a:pt x="49627" y="44388"/>
                    <a:pt x="49657" y="44689"/>
                  </a:cubicBezTo>
                  <a:cubicBezTo>
                    <a:pt x="49669" y="44808"/>
                    <a:pt x="49648" y="44852"/>
                    <a:pt x="49605" y="44852"/>
                  </a:cubicBezTo>
                  <a:cubicBezTo>
                    <a:pt x="49539" y="44852"/>
                    <a:pt x="49423" y="44750"/>
                    <a:pt x="49296" y="44659"/>
                  </a:cubicBezTo>
                  <a:cubicBezTo>
                    <a:pt x="49262" y="44638"/>
                    <a:pt x="49230" y="44629"/>
                    <a:pt x="49199" y="44629"/>
                  </a:cubicBezTo>
                  <a:cubicBezTo>
                    <a:pt x="49008" y="44629"/>
                    <a:pt x="48874" y="44985"/>
                    <a:pt x="48874" y="45141"/>
                  </a:cubicBezTo>
                  <a:cubicBezTo>
                    <a:pt x="48874" y="45171"/>
                    <a:pt x="48858" y="45184"/>
                    <a:pt x="48831" y="45184"/>
                  </a:cubicBezTo>
                  <a:cubicBezTo>
                    <a:pt x="48701" y="45184"/>
                    <a:pt x="48314" y="44899"/>
                    <a:pt x="48195" y="44899"/>
                  </a:cubicBezTo>
                  <a:cubicBezTo>
                    <a:pt x="48190" y="44899"/>
                    <a:pt x="48186" y="44899"/>
                    <a:pt x="48182" y="44900"/>
                  </a:cubicBezTo>
                  <a:cubicBezTo>
                    <a:pt x="48175" y="44905"/>
                    <a:pt x="48170" y="44907"/>
                    <a:pt x="48166" y="44907"/>
                  </a:cubicBezTo>
                  <a:cubicBezTo>
                    <a:pt x="48112" y="44907"/>
                    <a:pt x="48220" y="44581"/>
                    <a:pt x="47941" y="44358"/>
                  </a:cubicBezTo>
                  <a:cubicBezTo>
                    <a:pt x="47640" y="44087"/>
                    <a:pt x="47370" y="44057"/>
                    <a:pt x="47370" y="43817"/>
                  </a:cubicBezTo>
                  <a:cubicBezTo>
                    <a:pt x="47370" y="43606"/>
                    <a:pt x="46798" y="43395"/>
                    <a:pt x="46798" y="43094"/>
                  </a:cubicBezTo>
                  <a:cubicBezTo>
                    <a:pt x="46858" y="42703"/>
                    <a:pt x="46828" y="42312"/>
                    <a:pt x="46768" y="41891"/>
                  </a:cubicBezTo>
                  <a:cubicBezTo>
                    <a:pt x="46647" y="41710"/>
                    <a:pt x="46677" y="41439"/>
                    <a:pt x="46828" y="41259"/>
                  </a:cubicBezTo>
                  <a:cubicBezTo>
                    <a:pt x="46948" y="41078"/>
                    <a:pt x="46738" y="40777"/>
                    <a:pt x="46407" y="40777"/>
                  </a:cubicBezTo>
                  <a:cubicBezTo>
                    <a:pt x="46015" y="40717"/>
                    <a:pt x="45624" y="40717"/>
                    <a:pt x="45233" y="40687"/>
                  </a:cubicBezTo>
                  <a:cubicBezTo>
                    <a:pt x="45140" y="40715"/>
                    <a:pt x="45047" y="40728"/>
                    <a:pt x="44955" y="40728"/>
                  </a:cubicBezTo>
                  <a:cubicBezTo>
                    <a:pt x="44751" y="40728"/>
                    <a:pt x="44556" y="40661"/>
                    <a:pt x="44390" y="40536"/>
                  </a:cubicBezTo>
                  <a:cubicBezTo>
                    <a:pt x="44059" y="40326"/>
                    <a:pt x="43698" y="40145"/>
                    <a:pt x="43307" y="40025"/>
                  </a:cubicBezTo>
                  <a:cubicBezTo>
                    <a:pt x="42946" y="39965"/>
                    <a:pt x="42645" y="39754"/>
                    <a:pt x="42434" y="39453"/>
                  </a:cubicBezTo>
                  <a:cubicBezTo>
                    <a:pt x="42404" y="39272"/>
                    <a:pt x="41832" y="39152"/>
                    <a:pt x="41742" y="39002"/>
                  </a:cubicBezTo>
                  <a:cubicBezTo>
                    <a:pt x="41515" y="38850"/>
                    <a:pt x="41267" y="38783"/>
                    <a:pt x="41016" y="38783"/>
                  </a:cubicBezTo>
                  <a:cubicBezTo>
                    <a:pt x="40967" y="38783"/>
                    <a:pt x="40918" y="38786"/>
                    <a:pt x="40869" y="38791"/>
                  </a:cubicBezTo>
                  <a:cubicBezTo>
                    <a:pt x="40862" y="38792"/>
                    <a:pt x="40855" y="38792"/>
                    <a:pt x="40848" y="38792"/>
                  </a:cubicBezTo>
                  <a:cubicBezTo>
                    <a:pt x="40626" y="38792"/>
                    <a:pt x="40136" y="38370"/>
                    <a:pt x="39816" y="38370"/>
                  </a:cubicBezTo>
                  <a:cubicBezTo>
                    <a:pt x="39455" y="38370"/>
                    <a:pt x="38762" y="38701"/>
                    <a:pt x="38642" y="38701"/>
                  </a:cubicBezTo>
                  <a:cubicBezTo>
                    <a:pt x="38522" y="38701"/>
                    <a:pt x="38672" y="38430"/>
                    <a:pt x="38762" y="38339"/>
                  </a:cubicBezTo>
                  <a:cubicBezTo>
                    <a:pt x="38823" y="38219"/>
                    <a:pt x="38492" y="37677"/>
                    <a:pt x="38401" y="37346"/>
                  </a:cubicBezTo>
                  <a:cubicBezTo>
                    <a:pt x="38343" y="37027"/>
                    <a:pt x="38201" y="36622"/>
                    <a:pt x="37839" y="36622"/>
                  </a:cubicBezTo>
                  <a:cubicBezTo>
                    <a:pt x="37826" y="36622"/>
                    <a:pt x="37813" y="36623"/>
                    <a:pt x="37799" y="36624"/>
                  </a:cubicBezTo>
                  <a:cubicBezTo>
                    <a:pt x="37724" y="36639"/>
                    <a:pt x="37649" y="36647"/>
                    <a:pt x="37575" y="36647"/>
                  </a:cubicBezTo>
                  <a:cubicBezTo>
                    <a:pt x="37352" y="36647"/>
                    <a:pt x="37137" y="36579"/>
                    <a:pt x="36957" y="36443"/>
                  </a:cubicBezTo>
                  <a:cubicBezTo>
                    <a:pt x="36836" y="36383"/>
                    <a:pt x="36836" y="35360"/>
                    <a:pt x="36897" y="34939"/>
                  </a:cubicBezTo>
                  <a:cubicBezTo>
                    <a:pt x="36987" y="34517"/>
                    <a:pt x="37438" y="33885"/>
                    <a:pt x="37438" y="33615"/>
                  </a:cubicBezTo>
                  <a:cubicBezTo>
                    <a:pt x="37438" y="33374"/>
                    <a:pt x="37739" y="33253"/>
                    <a:pt x="38010" y="33163"/>
                  </a:cubicBezTo>
                  <a:cubicBezTo>
                    <a:pt x="38251" y="33103"/>
                    <a:pt x="38070" y="32621"/>
                    <a:pt x="38341" y="32561"/>
                  </a:cubicBezTo>
                  <a:cubicBezTo>
                    <a:pt x="38612" y="32531"/>
                    <a:pt x="38612" y="32411"/>
                    <a:pt x="38672" y="32200"/>
                  </a:cubicBezTo>
                  <a:cubicBezTo>
                    <a:pt x="38762" y="31959"/>
                    <a:pt x="39033" y="32110"/>
                    <a:pt x="38853" y="31959"/>
                  </a:cubicBezTo>
                  <a:cubicBezTo>
                    <a:pt x="38702" y="31809"/>
                    <a:pt x="38823" y="31749"/>
                    <a:pt x="39214" y="31749"/>
                  </a:cubicBezTo>
                  <a:cubicBezTo>
                    <a:pt x="39575" y="31749"/>
                    <a:pt x="40207" y="31598"/>
                    <a:pt x="40147" y="31177"/>
                  </a:cubicBezTo>
                  <a:cubicBezTo>
                    <a:pt x="40087" y="30756"/>
                    <a:pt x="38973" y="31057"/>
                    <a:pt x="38973" y="30756"/>
                  </a:cubicBezTo>
                  <a:cubicBezTo>
                    <a:pt x="38973" y="30485"/>
                    <a:pt x="37679" y="30394"/>
                    <a:pt x="37739" y="30214"/>
                  </a:cubicBezTo>
                  <a:cubicBezTo>
                    <a:pt x="37752" y="30168"/>
                    <a:pt x="37823" y="30150"/>
                    <a:pt x="37930" y="30150"/>
                  </a:cubicBezTo>
                  <a:cubicBezTo>
                    <a:pt x="38320" y="30150"/>
                    <a:pt x="39191" y="30397"/>
                    <a:pt x="39545" y="30515"/>
                  </a:cubicBezTo>
                  <a:cubicBezTo>
                    <a:pt x="39768" y="30626"/>
                    <a:pt x="40008" y="30688"/>
                    <a:pt x="40240" y="30688"/>
                  </a:cubicBezTo>
                  <a:cubicBezTo>
                    <a:pt x="40320" y="30688"/>
                    <a:pt x="40400" y="30681"/>
                    <a:pt x="40478" y="30665"/>
                  </a:cubicBezTo>
                  <a:cubicBezTo>
                    <a:pt x="40869" y="30665"/>
                    <a:pt x="40598" y="30184"/>
                    <a:pt x="40689" y="29973"/>
                  </a:cubicBezTo>
                  <a:cubicBezTo>
                    <a:pt x="40698" y="29944"/>
                    <a:pt x="40725" y="29932"/>
                    <a:pt x="40764" y="29932"/>
                  </a:cubicBezTo>
                  <a:cubicBezTo>
                    <a:pt x="40950" y="29932"/>
                    <a:pt x="41417" y="30195"/>
                    <a:pt x="41730" y="30195"/>
                  </a:cubicBezTo>
                  <a:cubicBezTo>
                    <a:pt x="41766" y="30195"/>
                    <a:pt x="41801" y="30192"/>
                    <a:pt x="41832" y="30184"/>
                  </a:cubicBezTo>
                  <a:cubicBezTo>
                    <a:pt x="42223" y="30063"/>
                    <a:pt x="42645" y="29221"/>
                    <a:pt x="42976" y="29010"/>
                  </a:cubicBezTo>
                  <a:cubicBezTo>
                    <a:pt x="43283" y="28787"/>
                    <a:pt x="43047" y="28616"/>
                    <a:pt x="42507" y="28616"/>
                  </a:cubicBezTo>
                  <a:cubicBezTo>
                    <a:pt x="42465" y="28616"/>
                    <a:pt x="42420" y="28617"/>
                    <a:pt x="42374" y="28619"/>
                  </a:cubicBezTo>
                  <a:cubicBezTo>
                    <a:pt x="42331" y="28621"/>
                    <a:pt x="42289" y="28623"/>
                    <a:pt x="42247" y="28623"/>
                  </a:cubicBezTo>
                  <a:cubicBezTo>
                    <a:pt x="41783" y="28623"/>
                    <a:pt x="41351" y="28471"/>
                    <a:pt x="41020" y="28167"/>
                  </a:cubicBezTo>
                  <a:cubicBezTo>
                    <a:pt x="40653" y="27914"/>
                    <a:pt x="40683" y="27713"/>
                    <a:pt x="40984" y="27713"/>
                  </a:cubicBezTo>
                  <a:cubicBezTo>
                    <a:pt x="41005" y="27713"/>
                    <a:pt x="41027" y="27714"/>
                    <a:pt x="41050" y="27716"/>
                  </a:cubicBezTo>
                  <a:cubicBezTo>
                    <a:pt x="41441" y="27746"/>
                    <a:pt x="42284" y="28468"/>
                    <a:pt x="42645" y="28498"/>
                  </a:cubicBezTo>
                  <a:cubicBezTo>
                    <a:pt x="42658" y="28501"/>
                    <a:pt x="42673" y="28502"/>
                    <a:pt x="42687" y="28502"/>
                  </a:cubicBezTo>
                  <a:cubicBezTo>
                    <a:pt x="43023" y="28502"/>
                    <a:pt x="43559" y="27858"/>
                    <a:pt x="43818" y="27656"/>
                  </a:cubicBezTo>
                  <a:cubicBezTo>
                    <a:pt x="44119" y="27415"/>
                    <a:pt x="43578" y="27355"/>
                    <a:pt x="43397" y="27204"/>
                  </a:cubicBezTo>
                  <a:cubicBezTo>
                    <a:pt x="43186" y="27054"/>
                    <a:pt x="43698" y="26934"/>
                    <a:pt x="43999" y="26934"/>
                  </a:cubicBezTo>
                  <a:cubicBezTo>
                    <a:pt x="44210" y="26964"/>
                    <a:pt x="44390" y="27114"/>
                    <a:pt x="44480" y="27295"/>
                  </a:cubicBezTo>
                  <a:cubicBezTo>
                    <a:pt x="44507" y="27321"/>
                    <a:pt x="44552" y="27332"/>
                    <a:pt x="44608" y="27332"/>
                  </a:cubicBezTo>
                  <a:cubicBezTo>
                    <a:pt x="44804" y="27332"/>
                    <a:pt x="45143" y="27204"/>
                    <a:pt x="45353" y="27204"/>
                  </a:cubicBezTo>
                  <a:cubicBezTo>
                    <a:pt x="45594" y="27204"/>
                    <a:pt x="45293" y="26813"/>
                    <a:pt x="44902" y="26633"/>
                  </a:cubicBezTo>
                  <a:cubicBezTo>
                    <a:pt x="44609" y="26507"/>
                    <a:pt x="44738" y="26337"/>
                    <a:pt x="44885" y="26337"/>
                  </a:cubicBezTo>
                  <a:cubicBezTo>
                    <a:pt x="44949" y="26337"/>
                    <a:pt x="45016" y="26370"/>
                    <a:pt x="45052" y="26452"/>
                  </a:cubicBezTo>
                  <a:cubicBezTo>
                    <a:pt x="45143" y="26693"/>
                    <a:pt x="45444" y="26633"/>
                    <a:pt x="45564" y="26903"/>
                  </a:cubicBezTo>
                  <a:cubicBezTo>
                    <a:pt x="45619" y="27014"/>
                    <a:pt x="45694" y="27055"/>
                    <a:pt x="45796" y="27055"/>
                  </a:cubicBezTo>
                  <a:cubicBezTo>
                    <a:pt x="45916" y="27055"/>
                    <a:pt x="46075" y="26999"/>
                    <a:pt x="46286" y="26934"/>
                  </a:cubicBezTo>
                  <a:cubicBezTo>
                    <a:pt x="46557" y="26813"/>
                    <a:pt x="46828" y="26633"/>
                    <a:pt x="47008" y="26362"/>
                  </a:cubicBezTo>
                  <a:cubicBezTo>
                    <a:pt x="47189" y="26181"/>
                    <a:pt x="47219" y="26392"/>
                    <a:pt x="47460" y="26061"/>
                  </a:cubicBezTo>
                  <a:cubicBezTo>
                    <a:pt x="47671" y="25730"/>
                    <a:pt x="47339" y="25429"/>
                    <a:pt x="47069" y="25248"/>
                  </a:cubicBezTo>
                  <a:cubicBezTo>
                    <a:pt x="46798" y="25038"/>
                    <a:pt x="47069" y="24797"/>
                    <a:pt x="46798" y="24676"/>
                  </a:cubicBezTo>
                  <a:cubicBezTo>
                    <a:pt x="46588" y="24571"/>
                    <a:pt x="46492" y="24329"/>
                    <a:pt x="46691" y="24329"/>
                  </a:cubicBezTo>
                  <a:cubicBezTo>
                    <a:pt x="46720" y="24329"/>
                    <a:pt x="46756" y="24334"/>
                    <a:pt x="46798" y="24345"/>
                  </a:cubicBezTo>
                  <a:cubicBezTo>
                    <a:pt x="46864" y="24365"/>
                    <a:pt x="46932" y="24375"/>
                    <a:pt x="47000" y="24375"/>
                  </a:cubicBezTo>
                  <a:cubicBezTo>
                    <a:pt x="47238" y="24375"/>
                    <a:pt x="47470" y="24255"/>
                    <a:pt x="47610" y="24044"/>
                  </a:cubicBezTo>
                  <a:cubicBezTo>
                    <a:pt x="47761" y="23804"/>
                    <a:pt x="47069" y="23744"/>
                    <a:pt x="47400" y="23593"/>
                  </a:cubicBezTo>
                  <a:cubicBezTo>
                    <a:pt x="47761" y="23443"/>
                    <a:pt x="47460" y="23202"/>
                    <a:pt x="47159" y="23202"/>
                  </a:cubicBezTo>
                  <a:cubicBezTo>
                    <a:pt x="46858" y="23202"/>
                    <a:pt x="46557" y="23051"/>
                    <a:pt x="46557" y="22780"/>
                  </a:cubicBezTo>
                  <a:cubicBezTo>
                    <a:pt x="46557" y="22540"/>
                    <a:pt x="45985" y="22720"/>
                    <a:pt x="45654" y="22570"/>
                  </a:cubicBezTo>
                  <a:cubicBezTo>
                    <a:pt x="45366" y="22467"/>
                    <a:pt x="45078" y="22420"/>
                    <a:pt x="44790" y="22420"/>
                  </a:cubicBezTo>
                  <a:cubicBezTo>
                    <a:pt x="44657" y="22420"/>
                    <a:pt x="44524" y="22430"/>
                    <a:pt x="44390" y="22449"/>
                  </a:cubicBezTo>
                  <a:cubicBezTo>
                    <a:pt x="44210" y="22449"/>
                    <a:pt x="44210" y="23172"/>
                    <a:pt x="44480" y="23202"/>
                  </a:cubicBezTo>
                  <a:cubicBezTo>
                    <a:pt x="44751" y="23232"/>
                    <a:pt x="44932" y="23503"/>
                    <a:pt x="44691" y="23593"/>
                  </a:cubicBezTo>
                  <a:cubicBezTo>
                    <a:pt x="44490" y="23650"/>
                    <a:pt x="44727" y="23926"/>
                    <a:pt x="44567" y="23926"/>
                  </a:cubicBezTo>
                  <a:cubicBezTo>
                    <a:pt x="44560" y="23926"/>
                    <a:pt x="44551" y="23926"/>
                    <a:pt x="44541" y="23924"/>
                  </a:cubicBezTo>
                  <a:cubicBezTo>
                    <a:pt x="44487" y="23915"/>
                    <a:pt x="44425" y="23903"/>
                    <a:pt x="44364" y="23903"/>
                  </a:cubicBezTo>
                  <a:cubicBezTo>
                    <a:pt x="44220" y="23903"/>
                    <a:pt x="44080" y="23968"/>
                    <a:pt x="44059" y="24285"/>
                  </a:cubicBezTo>
                  <a:cubicBezTo>
                    <a:pt x="44029" y="24737"/>
                    <a:pt x="43939" y="24947"/>
                    <a:pt x="43698" y="25098"/>
                  </a:cubicBezTo>
                  <a:cubicBezTo>
                    <a:pt x="43671" y="25113"/>
                    <a:pt x="43649" y="25119"/>
                    <a:pt x="43630" y="25119"/>
                  </a:cubicBezTo>
                  <a:cubicBezTo>
                    <a:pt x="43462" y="25119"/>
                    <a:pt x="43573" y="24585"/>
                    <a:pt x="43325" y="24585"/>
                  </a:cubicBezTo>
                  <a:cubicBezTo>
                    <a:pt x="43319" y="24585"/>
                    <a:pt x="43313" y="24586"/>
                    <a:pt x="43307" y="24586"/>
                  </a:cubicBezTo>
                  <a:cubicBezTo>
                    <a:pt x="43006" y="24646"/>
                    <a:pt x="43006" y="25158"/>
                    <a:pt x="43186" y="25188"/>
                  </a:cubicBezTo>
                  <a:cubicBezTo>
                    <a:pt x="43397" y="25248"/>
                    <a:pt x="43457" y="25429"/>
                    <a:pt x="43487" y="25700"/>
                  </a:cubicBezTo>
                  <a:cubicBezTo>
                    <a:pt x="43548" y="25940"/>
                    <a:pt x="43126" y="25760"/>
                    <a:pt x="42946" y="26061"/>
                  </a:cubicBezTo>
                  <a:cubicBezTo>
                    <a:pt x="42893" y="26135"/>
                    <a:pt x="42854" y="26166"/>
                    <a:pt x="42821" y="26166"/>
                  </a:cubicBezTo>
                  <a:cubicBezTo>
                    <a:pt x="42722" y="26166"/>
                    <a:pt x="42683" y="25888"/>
                    <a:pt x="42524" y="25730"/>
                  </a:cubicBezTo>
                  <a:cubicBezTo>
                    <a:pt x="42284" y="25489"/>
                    <a:pt x="41953" y="25158"/>
                    <a:pt x="41983" y="24887"/>
                  </a:cubicBezTo>
                  <a:cubicBezTo>
                    <a:pt x="42043" y="24646"/>
                    <a:pt x="42103" y="24586"/>
                    <a:pt x="42344" y="24556"/>
                  </a:cubicBezTo>
                  <a:cubicBezTo>
                    <a:pt x="42554" y="24526"/>
                    <a:pt x="42344" y="24345"/>
                    <a:pt x="42284" y="24044"/>
                  </a:cubicBezTo>
                  <a:cubicBezTo>
                    <a:pt x="42253" y="23744"/>
                    <a:pt x="42073" y="23804"/>
                    <a:pt x="41772" y="23473"/>
                  </a:cubicBezTo>
                  <a:cubicBezTo>
                    <a:pt x="41599" y="23282"/>
                    <a:pt x="41436" y="23201"/>
                    <a:pt x="41300" y="23201"/>
                  </a:cubicBezTo>
                  <a:cubicBezTo>
                    <a:pt x="41199" y="23201"/>
                    <a:pt x="41114" y="23245"/>
                    <a:pt x="41050" y="23322"/>
                  </a:cubicBezTo>
                  <a:cubicBezTo>
                    <a:pt x="40899" y="23503"/>
                    <a:pt x="40989" y="23774"/>
                    <a:pt x="40749" y="23894"/>
                  </a:cubicBezTo>
                  <a:cubicBezTo>
                    <a:pt x="40508" y="23984"/>
                    <a:pt x="40598" y="24436"/>
                    <a:pt x="40388" y="24496"/>
                  </a:cubicBezTo>
                  <a:cubicBezTo>
                    <a:pt x="40384" y="24496"/>
                    <a:pt x="40380" y="24497"/>
                    <a:pt x="40376" y="24497"/>
                  </a:cubicBezTo>
                  <a:cubicBezTo>
                    <a:pt x="40152" y="24497"/>
                    <a:pt x="40294" y="23622"/>
                    <a:pt x="40117" y="23533"/>
                  </a:cubicBezTo>
                  <a:cubicBezTo>
                    <a:pt x="39936" y="23473"/>
                    <a:pt x="39966" y="23232"/>
                    <a:pt x="40237" y="23202"/>
                  </a:cubicBezTo>
                  <a:cubicBezTo>
                    <a:pt x="40478" y="23172"/>
                    <a:pt x="40628" y="22901"/>
                    <a:pt x="40418" y="22901"/>
                  </a:cubicBezTo>
                  <a:cubicBezTo>
                    <a:pt x="40117" y="22841"/>
                    <a:pt x="39876" y="22720"/>
                    <a:pt x="39635" y="22570"/>
                  </a:cubicBezTo>
                  <a:cubicBezTo>
                    <a:pt x="39629" y="22569"/>
                    <a:pt x="39622" y="22568"/>
                    <a:pt x="39615" y="22568"/>
                  </a:cubicBezTo>
                  <a:cubicBezTo>
                    <a:pt x="39486" y="22568"/>
                    <a:pt x="39286" y="22777"/>
                    <a:pt x="39123" y="22777"/>
                  </a:cubicBezTo>
                  <a:cubicBezTo>
                    <a:pt x="39091" y="22777"/>
                    <a:pt x="39061" y="22769"/>
                    <a:pt x="39033" y="22750"/>
                  </a:cubicBezTo>
                  <a:cubicBezTo>
                    <a:pt x="38823" y="22630"/>
                    <a:pt x="39063" y="22269"/>
                    <a:pt x="39063" y="22028"/>
                  </a:cubicBezTo>
                  <a:cubicBezTo>
                    <a:pt x="39063" y="21971"/>
                    <a:pt x="39086" y="21953"/>
                    <a:pt x="39122" y="21953"/>
                  </a:cubicBezTo>
                  <a:cubicBezTo>
                    <a:pt x="39174" y="21953"/>
                    <a:pt x="39255" y="21990"/>
                    <a:pt x="39335" y="21990"/>
                  </a:cubicBezTo>
                  <a:cubicBezTo>
                    <a:pt x="39401" y="21990"/>
                    <a:pt x="39466" y="21966"/>
                    <a:pt x="39515" y="21878"/>
                  </a:cubicBezTo>
                  <a:cubicBezTo>
                    <a:pt x="39665" y="21637"/>
                    <a:pt x="39033" y="21667"/>
                    <a:pt x="39033" y="21396"/>
                  </a:cubicBezTo>
                  <a:cubicBezTo>
                    <a:pt x="39033" y="21125"/>
                    <a:pt x="38492" y="21065"/>
                    <a:pt x="38341" y="20975"/>
                  </a:cubicBezTo>
                  <a:cubicBezTo>
                    <a:pt x="38191" y="20915"/>
                    <a:pt x="38462" y="20463"/>
                    <a:pt x="38371" y="20283"/>
                  </a:cubicBezTo>
                  <a:cubicBezTo>
                    <a:pt x="38313" y="20078"/>
                    <a:pt x="37656" y="19559"/>
                    <a:pt x="37371" y="19559"/>
                  </a:cubicBezTo>
                  <a:cubicBezTo>
                    <a:pt x="37363" y="19559"/>
                    <a:pt x="37355" y="19560"/>
                    <a:pt x="37348" y="19560"/>
                  </a:cubicBezTo>
                  <a:cubicBezTo>
                    <a:pt x="37340" y="19561"/>
                    <a:pt x="37332" y="19562"/>
                    <a:pt x="37323" y="19562"/>
                  </a:cubicBezTo>
                  <a:cubicBezTo>
                    <a:pt x="37115" y="19562"/>
                    <a:pt x="37007" y="19223"/>
                    <a:pt x="37111" y="19223"/>
                  </a:cubicBezTo>
                  <a:cubicBezTo>
                    <a:pt x="37118" y="19223"/>
                    <a:pt x="37127" y="19225"/>
                    <a:pt x="37137" y="19229"/>
                  </a:cubicBezTo>
                  <a:cubicBezTo>
                    <a:pt x="37152" y="19232"/>
                    <a:pt x="37167" y="19234"/>
                    <a:pt x="37182" y="19234"/>
                  </a:cubicBezTo>
                  <a:cubicBezTo>
                    <a:pt x="37319" y="19234"/>
                    <a:pt x="37468" y="19107"/>
                    <a:pt x="37739" y="18808"/>
                  </a:cubicBezTo>
                  <a:cubicBezTo>
                    <a:pt x="38040" y="18477"/>
                    <a:pt x="38070" y="18357"/>
                    <a:pt x="37860" y="18266"/>
                  </a:cubicBezTo>
                  <a:cubicBezTo>
                    <a:pt x="37619" y="18206"/>
                    <a:pt x="37559" y="18026"/>
                    <a:pt x="37890" y="18026"/>
                  </a:cubicBezTo>
                  <a:cubicBezTo>
                    <a:pt x="38142" y="18026"/>
                    <a:pt x="38621" y="18165"/>
                    <a:pt x="38915" y="18165"/>
                  </a:cubicBezTo>
                  <a:cubicBezTo>
                    <a:pt x="39007" y="18165"/>
                    <a:pt x="39081" y="18152"/>
                    <a:pt x="39124" y="18116"/>
                  </a:cubicBezTo>
                  <a:cubicBezTo>
                    <a:pt x="39334" y="17965"/>
                    <a:pt x="39996" y="16912"/>
                    <a:pt x="40267" y="16551"/>
                  </a:cubicBezTo>
                  <a:cubicBezTo>
                    <a:pt x="40462" y="16270"/>
                    <a:pt x="40284" y="16191"/>
                    <a:pt x="39945" y="16191"/>
                  </a:cubicBezTo>
                  <a:cubicBezTo>
                    <a:pt x="39812" y="16191"/>
                    <a:pt x="39654" y="16203"/>
                    <a:pt x="39485" y="16220"/>
                  </a:cubicBezTo>
                  <a:cubicBezTo>
                    <a:pt x="39453" y="16221"/>
                    <a:pt x="39423" y="16222"/>
                    <a:pt x="39393" y="16222"/>
                  </a:cubicBezTo>
                  <a:cubicBezTo>
                    <a:pt x="38860" y="16222"/>
                    <a:pt x="38645" y="15978"/>
                    <a:pt x="38161" y="15949"/>
                  </a:cubicBezTo>
                  <a:cubicBezTo>
                    <a:pt x="38093" y="15945"/>
                    <a:pt x="38019" y="15943"/>
                    <a:pt x="37940" y="15943"/>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92" name="Google Shape;2986;p123">
              <a:extLst>
                <a:ext uri="{FF2B5EF4-FFF2-40B4-BE49-F238E27FC236}">
                  <a16:creationId xmlns:a16="http://schemas.microsoft.com/office/drawing/2014/main" id="{D21BA7A7-71CA-4A4C-A127-66F2C73ED4E0}"/>
                </a:ext>
              </a:extLst>
            </p:cNvPr>
            <p:cNvSpPr/>
            <p:nvPr/>
          </p:nvSpPr>
          <p:spPr>
            <a:xfrm>
              <a:off x="105306" y="1114410"/>
              <a:ext cx="2499529" cy="1689808"/>
            </a:xfrm>
            <a:custGeom>
              <a:avLst/>
              <a:gdLst/>
              <a:ahLst/>
              <a:cxnLst/>
              <a:rect l="l" t="t" r="r" b="b"/>
              <a:pathLst>
                <a:path w="80565" h="54466" extrusionOk="0">
                  <a:moveTo>
                    <a:pt x="1153" y="14578"/>
                  </a:moveTo>
                  <a:cubicBezTo>
                    <a:pt x="929" y="14578"/>
                    <a:pt x="578" y="14769"/>
                    <a:pt x="663" y="14961"/>
                  </a:cubicBezTo>
                  <a:cubicBezTo>
                    <a:pt x="735" y="15153"/>
                    <a:pt x="1192" y="15327"/>
                    <a:pt x="1527" y="15327"/>
                  </a:cubicBezTo>
                  <a:cubicBezTo>
                    <a:pt x="1610" y="15327"/>
                    <a:pt x="1686" y="15316"/>
                    <a:pt x="1746" y="15292"/>
                  </a:cubicBezTo>
                  <a:cubicBezTo>
                    <a:pt x="1987" y="15202"/>
                    <a:pt x="2077" y="14901"/>
                    <a:pt x="1897" y="14720"/>
                  </a:cubicBezTo>
                  <a:cubicBezTo>
                    <a:pt x="1868" y="14696"/>
                    <a:pt x="1835" y="14686"/>
                    <a:pt x="1800" y="14686"/>
                  </a:cubicBezTo>
                  <a:cubicBezTo>
                    <a:pt x="1677" y="14686"/>
                    <a:pt x="1528" y="14801"/>
                    <a:pt x="1428" y="14801"/>
                  </a:cubicBezTo>
                  <a:cubicBezTo>
                    <a:pt x="1379" y="14801"/>
                    <a:pt x="1342" y="14773"/>
                    <a:pt x="1325" y="14690"/>
                  </a:cubicBezTo>
                  <a:cubicBezTo>
                    <a:pt x="1316" y="14611"/>
                    <a:pt x="1245" y="14578"/>
                    <a:pt x="1153" y="14578"/>
                  </a:cubicBezTo>
                  <a:close/>
                  <a:moveTo>
                    <a:pt x="12436" y="16654"/>
                  </a:moveTo>
                  <a:cubicBezTo>
                    <a:pt x="12324" y="16654"/>
                    <a:pt x="12138" y="16770"/>
                    <a:pt x="11918" y="17007"/>
                  </a:cubicBezTo>
                  <a:cubicBezTo>
                    <a:pt x="11527" y="17429"/>
                    <a:pt x="11256" y="17609"/>
                    <a:pt x="11226" y="17790"/>
                  </a:cubicBezTo>
                  <a:cubicBezTo>
                    <a:pt x="11213" y="17882"/>
                    <a:pt x="11119" y="17888"/>
                    <a:pt x="11008" y="17888"/>
                  </a:cubicBezTo>
                  <a:cubicBezTo>
                    <a:pt x="10992" y="17888"/>
                    <a:pt x="10975" y="17888"/>
                    <a:pt x="10959" y="17888"/>
                  </a:cubicBezTo>
                  <a:cubicBezTo>
                    <a:pt x="10827" y="17888"/>
                    <a:pt x="10684" y="17895"/>
                    <a:pt x="10624" y="18031"/>
                  </a:cubicBezTo>
                  <a:cubicBezTo>
                    <a:pt x="10521" y="18262"/>
                    <a:pt x="10660" y="18670"/>
                    <a:pt x="10854" y="18670"/>
                  </a:cubicBezTo>
                  <a:cubicBezTo>
                    <a:pt x="10886" y="18670"/>
                    <a:pt x="10920" y="18658"/>
                    <a:pt x="10955" y="18632"/>
                  </a:cubicBezTo>
                  <a:cubicBezTo>
                    <a:pt x="11046" y="18572"/>
                    <a:pt x="11106" y="18552"/>
                    <a:pt x="11151" y="18552"/>
                  </a:cubicBezTo>
                  <a:cubicBezTo>
                    <a:pt x="11243" y="18552"/>
                    <a:pt x="11276" y="18632"/>
                    <a:pt x="11377" y="18632"/>
                  </a:cubicBezTo>
                  <a:cubicBezTo>
                    <a:pt x="11798" y="18482"/>
                    <a:pt x="12159" y="18211"/>
                    <a:pt x="12430" y="17880"/>
                  </a:cubicBezTo>
                  <a:cubicBezTo>
                    <a:pt x="12580" y="17639"/>
                    <a:pt x="12129" y="17579"/>
                    <a:pt x="12129" y="17429"/>
                  </a:cubicBezTo>
                  <a:cubicBezTo>
                    <a:pt x="12129" y="17278"/>
                    <a:pt x="12520" y="17278"/>
                    <a:pt x="12701" y="17158"/>
                  </a:cubicBezTo>
                  <a:cubicBezTo>
                    <a:pt x="12881" y="17037"/>
                    <a:pt x="12520" y="16977"/>
                    <a:pt x="12550" y="16797"/>
                  </a:cubicBezTo>
                  <a:cubicBezTo>
                    <a:pt x="12550" y="16702"/>
                    <a:pt x="12509" y="16654"/>
                    <a:pt x="12436" y="16654"/>
                  </a:cubicBezTo>
                  <a:close/>
                  <a:moveTo>
                    <a:pt x="9164" y="1"/>
                  </a:moveTo>
                  <a:cubicBezTo>
                    <a:pt x="8964" y="1"/>
                    <a:pt x="8730" y="178"/>
                    <a:pt x="8367" y="485"/>
                  </a:cubicBezTo>
                  <a:cubicBezTo>
                    <a:pt x="8096" y="688"/>
                    <a:pt x="7775" y="790"/>
                    <a:pt x="7453" y="790"/>
                  </a:cubicBezTo>
                  <a:cubicBezTo>
                    <a:pt x="7346" y="790"/>
                    <a:pt x="7239" y="779"/>
                    <a:pt x="7133" y="756"/>
                  </a:cubicBezTo>
                  <a:cubicBezTo>
                    <a:pt x="7081" y="751"/>
                    <a:pt x="7026" y="749"/>
                    <a:pt x="6971" y="749"/>
                  </a:cubicBezTo>
                  <a:cubicBezTo>
                    <a:pt x="6679" y="749"/>
                    <a:pt x="6381" y="820"/>
                    <a:pt x="6381" y="997"/>
                  </a:cubicBezTo>
                  <a:cubicBezTo>
                    <a:pt x="6381" y="1178"/>
                    <a:pt x="6802" y="1178"/>
                    <a:pt x="6561" y="1448"/>
                  </a:cubicBezTo>
                  <a:cubicBezTo>
                    <a:pt x="6521" y="1500"/>
                    <a:pt x="6484" y="1520"/>
                    <a:pt x="6449" y="1520"/>
                  </a:cubicBezTo>
                  <a:cubicBezTo>
                    <a:pt x="6331" y="1520"/>
                    <a:pt x="6232" y="1300"/>
                    <a:pt x="6088" y="1300"/>
                  </a:cubicBezTo>
                  <a:cubicBezTo>
                    <a:pt x="6049" y="1300"/>
                    <a:pt x="6006" y="1316"/>
                    <a:pt x="5959" y="1358"/>
                  </a:cubicBezTo>
                  <a:cubicBezTo>
                    <a:pt x="5790" y="1528"/>
                    <a:pt x="5454" y="1579"/>
                    <a:pt x="5191" y="1579"/>
                  </a:cubicBezTo>
                  <a:cubicBezTo>
                    <a:pt x="5034" y="1579"/>
                    <a:pt x="4902" y="1561"/>
                    <a:pt x="4846" y="1539"/>
                  </a:cubicBezTo>
                  <a:cubicBezTo>
                    <a:pt x="4843" y="1538"/>
                    <a:pt x="4839" y="1538"/>
                    <a:pt x="4835" y="1538"/>
                  </a:cubicBezTo>
                  <a:cubicBezTo>
                    <a:pt x="4669" y="1538"/>
                    <a:pt x="4089" y="2175"/>
                    <a:pt x="3883" y="2351"/>
                  </a:cubicBezTo>
                  <a:cubicBezTo>
                    <a:pt x="3702" y="2532"/>
                    <a:pt x="4033" y="2682"/>
                    <a:pt x="3552" y="3164"/>
                  </a:cubicBezTo>
                  <a:cubicBezTo>
                    <a:pt x="3167" y="3549"/>
                    <a:pt x="2281" y="3587"/>
                    <a:pt x="1818" y="3587"/>
                  </a:cubicBezTo>
                  <a:cubicBezTo>
                    <a:pt x="1703" y="3587"/>
                    <a:pt x="1614" y="3585"/>
                    <a:pt x="1566" y="3585"/>
                  </a:cubicBezTo>
                  <a:cubicBezTo>
                    <a:pt x="1295" y="3585"/>
                    <a:pt x="1475" y="3886"/>
                    <a:pt x="1325" y="4067"/>
                  </a:cubicBezTo>
                  <a:cubicBezTo>
                    <a:pt x="1174" y="4277"/>
                    <a:pt x="1475" y="4458"/>
                    <a:pt x="2228" y="4638"/>
                  </a:cubicBezTo>
                  <a:cubicBezTo>
                    <a:pt x="2980" y="4819"/>
                    <a:pt x="3432" y="5782"/>
                    <a:pt x="3522" y="5993"/>
                  </a:cubicBezTo>
                  <a:cubicBezTo>
                    <a:pt x="3542" y="6065"/>
                    <a:pt x="3661" y="6087"/>
                    <a:pt x="3825" y="6087"/>
                  </a:cubicBezTo>
                  <a:cubicBezTo>
                    <a:pt x="4106" y="6087"/>
                    <a:pt x="4520" y="6020"/>
                    <a:pt x="4788" y="6020"/>
                  </a:cubicBezTo>
                  <a:cubicBezTo>
                    <a:pt x="4820" y="6020"/>
                    <a:pt x="4849" y="6021"/>
                    <a:pt x="4876" y="6023"/>
                  </a:cubicBezTo>
                  <a:cubicBezTo>
                    <a:pt x="5237" y="6053"/>
                    <a:pt x="4846" y="6595"/>
                    <a:pt x="5117" y="6745"/>
                  </a:cubicBezTo>
                  <a:cubicBezTo>
                    <a:pt x="5201" y="6787"/>
                    <a:pt x="5297" y="6799"/>
                    <a:pt x="5393" y="6799"/>
                  </a:cubicBezTo>
                  <a:cubicBezTo>
                    <a:pt x="5510" y="6799"/>
                    <a:pt x="5627" y="6782"/>
                    <a:pt x="5726" y="6782"/>
                  </a:cubicBezTo>
                  <a:cubicBezTo>
                    <a:pt x="5837" y="6782"/>
                    <a:pt x="5925" y="6803"/>
                    <a:pt x="5959" y="6895"/>
                  </a:cubicBezTo>
                  <a:cubicBezTo>
                    <a:pt x="6020" y="7136"/>
                    <a:pt x="5358" y="6895"/>
                    <a:pt x="5027" y="7166"/>
                  </a:cubicBezTo>
                  <a:cubicBezTo>
                    <a:pt x="4793" y="7341"/>
                    <a:pt x="4635" y="7441"/>
                    <a:pt x="4512" y="7441"/>
                  </a:cubicBezTo>
                  <a:cubicBezTo>
                    <a:pt x="4445" y="7441"/>
                    <a:pt x="4388" y="7411"/>
                    <a:pt x="4334" y="7347"/>
                  </a:cubicBezTo>
                  <a:cubicBezTo>
                    <a:pt x="4273" y="7273"/>
                    <a:pt x="4141" y="7250"/>
                    <a:pt x="3986" y="7250"/>
                  </a:cubicBezTo>
                  <a:cubicBezTo>
                    <a:pt x="3762" y="7250"/>
                    <a:pt x="3489" y="7299"/>
                    <a:pt x="3311" y="7317"/>
                  </a:cubicBezTo>
                  <a:cubicBezTo>
                    <a:pt x="3299" y="7318"/>
                    <a:pt x="3288" y="7319"/>
                    <a:pt x="3278" y="7319"/>
                  </a:cubicBezTo>
                  <a:cubicBezTo>
                    <a:pt x="3034" y="7319"/>
                    <a:pt x="3311" y="6977"/>
                    <a:pt x="3311" y="6775"/>
                  </a:cubicBezTo>
                  <a:cubicBezTo>
                    <a:pt x="3311" y="6677"/>
                    <a:pt x="3196" y="6597"/>
                    <a:pt x="2999" y="6597"/>
                  </a:cubicBezTo>
                  <a:cubicBezTo>
                    <a:pt x="2833" y="6597"/>
                    <a:pt x="2610" y="6654"/>
                    <a:pt x="2348" y="6805"/>
                  </a:cubicBezTo>
                  <a:cubicBezTo>
                    <a:pt x="1776" y="7166"/>
                    <a:pt x="1957" y="7016"/>
                    <a:pt x="1897" y="7287"/>
                  </a:cubicBezTo>
                  <a:cubicBezTo>
                    <a:pt x="1874" y="7348"/>
                    <a:pt x="1843" y="7368"/>
                    <a:pt x="1805" y="7368"/>
                  </a:cubicBezTo>
                  <a:cubicBezTo>
                    <a:pt x="1725" y="7368"/>
                    <a:pt x="1611" y="7282"/>
                    <a:pt x="1459" y="7282"/>
                  </a:cubicBezTo>
                  <a:cubicBezTo>
                    <a:pt x="1392" y="7282"/>
                    <a:pt x="1317" y="7299"/>
                    <a:pt x="1235" y="7347"/>
                  </a:cubicBezTo>
                  <a:cubicBezTo>
                    <a:pt x="843" y="7558"/>
                    <a:pt x="241" y="7768"/>
                    <a:pt x="121" y="7979"/>
                  </a:cubicBezTo>
                  <a:cubicBezTo>
                    <a:pt x="1" y="8220"/>
                    <a:pt x="934" y="8370"/>
                    <a:pt x="1295" y="8430"/>
                  </a:cubicBezTo>
                  <a:cubicBezTo>
                    <a:pt x="1686" y="8521"/>
                    <a:pt x="873" y="8731"/>
                    <a:pt x="1144" y="8822"/>
                  </a:cubicBezTo>
                  <a:cubicBezTo>
                    <a:pt x="1415" y="8882"/>
                    <a:pt x="1295" y="9153"/>
                    <a:pt x="1746" y="9393"/>
                  </a:cubicBezTo>
                  <a:cubicBezTo>
                    <a:pt x="1897" y="9464"/>
                    <a:pt x="2104" y="9487"/>
                    <a:pt x="2324" y="9487"/>
                  </a:cubicBezTo>
                  <a:cubicBezTo>
                    <a:pt x="2763" y="9487"/>
                    <a:pt x="3251" y="9393"/>
                    <a:pt x="3432" y="9393"/>
                  </a:cubicBezTo>
                  <a:cubicBezTo>
                    <a:pt x="3630" y="9393"/>
                    <a:pt x="3813" y="9571"/>
                    <a:pt x="3979" y="9571"/>
                  </a:cubicBezTo>
                  <a:cubicBezTo>
                    <a:pt x="4039" y="9571"/>
                    <a:pt x="4098" y="9548"/>
                    <a:pt x="4154" y="9484"/>
                  </a:cubicBezTo>
                  <a:cubicBezTo>
                    <a:pt x="4343" y="9318"/>
                    <a:pt x="4866" y="8893"/>
                    <a:pt x="5257" y="8893"/>
                  </a:cubicBezTo>
                  <a:cubicBezTo>
                    <a:pt x="5364" y="8893"/>
                    <a:pt x="5461" y="8925"/>
                    <a:pt x="5538" y="9002"/>
                  </a:cubicBezTo>
                  <a:cubicBezTo>
                    <a:pt x="5929" y="9393"/>
                    <a:pt x="5147" y="9303"/>
                    <a:pt x="5327" y="9544"/>
                  </a:cubicBezTo>
                  <a:cubicBezTo>
                    <a:pt x="5508" y="9754"/>
                    <a:pt x="5809" y="10326"/>
                    <a:pt x="5448" y="10597"/>
                  </a:cubicBezTo>
                  <a:cubicBezTo>
                    <a:pt x="5277" y="10700"/>
                    <a:pt x="5087" y="10754"/>
                    <a:pt x="4894" y="10754"/>
                  </a:cubicBezTo>
                  <a:cubicBezTo>
                    <a:pt x="4747" y="10754"/>
                    <a:pt x="4598" y="10722"/>
                    <a:pt x="4455" y="10657"/>
                  </a:cubicBezTo>
                  <a:cubicBezTo>
                    <a:pt x="4244" y="10657"/>
                    <a:pt x="4395" y="11049"/>
                    <a:pt x="4033" y="11289"/>
                  </a:cubicBezTo>
                  <a:cubicBezTo>
                    <a:pt x="3964" y="11346"/>
                    <a:pt x="3897" y="11368"/>
                    <a:pt x="3832" y="11368"/>
                  </a:cubicBezTo>
                  <a:cubicBezTo>
                    <a:pt x="3584" y="11368"/>
                    <a:pt x="3350" y="11049"/>
                    <a:pt x="3040" y="11049"/>
                  </a:cubicBezTo>
                  <a:cubicBezTo>
                    <a:pt x="2619" y="11049"/>
                    <a:pt x="2679" y="11560"/>
                    <a:pt x="2739" y="11831"/>
                  </a:cubicBezTo>
                  <a:cubicBezTo>
                    <a:pt x="2769" y="12102"/>
                    <a:pt x="2077" y="11801"/>
                    <a:pt x="1927" y="12433"/>
                  </a:cubicBezTo>
                  <a:cubicBezTo>
                    <a:pt x="1776" y="13065"/>
                    <a:pt x="1114" y="12493"/>
                    <a:pt x="1536" y="13095"/>
                  </a:cubicBezTo>
                  <a:cubicBezTo>
                    <a:pt x="1927" y="13697"/>
                    <a:pt x="1897" y="13366"/>
                    <a:pt x="2228" y="13607"/>
                  </a:cubicBezTo>
                  <a:cubicBezTo>
                    <a:pt x="2589" y="13817"/>
                    <a:pt x="1867" y="14269"/>
                    <a:pt x="2228" y="14359"/>
                  </a:cubicBezTo>
                  <a:cubicBezTo>
                    <a:pt x="2619" y="14419"/>
                    <a:pt x="2950" y="15051"/>
                    <a:pt x="3221" y="15292"/>
                  </a:cubicBezTo>
                  <a:cubicBezTo>
                    <a:pt x="3286" y="15342"/>
                    <a:pt x="3352" y="15362"/>
                    <a:pt x="3420" y="15362"/>
                  </a:cubicBezTo>
                  <a:cubicBezTo>
                    <a:pt x="3637" y="15362"/>
                    <a:pt x="3872" y="15164"/>
                    <a:pt x="4124" y="15141"/>
                  </a:cubicBezTo>
                  <a:cubicBezTo>
                    <a:pt x="4403" y="15091"/>
                    <a:pt x="4361" y="14740"/>
                    <a:pt x="4467" y="14740"/>
                  </a:cubicBezTo>
                  <a:cubicBezTo>
                    <a:pt x="4487" y="14740"/>
                    <a:pt x="4512" y="14752"/>
                    <a:pt x="4545" y="14780"/>
                  </a:cubicBezTo>
                  <a:cubicBezTo>
                    <a:pt x="4726" y="14991"/>
                    <a:pt x="5057" y="15533"/>
                    <a:pt x="4876" y="15683"/>
                  </a:cubicBezTo>
                  <a:cubicBezTo>
                    <a:pt x="4696" y="15864"/>
                    <a:pt x="4846" y="16255"/>
                    <a:pt x="4786" y="16496"/>
                  </a:cubicBezTo>
                  <a:cubicBezTo>
                    <a:pt x="4774" y="16581"/>
                    <a:pt x="4906" y="16622"/>
                    <a:pt x="5072" y="16622"/>
                  </a:cubicBezTo>
                  <a:cubicBezTo>
                    <a:pt x="5312" y="16622"/>
                    <a:pt x="5623" y="16536"/>
                    <a:pt x="5659" y="16375"/>
                  </a:cubicBezTo>
                  <a:cubicBezTo>
                    <a:pt x="5701" y="16249"/>
                    <a:pt x="5861" y="16175"/>
                    <a:pt x="6057" y="16175"/>
                  </a:cubicBezTo>
                  <a:cubicBezTo>
                    <a:pt x="6280" y="16175"/>
                    <a:pt x="6549" y="16271"/>
                    <a:pt x="6742" y="16496"/>
                  </a:cubicBezTo>
                  <a:cubicBezTo>
                    <a:pt x="6967" y="16721"/>
                    <a:pt x="7103" y="16836"/>
                    <a:pt x="7177" y="16836"/>
                  </a:cubicBezTo>
                  <a:cubicBezTo>
                    <a:pt x="7232" y="16836"/>
                    <a:pt x="7254" y="16774"/>
                    <a:pt x="7254" y="16646"/>
                  </a:cubicBezTo>
                  <a:cubicBezTo>
                    <a:pt x="7254" y="16416"/>
                    <a:pt x="7429" y="16134"/>
                    <a:pt x="7512" y="16134"/>
                  </a:cubicBezTo>
                  <a:cubicBezTo>
                    <a:pt x="7538" y="16134"/>
                    <a:pt x="7555" y="16161"/>
                    <a:pt x="7555" y="16225"/>
                  </a:cubicBezTo>
                  <a:cubicBezTo>
                    <a:pt x="7555" y="16380"/>
                    <a:pt x="7663" y="16466"/>
                    <a:pt x="7852" y="16466"/>
                  </a:cubicBezTo>
                  <a:cubicBezTo>
                    <a:pt x="7993" y="16466"/>
                    <a:pt x="8178" y="16418"/>
                    <a:pt x="8397" y="16315"/>
                  </a:cubicBezTo>
                  <a:cubicBezTo>
                    <a:pt x="8544" y="16241"/>
                    <a:pt x="8634" y="16210"/>
                    <a:pt x="8681" y="16210"/>
                  </a:cubicBezTo>
                  <a:cubicBezTo>
                    <a:pt x="8808" y="16210"/>
                    <a:pt x="8633" y="16435"/>
                    <a:pt x="8457" y="16676"/>
                  </a:cubicBezTo>
                  <a:cubicBezTo>
                    <a:pt x="8186" y="17007"/>
                    <a:pt x="8457" y="17880"/>
                    <a:pt x="8156" y="17970"/>
                  </a:cubicBezTo>
                  <a:cubicBezTo>
                    <a:pt x="7855" y="18031"/>
                    <a:pt x="7645" y="18753"/>
                    <a:pt x="7193" y="18783"/>
                  </a:cubicBezTo>
                  <a:cubicBezTo>
                    <a:pt x="6742" y="18813"/>
                    <a:pt x="5959" y="19716"/>
                    <a:pt x="5839" y="19836"/>
                  </a:cubicBezTo>
                  <a:cubicBezTo>
                    <a:pt x="5826" y="19854"/>
                    <a:pt x="5794" y="19860"/>
                    <a:pt x="5749" y="19860"/>
                  </a:cubicBezTo>
                  <a:cubicBezTo>
                    <a:pt x="5592" y="19860"/>
                    <a:pt x="5270" y="19778"/>
                    <a:pt x="5011" y="19778"/>
                  </a:cubicBezTo>
                  <a:cubicBezTo>
                    <a:pt x="4829" y="19778"/>
                    <a:pt x="4678" y="19818"/>
                    <a:pt x="4635" y="19957"/>
                  </a:cubicBezTo>
                  <a:cubicBezTo>
                    <a:pt x="4545" y="20318"/>
                    <a:pt x="3883" y="20679"/>
                    <a:pt x="4033" y="20829"/>
                  </a:cubicBezTo>
                  <a:cubicBezTo>
                    <a:pt x="4052" y="20844"/>
                    <a:pt x="4079" y="20851"/>
                    <a:pt x="4112" y="20851"/>
                  </a:cubicBezTo>
                  <a:cubicBezTo>
                    <a:pt x="4356" y="20851"/>
                    <a:pt x="4944" y="20503"/>
                    <a:pt x="4996" y="20318"/>
                  </a:cubicBezTo>
                  <a:cubicBezTo>
                    <a:pt x="5012" y="20223"/>
                    <a:pt x="5053" y="20178"/>
                    <a:pt x="5109" y="20178"/>
                  </a:cubicBezTo>
                  <a:cubicBezTo>
                    <a:pt x="5161" y="20178"/>
                    <a:pt x="5226" y="20216"/>
                    <a:pt x="5297" y="20288"/>
                  </a:cubicBezTo>
                  <a:cubicBezTo>
                    <a:pt x="5337" y="20328"/>
                    <a:pt x="5390" y="20344"/>
                    <a:pt x="5449" y="20344"/>
                  </a:cubicBezTo>
                  <a:cubicBezTo>
                    <a:pt x="5611" y="20344"/>
                    <a:pt x="5819" y="20218"/>
                    <a:pt x="5929" y="20107"/>
                  </a:cubicBezTo>
                  <a:cubicBezTo>
                    <a:pt x="6030" y="20027"/>
                    <a:pt x="6157" y="19987"/>
                    <a:pt x="6293" y="19987"/>
                  </a:cubicBezTo>
                  <a:cubicBezTo>
                    <a:pt x="6361" y="19987"/>
                    <a:pt x="6431" y="19997"/>
                    <a:pt x="6501" y="20017"/>
                  </a:cubicBezTo>
                  <a:cubicBezTo>
                    <a:pt x="6682" y="20017"/>
                    <a:pt x="6742" y="19836"/>
                    <a:pt x="7193" y="19716"/>
                  </a:cubicBezTo>
                  <a:cubicBezTo>
                    <a:pt x="7645" y="19626"/>
                    <a:pt x="7585" y="19505"/>
                    <a:pt x="7705" y="19264"/>
                  </a:cubicBezTo>
                  <a:cubicBezTo>
                    <a:pt x="7795" y="19054"/>
                    <a:pt x="8909" y="18482"/>
                    <a:pt x="9119" y="18452"/>
                  </a:cubicBezTo>
                  <a:cubicBezTo>
                    <a:pt x="9360" y="18422"/>
                    <a:pt x="9210" y="18031"/>
                    <a:pt x="9420" y="18031"/>
                  </a:cubicBezTo>
                  <a:cubicBezTo>
                    <a:pt x="9751" y="17910"/>
                    <a:pt x="10052" y="17730"/>
                    <a:pt x="10323" y="17459"/>
                  </a:cubicBezTo>
                  <a:cubicBezTo>
                    <a:pt x="10624" y="17248"/>
                    <a:pt x="10714" y="17308"/>
                    <a:pt x="10925" y="17248"/>
                  </a:cubicBezTo>
                  <a:cubicBezTo>
                    <a:pt x="11166" y="17158"/>
                    <a:pt x="10955" y="16706"/>
                    <a:pt x="11196" y="16676"/>
                  </a:cubicBezTo>
                  <a:cubicBezTo>
                    <a:pt x="11407" y="16646"/>
                    <a:pt x="11557" y="16466"/>
                    <a:pt x="11617" y="16255"/>
                  </a:cubicBezTo>
                  <a:cubicBezTo>
                    <a:pt x="11617" y="16074"/>
                    <a:pt x="11015" y="16074"/>
                    <a:pt x="10955" y="15954"/>
                  </a:cubicBezTo>
                  <a:cubicBezTo>
                    <a:pt x="10927" y="15869"/>
                    <a:pt x="11355" y="15407"/>
                    <a:pt x="11580" y="15407"/>
                  </a:cubicBezTo>
                  <a:cubicBezTo>
                    <a:pt x="11593" y="15407"/>
                    <a:pt x="11606" y="15409"/>
                    <a:pt x="11617" y="15412"/>
                  </a:cubicBezTo>
                  <a:cubicBezTo>
                    <a:pt x="11858" y="15382"/>
                    <a:pt x="12099" y="15172"/>
                    <a:pt x="12129" y="14901"/>
                  </a:cubicBezTo>
                  <a:cubicBezTo>
                    <a:pt x="12159" y="14660"/>
                    <a:pt x="12430" y="14570"/>
                    <a:pt x="12671" y="14359"/>
                  </a:cubicBezTo>
                  <a:cubicBezTo>
                    <a:pt x="12881" y="14118"/>
                    <a:pt x="12851" y="13908"/>
                    <a:pt x="13062" y="13847"/>
                  </a:cubicBezTo>
                  <a:cubicBezTo>
                    <a:pt x="13303" y="13817"/>
                    <a:pt x="13513" y="13516"/>
                    <a:pt x="13754" y="13366"/>
                  </a:cubicBezTo>
                  <a:cubicBezTo>
                    <a:pt x="13792" y="13338"/>
                    <a:pt x="13817" y="13327"/>
                    <a:pt x="13834" y="13327"/>
                  </a:cubicBezTo>
                  <a:cubicBezTo>
                    <a:pt x="13911" y="13327"/>
                    <a:pt x="13842" y="13557"/>
                    <a:pt x="14236" y="13607"/>
                  </a:cubicBezTo>
                  <a:cubicBezTo>
                    <a:pt x="14645" y="13632"/>
                    <a:pt x="14619" y="13940"/>
                    <a:pt x="14381" y="13940"/>
                  </a:cubicBezTo>
                  <a:cubicBezTo>
                    <a:pt x="14339" y="13940"/>
                    <a:pt x="14290" y="13930"/>
                    <a:pt x="14236" y="13908"/>
                  </a:cubicBezTo>
                  <a:cubicBezTo>
                    <a:pt x="14069" y="13831"/>
                    <a:pt x="13957" y="13787"/>
                    <a:pt x="13856" y="13787"/>
                  </a:cubicBezTo>
                  <a:cubicBezTo>
                    <a:pt x="13719" y="13787"/>
                    <a:pt x="13601" y="13868"/>
                    <a:pt x="13393" y="14058"/>
                  </a:cubicBezTo>
                  <a:cubicBezTo>
                    <a:pt x="13062" y="14359"/>
                    <a:pt x="13363" y="14419"/>
                    <a:pt x="13092" y="14750"/>
                  </a:cubicBezTo>
                  <a:cubicBezTo>
                    <a:pt x="12851" y="15111"/>
                    <a:pt x="12851" y="15292"/>
                    <a:pt x="13152" y="15322"/>
                  </a:cubicBezTo>
                  <a:cubicBezTo>
                    <a:pt x="13453" y="15352"/>
                    <a:pt x="13182" y="15593"/>
                    <a:pt x="12881" y="15713"/>
                  </a:cubicBezTo>
                  <a:cubicBezTo>
                    <a:pt x="12580" y="15804"/>
                    <a:pt x="12791" y="15954"/>
                    <a:pt x="13182" y="15954"/>
                  </a:cubicBezTo>
                  <a:cubicBezTo>
                    <a:pt x="13543" y="15954"/>
                    <a:pt x="14205" y="15352"/>
                    <a:pt x="14747" y="15111"/>
                  </a:cubicBezTo>
                  <a:cubicBezTo>
                    <a:pt x="14950" y="15015"/>
                    <a:pt x="15134" y="14987"/>
                    <a:pt x="15294" y="14987"/>
                  </a:cubicBezTo>
                  <a:cubicBezTo>
                    <a:pt x="15514" y="14987"/>
                    <a:pt x="15688" y="15040"/>
                    <a:pt x="15802" y="15040"/>
                  </a:cubicBezTo>
                  <a:cubicBezTo>
                    <a:pt x="15838" y="15040"/>
                    <a:pt x="15867" y="15035"/>
                    <a:pt x="15891" y="15021"/>
                  </a:cubicBezTo>
                  <a:cubicBezTo>
                    <a:pt x="16041" y="14961"/>
                    <a:pt x="15740" y="14720"/>
                    <a:pt x="15921" y="14660"/>
                  </a:cubicBezTo>
                  <a:cubicBezTo>
                    <a:pt x="16101" y="14570"/>
                    <a:pt x="15710" y="14509"/>
                    <a:pt x="15560" y="14148"/>
                  </a:cubicBezTo>
                  <a:cubicBezTo>
                    <a:pt x="15409" y="13817"/>
                    <a:pt x="15740" y="14058"/>
                    <a:pt x="15831" y="13787"/>
                  </a:cubicBezTo>
                  <a:cubicBezTo>
                    <a:pt x="15857" y="13667"/>
                    <a:pt x="15908" y="13624"/>
                    <a:pt x="15975" y="13624"/>
                  </a:cubicBezTo>
                  <a:cubicBezTo>
                    <a:pt x="16058" y="13624"/>
                    <a:pt x="16165" y="13690"/>
                    <a:pt x="16282" y="13757"/>
                  </a:cubicBezTo>
                  <a:cubicBezTo>
                    <a:pt x="16320" y="13776"/>
                    <a:pt x="16359" y="13782"/>
                    <a:pt x="16398" y="13782"/>
                  </a:cubicBezTo>
                  <a:cubicBezTo>
                    <a:pt x="16459" y="13782"/>
                    <a:pt x="16522" y="13768"/>
                    <a:pt x="16582" y="13768"/>
                  </a:cubicBezTo>
                  <a:cubicBezTo>
                    <a:pt x="16670" y="13768"/>
                    <a:pt x="16753" y="13797"/>
                    <a:pt x="16824" y="13938"/>
                  </a:cubicBezTo>
                  <a:cubicBezTo>
                    <a:pt x="16870" y="14030"/>
                    <a:pt x="16922" y="14057"/>
                    <a:pt x="16981" y="14057"/>
                  </a:cubicBezTo>
                  <a:cubicBezTo>
                    <a:pt x="17063" y="14057"/>
                    <a:pt x="17157" y="14005"/>
                    <a:pt x="17267" y="14005"/>
                  </a:cubicBezTo>
                  <a:cubicBezTo>
                    <a:pt x="17334" y="14005"/>
                    <a:pt x="17407" y="14025"/>
                    <a:pt x="17486" y="14088"/>
                  </a:cubicBezTo>
                  <a:cubicBezTo>
                    <a:pt x="17787" y="14299"/>
                    <a:pt x="17396" y="14269"/>
                    <a:pt x="17095" y="14359"/>
                  </a:cubicBezTo>
                  <a:cubicBezTo>
                    <a:pt x="16846" y="14409"/>
                    <a:pt x="16926" y="14705"/>
                    <a:pt x="17097" y="14705"/>
                  </a:cubicBezTo>
                  <a:cubicBezTo>
                    <a:pt x="17133" y="14705"/>
                    <a:pt x="17173" y="14691"/>
                    <a:pt x="17215" y="14660"/>
                  </a:cubicBezTo>
                  <a:cubicBezTo>
                    <a:pt x="17354" y="14521"/>
                    <a:pt x="17493" y="14408"/>
                    <a:pt x="17632" y="14408"/>
                  </a:cubicBezTo>
                  <a:cubicBezTo>
                    <a:pt x="17704" y="14408"/>
                    <a:pt x="17775" y="14438"/>
                    <a:pt x="17847" y="14509"/>
                  </a:cubicBezTo>
                  <a:cubicBezTo>
                    <a:pt x="17939" y="14578"/>
                    <a:pt x="18000" y="14608"/>
                    <a:pt x="18051" y="14608"/>
                  </a:cubicBezTo>
                  <a:cubicBezTo>
                    <a:pt x="18133" y="14608"/>
                    <a:pt x="18187" y="14531"/>
                    <a:pt x="18298" y="14419"/>
                  </a:cubicBezTo>
                  <a:cubicBezTo>
                    <a:pt x="18348" y="14370"/>
                    <a:pt x="18384" y="14350"/>
                    <a:pt x="18410" y="14350"/>
                  </a:cubicBezTo>
                  <a:cubicBezTo>
                    <a:pt x="18479" y="14350"/>
                    <a:pt x="18479" y="14490"/>
                    <a:pt x="18479" y="14600"/>
                  </a:cubicBezTo>
                  <a:cubicBezTo>
                    <a:pt x="18479" y="14750"/>
                    <a:pt x="18870" y="14810"/>
                    <a:pt x="19382" y="14871"/>
                  </a:cubicBezTo>
                  <a:cubicBezTo>
                    <a:pt x="19619" y="14883"/>
                    <a:pt x="19855" y="14890"/>
                    <a:pt x="20092" y="14890"/>
                  </a:cubicBezTo>
                  <a:cubicBezTo>
                    <a:pt x="20427" y="14890"/>
                    <a:pt x="20762" y="14876"/>
                    <a:pt x="21097" y="14840"/>
                  </a:cubicBezTo>
                  <a:cubicBezTo>
                    <a:pt x="21106" y="14839"/>
                    <a:pt x="21115" y="14839"/>
                    <a:pt x="21123" y="14839"/>
                  </a:cubicBezTo>
                  <a:cubicBezTo>
                    <a:pt x="21334" y="14839"/>
                    <a:pt x="21297" y="15205"/>
                    <a:pt x="21789" y="15292"/>
                  </a:cubicBezTo>
                  <a:cubicBezTo>
                    <a:pt x="21815" y="15295"/>
                    <a:pt x="21841" y="15296"/>
                    <a:pt x="21865" y="15296"/>
                  </a:cubicBezTo>
                  <a:cubicBezTo>
                    <a:pt x="22261" y="15296"/>
                    <a:pt x="22433" y="14934"/>
                    <a:pt x="22641" y="14934"/>
                  </a:cubicBezTo>
                  <a:cubicBezTo>
                    <a:pt x="22686" y="14934"/>
                    <a:pt x="22732" y="14950"/>
                    <a:pt x="22782" y="14991"/>
                  </a:cubicBezTo>
                  <a:cubicBezTo>
                    <a:pt x="23083" y="15202"/>
                    <a:pt x="22782" y="15292"/>
                    <a:pt x="22632" y="15472"/>
                  </a:cubicBezTo>
                  <a:cubicBezTo>
                    <a:pt x="22482" y="15653"/>
                    <a:pt x="22782" y="15653"/>
                    <a:pt x="22993" y="15743"/>
                  </a:cubicBezTo>
                  <a:cubicBezTo>
                    <a:pt x="23324" y="15864"/>
                    <a:pt x="23655" y="16044"/>
                    <a:pt x="23956" y="16225"/>
                  </a:cubicBezTo>
                  <a:cubicBezTo>
                    <a:pt x="24197" y="16526"/>
                    <a:pt x="24498" y="16797"/>
                    <a:pt x="24859" y="16977"/>
                  </a:cubicBezTo>
                  <a:cubicBezTo>
                    <a:pt x="24925" y="17010"/>
                    <a:pt x="24976" y="17025"/>
                    <a:pt x="25014" y="17025"/>
                  </a:cubicBezTo>
                  <a:cubicBezTo>
                    <a:pt x="25247" y="17025"/>
                    <a:pt x="25033" y="16498"/>
                    <a:pt x="25187" y="16498"/>
                  </a:cubicBezTo>
                  <a:cubicBezTo>
                    <a:pt x="25214" y="16498"/>
                    <a:pt x="25254" y="16516"/>
                    <a:pt x="25310" y="16556"/>
                  </a:cubicBezTo>
                  <a:cubicBezTo>
                    <a:pt x="25702" y="16857"/>
                    <a:pt x="25611" y="16616"/>
                    <a:pt x="25942" y="16917"/>
                  </a:cubicBezTo>
                  <a:cubicBezTo>
                    <a:pt x="26019" y="16986"/>
                    <a:pt x="26071" y="17017"/>
                    <a:pt x="26105" y="17017"/>
                  </a:cubicBezTo>
                  <a:cubicBezTo>
                    <a:pt x="26216" y="17017"/>
                    <a:pt x="26118" y="16672"/>
                    <a:pt x="26003" y="16255"/>
                  </a:cubicBezTo>
                  <a:cubicBezTo>
                    <a:pt x="25945" y="16057"/>
                    <a:pt x="25954" y="15985"/>
                    <a:pt x="25996" y="15985"/>
                  </a:cubicBezTo>
                  <a:cubicBezTo>
                    <a:pt x="26062" y="15985"/>
                    <a:pt x="26211" y="16167"/>
                    <a:pt x="26304" y="16315"/>
                  </a:cubicBezTo>
                  <a:cubicBezTo>
                    <a:pt x="26484" y="16616"/>
                    <a:pt x="26514" y="17007"/>
                    <a:pt x="26394" y="17368"/>
                  </a:cubicBezTo>
                  <a:cubicBezTo>
                    <a:pt x="26354" y="17467"/>
                    <a:pt x="26273" y="17504"/>
                    <a:pt x="26182" y="17504"/>
                  </a:cubicBezTo>
                  <a:cubicBezTo>
                    <a:pt x="25996" y="17504"/>
                    <a:pt x="25772" y="17349"/>
                    <a:pt x="25792" y="17248"/>
                  </a:cubicBezTo>
                  <a:cubicBezTo>
                    <a:pt x="25804" y="17187"/>
                    <a:pt x="25718" y="17156"/>
                    <a:pt x="25612" y="17156"/>
                  </a:cubicBezTo>
                  <a:cubicBezTo>
                    <a:pt x="25454" y="17156"/>
                    <a:pt x="25250" y="17225"/>
                    <a:pt x="25250" y="17368"/>
                  </a:cubicBezTo>
                  <a:cubicBezTo>
                    <a:pt x="25310" y="17699"/>
                    <a:pt x="25551" y="18000"/>
                    <a:pt x="25912" y="18151"/>
                  </a:cubicBezTo>
                  <a:cubicBezTo>
                    <a:pt x="26213" y="18181"/>
                    <a:pt x="25973" y="18632"/>
                    <a:pt x="26153" y="18663"/>
                  </a:cubicBezTo>
                  <a:cubicBezTo>
                    <a:pt x="26357" y="18721"/>
                    <a:pt x="26392" y="19175"/>
                    <a:pt x="26531" y="19175"/>
                  </a:cubicBezTo>
                  <a:cubicBezTo>
                    <a:pt x="26535" y="19175"/>
                    <a:pt x="26540" y="19175"/>
                    <a:pt x="26544" y="19174"/>
                  </a:cubicBezTo>
                  <a:cubicBezTo>
                    <a:pt x="26695" y="19114"/>
                    <a:pt x="26605" y="18512"/>
                    <a:pt x="26454" y="18301"/>
                  </a:cubicBezTo>
                  <a:cubicBezTo>
                    <a:pt x="26315" y="18079"/>
                    <a:pt x="26356" y="17753"/>
                    <a:pt x="26530" y="17753"/>
                  </a:cubicBezTo>
                  <a:cubicBezTo>
                    <a:pt x="26544" y="17753"/>
                    <a:pt x="26559" y="17755"/>
                    <a:pt x="26574" y="17760"/>
                  </a:cubicBezTo>
                  <a:cubicBezTo>
                    <a:pt x="26815" y="17850"/>
                    <a:pt x="26574" y="18181"/>
                    <a:pt x="26695" y="18331"/>
                  </a:cubicBezTo>
                  <a:cubicBezTo>
                    <a:pt x="26718" y="18360"/>
                    <a:pt x="26740" y="18373"/>
                    <a:pt x="26762" y="18373"/>
                  </a:cubicBezTo>
                  <a:cubicBezTo>
                    <a:pt x="26856" y="18373"/>
                    <a:pt x="26952" y="18158"/>
                    <a:pt x="27146" y="18061"/>
                  </a:cubicBezTo>
                  <a:cubicBezTo>
                    <a:pt x="27357" y="17970"/>
                    <a:pt x="27056" y="17519"/>
                    <a:pt x="27146" y="17308"/>
                  </a:cubicBezTo>
                  <a:cubicBezTo>
                    <a:pt x="27158" y="17273"/>
                    <a:pt x="27178" y="17258"/>
                    <a:pt x="27205" y="17258"/>
                  </a:cubicBezTo>
                  <a:cubicBezTo>
                    <a:pt x="27316" y="17258"/>
                    <a:pt x="27531" y="17534"/>
                    <a:pt x="27628" y="17850"/>
                  </a:cubicBezTo>
                  <a:cubicBezTo>
                    <a:pt x="27748" y="18211"/>
                    <a:pt x="27357" y="18181"/>
                    <a:pt x="27357" y="18362"/>
                  </a:cubicBezTo>
                  <a:cubicBezTo>
                    <a:pt x="27357" y="18572"/>
                    <a:pt x="27026" y="18482"/>
                    <a:pt x="26905" y="18602"/>
                  </a:cubicBezTo>
                  <a:cubicBezTo>
                    <a:pt x="26815" y="18723"/>
                    <a:pt x="26845" y="19415"/>
                    <a:pt x="26996" y="19415"/>
                  </a:cubicBezTo>
                  <a:cubicBezTo>
                    <a:pt x="27114" y="19415"/>
                    <a:pt x="27176" y="19083"/>
                    <a:pt x="27255" y="19083"/>
                  </a:cubicBezTo>
                  <a:cubicBezTo>
                    <a:pt x="27277" y="19083"/>
                    <a:pt x="27301" y="19109"/>
                    <a:pt x="27327" y="19174"/>
                  </a:cubicBezTo>
                  <a:cubicBezTo>
                    <a:pt x="27348" y="19228"/>
                    <a:pt x="27376" y="19249"/>
                    <a:pt x="27406" y="19249"/>
                  </a:cubicBezTo>
                  <a:cubicBezTo>
                    <a:pt x="27517" y="19249"/>
                    <a:pt x="27670" y="18979"/>
                    <a:pt x="27755" y="18979"/>
                  </a:cubicBezTo>
                  <a:cubicBezTo>
                    <a:pt x="27779" y="18979"/>
                    <a:pt x="27798" y="19000"/>
                    <a:pt x="27808" y="19054"/>
                  </a:cubicBezTo>
                  <a:cubicBezTo>
                    <a:pt x="27887" y="19318"/>
                    <a:pt x="28244" y="19582"/>
                    <a:pt x="28433" y="19582"/>
                  </a:cubicBezTo>
                  <a:cubicBezTo>
                    <a:pt x="28459" y="19582"/>
                    <a:pt x="28482" y="19576"/>
                    <a:pt x="28500" y="19565"/>
                  </a:cubicBezTo>
                  <a:cubicBezTo>
                    <a:pt x="28651" y="19505"/>
                    <a:pt x="28410" y="19204"/>
                    <a:pt x="28169" y="19174"/>
                  </a:cubicBezTo>
                  <a:cubicBezTo>
                    <a:pt x="27899" y="19114"/>
                    <a:pt x="27959" y="18753"/>
                    <a:pt x="28200" y="18753"/>
                  </a:cubicBezTo>
                  <a:cubicBezTo>
                    <a:pt x="28410" y="18753"/>
                    <a:pt x="28832" y="19325"/>
                    <a:pt x="28801" y="19535"/>
                  </a:cubicBezTo>
                  <a:cubicBezTo>
                    <a:pt x="28741" y="19776"/>
                    <a:pt x="28621" y="19716"/>
                    <a:pt x="28410" y="19957"/>
                  </a:cubicBezTo>
                  <a:cubicBezTo>
                    <a:pt x="28383" y="19988"/>
                    <a:pt x="28353" y="20001"/>
                    <a:pt x="28321" y="20001"/>
                  </a:cubicBezTo>
                  <a:cubicBezTo>
                    <a:pt x="28151" y="20001"/>
                    <a:pt x="27920" y="19621"/>
                    <a:pt x="27723" y="19621"/>
                  </a:cubicBezTo>
                  <a:cubicBezTo>
                    <a:pt x="27711" y="19621"/>
                    <a:pt x="27699" y="19623"/>
                    <a:pt x="27688" y="19626"/>
                  </a:cubicBezTo>
                  <a:cubicBezTo>
                    <a:pt x="27477" y="19656"/>
                    <a:pt x="27688" y="19957"/>
                    <a:pt x="27808" y="20227"/>
                  </a:cubicBezTo>
                  <a:cubicBezTo>
                    <a:pt x="27929" y="20468"/>
                    <a:pt x="27537" y="20769"/>
                    <a:pt x="27838" y="21010"/>
                  </a:cubicBezTo>
                  <a:cubicBezTo>
                    <a:pt x="27904" y="21056"/>
                    <a:pt x="27951" y="21075"/>
                    <a:pt x="27985" y="21075"/>
                  </a:cubicBezTo>
                  <a:cubicBezTo>
                    <a:pt x="28107" y="21075"/>
                    <a:pt x="28062" y="20833"/>
                    <a:pt x="28109" y="20739"/>
                  </a:cubicBezTo>
                  <a:cubicBezTo>
                    <a:pt x="28133" y="20708"/>
                    <a:pt x="28162" y="20695"/>
                    <a:pt x="28196" y="20695"/>
                  </a:cubicBezTo>
                  <a:cubicBezTo>
                    <a:pt x="28291" y="20695"/>
                    <a:pt x="28419" y="20800"/>
                    <a:pt x="28531" y="20890"/>
                  </a:cubicBezTo>
                  <a:cubicBezTo>
                    <a:pt x="28549" y="20904"/>
                    <a:pt x="28566" y="20911"/>
                    <a:pt x="28581" y="20911"/>
                  </a:cubicBezTo>
                  <a:cubicBezTo>
                    <a:pt x="28688" y="20911"/>
                    <a:pt x="28711" y="20570"/>
                    <a:pt x="28711" y="20438"/>
                  </a:cubicBezTo>
                  <a:cubicBezTo>
                    <a:pt x="28711" y="20387"/>
                    <a:pt x="28743" y="20363"/>
                    <a:pt x="28790" y="20363"/>
                  </a:cubicBezTo>
                  <a:cubicBezTo>
                    <a:pt x="28882" y="20363"/>
                    <a:pt x="29033" y="20450"/>
                    <a:pt x="29132" y="20589"/>
                  </a:cubicBezTo>
                  <a:cubicBezTo>
                    <a:pt x="29164" y="20640"/>
                    <a:pt x="29190" y="20660"/>
                    <a:pt x="29211" y="20660"/>
                  </a:cubicBezTo>
                  <a:cubicBezTo>
                    <a:pt x="29288" y="20660"/>
                    <a:pt x="29319" y="20407"/>
                    <a:pt x="29446" y="20407"/>
                  </a:cubicBezTo>
                  <a:cubicBezTo>
                    <a:pt x="29452" y="20407"/>
                    <a:pt x="29458" y="20407"/>
                    <a:pt x="29464" y="20408"/>
                  </a:cubicBezTo>
                  <a:cubicBezTo>
                    <a:pt x="29644" y="20438"/>
                    <a:pt x="29554" y="20769"/>
                    <a:pt x="29554" y="20980"/>
                  </a:cubicBezTo>
                  <a:cubicBezTo>
                    <a:pt x="29554" y="21016"/>
                    <a:pt x="29568" y="21029"/>
                    <a:pt x="29591" y="21029"/>
                  </a:cubicBezTo>
                  <a:cubicBezTo>
                    <a:pt x="29654" y="21029"/>
                    <a:pt x="29781" y="20929"/>
                    <a:pt x="29846" y="20929"/>
                  </a:cubicBezTo>
                  <a:cubicBezTo>
                    <a:pt x="29875" y="20929"/>
                    <a:pt x="29892" y="20950"/>
                    <a:pt x="29885" y="21010"/>
                  </a:cubicBezTo>
                  <a:lnTo>
                    <a:pt x="29885" y="21070"/>
                  </a:lnTo>
                  <a:lnTo>
                    <a:pt x="30457" y="20709"/>
                  </a:lnTo>
                  <a:cubicBezTo>
                    <a:pt x="30818" y="20438"/>
                    <a:pt x="30156" y="20288"/>
                    <a:pt x="30276" y="19987"/>
                  </a:cubicBezTo>
                  <a:cubicBezTo>
                    <a:pt x="30366" y="19686"/>
                    <a:pt x="30427" y="19505"/>
                    <a:pt x="29524" y="19174"/>
                  </a:cubicBezTo>
                  <a:cubicBezTo>
                    <a:pt x="28621" y="18813"/>
                    <a:pt x="28711" y="18572"/>
                    <a:pt x="28109" y="17459"/>
                  </a:cubicBezTo>
                  <a:cubicBezTo>
                    <a:pt x="27507" y="16375"/>
                    <a:pt x="26394" y="15924"/>
                    <a:pt x="26394" y="15563"/>
                  </a:cubicBezTo>
                  <a:cubicBezTo>
                    <a:pt x="26394" y="15354"/>
                    <a:pt x="26095" y="15257"/>
                    <a:pt x="25816" y="15257"/>
                  </a:cubicBezTo>
                  <a:cubicBezTo>
                    <a:pt x="25570" y="15257"/>
                    <a:pt x="25341" y="15332"/>
                    <a:pt x="25341" y="15472"/>
                  </a:cubicBezTo>
                  <a:cubicBezTo>
                    <a:pt x="25341" y="15773"/>
                    <a:pt x="24859" y="15894"/>
                    <a:pt x="24618" y="16044"/>
                  </a:cubicBezTo>
                  <a:cubicBezTo>
                    <a:pt x="24567" y="16076"/>
                    <a:pt x="24522" y="16090"/>
                    <a:pt x="24479" y="16090"/>
                  </a:cubicBezTo>
                  <a:cubicBezTo>
                    <a:pt x="24320" y="16090"/>
                    <a:pt x="24200" y="15890"/>
                    <a:pt x="23986" y="15653"/>
                  </a:cubicBezTo>
                  <a:cubicBezTo>
                    <a:pt x="23715" y="15352"/>
                    <a:pt x="23204" y="15051"/>
                    <a:pt x="23204" y="14871"/>
                  </a:cubicBezTo>
                  <a:cubicBezTo>
                    <a:pt x="23204" y="14721"/>
                    <a:pt x="23100" y="14405"/>
                    <a:pt x="22841" y="14405"/>
                  </a:cubicBezTo>
                  <a:cubicBezTo>
                    <a:pt x="22788" y="14405"/>
                    <a:pt x="22729" y="14418"/>
                    <a:pt x="22662" y="14449"/>
                  </a:cubicBezTo>
                  <a:cubicBezTo>
                    <a:pt x="22520" y="14532"/>
                    <a:pt x="22396" y="14550"/>
                    <a:pt x="22291" y="14550"/>
                  </a:cubicBezTo>
                  <a:cubicBezTo>
                    <a:pt x="22214" y="14550"/>
                    <a:pt x="22148" y="14541"/>
                    <a:pt x="22091" y="14541"/>
                  </a:cubicBezTo>
                  <a:cubicBezTo>
                    <a:pt x="22028" y="14541"/>
                    <a:pt x="21978" y="14552"/>
                    <a:pt x="21940" y="14600"/>
                  </a:cubicBezTo>
                  <a:cubicBezTo>
                    <a:pt x="21916" y="14639"/>
                    <a:pt x="21874" y="14654"/>
                    <a:pt x="21824" y="14654"/>
                  </a:cubicBezTo>
                  <a:cubicBezTo>
                    <a:pt x="21684" y="14654"/>
                    <a:pt x="21488" y="14540"/>
                    <a:pt x="21488" y="14540"/>
                  </a:cubicBezTo>
                  <a:lnTo>
                    <a:pt x="21488" y="2381"/>
                  </a:lnTo>
                  <a:lnTo>
                    <a:pt x="21157" y="2291"/>
                  </a:lnTo>
                  <a:cubicBezTo>
                    <a:pt x="20701" y="2130"/>
                    <a:pt x="20053" y="1825"/>
                    <a:pt x="19620" y="1825"/>
                  </a:cubicBezTo>
                  <a:cubicBezTo>
                    <a:pt x="19567" y="1825"/>
                    <a:pt x="19518" y="1830"/>
                    <a:pt x="19472" y="1840"/>
                  </a:cubicBezTo>
                  <a:cubicBezTo>
                    <a:pt x="19208" y="1915"/>
                    <a:pt x="18802" y="1979"/>
                    <a:pt x="18470" y="1979"/>
                  </a:cubicBezTo>
                  <a:cubicBezTo>
                    <a:pt x="18271" y="1979"/>
                    <a:pt x="18099" y="1956"/>
                    <a:pt x="17997" y="1900"/>
                  </a:cubicBezTo>
                  <a:cubicBezTo>
                    <a:pt x="17701" y="1740"/>
                    <a:pt x="17388" y="1667"/>
                    <a:pt x="17070" y="1667"/>
                  </a:cubicBezTo>
                  <a:cubicBezTo>
                    <a:pt x="16968" y="1667"/>
                    <a:pt x="16866" y="1675"/>
                    <a:pt x="16764" y="1689"/>
                  </a:cubicBezTo>
                  <a:cubicBezTo>
                    <a:pt x="16686" y="1705"/>
                    <a:pt x="16612" y="1712"/>
                    <a:pt x="16540" y="1712"/>
                  </a:cubicBezTo>
                  <a:cubicBezTo>
                    <a:pt x="16056" y="1712"/>
                    <a:pt x="15681" y="1391"/>
                    <a:pt x="15078" y="1208"/>
                  </a:cubicBezTo>
                  <a:cubicBezTo>
                    <a:pt x="14864" y="1180"/>
                    <a:pt x="14650" y="1166"/>
                    <a:pt x="14436" y="1166"/>
                  </a:cubicBezTo>
                  <a:cubicBezTo>
                    <a:pt x="13960" y="1166"/>
                    <a:pt x="13489" y="1233"/>
                    <a:pt x="13032" y="1358"/>
                  </a:cubicBezTo>
                  <a:cubicBezTo>
                    <a:pt x="13008" y="1368"/>
                    <a:pt x="12988" y="1373"/>
                    <a:pt x="12969" y="1373"/>
                  </a:cubicBezTo>
                  <a:cubicBezTo>
                    <a:pt x="12836" y="1373"/>
                    <a:pt x="12820" y="1141"/>
                    <a:pt x="12615" y="1141"/>
                  </a:cubicBezTo>
                  <a:cubicBezTo>
                    <a:pt x="12595" y="1141"/>
                    <a:pt x="12574" y="1143"/>
                    <a:pt x="12550" y="1147"/>
                  </a:cubicBezTo>
                  <a:cubicBezTo>
                    <a:pt x="12528" y="1150"/>
                    <a:pt x="12509" y="1151"/>
                    <a:pt x="12492" y="1151"/>
                  </a:cubicBezTo>
                  <a:cubicBezTo>
                    <a:pt x="12278" y="1151"/>
                    <a:pt x="12447" y="977"/>
                    <a:pt x="12279" y="726"/>
                  </a:cubicBezTo>
                  <a:cubicBezTo>
                    <a:pt x="12220" y="637"/>
                    <a:pt x="12087" y="607"/>
                    <a:pt x="11924" y="607"/>
                  </a:cubicBezTo>
                  <a:cubicBezTo>
                    <a:pt x="11589" y="607"/>
                    <a:pt x="11128" y="736"/>
                    <a:pt x="10925" y="756"/>
                  </a:cubicBezTo>
                  <a:cubicBezTo>
                    <a:pt x="10903" y="758"/>
                    <a:pt x="10881" y="759"/>
                    <a:pt x="10861" y="759"/>
                  </a:cubicBezTo>
                  <a:cubicBezTo>
                    <a:pt x="10607" y="759"/>
                    <a:pt x="10504" y="592"/>
                    <a:pt x="10504" y="425"/>
                  </a:cubicBezTo>
                  <a:cubicBezTo>
                    <a:pt x="10504" y="358"/>
                    <a:pt x="10471" y="328"/>
                    <a:pt x="10423" y="328"/>
                  </a:cubicBezTo>
                  <a:cubicBezTo>
                    <a:pt x="10341" y="328"/>
                    <a:pt x="10218" y="413"/>
                    <a:pt x="10143" y="546"/>
                  </a:cubicBezTo>
                  <a:cubicBezTo>
                    <a:pt x="10055" y="668"/>
                    <a:pt x="9916" y="730"/>
                    <a:pt x="9779" y="730"/>
                  </a:cubicBezTo>
                  <a:cubicBezTo>
                    <a:pt x="9682" y="730"/>
                    <a:pt x="9586" y="699"/>
                    <a:pt x="9511" y="636"/>
                  </a:cubicBezTo>
                  <a:cubicBezTo>
                    <a:pt x="9390" y="485"/>
                    <a:pt x="9812" y="455"/>
                    <a:pt x="9842" y="305"/>
                  </a:cubicBezTo>
                  <a:cubicBezTo>
                    <a:pt x="9872" y="154"/>
                    <a:pt x="9390" y="34"/>
                    <a:pt x="9210" y="4"/>
                  </a:cubicBezTo>
                  <a:cubicBezTo>
                    <a:pt x="9195" y="2"/>
                    <a:pt x="9179" y="1"/>
                    <a:pt x="9164" y="1"/>
                  </a:cubicBezTo>
                  <a:close/>
                  <a:moveTo>
                    <a:pt x="3522" y="20874"/>
                  </a:moveTo>
                  <a:cubicBezTo>
                    <a:pt x="3077" y="20874"/>
                    <a:pt x="2260" y="21376"/>
                    <a:pt x="2589" y="21431"/>
                  </a:cubicBezTo>
                  <a:cubicBezTo>
                    <a:pt x="2608" y="21433"/>
                    <a:pt x="2627" y="21434"/>
                    <a:pt x="2644" y="21434"/>
                  </a:cubicBezTo>
                  <a:cubicBezTo>
                    <a:pt x="2921" y="21434"/>
                    <a:pt x="2938" y="21221"/>
                    <a:pt x="3221" y="21221"/>
                  </a:cubicBezTo>
                  <a:cubicBezTo>
                    <a:pt x="3522" y="21221"/>
                    <a:pt x="4003" y="21040"/>
                    <a:pt x="3642" y="20890"/>
                  </a:cubicBezTo>
                  <a:cubicBezTo>
                    <a:pt x="3607" y="20879"/>
                    <a:pt x="3566" y="20874"/>
                    <a:pt x="3522" y="20874"/>
                  </a:cubicBezTo>
                  <a:close/>
                  <a:moveTo>
                    <a:pt x="1021" y="21845"/>
                  </a:moveTo>
                  <a:cubicBezTo>
                    <a:pt x="830" y="21845"/>
                    <a:pt x="437" y="22500"/>
                    <a:pt x="606" y="22500"/>
                  </a:cubicBezTo>
                  <a:cubicBezTo>
                    <a:pt x="620" y="22500"/>
                    <a:pt x="639" y="22495"/>
                    <a:pt x="663" y="22485"/>
                  </a:cubicBezTo>
                  <a:cubicBezTo>
                    <a:pt x="1084" y="22334"/>
                    <a:pt x="1235" y="22093"/>
                    <a:pt x="1084" y="21883"/>
                  </a:cubicBezTo>
                  <a:cubicBezTo>
                    <a:pt x="1068" y="21856"/>
                    <a:pt x="1046" y="21845"/>
                    <a:pt x="1021" y="21845"/>
                  </a:cubicBezTo>
                  <a:close/>
                  <a:moveTo>
                    <a:pt x="58224" y="26601"/>
                  </a:moveTo>
                  <a:cubicBezTo>
                    <a:pt x="58054" y="26601"/>
                    <a:pt x="58054" y="26999"/>
                    <a:pt x="58054" y="26999"/>
                  </a:cubicBezTo>
                  <a:lnTo>
                    <a:pt x="36235" y="27149"/>
                  </a:lnTo>
                  <a:cubicBezTo>
                    <a:pt x="36265" y="27149"/>
                    <a:pt x="36265" y="27179"/>
                    <a:pt x="36325" y="27209"/>
                  </a:cubicBezTo>
                  <a:cubicBezTo>
                    <a:pt x="36355" y="27239"/>
                    <a:pt x="36355" y="27691"/>
                    <a:pt x="36476" y="28052"/>
                  </a:cubicBezTo>
                  <a:cubicBezTo>
                    <a:pt x="36596" y="28383"/>
                    <a:pt x="36476" y="28865"/>
                    <a:pt x="36205" y="28865"/>
                  </a:cubicBezTo>
                  <a:cubicBezTo>
                    <a:pt x="35994" y="28865"/>
                    <a:pt x="35904" y="28564"/>
                    <a:pt x="36084" y="28443"/>
                  </a:cubicBezTo>
                  <a:cubicBezTo>
                    <a:pt x="36325" y="28323"/>
                    <a:pt x="36205" y="27962"/>
                    <a:pt x="36024" y="27962"/>
                  </a:cubicBezTo>
                  <a:cubicBezTo>
                    <a:pt x="35844" y="27962"/>
                    <a:pt x="35844" y="27811"/>
                    <a:pt x="35874" y="27661"/>
                  </a:cubicBezTo>
                  <a:lnTo>
                    <a:pt x="35874" y="27661"/>
                  </a:lnTo>
                  <a:cubicBezTo>
                    <a:pt x="35663" y="27706"/>
                    <a:pt x="35445" y="27729"/>
                    <a:pt x="35227" y="27729"/>
                  </a:cubicBezTo>
                  <a:cubicBezTo>
                    <a:pt x="35008" y="27729"/>
                    <a:pt x="34790" y="27706"/>
                    <a:pt x="34580" y="27661"/>
                  </a:cubicBezTo>
                  <a:lnTo>
                    <a:pt x="34580" y="27661"/>
                  </a:lnTo>
                  <a:cubicBezTo>
                    <a:pt x="34610" y="27691"/>
                    <a:pt x="34610" y="27691"/>
                    <a:pt x="34610" y="27721"/>
                  </a:cubicBezTo>
                  <a:cubicBezTo>
                    <a:pt x="34670" y="28112"/>
                    <a:pt x="34790" y="28473"/>
                    <a:pt x="35031" y="28774"/>
                  </a:cubicBezTo>
                  <a:cubicBezTo>
                    <a:pt x="35302" y="29166"/>
                    <a:pt x="35121" y="29376"/>
                    <a:pt x="35362" y="29497"/>
                  </a:cubicBezTo>
                  <a:cubicBezTo>
                    <a:pt x="35613" y="29608"/>
                    <a:pt x="35606" y="29771"/>
                    <a:pt x="35413" y="29771"/>
                  </a:cubicBezTo>
                  <a:cubicBezTo>
                    <a:pt x="35397" y="29771"/>
                    <a:pt x="35380" y="29770"/>
                    <a:pt x="35362" y="29767"/>
                  </a:cubicBezTo>
                  <a:cubicBezTo>
                    <a:pt x="35350" y="29766"/>
                    <a:pt x="35340" y="29765"/>
                    <a:pt x="35330" y="29765"/>
                  </a:cubicBezTo>
                  <a:cubicBezTo>
                    <a:pt x="35167" y="29765"/>
                    <a:pt x="35297" y="30008"/>
                    <a:pt x="35212" y="30520"/>
                  </a:cubicBezTo>
                  <a:cubicBezTo>
                    <a:pt x="35151" y="31031"/>
                    <a:pt x="35151" y="32085"/>
                    <a:pt x="35061" y="32446"/>
                  </a:cubicBezTo>
                  <a:cubicBezTo>
                    <a:pt x="35001" y="32777"/>
                    <a:pt x="34670" y="33349"/>
                    <a:pt x="34881" y="33680"/>
                  </a:cubicBezTo>
                  <a:cubicBezTo>
                    <a:pt x="35151" y="34041"/>
                    <a:pt x="35242" y="34522"/>
                    <a:pt x="35151" y="34944"/>
                  </a:cubicBezTo>
                  <a:cubicBezTo>
                    <a:pt x="35031" y="35305"/>
                    <a:pt x="35031" y="35696"/>
                    <a:pt x="35212" y="35997"/>
                  </a:cubicBezTo>
                  <a:cubicBezTo>
                    <a:pt x="35422" y="36328"/>
                    <a:pt x="35272" y="36930"/>
                    <a:pt x="35482" y="37020"/>
                  </a:cubicBezTo>
                  <a:cubicBezTo>
                    <a:pt x="35723" y="37231"/>
                    <a:pt x="35934" y="37442"/>
                    <a:pt x="36084" y="37712"/>
                  </a:cubicBezTo>
                  <a:cubicBezTo>
                    <a:pt x="36265" y="38043"/>
                    <a:pt x="36415" y="37863"/>
                    <a:pt x="36476" y="38164"/>
                  </a:cubicBezTo>
                  <a:cubicBezTo>
                    <a:pt x="36506" y="38465"/>
                    <a:pt x="36506" y="38525"/>
                    <a:pt x="36807" y="38645"/>
                  </a:cubicBezTo>
                  <a:cubicBezTo>
                    <a:pt x="37108" y="38766"/>
                    <a:pt x="36867" y="39097"/>
                    <a:pt x="36867" y="39247"/>
                  </a:cubicBezTo>
                  <a:cubicBezTo>
                    <a:pt x="36867" y="39398"/>
                    <a:pt x="37258" y="39759"/>
                    <a:pt x="37709" y="40150"/>
                  </a:cubicBezTo>
                  <a:cubicBezTo>
                    <a:pt x="38161" y="40541"/>
                    <a:pt x="37770" y="40902"/>
                    <a:pt x="38131" y="40902"/>
                  </a:cubicBezTo>
                  <a:cubicBezTo>
                    <a:pt x="38492" y="40933"/>
                    <a:pt x="38823" y="41083"/>
                    <a:pt x="39094" y="41324"/>
                  </a:cubicBezTo>
                  <a:cubicBezTo>
                    <a:pt x="39259" y="41414"/>
                    <a:pt x="39372" y="41429"/>
                    <a:pt x="39474" y="41429"/>
                  </a:cubicBezTo>
                  <a:cubicBezTo>
                    <a:pt x="39525" y="41429"/>
                    <a:pt x="39573" y="41425"/>
                    <a:pt x="39623" y="41425"/>
                  </a:cubicBezTo>
                  <a:cubicBezTo>
                    <a:pt x="39673" y="41425"/>
                    <a:pt x="39726" y="41429"/>
                    <a:pt x="39786" y="41444"/>
                  </a:cubicBezTo>
                  <a:cubicBezTo>
                    <a:pt x="40117" y="41655"/>
                    <a:pt x="40388" y="41956"/>
                    <a:pt x="40538" y="42347"/>
                  </a:cubicBezTo>
                  <a:cubicBezTo>
                    <a:pt x="40568" y="42497"/>
                    <a:pt x="40629" y="42648"/>
                    <a:pt x="40689" y="42828"/>
                  </a:cubicBezTo>
                  <a:lnTo>
                    <a:pt x="42525" y="42588"/>
                  </a:lnTo>
                  <a:cubicBezTo>
                    <a:pt x="42796" y="42768"/>
                    <a:pt x="43096" y="42919"/>
                    <a:pt x="43397" y="43039"/>
                  </a:cubicBezTo>
                  <a:cubicBezTo>
                    <a:pt x="43728" y="43129"/>
                    <a:pt x="45444" y="43761"/>
                    <a:pt x="45444" y="43761"/>
                  </a:cubicBezTo>
                  <a:lnTo>
                    <a:pt x="47671" y="43761"/>
                  </a:lnTo>
                  <a:lnTo>
                    <a:pt x="47942" y="43460"/>
                  </a:lnTo>
                  <a:lnTo>
                    <a:pt x="49176" y="43460"/>
                  </a:lnTo>
                  <a:cubicBezTo>
                    <a:pt x="49477" y="43731"/>
                    <a:pt x="49777" y="44002"/>
                    <a:pt x="50078" y="44243"/>
                  </a:cubicBezTo>
                  <a:cubicBezTo>
                    <a:pt x="50199" y="44303"/>
                    <a:pt x="50620" y="44634"/>
                    <a:pt x="50620" y="44845"/>
                  </a:cubicBezTo>
                  <a:cubicBezTo>
                    <a:pt x="50590" y="45056"/>
                    <a:pt x="50710" y="45266"/>
                    <a:pt x="50891" y="45387"/>
                  </a:cubicBezTo>
                  <a:cubicBezTo>
                    <a:pt x="51065" y="45445"/>
                    <a:pt x="51661" y="45839"/>
                    <a:pt x="51810" y="45839"/>
                  </a:cubicBezTo>
                  <a:cubicBezTo>
                    <a:pt x="51815" y="45839"/>
                    <a:pt x="51820" y="45839"/>
                    <a:pt x="51824" y="45838"/>
                  </a:cubicBezTo>
                  <a:cubicBezTo>
                    <a:pt x="51942" y="45779"/>
                    <a:pt x="52060" y="45115"/>
                    <a:pt x="52403" y="45115"/>
                  </a:cubicBezTo>
                  <a:cubicBezTo>
                    <a:pt x="52411" y="45115"/>
                    <a:pt x="52418" y="45115"/>
                    <a:pt x="52426" y="45116"/>
                  </a:cubicBezTo>
                  <a:cubicBezTo>
                    <a:pt x="52757" y="45146"/>
                    <a:pt x="53660" y="45387"/>
                    <a:pt x="53810" y="45898"/>
                  </a:cubicBezTo>
                  <a:cubicBezTo>
                    <a:pt x="53961" y="46319"/>
                    <a:pt x="54201" y="46711"/>
                    <a:pt x="54563" y="46982"/>
                  </a:cubicBezTo>
                  <a:cubicBezTo>
                    <a:pt x="54713" y="47102"/>
                    <a:pt x="54623" y="47403"/>
                    <a:pt x="54743" y="47583"/>
                  </a:cubicBezTo>
                  <a:cubicBezTo>
                    <a:pt x="54864" y="47794"/>
                    <a:pt x="54864" y="48095"/>
                    <a:pt x="54984" y="48095"/>
                  </a:cubicBezTo>
                  <a:cubicBezTo>
                    <a:pt x="55071" y="48095"/>
                    <a:pt x="55744" y="48458"/>
                    <a:pt x="56062" y="48458"/>
                  </a:cubicBezTo>
                  <a:cubicBezTo>
                    <a:pt x="56075" y="48458"/>
                    <a:pt x="56086" y="48457"/>
                    <a:pt x="56097" y="48456"/>
                  </a:cubicBezTo>
                  <a:lnTo>
                    <a:pt x="56428" y="48577"/>
                  </a:lnTo>
                  <a:cubicBezTo>
                    <a:pt x="56489" y="47975"/>
                    <a:pt x="55796" y="47854"/>
                    <a:pt x="56188" y="47553"/>
                  </a:cubicBezTo>
                  <a:cubicBezTo>
                    <a:pt x="56549" y="47252"/>
                    <a:pt x="56188" y="46951"/>
                    <a:pt x="56398" y="46801"/>
                  </a:cubicBezTo>
                  <a:cubicBezTo>
                    <a:pt x="56639" y="46651"/>
                    <a:pt x="56970" y="46560"/>
                    <a:pt x="56970" y="46319"/>
                  </a:cubicBezTo>
                  <a:cubicBezTo>
                    <a:pt x="56970" y="46176"/>
                    <a:pt x="57034" y="46140"/>
                    <a:pt x="57149" y="46140"/>
                  </a:cubicBezTo>
                  <a:cubicBezTo>
                    <a:pt x="57227" y="46140"/>
                    <a:pt x="57330" y="46157"/>
                    <a:pt x="57452" y="46169"/>
                  </a:cubicBezTo>
                  <a:cubicBezTo>
                    <a:pt x="57460" y="46170"/>
                    <a:pt x="57469" y="46170"/>
                    <a:pt x="57478" y="46170"/>
                  </a:cubicBezTo>
                  <a:cubicBezTo>
                    <a:pt x="57781" y="46170"/>
                    <a:pt x="58263" y="45682"/>
                    <a:pt x="58204" y="45477"/>
                  </a:cubicBezTo>
                  <a:cubicBezTo>
                    <a:pt x="58183" y="45351"/>
                    <a:pt x="58235" y="45298"/>
                    <a:pt x="58371" y="45298"/>
                  </a:cubicBezTo>
                  <a:cubicBezTo>
                    <a:pt x="58430" y="45298"/>
                    <a:pt x="58504" y="45308"/>
                    <a:pt x="58595" y="45326"/>
                  </a:cubicBezTo>
                  <a:cubicBezTo>
                    <a:pt x="58623" y="45335"/>
                    <a:pt x="58648" y="45338"/>
                    <a:pt x="58671" y="45338"/>
                  </a:cubicBezTo>
                  <a:cubicBezTo>
                    <a:pt x="58882" y="45338"/>
                    <a:pt x="58912" y="45020"/>
                    <a:pt x="59070" y="45020"/>
                  </a:cubicBezTo>
                  <a:cubicBezTo>
                    <a:pt x="59081" y="45020"/>
                    <a:pt x="59094" y="45022"/>
                    <a:pt x="59107" y="45025"/>
                  </a:cubicBezTo>
                  <a:cubicBezTo>
                    <a:pt x="59265" y="45085"/>
                    <a:pt x="59384" y="45157"/>
                    <a:pt x="59447" y="45157"/>
                  </a:cubicBezTo>
                  <a:cubicBezTo>
                    <a:pt x="59480" y="45157"/>
                    <a:pt x="59498" y="45137"/>
                    <a:pt x="59498" y="45086"/>
                  </a:cubicBezTo>
                  <a:cubicBezTo>
                    <a:pt x="59498" y="45017"/>
                    <a:pt x="59542" y="44979"/>
                    <a:pt x="59610" y="44979"/>
                  </a:cubicBezTo>
                  <a:cubicBezTo>
                    <a:pt x="59691" y="44979"/>
                    <a:pt x="59805" y="45032"/>
                    <a:pt x="59919" y="45146"/>
                  </a:cubicBezTo>
                  <a:cubicBezTo>
                    <a:pt x="60012" y="45270"/>
                    <a:pt x="60169" y="45338"/>
                    <a:pt x="60303" y="45338"/>
                  </a:cubicBezTo>
                  <a:cubicBezTo>
                    <a:pt x="60430" y="45338"/>
                    <a:pt x="60537" y="45277"/>
                    <a:pt x="60551" y="45146"/>
                  </a:cubicBezTo>
                  <a:cubicBezTo>
                    <a:pt x="60560" y="45066"/>
                    <a:pt x="60590" y="45034"/>
                    <a:pt x="60632" y="45034"/>
                  </a:cubicBezTo>
                  <a:cubicBezTo>
                    <a:pt x="60735" y="45034"/>
                    <a:pt x="60914" y="45225"/>
                    <a:pt x="61063" y="45417"/>
                  </a:cubicBezTo>
                  <a:cubicBezTo>
                    <a:pt x="61207" y="45579"/>
                    <a:pt x="61309" y="45612"/>
                    <a:pt x="61438" y="45612"/>
                  </a:cubicBezTo>
                  <a:cubicBezTo>
                    <a:pt x="61524" y="45612"/>
                    <a:pt x="61623" y="45597"/>
                    <a:pt x="61755" y="45597"/>
                  </a:cubicBezTo>
                  <a:cubicBezTo>
                    <a:pt x="62086" y="45597"/>
                    <a:pt x="62056" y="45537"/>
                    <a:pt x="62086" y="45326"/>
                  </a:cubicBezTo>
                  <a:cubicBezTo>
                    <a:pt x="62090" y="45304"/>
                    <a:pt x="62099" y="45294"/>
                    <a:pt x="62112" y="45294"/>
                  </a:cubicBezTo>
                  <a:cubicBezTo>
                    <a:pt x="62206" y="45294"/>
                    <a:pt x="62519" y="45785"/>
                    <a:pt x="62809" y="45838"/>
                  </a:cubicBezTo>
                  <a:cubicBezTo>
                    <a:pt x="62826" y="45840"/>
                    <a:pt x="62841" y="45840"/>
                    <a:pt x="62855" y="45840"/>
                  </a:cubicBezTo>
                  <a:cubicBezTo>
                    <a:pt x="63109" y="45840"/>
                    <a:pt x="62828" y="45588"/>
                    <a:pt x="62628" y="45417"/>
                  </a:cubicBezTo>
                  <a:cubicBezTo>
                    <a:pt x="62387" y="45236"/>
                    <a:pt x="62658" y="45116"/>
                    <a:pt x="62477" y="44965"/>
                  </a:cubicBezTo>
                  <a:cubicBezTo>
                    <a:pt x="62289" y="44831"/>
                    <a:pt x="62629" y="44625"/>
                    <a:pt x="63004" y="44625"/>
                  </a:cubicBezTo>
                  <a:cubicBezTo>
                    <a:pt x="63049" y="44625"/>
                    <a:pt x="63094" y="44628"/>
                    <a:pt x="63140" y="44634"/>
                  </a:cubicBezTo>
                  <a:cubicBezTo>
                    <a:pt x="63321" y="44647"/>
                    <a:pt x="63425" y="44666"/>
                    <a:pt x="63496" y="44666"/>
                  </a:cubicBezTo>
                  <a:cubicBezTo>
                    <a:pt x="63589" y="44666"/>
                    <a:pt x="63626" y="44634"/>
                    <a:pt x="63711" y="44514"/>
                  </a:cubicBezTo>
                  <a:cubicBezTo>
                    <a:pt x="63757" y="44441"/>
                    <a:pt x="63802" y="44412"/>
                    <a:pt x="63843" y="44412"/>
                  </a:cubicBezTo>
                  <a:cubicBezTo>
                    <a:pt x="63939" y="44412"/>
                    <a:pt x="64012" y="44568"/>
                    <a:pt x="64012" y="44694"/>
                  </a:cubicBezTo>
                  <a:cubicBezTo>
                    <a:pt x="64012" y="44736"/>
                    <a:pt x="64048" y="44752"/>
                    <a:pt x="64107" y="44752"/>
                  </a:cubicBezTo>
                  <a:cubicBezTo>
                    <a:pt x="64303" y="44752"/>
                    <a:pt x="64765" y="44574"/>
                    <a:pt x="65066" y="44574"/>
                  </a:cubicBezTo>
                  <a:cubicBezTo>
                    <a:pt x="65397" y="44574"/>
                    <a:pt x="65698" y="44785"/>
                    <a:pt x="65818" y="45116"/>
                  </a:cubicBezTo>
                  <a:cubicBezTo>
                    <a:pt x="65835" y="45238"/>
                    <a:pt x="65924" y="45320"/>
                    <a:pt x="66042" y="45320"/>
                  </a:cubicBezTo>
                  <a:cubicBezTo>
                    <a:pt x="66128" y="45320"/>
                    <a:pt x="66229" y="45277"/>
                    <a:pt x="66330" y="45176"/>
                  </a:cubicBezTo>
                  <a:cubicBezTo>
                    <a:pt x="66519" y="45028"/>
                    <a:pt x="66694" y="44851"/>
                    <a:pt x="66865" y="44851"/>
                  </a:cubicBezTo>
                  <a:cubicBezTo>
                    <a:pt x="66938" y="44851"/>
                    <a:pt x="67010" y="44884"/>
                    <a:pt x="67082" y="44965"/>
                  </a:cubicBezTo>
                  <a:lnTo>
                    <a:pt x="67895" y="45838"/>
                  </a:lnTo>
                  <a:cubicBezTo>
                    <a:pt x="68196" y="46139"/>
                    <a:pt x="67744" y="46500"/>
                    <a:pt x="67895" y="46741"/>
                  </a:cubicBezTo>
                  <a:cubicBezTo>
                    <a:pt x="68045" y="46951"/>
                    <a:pt x="67895" y="47252"/>
                    <a:pt x="68226" y="47523"/>
                  </a:cubicBezTo>
                  <a:cubicBezTo>
                    <a:pt x="68557" y="47794"/>
                    <a:pt x="68256" y="48276"/>
                    <a:pt x="68557" y="48336"/>
                  </a:cubicBezTo>
                  <a:cubicBezTo>
                    <a:pt x="68827" y="48486"/>
                    <a:pt x="69008" y="48727"/>
                    <a:pt x="69098" y="49028"/>
                  </a:cubicBezTo>
                  <a:cubicBezTo>
                    <a:pt x="69118" y="49147"/>
                    <a:pt x="69346" y="49291"/>
                    <a:pt x="69516" y="49291"/>
                  </a:cubicBezTo>
                  <a:cubicBezTo>
                    <a:pt x="69606" y="49291"/>
                    <a:pt x="69680" y="49252"/>
                    <a:pt x="69700" y="49148"/>
                  </a:cubicBezTo>
                  <a:cubicBezTo>
                    <a:pt x="69730" y="48847"/>
                    <a:pt x="70001" y="48486"/>
                    <a:pt x="70031" y="48185"/>
                  </a:cubicBezTo>
                  <a:cubicBezTo>
                    <a:pt x="70001" y="47644"/>
                    <a:pt x="69851" y="47102"/>
                    <a:pt x="69610" y="46620"/>
                  </a:cubicBezTo>
                  <a:cubicBezTo>
                    <a:pt x="69399" y="46289"/>
                    <a:pt x="69640" y="46199"/>
                    <a:pt x="69399" y="45868"/>
                  </a:cubicBezTo>
                  <a:cubicBezTo>
                    <a:pt x="69068" y="45417"/>
                    <a:pt x="68888" y="44845"/>
                    <a:pt x="68948" y="44303"/>
                  </a:cubicBezTo>
                  <a:cubicBezTo>
                    <a:pt x="68948" y="43761"/>
                    <a:pt x="69580" y="42949"/>
                    <a:pt x="69881" y="42678"/>
                  </a:cubicBezTo>
                  <a:cubicBezTo>
                    <a:pt x="70182" y="42407"/>
                    <a:pt x="70483" y="42528"/>
                    <a:pt x="70543" y="42257"/>
                  </a:cubicBezTo>
                  <a:cubicBezTo>
                    <a:pt x="70633" y="41926"/>
                    <a:pt x="70904" y="41685"/>
                    <a:pt x="71235" y="41625"/>
                  </a:cubicBezTo>
                  <a:cubicBezTo>
                    <a:pt x="71275" y="41625"/>
                    <a:pt x="71318" y="41626"/>
                    <a:pt x="71361" y="41626"/>
                  </a:cubicBezTo>
                  <a:cubicBezTo>
                    <a:pt x="71512" y="41626"/>
                    <a:pt x="71663" y="41608"/>
                    <a:pt x="71687" y="41444"/>
                  </a:cubicBezTo>
                  <a:cubicBezTo>
                    <a:pt x="71717" y="41203"/>
                    <a:pt x="72048" y="40933"/>
                    <a:pt x="72559" y="40872"/>
                  </a:cubicBezTo>
                  <a:cubicBezTo>
                    <a:pt x="73041" y="40782"/>
                    <a:pt x="72740" y="40571"/>
                    <a:pt x="72589" y="40331"/>
                  </a:cubicBezTo>
                  <a:cubicBezTo>
                    <a:pt x="72478" y="40174"/>
                    <a:pt x="72598" y="40034"/>
                    <a:pt x="72705" y="40034"/>
                  </a:cubicBezTo>
                  <a:cubicBezTo>
                    <a:pt x="72742" y="40034"/>
                    <a:pt x="72777" y="40051"/>
                    <a:pt x="72800" y="40090"/>
                  </a:cubicBezTo>
                  <a:cubicBezTo>
                    <a:pt x="72875" y="40150"/>
                    <a:pt x="72973" y="40180"/>
                    <a:pt x="73071" y="40180"/>
                  </a:cubicBezTo>
                  <a:cubicBezTo>
                    <a:pt x="73169" y="40180"/>
                    <a:pt x="73266" y="40150"/>
                    <a:pt x="73342" y="40090"/>
                  </a:cubicBezTo>
                  <a:cubicBezTo>
                    <a:pt x="73522" y="39970"/>
                    <a:pt x="73914" y="39638"/>
                    <a:pt x="73522" y="39638"/>
                  </a:cubicBezTo>
                  <a:cubicBezTo>
                    <a:pt x="73161" y="39638"/>
                    <a:pt x="73071" y="39428"/>
                    <a:pt x="73312" y="39368"/>
                  </a:cubicBezTo>
                  <a:cubicBezTo>
                    <a:pt x="73522" y="39277"/>
                    <a:pt x="73342" y="38826"/>
                    <a:pt x="73011" y="38796"/>
                  </a:cubicBezTo>
                  <a:cubicBezTo>
                    <a:pt x="72650" y="38766"/>
                    <a:pt x="72800" y="38615"/>
                    <a:pt x="73011" y="38435"/>
                  </a:cubicBezTo>
                  <a:cubicBezTo>
                    <a:pt x="73191" y="38224"/>
                    <a:pt x="72710" y="37923"/>
                    <a:pt x="72469" y="37743"/>
                  </a:cubicBezTo>
                  <a:cubicBezTo>
                    <a:pt x="72258" y="37562"/>
                    <a:pt x="72619" y="37532"/>
                    <a:pt x="72800" y="37472"/>
                  </a:cubicBezTo>
                  <a:cubicBezTo>
                    <a:pt x="73011" y="37442"/>
                    <a:pt x="72860" y="36629"/>
                    <a:pt x="72920" y="36418"/>
                  </a:cubicBezTo>
                  <a:cubicBezTo>
                    <a:pt x="72966" y="36328"/>
                    <a:pt x="73063" y="36283"/>
                    <a:pt x="73135" y="36283"/>
                  </a:cubicBezTo>
                  <a:cubicBezTo>
                    <a:pt x="73206" y="36283"/>
                    <a:pt x="73251" y="36328"/>
                    <a:pt x="73191" y="36418"/>
                  </a:cubicBezTo>
                  <a:cubicBezTo>
                    <a:pt x="73071" y="36629"/>
                    <a:pt x="72890" y="36960"/>
                    <a:pt x="73101" y="37231"/>
                  </a:cubicBezTo>
                  <a:cubicBezTo>
                    <a:pt x="73342" y="37472"/>
                    <a:pt x="73432" y="37833"/>
                    <a:pt x="73342" y="38164"/>
                  </a:cubicBezTo>
                  <a:cubicBezTo>
                    <a:pt x="73293" y="38335"/>
                    <a:pt x="73294" y="38417"/>
                    <a:pt x="73330" y="38417"/>
                  </a:cubicBezTo>
                  <a:cubicBezTo>
                    <a:pt x="73383" y="38417"/>
                    <a:pt x="73512" y="38244"/>
                    <a:pt x="73673" y="37923"/>
                  </a:cubicBezTo>
                  <a:cubicBezTo>
                    <a:pt x="73944" y="37411"/>
                    <a:pt x="73974" y="36960"/>
                    <a:pt x="73793" y="36870"/>
                  </a:cubicBezTo>
                  <a:cubicBezTo>
                    <a:pt x="73648" y="36821"/>
                    <a:pt x="73639" y="36502"/>
                    <a:pt x="73734" y="36502"/>
                  </a:cubicBezTo>
                  <a:cubicBezTo>
                    <a:pt x="73758" y="36502"/>
                    <a:pt x="73788" y="36521"/>
                    <a:pt x="73823" y="36569"/>
                  </a:cubicBezTo>
                  <a:cubicBezTo>
                    <a:pt x="73911" y="36701"/>
                    <a:pt x="73978" y="36768"/>
                    <a:pt x="74057" y="36768"/>
                  </a:cubicBezTo>
                  <a:cubicBezTo>
                    <a:pt x="74142" y="36768"/>
                    <a:pt x="74241" y="36693"/>
                    <a:pt x="74395" y="36539"/>
                  </a:cubicBezTo>
                  <a:cubicBezTo>
                    <a:pt x="74696" y="36238"/>
                    <a:pt x="74997" y="35666"/>
                    <a:pt x="74816" y="35576"/>
                  </a:cubicBezTo>
                  <a:cubicBezTo>
                    <a:pt x="74606" y="35455"/>
                    <a:pt x="74907" y="35305"/>
                    <a:pt x="75268" y="35305"/>
                  </a:cubicBezTo>
                  <a:cubicBezTo>
                    <a:pt x="75659" y="35305"/>
                    <a:pt x="76050" y="35184"/>
                    <a:pt x="76411" y="35004"/>
                  </a:cubicBezTo>
                  <a:cubicBezTo>
                    <a:pt x="76452" y="34915"/>
                    <a:pt x="76383" y="34884"/>
                    <a:pt x="76261" y="34884"/>
                  </a:cubicBezTo>
                  <a:cubicBezTo>
                    <a:pt x="76006" y="34884"/>
                    <a:pt x="75519" y="35016"/>
                    <a:pt x="75308" y="35016"/>
                  </a:cubicBezTo>
                  <a:cubicBezTo>
                    <a:pt x="75246" y="35016"/>
                    <a:pt x="75208" y="35004"/>
                    <a:pt x="75208" y="34974"/>
                  </a:cubicBezTo>
                  <a:cubicBezTo>
                    <a:pt x="75208" y="34763"/>
                    <a:pt x="76080" y="34583"/>
                    <a:pt x="76502" y="34552"/>
                  </a:cubicBezTo>
                  <a:cubicBezTo>
                    <a:pt x="76839" y="34528"/>
                    <a:pt x="76752" y="34176"/>
                    <a:pt x="76797" y="34176"/>
                  </a:cubicBezTo>
                  <a:cubicBezTo>
                    <a:pt x="76808" y="34176"/>
                    <a:pt x="76827" y="34198"/>
                    <a:pt x="76863" y="34252"/>
                  </a:cubicBezTo>
                  <a:cubicBezTo>
                    <a:pt x="76961" y="34349"/>
                    <a:pt x="77094" y="34403"/>
                    <a:pt x="77228" y="34403"/>
                  </a:cubicBezTo>
                  <a:cubicBezTo>
                    <a:pt x="77343" y="34403"/>
                    <a:pt x="77458" y="34364"/>
                    <a:pt x="77555" y="34282"/>
                  </a:cubicBezTo>
                  <a:cubicBezTo>
                    <a:pt x="77766" y="34131"/>
                    <a:pt x="77585" y="33710"/>
                    <a:pt x="77314" y="33680"/>
                  </a:cubicBezTo>
                  <a:cubicBezTo>
                    <a:pt x="77073" y="33650"/>
                    <a:pt x="77525" y="33409"/>
                    <a:pt x="77435" y="33258"/>
                  </a:cubicBezTo>
                  <a:cubicBezTo>
                    <a:pt x="77435" y="32897"/>
                    <a:pt x="77615" y="32566"/>
                    <a:pt x="77916" y="32416"/>
                  </a:cubicBezTo>
                  <a:cubicBezTo>
                    <a:pt x="78277" y="32325"/>
                    <a:pt x="78127" y="32145"/>
                    <a:pt x="78428" y="32145"/>
                  </a:cubicBezTo>
                  <a:cubicBezTo>
                    <a:pt x="78729" y="32145"/>
                    <a:pt x="78729" y="31814"/>
                    <a:pt x="78969" y="31543"/>
                  </a:cubicBezTo>
                  <a:cubicBezTo>
                    <a:pt x="79020" y="31493"/>
                    <a:pt x="79072" y="31474"/>
                    <a:pt x="79126" y="31474"/>
                  </a:cubicBezTo>
                  <a:cubicBezTo>
                    <a:pt x="79301" y="31474"/>
                    <a:pt x="79498" y="31672"/>
                    <a:pt x="79715" y="31672"/>
                  </a:cubicBezTo>
                  <a:cubicBezTo>
                    <a:pt x="79795" y="31672"/>
                    <a:pt x="79877" y="31645"/>
                    <a:pt x="79963" y="31573"/>
                  </a:cubicBezTo>
                  <a:cubicBezTo>
                    <a:pt x="80143" y="31393"/>
                    <a:pt x="80354" y="31242"/>
                    <a:pt x="80564" y="31122"/>
                  </a:cubicBezTo>
                  <a:cubicBezTo>
                    <a:pt x="80053" y="30520"/>
                    <a:pt x="79812" y="29737"/>
                    <a:pt x="79872" y="28925"/>
                  </a:cubicBezTo>
                  <a:cubicBezTo>
                    <a:pt x="79842" y="28684"/>
                    <a:pt x="79180" y="28865"/>
                    <a:pt x="78819" y="28624"/>
                  </a:cubicBezTo>
                  <a:cubicBezTo>
                    <a:pt x="78791" y="28606"/>
                    <a:pt x="78761" y="28598"/>
                    <a:pt x="78730" y="28598"/>
                  </a:cubicBezTo>
                  <a:cubicBezTo>
                    <a:pt x="78394" y="28598"/>
                    <a:pt x="77908" y="29570"/>
                    <a:pt x="77826" y="30038"/>
                  </a:cubicBezTo>
                  <a:cubicBezTo>
                    <a:pt x="77705" y="30520"/>
                    <a:pt x="76833" y="31061"/>
                    <a:pt x="76833" y="31061"/>
                  </a:cubicBezTo>
                  <a:lnTo>
                    <a:pt x="74124" y="31061"/>
                  </a:lnTo>
                  <a:cubicBezTo>
                    <a:pt x="73974" y="31061"/>
                    <a:pt x="73402" y="31543"/>
                    <a:pt x="73071" y="31844"/>
                  </a:cubicBezTo>
                  <a:cubicBezTo>
                    <a:pt x="72953" y="31951"/>
                    <a:pt x="72919" y="31986"/>
                    <a:pt x="72926" y="31986"/>
                  </a:cubicBezTo>
                  <a:cubicBezTo>
                    <a:pt x="72938" y="31986"/>
                    <a:pt x="73082" y="31874"/>
                    <a:pt x="73101" y="31874"/>
                  </a:cubicBezTo>
                  <a:cubicBezTo>
                    <a:pt x="73161" y="31874"/>
                    <a:pt x="72439" y="32626"/>
                    <a:pt x="71536" y="32657"/>
                  </a:cubicBezTo>
                  <a:lnTo>
                    <a:pt x="70934" y="32747"/>
                  </a:lnTo>
                  <a:cubicBezTo>
                    <a:pt x="70964" y="32837"/>
                    <a:pt x="70964" y="32927"/>
                    <a:pt x="70964" y="33048"/>
                  </a:cubicBezTo>
                  <a:lnTo>
                    <a:pt x="70754" y="33228"/>
                  </a:lnTo>
                  <a:cubicBezTo>
                    <a:pt x="70603" y="33499"/>
                    <a:pt x="69490" y="34011"/>
                    <a:pt x="68888" y="34342"/>
                  </a:cubicBezTo>
                  <a:cubicBezTo>
                    <a:pt x="68681" y="34466"/>
                    <a:pt x="68431" y="34523"/>
                    <a:pt x="68193" y="34523"/>
                  </a:cubicBezTo>
                  <a:cubicBezTo>
                    <a:pt x="67737" y="34523"/>
                    <a:pt x="67323" y="34316"/>
                    <a:pt x="67323" y="33981"/>
                  </a:cubicBezTo>
                  <a:cubicBezTo>
                    <a:pt x="67251" y="33749"/>
                    <a:pt x="67434" y="33601"/>
                    <a:pt x="67619" y="33601"/>
                  </a:cubicBezTo>
                  <a:cubicBezTo>
                    <a:pt x="67747" y="33601"/>
                    <a:pt x="67876" y="33671"/>
                    <a:pt x="67925" y="33830"/>
                  </a:cubicBezTo>
                  <a:cubicBezTo>
                    <a:pt x="67933" y="33846"/>
                    <a:pt x="67949" y="33854"/>
                    <a:pt x="67972" y="33854"/>
                  </a:cubicBezTo>
                  <a:cubicBezTo>
                    <a:pt x="68035" y="33854"/>
                    <a:pt x="68146" y="33798"/>
                    <a:pt x="68256" y="33710"/>
                  </a:cubicBezTo>
                  <a:cubicBezTo>
                    <a:pt x="68105" y="33559"/>
                    <a:pt x="68045" y="33319"/>
                    <a:pt x="68105" y="33108"/>
                  </a:cubicBezTo>
                  <a:cubicBezTo>
                    <a:pt x="67925" y="32988"/>
                    <a:pt x="68226" y="32235"/>
                    <a:pt x="67834" y="32085"/>
                  </a:cubicBezTo>
                  <a:cubicBezTo>
                    <a:pt x="67806" y="32075"/>
                    <a:pt x="67776" y="32071"/>
                    <a:pt x="67745" y="32071"/>
                  </a:cubicBezTo>
                  <a:cubicBezTo>
                    <a:pt x="67482" y="32071"/>
                    <a:pt x="67153" y="32385"/>
                    <a:pt x="67031" y="32385"/>
                  </a:cubicBezTo>
                  <a:cubicBezTo>
                    <a:pt x="66987" y="32385"/>
                    <a:pt x="66970" y="32345"/>
                    <a:pt x="66992" y="32235"/>
                  </a:cubicBezTo>
                  <a:cubicBezTo>
                    <a:pt x="67052" y="31814"/>
                    <a:pt x="67684" y="31393"/>
                    <a:pt x="67323" y="30791"/>
                  </a:cubicBezTo>
                  <a:cubicBezTo>
                    <a:pt x="67119" y="30477"/>
                    <a:pt x="66833" y="30335"/>
                    <a:pt x="66585" y="30335"/>
                  </a:cubicBezTo>
                  <a:cubicBezTo>
                    <a:pt x="66357" y="30335"/>
                    <a:pt x="66161" y="30454"/>
                    <a:pt x="66089" y="30670"/>
                  </a:cubicBezTo>
                  <a:cubicBezTo>
                    <a:pt x="65938" y="31122"/>
                    <a:pt x="65427" y="30881"/>
                    <a:pt x="65246" y="31272"/>
                  </a:cubicBezTo>
                  <a:cubicBezTo>
                    <a:pt x="65036" y="31784"/>
                    <a:pt x="64945" y="32356"/>
                    <a:pt x="65066" y="32927"/>
                  </a:cubicBezTo>
                  <a:cubicBezTo>
                    <a:pt x="65216" y="33409"/>
                    <a:pt x="64975" y="33920"/>
                    <a:pt x="64494" y="34101"/>
                  </a:cubicBezTo>
                  <a:cubicBezTo>
                    <a:pt x="64417" y="34151"/>
                    <a:pt x="64344" y="34174"/>
                    <a:pt x="64278" y="34174"/>
                  </a:cubicBezTo>
                  <a:cubicBezTo>
                    <a:pt x="63903" y="34174"/>
                    <a:pt x="63713" y="33440"/>
                    <a:pt x="63892" y="32596"/>
                  </a:cubicBezTo>
                  <a:cubicBezTo>
                    <a:pt x="64133" y="31573"/>
                    <a:pt x="64434" y="31242"/>
                    <a:pt x="64073" y="31242"/>
                  </a:cubicBezTo>
                  <a:cubicBezTo>
                    <a:pt x="63741" y="31242"/>
                    <a:pt x="64524" y="30369"/>
                    <a:pt x="65246" y="30219"/>
                  </a:cubicBezTo>
                  <a:cubicBezTo>
                    <a:pt x="65968" y="30068"/>
                    <a:pt x="66901" y="30098"/>
                    <a:pt x="66901" y="29888"/>
                  </a:cubicBezTo>
                  <a:cubicBezTo>
                    <a:pt x="66901" y="29781"/>
                    <a:pt x="66907" y="29751"/>
                    <a:pt x="66922" y="29751"/>
                  </a:cubicBezTo>
                  <a:cubicBezTo>
                    <a:pt x="66940" y="29751"/>
                    <a:pt x="66972" y="29798"/>
                    <a:pt x="67022" y="29798"/>
                  </a:cubicBezTo>
                  <a:lnTo>
                    <a:pt x="66570" y="29466"/>
                  </a:lnTo>
                  <a:lnTo>
                    <a:pt x="66450" y="29617"/>
                  </a:lnTo>
                  <a:cubicBezTo>
                    <a:pt x="66405" y="29644"/>
                    <a:pt x="66369" y="29656"/>
                    <a:pt x="66338" y="29656"/>
                  </a:cubicBezTo>
                  <a:cubicBezTo>
                    <a:pt x="66162" y="29656"/>
                    <a:pt x="66158" y="29286"/>
                    <a:pt x="65698" y="29286"/>
                  </a:cubicBezTo>
                  <a:cubicBezTo>
                    <a:pt x="65267" y="29286"/>
                    <a:pt x="64815" y="29627"/>
                    <a:pt x="64431" y="29627"/>
                  </a:cubicBezTo>
                  <a:cubicBezTo>
                    <a:pt x="64359" y="29627"/>
                    <a:pt x="64290" y="29615"/>
                    <a:pt x="64223" y="29587"/>
                  </a:cubicBezTo>
                  <a:cubicBezTo>
                    <a:pt x="63832" y="29406"/>
                    <a:pt x="64042" y="29075"/>
                    <a:pt x="63621" y="29075"/>
                  </a:cubicBezTo>
                  <a:cubicBezTo>
                    <a:pt x="63300" y="29075"/>
                    <a:pt x="63708" y="28570"/>
                    <a:pt x="63567" y="28570"/>
                  </a:cubicBezTo>
                  <a:cubicBezTo>
                    <a:pt x="63536" y="28570"/>
                    <a:pt x="63478" y="28594"/>
                    <a:pt x="63380" y="28654"/>
                  </a:cubicBezTo>
                  <a:cubicBezTo>
                    <a:pt x="62905" y="28904"/>
                    <a:pt x="62243" y="29486"/>
                    <a:pt x="61808" y="29486"/>
                  </a:cubicBezTo>
                  <a:cubicBezTo>
                    <a:pt x="61720" y="29486"/>
                    <a:pt x="61641" y="29462"/>
                    <a:pt x="61575" y="29406"/>
                  </a:cubicBezTo>
                  <a:cubicBezTo>
                    <a:pt x="61439" y="29290"/>
                    <a:pt x="61316" y="29258"/>
                    <a:pt x="61201" y="29258"/>
                  </a:cubicBezTo>
                  <a:cubicBezTo>
                    <a:pt x="61060" y="29258"/>
                    <a:pt x="60933" y="29306"/>
                    <a:pt x="60810" y="29306"/>
                  </a:cubicBezTo>
                  <a:cubicBezTo>
                    <a:pt x="60722" y="29306"/>
                    <a:pt x="60637" y="29281"/>
                    <a:pt x="60551" y="29196"/>
                  </a:cubicBezTo>
                  <a:cubicBezTo>
                    <a:pt x="60262" y="28906"/>
                    <a:pt x="61420" y="28199"/>
                    <a:pt x="62045" y="28199"/>
                  </a:cubicBezTo>
                  <a:cubicBezTo>
                    <a:pt x="62069" y="28199"/>
                    <a:pt x="62093" y="28200"/>
                    <a:pt x="62116" y="28203"/>
                  </a:cubicBezTo>
                  <a:cubicBezTo>
                    <a:pt x="62267" y="28203"/>
                    <a:pt x="62447" y="28142"/>
                    <a:pt x="62538" y="28052"/>
                  </a:cubicBezTo>
                  <a:cubicBezTo>
                    <a:pt x="62324" y="27967"/>
                    <a:pt x="61943" y="27805"/>
                    <a:pt x="61676" y="27805"/>
                  </a:cubicBezTo>
                  <a:cubicBezTo>
                    <a:pt x="61567" y="27805"/>
                    <a:pt x="61476" y="27832"/>
                    <a:pt x="61424" y="27902"/>
                  </a:cubicBezTo>
                  <a:cubicBezTo>
                    <a:pt x="61351" y="27975"/>
                    <a:pt x="61264" y="28004"/>
                    <a:pt x="61174" y="28004"/>
                  </a:cubicBezTo>
                  <a:cubicBezTo>
                    <a:pt x="61006" y="28004"/>
                    <a:pt x="60830" y="27899"/>
                    <a:pt x="60732" y="27781"/>
                  </a:cubicBezTo>
                  <a:cubicBezTo>
                    <a:pt x="60673" y="27699"/>
                    <a:pt x="60606" y="27690"/>
                    <a:pt x="60527" y="27690"/>
                  </a:cubicBezTo>
                  <a:cubicBezTo>
                    <a:pt x="60505" y="27690"/>
                    <a:pt x="60482" y="27691"/>
                    <a:pt x="60457" y="27691"/>
                  </a:cubicBezTo>
                  <a:cubicBezTo>
                    <a:pt x="60348" y="27691"/>
                    <a:pt x="60220" y="27676"/>
                    <a:pt x="60070" y="27510"/>
                  </a:cubicBezTo>
                  <a:cubicBezTo>
                    <a:pt x="59958" y="27387"/>
                    <a:pt x="59854" y="27347"/>
                    <a:pt x="59759" y="27347"/>
                  </a:cubicBezTo>
                  <a:cubicBezTo>
                    <a:pt x="59598" y="27347"/>
                    <a:pt x="59461" y="27461"/>
                    <a:pt x="59348" y="27480"/>
                  </a:cubicBezTo>
                  <a:cubicBezTo>
                    <a:pt x="59332" y="27483"/>
                    <a:pt x="59316" y="27484"/>
                    <a:pt x="59299" y="27484"/>
                  </a:cubicBezTo>
                  <a:cubicBezTo>
                    <a:pt x="59129" y="27484"/>
                    <a:pt x="58930" y="27349"/>
                    <a:pt x="58655" y="27239"/>
                  </a:cubicBezTo>
                  <a:cubicBezTo>
                    <a:pt x="58355" y="27149"/>
                    <a:pt x="58595" y="26848"/>
                    <a:pt x="58324" y="26638"/>
                  </a:cubicBezTo>
                  <a:cubicBezTo>
                    <a:pt x="58286" y="26612"/>
                    <a:pt x="58253" y="26601"/>
                    <a:pt x="58224" y="26601"/>
                  </a:cubicBezTo>
                  <a:close/>
                  <a:moveTo>
                    <a:pt x="6757" y="51744"/>
                  </a:moveTo>
                  <a:cubicBezTo>
                    <a:pt x="6599" y="51744"/>
                    <a:pt x="6456" y="51797"/>
                    <a:pt x="6561" y="51917"/>
                  </a:cubicBezTo>
                  <a:cubicBezTo>
                    <a:pt x="6678" y="52021"/>
                    <a:pt x="6773" y="52063"/>
                    <a:pt x="6847" y="52063"/>
                  </a:cubicBezTo>
                  <a:cubicBezTo>
                    <a:pt x="6945" y="52063"/>
                    <a:pt x="7009" y="51990"/>
                    <a:pt x="7043" y="51887"/>
                  </a:cubicBezTo>
                  <a:cubicBezTo>
                    <a:pt x="7088" y="51797"/>
                    <a:pt x="6915" y="51744"/>
                    <a:pt x="6757" y="51744"/>
                  </a:cubicBezTo>
                  <a:close/>
                  <a:moveTo>
                    <a:pt x="7927" y="52289"/>
                  </a:moveTo>
                  <a:cubicBezTo>
                    <a:pt x="7807" y="52289"/>
                    <a:pt x="7722" y="52337"/>
                    <a:pt x="7795" y="52459"/>
                  </a:cubicBezTo>
                  <a:cubicBezTo>
                    <a:pt x="7914" y="52594"/>
                    <a:pt x="8022" y="52672"/>
                    <a:pt x="8116" y="52672"/>
                  </a:cubicBezTo>
                  <a:cubicBezTo>
                    <a:pt x="8190" y="52672"/>
                    <a:pt x="8254" y="52625"/>
                    <a:pt x="8307" y="52519"/>
                  </a:cubicBezTo>
                  <a:cubicBezTo>
                    <a:pt x="8361" y="52393"/>
                    <a:pt x="8105" y="52289"/>
                    <a:pt x="7927" y="52289"/>
                  </a:cubicBezTo>
                  <a:close/>
                  <a:moveTo>
                    <a:pt x="9333" y="52788"/>
                  </a:moveTo>
                  <a:cubicBezTo>
                    <a:pt x="9323" y="52788"/>
                    <a:pt x="9312" y="52789"/>
                    <a:pt x="9300" y="52790"/>
                  </a:cubicBezTo>
                  <a:cubicBezTo>
                    <a:pt x="9085" y="52817"/>
                    <a:pt x="9207" y="53229"/>
                    <a:pt x="9342" y="53229"/>
                  </a:cubicBezTo>
                  <a:cubicBezTo>
                    <a:pt x="9358" y="53229"/>
                    <a:pt x="9374" y="53224"/>
                    <a:pt x="9390" y="53211"/>
                  </a:cubicBezTo>
                  <a:cubicBezTo>
                    <a:pt x="9534" y="53096"/>
                    <a:pt x="9568" y="52788"/>
                    <a:pt x="9333" y="52788"/>
                  </a:cubicBezTo>
                  <a:close/>
                  <a:moveTo>
                    <a:pt x="9970" y="53477"/>
                  </a:moveTo>
                  <a:cubicBezTo>
                    <a:pt x="9948" y="53477"/>
                    <a:pt x="9925" y="53479"/>
                    <a:pt x="9902" y="53482"/>
                  </a:cubicBezTo>
                  <a:cubicBezTo>
                    <a:pt x="9485" y="53538"/>
                    <a:pt x="9658" y="54465"/>
                    <a:pt x="9901" y="54465"/>
                  </a:cubicBezTo>
                  <a:cubicBezTo>
                    <a:pt x="9921" y="54465"/>
                    <a:pt x="9941" y="54459"/>
                    <a:pt x="9962" y="54445"/>
                  </a:cubicBezTo>
                  <a:cubicBezTo>
                    <a:pt x="10203" y="54264"/>
                    <a:pt x="10414" y="54295"/>
                    <a:pt x="10504" y="54114"/>
                  </a:cubicBezTo>
                  <a:cubicBezTo>
                    <a:pt x="10618" y="53943"/>
                    <a:pt x="10355" y="53477"/>
                    <a:pt x="9970" y="53477"/>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93" name="Google Shape;2987;p123">
              <a:extLst>
                <a:ext uri="{FF2B5EF4-FFF2-40B4-BE49-F238E27FC236}">
                  <a16:creationId xmlns:a16="http://schemas.microsoft.com/office/drawing/2014/main" id="{7A19FF05-6EF6-FC4D-8D26-53436215A94F}"/>
                </a:ext>
              </a:extLst>
            </p:cNvPr>
            <p:cNvSpPr/>
            <p:nvPr/>
          </p:nvSpPr>
          <p:spPr>
            <a:xfrm>
              <a:off x="4032419" y="2116363"/>
              <a:ext cx="315276" cy="221519"/>
            </a:xfrm>
            <a:custGeom>
              <a:avLst/>
              <a:gdLst/>
              <a:ahLst/>
              <a:cxnLst/>
              <a:rect l="l" t="t" r="r" b="b"/>
              <a:pathLst>
                <a:path w="10162" h="7140" extrusionOk="0">
                  <a:moveTo>
                    <a:pt x="9981" y="3695"/>
                  </a:moveTo>
                  <a:cubicBezTo>
                    <a:pt x="9736" y="3695"/>
                    <a:pt x="9323" y="4003"/>
                    <a:pt x="9480" y="4093"/>
                  </a:cubicBezTo>
                  <a:cubicBezTo>
                    <a:pt x="9549" y="4139"/>
                    <a:pt x="9665" y="4172"/>
                    <a:pt x="9781" y="4172"/>
                  </a:cubicBezTo>
                  <a:cubicBezTo>
                    <a:pt x="9971" y="4172"/>
                    <a:pt x="10161" y="4084"/>
                    <a:pt x="10142" y="3822"/>
                  </a:cubicBezTo>
                  <a:cubicBezTo>
                    <a:pt x="10127" y="3731"/>
                    <a:pt x="10064" y="3695"/>
                    <a:pt x="9981" y="3695"/>
                  </a:cubicBezTo>
                  <a:close/>
                  <a:moveTo>
                    <a:pt x="1144" y="0"/>
                  </a:moveTo>
                  <a:cubicBezTo>
                    <a:pt x="813" y="0"/>
                    <a:pt x="963" y="392"/>
                    <a:pt x="512" y="392"/>
                  </a:cubicBezTo>
                  <a:cubicBezTo>
                    <a:pt x="61" y="392"/>
                    <a:pt x="0" y="693"/>
                    <a:pt x="331" y="963"/>
                  </a:cubicBezTo>
                  <a:cubicBezTo>
                    <a:pt x="662" y="1234"/>
                    <a:pt x="512" y="1445"/>
                    <a:pt x="482" y="1746"/>
                  </a:cubicBezTo>
                  <a:lnTo>
                    <a:pt x="693" y="1656"/>
                  </a:lnTo>
                  <a:cubicBezTo>
                    <a:pt x="747" y="1588"/>
                    <a:pt x="807" y="1557"/>
                    <a:pt x="857" y="1557"/>
                  </a:cubicBezTo>
                  <a:cubicBezTo>
                    <a:pt x="918" y="1557"/>
                    <a:pt x="963" y="1603"/>
                    <a:pt x="963" y="1686"/>
                  </a:cubicBezTo>
                  <a:cubicBezTo>
                    <a:pt x="963" y="1793"/>
                    <a:pt x="1117" y="1809"/>
                    <a:pt x="1271" y="1809"/>
                  </a:cubicBezTo>
                  <a:cubicBezTo>
                    <a:pt x="1332" y="1809"/>
                    <a:pt x="1393" y="1806"/>
                    <a:pt x="1445" y="1806"/>
                  </a:cubicBezTo>
                  <a:cubicBezTo>
                    <a:pt x="1585" y="1806"/>
                    <a:pt x="1592" y="1873"/>
                    <a:pt x="1634" y="1873"/>
                  </a:cubicBezTo>
                  <a:cubicBezTo>
                    <a:pt x="1656" y="1873"/>
                    <a:pt x="1686" y="1856"/>
                    <a:pt x="1746" y="1806"/>
                  </a:cubicBezTo>
                  <a:cubicBezTo>
                    <a:pt x="1831" y="1745"/>
                    <a:pt x="1931" y="1719"/>
                    <a:pt x="2019" y="1719"/>
                  </a:cubicBezTo>
                  <a:cubicBezTo>
                    <a:pt x="2150" y="1719"/>
                    <a:pt x="2258" y="1777"/>
                    <a:pt x="2258" y="1866"/>
                  </a:cubicBezTo>
                  <a:cubicBezTo>
                    <a:pt x="2258" y="2017"/>
                    <a:pt x="2709" y="1987"/>
                    <a:pt x="2438" y="2197"/>
                  </a:cubicBezTo>
                  <a:cubicBezTo>
                    <a:pt x="2167" y="2438"/>
                    <a:pt x="1957" y="2468"/>
                    <a:pt x="1957" y="2649"/>
                  </a:cubicBezTo>
                  <a:cubicBezTo>
                    <a:pt x="1957" y="2859"/>
                    <a:pt x="2197" y="3190"/>
                    <a:pt x="1987" y="3401"/>
                  </a:cubicBezTo>
                  <a:cubicBezTo>
                    <a:pt x="1746" y="3642"/>
                    <a:pt x="2047" y="3943"/>
                    <a:pt x="1866" y="3943"/>
                  </a:cubicBezTo>
                  <a:cubicBezTo>
                    <a:pt x="1686" y="3943"/>
                    <a:pt x="1415" y="4003"/>
                    <a:pt x="1656" y="4244"/>
                  </a:cubicBezTo>
                  <a:cubicBezTo>
                    <a:pt x="1866" y="4454"/>
                    <a:pt x="2047" y="4695"/>
                    <a:pt x="1866" y="4695"/>
                  </a:cubicBezTo>
                  <a:cubicBezTo>
                    <a:pt x="1686" y="4695"/>
                    <a:pt x="1595" y="5026"/>
                    <a:pt x="1686" y="5116"/>
                  </a:cubicBezTo>
                  <a:cubicBezTo>
                    <a:pt x="1746" y="5177"/>
                    <a:pt x="2167" y="5448"/>
                    <a:pt x="1866" y="5508"/>
                  </a:cubicBezTo>
                  <a:cubicBezTo>
                    <a:pt x="1565" y="5598"/>
                    <a:pt x="1535" y="5809"/>
                    <a:pt x="1535" y="5959"/>
                  </a:cubicBezTo>
                  <a:cubicBezTo>
                    <a:pt x="1535" y="6079"/>
                    <a:pt x="1595" y="6170"/>
                    <a:pt x="1656" y="6230"/>
                  </a:cubicBezTo>
                  <a:lnTo>
                    <a:pt x="2047" y="6230"/>
                  </a:lnTo>
                  <a:cubicBezTo>
                    <a:pt x="2390" y="6373"/>
                    <a:pt x="2570" y="7140"/>
                    <a:pt x="2973" y="7140"/>
                  </a:cubicBezTo>
                  <a:cubicBezTo>
                    <a:pt x="2995" y="7140"/>
                    <a:pt x="3017" y="7137"/>
                    <a:pt x="3040" y="7133"/>
                  </a:cubicBezTo>
                  <a:cubicBezTo>
                    <a:pt x="3491" y="7073"/>
                    <a:pt x="3100" y="6982"/>
                    <a:pt x="3221" y="6922"/>
                  </a:cubicBezTo>
                  <a:cubicBezTo>
                    <a:pt x="3293" y="6868"/>
                    <a:pt x="3376" y="6857"/>
                    <a:pt x="3470" y="6857"/>
                  </a:cubicBezTo>
                  <a:cubicBezTo>
                    <a:pt x="3532" y="6857"/>
                    <a:pt x="3600" y="6862"/>
                    <a:pt x="3672" y="6862"/>
                  </a:cubicBezTo>
                  <a:cubicBezTo>
                    <a:pt x="3853" y="6862"/>
                    <a:pt x="3973" y="6621"/>
                    <a:pt x="4394" y="6561"/>
                  </a:cubicBezTo>
                  <a:lnTo>
                    <a:pt x="5417" y="6561"/>
                  </a:lnTo>
                  <a:cubicBezTo>
                    <a:pt x="5718" y="6561"/>
                    <a:pt x="5929" y="6471"/>
                    <a:pt x="5959" y="6260"/>
                  </a:cubicBezTo>
                  <a:cubicBezTo>
                    <a:pt x="6110" y="6049"/>
                    <a:pt x="6350" y="5899"/>
                    <a:pt x="6621" y="5869"/>
                  </a:cubicBezTo>
                  <a:cubicBezTo>
                    <a:pt x="6922" y="5809"/>
                    <a:pt x="6862" y="5478"/>
                    <a:pt x="6922" y="5297"/>
                  </a:cubicBezTo>
                  <a:cubicBezTo>
                    <a:pt x="6952" y="5116"/>
                    <a:pt x="7434" y="4816"/>
                    <a:pt x="7464" y="4695"/>
                  </a:cubicBezTo>
                  <a:cubicBezTo>
                    <a:pt x="7524" y="4575"/>
                    <a:pt x="7163" y="4003"/>
                    <a:pt x="7524" y="3521"/>
                  </a:cubicBezTo>
                  <a:cubicBezTo>
                    <a:pt x="7855" y="3040"/>
                    <a:pt x="8156" y="3040"/>
                    <a:pt x="8156" y="2739"/>
                  </a:cubicBezTo>
                  <a:cubicBezTo>
                    <a:pt x="8156" y="2438"/>
                    <a:pt x="8487" y="2408"/>
                    <a:pt x="8878" y="2348"/>
                  </a:cubicBezTo>
                  <a:cubicBezTo>
                    <a:pt x="9239" y="2318"/>
                    <a:pt x="9390" y="2047"/>
                    <a:pt x="9721" y="1896"/>
                  </a:cubicBezTo>
                  <a:cubicBezTo>
                    <a:pt x="9992" y="1836"/>
                    <a:pt x="10142" y="1535"/>
                    <a:pt x="10082" y="1264"/>
                  </a:cubicBezTo>
                  <a:lnTo>
                    <a:pt x="10082" y="1264"/>
                  </a:lnTo>
                  <a:cubicBezTo>
                    <a:pt x="9932" y="1279"/>
                    <a:pt x="9789" y="1287"/>
                    <a:pt x="9650" y="1287"/>
                  </a:cubicBezTo>
                  <a:cubicBezTo>
                    <a:pt x="9510" y="1287"/>
                    <a:pt x="9375" y="1279"/>
                    <a:pt x="9239" y="1264"/>
                  </a:cubicBezTo>
                  <a:cubicBezTo>
                    <a:pt x="8908" y="1234"/>
                    <a:pt x="8608" y="1144"/>
                    <a:pt x="8307" y="1054"/>
                  </a:cubicBezTo>
                  <a:cubicBezTo>
                    <a:pt x="8225" y="952"/>
                    <a:pt x="8103" y="864"/>
                    <a:pt x="8032" y="864"/>
                  </a:cubicBezTo>
                  <a:cubicBezTo>
                    <a:pt x="7998" y="864"/>
                    <a:pt x="7976" y="884"/>
                    <a:pt x="7976" y="933"/>
                  </a:cubicBezTo>
                  <a:cubicBezTo>
                    <a:pt x="7976" y="1023"/>
                    <a:pt x="7826" y="1081"/>
                    <a:pt x="7654" y="1081"/>
                  </a:cubicBezTo>
                  <a:cubicBezTo>
                    <a:pt x="7537" y="1081"/>
                    <a:pt x="7411" y="1054"/>
                    <a:pt x="7313" y="993"/>
                  </a:cubicBezTo>
                  <a:cubicBezTo>
                    <a:pt x="7103" y="843"/>
                    <a:pt x="6712" y="753"/>
                    <a:pt x="6561" y="632"/>
                  </a:cubicBezTo>
                  <a:lnTo>
                    <a:pt x="6110" y="392"/>
                  </a:lnTo>
                  <a:cubicBezTo>
                    <a:pt x="6083" y="398"/>
                    <a:pt x="6050" y="401"/>
                    <a:pt x="6013" y="401"/>
                  </a:cubicBezTo>
                  <a:cubicBezTo>
                    <a:pt x="5737" y="401"/>
                    <a:pt x="5204" y="239"/>
                    <a:pt x="4808" y="239"/>
                  </a:cubicBezTo>
                  <a:cubicBezTo>
                    <a:pt x="4780" y="239"/>
                    <a:pt x="4752" y="239"/>
                    <a:pt x="4725" y="241"/>
                  </a:cubicBezTo>
                  <a:cubicBezTo>
                    <a:pt x="4630" y="254"/>
                    <a:pt x="4486" y="259"/>
                    <a:pt x="4313" y="259"/>
                  </a:cubicBezTo>
                  <a:cubicBezTo>
                    <a:pt x="3840" y="259"/>
                    <a:pt x="3148" y="224"/>
                    <a:pt x="2625" y="224"/>
                  </a:cubicBezTo>
                  <a:cubicBezTo>
                    <a:pt x="2433" y="224"/>
                    <a:pt x="2264" y="228"/>
                    <a:pt x="2137" y="241"/>
                  </a:cubicBezTo>
                  <a:cubicBezTo>
                    <a:pt x="2065" y="252"/>
                    <a:pt x="2001" y="257"/>
                    <a:pt x="1944" y="257"/>
                  </a:cubicBezTo>
                  <a:cubicBezTo>
                    <a:pt x="1523" y="257"/>
                    <a:pt x="1462" y="0"/>
                    <a:pt x="1144"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94" name="Google Shape;2988;p123">
              <a:extLst>
                <a:ext uri="{FF2B5EF4-FFF2-40B4-BE49-F238E27FC236}">
                  <a16:creationId xmlns:a16="http://schemas.microsoft.com/office/drawing/2014/main" id="{3A31AF7A-14F2-E541-8B73-6267E6AF8D3D}"/>
                </a:ext>
              </a:extLst>
            </p:cNvPr>
            <p:cNvSpPr/>
            <p:nvPr/>
          </p:nvSpPr>
          <p:spPr>
            <a:xfrm>
              <a:off x="4581438" y="2019255"/>
              <a:ext cx="83116" cy="45793"/>
            </a:xfrm>
            <a:custGeom>
              <a:avLst/>
              <a:gdLst/>
              <a:ahLst/>
              <a:cxnLst/>
              <a:rect l="l" t="t" r="r" b="b"/>
              <a:pathLst>
                <a:path w="2679" h="1476" extrusionOk="0">
                  <a:moveTo>
                    <a:pt x="2498" y="1"/>
                  </a:moveTo>
                  <a:cubicBezTo>
                    <a:pt x="2317" y="121"/>
                    <a:pt x="2137" y="181"/>
                    <a:pt x="1926" y="181"/>
                  </a:cubicBezTo>
                  <a:cubicBezTo>
                    <a:pt x="1625" y="181"/>
                    <a:pt x="1415" y="422"/>
                    <a:pt x="1264" y="422"/>
                  </a:cubicBezTo>
                  <a:lnTo>
                    <a:pt x="391" y="271"/>
                  </a:lnTo>
                  <a:lnTo>
                    <a:pt x="60" y="271"/>
                  </a:lnTo>
                  <a:cubicBezTo>
                    <a:pt x="60" y="482"/>
                    <a:pt x="0" y="903"/>
                    <a:pt x="0" y="1295"/>
                  </a:cubicBezTo>
                  <a:cubicBezTo>
                    <a:pt x="115" y="1237"/>
                    <a:pt x="229" y="1216"/>
                    <a:pt x="344" y="1216"/>
                  </a:cubicBezTo>
                  <a:cubicBezTo>
                    <a:pt x="410" y="1216"/>
                    <a:pt x="476" y="1223"/>
                    <a:pt x="542" y="1234"/>
                  </a:cubicBezTo>
                  <a:cubicBezTo>
                    <a:pt x="602" y="1295"/>
                    <a:pt x="662" y="1385"/>
                    <a:pt x="662" y="1475"/>
                  </a:cubicBezTo>
                  <a:lnTo>
                    <a:pt x="1204" y="1355"/>
                  </a:lnTo>
                  <a:cubicBezTo>
                    <a:pt x="1218" y="1352"/>
                    <a:pt x="1233" y="1351"/>
                    <a:pt x="1250" y="1351"/>
                  </a:cubicBezTo>
                  <a:cubicBezTo>
                    <a:pt x="1367" y="1351"/>
                    <a:pt x="1536" y="1414"/>
                    <a:pt x="1638" y="1414"/>
                  </a:cubicBezTo>
                  <a:cubicBezTo>
                    <a:pt x="1674" y="1414"/>
                    <a:pt x="1701" y="1406"/>
                    <a:pt x="1716" y="1385"/>
                  </a:cubicBezTo>
                  <a:cubicBezTo>
                    <a:pt x="1746" y="1325"/>
                    <a:pt x="1866" y="1024"/>
                    <a:pt x="2016" y="1024"/>
                  </a:cubicBezTo>
                  <a:cubicBezTo>
                    <a:pt x="2167" y="1024"/>
                    <a:pt x="2047" y="633"/>
                    <a:pt x="2197" y="633"/>
                  </a:cubicBezTo>
                  <a:cubicBezTo>
                    <a:pt x="2378" y="542"/>
                    <a:pt x="2528" y="422"/>
                    <a:pt x="2679" y="301"/>
                  </a:cubicBezTo>
                  <a:lnTo>
                    <a:pt x="2498" y="1"/>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95" name="Google Shape;2989;p123">
              <a:extLst>
                <a:ext uri="{FF2B5EF4-FFF2-40B4-BE49-F238E27FC236}">
                  <a16:creationId xmlns:a16="http://schemas.microsoft.com/office/drawing/2014/main" id="{B4F76FE8-C421-4A4C-B4D9-0263D08B2FF3}"/>
                </a:ext>
              </a:extLst>
            </p:cNvPr>
            <p:cNvSpPr/>
            <p:nvPr/>
          </p:nvSpPr>
          <p:spPr>
            <a:xfrm>
              <a:off x="4752292" y="2174255"/>
              <a:ext cx="155032" cy="195178"/>
            </a:xfrm>
            <a:custGeom>
              <a:avLst/>
              <a:gdLst/>
              <a:ahLst/>
              <a:cxnLst/>
              <a:rect l="l" t="t" r="r" b="b"/>
              <a:pathLst>
                <a:path w="4997" h="6291" extrusionOk="0">
                  <a:moveTo>
                    <a:pt x="4936" y="0"/>
                  </a:moveTo>
                  <a:cubicBezTo>
                    <a:pt x="4786" y="60"/>
                    <a:pt x="4515" y="91"/>
                    <a:pt x="4545" y="211"/>
                  </a:cubicBezTo>
                  <a:cubicBezTo>
                    <a:pt x="4575" y="301"/>
                    <a:pt x="4424" y="391"/>
                    <a:pt x="4244" y="391"/>
                  </a:cubicBezTo>
                  <a:cubicBezTo>
                    <a:pt x="3973" y="361"/>
                    <a:pt x="3672" y="331"/>
                    <a:pt x="3431" y="241"/>
                  </a:cubicBezTo>
                  <a:cubicBezTo>
                    <a:pt x="3251" y="211"/>
                    <a:pt x="3070" y="196"/>
                    <a:pt x="2893" y="196"/>
                  </a:cubicBezTo>
                  <a:cubicBezTo>
                    <a:pt x="2717" y="196"/>
                    <a:pt x="2543" y="211"/>
                    <a:pt x="2378" y="241"/>
                  </a:cubicBezTo>
                  <a:lnTo>
                    <a:pt x="2318" y="241"/>
                  </a:lnTo>
                  <a:cubicBezTo>
                    <a:pt x="2107" y="422"/>
                    <a:pt x="1866" y="512"/>
                    <a:pt x="1626" y="572"/>
                  </a:cubicBezTo>
                  <a:cubicBezTo>
                    <a:pt x="1618" y="570"/>
                    <a:pt x="1610" y="569"/>
                    <a:pt x="1602" y="569"/>
                  </a:cubicBezTo>
                  <a:cubicBezTo>
                    <a:pt x="1493" y="569"/>
                    <a:pt x="1403" y="757"/>
                    <a:pt x="1234" y="813"/>
                  </a:cubicBezTo>
                  <a:cubicBezTo>
                    <a:pt x="1054" y="843"/>
                    <a:pt x="723" y="813"/>
                    <a:pt x="663" y="873"/>
                  </a:cubicBezTo>
                  <a:cubicBezTo>
                    <a:pt x="632" y="1054"/>
                    <a:pt x="542" y="1204"/>
                    <a:pt x="422" y="1324"/>
                  </a:cubicBezTo>
                  <a:cubicBezTo>
                    <a:pt x="301" y="1445"/>
                    <a:pt x="362" y="1595"/>
                    <a:pt x="211" y="1625"/>
                  </a:cubicBezTo>
                  <a:cubicBezTo>
                    <a:pt x="61" y="1655"/>
                    <a:pt x="31" y="1836"/>
                    <a:pt x="0" y="2047"/>
                  </a:cubicBezTo>
                  <a:lnTo>
                    <a:pt x="31" y="2047"/>
                  </a:lnTo>
                  <a:cubicBezTo>
                    <a:pt x="301" y="2137"/>
                    <a:pt x="482" y="2438"/>
                    <a:pt x="452" y="2709"/>
                  </a:cubicBezTo>
                  <a:cubicBezTo>
                    <a:pt x="432" y="2905"/>
                    <a:pt x="592" y="3012"/>
                    <a:pt x="765" y="3012"/>
                  </a:cubicBezTo>
                  <a:cubicBezTo>
                    <a:pt x="856" y="3012"/>
                    <a:pt x="951" y="2982"/>
                    <a:pt x="1024" y="2919"/>
                  </a:cubicBezTo>
                  <a:cubicBezTo>
                    <a:pt x="1068" y="2868"/>
                    <a:pt x="1132" y="2847"/>
                    <a:pt x="1203" y="2847"/>
                  </a:cubicBezTo>
                  <a:cubicBezTo>
                    <a:pt x="1424" y="2847"/>
                    <a:pt x="1716" y="3047"/>
                    <a:pt x="1716" y="3160"/>
                  </a:cubicBezTo>
                  <a:cubicBezTo>
                    <a:pt x="1716" y="3193"/>
                    <a:pt x="1690" y="3205"/>
                    <a:pt x="1646" y="3205"/>
                  </a:cubicBezTo>
                  <a:cubicBezTo>
                    <a:pt x="1552" y="3205"/>
                    <a:pt x="1376" y="3153"/>
                    <a:pt x="1200" y="3153"/>
                  </a:cubicBezTo>
                  <a:cubicBezTo>
                    <a:pt x="1083" y="3153"/>
                    <a:pt x="967" y="3176"/>
                    <a:pt x="873" y="3250"/>
                  </a:cubicBezTo>
                  <a:cubicBezTo>
                    <a:pt x="572" y="3461"/>
                    <a:pt x="1084" y="3642"/>
                    <a:pt x="1054" y="3882"/>
                  </a:cubicBezTo>
                  <a:cubicBezTo>
                    <a:pt x="964" y="4153"/>
                    <a:pt x="1144" y="4424"/>
                    <a:pt x="1415" y="4454"/>
                  </a:cubicBezTo>
                  <a:cubicBezTo>
                    <a:pt x="1694" y="4454"/>
                    <a:pt x="1974" y="4792"/>
                    <a:pt x="2133" y="4792"/>
                  </a:cubicBezTo>
                  <a:cubicBezTo>
                    <a:pt x="2145" y="4792"/>
                    <a:pt x="2157" y="4790"/>
                    <a:pt x="2167" y="4785"/>
                  </a:cubicBezTo>
                  <a:cubicBezTo>
                    <a:pt x="2318" y="4695"/>
                    <a:pt x="1987" y="4093"/>
                    <a:pt x="2017" y="4003"/>
                  </a:cubicBezTo>
                  <a:cubicBezTo>
                    <a:pt x="2029" y="3979"/>
                    <a:pt x="2052" y="3971"/>
                    <a:pt x="2084" y="3971"/>
                  </a:cubicBezTo>
                  <a:cubicBezTo>
                    <a:pt x="2163" y="3971"/>
                    <a:pt x="2294" y="4026"/>
                    <a:pt x="2410" y="4026"/>
                  </a:cubicBezTo>
                  <a:cubicBezTo>
                    <a:pt x="2479" y="4026"/>
                    <a:pt x="2543" y="4006"/>
                    <a:pt x="2589" y="3943"/>
                  </a:cubicBezTo>
                  <a:cubicBezTo>
                    <a:pt x="2739" y="3762"/>
                    <a:pt x="2468" y="3642"/>
                    <a:pt x="2227" y="3642"/>
                  </a:cubicBezTo>
                  <a:cubicBezTo>
                    <a:pt x="2015" y="3642"/>
                    <a:pt x="2136" y="3437"/>
                    <a:pt x="2344" y="3437"/>
                  </a:cubicBezTo>
                  <a:cubicBezTo>
                    <a:pt x="2401" y="3437"/>
                    <a:pt x="2464" y="3453"/>
                    <a:pt x="2528" y="3491"/>
                  </a:cubicBezTo>
                  <a:cubicBezTo>
                    <a:pt x="2618" y="3554"/>
                    <a:pt x="2689" y="3577"/>
                    <a:pt x="2749" y="3577"/>
                  </a:cubicBezTo>
                  <a:cubicBezTo>
                    <a:pt x="2889" y="3577"/>
                    <a:pt x="2965" y="3452"/>
                    <a:pt x="3070" y="3431"/>
                  </a:cubicBezTo>
                  <a:cubicBezTo>
                    <a:pt x="3221" y="3401"/>
                    <a:pt x="3281" y="2889"/>
                    <a:pt x="2829" y="2799"/>
                  </a:cubicBezTo>
                  <a:cubicBezTo>
                    <a:pt x="2770" y="2783"/>
                    <a:pt x="2720" y="2777"/>
                    <a:pt x="2677" y="2777"/>
                  </a:cubicBezTo>
                  <a:cubicBezTo>
                    <a:pt x="2472" y="2777"/>
                    <a:pt x="2420" y="2922"/>
                    <a:pt x="2323" y="2922"/>
                  </a:cubicBezTo>
                  <a:cubicBezTo>
                    <a:pt x="2283" y="2922"/>
                    <a:pt x="2236" y="2898"/>
                    <a:pt x="2167" y="2829"/>
                  </a:cubicBezTo>
                  <a:cubicBezTo>
                    <a:pt x="1927" y="2558"/>
                    <a:pt x="2438" y="2649"/>
                    <a:pt x="2438" y="2378"/>
                  </a:cubicBezTo>
                  <a:cubicBezTo>
                    <a:pt x="2438" y="2107"/>
                    <a:pt x="1987" y="1806"/>
                    <a:pt x="1776" y="1505"/>
                  </a:cubicBezTo>
                  <a:cubicBezTo>
                    <a:pt x="1618" y="1308"/>
                    <a:pt x="1797" y="1175"/>
                    <a:pt x="1964" y="1175"/>
                  </a:cubicBezTo>
                  <a:cubicBezTo>
                    <a:pt x="2052" y="1175"/>
                    <a:pt x="2136" y="1211"/>
                    <a:pt x="2167" y="1294"/>
                  </a:cubicBezTo>
                  <a:cubicBezTo>
                    <a:pt x="2255" y="1399"/>
                    <a:pt x="2393" y="1464"/>
                    <a:pt x="2535" y="1464"/>
                  </a:cubicBezTo>
                  <a:cubicBezTo>
                    <a:pt x="2637" y="1464"/>
                    <a:pt x="2741" y="1430"/>
                    <a:pt x="2829" y="1355"/>
                  </a:cubicBezTo>
                  <a:cubicBezTo>
                    <a:pt x="3010" y="1294"/>
                    <a:pt x="2619" y="903"/>
                    <a:pt x="2980" y="783"/>
                  </a:cubicBezTo>
                  <a:cubicBezTo>
                    <a:pt x="3044" y="765"/>
                    <a:pt x="3097" y="758"/>
                    <a:pt x="3141" y="758"/>
                  </a:cubicBezTo>
                  <a:cubicBezTo>
                    <a:pt x="3326" y="758"/>
                    <a:pt x="3364" y="885"/>
                    <a:pt x="3461" y="933"/>
                  </a:cubicBezTo>
                  <a:cubicBezTo>
                    <a:pt x="3474" y="943"/>
                    <a:pt x="3486" y="947"/>
                    <a:pt x="3498" y="947"/>
                  </a:cubicBezTo>
                  <a:cubicBezTo>
                    <a:pt x="3604" y="947"/>
                    <a:pt x="3713" y="632"/>
                    <a:pt x="4063" y="632"/>
                  </a:cubicBezTo>
                  <a:cubicBezTo>
                    <a:pt x="4244" y="662"/>
                    <a:pt x="4455" y="753"/>
                    <a:pt x="4575" y="903"/>
                  </a:cubicBezTo>
                  <a:cubicBezTo>
                    <a:pt x="4695" y="783"/>
                    <a:pt x="4786" y="723"/>
                    <a:pt x="4786" y="602"/>
                  </a:cubicBezTo>
                  <a:cubicBezTo>
                    <a:pt x="4786" y="482"/>
                    <a:pt x="4996" y="452"/>
                    <a:pt x="4996" y="271"/>
                  </a:cubicBezTo>
                  <a:cubicBezTo>
                    <a:pt x="4996" y="181"/>
                    <a:pt x="4966" y="91"/>
                    <a:pt x="4936" y="0"/>
                  </a:cubicBezTo>
                  <a:close/>
                  <a:moveTo>
                    <a:pt x="2834" y="5743"/>
                  </a:moveTo>
                  <a:cubicBezTo>
                    <a:pt x="2623" y="5743"/>
                    <a:pt x="2418" y="5966"/>
                    <a:pt x="2559" y="5989"/>
                  </a:cubicBezTo>
                  <a:cubicBezTo>
                    <a:pt x="2920" y="6140"/>
                    <a:pt x="3311" y="6230"/>
                    <a:pt x="3732" y="6290"/>
                  </a:cubicBezTo>
                  <a:cubicBezTo>
                    <a:pt x="4184" y="6290"/>
                    <a:pt x="4786" y="6079"/>
                    <a:pt x="4786" y="5959"/>
                  </a:cubicBezTo>
                  <a:cubicBezTo>
                    <a:pt x="4786" y="5927"/>
                    <a:pt x="4764" y="5916"/>
                    <a:pt x="4728" y="5916"/>
                  </a:cubicBezTo>
                  <a:cubicBezTo>
                    <a:pt x="4659" y="5916"/>
                    <a:pt x="4538" y="5955"/>
                    <a:pt x="4419" y="5955"/>
                  </a:cubicBezTo>
                  <a:cubicBezTo>
                    <a:pt x="4369" y="5955"/>
                    <a:pt x="4319" y="5948"/>
                    <a:pt x="4274" y="5929"/>
                  </a:cubicBezTo>
                  <a:cubicBezTo>
                    <a:pt x="4220" y="5893"/>
                    <a:pt x="4106" y="5884"/>
                    <a:pt x="3965" y="5884"/>
                  </a:cubicBezTo>
                  <a:cubicBezTo>
                    <a:pt x="3816" y="5884"/>
                    <a:pt x="3639" y="5894"/>
                    <a:pt x="3475" y="5894"/>
                  </a:cubicBezTo>
                  <a:cubicBezTo>
                    <a:pt x="3273" y="5894"/>
                    <a:pt x="3092" y="5879"/>
                    <a:pt x="3010" y="5809"/>
                  </a:cubicBezTo>
                  <a:cubicBezTo>
                    <a:pt x="2956" y="5761"/>
                    <a:pt x="2895" y="5743"/>
                    <a:pt x="2834" y="5743"/>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96" name="Google Shape;2990;p123">
              <a:extLst>
                <a:ext uri="{FF2B5EF4-FFF2-40B4-BE49-F238E27FC236}">
                  <a16:creationId xmlns:a16="http://schemas.microsoft.com/office/drawing/2014/main" id="{2EF87E22-3A3E-F547-9A87-D8C449FC437C}"/>
                </a:ext>
              </a:extLst>
            </p:cNvPr>
            <p:cNvSpPr/>
            <p:nvPr/>
          </p:nvSpPr>
          <p:spPr>
            <a:xfrm>
              <a:off x="5040794" y="2346413"/>
              <a:ext cx="63477" cy="32080"/>
            </a:xfrm>
            <a:custGeom>
              <a:avLst/>
              <a:gdLst/>
              <a:ahLst/>
              <a:cxnLst/>
              <a:rect l="l" t="t" r="r" b="b"/>
              <a:pathLst>
                <a:path w="2046" h="1034" extrusionOk="0">
                  <a:moveTo>
                    <a:pt x="1931" y="1"/>
                  </a:moveTo>
                  <a:cubicBezTo>
                    <a:pt x="1904" y="1"/>
                    <a:pt x="1871" y="14"/>
                    <a:pt x="1837" y="49"/>
                  </a:cubicBezTo>
                  <a:cubicBezTo>
                    <a:pt x="1475" y="290"/>
                    <a:pt x="1114" y="380"/>
                    <a:pt x="693" y="410"/>
                  </a:cubicBezTo>
                  <a:cubicBezTo>
                    <a:pt x="181" y="410"/>
                    <a:pt x="1" y="741"/>
                    <a:pt x="332" y="982"/>
                  </a:cubicBezTo>
                  <a:cubicBezTo>
                    <a:pt x="435" y="1016"/>
                    <a:pt x="546" y="1033"/>
                    <a:pt x="657" y="1033"/>
                  </a:cubicBezTo>
                  <a:cubicBezTo>
                    <a:pt x="936" y="1033"/>
                    <a:pt x="1222" y="926"/>
                    <a:pt x="1415" y="711"/>
                  </a:cubicBezTo>
                  <a:cubicBezTo>
                    <a:pt x="1385" y="591"/>
                    <a:pt x="1566" y="290"/>
                    <a:pt x="1837" y="229"/>
                  </a:cubicBezTo>
                  <a:cubicBezTo>
                    <a:pt x="2046" y="160"/>
                    <a:pt x="2022" y="1"/>
                    <a:pt x="1931"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97" name="Google Shape;2991;p123">
              <a:extLst>
                <a:ext uri="{FF2B5EF4-FFF2-40B4-BE49-F238E27FC236}">
                  <a16:creationId xmlns:a16="http://schemas.microsoft.com/office/drawing/2014/main" id="{3B641D87-5BD9-EF4F-8053-BAFA4B2B0258}"/>
                </a:ext>
              </a:extLst>
            </p:cNvPr>
            <p:cNvSpPr/>
            <p:nvPr/>
          </p:nvSpPr>
          <p:spPr>
            <a:xfrm>
              <a:off x="3666945" y="1319765"/>
              <a:ext cx="263744" cy="127140"/>
            </a:xfrm>
            <a:custGeom>
              <a:avLst/>
              <a:gdLst/>
              <a:ahLst/>
              <a:cxnLst/>
              <a:rect l="l" t="t" r="r" b="b"/>
              <a:pathLst>
                <a:path w="8501" h="4098" extrusionOk="0">
                  <a:moveTo>
                    <a:pt x="6152" y="0"/>
                  </a:moveTo>
                  <a:cubicBezTo>
                    <a:pt x="6141" y="0"/>
                    <a:pt x="6131" y="2"/>
                    <a:pt x="6123" y="6"/>
                  </a:cubicBezTo>
                  <a:cubicBezTo>
                    <a:pt x="5972" y="96"/>
                    <a:pt x="6092" y="367"/>
                    <a:pt x="6002" y="487"/>
                  </a:cubicBezTo>
                  <a:cubicBezTo>
                    <a:pt x="5987" y="526"/>
                    <a:pt x="5949" y="539"/>
                    <a:pt x="5901" y="539"/>
                  </a:cubicBezTo>
                  <a:cubicBezTo>
                    <a:pt x="5813" y="539"/>
                    <a:pt x="5692" y="496"/>
                    <a:pt x="5617" y="496"/>
                  </a:cubicBezTo>
                  <a:cubicBezTo>
                    <a:pt x="5577" y="496"/>
                    <a:pt x="5551" y="508"/>
                    <a:pt x="5551" y="547"/>
                  </a:cubicBezTo>
                  <a:cubicBezTo>
                    <a:pt x="5551" y="626"/>
                    <a:pt x="5501" y="672"/>
                    <a:pt x="5433" y="672"/>
                  </a:cubicBezTo>
                  <a:cubicBezTo>
                    <a:pt x="5370" y="672"/>
                    <a:pt x="5292" y="634"/>
                    <a:pt x="5220" y="547"/>
                  </a:cubicBezTo>
                  <a:cubicBezTo>
                    <a:pt x="5162" y="466"/>
                    <a:pt x="5081" y="434"/>
                    <a:pt x="5004" y="434"/>
                  </a:cubicBezTo>
                  <a:cubicBezTo>
                    <a:pt x="4882" y="434"/>
                    <a:pt x="4768" y="515"/>
                    <a:pt x="4768" y="608"/>
                  </a:cubicBezTo>
                  <a:cubicBezTo>
                    <a:pt x="4768" y="655"/>
                    <a:pt x="4756" y="676"/>
                    <a:pt x="4730" y="676"/>
                  </a:cubicBezTo>
                  <a:cubicBezTo>
                    <a:pt x="4674" y="676"/>
                    <a:pt x="4553" y="580"/>
                    <a:pt x="4347" y="457"/>
                  </a:cubicBezTo>
                  <a:cubicBezTo>
                    <a:pt x="4290" y="423"/>
                    <a:pt x="4236" y="408"/>
                    <a:pt x="4186" y="408"/>
                  </a:cubicBezTo>
                  <a:cubicBezTo>
                    <a:pt x="3974" y="408"/>
                    <a:pt x="3835" y="678"/>
                    <a:pt x="3835" y="848"/>
                  </a:cubicBezTo>
                  <a:cubicBezTo>
                    <a:pt x="3835" y="928"/>
                    <a:pt x="3818" y="979"/>
                    <a:pt x="3780" y="979"/>
                  </a:cubicBezTo>
                  <a:cubicBezTo>
                    <a:pt x="3732" y="979"/>
                    <a:pt x="3652" y="899"/>
                    <a:pt x="3534" y="698"/>
                  </a:cubicBezTo>
                  <a:cubicBezTo>
                    <a:pt x="3463" y="581"/>
                    <a:pt x="3391" y="537"/>
                    <a:pt x="3328" y="537"/>
                  </a:cubicBezTo>
                  <a:cubicBezTo>
                    <a:pt x="3179" y="537"/>
                    <a:pt x="3080" y="782"/>
                    <a:pt x="3143" y="908"/>
                  </a:cubicBezTo>
                  <a:cubicBezTo>
                    <a:pt x="3248" y="1066"/>
                    <a:pt x="3239" y="1316"/>
                    <a:pt x="3134" y="1316"/>
                  </a:cubicBezTo>
                  <a:cubicBezTo>
                    <a:pt x="3119" y="1316"/>
                    <a:pt x="3102" y="1311"/>
                    <a:pt x="3083" y="1300"/>
                  </a:cubicBezTo>
                  <a:cubicBezTo>
                    <a:pt x="3049" y="1272"/>
                    <a:pt x="3008" y="1260"/>
                    <a:pt x="2964" y="1260"/>
                  </a:cubicBezTo>
                  <a:cubicBezTo>
                    <a:pt x="2816" y="1260"/>
                    <a:pt x="2634" y="1394"/>
                    <a:pt x="2541" y="1510"/>
                  </a:cubicBezTo>
                  <a:cubicBezTo>
                    <a:pt x="2532" y="1526"/>
                    <a:pt x="2519" y="1533"/>
                    <a:pt x="2504" y="1533"/>
                  </a:cubicBezTo>
                  <a:cubicBezTo>
                    <a:pt x="2376" y="1533"/>
                    <a:pt x="2088" y="1013"/>
                    <a:pt x="2331" y="878"/>
                  </a:cubicBezTo>
                  <a:cubicBezTo>
                    <a:pt x="2601" y="728"/>
                    <a:pt x="1488" y="96"/>
                    <a:pt x="1127" y="96"/>
                  </a:cubicBezTo>
                  <a:cubicBezTo>
                    <a:pt x="736" y="96"/>
                    <a:pt x="1006" y="337"/>
                    <a:pt x="1247" y="547"/>
                  </a:cubicBezTo>
                  <a:cubicBezTo>
                    <a:pt x="1340" y="627"/>
                    <a:pt x="1322" y="666"/>
                    <a:pt x="1261" y="666"/>
                  </a:cubicBezTo>
                  <a:cubicBezTo>
                    <a:pt x="1185" y="666"/>
                    <a:pt x="1043" y="605"/>
                    <a:pt x="976" y="487"/>
                  </a:cubicBezTo>
                  <a:cubicBezTo>
                    <a:pt x="940" y="433"/>
                    <a:pt x="890" y="408"/>
                    <a:pt x="834" y="408"/>
                  </a:cubicBezTo>
                  <a:cubicBezTo>
                    <a:pt x="704" y="408"/>
                    <a:pt x="540" y="539"/>
                    <a:pt x="435" y="728"/>
                  </a:cubicBezTo>
                  <a:cubicBezTo>
                    <a:pt x="284" y="999"/>
                    <a:pt x="74" y="1059"/>
                    <a:pt x="43" y="1240"/>
                  </a:cubicBezTo>
                  <a:cubicBezTo>
                    <a:pt x="0" y="1391"/>
                    <a:pt x="221" y="1511"/>
                    <a:pt x="494" y="1511"/>
                  </a:cubicBezTo>
                  <a:cubicBezTo>
                    <a:pt x="601" y="1511"/>
                    <a:pt x="716" y="1493"/>
                    <a:pt x="826" y="1450"/>
                  </a:cubicBezTo>
                  <a:cubicBezTo>
                    <a:pt x="961" y="1360"/>
                    <a:pt x="1119" y="1315"/>
                    <a:pt x="1281" y="1315"/>
                  </a:cubicBezTo>
                  <a:cubicBezTo>
                    <a:pt x="1443" y="1315"/>
                    <a:pt x="1608" y="1360"/>
                    <a:pt x="1759" y="1450"/>
                  </a:cubicBezTo>
                  <a:cubicBezTo>
                    <a:pt x="1939" y="1601"/>
                    <a:pt x="1428" y="1661"/>
                    <a:pt x="1608" y="1811"/>
                  </a:cubicBezTo>
                  <a:cubicBezTo>
                    <a:pt x="1770" y="1946"/>
                    <a:pt x="1666" y="2057"/>
                    <a:pt x="1318" y="2057"/>
                  </a:cubicBezTo>
                  <a:cubicBezTo>
                    <a:pt x="1278" y="2057"/>
                    <a:pt x="1234" y="2055"/>
                    <a:pt x="1187" y="2052"/>
                  </a:cubicBezTo>
                  <a:cubicBezTo>
                    <a:pt x="1106" y="2041"/>
                    <a:pt x="1022" y="2036"/>
                    <a:pt x="941" y="2036"/>
                  </a:cubicBezTo>
                  <a:cubicBezTo>
                    <a:pt x="570" y="2036"/>
                    <a:pt x="235" y="2139"/>
                    <a:pt x="284" y="2263"/>
                  </a:cubicBezTo>
                  <a:cubicBezTo>
                    <a:pt x="305" y="2298"/>
                    <a:pt x="378" y="2310"/>
                    <a:pt x="479" y="2310"/>
                  </a:cubicBezTo>
                  <a:cubicBezTo>
                    <a:pt x="709" y="2310"/>
                    <a:pt x="1082" y="2246"/>
                    <a:pt x="1296" y="2246"/>
                  </a:cubicBezTo>
                  <a:cubicBezTo>
                    <a:pt x="1388" y="2246"/>
                    <a:pt x="1451" y="2258"/>
                    <a:pt x="1458" y="2293"/>
                  </a:cubicBezTo>
                  <a:cubicBezTo>
                    <a:pt x="1483" y="2417"/>
                    <a:pt x="1467" y="2624"/>
                    <a:pt x="1613" y="2624"/>
                  </a:cubicBezTo>
                  <a:cubicBezTo>
                    <a:pt x="1644" y="2624"/>
                    <a:pt x="1682" y="2615"/>
                    <a:pt x="1729" y="2594"/>
                  </a:cubicBezTo>
                  <a:cubicBezTo>
                    <a:pt x="1764" y="2582"/>
                    <a:pt x="1792" y="2577"/>
                    <a:pt x="1814" y="2577"/>
                  </a:cubicBezTo>
                  <a:cubicBezTo>
                    <a:pt x="1965" y="2577"/>
                    <a:pt x="1861" y="2812"/>
                    <a:pt x="1939" y="2865"/>
                  </a:cubicBezTo>
                  <a:cubicBezTo>
                    <a:pt x="2060" y="2955"/>
                    <a:pt x="2060" y="3196"/>
                    <a:pt x="1699" y="3196"/>
                  </a:cubicBezTo>
                  <a:cubicBezTo>
                    <a:pt x="1307" y="3196"/>
                    <a:pt x="1127" y="3316"/>
                    <a:pt x="1307" y="3467"/>
                  </a:cubicBezTo>
                  <a:cubicBezTo>
                    <a:pt x="1383" y="3530"/>
                    <a:pt x="1502" y="3556"/>
                    <a:pt x="1642" y="3556"/>
                  </a:cubicBezTo>
                  <a:cubicBezTo>
                    <a:pt x="1837" y="3556"/>
                    <a:pt x="2074" y="3506"/>
                    <a:pt x="2301" y="3436"/>
                  </a:cubicBezTo>
                  <a:cubicBezTo>
                    <a:pt x="2336" y="3425"/>
                    <a:pt x="2374" y="3419"/>
                    <a:pt x="2414" y="3419"/>
                  </a:cubicBezTo>
                  <a:cubicBezTo>
                    <a:pt x="2779" y="3419"/>
                    <a:pt x="3311" y="3876"/>
                    <a:pt x="3745" y="4038"/>
                  </a:cubicBezTo>
                  <a:cubicBezTo>
                    <a:pt x="3862" y="4079"/>
                    <a:pt x="3992" y="4097"/>
                    <a:pt x="4125" y="4097"/>
                  </a:cubicBezTo>
                  <a:cubicBezTo>
                    <a:pt x="4576" y="4097"/>
                    <a:pt x="5053" y="3893"/>
                    <a:pt x="5099" y="3707"/>
                  </a:cubicBezTo>
                  <a:cubicBezTo>
                    <a:pt x="5190" y="3436"/>
                    <a:pt x="5822" y="3557"/>
                    <a:pt x="6092" y="3406"/>
                  </a:cubicBezTo>
                  <a:cubicBezTo>
                    <a:pt x="6393" y="3166"/>
                    <a:pt x="6755" y="3015"/>
                    <a:pt x="7146" y="2985"/>
                  </a:cubicBezTo>
                  <a:cubicBezTo>
                    <a:pt x="7627" y="2955"/>
                    <a:pt x="7597" y="2443"/>
                    <a:pt x="7778" y="2443"/>
                  </a:cubicBezTo>
                  <a:cubicBezTo>
                    <a:pt x="7958" y="2443"/>
                    <a:pt x="8259" y="2112"/>
                    <a:pt x="8380" y="1902"/>
                  </a:cubicBezTo>
                  <a:cubicBezTo>
                    <a:pt x="8500" y="1601"/>
                    <a:pt x="8319" y="1270"/>
                    <a:pt x="8019" y="1209"/>
                  </a:cubicBezTo>
                  <a:cubicBezTo>
                    <a:pt x="7688" y="1209"/>
                    <a:pt x="7507" y="999"/>
                    <a:pt x="7567" y="848"/>
                  </a:cubicBezTo>
                  <a:cubicBezTo>
                    <a:pt x="7597" y="698"/>
                    <a:pt x="7417" y="457"/>
                    <a:pt x="7417" y="367"/>
                  </a:cubicBezTo>
                  <a:cubicBezTo>
                    <a:pt x="7417" y="328"/>
                    <a:pt x="7380" y="314"/>
                    <a:pt x="7323" y="314"/>
                  </a:cubicBezTo>
                  <a:cubicBezTo>
                    <a:pt x="7204" y="314"/>
                    <a:pt x="6998" y="376"/>
                    <a:pt x="6875" y="397"/>
                  </a:cubicBezTo>
                  <a:cubicBezTo>
                    <a:pt x="6869" y="398"/>
                    <a:pt x="6864" y="398"/>
                    <a:pt x="6858" y="398"/>
                  </a:cubicBezTo>
                  <a:cubicBezTo>
                    <a:pt x="6681" y="398"/>
                    <a:pt x="6316" y="0"/>
                    <a:pt x="6152"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98" name="Google Shape;2992;p123">
              <a:extLst>
                <a:ext uri="{FF2B5EF4-FFF2-40B4-BE49-F238E27FC236}">
                  <a16:creationId xmlns:a16="http://schemas.microsoft.com/office/drawing/2014/main" id="{D5C52C6B-9D97-C545-B345-B8EF3B83FD64}"/>
                </a:ext>
              </a:extLst>
            </p:cNvPr>
            <p:cNvSpPr/>
            <p:nvPr/>
          </p:nvSpPr>
          <p:spPr>
            <a:xfrm>
              <a:off x="4005334" y="1749151"/>
              <a:ext cx="111132" cy="121680"/>
            </a:xfrm>
            <a:custGeom>
              <a:avLst/>
              <a:gdLst/>
              <a:ahLst/>
              <a:cxnLst/>
              <a:rect l="l" t="t" r="r" b="b"/>
              <a:pathLst>
                <a:path w="3582" h="3922" extrusionOk="0">
                  <a:moveTo>
                    <a:pt x="1877" y="1"/>
                  </a:moveTo>
                  <a:cubicBezTo>
                    <a:pt x="1685" y="1"/>
                    <a:pt x="1523" y="74"/>
                    <a:pt x="1505" y="250"/>
                  </a:cubicBezTo>
                  <a:cubicBezTo>
                    <a:pt x="1445" y="551"/>
                    <a:pt x="1867" y="431"/>
                    <a:pt x="1867" y="611"/>
                  </a:cubicBezTo>
                  <a:cubicBezTo>
                    <a:pt x="1867" y="822"/>
                    <a:pt x="1505" y="762"/>
                    <a:pt x="1235" y="972"/>
                  </a:cubicBezTo>
                  <a:cubicBezTo>
                    <a:pt x="1173" y="1013"/>
                    <a:pt x="1111" y="1028"/>
                    <a:pt x="1047" y="1028"/>
                  </a:cubicBezTo>
                  <a:cubicBezTo>
                    <a:pt x="885" y="1028"/>
                    <a:pt x="720" y="932"/>
                    <a:pt x="570" y="932"/>
                  </a:cubicBezTo>
                  <a:cubicBezTo>
                    <a:pt x="519" y="932"/>
                    <a:pt x="469" y="943"/>
                    <a:pt x="422" y="972"/>
                  </a:cubicBezTo>
                  <a:cubicBezTo>
                    <a:pt x="151" y="1123"/>
                    <a:pt x="723" y="1273"/>
                    <a:pt x="482" y="1574"/>
                  </a:cubicBezTo>
                  <a:cubicBezTo>
                    <a:pt x="272" y="1875"/>
                    <a:pt x="482" y="1815"/>
                    <a:pt x="873" y="2116"/>
                  </a:cubicBezTo>
                  <a:cubicBezTo>
                    <a:pt x="1235" y="2417"/>
                    <a:pt x="633" y="2477"/>
                    <a:pt x="633" y="2778"/>
                  </a:cubicBezTo>
                  <a:cubicBezTo>
                    <a:pt x="633" y="3079"/>
                    <a:pt x="211" y="3109"/>
                    <a:pt x="121" y="3289"/>
                  </a:cubicBezTo>
                  <a:cubicBezTo>
                    <a:pt x="1" y="3470"/>
                    <a:pt x="482" y="3921"/>
                    <a:pt x="903" y="3921"/>
                  </a:cubicBezTo>
                  <a:cubicBezTo>
                    <a:pt x="1385" y="3891"/>
                    <a:pt x="1867" y="3711"/>
                    <a:pt x="2258" y="3380"/>
                  </a:cubicBezTo>
                  <a:cubicBezTo>
                    <a:pt x="2415" y="3234"/>
                    <a:pt x="2543" y="3197"/>
                    <a:pt x="2659" y="3197"/>
                  </a:cubicBezTo>
                  <a:cubicBezTo>
                    <a:pt x="2778" y="3197"/>
                    <a:pt x="2884" y="3236"/>
                    <a:pt x="2996" y="3236"/>
                  </a:cubicBezTo>
                  <a:cubicBezTo>
                    <a:pt x="3067" y="3236"/>
                    <a:pt x="3140" y="3220"/>
                    <a:pt x="3221" y="3169"/>
                  </a:cubicBezTo>
                  <a:cubicBezTo>
                    <a:pt x="3582" y="2989"/>
                    <a:pt x="3371" y="1604"/>
                    <a:pt x="3221" y="1333"/>
                  </a:cubicBezTo>
                  <a:lnTo>
                    <a:pt x="3221" y="1213"/>
                  </a:lnTo>
                  <a:cubicBezTo>
                    <a:pt x="3131" y="1153"/>
                    <a:pt x="3040" y="1062"/>
                    <a:pt x="2980" y="972"/>
                  </a:cubicBezTo>
                  <a:cubicBezTo>
                    <a:pt x="2875" y="846"/>
                    <a:pt x="2792" y="797"/>
                    <a:pt x="2727" y="797"/>
                  </a:cubicBezTo>
                  <a:cubicBezTo>
                    <a:pt x="2606" y="797"/>
                    <a:pt x="2548" y="966"/>
                    <a:pt x="2529" y="1123"/>
                  </a:cubicBezTo>
                  <a:cubicBezTo>
                    <a:pt x="2513" y="1177"/>
                    <a:pt x="2482" y="1197"/>
                    <a:pt x="2442" y="1197"/>
                  </a:cubicBezTo>
                  <a:cubicBezTo>
                    <a:pt x="2324" y="1197"/>
                    <a:pt x="2129" y="1025"/>
                    <a:pt x="2017" y="1002"/>
                  </a:cubicBezTo>
                  <a:cubicBezTo>
                    <a:pt x="1867" y="972"/>
                    <a:pt x="2077" y="611"/>
                    <a:pt x="2167" y="551"/>
                  </a:cubicBezTo>
                  <a:cubicBezTo>
                    <a:pt x="2288" y="431"/>
                    <a:pt x="2378" y="250"/>
                    <a:pt x="2408" y="99"/>
                  </a:cubicBezTo>
                  <a:lnTo>
                    <a:pt x="2288" y="99"/>
                  </a:lnTo>
                  <a:cubicBezTo>
                    <a:pt x="2163" y="37"/>
                    <a:pt x="2013" y="1"/>
                    <a:pt x="1877"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099" name="Google Shape;2993;p123">
              <a:extLst>
                <a:ext uri="{FF2B5EF4-FFF2-40B4-BE49-F238E27FC236}">
                  <a16:creationId xmlns:a16="http://schemas.microsoft.com/office/drawing/2014/main" id="{EB4573EF-7219-7444-AC02-FA00FFB4EBF7}"/>
                </a:ext>
              </a:extLst>
            </p:cNvPr>
            <p:cNvSpPr/>
            <p:nvPr/>
          </p:nvSpPr>
          <p:spPr>
            <a:xfrm>
              <a:off x="4062296" y="1548574"/>
              <a:ext cx="247455" cy="373634"/>
            </a:xfrm>
            <a:custGeom>
              <a:avLst/>
              <a:gdLst/>
              <a:ahLst/>
              <a:cxnLst/>
              <a:rect l="l" t="t" r="r" b="b"/>
              <a:pathLst>
                <a:path w="7976" h="12043" extrusionOk="0">
                  <a:moveTo>
                    <a:pt x="5600" y="0"/>
                  </a:moveTo>
                  <a:cubicBezTo>
                    <a:pt x="5590" y="0"/>
                    <a:pt x="5579" y="2"/>
                    <a:pt x="5568" y="4"/>
                  </a:cubicBezTo>
                  <a:cubicBezTo>
                    <a:pt x="5286" y="88"/>
                    <a:pt x="5374" y="888"/>
                    <a:pt x="5436" y="888"/>
                  </a:cubicBezTo>
                  <a:cubicBezTo>
                    <a:pt x="5440" y="888"/>
                    <a:pt x="5444" y="884"/>
                    <a:pt x="5448" y="877"/>
                  </a:cubicBezTo>
                  <a:cubicBezTo>
                    <a:pt x="5650" y="703"/>
                    <a:pt x="5853" y="0"/>
                    <a:pt x="5600" y="0"/>
                  </a:cubicBezTo>
                  <a:close/>
                  <a:moveTo>
                    <a:pt x="1431" y="2695"/>
                  </a:moveTo>
                  <a:cubicBezTo>
                    <a:pt x="1230" y="2695"/>
                    <a:pt x="712" y="3435"/>
                    <a:pt x="933" y="3435"/>
                  </a:cubicBezTo>
                  <a:cubicBezTo>
                    <a:pt x="1234" y="3405"/>
                    <a:pt x="1626" y="2863"/>
                    <a:pt x="1475" y="2712"/>
                  </a:cubicBezTo>
                  <a:cubicBezTo>
                    <a:pt x="1463" y="2700"/>
                    <a:pt x="1448" y="2695"/>
                    <a:pt x="1431" y="2695"/>
                  </a:cubicBezTo>
                  <a:close/>
                  <a:moveTo>
                    <a:pt x="1300" y="6311"/>
                  </a:moveTo>
                  <a:cubicBezTo>
                    <a:pt x="1058" y="6311"/>
                    <a:pt x="798" y="6564"/>
                    <a:pt x="572" y="6564"/>
                  </a:cubicBezTo>
                  <a:cubicBezTo>
                    <a:pt x="542" y="6715"/>
                    <a:pt x="452" y="6896"/>
                    <a:pt x="331" y="7016"/>
                  </a:cubicBezTo>
                  <a:cubicBezTo>
                    <a:pt x="211" y="7076"/>
                    <a:pt x="0" y="7437"/>
                    <a:pt x="181" y="7467"/>
                  </a:cubicBezTo>
                  <a:cubicBezTo>
                    <a:pt x="315" y="7490"/>
                    <a:pt x="500" y="7662"/>
                    <a:pt x="610" y="7662"/>
                  </a:cubicBezTo>
                  <a:cubicBezTo>
                    <a:pt x="648" y="7662"/>
                    <a:pt x="677" y="7642"/>
                    <a:pt x="693" y="7588"/>
                  </a:cubicBezTo>
                  <a:cubicBezTo>
                    <a:pt x="712" y="7431"/>
                    <a:pt x="757" y="7262"/>
                    <a:pt x="869" y="7262"/>
                  </a:cubicBezTo>
                  <a:cubicBezTo>
                    <a:pt x="929" y="7262"/>
                    <a:pt x="1009" y="7311"/>
                    <a:pt x="1114" y="7437"/>
                  </a:cubicBezTo>
                  <a:cubicBezTo>
                    <a:pt x="1204" y="7527"/>
                    <a:pt x="1295" y="7618"/>
                    <a:pt x="1385" y="7678"/>
                  </a:cubicBezTo>
                  <a:cubicBezTo>
                    <a:pt x="1445" y="7497"/>
                    <a:pt x="1806" y="7497"/>
                    <a:pt x="1987" y="7317"/>
                  </a:cubicBezTo>
                  <a:cubicBezTo>
                    <a:pt x="2197" y="7136"/>
                    <a:pt x="1896" y="6715"/>
                    <a:pt x="1535" y="6414"/>
                  </a:cubicBezTo>
                  <a:cubicBezTo>
                    <a:pt x="1460" y="6339"/>
                    <a:pt x="1381" y="6311"/>
                    <a:pt x="1300" y="6311"/>
                  </a:cubicBezTo>
                  <a:close/>
                  <a:moveTo>
                    <a:pt x="3928" y="2162"/>
                  </a:moveTo>
                  <a:cubicBezTo>
                    <a:pt x="3819" y="2162"/>
                    <a:pt x="3735" y="2408"/>
                    <a:pt x="3612" y="2532"/>
                  </a:cubicBezTo>
                  <a:cubicBezTo>
                    <a:pt x="3476" y="2577"/>
                    <a:pt x="3333" y="2599"/>
                    <a:pt x="3194" y="2599"/>
                  </a:cubicBezTo>
                  <a:cubicBezTo>
                    <a:pt x="3055" y="2599"/>
                    <a:pt x="2920" y="2577"/>
                    <a:pt x="2799" y="2532"/>
                  </a:cubicBezTo>
                  <a:cubicBezTo>
                    <a:pt x="2778" y="2528"/>
                    <a:pt x="2757" y="2527"/>
                    <a:pt x="2737" y="2527"/>
                  </a:cubicBezTo>
                  <a:cubicBezTo>
                    <a:pt x="2392" y="2527"/>
                    <a:pt x="2259" y="2996"/>
                    <a:pt x="2288" y="3224"/>
                  </a:cubicBezTo>
                  <a:cubicBezTo>
                    <a:pt x="2348" y="3435"/>
                    <a:pt x="1836" y="3555"/>
                    <a:pt x="1926" y="3736"/>
                  </a:cubicBezTo>
                  <a:cubicBezTo>
                    <a:pt x="1974" y="3879"/>
                    <a:pt x="1889" y="4003"/>
                    <a:pt x="1807" y="4003"/>
                  </a:cubicBezTo>
                  <a:cubicBezTo>
                    <a:pt x="1786" y="4003"/>
                    <a:pt x="1765" y="3995"/>
                    <a:pt x="1746" y="3976"/>
                  </a:cubicBezTo>
                  <a:cubicBezTo>
                    <a:pt x="1654" y="3885"/>
                    <a:pt x="1545" y="3705"/>
                    <a:pt x="1391" y="3705"/>
                  </a:cubicBezTo>
                  <a:cubicBezTo>
                    <a:pt x="1344" y="3705"/>
                    <a:pt x="1292" y="3723"/>
                    <a:pt x="1234" y="3766"/>
                  </a:cubicBezTo>
                  <a:cubicBezTo>
                    <a:pt x="1024" y="3976"/>
                    <a:pt x="1505" y="4217"/>
                    <a:pt x="1806" y="4277"/>
                  </a:cubicBezTo>
                  <a:cubicBezTo>
                    <a:pt x="2107" y="4307"/>
                    <a:pt x="1595" y="4488"/>
                    <a:pt x="1535" y="4819"/>
                  </a:cubicBezTo>
                  <a:cubicBezTo>
                    <a:pt x="1505" y="5180"/>
                    <a:pt x="1926" y="5030"/>
                    <a:pt x="1957" y="5240"/>
                  </a:cubicBezTo>
                  <a:cubicBezTo>
                    <a:pt x="1987" y="5481"/>
                    <a:pt x="1295" y="5541"/>
                    <a:pt x="1295" y="5722"/>
                  </a:cubicBezTo>
                  <a:cubicBezTo>
                    <a:pt x="1295" y="5778"/>
                    <a:pt x="1322" y="5800"/>
                    <a:pt x="1365" y="5800"/>
                  </a:cubicBezTo>
                  <a:cubicBezTo>
                    <a:pt x="1485" y="5800"/>
                    <a:pt x="1726" y="5630"/>
                    <a:pt x="1836" y="5541"/>
                  </a:cubicBezTo>
                  <a:cubicBezTo>
                    <a:pt x="1848" y="5532"/>
                    <a:pt x="1858" y="5527"/>
                    <a:pt x="1866" y="5527"/>
                  </a:cubicBezTo>
                  <a:cubicBezTo>
                    <a:pt x="1951" y="5527"/>
                    <a:pt x="1829" y="6031"/>
                    <a:pt x="2126" y="6031"/>
                  </a:cubicBezTo>
                  <a:cubicBezTo>
                    <a:pt x="2148" y="6031"/>
                    <a:pt x="2171" y="6028"/>
                    <a:pt x="2197" y="6023"/>
                  </a:cubicBezTo>
                  <a:cubicBezTo>
                    <a:pt x="2589" y="5963"/>
                    <a:pt x="2498" y="5391"/>
                    <a:pt x="2649" y="5391"/>
                  </a:cubicBezTo>
                  <a:cubicBezTo>
                    <a:pt x="2799" y="5391"/>
                    <a:pt x="2558" y="5692"/>
                    <a:pt x="2709" y="5963"/>
                  </a:cubicBezTo>
                  <a:cubicBezTo>
                    <a:pt x="2859" y="6233"/>
                    <a:pt x="2408" y="6595"/>
                    <a:pt x="2408" y="6745"/>
                  </a:cubicBezTo>
                  <a:cubicBezTo>
                    <a:pt x="2408" y="6813"/>
                    <a:pt x="2584" y="6856"/>
                    <a:pt x="2805" y="6856"/>
                  </a:cubicBezTo>
                  <a:cubicBezTo>
                    <a:pt x="3076" y="6856"/>
                    <a:pt x="3416" y="6791"/>
                    <a:pt x="3582" y="6625"/>
                  </a:cubicBezTo>
                  <a:cubicBezTo>
                    <a:pt x="3664" y="6542"/>
                    <a:pt x="3728" y="6510"/>
                    <a:pt x="3774" y="6510"/>
                  </a:cubicBezTo>
                  <a:cubicBezTo>
                    <a:pt x="3898" y="6510"/>
                    <a:pt x="3894" y="6742"/>
                    <a:pt x="3762" y="6896"/>
                  </a:cubicBezTo>
                  <a:cubicBezTo>
                    <a:pt x="3582" y="7136"/>
                    <a:pt x="3642" y="7317"/>
                    <a:pt x="3913" y="7377"/>
                  </a:cubicBezTo>
                  <a:cubicBezTo>
                    <a:pt x="4184" y="7467"/>
                    <a:pt x="4214" y="7467"/>
                    <a:pt x="4093" y="7648"/>
                  </a:cubicBezTo>
                  <a:cubicBezTo>
                    <a:pt x="4003" y="7828"/>
                    <a:pt x="4093" y="8220"/>
                    <a:pt x="4033" y="8370"/>
                  </a:cubicBezTo>
                  <a:cubicBezTo>
                    <a:pt x="3985" y="8450"/>
                    <a:pt x="3770" y="8487"/>
                    <a:pt x="3577" y="8487"/>
                  </a:cubicBezTo>
                  <a:cubicBezTo>
                    <a:pt x="3405" y="8487"/>
                    <a:pt x="3251" y="8457"/>
                    <a:pt x="3251" y="8400"/>
                  </a:cubicBezTo>
                  <a:cubicBezTo>
                    <a:pt x="3251" y="8362"/>
                    <a:pt x="3215" y="8345"/>
                    <a:pt x="3169" y="8345"/>
                  </a:cubicBezTo>
                  <a:cubicBezTo>
                    <a:pt x="3068" y="8345"/>
                    <a:pt x="2918" y="8427"/>
                    <a:pt x="2980" y="8551"/>
                  </a:cubicBezTo>
                  <a:cubicBezTo>
                    <a:pt x="3040" y="8731"/>
                    <a:pt x="2709" y="8882"/>
                    <a:pt x="2739" y="9032"/>
                  </a:cubicBezTo>
                  <a:cubicBezTo>
                    <a:pt x="2799" y="9183"/>
                    <a:pt x="3190" y="9153"/>
                    <a:pt x="3190" y="9333"/>
                  </a:cubicBezTo>
                  <a:cubicBezTo>
                    <a:pt x="3190" y="9544"/>
                    <a:pt x="2890" y="9754"/>
                    <a:pt x="2438" y="9875"/>
                  </a:cubicBezTo>
                  <a:cubicBezTo>
                    <a:pt x="2062" y="9975"/>
                    <a:pt x="2395" y="10242"/>
                    <a:pt x="2622" y="10242"/>
                  </a:cubicBezTo>
                  <a:cubicBezTo>
                    <a:pt x="2667" y="10242"/>
                    <a:pt x="2709" y="10231"/>
                    <a:pt x="2739" y="10206"/>
                  </a:cubicBezTo>
                  <a:cubicBezTo>
                    <a:pt x="2785" y="10173"/>
                    <a:pt x="2821" y="10160"/>
                    <a:pt x="2852" y="10160"/>
                  </a:cubicBezTo>
                  <a:cubicBezTo>
                    <a:pt x="2964" y="10160"/>
                    <a:pt x="3015" y="10326"/>
                    <a:pt x="3251" y="10326"/>
                  </a:cubicBezTo>
                  <a:cubicBezTo>
                    <a:pt x="3499" y="10326"/>
                    <a:pt x="3665" y="10469"/>
                    <a:pt x="3901" y="10469"/>
                  </a:cubicBezTo>
                  <a:cubicBezTo>
                    <a:pt x="3951" y="10469"/>
                    <a:pt x="4005" y="10463"/>
                    <a:pt x="4063" y="10447"/>
                  </a:cubicBezTo>
                  <a:cubicBezTo>
                    <a:pt x="4156" y="10413"/>
                    <a:pt x="4222" y="10398"/>
                    <a:pt x="4265" y="10398"/>
                  </a:cubicBezTo>
                  <a:cubicBezTo>
                    <a:pt x="4375" y="10398"/>
                    <a:pt x="4327" y="10497"/>
                    <a:pt x="4154" y="10627"/>
                  </a:cubicBezTo>
                  <a:cubicBezTo>
                    <a:pt x="4048" y="10697"/>
                    <a:pt x="3925" y="10713"/>
                    <a:pt x="3800" y="10713"/>
                  </a:cubicBezTo>
                  <a:cubicBezTo>
                    <a:pt x="3698" y="10713"/>
                    <a:pt x="3594" y="10703"/>
                    <a:pt x="3498" y="10703"/>
                  </a:cubicBezTo>
                  <a:cubicBezTo>
                    <a:pt x="3407" y="10703"/>
                    <a:pt x="3322" y="10712"/>
                    <a:pt x="3251" y="10748"/>
                  </a:cubicBezTo>
                  <a:cubicBezTo>
                    <a:pt x="2980" y="10838"/>
                    <a:pt x="2077" y="11741"/>
                    <a:pt x="2258" y="11981"/>
                  </a:cubicBezTo>
                  <a:cubicBezTo>
                    <a:pt x="2295" y="12025"/>
                    <a:pt x="2327" y="12043"/>
                    <a:pt x="2357" y="12043"/>
                  </a:cubicBezTo>
                  <a:cubicBezTo>
                    <a:pt x="2474" y="12043"/>
                    <a:pt x="2566" y="11776"/>
                    <a:pt x="2829" y="11681"/>
                  </a:cubicBezTo>
                  <a:cubicBezTo>
                    <a:pt x="2909" y="11652"/>
                    <a:pt x="2975" y="11640"/>
                    <a:pt x="3031" y="11640"/>
                  </a:cubicBezTo>
                  <a:cubicBezTo>
                    <a:pt x="3209" y="11640"/>
                    <a:pt x="3294" y="11755"/>
                    <a:pt x="3431" y="11801"/>
                  </a:cubicBezTo>
                  <a:cubicBezTo>
                    <a:pt x="3437" y="11802"/>
                    <a:pt x="3443" y="11802"/>
                    <a:pt x="3448" y="11802"/>
                  </a:cubicBezTo>
                  <a:cubicBezTo>
                    <a:pt x="3606" y="11802"/>
                    <a:pt x="3616" y="11408"/>
                    <a:pt x="3748" y="11408"/>
                  </a:cubicBezTo>
                  <a:cubicBezTo>
                    <a:pt x="3753" y="11408"/>
                    <a:pt x="3757" y="11409"/>
                    <a:pt x="3762" y="11410"/>
                  </a:cubicBezTo>
                  <a:cubicBezTo>
                    <a:pt x="3776" y="11412"/>
                    <a:pt x="3790" y="11414"/>
                    <a:pt x="3804" y="11414"/>
                  </a:cubicBezTo>
                  <a:cubicBezTo>
                    <a:pt x="3916" y="11414"/>
                    <a:pt x="4034" y="11335"/>
                    <a:pt x="4206" y="11335"/>
                  </a:cubicBezTo>
                  <a:cubicBezTo>
                    <a:pt x="4246" y="11335"/>
                    <a:pt x="4288" y="11339"/>
                    <a:pt x="4334" y="11350"/>
                  </a:cubicBezTo>
                  <a:cubicBezTo>
                    <a:pt x="4370" y="11355"/>
                    <a:pt x="4407" y="11357"/>
                    <a:pt x="4445" y="11357"/>
                  </a:cubicBezTo>
                  <a:cubicBezTo>
                    <a:pt x="4626" y="11357"/>
                    <a:pt x="4816" y="11299"/>
                    <a:pt x="4966" y="11199"/>
                  </a:cubicBezTo>
                  <a:cubicBezTo>
                    <a:pt x="4992" y="11173"/>
                    <a:pt x="5026" y="11162"/>
                    <a:pt x="5064" y="11162"/>
                  </a:cubicBezTo>
                  <a:cubicBezTo>
                    <a:pt x="5227" y="11162"/>
                    <a:pt x="5472" y="11356"/>
                    <a:pt x="5572" y="11356"/>
                  </a:cubicBezTo>
                  <a:cubicBezTo>
                    <a:pt x="5582" y="11356"/>
                    <a:pt x="5591" y="11354"/>
                    <a:pt x="5598" y="11350"/>
                  </a:cubicBezTo>
                  <a:cubicBezTo>
                    <a:pt x="5869" y="11199"/>
                    <a:pt x="6170" y="11139"/>
                    <a:pt x="6471" y="11139"/>
                  </a:cubicBezTo>
                  <a:cubicBezTo>
                    <a:pt x="6892" y="11079"/>
                    <a:pt x="7253" y="10928"/>
                    <a:pt x="7614" y="10687"/>
                  </a:cubicBezTo>
                  <a:cubicBezTo>
                    <a:pt x="7731" y="10571"/>
                    <a:pt x="7594" y="10526"/>
                    <a:pt x="7415" y="10526"/>
                  </a:cubicBezTo>
                  <a:cubicBezTo>
                    <a:pt x="7363" y="10526"/>
                    <a:pt x="7307" y="10530"/>
                    <a:pt x="7253" y="10537"/>
                  </a:cubicBezTo>
                  <a:cubicBezTo>
                    <a:pt x="7235" y="10542"/>
                    <a:pt x="7218" y="10545"/>
                    <a:pt x="7203" y="10545"/>
                  </a:cubicBezTo>
                  <a:cubicBezTo>
                    <a:pt x="7050" y="10545"/>
                    <a:pt x="7094" y="10275"/>
                    <a:pt x="7313" y="10055"/>
                  </a:cubicBezTo>
                  <a:cubicBezTo>
                    <a:pt x="7524" y="9845"/>
                    <a:pt x="7945" y="9634"/>
                    <a:pt x="7976" y="9303"/>
                  </a:cubicBezTo>
                  <a:cubicBezTo>
                    <a:pt x="7976" y="9045"/>
                    <a:pt x="7519" y="8824"/>
                    <a:pt x="7260" y="8824"/>
                  </a:cubicBezTo>
                  <a:cubicBezTo>
                    <a:pt x="7187" y="8824"/>
                    <a:pt x="7129" y="8842"/>
                    <a:pt x="7103" y="8882"/>
                  </a:cubicBezTo>
                  <a:cubicBezTo>
                    <a:pt x="7063" y="8975"/>
                    <a:pt x="7017" y="9015"/>
                    <a:pt x="6965" y="9015"/>
                  </a:cubicBezTo>
                  <a:cubicBezTo>
                    <a:pt x="6900" y="9015"/>
                    <a:pt x="6825" y="8952"/>
                    <a:pt x="6742" y="8852"/>
                  </a:cubicBezTo>
                  <a:cubicBezTo>
                    <a:pt x="6591" y="8671"/>
                    <a:pt x="6862" y="8430"/>
                    <a:pt x="6742" y="8400"/>
                  </a:cubicBezTo>
                  <a:cubicBezTo>
                    <a:pt x="6621" y="8370"/>
                    <a:pt x="6441" y="8099"/>
                    <a:pt x="6471" y="7979"/>
                  </a:cubicBezTo>
                  <a:cubicBezTo>
                    <a:pt x="6501" y="7889"/>
                    <a:pt x="6290" y="7136"/>
                    <a:pt x="5869" y="7016"/>
                  </a:cubicBezTo>
                  <a:cubicBezTo>
                    <a:pt x="5448" y="6896"/>
                    <a:pt x="5417" y="6384"/>
                    <a:pt x="5357" y="6083"/>
                  </a:cubicBezTo>
                  <a:cubicBezTo>
                    <a:pt x="5267" y="5782"/>
                    <a:pt x="4996" y="5932"/>
                    <a:pt x="4816" y="5662"/>
                  </a:cubicBezTo>
                  <a:cubicBezTo>
                    <a:pt x="4730" y="5533"/>
                    <a:pt x="4611" y="5500"/>
                    <a:pt x="4486" y="5500"/>
                  </a:cubicBezTo>
                  <a:cubicBezTo>
                    <a:pt x="4348" y="5500"/>
                    <a:pt x="4204" y="5541"/>
                    <a:pt x="4093" y="5541"/>
                  </a:cubicBezTo>
                  <a:cubicBezTo>
                    <a:pt x="3913" y="5541"/>
                    <a:pt x="4093" y="5210"/>
                    <a:pt x="4394" y="5030"/>
                  </a:cubicBezTo>
                  <a:cubicBezTo>
                    <a:pt x="4695" y="4819"/>
                    <a:pt x="4996" y="3856"/>
                    <a:pt x="4996" y="3675"/>
                  </a:cubicBezTo>
                  <a:cubicBezTo>
                    <a:pt x="4996" y="3555"/>
                    <a:pt x="4596" y="3504"/>
                    <a:pt x="4213" y="3504"/>
                  </a:cubicBezTo>
                  <a:cubicBezTo>
                    <a:pt x="3923" y="3504"/>
                    <a:pt x="3642" y="3533"/>
                    <a:pt x="3552" y="3585"/>
                  </a:cubicBezTo>
                  <a:cubicBezTo>
                    <a:pt x="3512" y="3605"/>
                    <a:pt x="3472" y="3613"/>
                    <a:pt x="3434" y="3613"/>
                  </a:cubicBezTo>
                  <a:cubicBezTo>
                    <a:pt x="3236" y="3613"/>
                    <a:pt x="3079" y="3390"/>
                    <a:pt x="3281" y="3314"/>
                  </a:cubicBezTo>
                  <a:cubicBezTo>
                    <a:pt x="3491" y="3254"/>
                    <a:pt x="3883" y="2833"/>
                    <a:pt x="3883" y="2682"/>
                  </a:cubicBezTo>
                  <a:cubicBezTo>
                    <a:pt x="3883" y="2532"/>
                    <a:pt x="4154" y="2351"/>
                    <a:pt x="4003" y="2201"/>
                  </a:cubicBezTo>
                  <a:cubicBezTo>
                    <a:pt x="3976" y="2174"/>
                    <a:pt x="3951" y="2162"/>
                    <a:pt x="3928" y="2162"/>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00" name="Google Shape;2994;p123">
              <a:extLst>
                <a:ext uri="{FF2B5EF4-FFF2-40B4-BE49-F238E27FC236}">
                  <a16:creationId xmlns:a16="http://schemas.microsoft.com/office/drawing/2014/main" id="{D3479B23-41F2-3546-A26A-9C997919D410}"/>
                </a:ext>
              </a:extLst>
            </p:cNvPr>
            <p:cNvSpPr/>
            <p:nvPr/>
          </p:nvSpPr>
          <p:spPr>
            <a:xfrm>
              <a:off x="4062296" y="1548574"/>
              <a:ext cx="247455" cy="373634"/>
            </a:xfrm>
            <a:custGeom>
              <a:avLst/>
              <a:gdLst/>
              <a:ahLst/>
              <a:cxnLst/>
              <a:rect l="l" t="t" r="r" b="b"/>
              <a:pathLst>
                <a:path w="7976" h="12043" extrusionOk="0">
                  <a:moveTo>
                    <a:pt x="5600" y="0"/>
                  </a:moveTo>
                  <a:cubicBezTo>
                    <a:pt x="5590" y="0"/>
                    <a:pt x="5579" y="2"/>
                    <a:pt x="5568" y="4"/>
                  </a:cubicBezTo>
                  <a:cubicBezTo>
                    <a:pt x="5286" y="88"/>
                    <a:pt x="5374" y="888"/>
                    <a:pt x="5436" y="888"/>
                  </a:cubicBezTo>
                  <a:cubicBezTo>
                    <a:pt x="5440" y="888"/>
                    <a:pt x="5444" y="884"/>
                    <a:pt x="5448" y="877"/>
                  </a:cubicBezTo>
                  <a:cubicBezTo>
                    <a:pt x="5650" y="703"/>
                    <a:pt x="5853" y="0"/>
                    <a:pt x="5600" y="0"/>
                  </a:cubicBezTo>
                  <a:close/>
                  <a:moveTo>
                    <a:pt x="1431" y="2695"/>
                  </a:moveTo>
                  <a:cubicBezTo>
                    <a:pt x="1230" y="2695"/>
                    <a:pt x="712" y="3435"/>
                    <a:pt x="933" y="3435"/>
                  </a:cubicBezTo>
                  <a:cubicBezTo>
                    <a:pt x="1234" y="3405"/>
                    <a:pt x="1626" y="2863"/>
                    <a:pt x="1475" y="2712"/>
                  </a:cubicBezTo>
                  <a:cubicBezTo>
                    <a:pt x="1463" y="2700"/>
                    <a:pt x="1448" y="2695"/>
                    <a:pt x="1431" y="2695"/>
                  </a:cubicBezTo>
                  <a:close/>
                  <a:moveTo>
                    <a:pt x="1300" y="6311"/>
                  </a:moveTo>
                  <a:cubicBezTo>
                    <a:pt x="1058" y="6311"/>
                    <a:pt x="798" y="6564"/>
                    <a:pt x="572" y="6564"/>
                  </a:cubicBezTo>
                  <a:cubicBezTo>
                    <a:pt x="542" y="6715"/>
                    <a:pt x="452" y="6896"/>
                    <a:pt x="331" y="7016"/>
                  </a:cubicBezTo>
                  <a:cubicBezTo>
                    <a:pt x="211" y="7076"/>
                    <a:pt x="0" y="7437"/>
                    <a:pt x="181" y="7467"/>
                  </a:cubicBezTo>
                  <a:cubicBezTo>
                    <a:pt x="315" y="7490"/>
                    <a:pt x="500" y="7662"/>
                    <a:pt x="610" y="7662"/>
                  </a:cubicBezTo>
                  <a:cubicBezTo>
                    <a:pt x="648" y="7662"/>
                    <a:pt x="677" y="7642"/>
                    <a:pt x="693" y="7588"/>
                  </a:cubicBezTo>
                  <a:cubicBezTo>
                    <a:pt x="712" y="7431"/>
                    <a:pt x="757" y="7262"/>
                    <a:pt x="869" y="7262"/>
                  </a:cubicBezTo>
                  <a:cubicBezTo>
                    <a:pt x="929" y="7262"/>
                    <a:pt x="1009" y="7311"/>
                    <a:pt x="1114" y="7437"/>
                  </a:cubicBezTo>
                  <a:cubicBezTo>
                    <a:pt x="1204" y="7527"/>
                    <a:pt x="1295" y="7618"/>
                    <a:pt x="1385" y="7678"/>
                  </a:cubicBezTo>
                  <a:cubicBezTo>
                    <a:pt x="1445" y="7497"/>
                    <a:pt x="1806" y="7497"/>
                    <a:pt x="1987" y="7317"/>
                  </a:cubicBezTo>
                  <a:cubicBezTo>
                    <a:pt x="2197" y="7136"/>
                    <a:pt x="1896" y="6715"/>
                    <a:pt x="1535" y="6414"/>
                  </a:cubicBezTo>
                  <a:cubicBezTo>
                    <a:pt x="1460" y="6339"/>
                    <a:pt x="1381" y="6311"/>
                    <a:pt x="1300" y="6311"/>
                  </a:cubicBezTo>
                  <a:close/>
                  <a:moveTo>
                    <a:pt x="3928" y="2162"/>
                  </a:moveTo>
                  <a:cubicBezTo>
                    <a:pt x="3819" y="2162"/>
                    <a:pt x="3735" y="2408"/>
                    <a:pt x="3612" y="2532"/>
                  </a:cubicBezTo>
                  <a:cubicBezTo>
                    <a:pt x="3476" y="2577"/>
                    <a:pt x="3333" y="2599"/>
                    <a:pt x="3194" y="2599"/>
                  </a:cubicBezTo>
                  <a:cubicBezTo>
                    <a:pt x="3055" y="2599"/>
                    <a:pt x="2920" y="2577"/>
                    <a:pt x="2799" y="2532"/>
                  </a:cubicBezTo>
                  <a:cubicBezTo>
                    <a:pt x="2778" y="2528"/>
                    <a:pt x="2757" y="2527"/>
                    <a:pt x="2737" y="2527"/>
                  </a:cubicBezTo>
                  <a:cubicBezTo>
                    <a:pt x="2392" y="2527"/>
                    <a:pt x="2259" y="2996"/>
                    <a:pt x="2288" y="3224"/>
                  </a:cubicBezTo>
                  <a:cubicBezTo>
                    <a:pt x="2348" y="3435"/>
                    <a:pt x="1836" y="3555"/>
                    <a:pt x="1926" y="3736"/>
                  </a:cubicBezTo>
                  <a:cubicBezTo>
                    <a:pt x="1974" y="3879"/>
                    <a:pt x="1889" y="4003"/>
                    <a:pt x="1807" y="4003"/>
                  </a:cubicBezTo>
                  <a:cubicBezTo>
                    <a:pt x="1786" y="4003"/>
                    <a:pt x="1765" y="3995"/>
                    <a:pt x="1746" y="3976"/>
                  </a:cubicBezTo>
                  <a:cubicBezTo>
                    <a:pt x="1654" y="3885"/>
                    <a:pt x="1545" y="3705"/>
                    <a:pt x="1391" y="3705"/>
                  </a:cubicBezTo>
                  <a:cubicBezTo>
                    <a:pt x="1344" y="3705"/>
                    <a:pt x="1292" y="3723"/>
                    <a:pt x="1234" y="3766"/>
                  </a:cubicBezTo>
                  <a:cubicBezTo>
                    <a:pt x="1024" y="3976"/>
                    <a:pt x="1505" y="4217"/>
                    <a:pt x="1806" y="4277"/>
                  </a:cubicBezTo>
                  <a:cubicBezTo>
                    <a:pt x="2107" y="4307"/>
                    <a:pt x="1595" y="4488"/>
                    <a:pt x="1535" y="4819"/>
                  </a:cubicBezTo>
                  <a:cubicBezTo>
                    <a:pt x="1505" y="5180"/>
                    <a:pt x="1926" y="5030"/>
                    <a:pt x="1957" y="5240"/>
                  </a:cubicBezTo>
                  <a:cubicBezTo>
                    <a:pt x="1987" y="5481"/>
                    <a:pt x="1295" y="5541"/>
                    <a:pt x="1295" y="5722"/>
                  </a:cubicBezTo>
                  <a:cubicBezTo>
                    <a:pt x="1295" y="5778"/>
                    <a:pt x="1322" y="5800"/>
                    <a:pt x="1365" y="5800"/>
                  </a:cubicBezTo>
                  <a:cubicBezTo>
                    <a:pt x="1485" y="5800"/>
                    <a:pt x="1726" y="5630"/>
                    <a:pt x="1836" y="5541"/>
                  </a:cubicBezTo>
                  <a:cubicBezTo>
                    <a:pt x="1848" y="5532"/>
                    <a:pt x="1858" y="5527"/>
                    <a:pt x="1866" y="5527"/>
                  </a:cubicBezTo>
                  <a:cubicBezTo>
                    <a:pt x="1951" y="5527"/>
                    <a:pt x="1829" y="6031"/>
                    <a:pt x="2126" y="6031"/>
                  </a:cubicBezTo>
                  <a:cubicBezTo>
                    <a:pt x="2148" y="6031"/>
                    <a:pt x="2171" y="6028"/>
                    <a:pt x="2197" y="6023"/>
                  </a:cubicBezTo>
                  <a:cubicBezTo>
                    <a:pt x="2589" y="5963"/>
                    <a:pt x="2498" y="5391"/>
                    <a:pt x="2649" y="5391"/>
                  </a:cubicBezTo>
                  <a:cubicBezTo>
                    <a:pt x="2799" y="5391"/>
                    <a:pt x="2558" y="5692"/>
                    <a:pt x="2709" y="5963"/>
                  </a:cubicBezTo>
                  <a:cubicBezTo>
                    <a:pt x="2859" y="6233"/>
                    <a:pt x="2408" y="6595"/>
                    <a:pt x="2408" y="6745"/>
                  </a:cubicBezTo>
                  <a:cubicBezTo>
                    <a:pt x="2408" y="6813"/>
                    <a:pt x="2584" y="6856"/>
                    <a:pt x="2805" y="6856"/>
                  </a:cubicBezTo>
                  <a:cubicBezTo>
                    <a:pt x="3076" y="6856"/>
                    <a:pt x="3416" y="6791"/>
                    <a:pt x="3582" y="6625"/>
                  </a:cubicBezTo>
                  <a:cubicBezTo>
                    <a:pt x="3664" y="6542"/>
                    <a:pt x="3728" y="6510"/>
                    <a:pt x="3774" y="6510"/>
                  </a:cubicBezTo>
                  <a:cubicBezTo>
                    <a:pt x="3898" y="6510"/>
                    <a:pt x="3894" y="6742"/>
                    <a:pt x="3762" y="6896"/>
                  </a:cubicBezTo>
                  <a:cubicBezTo>
                    <a:pt x="3582" y="7136"/>
                    <a:pt x="3642" y="7317"/>
                    <a:pt x="3913" y="7377"/>
                  </a:cubicBezTo>
                  <a:cubicBezTo>
                    <a:pt x="4184" y="7467"/>
                    <a:pt x="4214" y="7467"/>
                    <a:pt x="4093" y="7648"/>
                  </a:cubicBezTo>
                  <a:cubicBezTo>
                    <a:pt x="4003" y="7828"/>
                    <a:pt x="4093" y="8220"/>
                    <a:pt x="4033" y="8370"/>
                  </a:cubicBezTo>
                  <a:cubicBezTo>
                    <a:pt x="3985" y="8450"/>
                    <a:pt x="3770" y="8487"/>
                    <a:pt x="3577" y="8487"/>
                  </a:cubicBezTo>
                  <a:cubicBezTo>
                    <a:pt x="3405" y="8487"/>
                    <a:pt x="3251" y="8457"/>
                    <a:pt x="3251" y="8400"/>
                  </a:cubicBezTo>
                  <a:cubicBezTo>
                    <a:pt x="3251" y="8362"/>
                    <a:pt x="3215" y="8345"/>
                    <a:pt x="3169" y="8345"/>
                  </a:cubicBezTo>
                  <a:cubicBezTo>
                    <a:pt x="3068" y="8345"/>
                    <a:pt x="2918" y="8427"/>
                    <a:pt x="2980" y="8551"/>
                  </a:cubicBezTo>
                  <a:cubicBezTo>
                    <a:pt x="3040" y="8731"/>
                    <a:pt x="2709" y="8882"/>
                    <a:pt x="2739" y="9032"/>
                  </a:cubicBezTo>
                  <a:cubicBezTo>
                    <a:pt x="2799" y="9183"/>
                    <a:pt x="3190" y="9153"/>
                    <a:pt x="3190" y="9333"/>
                  </a:cubicBezTo>
                  <a:cubicBezTo>
                    <a:pt x="3190" y="9544"/>
                    <a:pt x="2890" y="9754"/>
                    <a:pt x="2438" y="9875"/>
                  </a:cubicBezTo>
                  <a:cubicBezTo>
                    <a:pt x="2062" y="9975"/>
                    <a:pt x="2395" y="10242"/>
                    <a:pt x="2622" y="10242"/>
                  </a:cubicBezTo>
                  <a:cubicBezTo>
                    <a:pt x="2667" y="10242"/>
                    <a:pt x="2709" y="10231"/>
                    <a:pt x="2739" y="10206"/>
                  </a:cubicBezTo>
                  <a:cubicBezTo>
                    <a:pt x="2785" y="10173"/>
                    <a:pt x="2821" y="10160"/>
                    <a:pt x="2852" y="10160"/>
                  </a:cubicBezTo>
                  <a:cubicBezTo>
                    <a:pt x="2964" y="10160"/>
                    <a:pt x="3015" y="10326"/>
                    <a:pt x="3251" y="10326"/>
                  </a:cubicBezTo>
                  <a:cubicBezTo>
                    <a:pt x="3499" y="10326"/>
                    <a:pt x="3665" y="10469"/>
                    <a:pt x="3901" y="10469"/>
                  </a:cubicBezTo>
                  <a:cubicBezTo>
                    <a:pt x="3951" y="10469"/>
                    <a:pt x="4005" y="10463"/>
                    <a:pt x="4063" y="10447"/>
                  </a:cubicBezTo>
                  <a:cubicBezTo>
                    <a:pt x="4156" y="10413"/>
                    <a:pt x="4222" y="10398"/>
                    <a:pt x="4265" y="10398"/>
                  </a:cubicBezTo>
                  <a:cubicBezTo>
                    <a:pt x="4375" y="10398"/>
                    <a:pt x="4327" y="10497"/>
                    <a:pt x="4154" y="10627"/>
                  </a:cubicBezTo>
                  <a:cubicBezTo>
                    <a:pt x="4048" y="10697"/>
                    <a:pt x="3925" y="10713"/>
                    <a:pt x="3800" y="10713"/>
                  </a:cubicBezTo>
                  <a:cubicBezTo>
                    <a:pt x="3698" y="10713"/>
                    <a:pt x="3594" y="10703"/>
                    <a:pt x="3498" y="10703"/>
                  </a:cubicBezTo>
                  <a:cubicBezTo>
                    <a:pt x="3407" y="10703"/>
                    <a:pt x="3322" y="10712"/>
                    <a:pt x="3251" y="10748"/>
                  </a:cubicBezTo>
                  <a:cubicBezTo>
                    <a:pt x="2980" y="10838"/>
                    <a:pt x="2077" y="11741"/>
                    <a:pt x="2258" y="11981"/>
                  </a:cubicBezTo>
                  <a:cubicBezTo>
                    <a:pt x="2295" y="12025"/>
                    <a:pt x="2327" y="12043"/>
                    <a:pt x="2357" y="12043"/>
                  </a:cubicBezTo>
                  <a:cubicBezTo>
                    <a:pt x="2474" y="12043"/>
                    <a:pt x="2566" y="11776"/>
                    <a:pt x="2829" y="11681"/>
                  </a:cubicBezTo>
                  <a:cubicBezTo>
                    <a:pt x="2909" y="11652"/>
                    <a:pt x="2975" y="11640"/>
                    <a:pt x="3031" y="11640"/>
                  </a:cubicBezTo>
                  <a:cubicBezTo>
                    <a:pt x="3209" y="11640"/>
                    <a:pt x="3294" y="11755"/>
                    <a:pt x="3431" y="11801"/>
                  </a:cubicBezTo>
                  <a:cubicBezTo>
                    <a:pt x="3437" y="11802"/>
                    <a:pt x="3443" y="11802"/>
                    <a:pt x="3448" y="11802"/>
                  </a:cubicBezTo>
                  <a:cubicBezTo>
                    <a:pt x="3606" y="11802"/>
                    <a:pt x="3616" y="11408"/>
                    <a:pt x="3748" y="11408"/>
                  </a:cubicBezTo>
                  <a:cubicBezTo>
                    <a:pt x="3753" y="11408"/>
                    <a:pt x="3757" y="11409"/>
                    <a:pt x="3762" y="11410"/>
                  </a:cubicBezTo>
                  <a:cubicBezTo>
                    <a:pt x="3776" y="11412"/>
                    <a:pt x="3790" y="11414"/>
                    <a:pt x="3804" y="11414"/>
                  </a:cubicBezTo>
                  <a:cubicBezTo>
                    <a:pt x="3916" y="11414"/>
                    <a:pt x="4034" y="11335"/>
                    <a:pt x="4206" y="11335"/>
                  </a:cubicBezTo>
                  <a:cubicBezTo>
                    <a:pt x="4246" y="11335"/>
                    <a:pt x="4288" y="11339"/>
                    <a:pt x="4334" y="11350"/>
                  </a:cubicBezTo>
                  <a:cubicBezTo>
                    <a:pt x="4370" y="11355"/>
                    <a:pt x="4407" y="11357"/>
                    <a:pt x="4445" y="11357"/>
                  </a:cubicBezTo>
                  <a:cubicBezTo>
                    <a:pt x="4626" y="11357"/>
                    <a:pt x="4816" y="11299"/>
                    <a:pt x="4966" y="11199"/>
                  </a:cubicBezTo>
                  <a:cubicBezTo>
                    <a:pt x="4992" y="11173"/>
                    <a:pt x="5026" y="11162"/>
                    <a:pt x="5064" y="11162"/>
                  </a:cubicBezTo>
                  <a:cubicBezTo>
                    <a:pt x="5227" y="11162"/>
                    <a:pt x="5472" y="11356"/>
                    <a:pt x="5572" y="11356"/>
                  </a:cubicBezTo>
                  <a:cubicBezTo>
                    <a:pt x="5582" y="11356"/>
                    <a:pt x="5591" y="11354"/>
                    <a:pt x="5598" y="11350"/>
                  </a:cubicBezTo>
                  <a:cubicBezTo>
                    <a:pt x="5869" y="11199"/>
                    <a:pt x="6170" y="11139"/>
                    <a:pt x="6471" y="11139"/>
                  </a:cubicBezTo>
                  <a:cubicBezTo>
                    <a:pt x="6892" y="11079"/>
                    <a:pt x="7253" y="10928"/>
                    <a:pt x="7614" y="10687"/>
                  </a:cubicBezTo>
                  <a:cubicBezTo>
                    <a:pt x="7731" y="10571"/>
                    <a:pt x="7594" y="10526"/>
                    <a:pt x="7415" y="10526"/>
                  </a:cubicBezTo>
                  <a:cubicBezTo>
                    <a:pt x="7363" y="10526"/>
                    <a:pt x="7307" y="10530"/>
                    <a:pt x="7253" y="10537"/>
                  </a:cubicBezTo>
                  <a:cubicBezTo>
                    <a:pt x="7235" y="10542"/>
                    <a:pt x="7218" y="10545"/>
                    <a:pt x="7203" y="10545"/>
                  </a:cubicBezTo>
                  <a:cubicBezTo>
                    <a:pt x="7050" y="10545"/>
                    <a:pt x="7094" y="10275"/>
                    <a:pt x="7313" y="10055"/>
                  </a:cubicBezTo>
                  <a:cubicBezTo>
                    <a:pt x="7524" y="9845"/>
                    <a:pt x="7945" y="9634"/>
                    <a:pt x="7976" y="9303"/>
                  </a:cubicBezTo>
                  <a:cubicBezTo>
                    <a:pt x="7976" y="9045"/>
                    <a:pt x="7519" y="8824"/>
                    <a:pt x="7260" y="8824"/>
                  </a:cubicBezTo>
                  <a:cubicBezTo>
                    <a:pt x="7187" y="8824"/>
                    <a:pt x="7129" y="8842"/>
                    <a:pt x="7103" y="8882"/>
                  </a:cubicBezTo>
                  <a:cubicBezTo>
                    <a:pt x="7063" y="8975"/>
                    <a:pt x="7017" y="9015"/>
                    <a:pt x="6965" y="9015"/>
                  </a:cubicBezTo>
                  <a:cubicBezTo>
                    <a:pt x="6900" y="9015"/>
                    <a:pt x="6825" y="8952"/>
                    <a:pt x="6742" y="8852"/>
                  </a:cubicBezTo>
                  <a:cubicBezTo>
                    <a:pt x="6591" y="8671"/>
                    <a:pt x="6862" y="8430"/>
                    <a:pt x="6742" y="8400"/>
                  </a:cubicBezTo>
                  <a:cubicBezTo>
                    <a:pt x="6621" y="8370"/>
                    <a:pt x="6441" y="8099"/>
                    <a:pt x="6471" y="7979"/>
                  </a:cubicBezTo>
                  <a:cubicBezTo>
                    <a:pt x="6501" y="7889"/>
                    <a:pt x="6290" y="7136"/>
                    <a:pt x="5869" y="7016"/>
                  </a:cubicBezTo>
                  <a:cubicBezTo>
                    <a:pt x="5448" y="6896"/>
                    <a:pt x="5417" y="6384"/>
                    <a:pt x="5357" y="6083"/>
                  </a:cubicBezTo>
                  <a:cubicBezTo>
                    <a:pt x="5267" y="5782"/>
                    <a:pt x="4996" y="5932"/>
                    <a:pt x="4816" y="5662"/>
                  </a:cubicBezTo>
                  <a:cubicBezTo>
                    <a:pt x="4730" y="5533"/>
                    <a:pt x="4611" y="5500"/>
                    <a:pt x="4486" y="5500"/>
                  </a:cubicBezTo>
                  <a:cubicBezTo>
                    <a:pt x="4348" y="5500"/>
                    <a:pt x="4204" y="5541"/>
                    <a:pt x="4093" y="5541"/>
                  </a:cubicBezTo>
                  <a:cubicBezTo>
                    <a:pt x="3913" y="5541"/>
                    <a:pt x="4093" y="5210"/>
                    <a:pt x="4394" y="5030"/>
                  </a:cubicBezTo>
                  <a:cubicBezTo>
                    <a:pt x="4695" y="4819"/>
                    <a:pt x="4996" y="3856"/>
                    <a:pt x="4996" y="3675"/>
                  </a:cubicBezTo>
                  <a:cubicBezTo>
                    <a:pt x="4996" y="3555"/>
                    <a:pt x="4596" y="3504"/>
                    <a:pt x="4213" y="3504"/>
                  </a:cubicBezTo>
                  <a:cubicBezTo>
                    <a:pt x="3923" y="3504"/>
                    <a:pt x="3642" y="3533"/>
                    <a:pt x="3552" y="3585"/>
                  </a:cubicBezTo>
                  <a:cubicBezTo>
                    <a:pt x="3512" y="3605"/>
                    <a:pt x="3472" y="3613"/>
                    <a:pt x="3434" y="3613"/>
                  </a:cubicBezTo>
                  <a:cubicBezTo>
                    <a:pt x="3236" y="3613"/>
                    <a:pt x="3079" y="3390"/>
                    <a:pt x="3281" y="3314"/>
                  </a:cubicBezTo>
                  <a:cubicBezTo>
                    <a:pt x="3491" y="3254"/>
                    <a:pt x="3883" y="2833"/>
                    <a:pt x="3883" y="2682"/>
                  </a:cubicBezTo>
                  <a:cubicBezTo>
                    <a:pt x="3883" y="2532"/>
                    <a:pt x="4154" y="2351"/>
                    <a:pt x="4003" y="2201"/>
                  </a:cubicBezTo>
                  <a:cubicBezTo>
                    <a:pt x="3976" y="2174"/>
                    <a:pt x="3951" y="2162"/>
                    <a:pt x="3928" y="2162"/>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01" name="Google Shape;2995;p123">
              <a:extLst>
                <a:ext uri="{FF2B5EF4-FFF2-40B4-BE49-F238E27FC236}">
                  <a16:creationId xmlns:a16="http://schemas.microsoft.com/office/drawing/2014/main" id="{B471BA47-FD1A-E34B-9EEB-96C89DAE8CA5}"/>
                </a:ext>
              </a:extLst>
            </p:cNvPr>
            <p:cNvSpPr/>
            <p:nvPr/>
          </p:nvSpPr>
          <p:spPr>
            <a:xfrm>
              <a:off x="4462860" y="1657968"/>
              <a:ext cx="117678" cy="108339"/>
            </a:xfrm>
            <a:custGeom>
              <a:avLst/>
              <a:gdLst/>
              <a:ahLst/>
              <a:cxnLst/>
              <a:rect l="l" t="t" r="r" b="b"/>
              <a:pathLst>
                <a:path w="3793" h="3492" extrusionOk="0">
                  <a:moveTo>
                    <a:pt x="1808" y="0"/>
                  </a:moveTo>
                  <a:cubicBezTo>
                    <a:pt x="1638" y="0"/>
                    <a:pt x="1406" y="140"/>
                    <a:pt x="1384" y="360"/>
                  </a:cubicBezTo>
                  <a:cubicBezTo>
                    <a:pt x="1354" y="661"/>
                    <a:pt x="993" y="541"/>
                    <a:pt x="903" y="601"/>
                  </a:cubicBezTo>
                  <a:cubicBezTo>
                    <a:pt x="783" y="631"/>
                    <a:pt x="1084" y="811"/>
                    <a:pt x="933" y="962"/>
                  </a:cubicBezTo>
                  <a:cubicBezTo>
                    <a:pt x="907" y="988"/>
                    <a:pt x="885" y="999"/>
                    <a:pt x="864" y="999"/>
                  </a:cubicBezTo>
                  <a:cubicBezTo>
                    <a:pt x="765" y="999"/>
                    <a:pt x="706" y="751"/>
                    <a:pt x="482" y="751"/>
                  </a:cubicBezTo>
                  <a:cubicBezTo>
                    <a:pt x="211" y="751"/>
                    <a:pt x="211" y="1112"/>
                    <a:pt x="120" y="1293"/>
                  </a:cubicBezTo>
                  <a:cubicBezTo>
                    <a:pt x="0" y="1504"/>
                    <a:pt x="30" y="1895"/>
                    <a:pt x="120" y="2196"/>
                  </a:cubicBezTo>
                  <a:cubicBezTo>
                    <a:pt x="181" y="2497"/>
                    <a:pt x="482" y="2647"/>
                    <a:pt x="421" y="2888"/>
                  </a:cubicBezTo>
                  <a:cubicBezTo>
                    <a:pt x="331" y="3099"/>
                    <a:pt x="452" y="3099"/>
                    <a:pt x="512" y="3219"/>
                  </a:cubicBezTo>
                  <a:lnTo>
                    <a:pt x="1234" y="3309"/>
                  </a:lnTo>
                  <a:cubicBezTo>
                    <a:pt x="1279" y="3324"/>
                    <a:pt x="1332" y="3332"/>
                    <a:pt x="1384" y="3332"/>
                  </a:cubicBezTo>
                  <a:cubicBezTo>
                    <a:pt x="1437" y="3332"/>
                    <a:pt x="1490" y="3324"/>
                    <a:pt x="1535" y="3309"/>
                  </a:cubicBezTo>
                  <a:cubicBezTo>
                    <a:pt x="1415" y="3159"/>
                    <a:pt x="1204" y="3008"/>
                    <a:pt x="1234" y="2888"/>
                  </a:cubicBezTo>
                  <a:cubicBezTo>
                    <a:pt x="1247" y="2838"/>
                    <a:pt x="1291" y="2814"/>
                    <a:pt x="1349" y="2814"/>
                  </a:cubicBezTo>
                  <a:cubicBezTo>
                    <a:pt x="1429" y="2814"/>
                    <a:pt x="1538" y="2861"/>
                    <a:pt x="1625" y="2948"/>
                  </a:cubicBezTo>
                  <a:cubicBezTo>
                    <a:pt x="1685" y="3023"/>
                    <a:pt x="1813" y="3061"/>
                    <a:pt x="1930" y="3061"/>
                  </a:cubicBezTo>
                  <a:cubicBezTo>
                    <a:pt x="2047" y="3061"/>
                    <a:pt x="2152" y="3023"/>
                    <a:pt x="2167" y="2948"/>
                  </a:cubicBezTo>
                  <a:cubicBezTo>
                    <a:pt x="2220" y="2815"/>
                    <a:pt x="2156" y="2446"/>
                    <a:pt x="1994" y="2446"/>
                  </a:cubicBezTo>
                  <a:cubicBezTo>
                    <a:pt x="1973" y="2446"/>
                    <a:pt x="1950" y="2453"/>
                    <a:pt x="1926" y="2467"/>
                  </a:cubicBezTo>
                  <a:cubicBezTo>
                    <a:pt x="1826" y="2517"/>
                    <a:pt x="1757" y="2541"/>
                    <a:pt x="1704" y="2541"/>
                  </a:cubicBezTo>
                  <a:cubicBezTo>
                    <a:pt x="1630" y="2541"/>
                    <a:pt x="1588" y="2494"/>
                    <a:pt x="1535" y="2406"/>
                  </a:cubicBezTo>
                  <a:cubicBezTo>
                    <a:pt x="1475" y="2256"/>
                    <a:pt x="1715" y="2106"/>
                    <a:pt x="1776" y="1895"/>
                  </a:cubicBezTo>
                  <a:cubicBezTo>
                    <a:pt x="1806" y="1714"/>
                    <a:pt x="2227" y="1805"/>
                    <a:pt x="2287" y="1654"/>
                  </a:cubicBezTo>
                  <a:cubicBezTo>
                    <a:pt x="2378" y="1504"/>
                    <a:pt x="2016" y="1353"/>
                    <a:pt x="1926" y="1263"/>
                  </a:cubicBezTo>
                  <a:cubicBezTo>
                    <a:pt x="1776" y="1233"/>
                    <a:pt x="1715" y="842"/>
                    <a:pt x="1866" y="751"/>
                  </a:cubicBezTo>
                  <a:cubicBezTo>
                    <a:pt x="2016" y="541"/>
                    <a:pt x="2047" y="270"/>
                    <a:pt x="1956" y="59"/>
                  </a:cubicBezTo>
                  <a:cubicBezTo>
                    <a:pt x="1924" y="19"/>
                    <a:pt x="1870" y="0"/>
                    <a:pt x="1808" y="0"/>
                  </a:cubicBezTo>
                  <a:close/>
                  <a:moveTo>
                    <a:pt x="3172" y="1899"/>
                  </a:moveTo>
                  <a:cubicBezTo>
                    <a:pt x="3158" y="1899"/>
                    <a:pt x="3144" y="1923"/>
                    <a:pt x="3130" y="1985"/>
                  </a:cubicBezTo>
                  <a:cubicBezTo>
                    <a:pt x="3103" y="2065"/>
                    <a:pt x="3069" y="2088"/>
                    <a:pt x="3027" y="2088"/>
                  </a:cubicBezTo>
                  <a:cubicBezTo>
                    <a:pt x="2975" y="2088"/>
                    <a:pt x="2913" y="2054"/>
                    <a:pt x="2842" y="2054"/>
                  </a:cubicBezTo>
                  <a:cubicBezTo>
                    <a:pt x="2775" y="2054"/>
                    <a:pt x="2700" y="2083"/>
                    <a:pt x="2618" y="2196"/>
                  </a:cubicBezTo>
                  <a:cubicBezTo>
                    <a:pt x="2408" y="2557"/>
                    <a:pt x="2739" y="2858"/>
                    <a:pt x="2919" y="2918"/>
                  </a:cubicBezTo>
                  <a:cubicBezTo>
                    <a:pt x="3114" y="3002"/>
                    <a:pt x="2923" y="3162"/>
                    <a:pt x="2750" y="3162"/>
                  </a:cubicBezTo>
                  <a:cubicBezTo>
                    <a:pt x="2736" y="3162"/>
                    <a:pt x="2722" y="3161"/>
                    <a:pt x="2709" y="3159"/>
                  </a:cubicBezTo>
                  <a:cubicBezTo>
                    <a:pt x="2692" y="3154"/>
                    <a:pt x="2678" y="3152"/>
                    <a:pt x="2666" y="3152"/>
                  </a:cubicBezTo>
                  <a:cubicBezTo>
                    <a:pt x="2517" y="3152"/>
                    <a:pt x="2639" y="3462"/>
                    <a:pt x="2889" y="3490"/>
                  </a:cubicBezTo>
                  <a:cubicBezTo>
                    <a:pt x="2897" y="3491"/>
                    <a:pt x="2905" y="3491"/>
                    <a:pt x="2913" y="3491"/>
                  </a:cubicBezTo>
                  <a:cubicBezTo>
                    <a:pt x="3180" y="3491"/>
                    <a:pt x="3520" y="3004"/>
                    <a:pt x="3491" y="2858"/>
                  </a:cubicBezTo>
                  <a:cubicBezTo>
                    <a:pt x="3461" y="2707"/>
                    <a:pt x="3792" y="2045"/>
                    <a:pt x="3672" y="1985"/>
                  </a:cubicBezTo>
                  <a:cubicBezTo>
                    <a:pt x="3666" y="1983"/>
                    <a:pt x="3660" y="1982"/>
                    <a:pt x="3654" y="1982"/>
                  </a:cubicBezTo>
                  <a:cubicBezTo>
                    <a:pt x="3569" y="1982"/>
                    <a:pt x="3483" y="2166"/>
                    <a:pt x="3371" y="2166"/>
                  </a:cubicBezTo>
                  <a:cubicBezTo>
                    <a:pt x="3278" y="2166"/>
                    <a:pt x="3221" y="1899"/>
                    <a:pt x="3172" y="1899"/>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02" name="Google Shape;2996;p123">
              <a:extLst>
                <a:ext uri="{FF2B5EF4-FFF2-40B4-BE49-F238E27FC236}">
                  <a16:creationId xmlns:a16="http://schemas.microsoft.com/office/drawing/2014/main" id="{93BD2F36-EF10-CF49-B696-5A7E3ACBD220}"/>
                </a:ext>
              </a:extLst>
            </p:cNvPr>
            <p:cNvSpPr/>
            <p:nvPr/>
          </p:nvSpPr>
          <p:spPr>
            <a:xfrm>
              <a:off x="4794300" y="1588007"/>
              <a:ext cx="155032" cy="71823"/>
            </a:xfrm>
            <a:custGeom>
              <a:avLst/>
              <a:gdLst/>
              <a:ahLst/>
              <a:cxnLst/>
              <a:rect l="l" t="t" r="r" b="b"/>
              <a:pathLst>
                <a:path w="4997" h="2315" extrusionOk="0">
                  <a:moveTo>
                    <a:pt x="653" y="724"/>
                  </a:moveTo>
                  <a:cubicBezTo>
                    <a:pt x="470" y="724"/>
                    <a:pt x="222" y="789"/>
                    <a:pt x="332" y="900"/>
                  </a:cubicBezTo>
                  <a:cubicBezTo>
                    <a:pt x="387" y="944"/>
                    <a:pt x="454" y="964"/>
                    <a:pt x="522" y="964"/>
                  </a:cubicBezTo>
                  <a:cubicBezTo>
                    <a:pt x="639" y="964"/>
                    <a:pt x="756" y="905"/>
                    <a:pt x="813" y="809"/>
                  </a:cubicBezTo>
                  <a:cubicBezTo>
                    <a:pt x="860" y="751"/>
                    <a:pt x="770" y="724"/>
                    <a:pt x="653" y="724"/>
                  </a:cubicBezTo>
                  <a:close/>
                  <a:moveTo>
                    <a:pt x="725" y="1113"/>
                  </a:moveTo>
                  <a:cubicBezTo>
                    <a:pt x="655" y="1113"/>
                    <a:pt x="574" y="1121"/>
                    <a:pt x="482" y="1140"/>
                  </a:cubicBezTo>
                  <a:cubicBezTo>
                    <a:pt x="61" y="1261"/>
                    <a:pt x="1" y="1863"/>
                    <a:pt x="181" y="1863"/>
                  </a:cubicBezTo>
                  <a:cubicBezTo>
                    <a:pt x="482" y="1742"/>
                    <a:pt x="753" y="1532"/>
                    <a:pt x="964" y="1291"/>
                  </a:cubicBezTo>
                  <a:cubicBezTo>
                    <a:pt x="1082" y="1220"/>
                    <a:pt x="978" y="1113"/>
                    <a:pt x="725" y="1113"/>
                  </a:cubicBezTo>
                  <a:close/>
                  <a:moveTo>
                    <a:pt x="3337" y="0"/>
                  </a:moveTo>
                  <a:cubicBezTo>
                    <a:pt x="3262" y="0"/>
                    <a:pt x="3192" y="8"/>
                    <a:pt x="3131" y="27"/>
                  </a:cubicBezTo>
                  <a:cubicBezTo>
                    <a:pt x="2709" y="117"/>
                    <a:pt x="1837" y="87"/>
                    <a:pt x="1656" y="268"/>
                  </a:cubicBezTo>
                  <a:cubicBezTo>
                    <a:pt x="1475" y="478"/>
                    <a:pt x="934" y="539"/>
                    <a:pt x="1174" y="719"/>
                  </a:cubicBezTo>
                  <a:cubicBezTo>
                    <a:pt x="1385" y="930"/>
                    <a:pt x="1174" y="1020"/>
                    <a:pt x="1325" y="1261"/>
                  </a:cubicBezTo>
                  <a:cubicBezTo>
                    <a:pt x="1452" y="1464"/>
                    <a:pt x="1536" y="1539"/>
                    <a:pt x="1705" y="1539"/>
                  </a:cubicBezTo>
                  <a:cubicBezTo>
                    <a:pt x="1736" y="1539"/>
                    <a:pt x="1769" y="1536"/>
                    <a:pt x="1806" y="1532"/>
                  </a:cubicBezTo>
                  <a:cubicBezTo>
                    <a:pt x="1832" y="1528"/>
                    <a:pt x="1857" y="1526"/>
                    <a:pt x="1881" y="1526"/>
                  </a:cubicBezTo>
                  <a:cubicBezTo>
                    <a:pt x="2049" y="1526"/>
                    <a:pt x="2142" y="1621"/>
                    <a:pt x="1957" y="1833"/>
                  </a:cubicBezTo>
                  <a:cubicBezTo>
                    <a:pt x="2116" y="1797"/>
                    <a:pt x="2285" y="1783"/>
                    <a:pt x="2458" y="1783"/>
                  </a:cubicBezTo>
                  <a:cubicBezTo>
                    <a:pt x="2580" y="1783"/>
                    <a:pt x="2705" y="1790"/>
                    <a:pt x="2830" y="1802"/>
                  </a:cubicBezTo>
                  <a:cubicBezTo>
                    <a:pt x="2888" y="1861"/>
                    <a:pt x="3425" y="2285"/>
                    <a:pt x="3596" y="2285"/>
                  </a:cubicBezTo>
                  <a:cubicBezTo>
                    <a:pt x="3602" y="2285"/>
                    <a:pt x="3607" y="2285"/>
                    <a:pt x="3612" y="2284"/>
                  </a:cubicBezTo>
                  <a:cubicBezTo>
                    <a:pt x="3712" y="2272"/>
                    <a:pt x="3817" y="2264"/>
                    <a:pt x="3923" y="2264"/>
                  </a:cubicBezTo>
                  <a:cubicBezTo>
                    <a:pt x="4072" y="2264"/>
                    <a:pt x="4223" y="2279"/>
                    <a:pt x="4364" y="2314"/>
                  </a:cubicBezTo>
                  <a:cubicBezTo>
                    <a:pt x="4304" y="2254"/>
                    <a:pt x="4334" y="2134"/>
                    <a:pt x="4395" y="2103"/>
                  </a:cubicBezTo>
                  <a:cubicBezTo>
                    <a:pt x="4485" y="2013"/>
                    <a:pt x="4726" y="2013"/>
                    <a:pt x="4575" y="1833"/>
                  </a:cubicBezTo>
                  <a:cubicBezTo>
                    <a:pt x="4485" y="1712"/>
                    <a:pt x="4425" y="1562"/>
                    <a:pt x="4425" y="1411"/>
                  </a:cubicBezTo>
                  <a:cubicBezTo>
                    <a:pt x="4395" y="1261"/>
                    <a:pt x="4364" y="1110"/>
                    <a:pt x="4364" y="960"/>
                  </a:cubicBezTo>
                  <a:cubicBezTo>
                    <a:pt x="4395" y="839"/>
                    <a:pt x="4515" y="809"/>
                    <a:pt x="4635" y="599"/>
                  </a:cubicBezTo>
                  <a:cubicBezTo>
                    <a:pt x="4726" y="388"/>
                    <a:pt x="4996" y="358"/>
                    <a:pt x="4816" y="57"/>
                  </a:cubicBezTo>
                  <a:lnTo>
                    <a:pt x="4816" y="57"/>
                  </a:lnTo>
                  <a:lnTo>
                    <a:pt x="4635" y="177"/>
                  </a:lnTo>
                  <a:cubicBezTo>
                    <a:pt x="4605" y="182"/>
                    <a:pt x="4571" y="185"/>
                    <a:pt x="4536" y="185"/>
                  </a:cubicBezTo>
                  <a:cubicBezTo>
                    <a:pt x="4215" y="185"/>
                    <a:pt x="3706" y="0"/>
                    <a:pt x="3337"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03" name="Google Shape;2997;p123">
              <a:extLst>
                <a:ext uri="{FF2B5EF4-FFF2-40B4-BE49-F238E27FC236}">
                  <a16:creationId xmlns:a16="http://schemas.microsoft.com/office/drawing/2014/main" id="{686F9C7B-8FA4-3244-AEF6-D28E703783EA}"/>
                </a:ext>
              </a:extLst>
            </p:cNvPr>
            <p:cNvSpPr/>
            <p:nvPr/>
          </p:nvSpPr>
          <p:spPr>
            <a:xfrm>
              <a:off x="5079079" y="3151729"/>
              <a:ext cx="197040" cy="240071"/>
            </a:xfrm>
            <a:custGeom>
              <a:avLst/>
              <a:gdLst/>
              <a:ahLst/>
              <a:cxnLst/>
              <a:rect l="l" t="t" r="r" b="b"/>
              <a:pathLst>
                <a:path w="6351" h="7738" extrusionOk="0">
                  <a:moveTo>
                    <a:pt x="994" y="1"/>
                  </a:moveTo>
                  <a:cubicBezTo>
                    <a:pt x="933" y="1"/>
                    <a:pt x="871" y="10"/>
                    <a:pt x="813" y="33"/>
                  </a:cubicBezTo>
                  <a:cubicBezTo>
                    <a:pt x="633" y="64"/>
                    <a:pt x="211" y="304"/>
                    <a:pt x="181" y="455"/>
                  </a:cubicBezTo>
                  <a:lnTo>
                    <a:pt x="61" y="605"/>
                  </a:lnTo>
                  <a:lnTo>
                    <a:pt x="452" y="906"/>
                  </a:lnTo>
                  <a:lnTo>
                    <a:pt x="512" y="1448"/>
                  </a:lnTo>
                  <a:lnTo>
                    <a:pt x="813" y="1749"/>
                  </a:lnTo>
                  <a:cubicBezTo>
                    <a:pt x="813" y="1959"/>
                    <a:pt x="813" y="2170"/>
                    <a:pt x="783" y="2411"/>
                  </a:cubicBezTo>
                  <a:cubicBezTo>
                    <a:pt x="723" y="2772"/>
                    <a:pt x="542" y="3103"/>
                    <a:pt x="272" y="3344"/>
                  </a:cubicBezTo>
                  <a:lnTo>
                    <a:pt x="31" y="3825"/>
                  </a:lnTo>
                  <a:cubicBezTo>
                    <a:pt x="332" y="3916"/>
                    <a:pt x="603" y="4006"/>
                    <a:pt x="572" y="4126"/>
                  </a:cubicBezTo>
                  <a:cubicBezTo>
                    <a:pt x="512" y="4247"/>
                    <a:pt x="1" y="4247"/>
                    <a:pt x="1" y="4608"/>
                  </a:cubicBezTo>
                  <a:lnTo>
                    <a:pt x="1" y="4698"/>
                  </a:lnTo>
                  <a:lnTo>
                    <a:pt x="3010" y="6323"/>
                  </a:lnTo>
                  <a:lnTo>
                    <a:pt x="2920" y="6805"/>
                  </a:lnTo>
                  <a:lnTo>
                    <a:pt x="4274" y="7738"/>
                  </a:lnTo>
                  <a:cubicBezTo>
                    <a:pt x="4575" y="6985"/>
                    <a:pt x="4966" y="6173"/>
                    <a:pt x="5026" y="6022"/>
                  </a:cubicBezTo>
                  <a:cubicBezTo>
                    <a:pt x="5117" y="5872"/>
                    <a:pt x="5418" y="5782"/>
                    <a:pt x="5568" y="5601"/>
                  </a:cubicBezTo>
                  <a:cubicBezTo>
                    <a:pt x="5719" y="5420"/>
                    <a:pt x="5749" y="5661"/>
                    <a:pt x="5990" y="5330"/>
                  </a:cubicBezTo>
                  <a:lnTo>
                    <a:pt x="6050" y="5210"/>
                  </a:lnTo>
                  <a:lnTo>
                    <a:pt x="5689" y="4578"/>
                  </a:lnTo>
                  <a:lnTo>
                    <a:pt x="5628" y="1749"/>
                  </a:lnTo>
                  <a:lnTo>
                    <a:pt x="5959" y="1207"/>
                  </a:lnTo>
                  <a:lnTo>
                    <a:pt x="6351" y="635"/>
                  </a:lnTo>
                  <a:lnTo>
                    <a:pt x="6351" y="635"/>
                  </a:lnTo>
                  <a:lnTo>
                    <a:pt x="5959" y="756"/>
                  </a:lnTo>
                  <a:cubicBezTo>
                    <a:pt x="5939" y="761"/>
                    <a:pt x="5916" y="763"/>
                    <a:pt x="5893" y="763"/>
                  </a:cubicBezTo>
                  <a:cubicBezTo>
                    <a:pt x="5781" y="763"/>
                    <a:pt x="5648" y="705"/>
                    <a:pt x="5598" y="605"/>
                  </a:cubicBezTo>
                  <a:cubicBezTo>
                    <a:pt x="5578" y="564"/>
                    <a:pt x="5522" y="544"/>
                    <a:pt x="5445" y="544"/>
                  </a:cubicBezTo>
                  <a:cubicBezTo>
                    <a:pt x="5297" y="544"/>
                    <a:pt x="5074" y="617"/>
                    <a:pt x="4876" y="756"/>
                  </a:cubicBezTo>
                  <a:cubicBezTo>
                    <a:pt x="4613" y="914"/>
                    <a:pt x="4488" y="1163"/>
                    <a:pt x="4400" y="1163"/>
                  </a:cubicBezTo>
                  <a:cubicBezTo>
                    <a:pt x="4388" y="1163"/>
                    <a:pt x="4376" y="1158"/>
                    <a:pt x="4364" y="1147"/>
                  </a:cubicBezTo>
                  <a:cubicBezTo>
                    <a:pt x="4063" y="1057"/>
                    <a:pt x="3763" y="996"/>
                    <a:pt x="3462" y="996"/>
                  </a:cubicBezTo>
                  <a:cubicBezTo>
                    <a:pt x="3131" y="906"/>
                    <a:pt x="2799" y="726"/>
                    <a:pt x="2559" y="485"/>
                  </a:cubicBezTo>
                  <a:cubicBezTo>
                    <a:pt x="2378" y="304"/>
                    <a:pt x="1867" y="364"/>
                    <a:pt x="1716" y="304"/>
                  </a:cubicBezTo>
                  <a:cubicBezTo>
                    <a:pt x="1566" y="244"/>
                    <a:pt x="1415" y="154"/>
                    <a:pt x="1265" y="64"/>
                  </a:cubicBezTo>
                  <a:cubicBezTo>
                    <a:pt x="1190" y="26"/>
                    <a:pt x="1093" y="1"/>
                    <a:pt x="994"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04" name="Google Shape;2998;p123">
              <a:extLst>
                <a:ext uri="{FF2B5EF4-FFF2-40B4-BE49-F238E27FC236}">
                  <a16:creationId xmlns:a16="http://schemas.microsoft.com/office/drawing/2014/main" id="{F700B729-A0AE-E948-9DE5-5D79C6BFBDC9}"/>
                </a:ext>
              </a:extLst>
            </p:cNvPr>
            <p:cNvSpPr/>
            <p:nvPr/>
          </p:nvSpPr>
          <p:spPr>
            <a:xfrm>
              <a:off x="4970770" y="3170499"/>
              <a:ext cx="133563" cy="137844"/>
            </a:xfrm>
            <a:custGeom>
              <a:avLst/>
              <a:gdLst/>
              <a:ahLst/>
              <a:cxnLst/>
              <a:rect l="l" t="t" r="r" b="b"/>
              <a:pathLst>
                <a:path w="4305" h="4443" extrusionOk="0">
                  <a:moveTo>
                    <a:pt x="3552" y="0"/>
                  </a:moveTo>
                  <a:cubicBezTo>
                    <a:pt x="3462" y="60"/>
                    <a:pt x="3311" y="151"/>
                    <a:pt x="3311" y="211"/>
                  </a:cubicBezTo>
                  <a:cubicBezTo>
                    <a:pt x="3311" y="249"/>
                    <a:pt x="3167" y="287"/>
                    <a:pt x="3022" y="287"/>
                  </a:cubicBezTo>
                  <a:cubicBezTo>
                    <a:pt x="2939" y="287"/>
                    <a:pt x="2855" y="274"/>
                    <a:pt x="2799" y="241"/>
                  </a:cubicBezTo>
                  <a:cubicBezTo>
                    <a:pt x="2589" y="241"/>
                    <a:pt x="2378" y="331"/>
                    <a:pt x="2258" y="482"/>
                  </a:cubicBezTo>
                  <a:cubicBezTo>
                    <a:pt x="2250" y="487"/>
                    <a:pt x="2240" y="490"/>
                    <a:pt x="2229" y="490"/>
                  </a:cubicBezTo>
                  <a:cubicBezTo>
                    <a:pt x="2125" y="490"/>
                    <a:pt x="1905" y="269"/>
                    <a:pt x="1743" y="269"/>
                  </a:cubicBezTo>
                  <a:cubicBezTo>
                    <a:pt x="1734" y="269"/>
                    <a:pt x="1725" y="270"/>
                    <a:pt x="1716" y="271"/>
                  </a:cubicBezTo>
                  <a:cubicBezTo>
                    <a:pt x="1535" y="331"/>
                    <a:pt x="1325" y="391"/>
                    <a:pt x="1144" y="482"/>
                  </a:cubicBezTo>
                  <a:cubicBezTo>
                    <a:pt x="1144" y="482"/>
                    <a:pt x="1084" y="963"/>
                    <a:pt x="1084" y="1144"/>
                  </a:cubicBezTo>
                  <a:cubicBezTo>
                    <a:pt x="1084" y="1354"/>
                    <a:pt x="1355" y="1385"/>
                    <a:pt x="1355" y="1535"/>
                  </a:cubicBezTo>
                  <a:cubicBezTo>
                    <a:pt x="1355" y="1686"/>
                    <a:pt x="1114" y="1836"/>
                    <a:pt x="1114" y="1956"/>
                  </a:cubicBezTo>
                  <a:cubicBezTo>
                    <a:pt x="1114" y="2047"/>
                    <a:pt x="934" y="2107"/>
                    <a:pt x="783" y="2167"/>
                  </a:cubicBezTo>
                  <a:cubicBezTo>
                    <a:pt x="633" y="2227"/>
                    <a:pt x="633" y="2498"/>
                    <a:pt x="482" y="2618"/>
                  </a:cubicBezTo>
                  <a:cubicBezTo>
                    <a:pt x="332" y="2739"/>
                    <a:pt x="362" y="2950"/>
                    <a:pt x="302" y="3130"/>
                  </a:cubicBezTo>
                  <a:cubicBezTo>
                    <a:pt x="181" y="3371"/>
                    <a:pt x="121" y="3612"/>
                    <a:pt x="151" y="3852"/>
                  </a:cubicBezTo>
                  <a:cubicBezTo>
                    <a:pt x="151" y="4063"/>
                    <a:pt x="91" y="4244"/>
                    <a:pt x="1" y="4424"/>
                  </a:cubicBezTo>
                  <a:cubicBezTo>
                    <a:pt x="45" y="4435"/>
                    <a:pt x="93" y="4442"/>
                    <a:pt x="142" y="4442"/>
                  </a:cubicBezTo>
                  <a:cubicBezTo>
                    <a:pt x="227" y="4442"/>
                    <a:pt x="316" y="4421"/>
                    <a:pt x="392" y="4364"/>
                  </a:cubicBezTo>
                  <a:lnTo>
                    <a:pt x="1204" y="4123"/>
                  </a:lnTo>
                  <a:lnTo>
                    <a:pt x="1867" y="4063"/>
                  </a:lnTo>
                  <a:cubicBezTo>
                    <a:pt x="2017" y="3642"/>
                    <a:pt x="2258" y="3250"/>
                    <a:pt x="2468" y="3190"/>
                  </a:cubicBezTo>
                  <a:cubicBezTo>
                    <a:pt x="2631" y="3163"/>
                    <a:pt x="2793" y="3148"/>
                    <a:pt x="2953" y="3148"/>
                  </a:cubicBezTo>
                  <a:cubicBezTo>
                    <a:pt x="3148" y="3148"/>
                    <a:pt x="3340" y="3171"/>
                    <a:pt x="3522" y="3220"/>
                  </a:cubicBezTo>
                  <a:lnTo>
                    <a:pt x="3763" y="2739"/>
                  </a:lnTo>
                  <a:cubicBezTo>
                    <a:pt x="4033" y="2498"/>
                    <a:pt x="4214" y="2167"/>
                    <a:pt x="4274" y="1776"/>
                  </a:cubicBezTo>
                  <a:cubicBezTo>
                    <a:pt x="4304" y="1565"/>
                    <a:pt x="4304" y="1354"/>
                    <a:pt x="4304" y="1144"/>
                  </a:cubicBezTo>
                  <a:lnTo>
                    <a:pt x="4003" y="843"/>
                  </a:lnTo>
                  <a:lnTo>
                    <a:pt x="3943" y="301"/>
                  </a:lnTo>
                  <a:lnTo>
                    <a:pt x="3552" y="0"/>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05" name="Google Shape;2999;p123">
              <a:extLst>
                <a:ext uri="{FF2B5EF4-FFF2-40B4-BE49-F238E27FC236}">
                  <a16:creationId xmlns:a16="http://schemas.microsoft.com/office/drawing/2014/main" id="{FDE801CE-CCFC-7840-A787-6196C2E0AF7B}"/>
                </a:ext>
              </a:extLst>
            </p:cNvPr>
            <p:cNvSpPr/>
            <p:nvPr/>
          </p:nvSpPr>
          <p:spPr>
            <a:xfrm>
              <a:off x="5631820" y="2061262"/>
              <a:ext cx="436087" cy="255863"/>
            </a:xfrm>
            <a:custGeom>
              <a:avLst/>
              <a:gdLst/>
              <a:ahLst/>
              <a:cxnLst/>
              <a:rect l="l" t="t" r="r" b="b"/>
              <a:pathLst>
                <a:path w="14056" h="8247" extrusionOk="0">
                  <a:moveTo>
                    <a:pt x="2107" y="1"/>
                  </a:moveTo>
                  <a:lnTo>
                    <a:pt x="121" y="573"/>
                  </a:lnTo>
                  <a:lnTo>
                    <a:pt x="61" y="4064"/>
                  </a:lnTo>
                  <a:lnTo>
                    <a:pt x="1" y="4064"/>
                  </a:lnTo>
                  <a:lnTo>
                    <a:pt x="573" y="4184"/>
                  </a:lnTo>
                  <a:cubicBezTo>
                    <a:pt x="592" y="4186"/>
                    <a:pt x="610" y="4187"/>
                    <a:pt x="627" y="4187"/>
                  </a:cubicBezTo>
                  <a:cubicBezTo>
                    <a:pt x="874" y="4187"/>
                    <a:pt x="874" y="3990"/>
                    <a:pt x="874" y="3793"/>
                  </a:cubicBezTo>
                  <a:cubicBezTo>
                    <a:pt x="874" y="3612"/>
                    <a:pt x="1174" y="3401"/>
                    <a:pt x="1445" y="3401"/>
                  </a:cubicBezTo>
                  <a:cubicBezTo>
                    <a:pt x="1686" y="3401"/>
                    <a:pt x="1626" y="3101"/>
                    <a:pt x="1686" y="3101"/>
                  </a:cubicBezTo>
                  <a:cubicBezTo>
                    <a:pt x="1837" y="3101"/>
                    <a:pt x="1957" y="3040"/>
                    <a:pt x="2047" y="2950"/>
                  </a:cubicBezTo>
                  <a:cubicBezTo>
                    <a:pt x="2064" y="2916"/>
                    <a:pt x="2109" y="2901"/>
                    <a:pt x="2165" y="2901"/>
                  </a:cubicBezTo>
                  <a:cubicBezTo>
                    <a:pt x="2306" y="2901"/>
                    <a:pt x="2524" y="2993"/>
                    <a:pt x="2589" y="3101"/>
                  </a:cubicBezTo>
                  <a:cubicBezTo>
                    <a:pt x="2800" y="3191"/>
                    <a:pt x="2980" y="3251"/>
                    <a:pt x="3191" y="3281"/>
                  </a:cubicBezTo>
                  <a:cubicBezTo>
                    <a:pt x="3401" y="3311"/>
                    <a:pt x="3462" y="4003"/>
                    <a:pt x="3462" y="4154"/>
                  </a:cubicBezTo>
                  <a:cubicBezTo>
                    <a:pt x="3462" y="4237"/>
                    <a:pt x="3777" y="4256"/>
                    <a:pt x="4084" y="4256"/>
                  </a:cubicBezTo>
                  <a:cubicBezTo>
                    <a:pt x="4329" y="4256"/>
                    <a:pt x="4568" y="4244"/>
                    <a:pt x="4635" y="4244"/>
                  </a:cubicBezTo>
                  <a:cubicBezTo>
                    <a:pt x="4786" y="4244"/>
                    <a:pt x="4816" y="4545"/>
                    <a:pt x="4966" y="4786"/>
                  </a:cubicBezTo>
                  <a:cubicBezTo>
                    <a:pt x="5117" y="4966"/>
                    <a:pt x="5237" y="5177"/>
                    <a:pt x="5358" y="5418"/>
                  </a:cubicBezTo>
                  <a:cubicBezTo>
                    <a:pt x="5388" y="5598"/>
                    <a:pt x="5990" y="5809"/>
                    <a:pt x="6140" y="6020"/>
                  </a:cubicBezTo>
                  <a:cubicBezTo>
                    <a:pt x="6291" y="6260"/>
                    <a:pt x="6712" y="6441"/>
                    <a:pt x="7043" y="6561"/>
                  </a:cubicBezTo>
                  <a:cubicBezTo>
                    <a:pt x="7374" y="6652"/>
                    <a:pt x="7675" y="7103"/>
                    <a:pt x="7856" y="7103"/>
                  </a:cubicBezTo>
                  <a:cubicBezTo>
                    <a:pt x="8096" y="7133"/>
                    <a:pt x="8337" y="7224"/>
                    <a:pt x="8548" y="7344"/>
                  </a:cubicBezTo>
                  <a:lnTo>
                    <a:pt x="8608" y="7855"/>
                  </a:lnTo>
                  <a:lnTo>
                    <a:pt x="8698" y="7855"/>
                  </a:lnTo>
                  <a:cubicBezTo>
                    <a:pt x="8723" y="7850"/>
                    <a:pt x="8746" y="7848"/>
                    <a:pt x="8769" y="7848"/>
                  </a:cubicBezTo>
                  <a:cubicBezTo>
                    <a:pt x="8997" y="7848"/>
                    <a:pt x="9139" y="8096"/>
                    <a:pt x="9330" y="8096"/>
                  </a:cubicBezTo>
                  <a:cubicBezTo>
                    <a:pt x="9451" y="8096"/>
                    <a:pt x="9571" y="8156"/>
                    <a:pt x="9661" y="8247"/>
                  </a:cubicBezTo>
                  <a:cubicBezTo>
                    <a:pt x="9631" y="7916"/>
                    <a:pt x="9751" y="7615"/>
                    <a:pt x="9962" y="7404"/>
                  </a:cubicBezTo>
                  <a:cubicBezTo>
                    <a:pt x="10203" y="7254"/>
                    <a:pt x="9872" y="6953"/>
                    <a:pt x="9902" y="6712"/>
                  </a:cubicBezTo>
                  <a:cubicBezTo>
                    <a:pt x="9932" y="6441"/>
                    <a:pt x="9360" y="6321"/>
                    <a:pt x="9420" y="6110"/>
                  </a:cubicBezTo>
                  <a:cubicBezTo>
                    <a:pt x="9451" y="5869"/>
                    <a:pt x="9932" y="5899"/>
                    <a:pt x="10173" y="5839"/>
                  </a:cubicBezTo>
                  <a:cubicBezTo>
                    <a:pt x="10383" y="5749"/>
                    <a:pt x="10203" y="5388"/>
                    <a:pt x="10414" y="5388"/>
                  </a:cubicBezTo>
                  <a:cubicBezTo>
                    <a:pt x="10654" y="5388"/>
                    <a:pt x="10715" y="5147"/>
                    <a:pt x="10805" y="4966"/>
                  </a:cubicBezTo>
                  <a:cubicBezTo>
                    <a:pt x="10830" y="4891"/>
                    <a:pt x="10907" y="4879"/>
                    <a:pt x="11001" y="4879"/>
                  </a:cubicBezTo>
                  <a:cubicBezTo>
                    <a:pt x="11049" y="4879"/>
                    <a:pt x="11102" y="4882"/>
                    <a:pt x="11155" y="4882"/>
                  </a:cubicBezTo>
                  <a:cubicBezTo>
                    <a:pt x="11247" y="4882"/>
                    <a:pt x="11340" y="4872"/>
                    <a:pt x="11407" y="4816"/>
                  </a:cubicBezTo>
                  <a:cubicBezTo>
                    <a:pt x="11529" y="4714"/>
                    <a:pt x="11694" y="4653"/>
                    <a:pt x="11805" y="4653"/>
                  </a:cubicBezTo>
                  <a:cubicBezTo>
                    <a:pt x="11858" y="4653"/>
                    <a:pt x="11899" y="4667"/>
                    <a:pt x="11918" y="4696"/>
                  </a:cubicBezTo>
                  <a:cubicBezTo>
                    <a:pt x="12009" y="4816"/>
                    <a:pt x="11738" y="5207"/>
                    <a:pt x="11678" y="5358"/>
                  </a:cubicBezTo>
                  <a:cubicBezTo>
                    <a:pt x="11978" y="5358"/>
                    <a:pt x="12279" y="5297"/>
                    <a:pt x="12580" y="5207"/>
                  </a:cubicBezTo>
                  <a:cubicBezTo>
                    <a:pt x="12597" y="5185"/>
                    <a:pt x="12628" y="5177"/>
                    <a:pt x="12668" y="5177"/>
                  </a:cubicBezTo>
                  <a:cubicBezTo>
                    <a:pt x="12768" y="5177"/>
                    <a:pt x="12925" y="5226"/>
                    <a:pt x="13066" y="5226"/>
                  </a:cubicBezTo>
                  <a:cubicBezTo>
                    <a:pt x="13177" y="5226"/>
                    <a:pt x="13279" y="5195"/>
                    <a:pt x="13333" y="5087"/>
                  </a:cubicBezTo>
                  <a:cubicBezTo>
                    <a:pt x="13483" y="4786"/>
                    <a:pt x="14055" y="4936"/>
                    <a:pt x="13664" y="4635"/>
                  </a:cubicBezTo>
                  <a:cubicBezTo>
                    <a:pt x="13366" y="4362"/>
                    <a:pt x="12863" y="4048"/>
                    <a:pt x="12662" y="4048"/>
                  </a:cubicBezTo>
                  <a:cubicBezTo>
                    <a:pt x="12620" y="4048"/>
                    <a:pt x="12591" y="4062"/>
                    <a:pt x="12580" y="4094"/>
                  </a:cubicBezTo>
                  <a:cubicBezTo>
                    <a:pt x="12530" y="4211"/>
                    <a:pt x="12386" y="4272"/>
                    <a:pt x="12243" y="4272"/>
                  </a:cubicBezTo>
                  <a:cubicBezTo>
                    <a:pt x="12129" y="4272"/>
                    <a:pt x="12015" y="4234"/>
                    <a:pt x="11948" y="4154"/>
                  </a:cubicBezTo>
                  <a:cubicBezTo>
                    <a:pt x="11838" y="3999"/>
                    <a:pt x="11744" y="3845"/>
                    <a:pt x="11511" y="3845"/>
                  </a:cubicBezTo>
                  <a:cubicBezTo>
                    <a:pt x="11427" y="3845"/>
                    <a:pt x="11324" y="3865"/>
                    <a:pt x="11196" y="3913"/>
                  </a:cubicBezTo>
                  <a:cubicBezTo>
                    <a:pt x="10684" y="4094"/>
                    <a:pt x="10444" y="4365"/>
                    <a:pt x="10383" y="4545"/>
                  </a:cubicBezTo>
                  <a:cubicBezTo>
                    <a:pt x="10364" y="4664"/>
                    <a:pt x="10228" y="4795"/>
                    <a:pt x="10128" y="4795"/>
                  </a:cubicBezTo>
                  <a:cubicBezTo>
                    <a:pt x="10075" y="4795"/>
                    <a:pt x="10033" y="4759"/>
                    <a:pt x="10022" y="4665"/>
                  </a:cubicBezTo>
                  <a:cubicBezTo>
                    <a:pt x="9992" y="4395"/>
                    <a:pt x="9601" y="4334"/>
                    <a:pt x="9330" y="4304"/>
                  </a:cubicBezTo>
                  <a:cubicBezTo>
                    <a:pt x="9089" y="4244"/>
                    <a:pt x="8698" y="4334"/>
                    <a:pt x="8668" y="4094"/>
                  </a:cubicBezTo>
                  <a:cubicBezTo>
                    <a:pt x="8638" y="3883"/>
                    <a:pt x="8247" y="3552"/>
                    <a:pt x="8217" y="3281"/>
                  </a:cubicBezTo>
                  <a:cubicBezTo>
                    <a:pt x="8187" y="3010"/>
                    <a:pt x="8277" y="2589"/>
                    <a:pt x="8036" y="2529"/>
                  </a:cubicBezTo>
                  <a:cubicBezTo>
                    <a:pt x="7765" y="2438"/>
                    <a:pt x="7645" y="2077"/>
                    <a:pt x="7434" y="2077"/>
                  </a:cubicBezTo>
                  <a:cubicBezTo>
                    <a:pt x="6892" y="2077"/>
                    <a:pt x="6351" y="2047"/>
                    <a:pt x="5809" y="1987"/>
                  </a:cubicBezTo>
                  <a:cubicBezTo>
                    <a:pt x="5796" y="1982"/>
                    <a:pt x="5779" y="1980"/>
                    <a:pt x="5758" y="1980"/>
                  </a:cubicBezTo>
                  <a:cubicBezTo>
                    <a:pt x="5584" y="1980"/>
                    <a:pt x="5160" y="2132"/>
                    <a:pt x="4930" y="2132"/>
                  </a:cubicBezTo>
                  <a:cubicBezTo>
                    <a:pt x="4858" y="2132"/>
                    <a:pt x="4806" y="2117"/>
                    <a:pt x="4786" y="2077"/>
                  </a:cubicBezTo>
                  <a:cubicBezTo>
                    <a:pt x="4545" y="1686"/>
                    <a:pt x="4214" y="1325"/>
                    <a:pt x="3853" y="1054"/>
                  </a:cubicBezTo>
                  <a:cubicBezTo>
                    <a:pt x="3823" y="1205"/>
                    <a:pt x="3733" y="1295"/>
                    <a:pt x="3612" y="1385"/>
                  </a:cubicBezTo>
                  <a:cubicBezTo>
                    <a:pt x="3349" y="1569"/>
                    <a:pt x="3103" y="1662"/>
                    <a:pt x="2924" y="1662"/>
                  </a:cubicBezTo>
                  <a:cubicBezTo>
                    <a:pt x="2695" y="1662"/>
                    <a:pt x="2578" y="1509"/>
                    <a:pt x="2679" y="1205"/>
                  </a:cubicBezTo>
                  <a:cubicBezTo>
                    <a:pt x="2860" y="693"/>
                    <a:pt x="2860" y="121"/>
                    <a:pt x="2559" y="121"/>
                  </a:cubicBezTo>
                  <a:cubicBezTo>
                    <a:pt x="2258" y="121"/>
                    <a:pt x="2499" y="1174"/>
                    <a:pt x="2228" y="1235"/>
                  </a:cubicBezTo>
                  <a:cubicBezTo>
                    <a:pt x="2215" y="1239"/>
                    <a:pt x="2202" y="1241"/>
                    <a:pt x="2190" y="1241"/>
                  </a:cubicBezTo>
                  <a:cubicBezTo>
                    <a:pt x="1957" y="1241"/>
                    <a:pt x="1964" y="430"/>
                    <a:pt x="2107"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06" name="Google Shape;3000;p123">
              <a:extLst>
                <a:ext uri="{FF2B5EF4-FFF2-40B4-BE49-F238E27FC236}">
                  <a16:creationId xmlns:a16="http://schemas.microsoft.com/office/drawing/2014/main" id="{D6C39088-8F64-4745-83A9-3E2245BDFAE3}"/>
                </a:ext>
              </a:extLst>
            </p:cNvPr>
            <p:cNvSpPr/>
            <p:nvPr/>
          </p:nvSpPr>
          <p:spPr>
            <a:xfrm>
              <a:off x="4385360" y="641993"/>
              <a:ext cx="636788" cy="1001642"/>
            </a:xfrm>
            <a:custGeom>
              <a:avLst/>
              <a:gdLst/>
              <a:ahLst/>
              <a:cxnLst/>
              <a:rect l="l" t="t" r="r" b="b"/>
              <a:pathLst>
                <a:path w="20525" h="32285" extrusionOk="0">
                  <a:moveTo>
                    <a:pt x="11621" y="0"/>
                  </a:moveTo>
                  <a:cubicBezTo>
                    <a:pt x="11608" y="0"/>
                    <a:pt x="11596" y="1"/>
                    <a:pt x="11587" y="3"/>
                  </a:cubicBezTo>
                  <a:cubicBezTo>
                    <a:pt x="11436" y="33"/>
                    <a:pt x="11737" y="183"/>
                    <a:pt x="11677" y="334"/>
                  </a:cubicBezTo>
                  <a:cubicBezTo>
                    <a:pt x="11659" y="364"/>
                    <a:pt x="11630" y="376"/>
                    <a:pt x="11594" y="376"/>
                  </a:cubicBezTo>
                  <a:cubicBezTo>
                    <a:pt x="11451" y="376"/>
                    <a:pt x="11195" y="183"/>
                    <a:pt x="11075" y="183"/>
                  </a:cubicBezTo>
                  <a:cubicBezTo>
                    <a:pt x="10925" y="183"/>
                    <a:pt x="11165" y="484"/>
                    <a:pt x="11105" y="605"/>
                  </a:cubicBezTo>
                  <a:cubicBezTo>
                    <a:pt x="11096" y="617"/>
                    <a:pt x="11086" y="622"/>
                    <a:pt x="11074" y="622"/>
                  </a:cubicBezTo>
                  <a:cubicBezTo>
                    <a:pt x="10966" y="622"/>
                    <a:pt x="10747" y="183"/>
                    <a:pt x="10503" y="183"/>
                  </a:cubicBezTo>
                  <a:cubicBezTo>
                    <a:pt x="10232" y="183"/>
                    <a:pt x="10353" y="484"/>
                    <a:pt x="10172" y="484"/>
                  </a:cubicBezTo>
                  <a:cubicBezTo>
                    <a:pt x="9962" y="484"/>
                    <a:pt x="10443" y="725"/>
                    <a:pt x="10594" y="846"/>
                  </a:cubicBezTo>
                  <a:cubicBezTo>
                    <a:pt x="10714" y="996"/>
                    <a:pt x="10323" y="996"/>
                    <a:pt x="10503" y="1147"/>
                  </a:cubicBezTo>
                  <a:cubicBezTo>
                    <a:pt x="10557" y="1191"/>
                    <a:pt x="10805" y="1204"/>
                    <a:pt x="11135" y="1204"/>
                  </a:cubicBezTo>
                  <a:cubicBezTo>
                    <a:pt x="11591" y="1204"/>
                    <a:pt x="12203" y="1179"/>
                    <a:pt x="12674" y="1179"/>
                  </a:cubicBezTo>
                  <a:cubicBezTo>
                    <a:pt x="13015" y="1179"/>
                    <a:pt x="13282" y="1192"/>
                    <a:pt x="13362" y="1237"/>
                  </a:cubicBezTo>
                  <a:cubicBezTo>
                    <a:pt x="13633" y="1387"/>
                    <a:pt x="11647" y="1598"/>
                    <a:pt x="11707" y="1809"/>
                  </a:cubicBezTo>
                  <a:cubicBezTo>
                    <a:pt x="11772" y="1983"/>
                    <a:pt x="12656" y="2110"/>
                    <a:pt x="13197" y="2110"/>
                  </a:cubicBezTo>
                  <a:cubicBezTo>
                    <a:pt x="13404" y="2110"/>
                    <a:pt x="13561" y="2091"/>
                    <a:pt x="13603" y="2049"/>
                  </a:cubicBezTo>
                  <a:cubicBezTo>
                    <a:pt x="13624" y="2028"/>
                    <a:pt x="13647" y="2019"/>
                    <a:pt x="13672" y="2019"/>
                  </a:cubicBezTo>
                  <a:cubicBezTo>
                    <a:pt x="13821" y="2019"/>
                    <a:pt x="14046" y="2355"/>
                    <a:pt x="14536" y="2380"/>
                  </a:cubicBezTo>
                  <a:cubicBezTo>
                    <a:pt x="14566" y="2382"/>
                    <a:pt x="14594" y="2383"/>
                    <a:pt x="14621" y="2383"/>
                  </a:cubicBezTo>
                  <a:cubicBezTo>
                    <a:pt x="15100" y="2383"/>
                    <a:pt x="15040" y="2140"/>
                    <a:pt x="15439" y="2140"/>
                  </a:cubicBezTo>
                  <a:cubicBezTo>
                    <a:pt x="15860" y="2140"/>
                    <a:pt x="16402" y="1929"/>
                    <a:pt x="16462" y="1688"/>
                  </a:cubicBezTo>
                  <a:cubicBezTo>
                    <a:pt x="16492" y="1478"/>
                    <a:pt x="17666" y="1177"/>
                    <a:pt x="17545" y="785"/>
                  </a:cubicBezTo>
                  <a:cubicBezTo>
                    <a:pt x="17489" y="616"/>
                    <a:pt x="17207" y="586"/>
                    <a:pt x="16890" y="586"/>
                  </a:cubicBezTo>
                  <a:cubicBezTo>
                    <a:pt x="16713" y="586"/>
                    <a:pt x="16525" y="595"/>
                    <a:pt x="16358" y="595"/>
                  </a:cubicBezTo>
                  <a:cubicBezTo>
                    <a:pt x="16187" y="595"/>
                    <a:pt x="16040" y="585"/>
                    <a:pt x="15950" y="545"/>
                  </a:cubicBezTo>
                  <a:cubicBezTo>
                    <a:pt x="15721" y="440"/>
                    <a:pt x="15302" y="292"/>
                    <a:pt x="15027" y="292"/>
                  </a:cubicBezTo>
                  <a:cubicBezTo>
                    <a:pt x="14906" y="292"/>
                    <a:pt x="14814" y="321"/>
                    <a:pt x="14777" y="394"/>
                  </a:cubicBezTo>
                  <a:cubicBezTo>
                    <a:pt x="14711" y="547"/>
                    <a:pt x="14566" y="653"/>
                    <a:pt x="14457" y="653"/>
                  </a:cubicBezTo>
                  <a:cubicBezTo>
                    <a:pt x="14416" y="653"/>
                    <a:pt x="14380" y="638"/>
                    <a:pt x="14355" y="605"/>
                  </a:cubicBezTo>
                  <a:cubicBezTo>
                    <a:pt x="14250" y="499"/>
                    <a:pt x="14377" y="67"/>
                    <a:pt x="14060" y="67"/>
                  </a:cubicBezTo>
                  <a:cubicBezTo>
                    <a:pt x="14017" y="67"/>
                    <a:pt x="13966" y="75"/>
                    <a:pt x="13904" y="93"/>
                  </a:cubicBezTo>
                  <a:cubicBezTo>
                    <a:pt x="13362" y="244"/>
                    <a:pt x="13844" y="785"/>
                    <a:pt x="13754" y="876"/>
                  </a:cubicBezTo>
                  <a:cubicBezTo>
                    <a:pt x="13738" y="884"/>
                    <a:pt x="13716" y="887"/>
                    <a:pt x="13690" y="887"/>
                  </a:cubicBezTo>
                  <a:cubicBezTo>
                    <a:pt x="13521" y="887"/>
                    <a:pt x="13178" y="727"/>
                    <a:pt x="13152" y="545"/>
                  </a:cubicBezTo>
                  <a:cubicBezTo>
                    <a:pt x="13139" y="493"/>
                    <a:pt x="13102" y="475"/>
                    <a:pt x="13052" y="475"/>
                  </a:cubicBezTo>
                  <a:cubicBezTo>
                    <a:pt x="12929" y="475"/>
                    <a:pt x="12723" y="587"/>
                    <a:pt x="12588" y="587"/>
                  </a:cubicBezTo>
                  <a:cubicBezTo>
                    <a:pt x="12523" y="587"/>
                    <a:pt x="12475" y="561"/>
                    <a:pt x="12459" y="484"/>
                  </a:cubicBezTo>
                  <a:cubicBezTo>
                    <a:pt x="12403" y="203"/>
                    <a:pt x="11819" y="0"/>
                    <a:pt x="11621" y="0"/>
                  </a:cubicBezTo>
                  <a:close/>
                  <a:moveTo>
                    <a:pt x="4608" y="2963"/>
                  </a:moveTo>
                  <a:cubicBezTo>
                    <a:pt x="4573" y="2963"/>
                    <a:pt x="4533" y="2969"/>
                    <a:pt x="4484" y="2982"/>
                  </a:cubicBezTo>
                  <a:cubicBezTo>
                    <a:pt x="4153" y="3042"/>
                    <a:pt x="4785" y="3644"/>
                    <a:pt x="4966" y="3705"/>
                  </a:cubicBezTo>
                  <a:cubicBezTo>
                    <a:pt x="5197" y="3733"/>
                    <a:pt x="5345" y="4067"/>
                    <a:pt x="5516" y="4067"/>
                  </a:cubicBezTo>
                  <a:cubicBezTo>
                    <a:pt x="5523" y="4067"/>
                    <a:pt x="5530" y="4067"/>
                    <a:pt x="5538" y="4066"/>
                  </a:cubicBezTo>
                  <a:cubicBezTo>
                    <a:pt x="5718" y="4036"/>
                    <a:pt x="5237" y="3644"/>
                    <a:pt x="5026" y="3404"/>
                  </a:cubicBezTo>
                  <a:cubicBezTo>
                    <a:pt x="4820" y="3172"/>
                    <a:pt x="4812" y="2963"/>
                    <a:pt x="4608" y="2963"/>
                  </a:cubicBezTo>
                  <a:close/>
                  <a:moveTo>
                    <a:pt x="8858" y="784"/>
                  </a:moveTo>
                  <a:cubicBezTo>
                    <a:pt x="8709" y="784"/>
                    <a:pt x="8842" y="1119"/>
                    <a:pt x="8698" y="1177"/>
                  </a:cubicBezTo>
                  <a:cubicBezTo>
                    <a:pt x="8547" y="1207"/>
                    <a:pt x="8336" y="1357"/>
                    <a:pt x="8577" y="1538"/>
                  </a:cubicBezTo>
                  <a:cubicBezTo>
                    <a:pt x="8848" y="1748"/>
                    <a:pt x="9119" y="2591"/>
                    <a:pt x="9089" y="2711"/>
                  </a:cubicBezTo>
                  <a:cubicBezTo>
                    <a:pt x="9084" y="2721"/>
                    <a:pt x="9076" y="2725"/>
                    <a:pt x="9064" y="2725"/>
                  </a:cubicBezTo>
                  <a:cubicBezTo>
                    <a:pt x="8915" y="2725"/>
                    <a:pt x="8244" y="2082"/>
                    <a:pt x="8216" y="1748"/>
                  </a:cubicBezTo>
                  <a:cubicBezTo>
                    <a:pt x="8172" y="1462"/>
                    <a:pt x="7950" y="1223"/>
                    <a:pt x="7787" y="1223"/>
                  </a:cubicBezTo>
                  <a:cubicBezTo>
                    <a:pt x="7728" y="1223"/>
                    <a:pt x="7676" y="1255"/>
                    <a:pt x="7644" y="1327"/>
                  </a:cubicBezTo>
                  <a:cubicBezTo>
                    <a:pt x="7524" y="1568"/>
                    <a:pt x="7253" y="1688"/>
                    <a:pt x="7343" y="1959"/>
                  </a:cubicBezTo>
                  <a:cubicBezTo>
                    <a:pt x="7380" y="2126"/>
                    <a:pt x="7281" y="2213"/>
                    <a:pt x="7198" y="2213"/>
                  </a:cubicBezTo>
                  <a:cubicBezTo>
                    <a:pt x="7147" y="2213"/>
                    <a:pt x="7103" y="2179"/>
                    <a:pt x="7103" y="2110"/>
                  </a:cubicBezTo>
                  <a:cubicBezTo>
                    <a:pt x="7103" y="1929"/>
                    <a:pt x="6711" y="1628"/>
                    <a:pt x="6561" y="1628"/>
                  </a:cubicBezTo>
                  <a:cubicBezTo>
                    <a:pt x="6410" y="1628"/>
                    <a:pt x="6922" y="1508"/>
                    <a:pt x="7193" y="1357"/>
                  </a:cubicBezTo>
                  <a:cubicBezTo>
                    <a:pt x="7386" y="1250"/>
                    <a:pt x="7181" y="1158"/>
                    <a:pt x="6970" y="1158"/>
                  </a:cubicBezTo>
                  <a:cubicBezTo>
                    <a:pt x="6886" y="1158"/>
                    <a:pt x="6802" y="1172"/>
                    <a:pt x="6741" y="1207"/>
                  </a:cubicBezTo>
                  <a:cubicBezTo>
                    <a:pt x="6680" y="1238"/>
                    <a:pt x="6614" y="1247"/>
                    <a:pt x="6548" y="1247"/>
                  </a:cubicBezTo>
                  <a:cubicBezTo>
                    <a:pt x="6453" y="1247"/>
                    <a:pt x="6358" y="1228"/>
                    <a:pt x="6272" y="1228"/>
                  </a:cubicBezTo>
                  <a:cubicBezTo>
                    <a:pt x="6184" y="1228"/>
                    <a:pt x="6106" y="1248"/>
                    <a:pt x="6049" y="1327"/>
                  </a:cubicBezTo>
                  <a:cubicBezTo>
                    <a:pt x="6002" y="1384"/>
                    <a:pt x="5954" y="1405"/>
                    <a:pt x="5903" y="1405"/>
                  </a:cubicBezTo>
                  <a:cubicBezTo>
                    <a:pt x="5794" y="1405"/>
                    <a:pt x="5672" y="1308"/>
                    <a:pt x="5508" y="1267"/>
                  </a:cubicBezTo>
                  <a:cubicBezTo>
                    <a:pt x="5497" y="1266"/>
                    <a:pt x="5488" y="1265"/>
                    <a:pt x="5478" y="1265"/>
                  </a:cubicBezTo>
                  <a:cubicBezTo>
                    <a:pt x="5251" y="1265"/>
                    <a:pt x="5089" y="1551"/>
                    <a:pt x="4954" y="1551"/>
                  </a:cubicBezTo>
                  <a:cubicBezTo>
                    <a:pt x="4937" y="1551"/>
                    <a:pt x="4921" y="1547"/>
                    <a:pt x="4906" y="1538"/>
                  </a:cubicBezTo>
                  <a:cubicBezTo>
                    <a:pt x="4895" y="1534"/>
                    <a:pt x="4885" y="1532"/>
                    <a:pt x="4875" y="1532"/>
                  </a:cubicBezTo>
                  <a:cubicBezTo>
                    <a:pt x="4737" y="1532"/>
                    <a:pt x="4625" y="1900"/>
                    <a:pt x="4906" y="2320"/>
                  </a:cubicBezTo>
                  <a:cubicBezTo>
                    <a:pt x="4993" y="2460"/>
                    <a:pt x="5070" y="2508"/>
                    <a:pt x="5144" y="2508"/>
                  </a:cubicBezTo>
                  <a:cubicBezTo>
                    <a:pt x="5312" y="2508"/>
                    <a:pt x="5461" y="2256"/>
                    <a:pt x="5671" y="2256"/>
                  </a:cubicBezTo>
                  <a:cubicBezTo>
                    <a:pt x="5686" y="2256"/>
                    <a:pt x="5702" y="2257"/>
                    <a:pt x="5718" y="2260"/>
                  </a:cubicBezTo>
                  <a:cubicBezTo>
                    <a:pt x="6019" y="2350"/>
                    <a:pt x="5357" y="2711"/>
                    <a:pt x="5237" y="3042"/>
                  </a:cubicBezTo>
                  <a:cubicBezTo>
                    <a:pt x="5116" y="3404"/>
                    <a:pt x="5748" y="3705"/>
                    <a:pt x="6019" y="3915"/>
                  </a:cubicBezTo>
                  <a:cubicBezTo>
                    <a:pt x="6212" y="4038"/>
                    <a:pt x="6446" y="4100"/>
                    <a:pt x="6680" y="4100"/>
                  </a:cubicBezTo>
                  <a:cubicBezTo>
                    <a:pt x="6846" y="4100"/>
                    <a:pt x="7012" y="4068"/>
                    <a:pt x="7163" y="4006"/>
                  </a:cubicBezTo>
                  <a:cubicBezTo>
                    <a:pt x="7362" y="3863"/>
                    <a:pt x="7346" y="3399"/>
                    <a:pt x="7572" y="3399"/>
                  </a:cubicBezTo>
                  <a:cubicBezTo>
                    <a:pt x="7585" y="3399"/>
                    <a:pt x="7599" y="3400"/>
                    <a:pt x="7614" y="3404"/>
                  </a:cubicBezTo>
                  <a:cubicBezTo>
                    <a:pt x="7627" y="3405"/>
                    <a:pt x="7639" y="3406"/>
                    <a:pt x="7650" y="3406"/>
                  </a:cubicBezTo>
                  <a:cubicBezTo>
                    <a:pt x="7875" y="3406"/>
                    <a:pt x="7777" y="3127"/>
                    <a:pt x="8036" y="3012"/>
                  </a:cubicBezTo>
                  <a:cubicBezTo>
                    <a:pt x="8068" y="2996"/>
                    <a:pt x="8097" y="2988"/>
                    <a:pt x="8121" y="2988"/>
                  </a:cubicBezTo>
                  <a:cubicBezTo>
                    <a:pt x="8273" y="2988"/>
                    <a:pt x="8252" y="3286"/>
                    <a:pt x="8096" y="3494"/>
                  </a:cubicBezTo>
                  <a:cubicBezTo>
                    <a:pt x="8013" y="3619"/>
                    <a:pt x="8076" y="3680"/>
                    <a:pt x="8204" y="3680"/>
                  </a:cubicBezTo>
                  <a:cubicBezTo>
                    <a:pt x="8355" y="3680"/>
                    <a:pt x="8593" y="3596"/>
                    <a:pt x="8788" y="3434"/>
                  </a:cubicBezTo>
                  <a:cubicBezTo>
                    <a:pt x="8886" y="3345"/>
                    <a:pt x="8958" y="3308"/>
                    <a:pt x="9008" y="3308"/>
                  </a:cubicBezTo>
                  <a:cubicBezTo>
                    <a:pt x="9129" y="3308"/>
                    <a:pt x="9131" y="3514"/>
                    <a:pt x="9089" y="3705"/>
                  </a:cubicBezTo>
                  <a:cubicBezTo>
                    <a:pt x="8999" y="3945"/>
                    <a:pt x="8367" y="3795"/>
                    <a:pt x="8126" y="4156"/>
                  </a:cubicBezTo>
                  <a:cubicBezTo>
                    <a:pt x="7915" y="4487"/>
                    <a:pt x="7193" y="4216"/>
                    <a:pt x="6892" y="4547"/>
                  </a:cubicBezTo>
                  <a:cubicBezTo>
                    <a:pt x="6691" y="4788"/>
                    <a:pt x="6879" y="4882"/>
                    <a:pt x="7159" y="4882"/>
                  </a:cubicBezTo>
                  <a:cubicBezTo>
                    <a:pt x="7300" y="4882"/>
                    <a:pt x="7464" y="4858"/>
                    <a:pt x="7614" y="4818"/>
                  </a:cubicBezTo>
                  <a:cubicBezTo>
                    <a:pt x="7896" y="4768"/>
                    <a:pt x="8187" y="4746"/>
                    <a:pt x="8476" y="4746"/>
                  </a:cubicBezTo>
                  <a:cubicBezTo>
                    <a:pt x="8713" y="4746"/>
                    <a:pt x="8949" y="4761"/>
                    <a:pt x="9179" y="4788"/>
                  </a:cubicBezTo>
                  <a:cubicBezTo>
                    <a:pt x="9480" y="4818"/>
                    <a:pt x="8999" y="4938"/>
                    <a:pt x="8487" y="4938"/>
                  </a:cubicBezTo>
                  <a:cubicBezTo>
                    <a:pt x="7945" y="4938"/>
                    <a:pt x="7765" y="5089"/>
                    <a:pt x="7795" y="5239"/>
                  </a:cubicBezTo>
                  <a:cubicBezTo>
                    <a:pt x="7802" y="5273"/>
                    <a:pt x="7767" y="5284"/>
                    <a:pt x="7708" y="5284"/>
                  </a:cubicBezTo>
                  <a:cubicBezTo>
                    <a:pt x="7604" y="5284"/>
                    <a:pt x="7425" y="5250"/>
                    <a:pt x="7275" y="5250"/>
                  </a:cubicBezTo>
                  <a:cubicBezTo>
                    <a:pt x="7137" y="5250"/>
                    <a:pt x="7023" y="5279"/>
                    <a:pt x="7012" y="5390"/>
                  </a:cubicBezTo>
                  <a:cubicBezTo>
                    <a:pt x="6952" y="5691"/>
                    <a:pt x="7704" y="5841"/>
                    <a:pt x="7795" y="6022"/>
                  </a:cubicBezTo>
                  <a:cubicBezTo>
                    <a:pt x="7830" y="6092"/>
                    <a:pt x="7930" y="6112"/>
                    <a:pt x="8049" y="6112"/>
                  </a:cubicBezTo>
                  <a:cubicBezTo>
                    <a:pt x="8205" y="6112"/>
                    <a:pt x="8395" y="6078"/>
                    <a:pt x="8516" y="6078"/>
                  </a:cubicBezTo>
                  <a:cubicBezTo>
                    <a:pt x="8539" y="6078"/>
                    <a:pt x="8560" y="6079"/>
                    <a:pt x="8577" y="6082"/>
                  </a:cubicBezTo>
                  <a:cubicBezTo>
                    <a:pt x="8788" y="6142"/>
                    <a:pt x="8246" y="6323"/>
                    <a:pt x="8186" y="6383"/>
                  </a:cubicBezTo>
                  <a:cubicBezTo>
                    <a:pt x="8096" y="6473"/>
                    <a:pt x="8728" y="6624"/>
                    <a:pt x="8848" y="6804"/>
                  </a:cubicBezTo>
                  <a:cubicBezTo>
                    <a:pt x="8891" y="6868"/>
                    <a:pt x="8971" y="6898"/>
                    <a:pt x="9057" y="6898"/>
                  </a:cubicBezTo>
                  <a:cubicBezTo>
                    <a:pt x="9214" y="6898"/>
                    <a:pt x="9390" y="6799"/>
                    <a:pt x="9390" y="6624"/>
                  </a:cubicBezTo>
                  <a:cubicBezTo>
                    <a:pt x="9390" y="6353"/>
                    <a:pt x="9751" y="5420"/>
                    <a:pt x="10263" y="5239"/>
                  </a:cubicBezTo>
                  <a:cubicBezTo>
                    <a:pt x="10804" y="5029"/>
                    <a:pt x="10503" y="4848"/>
                    <a:pt x="10594" y="4547"/>
                  </a:cubicBezTo>
                  <a:cubicBezTo>
                    <a:pt x="10654" y="4246"/>
                    <a:pt x="11075" y="4517"/>
                    <a:pt x="10955" y="4246"/>
                  </a:cubicBezTo>
                  <a:cubicBezTo>
                    <a:pt x="10834" y="3975"/>
                    <a:pt x="10895" y="3915"/>
                    <a:pt x="11226" y="3584"/>
                  </a:cubicBezTo>
                  <a:cubicBezTo>
                    <a:pt x="11391" y="3404"/>
                    <a:pt x="11527" y="3381"/>
                    <a:pt x="11669" y="3381"/>
                  </a:cubicBezTo>
                  <a:cubicBezTo>
                    <a:pt x="11717" y="3381"/>
                    <a:pt x="11766" y="3384"/>
                    <a:pt x="11816" y="3384"/>
                  </a:cubicBezTo>
                  <a:cubicBezTo>
                    <a:pt x="11918" y="3384"/>
                    <a:pt x="12028" y="3374"/>
                    <a:pt x="12159" y="3313"/>
                  </a:cubicBezTo>
                  <a:cubicBezTo>
                    <a:pt x="12236" y="3275"/>
                    <a:pt x="12308" y="3259"/>
                    <a:pt x="12369" y="3259"/>
                  </a:cubicBezTo>
                  <a:cubicBezTo>
                    <a:pt x="12592" y="3259"/>
                    <a:pt x="12670" y="3464"/>
                    <a:pt x="12339" y="3464"/>
                  </a:cubicBezTo>
                  <a:cubicBezTo>
                    <a:pt x="11918" y="3464"/>
                    <a:pt x="12128" y="3945"/>
                    <a:pt x="12459" y="4066"/>
                  </a:cubicBezTo>
                  <a:cubicBezTo>
                    <a:pt x="12791" y="4186"/>
                    <a:pt x="12490" y="4276"/>
                    <a:pt x="12730" y="4367"/>
                  </a:cubicBezTo>
                  <a:cubicBezTo>
                    <a:pt x="12941" y="4427"/>
                    <a:pt x="12911" y="4788"/>
                    <a:pt x="12610" y="5119"/>
                  </a:cubicBezTo>
                  <a:cubicBezTo>
                    <a:pt x="12430" y="5317"/>
                    <a:pt x="12487" y="5429"/>
                    <a:pt x="12710" y="5429"/>
                  </a:cubicBezTo>
                  <a:cubicBezTo>
                    <a:pt x="12859" y="5429"/>
                    <a:pt x="13084" y="5378"/>
                    <a:pt x="13362" y="5269"/>
                  </a:cubicBezTo>
                  <a:cubicBezTo>
                    <a:pt x="13501" y="5213"/>
                    <a:pt x="13593" y="5189"/>
                    <a:pt x="13652" y="5189"/>
                  </a:cubicBezTo>
                  <a:cubicBezTo>
                    <a:pt x="13874" y="5189"/>
                    <a:pt x="13641" y="5524"/>
                    <a:pt x="13784" y="5691"/>
                  </a:cubicBezTo>
                  <a:cubicBezTo>
                    <a:pt x="13819" y="5726"/>
                    <a:pt x="13866" y="5742"/>
                    <a:pt x="13922" y="5742"/>
                  </a:cubicBezTo>
                  <a:cubicBezTo>
                    <a:pt x="14155" y="5742"/>
                    <a:pt x="14534" y="5470"/>
                    <a:pt x="14777" y="5179"/>
                  </a:cubicBezTo>
                  <a:cubicBezTo>
                    <a:pt x="15108" y="4848"/>
                    <a:pt x="15499" y="4938"/>
                    <a:pt x="15469" y="4728"/>
                  </a:cubicBezTo>
                  <a:cubicBezTo>
                    <a:pt x="15448" y="4602"/>
                    <a:pt x="15310" y="4549"/>
                    <a:pt x="15136" y="4549"/>
                  </a:cubicBezTo>
                  <a:cubicBezTo>
                    <a:pt x="15061" y="4549"/>
                    <a:pt x="14979" y="4559"/>
                    <a:pt x="14897" y="4577"/>
                  </a:cubicBezTo>
                  <a:cubicBezTo>
                    <a:pt x="14814" y="4608"/>
                    <a:pt x="14684" y="4625"/>
                    <a:pt x="14560" y="4625"/>
                  </a:cubicBezTo>
                  <a:cubicBezTo>
                    <a:pt x="14324" y="4625"/>
                    <a:pt x="14108" y="4565"/>
                    <a:pt x="14265" y="4427"/>
                  </a:cubicBezTo>
                  <a:cubicBezTo>
                    <a:pt x="14485" y="4262"/>
                    <a:pt x="14454" y="4122"/>
                    <a:pt x="14194" y="4122"/>
                  </a:cubicBezTo>
                  <a:cubicBezTo>
                    <a:pt x="14170" y="4122"/>
                    <a:pt x="14143" y="4123"/>
                    <a:pt x="14115" y="4126"/>
                  </a:cubicBezTo>
                  <a:cubicBezTo>
                    <a:pt x="14069" y="4134"/>
                    <a:pt x="14019" y="4138"/>
                    <a:pt x="13968" y="4138"/>
                  </a:cubicBezTo>
                  <a:cubicBezTo>
                    <a:pt x="13650" y="4138"/>
                    <a:pt x="13279" y="3993"/>
                    <a:pt x="13513" y="3915"/>
                  </a:cubicBezTo>
                  <a:cubicBezTo>
                    <a:pt x="13784" y="3825"/>
                    <a:pt x="13332" y="3464"/>
                    <a:pt x="13061" y="3464"/>
                  </a:cubicBezTo>
                  <a:cubicBezTo>
                    <a:pt x="12791" y="3464"/>
                    <a:pt x="12911" y="3193"/>
                    <a:pt x="12911" y="3012"/>
                  </a:cubicBezTo>
                  <a:cubicBezTo>
                    <a:pt x="12911" y="2832"/>
                    <a:pt x="12189" y="2711"/>
                    <a:pt x="12339" y="2681"/>
                  </a:cubicBezTo>
                  <a:cubicBezTo>
                    <a:pt x="12454" y="2658"/>
                    <a:pt x="12217" y="2512"/>
                    <a:pt x="12059" y="2512"/>
                  </a:cubicBezTo>
                  <a:cubicBezTo>
                    <a:pt x="12010" y="2512"/>
                    <a:pt x="11969" y="2526"/>
                    <a:pt x="11948" y="2561"/>
                  </a:cubicBezTo>
                  <a:cubicBezTo>
                    <a:pt x="11899" y="2622"/>
                    <a:pt x="11841" y="2653"/>
                    <a:pt x="11789" y="2653"/>
                  </a:cubicBezTo>
                  <a:cubicBezTo>
                    <a:pt x="11711" y="2653"/>
                    <a:pt x="11647" y="2584"/>
                    <a:pt x="11647" y="2441"/>
                  </a:cubicBezTo>
                  <a:cubicBezTo>
                    <a:pt x="11647" y="2321"/>
                    <a:pt x="11472" y="2289"/>
                    <a:pt x="11282" y="2289"/>
                  </a:cubicBezTo>
                  <a:cubicBezTo>
                    <a:pt x="11138" y="2289"/>
                    <a:pt x="10985" y="2307"/>
                    <a:pt x="10895" y="2320"/>
                  </a:cubicBezTo>
                  <a:cubicBezTo>
                    <a:pt x="10881" y="2324"/>
                    <a:pt x="10869" y="2325"/>
                    <a:pt x="10858" y="2325"/>
                  </a:cubicBezTo>
                  <a:cubicBezTo>
                    <a:pt x="10666" y="2325"/>
                    <a:pt x="10764" y="1859"/>
                    <a:pt x="10594" y="1688"/>
                  </a:cubicBezTo>
                  <a:cubicBezTo>
                    <a:pt x="10562" y="1661"/>
                    <a:pt x="10528" y="1650"/>
                    <a:pt x="10493" y="1650"/>
                  </a:cubicBezTo>
                  <a:cubicBezTo>
                    <a:pt x="10302" y="1650"/>
                    <a:pt x="10075" y="1990"/>
                    <a:pt x="9945" y="1990"/>
                  </a:cubicBezTo>
                  <a:cubicBezTo>
                    <a:pt x="9940" y="1990"/>
                    <a:pt x="9936" y="1990"/>
                    <a:pt x="9932" y="1989"/>
                  </a:cubicBezTo>
                  <a:cubicBezTo>
                    <a:pt x="9781" y="1959"/>
                    <a:pt x="10052" y="1628"/>
                    <a:pt x="10142" y="1417"/>
                  </a:cubicBezTo>
                  <a:cubicBezTo>
                    <a:pt x="10189" y="1276"/>
                    <a:pt x="9720" y="1061"/>
                    <a:pt x="9456" y="1061"/>
                  </a:cubicBezTo>
                  <a:cubicBezTo>
                    <a:pt x="9383" y="1061"/>
                    <a:pt x="9326" y="1077"/>
                    <a:pt x="9300" y="1116"/>
                  </a:cubicBezTo>
                  <a:cubicBezTo>
                    <a:pt x="9279" y="1152"/>
                    <a:pt x="9259" y="1167"/>
                    <a:pt x="9240" y="1167"/>
                  </a:cubicBezTo>
                  <a:cubicBezTo>
                    <a:pt x="9145" y="1167"/>
                    <a:pt x="9053" y="810"/>
                    <a:pt x="8878" y="785"/>
                  </a:cubicBezTo>
                  <a:cubicBezTo>
                    <a:pt x="8871" y="784"/>
                    <a:pt x="8864" y="784"/>
                    <a:pt x="8858" y="784"/>
                  </a:cubicBezTo>
                  <a:close/>
                  <a:moveTo>
                    <a:pt x="16251" y="15307"/>
                  </a:moveTo>
                  <a:cubicBezTo>
                    <a:pt x="16027" y="15307"/>
                    <a:pt x="15974" y="15599"/>
                    <a:pt x="15920" y="15652"/>
                  </a:cubicBezTo>
                  <a:cubicBezTo>
                    <a:pt x="15906" y="15667"/>
                    <a:pt x="15881" y="15673"/>
                    <a:pt x="15849" y="15673"/>
                  </a:cubicBezTo>
                  <a:cubicBezTo>
                    <a:pt x="15718" y="15673"/>
                    <a:pt x="15473" y="15571"/>
                    <a:pt x="15383" y="15571"/>
                  </a:cubicBezTo>
                  <a:cubicBezTo>
                    <a:pt x="15361" y="15571"/>
                    <a:pt x="15349" y="15577"/>
                    <a:pt x="15349" y="15592"/>
                  </a:cubicBezTo>
                  <a:cubicBezTo>
                    <a:pt x="15349" y="15652"/>
                    <a:pt x="15078" y="15742"/>
                    <a:pt x="15198" y="15893"/>
                  </a:cubicBezTo>
                  <a:cubicBezTo>
                    <a:pt x="15281" y="15976"/>
                    <a:pt x="15235" y="16103"/>
                    <a:pt x="15148" y="16103"/>
                  </a:cubicBezTo>
                  <a:cubicBezTo>
                    <a:pt x="15110" y="16103"/>
                    <a:pt x="15064" y="16078"/>
                    <a:pt x="15018" y="16013"/>
                  </a:cubicBezTo>
                  <a:cubicBezTo>
                    <a:pt x="14968" y="15954"/>
                    <a:pt x="14910" y="15927"/>
                    <a:pt x="14847" y="15927"/>
                  </a:cubicBezTo>
                  <a:cubicBezTo>
                    <a:pt x="14719" y="15927"/>
                    <a:pt x="14577" y="16042"/>
                    <a:pt x="14476" y="16224"/>
                  </a:cubicBezTo>
                  <a:cubicBezTo>
                    <a:pt x="14355" y="16495"/>
                    <a:pt x="14145" y="16405"/>
                    <a:pt x="14295" y="16525"/>
                  </a:cubicBezTo>
                  <a:cubicBezTo>
                    <a:pt x="14446" y="16615"/>
                    <a:pt x="14416" y="16886"/>
                    <a:pt x="14235" y="16976"/>
                  </a:cubicBezTo>
                  <a:cubicBezTo>
                    <a:pt x="14225" y="16979"/>
                    <a:pt x="14216" y="16980"/>
                    <a:pt x="14208" y="16980"/>
                  </a:cubicBezTo>
                  <a:cubicBezTo>
                    <a:pt x="14034" y="16980"/>
                    <a:pt x="14076" y="16434"/>
                    <a:pt x="13944" y="16434"/>
                  </a:cubicBezTo>
                  <a:cubicBezTo>
                    <a:pt x="13941" y="16434"/>
                    <a:pt x="13938" y="16434"/>
                    <a:pt x="13934" y="16435"/>
                  </a:cubicBezTo>
                  <a:cubicBezTo>
                    <a:pt x="13923" y="16439"/>
                    <a:pt x="13912" y="16441"/>
                    <a:pt x="13903" y="16441"/>
                  </a:cubicBezTo>
                  <a:cubicBezTo>
                    <a:pt x="13794" y="16441"/>
                    <a:pt x="13862" y="16134"/>
                    <a:pt x="14085" y="16134"/>
                  </a:cubicBezTo>
                  <a:cubicBezTo>
                    <a:pt x="14295" y="16134"/>
                    <a:pt x="14536" y="15803"/>
                    <a:pt x="14476" y="15742"/>
                  </a:cubicBezTo>
                  <a:cubicBezTo>
                    <a:pt x="14462" y="15700"/>
                    <a:pt x="14407" y="15671"/>
                    <a:pt x="14354" y="15671"/>
                  </a:cubicBezTo>
                  <a:cubicBezTo>
                    <a:pt x="14294" y="15671"/>
                    <a:pt x="14235" y="15707"/>
                    <a:pt x="14235" y="15803"/>
                  </a:cubicBezTo>
                  <a:cubicBezTo>
                    <a:pt x="14235" y="15915"/>
                    <a:pt x="14107" y="15946"/>
                    <a:pt x="13938" y="15946"/>
                  </a:cubicBezTo>
                  <a:cubicBezTo>
                    <a:pt x="13835" y="15946"/>
                    <a:pt x="13717" y="15934"/>
                    <a:pt x="13603" y="15923"/>
                  </a:cubicBezTo>
                  <a:cubicBezTo>
                    <a:pt x="13590" y="15922"/>
                    <a:pt x="13577" y="15921"/>
                    <a:pt x="13565" y="15921"/>
                  </a:cubicBezTo>
                  <a:cubicBezTo>
                    <a:pt x="13273" y="15921"/>
                    <a:pt x="13286" y="16261"/>
                    <a:pt x="13633" y="16435"/>
                  </a:cubicBezTo>
                  <a:cubicBezTo>
                    <a:pt x="13874" y="16588"/>
                    <a:pt x="13749" y="16693"/>
                    <a:pt x="13582" y="16693"/>
                  </a:cubicBezTo>
                  <a:cubicBezTo>
                    <a:pt x="13519" y="16693"/>
                    <a:pt x="13450" y="16678"/>
                    <a:pt x="13392" y="16645"/>
                  </a:cubicBezTo>
                  <a:cubicBezTo>
                    <a:pt x="13313" y="16579"/>
                    <a:pt x="13222" y="16554"/>
                    <a:pt x="13129" y="16554"/>
                  </a:cubicBezTo>
                  <a:cubicBezTo>
                    <a:pt x="13012" y="16554"/>
                    <a:pt x="12892" y="16595"/>
                    <a:pt x="12791" y="16645"/>
                  </a:cubicBezTo>
                  <a:cubicBezTo>
                    <a:pt x="12610" y="16705"/>
                    <a:pt x="13242" y="16916"/>
                    <a:pt x="13242" y="17037"/>
                  </a:cubicBezTo>
                  <a:cubicBezTo>
                    <a:pt x="13242" y="17059"/>
                    <a:pt x="13231" y="17068"/>
                    <a:pt x="13214" y="17068"/>
                  </a:cubicBezTo>
                  <a:cubicBezTo>
                    <a:pt x="13151" y="17068"/>
                    <a:pt x="13001" y="16958"/>
                    <a:pt x="12921" y="16958"/>
                  </a:cubicBezTo>
                  <a:cubicBezTo>
                    <a:pt x="12904" y="16958"/>
                    <a:pt x="12890" y="16963"/>
                    <a:pt x="12881" y="16976"/>
                  </a:cubicBezTo>
                  <a:cubicBezTo>
                    <a:pt x="12865" y="16987"/>
                    <a:pt x="12842" y="16992"/>
                    <a:pt x="12816" y="16992"/>
                  </a:cubicBezTo>
                  <a:cubicBezTo>
                    <a:pt x="12692" y="16992"/>
                    <a:pt x="12484" y="16884"/>
                    <a:pt x="12459" y="16736"/>
                  </a:cubicBezTo>
                  <a:cubicBezTo>
                    <a:pt x="12452" y="16692"/>
                    <a:pt x="12414" y="16674"/>
                    <a:pt x="12366" y="16674"/>
                  </a:cubicBezTo>
                  <a:cubicBezTo>
                    <a:pt x="12216" y="16674"/>
                    <a:pt x="11961" y="16840"/>
                    <a:pt x="12189" y="16886"/>
                  </a:cubicBezTo>
                  <a:cubicBezTo>
                    <a:pt x="12490" y="16976"/>
                    <a:pt x="12369" y="17127"/>
                    <a:pt x="12369" y="17368"/>
                  </a:cubicBezTo>
                  <a:cubicBezTo>
                    <a:pt x="12369" y="17464"/>
                    <a:pt x="12328" y="17503"/>
                    <a:pt x="12278" y="17503"/>
                  </a:cubicBezTo>
                  <a:cubicBezTo>
                    <a:pt x="12187" y="17503"/>
                    <a:pt x="12070" y="17372"/>
                    <a:pt x="12128" y="17217"/>
                  </a:cubicBezTo>
                  <a:cubicBezTo>
                    <a:pt x="12159" y="17112"/>
                    <a:pt x="12098" y="17067"/>
                    <a:pt x="12004" y="17067"/>
                  </a:cubicBezTo>
                  <a:cubicBezTo>
                    <a:pt x="11910" y="17067"/>
                    <a:pt x="11782" y="17112"/>
                    <a:pt x="11677" y="17187"/>
                  </a:cubicBezTo>
                  <a:cubicBezTo>
                    <a:pt x="11642" y="17209"/>
                    <a:pt x="11617" y="17219"/>
                    <a:pt x="11601" y="17219"/>
                  </a:cubicBezTo>
                  <a:cubicBezTo>
                    <a:pt x="11508" y="17219"/>
                    <a:pt x="11694" y="16890"/>
                    <a:pt x="11617" y="16736"/>
                  </a:cubicBezTo>
                  <a:cubicBezTo>
                    <a:pt x="11597" y="16677"/>
                    <a:pt x="11556" y="16656"/>
                    <a:pt x="11501" y="16656"/>
                  </a:cubicBezTo>
                  <a:cubicBezTo>
                    <a:pt x="11387" y="16656"/>
                    <a:pt x="11217" y="16745"/>
                    <a:pt x="11075" y="16766"/>
                  </a:cubicBezTo>
                  <a:cubicBezTo>
                    <a:pt x="10834" y="16826"/>
                    <a:pt x="10684" y="16856"/>
                    <a:pt x="10834" y="17006"/>
                  </a:cubicBezTo>
                  <a:cubicBezTo>
                    <a:pt x="10970" y="17142"/>
                    <a:pt x="10959" y="17376"/>
                    <a:pt x="10823" y="17376"/>
                  </a:cubicBezTo>
                  <a:cubicBezTo>
                    <a:pt x="10808" y="17376"/>
                    <a:pt x="10792" y="17373"/>
                    <a:pt x="10774" y="17368"/>
                  </a:cubicBezTo>
                  <a:cubicBezTo>
                    <a:pt x="10731" y="17361"/>
                    <a:pt x="10693" y="17358"/>
                    <a:pt x="10662" y="17358"/>
                  </a:cubicBezTo>
                  <a:cubicBezTo>
                    <a:pt x="10541" y="17358"/>
                    <a:pt x="10503" y="17411"/>
                    <a:pt x="10503" y="17578"/>
                  </a:cubicBezTo>
                  <a:cubicBezTo>
                    <a:pt x="10503" y="17673"/>
                    <a:pt x="10429" y="17718"/>
                    <a:pt x="10359" y="17718"/>
                  </a:cubicBezTo>
                  <a:cubicBezTo>
                    <a:pt x="10294" y="17718"/>
                    <a:pt x="10232" y="17680"/>
                    <a:pt x="10232" y="17608"/>
                  </a:cubicBezTo>
                  <a:cubicBezTo>
                    <a:pt x="10232" y="17536"/>
                    <a:pt x="10136" y="17499"/>
                    <a:pt x="10026" y="17499"/>
                  </a:cubicBezTo>
                  <a:cubicBezTo>
                    <a:pt x="9906" y="17499"/>
                    <a:pt x="9768" y="17544"/>
                    <a:pt x="9721" y="17638"/>
                  </a:cubicBezTo>
                  <a:cubicBezTo>
                    <a:pt x="9600" y="17819"/>
                    <a:pt x="9269" y="17969"/>
                    <a:pt x="9300" y="18210"/>
                  </a:cubicBezTo>
                  <a:cubicBezTo>
                    <a:pt x="9307" y="18272"/>
                    <a:pt x="9329" y="18294"/>
                    <a:pt x="9361" y="18294"/>
                  </a:cubicBezTo>
                  <a:cubicBezTo>
                    <a:pt x="9438" y="18294"/>
                    <a:pt x="9573" y="18165"/>
                    <a:pt x="9707" y="18165"/>
                  </a:cubicBezTo>
                  <a:cubicBezTo>
                    <a:pt x="9732" y="18165"/>
                    <a:pt x="9757" y="18170"/>
                    <a:pt x="9781" y="18180"/>
                  </a:cubicBezTo>
                  <a:cubicBezTo>
                    <a:pt x="10022" y="18240"/>
                    <a:pt x="9781" y="18361"/>
                    <a:pt x="9901" y="18451"/>
                  </a:cubicBezTo>
                  <a:cubicBezTo>
                    <a:pt x="9998" y="18499"/>
                    <a:pt x="9978" y="18703"/>
                    <a:pt x="9904" y="18703"/>
                  </a:cubicBezTo>
                  <a:cubicBezTo>
                    <a:pt x="9886" y="18703"/>
                    <a:pt x="9865" y="18691"/>
                    <a:pt x="9841" y="18662"/>
                  </a:cubicBezTo>
                  <a:cubicBezTo>
                    <a:pt x="9766" y="18586"/>
                    <a:pt x="9668" y="18541"/>
                    <a:pt x="9585" y="18541"/>
                  </a:cubicBezTo>
                  <a:cubicBezTo>
                    <a:pt x="9503" y="18541"/>
                    <a:pt x="9435" y="18586"/>
                    <a:pt x="9420" y="18692"/>
                  </a:cubicBezTo>
                  <a:cubicBezTo>
                    <a:pt x="9403" y="18760"/>
                    <a:pt x="9376" y="18788"/>
                    <a:pt x="9344" y="18788"/>
                  </a:cubicBezTo>
                  <a:cubicBezTo>
                    <a:pt x="9264" y="18788"/>
                    <a:pt x="9153" y="18619"/>
                    <a:pt x="9089" y="18511"/>
                  </a:cubicBezTo>
                  <a:cubicBezTo>
                    <a:pt x="9071" y="18489"/>
                    <a:pt x="9052" y="18480"/>
                    <a:pt x="9031" y="18480"/>
                  </a:cubicBezTo>
                  <a:cubicBezTo>
                    <a:pt x="8926" y="18480"/>
                    <a:pt x="8787" y="18712"/>
                    <a:pt x="8684" y="18712"/>
                  </a:cubicBezTo>
                  <a:cubicBezTo>
                    <a:pt x="8668" y="18712"/>
                    <a:pt x="8652" y="18706"/>
                    <a:pt x="8637" y="18692"/>
                  </a:cubicBezTo>
                  <a:cubicBezTo>
                    <a:pt x="8487" y="18571"/>
                    <a:pt x="8938" y="18210"/>
                    <a:pt x="8818" y="18060"/>
                  </a:cubicBezTo>
                  <a:cubicBezTo>
                    <a:pt x="8794" y="18030"/>
                    <a:pt x="8772" y="18016"/>
                    <a:pt x="8751" y="18016"/>
                  </a:cubicBezTo>
                  <a:cubicBezTo>
                    <a:pt x="8665" y="18016"/>
                    <a:pt x="8583" y="18228"/>
                    <a:pt x="8367" y="18421"/>
                  </a:cubicBezTo>
                  <a:cubicBezTo>
                    <a:pt x="8096" y="18692"/>
                    <a:pt x="7735" y="18692"/>
                    <a:pt x="7825" y="18812"/>
                  </a:cubicBezTo>
                  <a:cubicBezTo>
                    <a:pt x="7945" y="18932"/>
                    <a:pt x="7584" y="18993"/>
                    <a:pt x="7494" y="19233"/>
                  </a:cubicBezTo>
                  <a:cubicBezTo>
                    <a:pt x="7434" y="19444"/>
                    <a:pt x="6892" y="19534"/>
                    <a:pt x="6561" y="19775"/>
                  </a:cubicBezTo>
                  <a:cubicBezTo>
                    <a:pt x="6400" y="19907"/>
                    <a:pt x="6403" y="19967"/>
                    <a:pt x="6475" y="19967"/>
                  </a:cubicBezTo>
                  <a:cubicBezTo>
                    <a:pt x="6552" y="19967"/>
                    <a:pt x="6708" y="19899"/>
                    <a:pt x="6832" y="19775"/>
                  </a:cubicBezTo>
                  <a:cubicBezTo>
                    <a:pt x="7042" y="19564"/>
                    <a:pt x="7073" y="19715"/>
                    <a:pt x="7373" y="19474"/>
                  </a:cubicBezTo>
                  <a:cubicBezTo>
                    <a:pt x="7605" y="19312"/>
                    <a:pt x="7891" y="19203"/>
                    <a:pt x="8065" y="19203"/>
                  </a:cubicBezTo>
                  <a:cubicBezTo>
                    <a:pt x="8117" y="19203"/>
                    <a:pt x="8158" y="19213"/>
                    <a:pt x="8186" y="19233"/>
                  </a:cubicBezTo>
                  <a:cubicBezTo>
                    <a:pt x="8234" y="19282"/>
                    <a:pt x="8297" y="19306"/>
                    <a:pt x="8362" y="19306"/>
                  </a:cubicBezTo>
                  <a:cubicBezTo>
                    <a:pt x="8460" y="19306"/>
                    <a:pt x="8565" y="19251"/>
                    <a:pt x="8637" y="19143"/>
                  </a:cubicBezTo>
                  <a:cubicBezTo>
                    <a:pt x="8709" y="19043"/>
                    <a:pt x="8788" y="19004"/>
                    <a:pt x="8867" y="19004"/>
                  </a:cubicBezTo>
                  <a:cubicBezTo>
                    <a:pt x="8954" y="19004"/>
                    <a:pt x="9040" y="19050"/>
                    <a:pt x="9119" y="19113"/>
                  </a:cubicBezTo>
                  <a:cubicBezTo>
                    <a:pt x="9269" y="19233"/>
                    <a:pt x="8848" y="19324"/>
                    <a:pt x="9029" y="19534"/>
                  </a:cubicBezTo>
                  <a:cubicBezTo>
                    <a:pt x="9173" y="19658"/>
                    <a:pt x="9036" y="19753"/>
                    <a:pt x="8934" y="19753"/>
                  </a:cubicBezTo>
                  <a:cubicBezTo>
                    <a:pt x="8887" y="19753"/>
                    <a:pt x="8848" y="19733"/>
                    <a:pt x="8848" y="19685"/>
                  </a:cubicBezTo>
                  <a:cubicBezTo>
                    <a:pt x="8848" y="19578"/>
                    <a:pt x="8713" y="19472"/>
                    <a:pt x="8612" y="19472"/>
                  </a:cubicBezTo>
                  <a:cubicBezTo>
                    <a:pt x="8570" y="19472"/>
                    <a:pt x="8535" y="19490"/>
                    <a:pt x="8517" y="19534"/>
                  </a:cubicBezTo>
                  <a:cubicBezTo>
                    <a:pt x="8457" y="19685"/>
                    <a:pt x="8306" y="19805"/>
                    <a:pt x="8126" y="19835"/>
                  </a:cubicBezTo>
                  <a:cubicBezTo>
                    <a:pt x="7975" y="19865"/>
                    <a:pt x="7825" y="20136"/>
                    <a:pt x="7825" y="20437"/>
                  </a:cubicBezTo>
                  <a:cubicBezTo>
                    <a:pt x="7825" y="20555"/>
                    <a:pt x="7788" y="20581"/>
                    <a:pt x="7739" y="20581"/>
                  </a:cubicBezTo>
                  <a:cubicBezTo>
                    <a:pt x="7702" y="20581"/>
                    <a:pt x="7659" y="20566"/>
                    <a:pt x="7620" y="20566"/>
                  </a:cubicBezTo>
                  <a:cubicBezTo>
                    <a:pt x="7579" y="20566"/>
                    <a:pt x="7543" y="20582"/>
                    <a:pt x="7524" y="20648"/>
                  </a:cubicBezTo>
                  <a:cubicBezTo>
                    <a:pt x="7494" y="20889"/>
                    <a:pt x="7133" y="21340"/>
                    <a:pt x="6832" y="21671"/>
                  </a:cubicBezTo>
                  <a:cubicBezTo>
                    <a:pt x="6531" y="22002"/>
                    <a:pt x="6772" y="22032"/>
                    <a:pt x="6681" y="22243"/>
                  </a:cubicBezTo>
                  <a:cubicBezTo>
                    <a:pt x="6632" y="22317"/>
                    <a:pt x="6537" y="22335"/>
                    <a:pt x="6435" y="22335"/>
                  </a:cubicBezTo>
                  <a:cubicBezTo>
                    <a:pt x="6337" y="22335"/>
                    <a:pt x="6232" y="22318"/>
                    <a:pt x="6159" y="22318"/>
                  </a:cubicBezTo>
                  <a:cubicBezTo>
                    <a:pt x="6124" y="22318"/>
                    <a:pt x="6096" y="22322"/>
                    <a:pt x="6079" y="22333"/>
                  </a:cubicBezTo>
                  <a:cubicBezTo>
                    <a:pt x="5959" y="22423"/>
                    <a:pt x="6140" y="22905"/>
                    <a:pt x="5959" y="23055"/>
                  </a:cubicBezTo>
                  <a:cubicBezTo>
                    <a:pt x="5778" y="23206"/>
                    <a:pt x="5959" y="23447"/>
                    <a:pt x="5959" y="23627"/>
                  </a:cubicBezTo>
                  <a:cubicBezTo>
                    <a:pt x="5959" y="23672"/>
                    <a:pt x="5932" y="23687"/>
                    <a:pt x="5890" y="23687"/>
                  </a:cubicBezTo>
                  <a:cubicBezTo>
                    <a:pt x="5798" y="23687"/>
                    <a:pt x="5638" y="23614"/>
                    <a:pt x="5546" y="23614"/>
                  </a:cubicBezTo>
                  <a:cubicBezTo>
                    <a:pt x="5510" y="23614"/>
                    <a:pt x="5484" y="23625"/>
                    <a:pt x="5477" y="23657"/>
                  </a:cubicBezTo>
                  <a:cubicBezTo>
                    <a:pt x="5417" y="23808"/>
                    <a:pt x="5026" y="23808"/>
                    <a:pt x="4906" y="23838"/>
                  </a:cubicBezTo>
                  <a:cubicBezTo>
                    <a:pt x="4785" y="23898"/>
                    <a:pt x="5177" y="24199"/>
                    <a:pt x="5357" y="24349"/>
                  </a:cubicBezTo>
                  <a:cubicBezTo>
                    <a:pt x="5474" y="24447"/>
                    <a:pt x="5365" y="24544"/>
                    <a:pt x="5256" y="24544"/>
                  </a:cubicBezTo>
                  <a:cubicBezTo>
                    <a:pt x="5197" y="24544"/>
                    <a:pt x="5138" y="24514"/>
                    <a:pt x="5116" y="24440"/>
                  </a:cubicBezTo>
                  <a:cubicBezTo>
                    <a:pt x="5110" y="24400"/>
                    <a:pt x="5090" y="24384"/>
                    <a:pt x="5060" y="24384"/>
                  </a:cubicBezTo>
                  <a:cubicBezTo>
                    <a:pt x="4952" y="24384"/>
                    <a:pt x="4706" y="24593"/>
                    <a:pt x="4424" y="24711"/>
                  </a:cubicBezTo>
                  <a:cubicBezTo>
                    <a:pt x="4033" y="24861"/>
                    <a:pt x="4183" y="25252"/>
                    <a:pt x="3913" y="25252"/>
                  </a:cubicBezTo>
                  <a:cubicBezTo>
                    <a:pt x="3672" y="25252"/>
                    <a:pt x="3732" y="25704"/>
                    <a:pt x="3551" y="25854"/>
                  </a:cubicBezTo>
                  <a:cubicBezTo>
                    <a:pt x="3528" y="25874"/>
                    <a:pt x="3509" y="25882"/>
                    <a:pt x="3491" y="25882"/>
                  </a:cubicBezTo>
                  <a:cubicBezTo>
                    <a:pt x="3373" y="25882"/>
                    <a:pt x="3362" y="25493"/>
                    <a:pt x="3100" y="25493"/>
                  </a:cubicBezTo>
                  <a:cubicBezTo>
                    <a:pt x="2799" y="25493"/>
                    <a:pt x="2829" y="25704"/>
                    <a:pt x="3010" y="25914"/>
                  </a:cubicBezTo>
                  <a:cubicBezTo>
                    <a:pt x="3220" y="26155"/>
                    <a:pt x="2709" y="26005"/>
                    <a:pt x="2558" y="26215"/>
                  </a:cubicBezTo>
                  <a:cubicBezTo>
                    <a:pt x="2408" y="26456"/>
                    <a:pt x="1926" y="26306"/>
                    <a:pt x="1806" y="26486"/>
                  </a:cubicBezTo>
                  <a:cubicBezTo>
                    <a:pt x="1716" y="26667"/>
                    <a:pt x="2167" y="26667"/>
                    <a:pt x="2227" y="26817"/>
                  </a:cubicBezTo>
                  <a:cubicBezTo>
                    <a:pt x="2260" y="26873"/>
                    <a:pt x="2212" y="26891"/>
                    <a:pt x="2126" y="26891"/>
                  </a:cubicBezTo>
                  <a:cubicBezTo>
                    <a:pt x="1978" y="26891"/>
                    <a:pt x="1717" y="26836"/>
                    <a:pt x="1565" y="26817"/>
                  </a:cubicBezTo>
                  <a:cubicBezTo>
                    <a:pt x="1554" y="26816"/>
                    <a:pt x="1544" y="26815"/>
                    <a:pt x="1534" y="26815"/>
                  </a:cubicBezTo>
                  <a:cubicBezTo>
                    <a:pt x="1318" y="26815"/>
                    <a:pt x="1340" y="27095"/>
                    <a:pt x="1188" y="27095"/>
                  </a:cubicBezTo>
                  <a:cubicBezTo>
                    <a:pt x="1175" y="27095"/>
                    <a:pt x="1160" y="27093"/>
                    <a:pt x="1144" y="27088"/>
                  </a:cubicBezTo>
                  <a:cubicBezTo>
                    <a:pt x="1113" y="27077"/>
                    <a:pt x="1082" y="27072"/>
                    <a:pt x="1051" y="27072"/>
                  </a:cubicBezTo>
                  <a:cubicBezTo>
                    <a:pt x="834" y="27072"/>
                    <a:pt x="621" y="27318"/>
                    <a:pt x="753" y="27449"/>
                  </a:cubicBezTo>
                  <a:cubicBezTo>
                    <a:pt x="848" y="27544"/>
                    <a:pt x="786" y="27604"/>
                    <a:pt x="675" y="27604"/>
                  </a:cubicBezTo>
                  <a:cubicBezTo>
                    <a:pt x="610" y="27604"/>
                    <a:pt x="529" y="27584"/>
                    <a:pt x="452" y="27540"/>
                  </a:cubicBezTo>
                  <a:cubicBezTo>
                    <a:pt x="421" y="27519"/>
                    <a:pt x="391" y="27510"/>
                    <a:pt x="364" y="27510"/>
                  </a:cubicBezTo>
                  <a:cubicBezTo>
                    <a:pt x="232" y="27510"/>
                    <a:pt x="146" y="27721"/>
                    <a:pt x="121" y="27871"/>
                  </a:cubicBezTo>
                  <a:cubicBezTo>
                    <a:pt x="91" y="28051"/>
                    <a:pt x="422" y="28202"/>
                    <a:pt x="422" y="28292"/>
                  </a:cubicBezTo>
                  <a:cubicBezTo>
                    <a:pt x="422" y="28352"/>
                    <a:pt x="121" y="28563"/>
                    <a:pt x="301" y="28593"/>
                  </a:cubicBezTo>
                  <a:cubicBezTo>
                    <a:pt x="512" y="28623"/>
                    <a:pt x="391" y="28804"/>
                    <a:pt x="241" y="28894"/>
                  </a:cubicBezTo>
                  <a:cubicBezTo>
                    <a:pt x="91" y="28954"/>
                    <a:pt x="91" y="29074"/>
                    <a:pt x="241" y="29255"/>
                  </a:cubicBezTo>
                  <a:cubicBezTo>
                    <a:pt x="391" y="29466"/>
                    <a:pt x="0" y="29466"/>
                    <a:pt x="211" y="29706"/>
                  </a:cubicBezTo>
                  <a:cubicBezTo>
                    <a:pt x="270" y="29795"/>
                    <a:pt x="322" y="29819"/>
                    <a:pt x="368" y="29819"/>
                  </a:cubicBezTo>
                  <a:cubicBezTo>
                    <a:pt x="425" y="29819"/>
                    <a:pt x="472" y="29782"/>
                    <a:pt x="509" y="29782"/>
                  </a:cubicBezTo>
                  <a:cubicBezTo>
                    <a:pt x="535" y="29782"/>
                    <a:pt x="556" y="29799"/>
                    <a:pt x="572" y="29857"/>
                  </a:cubicBezTo>
                  <a:cubicBezTo>
                    <a:pt x="599" y="29928"/>
                    <a:pt x="639" y="29957"/>
                    <a:pt x="688" y="29957"/>
                  </a:cubicBezTo>
                  <a:cubicBezTo>
                    <a:pt x="805" y="29957"/>
                    <a:pt x="975" y="29794"/>
                    <a:pt x="1144" y="29646"/>
                  </a:cubicBezTo>
                  <a:cubicBezTo>
                    <a:pt x="1184" y="29600"/>
                    <a:pt x="1222" y="29582"/>
                    <a:pt x="1256" y="29582"/>
                  </a:cubicBezTo>
                  <a:cubicBezTo>
                    <a:pt x="1399" y="29582"/>
                    <a:pt x="1465" y="29917"/>
                    <a:pt x="1294" y="29917"/>
                  </a:cubicBezTo>
                  <a:cubicBezTo>
                    <a:pt x="1054" y="29917"/>
                    <a:pt x="843" y="30007"/>
                    <a:pt x="873" y="30218"/>
                  </a:cubicBezTo>
                  <a:cubicBezTo>
                    <a:pt x="887" y="30299"/>
                    <a:pt x="827" y="30344"/>
                    <a:pt x="758" y="30344"/>
                  </a:cubicBezTo>
                  <a:cubicBezTo>
                    <a:pt x="672" y="30344"/>
                    <a:pt x="572" y="30277"/>
                    <a:pt x="572" y="30128"/>
                  </a:cubicBezTo>
                  <a:cubicBezTo>
                    <a:pt x="572" y="30051"/>
                    <a:pt x="536" y="30020"/>
                    <a:pt x="488" y="30020"/>
                  </a:cubicBezTo>
                  <a:cubicBezTo>
                    <a:pt x="367" y="30020"/>
                    <a:pt x="172" y="30217"/>
                    <a:pt x="301" y="30368"/>
                  </a:cubicBezTo>
                  <a:cubicBezTo>
                    <a:pt x="512" y="30549"/>
                    <a:pt x="241" y="30669"/>
                    <a:pt x="241" y="30850"/>
                  </a:cubicBezTo>
                  <a:cubicBezTo>
                    <a:pt x="241" y="30927"/>
                    <a:pt x="302" y="30966"/>
                    <a:pt x="381" y="30966"/>
                  </a:cubicBezTo>
                  <a:cubicBezTo>
                    <a:pt x="486" y="30966"/>
                    <a:pt x="624" y="30897"/>
                    <a:pt x="692" y="30760"/>
                  </a:cubicBezTo>
                  <a:cubicBezTo>
                    <a:pt x="743" y="30672"/>
                    <a:pt x="809" y="30631"/>
                    <a:pt x="875" y="30631"/>
                  </a:cubicBezTo>
                  <a:cubicBezTo>
                    <a:pt x="968" y="30631"/>
                    <a:pt x="1061" y="30710"/>
                    <a:pt x="1114" y="30850"/>
                  </a:cubicBezTo>
                  <a:cubicBezTo>
                    <a:pt x="1174" y="31061"/>
                    <a:pt x="903" y="30880"/>
                    <a:pt x="903" y="31151"/>
                  </a:cubicBezTo>
                  <a:cubicBezTo>
                    <a:pt x="903" y="31422"/>
                    <a:pt x="723" y="31181"/>
                    <a:pt x="572" y="31422"/>
                  </a:cubicBezTo>
                  <a:cubicBezTo>
                    <a:pt x="422" y="31632"/>
                    <a:pt x="1174" y="31963"/>
                    <a:pt x="1415" y="32054"/>
                  </a:cubicBezTo>
                  <a:cubicBezTo>
                    <a:pt x="1593" y="32105"/>
                    <a:pt x="1792" y="32284"/>
                    <a:pt x="2140" y="32284"/>
                  </a:cubicBezTo>
                  <a:cubicBezTo>
                    <a:pt x="2204" y="32284"/>
                    <a:pt x="2273" y="32278"/>
                    <a:pt x="2348" y="32264"/>
                  </a:cubicBezTo>
                  <a:cubicBezTo>
                    <a:pt x="2829" y="32204"/>
                    <a:pt x="3702" y="31362"/>
                    <a:pt x="3822" y="31211"/>
                  </a:cubicBezTo>
                  <a:cubicBezTo>
                    <a:pt x="3867" y="31136"/>
                    <a:pt x="3958" y="31136"/>
                    <a:pt x="4059" y="31136"/>
                  </a:cubicBezTo>
                  <a:cubicBezTo>
                    <a:pt x="4161" y="31136"/>
                    <a:pt x="4274" y="31136"/>
                    <a:pt x="4364" y="31061"/>
                  </a:cubicBezTo>
                  <a:cubicBezTo>
                    <a:pt x="4575" y="30910"/>
                    <a:pt x="4454" y="30579"/>
                    <a:pt x="4575" y="30519"/>
                  </a:cubicBezTo>
                  <a:cubicBezTo>
                    <a:pt x="4583" y="30511"/>
                    <a:pt x="4591" y="30507"/>
                    <a:pt x="4599" y="30507"/>
                  </a:cubicBezTo>
                  <a:cubicBezTo>
                    <a:pt x="4681" y="30507"/>
                    <a:pt x="4766" y="30888"/>
                    <a:pt x="4876" y="30970"/>
                  </a:cubicBezTo>
                  <a:cubicBezTo>
                    <a:pt x="4966" y="31031"/>
                    <a:pt x="5056" y="31061"/>
                    <a:pt x="5056" y="31301"/>
                  </a:cubicBezTo>
                  <a:lnTo>
                    <a:pt x="5327" y="31301"/>
                  </a:lnTo>
                  <a:cubicBezTo>
                    <a:pt x="5343" y="31314"/>
                    <a:pt x="5357" y="31320"/>
                    <a:pt x="5370" y="31320"/>
                  </a:cubicBezTo>
                  <a:cubicBezTo>
                    <a:pt x="5483" y="31320"/>
                    <a:pt x="5508" y="30895"/>
                    <a:pt x="5508" y="30760"/>
                  </a:cubicBezTo>
                  <a:cubicBezTo>
                    <a:pt x="5508" y="30609"/>
                    <a:pt x="5658" y="30308"/>
                    <a:pt x="5628" y="30128"/>
                  </a:cubicBezTo>
                  <a:cubicBezTo>
                    <a:pt x="5568" y="29947"/>
                    <a:pt x="6079" y="30098"/>
                    <a:pt x="6140" y="29947"/>
                  </a:cubicBezTo>
                  <a:cubicBezTo>
                    <a:pt x="6230" y="29797"/>
                    <a:pt x="6260" y="29255"/>
                    <a:pt x="6109" y="29195"/>
                  </a:cubicBezTo>
                  <a:cubicBezTo>
                    <a:pt x="5959" y="29104"/>
                    <a:pt x="5929" y="28804"/>
                    <a:pt x="6079" y="28804"/>
                  </a:cubicBezTo>
                  <a:cubicBezTo>
                    <a:pt x="6200" y="28804"/>
                    <a:pt x="6410" y="28713"/>
                    <a:pt x="6380" y="28412"/>
                  </a:cubicBezTo>
                  <a:cubicBezTo>
                    <a:pt x="6320" y="28111"/>
                    <a:pt x="5869" y="28141"/>
                    <a:pt x="5839" y="27840"/>
                  </a:cubicBezTo>
                  <a:cubicBezTo>
                    <a:pt x="5809" y="27540"/>
                    <a:pt x="6079" y="27449"/>
                    <a:pt x="5869" y="27088"/>
                  </a:cubicBezTo>
                  <a:cubicBezTo>
                    <a:pt x="5688" y="26697"/>
                    <a:pt x="5959" y="26486"/>
                    <a:pt x="5869" y="26306"/>
                  </a:cubicBezTo>
                  <a:cubicBezTo>
                    <a:pt x="5748" y="26035"/>
                    <a:pt x="5778" y="25734"/>
                    <a:pt x="5959" y="25493"/>
                  </a:cubicBezTo>
                  <a:cubicBezTo>
                    <a:pt x="6109" y="25222"/>
                    <a:pt x="6410" y="25012"/>
                    <a:pt x="6741" y="24981"/>
                  </a:cubicBezTo>
                  <a:cubicBezTo>
                    <a:pt x="6832" y="25000"/>
                    <a:pt x="6967" y="25062"/>
                    <a:pt x="7086" y="25062"/>
                  </a:cubicBezTo>
                  <a:cubicBezTo>
                    <a:pt x="7164" y="25062"/>
                    <a:pt x="7235" y="25035"/>
                    <a:pt x="7283" y="24951"/>
                  </a:cubicBezTo>
                  <a:cubicBezTo>
                    <a:pt x="7373" y="24711"/>
                    <a:pt x="7373" y="24530"/>
                    <a:pt x="7283" y="24500"/>
                  </a:cubicBezTo>
                  <a:cubicBezTo>
                    <a:pt x="7163" y="24440"/>
                    <a:pt x="6862" y="24380"/>
                    <a:pt x="7073" y="24079"/>
                  </a:cubicBezTo>
                  <a:cubicBezTo>
                    <a:pt x="7343" y="23778"/>
                    <a:pt x="7524" y="23447"/>
                    <a:pt x="7614" y="23055"/>
                  </a:cubicBezTo>
                  <a:cubicBezTo>
                    <a:pt x="7644" y="22724"/>
                    <a:pt x="7524" y="22454"/>
                    <a:pt x="7644" y="22333"/>
                  </a:cubicBezTo>
                  <a:cubicBezTo>
                    <a:pt x="7765" y="22243"/>
                    <a:pt x="8036" y="22333"/>
                    <a:pt x="8246" y="22183"/>
                  </a:cubicBezTo>
                  <a:cubicBezTo>
                    <a:pt x="8487" y="22032"/>
                    <a:pt x="8276" y="21852"/>
                    <a:pt x="8397" y="21731"/>
                  </a:cubicBezTo>
                  <a:cubicBezTo>
                    <a:pt x="8517" y="21641"/>
                    <a:pt x="8668" y="21250"/>
                    <a:pt x="8818" y="21129"/>
                  </a:cubicBezTo>
                  <a:cubicBezTo>
                    <a:pt x="8968" y="21039"/>
                    <a:pt x="9119" y="20889"/>
                    <a:pt x="8999" y="20738"/>
                  </a:cubicBezTo>
                  <a:cubicBezTo>
                    <a:pt x="8878" y="20588"/>
                    <a:pt x="9239" y="20437"/>
                    <a:pt x="9239" y="20166"/>
                  </a:cubicBezTo>
                  <a:cubicBezTo>
                    <a:pt x="9239" y="19895"/>
                    <a:pt x="9600" y="19715"/>
                    <a:pt x="9841" y="19715"/>
                  </a:cubicBezTo>
                  <a:cubicBezTo>
                    <a:pt x="10052" y="19715"/>
                    <a:pt x="10443" y="19715"/>
                    <a:pt x="10443" y="19474"/>
                  </a:cubicBezTo>
                  <a:cubicBezTo>
                    <a:pt x="10443" y="19291"/>
                    <a:pt x="10330" y="18904"/>
                    <a:pt x="10517" y="18904"/>
                  </a:cubicBezTo>
                  <a:cubicBezTo>
                    <a:pt x="10545" y="18904"/>
                    <a:pt x="10580" y="18913"/>
                    <a:pt x="10624" y="18932"/>
                  </a:cubicBezTo>
                  <a:cubicBezTo>
                    <a:pt x="10729" y="18980"/>
                    <a:pt x="10828" y="18992"/>
                    <a:pt x="10921" y="18992"/>
                  </a:cubicBezTo>
                  <a:cubicBezTo>
                    <a:pt x="11005" y="18992"/>
                    <a:pt x="11084" y="18982"/>
                    <a:pt x="11159" y="18982"/>
                  </a:cubicBezTo>
                  <a:cubicBezTo>
                    <a:pt x="11261" y="18982"/>
                    <a:pt x="11353" y="19000"/>
                    <a:pt x="11436" y="19083"/>
                  </a:cubicBezTo>
                  <a:cubicBezTo>
                    <a:pt x="11534" y="19156"/>
                    <a:pt x="11641" y="19195"/>
                    <a:pt x="11734" y="19195"/>
                  </a:cubicBezTo>
                  <a:cubicBezTo>
                    <a:pt x="11871" y="19195"/>
                    <a:pt x="11978" y="19111"/>
                    <a:pt x="11978" y="18932"/>
                  </a:cubicBezTo>
                  <a:cubicBezTo>
                    <a:pt x="11978" y="18681"/>
                    <a:pt x="12062" y="18281"/>
                    <a:pt x="12284" y="18281"/>
                  </a:cubicBezTo>
                  <a:cubicBezTo>
                    <a:pt x="12327" y="18281"/>
                    <a:pt x="12375" y="18296"/>
                    <a:pt x="12429" y="18331"/>
                  </a:cubicBezTo>
                  <a:lnTo>
                    <a:pt x="12490" y="18331"/>
                  </a:lnTo>
                  <a:cubicBezTo>
                    <a:pt x="12580" y="18120"/>
                    <a:pt x="12791" y="17969"/>
                    <a:pt x="13031" y="17939"/>
                  </a:cubicBezTo>
                  <a:cubicBezTo>
                    <a:pt x="13332" y="17969"/>
                    <a:pt x="13513" y="18511"/>
                    <a:pt x="13904" y="18571"/>
                  </a:cubicBezTo>
                  <a:cubicBezTo>
                    <a:pt x="14142" y="18631"/>
                    <a:pt x="14393" y="18716"/>
                    <a:pt x="14562" y="18716"/>
                  </a:cubicBezTo>
                  <a:cubicBezTo>
                    <a:pt x="14650" y="18716"/>
                    <a:pt x="14716" y="18693"/>
                    <a:pt x="14747" y="18632"/>
                  </a:cubicBezTo>
                  <a:cubicBezTo>
                    <a:pt x="14779" y="18575"/>
                    <a:pt x="14821" y="18556"/>
                    <a:pt x="14871" y="18556"/>
                  </a:cubicBezTo>
                  <a:cubicBezTo>
                    <a:pt x="14990" y="18556"/>
                    <a:pt x="15147" y="18670"/>
                    <a:pt x="15288" y="18670"/>
                  </a:cubicBezTo>
                  <a:cubicBezTo>
                    <a:pt x="15308" y="18670"/>
                    <a:pt x="15329" y="18667"/>
                    <a:pt x="15349" y="18662"/>
                  </a:cubicBezTo>
                  <a:cubicBezTo>
                    <a:pt x="15369" y="18654"/>
                    <a:pt x="15387" y="18651"/>
                    <a:pt x="15404" y="18651"/>
                  </a:cubicBezTo>
                  <a:cubicBezTo>
                    <a:pt x="15543" y="18651"/>
                    <a:pt x="15588" y="18878"/>
                    <a:pt x="15682" y="18878"/>
                  </a:cubicBezTo>
                  <a:cubicBezTo>
                    <a:pt x="15714" y="18878"/>
                    <a:pt x="15751" y="18852"/>
                    <a:pt x="15800" y="18782"/>
                  </a:cubicBezTo>
                  <a:cubicBezTo>
                    <a:pt x="16013" y="18516"/>
                    <a:pt x="15826" y="18320"/>
                    <a:pt x="16050" y="18320"/>
                  </a:cubicBezTo>
                  <a:cubicBezTo>
                    <a:pt x="16080" y="18320"/>
                    <a:pt x="16116" y="18324"/>
                    <a:pt x="16161" y="18331"/>
                  </a:cubicBezTo>
                  <a:cubicBezTo>
                    <a:pt x="16173" y="18332"/>
                    <a:pt x="16184" y="18332"/>
                    <a:pt x="16194" y="18332"/>
                  </a:cubicBezTo>
                  <a:cubicBezTo>
                    <a:pt x="16509" y="18332"/>
                    <a:pt x="16312" y="17901"/>
                    <a:pt x="16312" y="17638"/>
                  </a:cubicBezTo>
                  <a:cubicBezTo>
                    <a:pt x="16312" y="17368"/>
                    <a:pt x="16793" y="17337"/>
                    <a:pt x="16793" y="17127"/>
                  </a:cubicBezTo>
                  <a:cubicBezTo>
                    <a:pt x="16793" y="16886"/>
                    <a:pt x="17455" y="17067"/>
                    <a:pt x="17576" y="16916"/>
                  </a:cubicBezTo>
                  <a:cubicBezTo>
                    <a:pt x="17642" y="16833"/>
                    <a:pt x="17784" y="16768"/>
                    <a:pt x="17922" y="16768"/>
                  </a:cubicBezTo>
                  <a:cubicBezTo>
                    <a:pt x="18032" y="16768"/>
                    <a:pt x="18141" y="16809"/>
                    <a:pt x="18208" y="16916"/>
                  </a:cubicBezTo>
                  <a:cubicBezTo>
                    <a:pt x="18358" y="17187"/>
                    <a:pt x="19020" y="17277"/>
                    <a:pt x="19050" y="17488"/>
                  </a:cubicBezTo>
                  <a:lnTo>
                    <a:pt x="19050" y="17939"/>
                  </a:lnTo>
                  <a:cubicBezTo>
                    <a:pt x="19141" y="17849"/>
                    <a:pt x="19261" y="17759"/>
                    <a:pt x="19411" y="17759"/>
                  </a:cubicBezTo>
                  <a:cubicBezTo>
                    <a:pt x="19642" y="17759"/>
                    <a:pt x="19817" y="17456"/>
                    <a:pt x="20042" y="17456"/>
                  </a:cubicBezTo>
                  <a:cubicBezTo>
                    <a:pt x="20053" y="17456"/>
                    <a:pt x="20063" y="17457"/>
                    <a:pt x="20073" y="17458"/>
                  </a:cubicBezTo>
                  <a:cubicBezTo>
                    <a:pt x="20110" y="17476"/>
                    <a:pt x="20148" y="17485"/>
                    <a:pt x="20185" y="17485"/>
                  </a:cubicBezTo>
                  <a:cubicBezTo>
                    <a:pt x="20331" y="17485"/>
                    <a:pt x="20465" y="17355"/>
                    <a:pt x="20465" y="17187"/>
                  </a:cubicBezTo>
                  <a:cubicBezTo>
                    <a:pt x="20395" y="17164"/>
                    <a:pt x="20298" y="17149"/>
                    <a:pt x="20202" y="17149"/>
                  </a:cubicBezTo>
                  <a:cubicBezTo>
                    <a:pt x="20049" y="17149"/>
                    <a:pt x="19900" y="17185"/>
                    <a:pt x="19863" y="17277"/>
                  </a:cubicBezTo>
                  <a:cubicBezTo>
                    <a:pt x="19849" y="17360"/>
                    <a:pt x="19772" y="17399"/>
                    <a:pt x="19695" y="17399"/>
                  </a:cubicBezTo>
                  <a:cubicBezTo>
                    <a:pt x="19605" y="17399"/>
                    <a:pt x="19515" y="17345"/>
                    <a:pt x="19532" y="17247"/>
                  </a:cubicBezTo>
                  <a:cubicBezTo>
                    <a:pt x="19562" y="17037"/>
                    <a:pt x="19050" y="16946"/>
                    <a:pt x="19020" y="16856"/>
                  </a:cubicBezTo>
                  <a:cubicBezTo>
                    <a:pt x="18992" y="16814"/>
                    <a:pt x="19036" y="16792"/>
                    <a:pt x="19108" y="16792"/>
                  </a:cubicBezTo>
                  <a:cubicBezTo>
                    <a:pt x="19192" y="16792"/>
                    <a:pt x="19315" y="16822"/>
                    <a:pt x="19411" y="16886"/>
                  </a:cubicBezTo>
                  <a:cubicBezTo>
                    <a:pt x="19482" y="16926"/>
                    <a:pt x="19538" y="16946"/>
                    <a:pt x="19592" y="16946"/>
                  </a:cubicBezTo>
                  <a:cubicBezTo>
                    <a:pt x="19699" y="16946"/>
                    <a:pt x="19793" y="16866"/>
                    <a:pt x="19953" y="16705"/>
                  </a:cubicBezTo>
                  <a:cubicBezTo>
                    <a:pt x="20058" y="16600"/>
                    <a:pt x="20179" y="16593"/>
                    <a:pt x="20277" y="16593"/>
                  </a:cubicBezTo>
                  <a:cubicBezTo>
                    <a:pt x="20293" y="16593"/>
                    <a:pt x="20309" y="16593"/>
                    <a:pt x="20323" y="16593"/>
                  </a:cubicBezTo>
                  <a:cubicBezTo>
                    <a:pt x="20398" y="16593"/>
                    <a:pt x="20452" y="16588"/>
                    <a:pt x="20465" y="16525"/>
                  </a:cubicBezTo>
                  <a:cubicBezTo>
                    <a:pt x="20525" y="16374"/>
                    <a:pt x="20134" y="16224"/>
                    <a:pt x="20073" y="16104"/>
                  </a:cubicBezTo>
                  <a:cubicBezTo>
                    <a:pt x="19931" y="15985"/>
                    <a:pt x="19771" y="15904"/>
                    <a:pt x="19606" y="15904"/>
                  </a:cubicBezTo>
                  <a:cubicBezTo>
                    <a:pt x="19562" y="15904"/>
                    <a:pt x="19517" y="15910"/>
                    <a:pt x="19472" y="15923"/>
                  </a:cubicBezTo>
                  <a:cubicBezTo>
                    <a:pt x="19443" y="15926"/>
                    <a:pt x="19417" y="15928"/>
                    <a:pt x="19393" y="15928"/>
                  </a:cubicBezTo>
                  <a:cubicBezTo>
                    <a:pt x="19199" y="15928"/>
                    <a:pt x="19185" y="15823"/>
                    <a:pt x="19050" y="15742"/>
                  </a:cubicBezTo>
                  <a:cubicBezTo>
                    <a:pt x="19018" y="15717"/>
                    <a:pt x="18972" y="15705"/>
                    <a:pt x="18918" y="15705"/>
                  </a:cubicBezTo>
                  <a:cubicBezTo>
                    <a:pt x="18718" y="15705"/>
                    <a:pt x="18418" y="15873"/>
                    <a:pt x="18418" y="16134"/>
                  </a:cubicBezTo>
                  <a:cubicBezTo>
                    <a:pt x="18418" y="16309"/>
                    <a:pt x="18354" y="16371"/>
                    <a:pt x="18296" y="16371"/>
                  </a:cubicBezTo>
                  <a:cubicBezTo>
                    <a:pt x="18233" y="16371"/>
                    <a:pt x="18177" y="16301"/>
                    <a:pt x="18208" y="16224"/>
                  </a:cubicBezTo>
                  <a:cubicBezTo>
                    <a:pt x="18298" y="16073"/>
                    <a:pt x="18117" y="15803"/>
                    <a:pt x="18328" y="15773"/>
                  </a:cubicBezTo>
                  <a:cubicBezTo>
                    <a:pt x="18569" y="15742"/>
                    <a:pt x="18448" y="15351"/>
                    <a:pt x="17997" y="15321"/>
                  </a:cubicBezTo>
                  <a:cubicBezTo>
                    <a:pt x="17965" y="15317"/>
                    <a:pt x="17935" y="15315"/>
                    <a:pt x="17906" y="15315"/>
                  </a:cubicBezTo>
                  <a:cubicBezTo>
                    <a:pt x="17526" y="15315"/>
                    <a:pt x="17404" y="15661"/>
                    <a:pt x="17515" y="15773"/>
                  </a:cubicBezTo>
                  <a:cubicBezTo>
                    <a:pt x="17606" y="15893"/>
                    <a:pt x="17214" y="16374"/>
                    <a:pt x="17064" y="16374"/>
                  </a:cubicBezTo>
                  <a:cubicBezTo>
                    <a:pt x="16913" y="16374"/>
                    <a:pt x="17064" y="15953"/>
                    <a:pt x="17064" y="15742"/>
                  </a:cubicBezTo>
                  <a:cubicBezTo>
                    <a:pt x="17064" y="15657"/>
                    <a:pt x="17038" y="15617"/>
                    <a:pt x="16990" y="15617"/>
                  </a:cubicBezTo>
                  <a:cubicBezTo>
                    <a:pt x="16903" y="15617"/>
                    <a:pt x="16747" y="15750"/>
                    <a:pt x="16552" y="15983"/>
                  </a:cubicBezTo>
                  <a:cubicBezTo>
                    <a:pt x="16251" y="16374"/>
                    <a:pt x="15950" y="16705"/>
                    <a:pt x="15770" y="16736"/>
                  </a:cubicBezTo>
                  <a:cubicBezTo>
                    <a:pt x="15757" y="16740"/>
                    <a:pt x="15746" y="16742"/>
                    <a:pt x="15735" y="16742"/>
                  </a:cubicBezTo>
                  <a:cubicBezTo>
                    <a:pt x="15595" y="16742"/>
                    <a:pt x="15641" y="16392"/>
                    <a:pt x="15920" y="16224"/>
                  </a:cubicBezTo>
                  <a:cubicBezTo>
                    <a:pt x="16221" y="16043"/>
                    <a:pt x="16251" y="15622"/>
                    <a:pt x="16432" y="15622"/>
                  </a:cubicBezTo>
                  <a:cubicBezTo>
                    <a:pt x="16643" y="15622"/>
                    <a:pt x="16643" y="15381"/>
                    <a:pt x="16342" y="15321"/>
                  </a:cubicBezTo>
                  <a:cubicBezTo>
                    <a:pt x="16309" y="15311"/>
                    <a:pt x="16278" y="15307"/>
                    <a:pt x="16251" y="15307"/>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07" name="Google Shape;3001;p123">
              <a:extLst>
                <a:ext uri="{FF2B5EF4-FFF2-40B4-BE49-F238E27FC236}">
                  <a16:creationId xmlns:a16="http://schemas.microsoft.com/office/drawing/2014/main" id="{170E6B96-E649-B848-9D2F-0FA9C5FC01B1}"/>
                </a:ext>
              </a:extLst>
            </p:cNvPr>
            <p:cNvSpPr/>
            <p:nvPr/>
          </p:nvSpPr>
          <p:spPr>
            <a:xfrm>
              <a:off x="8876415" y="1445602"/>
              <a:ext cx="83116" cy="24137"/>
            </a:xfrm>
            <a:custGeom>
              <a:avLst/>
              <a:gdLst/>
              <a:ahLst/>
              <a:cxnLst/>
              <a:rect l="l" t="t" r="r" b="b"/>
              <a:pathLst>
                <a:path w="2679" h="778" extrusionOk="0">
                  <a:moveTo>
                    <a:pt x="1284" y="1"/>
                  </a:moveTo>
                  <a:cubicBezTo>
                    <a:pt x="1250" y="1"/>
                    <a:pt x="1223" y="4"/>
                    <a:pt x="1204" y="12"/>
                  </a:cubicBezTo>
                  <a:cubicBezTo>
                    <a:pt x="1053" y="163"/>
                    <a:pt x="0" y="103"/>
                    <a:pt x="241" y="374"/>
                  </a:cubicBezTo>
                  <a:cubicBezTo>
                    <a:pt x="452" y="614"/>
                    <a:pt x="1324" y="434"/>
                    <a:pt x="1716" y="675"/>
                  </a:cubicBezTo>
                  <a:cubicBezTo>
                    <a:pt x="1841" y="748"/>
                    <a:pt x="1995" y="777"/>
                    <a:pt x="2143" y="777"/>
                  </a:cubicBezTo>
                  <a:cubicBezTo>
                    <a:pt x="2422" y="777"/>
                    <a:pt x="2679" y="672"/>
                    <a:pt x="2679" y="554"/>
                  </a:cubicBezTo>
                  <a:cubicBezTo>
                    <a:pt x="2679" y="390"/>
                    <a:pt x="1630" y="1"/>
                    <a:pt x="1284"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08" name="Google Shape;3002;p123">
              <a:extLst>
                <a:ext uri="{FF2B5EF4-FFF2-40B4-BE49-F238E27FC236}">
                  <a16:creationId xmlns:a16="http://schemas.microsoft.com/office/drawing/2014/main" id="{6F201F82-F8C5-0E42-A10D-126CAC69BB08}"/>
                </a:ext>
              </a:extLst>
            </p:cNvPr>
            <p:cNvSpPr/>
            <p:nvPr/>
          </p:nvSpPr>
          <p:spPr>
            <a:xfrm>
              <a:off x="7421714" y="2070663"/>
              <a:ext cx="421133" cy="413718"/>
            </a:xfrm>
            <a:custGeom>
              <a:avLst/>
              <a:gdLst/>
              <a:ahLst/>
              <a:cxnLst/>
              <a:rect l="l" t="t" r="r" b="b"/>
              <a:pathLst>
                <a:path w="13574" h="13335" extrusionOk="0">
                  <a:moveTo>
                    <a:pt x="9950" y="1"/>
                  </a:moveTo>
                  <a:cubicBezTo>
                    <a:pt x="9744" y="1"/>
                    <a:pt x="9599" y="217"/>
                    <a:pt x="9781" y="420"/>
                  </a:cubicBezTo>
                  <a:cubicBezTo>
                    <a:pt x="10022" y="721"/>
                    <a:pt x="9691" y="841"/>
                    <a:pt x="9691" y="1233"/>
                  </a:cubicBezTo>
                  <a:cubicBezTo>
                    <a:pt x="9691" y="1654"/>
                    <a:pt x="9420" y="1654"/>
                    <a:pt x="9450" y="1955"/>
                  </a:cubicBezTo>
                  <a:cubicBezTo>
                    <a:pt x="9510" y="2256"/>
                    <a:pt x="9089" y="2166"/>
                    <a:pt x="8818" y="2226"/>
                  </a:cubicBezTo>
                  <a:cubicBezTo>
                    <a:pt x="8547" y="2256"/>
                    <a:pt x="8818" y="2557"/>
                    <a:pt x="8517" y="2707"/>
                  </a:cubicBezTo>
                  <a:cubicBezTo>
                    <a:pt x="8216" y="2858"/>
                    <a:pt x="8216" y="3098"/>
                    <a:pt x="8367" y="3159"/>
                  </a:cubicBezTo>
                  <a:cubicBezTo>
                    <a:pt x="8517" y="3219"/>
                    <a:pt x="8427" y="3580"/>
                    <a:pt x="8367" y="3761"/>
                  </a:cubicBezTo>
                  <a:cubicBezTo>
                    <a:pt x="8357" y="3822"/>
                    <a:pt x="8381" y="3849"/>
                    <a:pt x="8425" y="3849"/>
                  </a:cubicBezTo>
                  <a:cubicBezTo>
                    <a:pt x="8511" y="3849"/>
                    <a:pt x="8669" y="3749"/>
                    <a:pt x="8788" y="3610"/>
                  </a:cubicBezTo>
                  <a:cubicBezTo>
                    <a:pt x="8838" y="3544"/>
                    <a:pt x="8890" y="3523"/>
                    <a:pt x="8940" y="3523"/>
                  </a:cubicBezTo>
                  <a:cubicBezTo>
                    <a:pt x="9021" y="3523"/>
                    <a:pt x="9097" y="3577"/>
                    <a:pt x="9148" y="3577"/>
                  </a:cubicBezTo>
                  <a:cubicBezTo>
                    <a:pt x="9179" y="3577"/>
                    <a:pt x="9201" y="3556"/>
                    <a:pt x="9209" y="3490"/>
                  </a:cubicBezTo>
                  <a:cubicBezTo>
                    <a:pt x="9240" y="3279"/>
                    <a:pt x="8728" y="3159"/>
                    <a:pt x="8728" y="2918"/>
                  </a:cubicBezTo>
                  <a:cubicBezTo>
                    <a:pt x="8728" y="2859"/>
                    <a:pt x="8756" y="2840"/>
                    <a:pt x="8803" y="2840"/>
                  </a:cubicBezTo>
                  <a:cubicBezTo>
                    <a:pt x="8888" y="2840"/>
                    <a:pt x="9035" y="2902"/>
                    <a:pt x="9190" y="2902"/>
                  </a:cubicBezTo>
                  <a:cubicBezTo>
                    <a:pt x="9257" y="2902"/>
                    <a:pt x="9325" y="2890"/>
                    <a:pt x="9390" y="2858"/>
                  </a:cubicBezTo>
                  <a:cubicBezTo>
                    <a:pt x="9499" y="2827"/>
                    <a:pt x="9612" y="2812"/>
                    <a:pt x="9724" y="2812"/>
                  </a:cubicBezTo>
                  <a:cubicBezTo>
                    <a:pt x="10048" y="2812"/>
                    <a:pt x="10371" y="2935"/>
                    <a:pt x="10594" y="3159"/>
                  </a:cubicBezTo>
                  <a:cubicBezTo>
                    <a:pt x="10723" y="3276"/>
                    <a:pt x="10815" y="3329"/>
                    <a:pt x="10884" y="3329"/>
                  </a:cubicBezTo>
                  <a:cubicBezTo>
                    <a:pt x="10991" y="3329"/>
                    <a:pt x="11039" y="3199"/>
                    <a:pt x="11075" y="2978"/>
                  </a:cubicBezTo>
                  <a:cubicBezTo>
                    <a:pt x="11166" y="2587"/>
                    <a:pt x="11677" y="2406"/>
                    <a:pt x="12249" y="2406"/>
                  </a:cubicBezTo>
                  <a:cubicBezTo>
                    <a:pt x="12821" y="2406"/>
                    <a:pt x="12821" y="2135"/>
                    <a:pt x="12670" y="2015"/>
                  </a:cubicBezTo>
                  <a:cubicBezTo>
                    <a:pt x="12520" y="1925"/>
                    <a:pt x="13573" y="1233"/>
                    <a:pt x="13543" y="1052"/>
                  </a:cubicBezTo>
                  <a:cubicBezTo>
                    <a:pt x="13535" y="1028"/>
                    <a:pt x="13519" y="1018"/>
                    <a:pt x="13497" y="1018"/>
                  </a:cubicBezTo>
                  <a:cubicBezTo>
                    <a:pt x="13375" y="1018"/>
                    <a:pt x="13069" y="1327"/>
                    <a:pt x="12898" y="1327"/>
                  </a:cubicBezTo>
                  <a:cubicBezTo>
                    <a:pt x="12867" y="1327"/>
                    <a:pt x="12841" y="1317"/>
                    <a:pt x="12821" y="1293"/>
                  </a:cubicBezTo>
                  <a:cubicBezTo>
                    <a:pt x="12774" y="1231"/>
                    <a:pt x="12722" y="1207"/>
                    <a:pt x="12663" y="1207"/>
                  </a:cubicBezTo>
                  <a:cubicBezTo>
                    <a:pt x="12493" y="1207"/>
                    <a:pt x="12269" y="1406"/>
                    <a:pt x="11978" y="1473"/>
                  </a:cubicBezTo>
                  <a:cubicBezTo>
                    <a:pt x="11967" y="1475"/>
                    <a:pt x="11955" y="1476"/>
                    <a:pt x="11943" y="1476"/>
                  </a:cubicBezTo>
                  <a:cubicBezTo>
                    <a:pt x="11552" y="1476"/>
                    <a:pt x="10554" y="588"/>
                    <a:pt x="10263" y="179"/>
                  </a:cubicBezTo>
                  <a:cubicBezTo>
                    <a:pt x="10165" y="52"/>
                    <a:pt x="10050" y="1"/>
                    <a:pt x="9950" y="1"/>
                  </a:cubicBezTo>
                  <a:close/>
                  <a:moveTo>
                    <a:pt x="9368" y="4059"/>
                  </a:moveTo>
                  <a:cubicBezTo>
                    <a:pt x="9126" y="4059"/>
                    <a:pt x="8643" y="4394"/>
                    <a:pt x="8487" y="4483"/>
                  </a:cubicBezTo>
                  <a:cubicBezTo>
                    <a:pt x="8216" y="4754"/>
                    <a:pt x="8156" y="5175"/>
                    <a:pt x="8337" y="5536"/>
                  </a:cubicBezTo>
                  <a:cubicBezTo>
                    <a:pt x="8608" y="5747"/>
                    <a:pt x="7915" y="6138"/>
                    <a:pt x="7976" y="6589"/>
                  </a:cubicBezTo>
                  <a:cubicBezTo>
                    <a:pt x="8006" y="7041"/>
                    <a:pt x="7554" y="7041"/>
                    <a:pt x="7464" y="7372"/>
                  </a:cubicBezTo>
                  <a:cubicBezTo>
                    <a:pt x="7404" y="7703"/>
                    <a:pt x="7133" y="7613"/>
                    <a:pt x="6712" y="7914"/>
                  </a:cubicBezTo>
                  <a:cubicBezTo>
                    <a:pt x="6604" y="7997"/>
                    <a:pt x="6510" y="8029"/>
                    <a:pt x="6432" y="8029"/>
                  </a:cubicBezTo>
                  <a:cubicBezTo>
                    <a:pt x="6229" y="8029"/>
                    <a:pt x="6143" y="7804"/>
                    <a:pt x="6230" y="7673"/>
                  </a:cubicBezTo>
                  <a:cubicBezTo>
                    <a:pt x="6254" y="7637"/>
                    <a:pt x="6245" y="7620"/>
                    <a:pt x="6214" y="7620"/>
                  </a:cubicBezTo>
                  <a:cubicBezTo>
                    <a:pt x="6090" y="7620"/>
                    <a:pt x="5628" y="7890"/>
                    <a:pt x="5628" y="8275"/>
                  </a:cubicBezTo>
                  <a:cubicBezTo>
                    <a:pt x="5628" y="8756"/>
                    <a:pt x="4996" y="8847"/>
                    <a:pt x="5147" y="9117"/>
                  </a:cubicBezTo>
                  <a:cubicBezTo>
                    <a:pt x="5243" y="9272"/>
                    <a:pt x="4994" y="9377"/>
                    <a:pt x="4818" y="9377"/>
                  </a:cubicBezTo>
                  <a:cubicBezTo>
                    <a:pt x="4719" y="9377"/>
                    <a:pt x="4644" y="9344"/>
                    <a:pt x="4665" y="9268"/>
                  </a:cubicBezTo>
                  <a:cubicBezTo>
                    <a:pt x="4677" y="9174"/>
                    <a:pt x="4615" y="9135"/>
                    <a:pt x="4503" y="9135"/>
                  </a:cubicBezTo>
                  <a:cubicBezTo>
                    <a:pt x="4329" y="9135"/>
                    <a:pt x="4032" y="9230"/>
                    <a:pt x="3702" y="9358"/>
                  </a:cubicBezTo>
                  <a:cubicBezTo>
                    <a:pt x="3585" y="9413"/>
                    <a:pt x="3475" y="9432"/>
                    <a:pt x="3370" y="9432"/>
                  </a:cubicBezTo>
                  <a:cubicBezTo>
                    <a:pt x="3140" y="9432"/>
                    <a:pt x="2939" y="9341"/>
                    <a:pt x="2762" y="9341"/>
                  </a:cubicBezTo>
                  <a:cubicBezTo>
                    <a:pt x="2667" y="9341"/>
                    <a:pt x="2580" y="9367"/>
                    <a:pt x="2498" y="9448"/>
                  </a:cubicBezTo>
                  <a:cubicBezTo>
                    <a:pt x="2197" y="9749"/>
                    <a:pt x="1716" y="10261"/>
                    <a:pt x="1295" y="10351"/>
                  </a:cubicBezTo>
                  <a:cubicBezTo>
                    <a:pt x="935" y="10407"/>
                    <a:pt x="1109" y="10843"/>
                    <a:pt x="1257" y="10843"/>
                  </a:cubicBezTo>
                  <a:cubicBezTo>
                    <a:pt x="1270" y="10843"/>
                    <a:pt x="1282" y="10840"/>
                    <a:pt x="1295" y="10833"/>
                  </a:cubicBezTo>
                  <a:cubicBezTo>
                    <a:pt x="1445" y="10773"/>
                    <a:pt x="2017" y="10833"/>
                    <a:pt x="2167" y="10622"/>
                  </a:cubicBezTo>
                  <a:cubicBezTo>
                    <a:pt x="2318" y="10381"/>
                    <a:pt x="3461" y="10171"/>
                    <a:pt x="4154" y="10111"/>
                  </a:cubicBezTo>
                  <a:cubicBezTo>
                    <a:pt x="4180" y="10109"/>
                    <a:pt x="4205" y="10109"/>
                    <a:pt x="4228" y="10109"/>
                  </a:cubicBezTo>
                  <a:cubicBezTo>
                    <a:pt x="4844" y="10109"/>
                    <a:pt x="4428" y="10485"/>
                    <a:pt x="4515" y="10833"/>
                  </a:cubicBezTo>
                  <a:cubicBezTo>
                    <a:pt x="4542" y="11009"/>
                    <a:pt x="4667" y="11088"/>
                    <a:pt x="4826" y="11088"/>
                  </a:cubicBezTo>
                  <a:cubicBezTo>
                    <a:pt x="5020" y="11088"/>
                    <a:pt x="5266" y="10971"/>
                    <a:pt x="5448" y="10773"/>
                  </a:cubicBezTo>
                  <a:cubicBezTo>
                    <a:pt x="5779" y="10381"/>
                    <a:pt x="5959" y="10472"/>
                    <a:pt x="5718" y="10231"/>
                  </a:cubicBezTo>
                  <a:cubicBezTo>
                    <a:pt x="5546" y="10097"/>
                    <a:pt x="5605" y="9987"/>
                    <a:pt x="5718" y="9987"/>
                  </a:cubicBezTo>
                  <a:cubicBezTo>
                    <a:pt x="5782" y="9987"/>
                    <a:pt x="5863" y="10023"/>
                    <a:pt x="5929" y="10111"/>
                  </a:cubicBezTo>
                  <a:cubicBezTo>
                    <a:pt x="6069" y="10250"/>
                    <a:pt x="6248" y="10319"/>
                    <a:pt x="6423" y="10319"/>
                  </a:cubicBezTo>
                  <a:cubicBezTo>
                    <a:pt x="6625" y="10319"/>
                    <a:pt x="6823" y="10228"/>
                    <a:pt x="6952" y="10050"/>
                  </a:cubicBezTo>
                  <a:cubicBezTo>
                    <a:pt x="7017" y="9931"/>
                    <a:pt x="7070" y="9890"/>
                    <a:pt x="7121" y="9890"/>
                  </a:cubicBezTo>
                  <a:cubicBezTo>
                    <a:pt x="7232" y="9890"/>
                    <a:pt x="7335" y="10082"/>
                    <a:pt x="7525" y="10082"/>
                  </a:cubicBezTo>
                  <a:cubicBezTo>
                    <a:pt x="7535" y="10082"/>
                    <a:pt x="7544" y="10081"/>
                    <a:pt x="7554" y="10080"/>
                  </a:cubicBezTo>
                  <a:cubicBezTo>
                    <a:pt x="7806" y="10055"/>
                    <a:pt x="7932" y="9566"/>
                    <a:pt x="7983" y="9566"/>
                  </a:cubicBezTo>
                  <a:cubicBezTo>
                    <a:pt x="7993" y="9566"/>
                    <a:pt x="8001" y="9585"/>
                    <a:pt x="8006" y="9629"/>
                  </a:cubicBezTo>
                  <a:cubicBezTo>
                    <a:pt x="8018" y="9740"/>
                    <a:pt x="8096" y="9790"/>
                    <a:pt x="8205" y="9790"/>
                  </a:cubicBezTo>
                  <a:cubicBezTo>
                    <a:pt x="8361" y="9790"/>
                    <a:pt x="8581" y="9686"/>
                    <a:pt x="8758" y="9509"/>
                  </a:cubicBezTo>
                  <a:cubicBezTo>
                    <a:pt x="9059" y="9208"/>
                    <a:pt x="8788" y="8666"/>
                    <a:pt x="8969" y="8395"/>
                  </a:cubicBezTo>
                  <a:cubicBezTo>
                    <a:pt x="9179" y="8124"/>
                    <a:pt x="9360" y="7522"/>
                    <a:pt x="9179" y="7191"/>
                  </a:cubicBezTo>
                  <a:cubicBezTo>
                    <a:pt x="8969" y="6860"/>
                    <a:pt x="9571" y="6589"/>
                    <a:pt x="9872" y="6319"/>
                  </a:cubicBezTo>
                  <a:cubicBezTo>
                    <a:pt x="10173" y="6048"/>
                    <a:pt x="9510" y="4633"/>
                    <a:pt x="9510" y="4212"/>
                  </a:cubicBezTo>
                  <a:cubicBezTo>
                    <a:pt x="9510" y="4102"/>
                    <a:pt x="9455" y="4059"/>
                    <a:pt x="9368" y="4059"/>
                  </a:cubicBezTo>
                  <a:close/>
                  <a:moveTo>
                    <a:pt x="3753" y="10370"/>
                  </a:moveTo>
                  <a:cubicBezTo>
                    <a:pt x="3572" y="10370"/>
                    <a:pt x="3385" y="10444"/>
                    <a:pt x="3341" y="10562"/>
                  </a:cubicBezTo>
                  <a:cubicBezTo>
                    <a:pt x="3251" y="10833"/>
                    <a:pt x="2950" y="10712"/>
                    <a:pt x="2589" y="10773"/>
                  </a:cubicBezTo>
                  <a:cubicBezTo>
                    <a:pt x="2197" y="10803"/>
                    <a:pt x="2197" y="11736"/>
                    <a:pt x="2468" y="11826"/>
                  </a:cubicBezTo>
                  <a:cubicBezTo>
                    <a:pt x="2555" y="11845"/>
                    <a:pt x="2626" y="11858"/>
                    <a:pt x="2685" y="11858"/>
                  </a:cubicBezTo>
                  <a:cubicBezTo>
                    <a:pt x="2810" y="11858"/>
                    <a:pt x="2879" y="11799"/>
                    <a:pt x="2920" y="11615"/>
                  </a:cubicBezTo>
                  <a:cubicBezTo>
                    <a:pt x="2983" y="11425"/>
                    <a:pt x="3165" y="11309"/>
                    <a:pt x="3362" y="11309"/>
                  </a:cubicBezTo>
                  <a:cubicBezTo>
                    <a:pt x="3445" y="11309"/>
                    <a:pt x="3531" y="11330"/>
                    <a:pt x="3612" y="11375"/>
                  </a:cubicBezTo>
                  <a:cubicBezTo>
                    <a:pt x="3630" y="11382"/>
                    <a:pt x="3650" y="11386"/>
                    <a:pt x="3669" y="11386"/>
                  </a:cubicBezTo>
                  <a:cubicBezTo>
                    <a:pt x="3873" y="11386"/>
                    <a:pt x="4123" y="10982"/>
                    <a:pt x="4123" y="10652"/>
                  </a:cubicBezTo>
                  <a:cubicBezTo>
                    <a:pt x="4123" y="10452"/>
                    <a:pt x="3942" y="10370"/>
                    <a:pt x="3753" y="10370"/>
                  </a:cubicBezTo>
                  <a:close/>
                  <a:moveTo>
                    <a:pt x="1030" y="11000"/>
                  </a:moveTo>
                  <a:cubicBezTo>
                    <a:pt x="890" y="11000"/>
                    <a:pt x="686" y="11087"/>
                    <a:pt x="482" y="11254"/>
                  </a:cubicBezTo>
                  <a:cubicBezTo>
                    <a:pt x="151" y="11525"/>
                    <a:pt x="0" y="11555"/>
                    <a:pt x="151" y="11826"/>
                  </a:cubicBezTo>
                  <a:cubicBezTo>
                    <a:pt x="195" y="11896"/>
                    <a:pt x="242" y="11926"/>
                    <a:pt x="289" y="11926"/>
                  </a:cubicBezTo>
                  <a:cubicBezTo>
                    <a:pt x="402" y="11926"/>
                    <a:pt x="517" y="11755"/>
                    <a:pt x="602" y="11585"/>
                  </a:cubicBezTo>
                  <a:cubicBezTo>
                    <a:pt x="615" y="11555"/>
                    <a:pt x="631" y="11542"/>
                    <a:pt x="647" y="11542"/>
                  </a:cubicBezTo>
                  <a:cubicBezTo>
                    <a:pt x="744" y="11542"/>
                    <a:pt x="873" y="12032"/>
                    <a:pt x="693" y="12368"/>
                  </a:cubicBezTo>
                  <a:cubicBezTo>
                    <a:pt x="521" y="12769"/>
                    <a:pt x="731" y="13335"/>
                    <a:pt x="960" y="13335"/>
                  </a:cubicBezTo>
                  <a:cubicBezTo>
                    <a:pt x="971" y="13335"/>
                    <a:pt x="982" y="13333"/>
                    <a:pt x="994" y="13331"/>
                  </a:cubicBezTo>
                  <a:cubicBezTo>
                    <a:pt x="1264" y="13240"/>
                    <a:pt x="1535" y="12458"/>
                    <a:pt x="1896" y="12006"/>
                  </a:cubicBezTo>
                  <a:cubicBezTo>
                    <a:pt x="2288" y="11555"/>
                    <a:pt x="1716" y="11706"/>
                    <a:pt x="1716" y="11465"/>
                  </a:cubicBezTo>
                  <a:cubicBezTo>
                    <a:pt x="1716" y="11254"/>
                    <a:pt x="1234" y="11284"/>
                    <a:pt x="1204" y="11104"/>
                  </a:cubicBezTo>
                  <a:cubicBezTo>
                    <a:pt x="1181" y="11034"/>
                    <a:pt x="1118" y="11000"/>
                    <a:pt x="1030" y="1100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09" name="Google Shape;3003;p123">
              <a:extLst>
                <a:ext uri="{FF2B5EF4-FFF2-40B4-BE49-F238E27FC236}">
                  <a16:creationId xmlns:a16="http://schemas.microsoft.com/office/drawing/2014/main" id="{0322AA8D-6F4B-004A-B3B8-A58EB8B10528}"/>
                </a:ext>
              </a:extLst>
            </p:cNvPr>
            <p:cNvSpPr/>
            <p:nvPr/>
          </p:nvSpPr>
          <p:spPr>
            <a:xfrm>
              <a:off x="6078146" y="1810115"/>
              <a:ext cx="1475239" cy="1010732"/>
            </a:xfrm>
            <a:custGeom>
              <a:avLst/>
              <a:gdLst/>
              <a:ahLst/>
              <a:cxnLst/>
              <a:rect l="l" t="t" r="r" b="b"/>
              <a:pathLst>
                <a:path w="47550" h="32578" extrusionOk="0">
                  <a:moveTo>
                    <a:pt x="37024" y="26824"/>
                  </a:moveTo>
                  <a:cubicBezTo>
                    <a:pt x="36670" y="26824"/>
                    <a:pt x="36035" y="27243"/>
                    <a:pt x="35843" y="27988"/>
                  </a:cubicBezTo>
                  <a:cubicBezTo>
                    <a:pt x="35594" y="28875"/>
                    <a:pt x="36084" y="29353"/>
                    <a:pt x="36234" y="29353"/>
                  </a:cubicBezTo>
                  <a:cubicBezTo>
                    <a:pt x="36247" y="29353"/>
                    <a:pt x="36257" y="29350"/>
                    <a:pt x="36264" y="29343"/>
                  </a:cubicBezTo>
                  <a:cubicBezTo>
                    <a:pt x="36324" y="29282"/>
                    <a:pt x="37468" y="27176"/>
                    <a:pt x="37227" y="26905"/>
                  </a:cubicBezTo>
                  <a:cubicBezTo>
                    <a:pt x="37185" y="26851"/>
                    <a:pt x="37114" y="26824"/>
                    <a:pt x="37024" y="26824"/>
                  </a:cubicBezTo>
                  <a:close/>
                  <a:moveTo>
                    <a:pt x="37927" y="19"/>
                  </a:moveTo>
                  <a:cubicBezTo>
                    <a:pt x="37634" y="19"/>
                    <a:pt x="37340" y="53"/>
                    <a:pt x="37047" y="121"/>
                  </a:cubicBezTo>
                  <a:cubicBezTo>
                    <a:pt x="36986" y="111"/>
                    <a:pt x="36924" y="106"/>
                    <a:pt x="36862" y="106"/>
                  </a:cubicBezTo>
                  <a:cubicBezTo>
                    <a:pt x="36557" y="106"/>
                    <a:pt x="36249" y="227"/>
                    <a:pt x="36024" y="452"/>
                  </a:cubicBezTo>
                  <a:cubicBezTo>
                    <a:pt x="35758" y="850"/>
                    <a:pt x="35914" y="873"/>
                    <a:pt x="36058" y="873"/>
                  </a:cubicBezTo>
                  <a:cubicBezTo>
                    <a:pt x="36077" y="873"/>
                    <a:pt x="36096" y="873"/>
                    <a:pt x="36114" y="873"/>
                  </a:cubicBezTo>
                  <a:cubicBezTo>
                    <a:pt x="36264" y="873"/>
                    <a:pt x="36324" y="1324"/>
                    <a:pt x="36324" y="1445"/>
                  </a:cubicBezTo>
                  <a:cubicBezTo>
                    <a:pt x="36324" y="1535"/>
                    <a:pt x="36114" y="1806"/>
                    <a:pt x="35993" y="1836"/>
                  </a:cubicBezTo>
                  <a:cubicBezTo>
                    <a:pt x="35783" y="2047"/>
                    <a:pt x="35602" y="2318"/>
                    <a:pt x="35512" y="2588"/>
                  </a:cubicBezTo>
                  <a:cubicBezTo>
                    <a:pt x="35452" y="2799"/>
                    <a:pt x="35091" y="3251"/>
                    <a:pt x="35121" y="3431"/>
                  </a:cubicBezTo>
                  <a:cubicBezTo>
                    <a:pt x="35181" y="3612"/>
                    <a:pt x="34940" y="3732"/>
                    <a:pt x="34790" y="3762"/>
                  </a:cubicBezTo>
                  <a:cubicBezTo>
                    <a:pt x="34519" y="3883"/>
                    <a:pt x="34278" y="4003"/>
                    <a:pt x="34037" y="4153"/>
                  </a:cubicBezTo>
                  <a:cubicBezTo>
                    <a:pt x="33981" y="4166"/>
                    <a:pt x="33923" y="4172"/>
                    <a:pt x="33865" y="4172"/>
                  </a:cubicBezTo>
                  <a:cubicBezTo>
                    <a:pt x="33645" y="4172"/>
                    <a:pt x="33422" y="4086"/>
                    <a:pt x="33255" y="3943"/>
                  </a:cubicBezTo>
                  <a:cubicBezTo>
                    <a:pt x="33255" y="3883"/>
                    <a:pt x="33165" y="3852"/>
                    <a:pt x="33074" y="3792"/>
                  </a:cubicBezTo>
                  <a:lnTo>
                    <a:pt x="32442" y="5086"/>
                  </a:lnTo>
                  <a:lnTo>
                    <a:pt x="32382" y="5508"/>
                  </a:lnTo>
                  <a:cubicBezTo>
                    <a:pt x="32382" y="5508"/>
                    <a:pt x="31961" y="5598"/>
                    <a:pt x="32292" y="5899"/>
                  </a:cubicBezTo>
                  <a:cubicBezTo>
                    <a:pt x="32431" y="6015"/>
                    <a:pt x="32516" y="6050"/>
                    <a:pt x="32594" y="6050"/>
                  </a:cubicBezTo>
                  <a:cubicBezTo>
                    <a:pt x="32720" y="6050"/>
                    <a:pt x="32827" y="5959"/>
                    <a:pt x="33104" y="5959"/>
                  </a:cubicBezTo>
                  <a:cubicBezTo>
                    <a:pt x="33433" y="5959"/>
                    <a:pt x="33634" y="6150"/>
                    <a:pt x="33765" y="6150"/>
                  </a:cubicBezTo>
                  <a:cubicBezTo>
                    <a:pt x="33814" y="6150"/>
                    <a:pt x="33854" y="6123"/>
                    <a:pt x="33887" y="6049"/>
                  </a:cubicBezTo>
                  <a:cubicBezTo>
                    <a:pt x="33955" y="5879"/>
                    <a:pt x="34119" y="5786"/>
                    <a:pt x="34287" y="5786"/>
                  </a:cubicBezTo>
                  <a:cubicBezTo>
                    <a:pt x="34416" y="5786"/>
                    <a:pt x="34548" y="5841"/>
                    <a:pt x="34639" y="5959"/>
                  </a:cubicBezTo>
                  <a:cubicBezTo>
                    <a:pt x="34910" y="6260"/>
                    <a:pt x="35692" y="6772"/>
                    <a:pt x="35662" y="7042"/>
                  </a:cubicBezTo>
                  <a:cubicBezTo>
                    <a:pt x="35648" y="7173"/>
                    <a:pt x="35536" y="7219"/>
                    <a:pt x="35383" y="7219"/>
                  </a:cubicBezTo>
                  <a:cubicBezTo>
                    <a:pt x="35219" y="7219"/>
                    <a:pt x="35007" y="7165"/>
                    <a:pt x="34820" y="7103"/>
                  </a:cubicBezTo>
                  <a:cubicBezTo>
                    <a:pt x="34780" y="7092"/>
                    <a:pt x="34739" y="7087"/>
                    <a:pt x="34698" y="7087"/>
                  </a:cubicBezTo>
                  <a:cubicBezTo>
                    <a:pt x="34396" y="7087"/>
                    <a:pt x="34061" y="7343"/>
                    <a:pt x="33797" y="7343"/>
                  </a:cubicBezTo>
                  <a:cubicBezTo>
                    <a:pt x="33435" y="7343"/>
                    <a:pt x="33074" y="7494"/>
                    <a:pt x="32833" y="7765"/>
                  </a:cubicBezTo>
                  <a:cubicBezTo>
                    <a:pt x="32533" y="8066"/>
                    <a:pt x="32593" y="8367"/>
                    <a:pt x="32141" y="8397"/>
                  </a:cubicBezTo>
                  <a:cubicBezTo>
                    <a:pt x="31690" y="8427"/>
                    <a:pt x="31479" y="8397"/>
                    <a:pt x="30938" y="8758"/>
                  </a:cubicBezTo>
                  <a:cubicBezTo>
                    <a:pt x="30734" y="8910"/>
                    <a:pt x="30493" y="8986"/>
                    <a:pt x="30246" y="8986"/>
                  </a:cubicBezTo>
                  <a:cubicBezTo>
                    <a:pt x="30054" y="8986"/>
                    <a:pt x="29858" y="8940"/>
                    <a:pt x="29674" y="8848"/>
                  </a:cubicBezTo>
                  <a:cubicBezTo>
                    <a:pt x="29591" y="8803"/>
                    <a:pt x="29504" y="8782"/>
                    <a:pt x="29417" y="8782"/>
                  </a:cubicBezTo>
                  <a:cubicBezTo>
                    <a:pt x="29218" y="8782"/>
                    <a:pt x="29026" y="8891"/>
                    <a:pt x="28921" y="9059"/>
                  </a:cubicBezTo>
                  <a:cubicBezTo>
                    <a:pt x="28741" y="9420"/>
                    <a:pt x="29192" y="9570"/>
                    <a:pt x="29132" y="9962"/>
                  </a:cubicBezTo>
                  <a:cubicBezTo>
                    <a:pt x="29102" y="10383"/>
                    <a:pt x="28590" y="10263"/>
                    <a:pt x="28169" y="10774"/>
                  </a:cubicBezTo>
                  <a:cubicBezTo>
                    <a:pt x="27808" y="11165"/>
                    <a:pt x="27266" y="11376"/>
                    <a:pt x="26724" y="11376"/>
                  </a:cubicBezTo>
                  <a:cubicBezTo>
                    <a:pt x="26449" y="11289"/>
                    <a:pt x="26161" y="11244"/>
                    <a:pt x="25868" y="11244"/>
                  </a:cubicBezTo>
                  <a:cubicBezTo>
                    <a:pt x="25552" y="11244"/>
                    <a:pt x="25231" y="11297"/>
                    <a:pt x="24919" y="11406"/>
                  </a:cubicBezTo>
                  <a:cubicBezTo>
                    <a:pt x="24323" y="11690"/>
                    <a:pt x="23861" y="12134"/>
                    <a:pt x="23608" y="12134"/>
                  </a:cubicBezTo>
                  <a:cubicBezTo>
                    <a:pt x="23593" y="12134"/>
                    <a:pt x="23578" y="12132"/>
                    <a:pt x="23564" y="12128"/>
                  </a:cubicBezTo>
                  <a:cubicBezTo>
                    <a:pt x="23374" y="12047"/>
                    <a:pt x="23331" y="11819"/>
                    <a:pt x="23038" y="11819"/>
                  </a:cubicBezTo>
                  <a:cubicBezTo>
                    <a:pt x="23006" y="11819"/>
                    <a:pt x="22971" y="11822"/>
                    <a:pt x="22932" y="11828"/>
                  </a:cubicBezTo>
                  <a:cubicBezTo>
                    <a:pt x="22888" y="11832"/>
                    <a:pt x="22844" y="11835"/>
                    <a:pt x="22801" y="11835"/>
                  </a:cubicBezTo>
                  <a:cubicBezTo>
                    <a:pt x="22574" y="11835"/>
                    <a:pt x="22352" y="11768"/>
                    <a:pt x="22150" y="11617"/>
                  </a:cubicBezTo>
                  <a:cubicBezTo>
                    <a:pt x="22069" y="11572"/>
                    <a:pt x="21996" y="11562"/>
                    <a:pt x="21923" y="11562"/>
                  </a:cubicBezTo>
                  <a:cubicBezTo>
                    <a:pt x="21863" y="11562"/>
                    <a:pt x="21803" y="11568"/>
                    <a:pt x="21738" y="11568"/>
                  </a:cubicBezTo>
                  <a:cubicBezTo>
                    <a:pt x="21614" y="11568"/>
                    <a:pt x="21471" y="11545"/>
                    <a:pt x="21277" y="11406"/>
                  </a:cubicBezTo>
                  <a:cubicBezTo>
                    <a:pt x="20886" y="11105"/>
                    <a:pt x="20164" y="11135"/>
                    <a:pt x="19863" y="11105"/>
                  </a:cubicBezTo>
                  <a:lnTo>
                    <a:pt x="17967" y="11105"/>
                  </a:lnTo>
                  <a:cubicBezTo>
                    <a:pt x="17848" y="11080"/>
                    <a:pt x="17720" y="11073"/>
                    <a:pt x="17595" y="11073"/>
                  </a:cubicBezTo>
                  <a:cubicBezTo>
                    <a:pt x="17471" y="11073"/>
                    <a:pt x="17351" y="11080"/>
                    <a:pt x="17246" y="11080"/>
                  </a:cubicBezTo>
                  <a:cubicBezTo>
                    <a:pt x="17080" y="11080"/>
                    <a:pt x="16953" y="11064"/>
                    <a:pt x="16913" y="10985"/>
                  </a:cubicBezTo>
                  <a:cubicBezTo>
                    <a:pt x="16853" y="10804"/>
                    <a:pt x="16582" y="10624"/>
                    <a:pt x="16462" y="10172"/>
                  </a:cubicBezTo>
                  <a:cubicBezTo>
                    <a:pt x="16462" y="9841"/>
                    <a:pt x="16191" y="9570"/>
                    <a:pt x="15860" y="9510"/>
                  </a:cubicBezTo>
                  <a:cubicBezTo>
                    <a:pt x="15589" y="9450"/>
                    <a:pt x="15559" y="9179"/>
                    <a:pt x="15348" y="9149"/>
                  </a:cubicBezTo>
                  <a:cubicBezTo>
                    <a:pt x="15108" y="9119"/>
                    <a:pt x="15108" y="8818"/>
                    <a:pt x="14777" y="8818"/>
                  </a:cubicBezTo>
                  <a:cubicBezTo>
                    <a:pt x="14446" y="8818"/>
                    <a:pt x="13151" y="8668"/>
                    <a:pt x="12971" y="8367"/>
                  </a:cubicBezTo>
                  <a:cubicBezTo>
                    <a:pt x="12790" y="8066"/>
                    <a:pt x="13151" y="8006"/>
                    <a:pt x="13151" y="7705"/>
                  </a:cubicBezTo>
                  <a:cubicBezTo>
                    <a:pt x="13151" y="7404"/>
                    <a:pt x="13362" y="7042"/>
                    <a:pt x="13212" y="6922"/>
                  </a:cubicBezTo>
                  <a:cubicBezTo>
                    <a:pt x="13001" y="6772"/>
                    <a:pt x="12851" y="6561"/>
                    <a:pt x="12790" y="6320"/>
                  </a:cubicBezTo>
                  <a:cubicBezTo>
                    <a:pt x="12670" y="6049"/>
                    <a:pt x="12399" y="5839"/>
                    <a:pt x="12098" y="5748"/>
                  </a:cubicBezTo>
                  <a:cubicBezTo>
                    <a:pt x="11827" y="5718"/>
                    <a:pt x="11587" y="5598"/>
                    <a:pt x="11406" y="5387"/>
                  </a:cubicBezTo>
                  <a:cubicBezTo>
                    <a:pt x="11165" y="5147"/>
                    <a:pt x="10955" y="5207"/>
                    <a:pt x="10834" y="4635"/>
                  </a:cubicBezTo>
                  <a:cubicBezTo>
                    <a:pt x="10792" y="4433"/>
                    <a:pt x="10776" y="4370"/>
                    <a:pt x="10772" y="4370"/>
                  </a:cubicBezTo>
                  <a:lnTo>
                    <a:pt x="10772" y="4370"/>
                  </a:lnTo>
                  <a:cubicBezTo>
                    <a:pt x="10767" y="4370"/>
                    <a:pt x="10792" y="4516"/>
                    <a:pt x="10801" y="4545"/>
                  </a:cubicBezTo>
                  <a:lnTo>
                    <a:pt x="10503" y="4545"/>
                  </a:lnTo>
                  <a:lnTo>
                    <a:pt x="10292" y="4394"/>
                  </a:lnTo>
                  <a:cubicBezTo>
                    <a:pt x="10232" y="4635"/>
                    <a:pt x="9992" y="4755"/>
                    <a:pt x="9992" y="4936"/>
                  </a:cubicBezTo>
                  <a:cubicBezTo>
                    <a:pt x="9992" y="5116"/>
                    <a:pt x="9931" y="5357"/>
                    <a:pt x="9661" y="5357"/>
                  </a:cubicBezTo>
                  <a:cubicBezTo>
                    <a:pt x="9390" y="5357"/>
                    <a:pt x="9179" y="5568"/>
                    <a:pt x="9179" y="5959"/>
                  </a:cubicBezTo>
                  <a:cubicBezTo>
                    <a:pt x="9179" y="6320"/>
                    <a:pt x="9390" y="6410"/>
                    <a:pt x="9299" y="6591"/>
                  </a:cubicBezTo>
                  <a:cubicBezTo>
                    <a:pt x="9110" y="6780"/>
                    <a:pt x="8873" y="6897"/>
                    <a:pt x="8630" y="6897"/>
                  </a:cubicBezTo>
                  <a:cubicBezTo>
                    <a:pt x="8602" y="6897"/>
                    <a:pt x="8575" y="6895"/>
                    <a:pt x="8547" y="6892"/>
                  </a:cubicBezTo>
                  <a:cubicBezTo>
                    <a:pt x="8442" y="6832"/>
                    <a:pt x="8314" y="6824"/>
                    <a:pt x="8182" y="6824"/>
                  </a:cubicBezTo>
                  <a:cubicBezTo>
                    <a:pt x="8138" y="6824"/>
                    <a:pt x="8094" y="6825"/>
                    <a:pt x="8050" y="6825"/>
                  </a:cubicBezTo>
                  <a:cubicBezTo>
                    <a:pt x="7962" y="6825"/>
                    <a:pt x="7875" y="6822"/>
                    <a:pt x="7795" y="6802"/>
                  </a:cubicBezTo>
                  <a:cubicBezTo>
                    <a:pt x="7618" y="6782"/>
                    <a:pt x="7480" y="6634"/>
                    <a:pt x="7380" y="6634"/>
                  </a:cubicBezTo>
                  <a:cubicBezTo>
                    <a:pt x="7327" y="6634"/>
                    <a:pt x="7284" y="6676"/>
                    <a:pt x="7253" y="6802"/>
                  </a:cubicBezTo>
                  <a:cubicBezTo>
                    <a:pt x="7193" y="7193"/>
                    <a:pt x="6651" y="8216"/>
                    <a:pt x="6771" y="8306"/>
                  </a:cubicBezTo>
                  <a:cubicBezTo>
                    <a:pt x="6892" y="8427"/>
                    <a:pt x="6982" y="8698"/>
                    <a:pt x="6771" y="8698"/>
                  </a:cubicBezTo>
                  <a:cubicBezTo>
                    <a:pt x="6735" y="8703"/>
                    <a:pt x="6699" y="8705"/>
                    <a:pt x="6663" y="8705"/>
                  </a:cubicBezTo>
                  <a:cubicBezTo>
                    <a:pt x="6490" y="8705"/>
                    <a:pt x="6324" y="8647"/>
                    <a:pt x="6200" y="8547"/>
                  </a:cubicBezTo>
                  <a:cubicBezTo>
                    <a:pt x="6179" y="8527"/>
                    <a:pt x="6152" y="8519"/>
                    <a:pt x="6120" y="8519"/>
                  </a:cubicBezTo>
                  <a:cubicBezTo>
                    <a:pt x="5970" y="8519"/>
                    <a:pt x="5705" y="8700"/>
                    <a:pt x="5487" y="8700"/>
                  </a:cubicBezTo>
                  <a:cubicBezTo>
                    <a:pt x="5473" y="8700"/>
                    <a:pt x="5460" y="8699"/>
                    <a:pt x="5447" y="8698"/>
                  </a:cubicBezTo>
                  <a:cubicBezTo>
                    <a:pt x="5431" y="8696"/>
                    <a:pt x="5416" y="8695"/>
                    <a:pt x="5399" y="8695"/>
                  </a:cubicBezTo>
                  <a:cubicBezTo>
                    <a:pt x="5139" y="8695"/>
                    <a:pt x="4854" y="8914"/>
                    <a:pt x="4996" y="8999"/>
                  </a:cubicBezTo>
                  <a:cubicBezTo>
                    <a:pt x="5146" y="9059"/>
                    <a:pt x="5176" y="9510"/>
                    <a:pt x="5176" y="9721"/>
                  </a:cubicBezTo>
                  <a:cubicBezTo>
                    <a:pt x="5176" y="9901"/>
                    <a:pt x="5568" y="10383"/>
                    <a:pt x="5477" y="10564"/>
                  </a:cubicBezTo>
                  <a:cubicBezTo>
                    <a:pt x="5417" y="10774"/>
                    <a:pt x="5086" y="10955"/>
                    <a:pt x="5086" y="11165"/>
                  </a:cubicBezTo>
                  <a:cubicBezTo>
                    <a:pt x="5086" y="11406"/>
                    <a:pt x="5146" y="11617"/>
                    <a:pt x="5026" y="11677"/>
                  </a:cubicBezTo>
                  <a:lnTo>
                    <a:pt x="4334" y="12008"/>
                  </a:lnTo>
                  <a:cubicBezTo>
                    <a:pt x="4123" y="12159"/>
                    <a:pt x="3822" y="12159"/>
                    <a:pt x="3732" y="12369"/>
                  </a:cubicBezTo>
                  <a:cubicBezTo>
                    <a:pt x="3623" y="12613"/>
                    <a:pt x="3393" y="12735"/>
                    <a:pt x="3151" y="12735"/>
                  </a:cubicBezTo>
                  <a:cubicBezTo>
                    <a:pt x="3124" y="12735"/>
                    <a:pt x="3097" y="12733"/>
                    <a:pt x="3070" y="12730"/>
                  </a:cubicBezTo>
                  <a:cubicBezTo>
                    <a:pt x="2951" y="12709"/>
                    <a:pt x="2856" y="12691"/>
                    <a:pt x="2772" y="12691"/>
                  </a:cubicBezTo>
                  <a:cubicBezTo>
                    <a:pt x="2623" y="12691"/>
                    <a:pt x="2513" y="12748"/>
                    <a:pt x="2378" y="12941"/>
                  </a:cubicBezTo>
                  <a:cubicBezTo>
                    <a:pt x="2137" y="13242"/>
                    <a:pt x="2077" y="13092"/>
                    <a:pt x="1866" y="13242"/>
                  </a:cubicBezTo>
                  <a:cubicBezTo>
                    <a:pt x="1827" y="13274"/>
                    <a:pt x="1790" y="13287"/>
                    <a:pt x="1753" y="13287"/>
                  </a:cubicBezTo>
                  <a:cubicBezTo>
                    <a:pt x="1621" y="13287"/>
                    <a:pt x="1503" y="13115"/>
                    <a:pt x="1384" y="13092"/>
                  </a:cubicBezTo>
                  <a:cubicBezTo>
                    <a:pt x="1373" y="13089"/>
                    <a:pt x="1361" y="13088"/>
                    <a:pt x="1349" y="13088"/>
                  </a:cubicBezTo>
                  <a:cubicBezTo>
                    <a:pt x="1206" y="13088"/>
                    <a:pt x="1042" y="13242"/>
                    <a:pt x="903" y="13242"/>
                  </a:cubicBezTo>
                  <a:cubicBezTo>
                    <a:pt x="752" y="13242"/>
                    <a:pt x="632" y="13483"/>
                    <a:pt x="482" y="13513"/>
                  </a:cubicBezTo>
                  <a:cubicBezTo>
                    <a:pt x="331" y="13543"/>
                    <a:pt x="120" y="13513"/>
                    <a:pt x="120" y="13723"/>
                  </a:cubicBezTo>
                  <a:cubicBezTo>
                    <a:pt x="120" y="13874"/>
                    <a:pt x="90" y="14024"/>
                    <a:pt x="0" y="14115"/>
                  </a:cubicBezTo>
                  <a:lnTo>
                    <a:pt x="120" y="14837"/>
                  </a:lnTo>
                  <a:cubicBezTo>
                    <a:pt x="120" y="14837"/>
                    <a:pt x="873" y="15048"/>
                    <a:pt x="903" y="15319"/>
                  </a:cubicBezTo>
                  <a:lnTo>
                    <a:pt x="1053" y="16372"/>
                  </a:lnTo>
                  <a:cubicBezTo>
                    <a:pt x="1354" y="16643"/>
                    <a:pt x="1776" y="16853"/>
                    <a:pt x="1776" y="16974"/>
                  </a:cubicBezTo>
                  <a:cubicBezTo>
                    <a:pt x="1776" y="17245"/>
                    <a:pt x="1926" y="17485"/>
                    <a:pt x="2167" y="17576"/>
                  </a:cubicBezTo>
                  <a:lnTo>
                    <a:pt x="2769" y="17877"/>
                  </a:lnTo>
                  <a:lnTo>
                    <a:pt x="3130" y="17877"/>
                  </a:lnTo>
                  <a:cubicBezTo>
                    <a:pt x="3190" y="17907"/>
                    <a:pt x="3250" y="17967"/>
                    <a:pt x="3311" y="18027"/>
                  </a:cubicBezTo>
                  <a:cubicBezTo>
                    <a:pt x="3371" y="17756"/>
                    <a:pt x="3912" y="17515"/>
                    <a:pt x="4213" y="17515"/>
                  </a:cubicBezTo>
                  <a:cubicBezTo>
                    <a:pt x="4514" y="17515"/>
                    <a:pt x="5176" y="18057"/>
                    <a:pt x="5116" y="18268"/>
                  </a:cubicBezTo>
                  <a:cubicBezTo>
                    <a:pt x="5026" y="18448"/>
                    <a:pt x="4544" y="19171"/>
                    <a:pt x="4334" y="19201"/>
                  </a:cubicBezTo>
                  <a:lnTo>
                    <a:pt x="3973" y="19201"/>
                  </a:lnTo>
                  <a:cubicBezTo>
                    <a:pt x="3973" y="19321"/>
                    <a:pt x="3942" y="19411"/>
                    <a:pt x="3942" y="19502"/>
                  </a:cubicBezTo>
                  <a:cubicBezTo>
                    <a:pt x="3942" y="19562"/>
                    <a:pt x="4213" y="19923"/>
                    <a:pt x="4364" y="20164"/>
                  </a:cubicBezTo>
                  <a:cubicBezTo>
                    <a:pt x="4472" y="20359"/>
                    <a:pt x="4299" y="20507"/>
                    <a:pt x="4115" y="20507"/>
                  </a:cubicBezTo>
                  <a:cubicBezTo>
                    <a:pt x="4044" y="20507"/>
                    <a:pt x="3971" y="20485"/>
                    <a:pt x="3912" y="20435"/>
                  </a:cubicBezTo>
                  <a:cubicBezTo>
                    <a:pt x="3867" y="20400"/>
                    <a:pt x="3828" y="20386"/>
                    <a:pt x="3795" y="20386"/>
                  </a:cubicBezTo>
                  <a:cubicBezTo>
                    <a:pt x="3655" y="20386"/>
                    <a:pt x="3634" y="20655"/>
                    <a:pt x="3732" y="20826"/>
                  </a:cubicBezTo>
                  <a:cubicBezTo>
                    <a:pt x="3822" y="21006"/>
                    <a:pt x="3792" y="21368"/>
                    <a:pt x="3973" y="21428"/>
                  </a:cubicBezTo>
                  <a:cubicBezTo>
                    <a:pt x="4183" y="21458"/>
                    <a:pt x="4394" y="21909"/>
                    <a:pt x="4665" y="21909"/>
                  </a:cubicBezTo>
                  <a:cubicBezTo>
                    <a:pt x="4936" y="21909"/>
                    <a:pt x="5116" y="22331"/>
                    <a:pt x="5116" y="22331"/>
                  </a:cubicBezTo>
                  <a:cubicBezTo>
                    <a:pt x="5116" y="22331"/>
                    <a:pt x="5447" y="22511"/>
                    <a:pt x="5447" y="22662"/>
                  </a:cubicBezTo>
                  <a:cubicBezTo>
                    <a:pt x="5718" y="22632"/>
                    <a:pt x="5899" y="22632"/>
                    <a:pt x="5929" y="22511"/>
                  </a:cubicBezTo>
                  <a:cubicBezTo>
                    <a:pt x="5954" y="22461"/>
                    <a:pt x="6025" y="22432"/>
                    <a:pt x="6119" y="22432"/>
                  </a:cubicBezTo>
                  <a:cubicBezTo>
                    <a:pt x="6253" y="22432"/>
                    <a:pt x="6432" y="22490"/>
                    <a:pt x="6591" y="22632"/>
                  </a:cubicBezTo>
                  <a:cubicBezTo>
                    <a:pt x="7102" y="23053"/>
                    <a:pt x="7614" y="23444"/>
                    <a:pt x="8186" y="23775"/>
                  </a:cubicBezTo>
                  <a:cubicBezTo>
                    <a:pt x="8637" y="24106"/>
                    <a:pt x="9149" y="24317"/>
                    <a:pt x="9691" y="24437"/>
                  </a:cubicBezTo>
                  <a:cubicBezTo>
                    <a:pt x="9724" y="24430"/>
                    <a:pt x="9757" y="24428"/>
                    <a:pt x="9791" y="24428"/>
                  </a:cubicBezTo>
                  <a:cubicBezTo>
                    <a:pt x="10060" y="24428"/>
                    <a:pt x="10343" y="24618"/>
                    <a:pt x="10744" y="24618"/>
                  </a:cubicBezTo>
                  <a:lnTo>
                    <a:pt x="10955" y="24618"/>
                  </a:lnTo>
                  <a:cubicBezTo>
                    <a:pt x="10985" y="24527"/>
                    <a:pt x="11105" y="24527"/>
                    <a:pt x="11195" y="24437"/>
                  </a:cubicBezTo>
                  <a:cubicBezTo>
                    <a:pt x="11216" y="24417"/>
                    <a:pt x="11238" y="24408"/>
                    <a:pt x="11260" y="24408"/>
                  </a:cubicBezTo>
                  <a:cubicBezTo>
                    <a:pt x="11370" y="24408"/>
                    <a:pt x="11486" y="24628"/>
                    <a:pt x="11436" y="24828"/>
                  </a:cubicBezTo>
                  <a:cubicBezTo>
                    <a:pt x="11406" y="24949"/>
                    <a:pt x="11406" y="25069"/>
                    <a:pt x="11466" y="25190"/>
                  </a:cubicBezTo>
                  <a:cubicBezTo>
                    <a:pt x="11556" y="25069"/>
                    <a:pt x="11617" y="24949"/>
                    <a:pt x="11647" y="24828"/>
                  </a:cubicBezTo>
                  <a:cubicBezTo>
                    <a:pt x="11797" y="24467"/>
                    <a:pt x="12068" y="24467"/>
                    <a:pt x="12219" y="24347"/>
                  </a:cubicBezTo>
                  <a:cubicBezTo>
                    <a:pt x="12272" y="24304"/>
                    <a:pt x="12329" y="24284"/>
                    <a:pt x="12394" y="24284"/>
                  </a:cubicBezTo>
                  <a:cubicBezTo>
                    <a:pt x="12512" y="24284"/>
                    <a:pt x="12656" y="24351"/>
                    <a:pt x="12851" y="24467"/>
                  </a:cubicBezTo>
                  <a:cubicBezTo>
                    <a:pt x="12920" y="24509"/>
                    <a:pt x="12981" y="24522"/>
                    <a:pt x="13040" y="24522"/>
                  </a:cubicBezTo>
                  <a:cubicBezTo>
                    <a:pt x="13138" y="24522"/>
                    <a:pt x="13231" y="24487"/>
                    <a:pt x="13347" y="24487"/>
                  </a:cubicBezTo>
                  <a:cubicBezTo>
                    <a:pt x="13468" y="24487"/>
                    <a:pt x="13613" y="24524"/>
                    <a:pt x="13814" y="24678"/>
                  </a:cubicBezTo>
                  <a:lnTo>
                    <a:pt x="14054" y="24618"/>
                  </a:lnTo>
                  <a:cubicBezTo>
                    <a:pt x="14175" y="24618"/>
                    <a:pt x="14295" y="24437"/>
                    <a:pt x="14446" y="24287"/>
                  </a:cubicBezTo>
                  <a:cubicBezTo>
                    <a:pt x="14596" y="24136"/>
                    <a:pt x="14566" y="23926"/>
                    <a:pt x="14747" y="23926"/>
                  </a:cubicBezTo>
                  <a:cubicBezTo>
                    <a:pt x="14927" y="23926"/>
                    <a:pt x="15047" y="23745"/>
                    <a:pt x="15469" y="23534"/>
                  </a:cubicBezTo>
                  <a:cubicBezTo>
                    <a:pt x="15581" y="23466"/>
                    <a:pt x="15690" y="23443"/>
                    <a:pt x="15793" y="23443"/>
                  </a:cubicBezTo>
                  <a:cubicBezTo>
                    <a:pt x="15979" y="23443"/>
                    <a:pt x="16146" y="23515"/>
                    <a:pt x="16273" y="23515"/>
                  </a:cubicBezTo>
                  <a:cubicBezTo>
                    <a:pt x="16322" y="23515"/>
                    <a:pt x="16366" y="23504"/>
                    <a:pt x="16402" y="23474"/>
                  </a:cubicBezTo>
                  <a:cubicBezTo>
                    <a:pt x="16509" y="23384"/>
                    <a:pt x="16617" y="23327"/>
                    <a:pt x="16686" y="23327"/>
                  </a:cubicBezTo>
                  <a:cubicBezTo>
                    <a:pt x="16733" y="23327"/>
                    <a:pt x="16763" y="23353"/>
                    <a:pt x="16763" y="23414"/>
                  </a:cubicBezTo>
                  <a:cubicBezTo>
                    <a:pt x="16763" y="23564"/>
                    <a:pt x="17034" y="23745"/>
                    <a:pt x="17124" y="23926"/>
                  </a:cubicBezTo>
                  <a:cubicBezTo>
                    <a:pt x="17184" y="24136"/>
                    <a:pt x="17485" y="24196"/>
                    <a:pt x="17575" y="24196"/>
                  </a:cubicBezTo>
                  <a:lnTo>
                    <a:pt x="17666" y="24136"/>
                  </a:lnTo>
                  <a:cubicBezTo>
                    <a:pt x="17730" y="24091"/>
                    <a:pt x="17799" y="24070"/>
                    <a:pt x="17866" y="24070"/>
                  </a:cubicBezTo>
                  <a:cubicBezTo>
                    <a:pt x="18021" y="24070"/>
                    <a:pt x="18165" y="24179"/>
                    <a:pt x="18207" y="24347"/>
                  </a:cubicBezTo>
                  <a:cubicBezTo>
                    <a:pt x="18207" y="24588"/>
                    <a:pt x="18238" y="24798"/>
                    <a:pt x="18388" y="24798"/>
                  </a:cubicBezTo>
                  <a:cubicBezTo>
                    <a:pt x="18538" y="24798"/>
                    <a:pt x="18689" y="24798"/>
                    <a:pt x="18689" y="25190"/>
                  </a:cubicBezTo>
                  <a:cubicBezTo>
                    <a:pt x="18689" y="25551"/>
                    <a:pt x="18839" y="26002"/>
                    <a:pt x="18508" y="26333"/>
                  </a:cubicBezTo>
                  <a:cubicBezTo>
                    <a:pt x="18177" y="26694"/>
                    <a:pt x="17786" y="27236"/>
                    <a:pt x="17876" y="27447"/>
                  </a:cubicBezTo>
                  <a:cubicBezTo>
                    <a:pt x="17926" y="27595"/>
                    <a:pt x="17812" y="27846"/>
                    <a:pt x="17922" y="27846"/>
                  </a:cubicBezTo>
                  <a:cubicBezTo>
                    <a:pt x="17945" y="27846"/>
                    <a:pt x="17979" y="27834"/>
                    <a:pt x="18027" y="27808"/>
                  </a:cubicBezTo>
                  <a:cubicBezTo>
                    <a:pt x="18097" y="27764"/>
                    <a:pt x="18194" y="27745"/>
                    <a:pt x="18292" y="27745"/>
                  </a:cubicBezTo>
                  <a:cubicBezTo>
                    <a:pt x="18531" y="27745"/>
                    <a:pt x="18783" y="27852"/>
                    <a:pt x="18719" y="27958"/>
                  </a:cubicBezTo>
                  <a:cubicBezTo>
                    <a:pt x="18659" y="28109"/>
                    <a:pt x="18719" y="28590"/>
                    <a:pt x="18960" y="28590"/>
                  </a:cubicBezTo>
                  <a:cubicBezTo>
                    <a:pt x="19170" y="28590"/>
                    <a:pt x="19321" y="28741"/>
                    <a:pt x="19261" y="28981"/>
                  </a:cubicBezTo>
                  <a:cubicBezTo>
                    <a:pt x="19170" y="29192"/>
                    <a:pt x="19050" y="29493"/>
                    <a:pt x="19261" y="29493"/>
                  </a:cubicBezTo>
                  <a:cubicBezTo>
                    <a:pt x="19441" y="29493"/>
                    <a:pt x="19742" y="29493"/>
                    <a:pt x="19712" y="29704"/>
                  </a:cubicBezTo>
                  <a:cubicBezTo>
                    <a:pt x="19689" y="29841"/>
                    <a:pt x="19788" y="29996"/>
                    <a:pt x="19983" y="29996"/>
                  </a:cubicBezTo>
                  <a:cubicBezTo>
                    <a:pt x="20044" y="29996"/>
                    <a:pt x="20114" y="29981"/>
                    <a:pt x="20194" y="29945"/>
                  </a:cubicBezTo>
                  <a:cubicBezTo>
                    <a:pt x="20380" y="29860"/>
                    <a:pt x="20452" y="29823"/>
                    <a:pt x="20490" y="29823"/>
                  </a:cubicBezTo>
                  <a:cubicBezTo>
                    <a:pt x="20519" y="29823"/>
                    <a:pt x="20529" y="29845"/>
                    <a:pt x="20555" y="29884"/>
                  </a:cubicBezTo>
                  <a:cubicBezTo>
                    <a:pt x="20645" y="29945"/>
                    <a:pt x="20675" y="30215"/>
                    <a:pt x="20946" y="30245"/>
                  </a:cubicBezTo>
                  <a:cubicBezTo>
                    <a:pt x="20960" y="30248"/>
                    <a:pt x="20972" y="30250"/>
                    <a:pt x="20983" y="30250"/>
                  </a:cubicBezTo>
                  <a:cubicBezTo>
                    <a:pt x="21202" y="30250"/>
                    <a:pt x="21062" y="29729"/>
                    <a:pt x="20976" y="29644"/>
                  </a:cubicBezTo>
                  <a:cubicBezTo>
                    <a:pt x="20923" y="29590"/>
                    <a:pt x="21011" y="29232"/>
                    <a:pt x="21073" y="29232"/>
                  </a:cubicBezTo>
                  <a:cubicBezTo>
                    <a:pt x="21082" y="29232"/>
                    <a:pt x="21089" y="29238"/>
                    <a:pt x="21097" y="29252"/>
                  </a:cubicBezTo>
                  <a:cubicBezTo>
                    <a:pt x="21112" y="29276"/>
                    <a:pt x="21144" y="29287"/>
                    <a:pt x="21186" y="29287"/>
                  </a:cubicBezTo>
                  <a:cubicBezTo>
                    <a:pt x="21304" y="29287"/>
                    <a:pt x="21497" y="29197"/>
                    <a:pt x="21608" y="29042"/>
                  </a:cubicBezTo>
                  <a:cubicBezTo>
                    <a:pt x="21643" y="29000"/>
                    <a:pt x="21689" y="28985"/>
                    <a:pt x="21741" y="28985"/>
                  </a:cubicBezTo>
                  <a:cubicBezTo>
                    <a:pt x="21854" y="28985"/>
                    <a:pt x="21992" y="29054"/>
                    <a:pt x="22093" y="29054"/>
                  </a:cubicBezTo>
                  <a:cubicBezTo>
                    <a:pt x="22145" y="29054"/>
                    <a:pt x="22187" y="29036"/>
                    <a:pt x="22210" y="28981"/>
                  </a:cubicBezTo>
                  <a:cubicBezTo>
                    <a:pt x="22240" y="28922"/>
                    <a:pt x="22281" y="28901"/>
                    <a:pt x="22329" y="28901"/>
                  </a:cubicBezTo>
                  <a:cubicBezTo>
                    <a:pt x="22444" y="28901"/>
                    <a:pt x="22602" y="29017"/>
                    <a:pt x="22762" y="29017"/>
                  </a:cubicBezTo>
                  <a:cubicBezTo>
                    <a:pt x="22809" y="29017"/>
                    <a:pt x="22856" y="29007"/>
                    <a:pt x="22902" y="28981"/>
                  </a:cubicBezTo>
                  <a:cubicBezTo>
                    <a:pt x="22962" y="28948"/>
                    <a:pt x="23015" y="28937"/>
                    <a:pt x="23064" y="28937"/>
                  </a:cubicBezTo>
                  <a:cubicBezTo>
                    <a:pt x="23168" y="28937"/>
                    <a:pt x="23248" y="28989"/>
                    <a:pt x="23310" y="28989"/>
                  </a:cubicBezTo>
                  <a:cubicBezTo>
                    <a:pt x="23352" y="28989"/>
                    <a:pt x="23386" y="28966"/>
                    <a:pt x="23414" y="28891"/>
                  </a:cubicBezTo>
                  <a:cubicBezTo>
                    <a:pt x="23515" y="28714"/>
                    <a:pt x="23851" y="28472"/>
                    <a:pt x="24009" y="28472"/>
                  </a:cubicBezTo>
                  <a:cubicBezTo>
                    <a:pt x="24038" y="28472"/>
                    <a:pt x="24062" y="28481"/>
                    <a:pt x="24076" y="28500"/>
                  </a:cubicBezTo>
                  <a:cubicBezTo>
                    <a:pt x="24226" y="28681"/>
                    <a:pt x="24467" y="28801"/>
                    <a:pt x="24708" y="28831"/>
                  </a:cubicBezTo>
                  <a:cubicBezTo>
                    <a:pt x="25220" y="28891"/>
                    <a:pt x="24919" y="29132"/>
                    <a:pt x="24919" y="29313"/>
                  </a:cubicBezTo>
                  <a:cubicBezTo>
                    <a:pt x="24919" y="29493"/>
                    <a:pt x="25490" y="29854"/>
                    <a:pt x="25731" y="29884"/>
                  </a:cubicBezTo>
                  <a:cubicBezTo>
                    <a:pt x="25942" y="29914"/>
                    <a:pt x="25821" y="29945"/>
                    <a:pt x="25882" y="30035"/>
                  </a:cubicBezTo>
                  <a:cubicBezTo>
                    <a:pt x="25891" y="30053"/>
                    <a:pt x="25936" y="30063"/>
                    <a:pt x="25995" y="30063"/>
                  </a:cubicBezTo>
                  <a:cubicBezTo>
                    <a:pt x="26131" y="30063"/>
                    <a:pt x="26342" y="30010"/>
                    <a:pt x="26363" y="29884"/>
                  </a:cubicBezTo>
                  <a:cubicBezTo>
                    <a:pt x="26377" y="29802"/>
                    <a:pt x="26448" y="29763"/>
                    <a:pt x="26532" y="29763"/>
                  </a:cubicBezTo>
                  <a:cubicBezTo>
                    <a:pt x="26631" y="29763"/>
                    <a:pt x="26749" y="29817"/>
                    <a:pt x="26815" y="29914"/>
                  </a:cubicBezTo>
                  <a:cubicBezTo>
                    <a:pt x="26879" y="30011"/>
                    <a:pt x="26943" y="30073"/>
                    <a:pt x="27022" y="30073"/>
                  </a:cubicBezTo>
                  <a:cubicBezTo>
                    <a:pt x="27090" y="30073"/>
                    <a:pt x="27168" y="30026"/>
                    <a:pt x="27266" y="29914"/>
                  </a:cubicBezTo>
                  <a:cubicBezTo>
                    <a:pt x="27311" y="29875"/>
                    <a:pt x="27350" y="29859"/>
                    <a:pt x="27384" y="29859"/>
                  </a:cubicBezTo>
                  <a:cubicBezTo>
                    <a:pt x="27532" y="29859"/>
                    <a:pt x="27569" y="30172"/>
                    <a:pt x="27447" y="30245"/>
                  </a:cubicBezTo>
                  <a:cubicBezTo>
                    <a:pt x="27296" y="30366"/>
                    <a:pt x="27416" y="30697"/>
                    <a:pt x="27657" y="30938"/>
                  </a:cubicBezTo>
                  <a:cubicBezTo>
                    <a:pt x="27705" y="30985"/>
                    <a:pt x="27743" y="31005"/>
                    <a:pt x="27774" y="31005"/>
                  </a:cubicBezTo>
                  <a:cubicBezTo>
                    <a:pt x="27878" y="31005"/>
                    <a:pt x="27891" y="30770"/>
                    <a:pt x="27868" y="30607"/>
                  </a:cubicBezTo>
                  <a:cubicBezTo>
                    <a:pt x="27838" y="30366"/>
                    <a:pt x="28259" y="30185"/>
                    <a:pt x="28951" y="29914"/>
                  </a:cubicBezTo>
                  <a:cubicBezTo>
                    <a:pt x="29674" y="29644"/>
                    <a:pt x="30516" y="29132"/>
                    <a:pt x="30516" y="29012"/>
                  </a:cubicBezTo>
                  <a:cubicBezTo>
                    <a:pt x="30516" y="28994"/>
                    <a:pt x="30528" y="28986"/>
                    <a:pt x="30548" y="28986"/>
                  </a:cubicBezTo>
                  <a:cubicBezTo>
                    <a:pt x="30632" y="28986"/>
                    <a:pt x="30867" y="29109"/>
                    <a:pt x="31077" y="29109"/>
                  </a:cubicBezTo>
                  <a:cubicBezTo>
                    <a:pt x="31158" y="29109"/>
                    <a:pt x="31235" y="29091"/>
                    <a:pt x="31299" y="29042"/>
                  </a:cubicBezTo>
                  <a:cubicBezTo>
                    <a:pt x="31570" y="28861"/>
                    <a:pt x="32412" y="28831"/>
                    <a:pt x="32653" y="28831"/>
                  </a:cubicBezTo>
                  <a:cubicBezTo>
                    <a:pt x="32864" y="28831"/>
                    <a:pt x="32864" y="28590"/>
                    <a:pt x="33134" y="28410"/>
                  </a:cubicBezTo>
                  <a:cubicBezTo>
                    <a:pt x="33405" y="28229"/>
                    <a:pt x="33315" y="28109"/>
                    <a:pt x="33586" y="28049"/>
                  </a:cubicBezTo>
                  <a:cubicBezTo>
                    <a:pt x="33827" y="27988"/>
                    <a:pt x="34007" y="27778"/>
                    <a:pt x="34037" y="27537"/>
                  </a:cubicBezTo>
                  <a:cubicBezTo>
                    <a:pt x="34037" y="27447"/>
                    <a:pt x="34579" y="27356"/>
                    <a:pt x="34609" y="27206"/>
                  </a:cubicBezTo>
                  <a:cubicBezTo>
                    <a:pt x="34639" y="27055"/>
                    <a:pt x="34970" y="27025"/>
                    <a:pt x="34970" y="26845"/>
                  </a:cubicBezTo>
                  <a:cubicBezTo>
                    <a:pt x="34970" y="26634"/>
                    <a:pt x="35211" y="26694"/>
                    <a:pt x="35331" y="26544"/>
                  </a:cubicBezTo>
                  <a:cubicBezTo>
                    <a:pt x="35422" y="26393"/>
                    <a:pt x="35241" y="26002"/>
                    <a:pt x="35422" y="25942"/>
                  </a:cubicBezTo>
                  <a:cubicBezTo>
                    <a:pt x="35632" y="25852"/>
                    <a:pt x="35361" y="25671"/>
                    <a:pt x="35331" y="25551"/>
                  </a:cubicBezTo>
                  <a:cubicBezTo>
                    <a:pt x="35271" y="25430"/>
                    <a:pt x="35692" y="25400"/>
                    <a:pt x="35873" y="25280"/>
                  </a:cubicBezTo>
                  <a:cubicBezTo>
                    <a:pt x="36084" y="25159"/>
                    <a:pt x="36204" y="24949"/>
                    <a:pt x="36264" y="24738"/>
                  </a:cubicBezTo>
                  <a:cubicBezTo>
                    <a:pt x="36264" y="24497"/>
                    <a:pt x="36595" y="24317"/>
                    <a:pt x="36746" y="24287"/>
                  </a:cubicBezTo>
                  <a:cubicBezTo>
                    <a:pt x="36896" y="24227"/>
                    <a:pt x="36987" y="23895"/>
                    <a:pt x="36926" y="23625"/>
                  </a:cubicBezTo>
                  <a:cubicBezTo>
                    <a:pt x="36896" y="23384"/>
                    <a:pt x="37197" y="23414"/>
                    <a:pt x="37047" y="23294"/>
                  </a:cubicBezTo>
                  <a:cubicBezTo>
                    <a:pt x="36896" y="23173"/>
                    <a:pt x="37137" y="22932"/>
                    <a:pt x="37378" y="22842"/>
                  </a:cubicBezTo>
                  <a:cubicBezTo>
                    <a:pt x="37589" y="22795"/>
                    <a:pt x="37362" y="22694"/>
                    <a:pt x="37180" y="22694"/>
                  </a:cubicBezTo>
                  <a:cubicBezTo>
                    <a:pt x="37128" y="22694"/>
                    <a:pt x="37080" y="22702"/>
                    <a:pt x="37047" y="22722"/>
                  </a:cubicBezTo>
                  <a:cubicBezTo>
                    <a:pt x="37029" y="22736"/>
                    <a:pt x="37010" y="22743"/>
                    <a:pt x="36992" y="22743"/>
                  </a:cubicBezTo>
                  <a:cubicBezTo>
                    <a:pt x="36886" y="22743"/>
                    <a:pt x="36779" y="22528"/>
                    <a:pt x="36672" y="22528"/>
                  </a:cubicBezTo>
                  <a:cubicBezTo>
                    <a:pt x="36647" y="22528"/>
                    <a:pt x="36621" y="22541"/>
                    <a:pt x="36595" y="22571"/>
                  </a:cubicBezTo>
                  <a:cubicBezTo>
                    <a:pt x="36558" y="22624"/>
                    <a:pt x="36507" y="22645"/>
                    <a:pt x="36456" y="22645"/>
                  </a:cubicBezTo>
                  <a:cubicBezTo>
                    <a:pt x="36302" y="22645"/>
                    <a:pt x="36144" y="22458"/>
                    <a:pt x="36324" y="22391"/>
                  </a:cubicBezTo>
                  <a:cubicBezTo>
                    <a:pt x="36595" y="22331"/>
                    <a:pt x="36956" y="22060"/>
                    <a:pt x="37167" y="22030"/>
                  </a:cubicBezTo>
                  <a:cubicBezTo>
                    <a:pt x="37348" y="21969"/>
                    <a:pt x="36896" y="21578"/>
                    <a:pt x="36686" y="21578"/>
                  </a:cubicBezTo>
                  <a:cubicBezTo>
                    <a:pt x="36445" y="21578"/>
                    <a:pt x="36204" y="21036"/>
                    <a:pt x="35963" y="21036"/>
                  </a:cubicBezTo>
                  <a:cubicBezTo>
                    <a:pt x="35783" y="21036"/>
                    <a:pt x="35923" y="20970"/>
                    <a:pt x="36117" y="20970"/>
                  </a:cubicBezTo>
                  <a:cubicBezTo>
                    <a:pt x="36214" y="20970"/>
                    <a:pt x="36324" y="20986"/>
                    <a:pt x="36415" y="21036"/>
                  </a:cubicBezTo>
                  <a:cubicBezTo>
                    <a:pt x="36598" y="21138"/>
                    <a:pt x="36808" y="21226"/>
                    <a:pt x="36962" y="21226"/>
                  </a:cubicBezTo>
                  <a:cubicBezTo>
                    <a:pt x="37037" y="21226"/>
                    <a:pt x="37098" y="21206"/>
                    <a:pt x="37137" y="21157"/>
                  </a:cubicBezTo>
                  <a:cubicBezTo>
                    <a:pt x="37227" y="21006"/>
                    <a:pt x="36686" y="20585"/>
                    <a:pt x="36445" y="20435"/>
                  </a:cubicBezTo>
                  <a:cubicBezTo>
                    <a:pt x="36234" y="20284"/>
                    <a:pt x="36445" y="20013"/>
                    <a:pt x="36294" y="19953"/>
                  </a:cubicBezTo>
                  <a:cubicBezTo>
                    <a:pt x="36114" y="19622"/>
                    <a:pt x="35933" y="19321"/>
                    <a:pt x="35813" y="18960"/>
                  </a:cubicBezTo>
                  <a:cubicBezTo>
                    <a:pt x="35723" y="18719"/>
                    <a:pt x="35211" y="18659"/>
                    <a:pt x="35091" y="18478"/>
                  </a:cubicBezTo>
                  <a:cubicBezTo>
                    <a:pt x="34970" y="18298"/>
                    <a:pt x="35121" y="17907"/>
                    <a:pt x="35482" y="17756"/>
                  </a:cubicBezTo>
                  <a:cubicBezTo>
                    <a:pt x="35799" y="17612"/>
                    <a:pt x="35702" y="17303"/>
                    <a:pt x="35825" y="17303"/>
                  </a:cubicBezTo>
                  <a:cubicBezTo>
                    <a:pt x="35831" y="17303"/>
                    <a:pt x="35836" y="17303"/>
                    <a:pt x="35843" y="17305"/>
                  </a:cubicBezTo>
                  <a:cubicBezTo>
                    <a:pt x="35872" y="17317"/>
                    <a:pt x="35902" y="17323"/>
                    <a:pt x="35932" y="17323"/>
                  </a:cubicBezTo>
                  <a:cubicBezTo>
                    <a:pt x="36052" y="17323"/>
                    <a:pt x="36173" y="17222"/>
                    <a:pt x="36294" y="17004"/>
                  </a:cubicBezTo>
                  <a:cubicBezTo>
                    <a:pt x="36445" y="16763"/>
                    <a:pt x="36625" y="16914"/>
                    <a:pt x="36776" y="16793"/>
                  </a:cubicBezTo>
                  <a:cubicBezTo>
                    <a:pt x="36926" y="16673"/>
                    <a:pt x="37468" y="16643"/>
                    <a:pt x="37649" y="16522"/>
                  </a:cubicBezTo>
                  <a:cubicBezTo>
                    <a:pt x="37814" y="16412"/>
                    <a:pt x="37551" y="15999"/>
                    <a:pt x="37274" y="15999"/>
                  </a:cubicBezTo>
                  <a:cubicBezTo>
                    <a:pt x="37248" y="15999"/>
                    <a:pt x="37223" y="16003"/>
                    <a:pt x="37197" y="16011"/>
                  </a:cubicBezTo>
                  <a:cubicBezTo>
                    <a:pt x="37146" y="16021"/>
                    <a:pt x="37094" y="16026"/>
                    <a:pt x="37043" y="16026"/>
                  </a:cubicBezTo>
                  <a:cubicBezTo>
                    <a:pt x="36797" y="16026"/>
                    <a:pt x="36570" y="15909"/>
                    <a:pt x="36445" y="15710"/>
                  </a:cubicBezTo>
                  <a:cubicBezTo>
                    <a:pt x="36417" y="15663"/>
                    <a:pt x="36382" y="15643"/>
                    <a:pt x="36341" y="15643"/>
                  </a:cubicBezTo>
                  <a:cubicBezTo>
                    <a:pt x="36118" y="15643"/>
                    <a:pt x="35723" y="16245"/>
                    <a:pt x="35392" y="16372"/>
                  </a:cubicBezTo>
                  <a:cubicBezTo>
                    <a:pt x="35342" y="16392"/>
                    <a:pt x="35295" y="16402"/>
                    <a:pt x="35250" y="16402"/>
                  </a:cubicBezTo>
                  <a:cubicBezTo>
                    <a:pt x="34964" y="16402"/>
                    <a:pt x="34780" y="16026"/>
                    <a:pt x="34910" y="15740"/>
                  </a:cubicBezTo>
                  <a:cubicBezTo>
                    <a:pt x="35017" y="15504"/>
                    <a:pt x="34820" y="15452"/>
                    <a:pt x="34502" y="15452"/>
                  </a:cubicBezTo>
                  <a:cubicBezTo>
                    <a:pt x="34373" y="15452"/>
                    <a:pt x="34224" y="15460"/>
                    <a:pt x="34067" y="15469"/>
                  </a:cubicBezTo>
                  <a:cubicBezTo>
                    <a:pt x="34060" y="15469"/>
                    <a:pt x="34052" y="15470"/>
                    <a:pt x="34044" y="15470"/>
                  </a:cubicBezTo>
                  <a:cubicBezTo>
                    <a:pt x="33561" y="15470"/>
                    <a:pt x="33741" y="14536"/>
                    <a:pt x="34067" y="14506"/>
                  </a:cubicBezTo>
                  <a:cubicBezTo>
                    <a:pt x="34097" y="14501"/>
                    <a:pt x="34127" y="14499"/>
                    <a:pt x="34157" y="14499"/>
                  </a:cubicBezTo>
                  <a:cubicBezTo>
                    <a:pt x="34319" y="14499"/>
                    <a:pt x="34484" y="14559"/>
                    <a:pt x="34636" y="14559"/>
                  </a:cubicBezTo>
                  <a:cubicBezTo>
                    <a:pt x="34798" y="14559"/>
                    <a:pt x="34946" y="14490"/>
                    <a:pt x="35061" y="14205"/>
                  </a:cubicBezTo>
                  <a:cubicBezTo>
                    <a:pt x="35271" y="13603"/>
                    <a:pt x="35542" y="14085"/>
                    <a:pt x="35963" y="13543"/>
                  </a:cubicBezTo>
                  <a:cubicBezTo>
                    <a:pt x="36269" y="13172"/>
                    <a:pt x="36638" y="12911"/>
                    <a:pt x="36967" y="12911"/>
                  </a:cubicBezTo>
                  <a:cubicBezTo>
                    <a:pt x="37091" y="12911"/>
                    <a:pt x="37210" y="12949"/>
                    <a:pt x="37318" y="13031"/>
                  </a:cubicBezTo>
                  <a:cubicBezTo>
                    <a:pt x="37679" y="13332"/>
                    <a:pt x="36896" y="13814"/>
                    <a:pt x="36776" y="14085"/>
                  </a:cubicBezTo>
                  <a:cubicBezTo>
                    <a:pt x="36686" y="14355"/>
                    <a:pt x="36896" y="14506"/>
                    <a:pt x="36686" y="14717"/>
                  </a:cubicBezTo>
                  <a:cubicBezTo>
                    <a:pt x="36565" y="14837"/>
                    <a:pt x="36580" y="14905"/>
                    <a:pt x="36682" y="14905"/>
                  </a:cubicBezTo>
                  <a:cubicBezTo>
                    <a:pt x="36783" y="14905"/>
                    <a:pt x="36972" y="14837"/>
                    <a:pt x="37197" y="14687"/>
                  </a:cubicBezTo>
                  <a:cubicBezTo>
                    <a:pt x="37649" y="14386"/>
                    <a:pt x="38160" y="14115"/>
                    <a:pt x="38672" y="13904"/>
                  </a:cubicBezTo>
                  <a:cubicBezTo>
                    <a:pt x="38792" y="13814"/>
                    <a:pt x="38913" y="13814"/>
                    <a:pt x="39033" y="13814"/>
                  </a:cubicBezTo>
                  <a:cubicBezTo>
                    <a:pt x="39093" y="13693"/>
                    <a:pt x="39153" y="13573"/>
                    <a:pt x="39274" y="13483"/>
                  </a:cubicBezTo>
                  <a:cubicBezTo>
                    <a:pt x="39575" y="13332"/>
                    <a:pt x="40628" y="12881"/>
                    <a:pt x="40779" y="12640"/>
                  </a:cubicBezTo>
                  <a:cubicBezTo>
                    <a:pt x="40929" y="12429"/>
                    <a:pt x="41079" y="12098"/>
                    <a:pt x="41260" y="12098"/>
                  </a:cubicBezTo>
                  <a:cubicBezTo>
                    <a:pt x="41441" y="12098"/>
                    <a:pt x="41501" y="12309"/>
                    <a:pt x="41802" y="12309"/>
                  </a:cubicBezTo>
                  <a:cubicBezTo>
                    <a:pt x="41943" y="12309"/>
                    <a:pt x="42092" y="12336"/>
                    <a:pt x="42193" y="12336"/>
                  </a:cubicBezTo>
                  <a:cubicBezTo>
                    <a:pt x="42308" y="12336"/>
                    <a:pt x="42363" y="12302"/>
                    <a:pt x="42283" y="12159"/>
                  </a:cubicBezTo>
                  <a:cubicBezTo>
                    <a:pt x="42133" y="11888"/>
                    <a:pt x="42253" y="11888"/>
                    <a:pt x="42584" y="11858"/>
                  </a:cubicBezTo>
                  <a:cubicBezTo>
                    <a:pt x="42915" y="11828"/>
                    <a:pt x="42915" y="11436"/>
                    <a:pt x="43156" y="11436"/>
                  </a:cubicBezTo>
                  <a:cubicBezTo>
                    <a:pt x="43367" y="11436"/>
                    <a:pt x="43367" y="10834"/>
                    <a:pt x="43638" y="10834"/>
                  </a:cubicBezTo>
                  <a:cubicBezTo>
                    <a:pt x="43844" y="10834"/>
                    <a:pt x="43940" y="11100"/>
                    <a:pt x="44152" y="11100"/>
                  </a:cubicBezTo>
                  <a:cubicBezTo>
                    <a:pt x="44188" y="11100"/>
                    <a:pt x="44227" y="11092"/>
                    <a:pt x="44270" y="11075"/>
                  </a:cubicBezTo>
                  <a:lnTo>
                    <a:pt x="44510" y="11075"/>
                  </a:lnTo>
                  <a:lnTo>
                    <a:pt x="44691" y="10925"/>
                  </a:lnTo>
                  <a:cubicBezTo>
                    <a:pt x="44661" y="10624"/>
                    <a:pt x="44691" y="10323"/>
                    <a:pt x="44661" y="10172"/>
                  </a:cubicBezTo>
                  <a:cubicBezTo>
                    <a:pt x="44601" y="10022"/>
                    <a:pt x="44661" y="9691"/>
                    <a:pt x="44570" y="9540"/>
                  </a:cubicBezTo>
                  <a:cubicBezTo>
                    <a:pt x="44480" y="9390"/>
                    <a:pt x="44540" y="8969"/>
                    <a:pt x="44721" y="8969"/>
                  </a:cubicBezTo>
                  <a:cubicBezTo>
                    <a:pt x="44873" y="8969"/>
                    <a:pt x="45068" y="8627"/>
                    <a:pt x="45251" y="8627"/>
                  </a:cubicBezTo>
                  <a:cubicBezTo>
                    <a:pt x="45286" y="8627"/>
                    <a:pt x="45320" y="8639"/>
                    <a:pt x="45353" y="8668"/>
                  </a:cubicBezTo>
                  <a:cubicBezTo>
                    <a:pt x="45473" y="8758"/>
                    <a:pt x="45654" y="8803"/>
                    <a:pt x="45804" y="8803"/>
                  </a:cubicBezTo>
                  <a:cubicBezTo>
                    <a:pt x="45955" y="8803"/>
                    <a:pt x="46075" y="8758"/>
                    <a:pt x="46075" y="8668"/>
                  </a:cubicBezTo>
                  <a:cubicBezTo>
                    <a:pt x="46075" y="8487"/>
                    <a:pt x="46376" y="8397"/>
                    <a:pt x="46466" y="8126"/>
                  </a:cubicBezTo>
                  <a:cubicBezTo>
                    <a:pt x="46527" y="7885"/>
                    <a:pt x="46828" y="7795"/>
                    <a:pt x="46918" y="7524"/>
                  </a:cubicBezTo>
                  <a:cubicBezTo>
                    <a:pt x="46978" y="7283"/>
                    <a:pt x="47098" y="6681"/>
                    <a:pt x="47309" y="6531"/>
                  </a:cubicBezTo>
                  <a:cubicBezTo>
                    <a:pt x="47550" y="6380"/>
                    <a:pt x="47279" y="6260"/>
                    <a:pt x="47309" y="5839"/>
                  </a:cubicBezTo>
                  <a:cubicBezTo>
                    <a:pt x="47309" y="5607"/>
                    <a:pt x="47182" y="5534"/>
                    <a:pt x="47038" y="5534"/>
                  </a:cubicBezTo>
                  <a:cubicBezTo>
                    <a:pt x="46902" y="5534"/>
                    <a:pt x="46750" y="5600"/>
                    <a:pt x="46677" y="5658"/>
                  </a:cubicBezTo>
                  <a:cubicBezTo>
                    <a:pt x="46527" y="5779"/>
                    <a:pt x="46045" y="5658"/>
                    <a:pt x="45895" y="5959"/>
                  </a:cubicBezTo>
                  <a:cubicBezTo>
                    <a:pt x="45823" y="6102"/>
                    <a:pt x="45732" y="6136"/>
                    <a:pt x="45623" y="6136"/>
                  </a:cubicBezTo>
                  <a:cubicBezTo>
                    <a:pt x="45521" y="6136"/>
                    <a:pt x="45405" y="6106"/>
                    <a:pt x="45276" y="6106"/>
                  </a:cubicBezTo>
                  <a:cubicBezTo>
                    <a:pt x="45252" y="6106"/>
                    <a:pt x="45227" y="6107"/>
                    <a:pt x="45202" y="6110"/>
                  </a:cubicBezTo>
                  <a:cubicBezTo>
                    <a:pt x="45172" y="6113"/>
                    <a:pt x="45139" y="6114"/>
                    <a:pt x="45104" y="6114"/>
                  </a:cubicBezTo>
                  <a:cubicBezTo>
                    <a:pt x="44803" y="6114"/>
                    <a:pt x="44393" y="5998"/>
                    <a:pt x="44420" y="5809"/>
                  </a:cubicBezTo>
                  <a:cubicBezTo>
                    <a:pt x="44450" y="5568"/>
                    <a:pt x="44239" y="5387"/>
                    <a:pt x="44270" y="5116"/>
                  </a:cubicBezTo>
                  <a:cubicBezTo>
                    <a:pt x="44300" y="4846"/>
                    <a:pt x="43938" y="4966"/>
                    <a:pt x="43698" y="4755"/>
                  </a:cubicBezTo>
                  <a:cubicBezTo>
                    <a:pt x="43515" y="4546"/>
                    <a:pt x="43105" y="4382"/>
                    <a:pt x="42961" y="4382"/>
                  </a:cubicBezTo>
                  <a:cubicBezTo>
                    <a:pt x="42939" y="4382"/>
                    <a:pt x="42923" y="4386"/>
                    <a:pt x="42915" y="4394"/>
                  </a:cubicBezTo>
                  <a:cubicBezTo>
                    <a:pt x="42905" y="4405"/>
                    <a:pt x="42891" y="4410"/>
                    <a:pt x="42874" y="4410"/>
                  </a:cubicBezTo>
                  <a:cubicBezTo>
                    <a:pt x="42752" y="4410"/>
                    <a:pt x="42478" y="4146"/>
                    <a:pt x="42133" y="4093"/>
                  </a:cubicBezTo>
                  <a:cubicBezTo>
                    <a:pt x="41711" y="4063"/>
                    <a:pt x="41772" y="3852"/>
                    <a:pt x="41832" y="3642"/>
                  </a:cubicBezTo>
                  <a:cubicBezTo>
                    <a:pt x="41862" y="3461"/>
                    <a:pt x="41471" y="2980"/>
                    <a:pt x="41411" y="2709"/>
                  </a:cubicBezTo>
                  <a:cubicBezTo>
                    <a:pt x="41320" y="2438"/>
                    <a:pt x="41079" y="2378"/>
                    <a:pt x="40959" y="1776"/>
                  </a:cubicBezTo>
                  <a:cubicBezTo>
                    <a:pt x="40839" y="1174"/>
                    <a:pt x="40508" y="1324"/>
                    <a:pt x="40568" y="1054"/>
                  </a:cubicBezTo>
                  <a:cubicBezTo>
                    <a:pt x="40658" y="783"/>
                    <a:pt x="40177" y="602"/>
                    <a:pt x="40056" y="452"/>
                  </a:cubicBezTo>
                  <a:cubicBezTo>
                    <a:pt x="39936" y="301"/>
                    <a:pt x="39454" y="392"/>
                    <a:pt x="39123" y="181"/>
                  </a:cubicBezTo>
                  <a:cubicBezTo>
                    <a:pt x="38762" y="0"/>
                    <a:pt x="38551" y="121"/>
                    <a:pt x="38220" y="30"/>
                  </a:cubicBezTo>
                  <a:cubicBezTo>
                    <a:pt x="38123" y="23"/>
                    <a:pt x="38025" y="19"/>
                    <a:pt x="37927" y="19"/>
                  </a:cubicBezTo>
                  <a:close/>
                  <a:moveTo>
                    <a:pt x="28168" y="31169"/>
                  </a:moveTo>
                  <a:cubicBezTo>
                    <a:pt x="27948" y="31169"/>
                    <a:pt x="27653" y="31208"/>
                    <a:pt x="27447" y="31208"/>
                  </a:cubicBezTo>
                  <a:cubicBezTo>
                    <a:pt x="27146" y="31208"/>
                    <a:pt x="26393" y="31660"/>
                    <a:pt x="26694" y="32262"/>
                  </a:cubicBezTo>
                  <a:cubicBezTo>
                    <a:pt x="26809" y="32492"/>
                    <a:pt x="27031" y="32577"/>
                    <a:pt x="27260" y="32577"/>
                  </a:cubicBezTo>
                  <a:cubicBezTo>
                    <a:pt x="27629" y="32577"/>
                    <a:pt x="28018" y="32357"/>
                    <a:pt x="28018" y="32172"/>
                  </a:cubicBezTo>
                  <a:cubicBezTo>
                    <a:pt x="28018" y="31871"/>
                    <a:pt x="28500" y="31449"/>
                    <a:pt x="28470" y="31269"/>
                  </a:cubicBezTo>
                  <a:cubicBezTo>
                    <a:pt x="28457" y="31191"/>
                    <a:pt x="28333" y="31169"/>
                    <a:pt x="28168" y="31169"/>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10" name="Google Shape;3004;p123">
              <a:extLst>
                <a:ext uri="{FF2B5EF4-FFF2-40B4-BE49-F238E27FC236}">
                  <a16:creationId xmlns:a16="http://schemas.microsoft.com/office/drawing/2014/main" id="{E8E5D33B-16C6-9B4A-A684-4001B140ACDF}"/>
                </a:ext>
              </a:extLst>
            </p:cNvPr>
            <p:cNvSpPr/>
            <p:nvPr/>
          </p:nvSpPr>
          <p:spPr>
            <a:xfrm>
              <a:off x="7114536" y="2816814"/>
              <a:ext cx="238117" cy="327562"/>
            </a:xfrm>
            <a:custGeom>
              <a:avLst/>
              <a:gdLst/>
              <a:ahLst/>
              <a:cxnLst/>
              <a:rect l="l" t="t" r="r" b="b"/>
              <a:pathLst>
                <a:path w="7675" h="10558" extrusionOk="0">
                  <a:moveTo>
                    <a:pt x="2605" y="4157"/>
                  </a:moveTo>
                  <a:cubicBezTo>
                    <a:pt x="2572" y="4157"/>
                    <a:pt x="2554" y="4173"/>
                    <a:pt x="2558" y="4208"/>
                  </a:cubicBezTo>
                  <a:cubicBezTo>
                    <a:pt x="2611" y="4471"/>
                    <a:pt x="2779" y="5058"/>
                    <a:pt x="3144" y="5058"/>
                  </a:cubicBezTo>
                  <a:cubicBezTo>
                    <a:pt x="3195" y="5058"/>
                    <a:pt x="3251" y="5046"/>
                    <a:pt x="3311" y="5020"/>
                  </a:cubicBezTo>
                  <a:cubicBezTo>
                    <a:pt x="3730" y="4863"/>
                    <a:pt x="2825" y="4157"/>
                    <a:pt x="2605" y="4157"/>
                  </a:cubicBezTo>
                  <a:close/>
                  <a:moveTo>
                    <a:pt x="2915" y="0"/>
                  </a:moveTo>
                  <a:cubicBezTo>
                    <a:pt x="2826" y="0"/>
                    <a:pt x="2745" y="15"/>
                    <a:pt x="2679" y="55"/>
                  </a:cubicBezTo>
                  <a:cubicBezTo>
                    <a:pt x="2378" y="265"/>
                    <a:pt x="2619" y="1800"/>
                    <a:pt x="2528" y="1920"/>
                  </a:cubicBezTo>
                  <a:cubicBezTo>
                    <a:pt x="2515" y="1931"/>
                    <a:pt x="2499" y="1935"/>
                    <a:pt x="2483" y="1935"/>
                  </a:cubicBezTo>
                  <a:cubicBezTo>
                    <a:pt x="2381" y="1935"/>
                    <a:pt x="2238" y="1763"/>
                    <a:pt x="2171" y="1763"/>
                  </a:cubicBezTo>
                  <a:cubicBezTo>
                    <a:pt x="2154" y="1763"/>
                    <a:pt x="2142" y="1774"/>
                    <a:pt x="2137" y="1800"/>
                  </a:cubicBezTo>
                  <a:cubicBezTo>
                    <a:pt x="2107" y="1951"/>
                    <a:pt x="2137" y="2883"/>
                    <a:pt x="2318" y="2883"/>
                  </a:cubicBezTo>
                  <a:cubicBezTo>
                    <a:pt x="2528" y="2883"/>
                    <a:pt x="2679" y="3124"/>
                    <a:pt x="2558" y="3485"/>
                  </a:cubicBezTo>
                  <a:cubicBezTo>
                    <a:pt x="2481" y="3738"/>
                    <a:pt x="2641" y="3840"/>
                    <a:pt x="2887" y="3840"/>
                  </a:cubicBezTo>
                  <a:cubicBezTo>
                    <a:pt x="3021" y="3840"/>
                    <a:pt x="3181" y="3809"/>
                    <a:pt x="3341" y="3756"/>
                  </a:cubicBezTo>
                  <a:cubicBezTo>
                    <a:pt x="3406" y="3734"/>
                    <a:pt x="3458" y="3725"/>
                    <a:pt x="3501" y="3725"/>
                  </a:cubicBezTo>
                  <a:cubicBezTo>
                    <a:pt x="3726" y="3725"/>
                    <a:pt x="3690" y="3979"/>
                    <a:pt x="3953" y="3979"/>
                  </a:cubicBezTo>
                  <a:cubicBezTo>
                    <a:pt x="3985" y="3979"/>
                    <a:pt x="4021" y="3975"/>
                    <a:pt x="4063" y="3967"/>
                  </a:cubicBezTo>
                  <a:cubicBezTo>
                    <a:pt x="4085" y="3964"/>
                    <a:pt x="4108" y="3962"/>
                    <a:pt x="4131" y="3962"/>
                  </a:cubicBezTo>
                  <a:cubicBezTo>
                    <a:pt x="4572" y="3962"/>
                    <a:pt x="5112" y="4489"/>
                    <a:pt x="5026" y="4689"/>
                  </a:cubicBezTo>
                  <a:cubicBezTo>
                    <a:pt x="4973" y="4900"/>
                    <a:pt x="5013" y="5413"/>
                    <a:pt x="5187" y="5413"/>
                  </a:cubicBezTo>
                  <a:cubicBezTo>
                    <a:pt x="5211" y="5413"/>
                    <a:pt x="5237" y="5403"/>
                    <a:pt x="5267" y="5381"/>
                  </a:cubicBezTo>
                  <a:cubicBezTo>
                    <a:pt x="5319" y="5329"/>
                    <a:pt x="5377" y="5307"/>
                    <a:pt x="5431" y="5307"/>
                  </a:cubicBezTo>
                  <a:cubicBezTo>
                    <a:pt x="5597" y="5307"/>
                    <a:pt x="5734" y="5516"/>
                    <a:pt x="5598" y="5742"/>
                  </a:cubicBezTo>
                  <a:cubicBezTo>
                    <a:pt x="5417" y="6043"/>
                    <a:pt x="5899" y="6344"/>
                    <a:pt x="5989" y="6736"/>
                  </a:cubicBezTo>
                  <a:cubicBezTo>
                    <a:pt x="6009" y="6853"/>
                    <a:pt x="6048" y="6901"/>
                    <a:pt x="6089" y="6901"/>
                  </a:cubicBezTo>
                  <a:cubicBezTo>
                    <a:pt x="6174" y="6901"/>
                    <a:pt x="6270" y="6698"/>
                    <a:pt x="6230" y="6495"/>
                  </a:cubicBezTo>
                  <a:cubicBezTo>
                    <a:pt x="6200" y="6194"/>
                    <a:pt x="6290" y="6284"/>
                    <a:pt x="6591" y="6043"/>
                  </a:cubicBezTo>
                  <a:cubicBezTo>
                    <a:pt x="6892" y="5833"/>
                    <a:pt x="6591" y="5472"/>
                    <a:pt x="6380" y="5080"/>
                  </a:cubicBezTo>
                  <a:cubicBezTo>
                    <a:pt x="6200" y="4659"/>
                    <a:pt x="5478" y="4840"/>
                    <a:pt x="5478" y="4478"/>
                  </a:cubicBezTo>
                  <a:cubicBezTo>
                    <a:pt x="5478" y="4087"/>
                    <a:pt x="4966" y="3967"/>
                    <a:pt x="4966" y="3756"/>
                  </a:cubicBezTo>
                  <a:cubicBezTo>
                    <a:pt x="4966" y="3596"/>
                    <a:pt x="4645" y="3462"/>
                    <a:pt x="4324" y="3462"/>
                  </a:cubicBezTo>
                  <a:cubicBezTo>
                    <a:pt x="4163" y="3462"/>
                    <a:pt x="4003" y="3495"/>
                    <a:pt x="3883" y="3576"/>
                  </a:cubicBezTo>
                  <a:cubicBezTo>
                    <a:pt x="3828" y="3605"/>
                    <a:pt x="3786" y="3618"/>
                    <a:pt x="3753" y="3618"/>
                  </a:cubicBezTo>
                  <a:cubicBezTo>
                    <a:pt x="3548" y="3618"/>
                    <a:pt x="3695" y="3113"/>
                    <a:pt x="3461" y="2853"/>
                  </a:cubicBezTo>
                  <a:cubicBezTo>
                    <a:pt x="3190" y="2552"/>
                    <a:pt x="3672" y="2101"/>
                    <a:pt x="3973" y="1710"/>
                  </a:cubicBezTo>
                  <a:cubicBezTo>
                    <a:pt x="4274" y="1349"/>
                    <a:pt x="3913" y="717"/>
                    <a:pt x="3943" y="446"/>
                  </a:cubicBezTo>
                  <a:cubicBezTo>
                    <a:pt x="3966" y="235"/>
                    <a:pt x="3971" y="115"/>
                    <a:pt x="3887" y="115"/>
                  </a:cubicBezTo>
                  <a:cubicBezTo>
                    <a:pt x="3863" y="115"/>
                    <a:pt x="3832" y="125"/>
                    <a:pt x="3792" y="145"/>
                  </a:cubicBezTo>
                  <a:cubicBezTo>
                    <a:pt x="3777" y="150"/>
                    <a:pt x="3758" y="152"/>
                    <a:pt x="3737" y="152"/>
                  </a:cubicBezTo>
                  <a:cubicBezTo>
                    <a:pt x="3561" y="152"/>
                    <a:pt x="3200" y="0"/>
                    <a:pt x="2915" y="0"/>
                  </a:cubicBezTo>
                  <a:close/>
                  <a:moveTo>
                    <a:pt x="5739" y="6910"/>
                  </a:moveTo>
                  <a:cubicBezTo>
                    <a:pt x="5532" y="6910"/>
                    <a:pt x="5248" y="7246"/>
                    <a:pt x="5297" y="7368"/>
                  </a:cubicBezTo>
                  <a:cubicBezTo>
                    <a:pt x="5318" y="7423"/>
                    <a:pt x="5369" y="7447"/>
                    <a:pt x="5433" y="7447"/>
                  </a:cubicBezTo>
                  <a:cubicBezTo>
                    <a:pt x="5648" y="7447"/>
                    <a:pt x="6008" y="7185"/>
                    <a:pt x="5869" y="6976"/>
                  </a:cubicBezTo>
                  <a:cubicBezTo>
                    <a:pt x="5834" y="6930"/>
                    <a:pt x="5788" y="6910"/>
                    <a:pt x="5739" y="6910"/>
                  </a:cubicBezTo>
                  <a:close/>
                  <a:moveTo>
                    <a:pt x="3870" y="5378"/>
                  </a:moveTo>
                  <a:cubicBezTo>
                    <a:pt x="3853" y="5378"/>
                    <a:pt x="3837" y="5379"/>
                    <a:pt x="3822" y="5381"/>
                  </a:cubicBezTo>
                  <a:cubicBezTo>
                    <a:pt x="3500" y="5411"/>
                    <a:pt x="3606" y="6467"/>
                    <a:pt x="3861" y="6467"/>
                  </a:cubicBezTo>
                  <a:cubicBezTo>
                    <a:pt x="3868" y="6467"/>
                    <a:pt x="3875" y="6466"/>
                    <a:pt x="3883" y="6465"/>
                  </a:cubicBezTo>
                  <a:cubicBezTo>
                    <a:pt x="3973" y="6435"/>
                    <a:pt x="4274" y="6465"/>
                    <a:pt x="4274" y="6224"/>
                  </a:cubicBezTo>
                  <a:cubicBezTo>
                    <a:pt x="4274" y="6195"/>
                    <a:pt x="4280" y="6182"/>
                    <a:pt x="4289" y="6182"/>
                  </a:cubicBezTo>
                  <a:cubicBezTo>
                    <a:pt x="4348" y="6182"/>
                    <a:pt x="4545" y="6679"/>
                    <a:pt x="4364" y="6886"/>
                  </a:cubicBezTo>
                  <a:cubicBezTo>
                    <a:pt x="4123" y="7097"/>
                    <a:pt x="4183" y="7668"/>
                    <a:pt x="4484" y="7729"/>
                  </a:cubicBezTo>
                  <a:cubicBezTo>
                    <a:pt x="4496" y="7732"/>
                    <a:pt x="4508" y="7734"/>
                    <a:pt x="4520" y="7734"/>
                  </a:cubicBezTo>
                  <a:cubicBezTo>
                    <a:pt x="4832" y="7734"/>
                    <a:pt x="5414" y="6667"/>
                    <a:pt x="5327" y="6465"/>
                  </a:cubicBezTo>
                  <a:cubicBezTo>
                    <a:pt x="5311" y="6401"/>
                    <a:pt x="5279" y="6382"/>
                    <a:pt x="5241" y="6382"/>
                  </a:cubicBezTo>
                  <a:cubicBezTo>
                    <a:pt x="5178" y="6382"/>
                    <a:pt x="5101" y="6434"/>
                    <a:pt x="5056" y="6434"/>
                  </a:cubicBezTo>
                  <a:cubicBezTo>
                    <a:pt x="5023" y="6434"/>
                    <a:pt x="5008" y="6407"/>
                    <a:pt x="5026" y="6314"/>
                  </a:cubicBezTo>
                  <a:cubicBezTo>
                    <a:pt x="5113" y="6026"/>
                    <a:pt x="4259" y="5378"/>
                    <a:pt x="3870" y="5378"/>
                  </a:cubicBezTo>
                  <a:close/>
                  <a:moveTo>
                    <a:pt x="1699" y="5974"/>
                  </a:moveTo>
                  <a:cubicBezTo>
                    <a:pt x="1556" y="5974"/>
                    <a:pt x="1367" y="6562"/>
                    <a:pt x="1114" y="6916"/>
                  </a:cubicBezTo>
                  <a:cubicBezTo>
                    <a:pt x="783" y="7337"/>
                    <a:pt x="0" y="8030"/>
                    <a:pt x="121" y="8240"/>
                  </a:cubicBezTo>
                  <a:cubicBezTo>
                    <a:pt x="127" y="8252"/>
                    <a:pt x="136" y="8258"/>
                    <a:pt x="149" y="8258"/>
                  </a:cubicBezTo>
                  <a:cubicBezTo>
                    <a:pt x="328" y="8258"/>
                    <a:pt x="1142" y="7139"/>
                    <a:pt x="1535" y="6886"/>
                  </a:cubicBezTo>
                  <a:cubicBezTo>
                    <a:pt x="1836" y="6736"/>
                    <a:pt x="1956" y="6344"/>
                    <a:pt x="1776" y="6043"/>
                  </a:cubicBezTo>
                  <a:cubicBezTo>
                    <a:pt x="1752" y="5995"/>
                    <a:pt x="1726" y="5974"/>
                    <a:pt x="1699" y="5974"/>
                  </a:cubicBezTo>
                  <a:close/>
                  <a:moveTo>
                    <a:pt x="6901" y="7083"/>
                  </a:moveTo>
                  <a:cubicBezTo>
                    <a:pt x="6715" y="7083"/>
                    <a:pt x="6537" y="7218"/>
                    <a:pt x="6651" y="7398"/>
                  </a:cubicBezTo>
                  <a:cubicBezTo>
                    <a:pt x="6892" y="7729"/>
                    <a:pt x="6230" y="7488"/>
                    <a:pt x="6200" y="7819"/>
                  </a:cubicBezTo>
                  <a:cubicBezTo>
                    <a:pt x="6170" y="8150"/>
                    <a:pt x="5718" y="7879"/>
                    <a:pt x="5718" y="8180"/>
                  </a:cubicBezTo>
                  <a:cubicBezTo>
                    <a:pt x="5718" y="8272"/>
                    <a:pt x="5676" y="8308"/>
                    <a:pt x="5610" y="8308"/>
                  </a:cubicBezTo>
                  <a:cubicBezTo>
                    <a:pt x="5462" y="8308"/>
                    <a:pt x="5193" y="8125"/>
                    <a:pt x="5026" y="8000"/>
                  </a:cubicBezTo>
                  <a:cubicBezTo>
                    <a:pt x="5000" y="7977"/>
                    <a:pt x="4972" y="7967"/>
                    <a:pt x="4943" y="7967"/>
                  </a:cubicBezTo>
                  <a:cubicBezTo>
                    <a:pt x="4733" y="7967"/>
                    <a:pt x="4436" y="8466"/>
                    <a:pt x="4093" y="8571"/>
                  </a:cubicBezTo>
                  <a:cubicBezTo>
                    <a:pt x="3740" y="8689"/>
                    <a:pt x="3588" y="9355"/>
                    <a:pt x="3779" y="9355"/>
                  </a:cubicBezTo>
                  <a:cubicBezTo>
                    <a:pt x="3783" y="9355"/>
                    <a:pt x="3788" y="9354"/>
                    <a:pt x="3792" y="9354"/>
                  </a:cubicBezTo>
                  <a:cubicBezTo>
                    <a:pt x="4033" y="9324"/>
                    <a:pt x="4244" y="8993"/>
                    <a:pt x="4515" y="8993"/>
                  </a:cubicBezTo>
                  <a:cubicBezTo>
                    <a:pt x="4758" y="8993"/>
                    <a:pt x="4710" y="8773"/>
                    <a:pt x="5004" y="8773"/>
                  </a:cubicBezTo>
                  <a:cubicBezTo>
                    <a:pt x="5037" y="8773"/>
                    <a:pt x="5074" y="8776"/>
                    <a:pt x="5116" y="8782"/>
                  </a:cubicBezTo>
                  <a:cubicBezTo>
                    <a:pt x="5538" y="8872"/>
                    <a:pt x="5237" y="10046"/>
                    <a:pt x="5748" y="10136"/>
                  </a:cubicBezTo>
                  <a:cubicBezTo>
                    <a:pt x="6290" y="10257"/>
                    <a:pt x="6320" y="10558"/>
                    <a:pt x="6591" y="10558"/>
                  </a:cubicBezTo>
                  <a:cubicBezTo>
                    <a:pt x="6832" y="10558"/>
                    <a:pt x="6531" y="9805"/>
                    <a:pt x="6531" y="9534"/>
                  </a:cubicBezTo>
                  <a:cubicBezTo>
                    <a:pt x="6531" y="9294"/>
                    <a:pt x="7103" y="9534"/>
                    <a:pt x="7404" y="9203"/>
                  </a:cubicBezTo>
                  <a:cubicBezTo>
                    <a:pt x="7674" y="8872"/>
                    <a:pt x="7223" y="8000"/>
                    <a:pt x="7223" y="7428"/>
                  </a:cubicBezTo>
                  <a:cubicBezTo>
                    <a:pt x="7223" y="7180"/>
                    <a:pt x="7059" y="7083"/>
                    <a:pt x="6901" y="7083"/>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11" name="Google Shape;3005;p123">
              <a:extLst>
                <a:ext uri="{FF2B5EF4-FFF2-40B4-BE49-F238E27FC236}">
                  <a16:creationId xmlns:a16="http://schemas.microsoft.com/office/drawing/2014/main" id="{17E832D4-1384-234E-B8B9-BFFE8F8BDC92}"/>
                </a:ext>
              </a:extLst>
            </p:cNvPr>
            <p:cNvSpPr/>
            <p:nvPr/>
          </p:nvSpPr>
          <p:spPr>
            <a:xfrm>
              <a:off x="7700877" y="3348831"/>
              <a:ext cx="308171" cy="197071"/>
            </a:xfrm>
            <a:custGeom>
              <a:avLst/>
              <a:gdLst/>
              <a:ahLst/>
              <a:cxnLst/>
              <a:rect l="l" t="t" r="r" b="b"/>
              <a:pathLst>
                <a:path w="9933" h="6352" extrusionOk="0">
                  <a:moveTo>
                    <a:pt x="8930" y="582"/>
                  </a:moveTo>
                  <a:cubicBezTo>
                    <a:pt x="8877" y="582"/>
                    <a:pt x="8924" y="662"/>
                    <a:pt x="9150" y="873"/>
                  </a:cubicBezTo>
                  <a:cubicBezTo>
                    <a:pt x="9626" y="1265"/>
                    <a:pt x="9398" y="1632"/>
                    <a:pt x="9607" y="1632"/>
                  </a:cubicBezTo>
                  <a:cubicBezTo>
                    <a:pt x="9623" y="1632"/>
                    <a:pt x="9641" y="1630"/>
                    <a:pt x="9661" y="1625"/>
                  </a:cubicBezTo>
                  <a:cubicBezTo>
                    <a:pt x="9932" y="1535"/>
                    <a:pt x="9752" y="1054"/>
                    <a:pt x="9390" y="813"/>
                  </a:cubicBezTo>
                  <a:cubicBezTo>
                    <a:pt x="9182" y="685"/>
                    <a:pt x="8991" y="582"/>
                    <a:pt x="8930" y="582"/>
                  </a:cubicBezTo>
                  <a:close/>
                  <a:moveTo>
                    <a:pt x="8959" y="1329"/>
                  </a:moveTo>
                  <a:cubicBezTo>
                    <a:pt x="8792" y="1329"/>
                    <a:pt x="8608" y="1544"/>
                    <a:pt x="8608" y="1686"/>
                  </a:cubicBezTo>
                  <a:cubicBezTo>
                    <a:pt x="8608" y="1926"/>
                    <a:pt x="8217" y="2017"/>
                    <a:pt x="7615" y="2257"/>
                  </a:cubicBezTo>
                  <a:cubicBezTo>
                    <a:pt x="7499" y="2298"/>
                    <a:pt x="7366" y="2313"/>
                    <a:pt x="7228" y="2313"/>
                  </a:cubicBezTo>
                  <a:cubicBezTo>
                    <a:pt x="6842" y="2313"/>
                    <a:pt x="6408" y="2198"/>
                    <a:pt x="6152" y="2198"/>
                  </a:cubicBezTo>
                  <a:cubicBezTo>
                    <a:pt x="6022" y="2198"/>
                    <a:pt x="5938" y="2227"/>
                    <a:pt x="5929" y="2318"/>
                  </a:cubicBezTo>
                  <a:cubicBezTo>
                    <a:pt x="5899" y="2649"/>
                    <a:pt x="6592" y="2919"/>
                    <a:pt x="7254" y="2919"/>
                  </a:cubicBezTo>
                  <a:cubicBezTo>
                    <a:pt x="7886" y="2919"/>
                    <a:pt x="8849" y="2288"/>
                    <a:pt x="8849" y="2107"/>
                  </a:cubicBezTo>
                  <a:cubicBezTo>
                    <a:pt x="8849" y="1926"/>
                    <a:pt x="9270" y="1565"/>
                    <a:pt x="9089" y="1385"/>
                  </a:cubicBezTo>
                  <a:cubicBezTo>
                    <a:pt x="9050" y="1345"/>
                    <a:pt x="9005" y="1329"/>
                    <a:pt x="8959" y="1329"/>
                  </a:cubicBezTo>
                  <a:close/>
                  <a:moveTo>
                    <a:pt x="1" y="0"/>
                  </a:moveTo>
                  <a:lnTo>
                    <a:pt x="1" y="4996"/>
                  </a:lnTo>
                  <a:cubicBezTo>
                    <a:pt x="272" y="5146"/>
                    <a:pt x="573" y="5237"/>
                    <a:pt x="874" y="5267"/>
                  </a:cubicBezTo>
                  <a:cubicBezTo>
                    <a:pt x="900" y="5268"/>
                    <a:pt x="925" y="5268"/>
                    <a:pt x="950" y="5268"/>
                  </a:cubicBezTo>
                  <a:cubicBezTo>
                    <a:pt x="1883" y="5268"/>
                    <a:pt x="1631" y="4725"/>
                    <a:pt x="1807" y="4725"/>
                  </a:cubicBezTo>
                  <a:cubicBezTo>
                    <a:pt x="2017" y="4725"/>
                    <a:pt x="2077" y="4394"/>
                    <a:pt x="2318" y="4123"/>
                  </a:cubicBezTo>
                  <a:cubicBezTo>
                    <a:pt x="2380" y="4044"/>
                    <a:pt x="2500" y="4009"/>
                    <a:pt x="2654" y="4009"/>
                  </a:cubicBezTo>
                  <a:cubicBezTo>
                    <a:pt x="3026" y="4009"/>
                    <a:pt x="3590" y="4216"/>
                    <a:pt x="3973" y="4515"/>
                  </a:cubicBezTo>
                  <a:cubicBezTo>
                    <a:pt x="4461" y="4916"/>
                    <a:pt x="5059" y="6058"/>
                    <a:pt x="5609" y="6058"/>
                  </a:cubicBezTo>
                  <a:cubicBezTo>
                    <a:pt x="5636" y="6058"/>
                    <a:pt x="5662" y="6055"/>
                    <a:pt x="5689" y="6049"/>
                  </a:cubicBezTo>
                  <a:cubicBezTo>
                    <a:pt x="5756" y="6035"/>
                    <a:pt x="5824" y="6029"/>
                    <a:pt x="5892" y="6029"/>
                  </a:cubicBezTo>
                  <a:cubicBezTo>
                    <a:pt x="6382" y="6029"/>
                    <a:pt x="6881" y="6352"/>
                    <a:pt x="7297" y="6352"/>
                  </a:cubicBezTo>
                  <a:cubicBezTo>
                    <a:pt x="7313" y="6352"/>
                    <a:pt x="7328" y="6351"/>
                    <a:pt x="7344" y="6350"/>
                  </a:cubicBezTo>
                  <a:cubicBezTo>
                    <a:pt x="7825" y="6320"/>
                    <a:pt x="7404" y="5929"/>
                    <a:pt x="7254" y="5869"/>
                  </a:cubicBezTo>
                  <a:cubicBezTo>
                    <a:pt x="7103" y="5778"/>
                    <a:pt x="6682" y="5538"/>
                    <a:pt x="6682" y="5327"/>
                  </a:cubicBezTo>
                  <a:cubicBezTo>
                    <a:pt x="6682" y="5146"/>
                    <a:pt x="6230" y="5146"/>
                    <a:pt x="5899" y="4966"/>
                  </a:cubicBezTo>
                  <a:cubicBezTo>
                    <a:pt x="5538" y="4785"/>
                    <a:pt x="5659" y="4063"/>
                    <a:pt x="5328" y="3913"/>
                  </a:cubicBezTo>
                  <a:cubicBezTo>
                    <a:pt x="4997" y="3762"/>
                    <a:pt x="4726" y="3220"/>
                    <a:pt x="5147" y="3220"/>
                  </a:cubicBezTo>
                  <a:cubicBezTo>
                    <a:pt x="5538" y="3220"/>
                    <a:pt x="5629" y="3040"/>
                    <a:pt x="5267" y="2739"/>
                  </a:cubicBezTo>
                  <a:cubicBezTo>
                    <a:pt x="4936" y="2438"/>
                    <a:pt x="3763" y="2318"/>
                    <a:pt x="3733" y="1866"/>
                  </a:cubicBezTo>
                  <a:cubicBezTo>
                    <a:pt x="3702" y="1415"/>
                    <a:pt x="1566" y="361"/>
                    <a:pt x="603" y="151"/>
                  </a:cubicBezTo>
                  <a:lnTo>
                    <a:pt x="1" y="0"/>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12" name="Google Shape;3006;p123">
              <a:extLst>
                <a:ext uri="{FF2B5EF4-FFF2-40B4-BE49-F238E27FC236}">
                  <a16:creationId xmlns:a16="http://schemas.microsoft.com/office/drawing/2014/main" id="{9117FE9C-B60E-FA4F-8BC1-C3EF4433B0CC}"/>
                </a:ext>
              </a:extLst>
            </p:cNvPr>
            <p:cNvSpPr/>
            <p:nvPr/>
          </p:nvSpPr>
          <p:spPr>
            <a:xfrm>
              <a:off x="6218193" y="3039698"/>
              <a:ext cx="53208" cy="93385"/>
            </a:xfrm>
            <a:custGeom>
              <a:avLst/>
              <a:gdLst/>
              <a:ahLst/>
              <a:cxnLst/>
              <a:rect l="l" t="t" r="r" b="b"/>
              <a:pathLst>
                <a:path w="1715" h="3010" extrusionOk="0">
                  <a:moveTo>
                    <a:pt x="378" y="1"/>
                  </a:moveTo>
                  <a:cubicBezTo>
                    <a:pt x="372" y="1"/>
                    <a:pt x="366" y="2"/>
                    <a:pt x="361" y="3"/>
                  </a:cubicBezTo>
                  <a:cubicBezTo>
                    <a:pt x="181" y="3"/>
                    <a:pt x="211" y="454"/>
                    <a:pt x="91" y="755"/>
                  </a:cubicBezTo>
                  <a:cubicBezTo>
                    <a:pt x="0" y="1086"/>
                    <a:pt x="0" y="1448"/>
                    <a:pt x="60" y="1809"/>
                  </a:cubicBezTo>
                  <a:cubicBezTo>
                    <a:pt x="91" y="2260"/>
                    <a:pt x="60" y="2711"/>
                    <a:pt x="452" y="2952"/>
                  </a:cubicBezTo>
                  <a:cubicBezTo>
                    <a:pt x="504" y="2991"/>
                    <a:pt x="566" y="3009"/>
                    <a:pt x="634" y="3009"/>
                  </a:cubicBezTo>
                  <a:cubicBezTo>
                    <a:pt x="1039" y="3009"/>
                    <a:pt x="1660" y="2380"/>
                    <a:pt x="1686" y="1839"/>
                  </a:cubicBezTo>
                  <a:cubicBezTo>
                    <a:pt x="1715" y="1221"/>
                    <a:pt x="624" y="1"/>
                    <a:pt x="378"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13" name="Google Shape;3007;p123">
              <a:extLst>
                <a:ext uri="{FF2B5EF4-FFF2-40B4-BE49-F238E27FC236}">
                  <a16:creationId xmlns:a16="http://schemas.microsoft.com/office/drawing/2014/main" id="{6DEC1781-0904-B243-80F4-BC28E1B09AF9}"/>
                </a:ext>
              </a:extLst>
            </p:cNvPr>
            <p:cNvSpPr/>
            <p:nvPr/>
          </p:nvSpPr>
          <p:spPr>
            <a:xfrm>
              <a:off x="5303172" y="3570815"/>
              <a:ext cx="183978" cy="348845"/>
            </a:xfrm>
            <a:custGeom>
              <a:avLst/>
              <a:gdLst/>
              <a:ahLst/>
              <a:cxnLst/>
              <a:rect l="l" t="t" r="r" b="b"/>
              <a:pathLst>
                <a:path w="5930" h="11244" extrusionOk="0">
                  <a:moveTo>
                    <a:pt x="4914" y="1"/>
                  </a:moveTo>
                  <a:cubicBezTo>
                    <a:pt x="4841" y="1"/>
                    <a:pt x="4785" y="302"/>
                    <a:pt x="4695" y="369"/>
                  </a:cubicBezTo>
                  <a:cubicBezTo>
                    <a:pt x="4605" y="550"/>
                    <a:pt x="4575" y="730"/>
                    <a:pt x="4575" y="941"/>
                  </a:cubicBezTo>
                  <a:cubicBezTo>
                    <a:pt x="4635" y="1121"/>
                    <a:pt x="4334" y="1302"/>
                    <a:pt x="4123" y="1302"/>
                  </a:cubicBezTo>
                  <a:cubicBezTo>
                    <a:pt x="3943" y="1302"/>
                    <a:pt x="3642" y="1392"/>
                    <a:pt x="3702" y="1633"/>
                  </a:cubicBezTo>
                  <a:cubicBezTo>
                    <a:pt x="3792" y="1904"/>
                    <a:pt x="3612" y="1874"/>
                    <a:pt x="3702" y="2054"/>
                  </a:cubicBezTo>
                  <a:cubicBezTo>
                    <a:pt x="3822" y="2235"/>
                    <a:pt x="3461" y="2536"/>
                    <a:pt x="3100" y="2536"/>
                  </a:cubicBezTo>
                  <a:cubicBezTo>
                    <a:pt x="2777" y="2536"/>
                    <a:pt x="2368" y="3109"/>
                    <a:pt x="2041" y="3109"/>
                  </a:cubicBezTo>
                  <a:cubicBezTo>
                    <a:pt x="2033" y="3109"/>
                    <a:pt x="2025" y="3108"/>
                    <a:pt x="2017" y="3108"/>
                  </a:cubicBezTo>
                  <a:cubicBezTo>
                    <a:pt x="1999" y="3106"/>
                    <a:pt x="1982" y="3105"/>
                    <a:pt x="1964" y="3105"/>
                  </a:cubicBezTo>
                  <a:cubicBezTo>
                    <a:pt x="1681" y="3105"/>
                    <a:pt x="1379" y="3297"/>
                    <a:pt x="1094" y="3297"/>
                  </a:cubicBezTo>
                  <a:cubicBezTo>
                    <a:pt x="1060" y="3297"/>
                    <a:pt x="1027" y="3294"/>
                    <a:pt x="994" y="3288"/>
                  </a:cubicBezTo>
                  <a:cubicBezTo>
                    <a:pt x="987" y="3288"/>
                    <a:pt x="981" y="3287"/>
                    <a:pt x="975" y="3287"/>
                  </a:cubicBezTo>
                  <a:cubicBezTo>
                    <a:pt x="703" y="3287"/>
                    <a:pt x="928" y="3959"/>
                    <a:pt x="662" y="4341"/>
                  </a:cubicBezTo>
                  <a:cubicBezTo>
                    <a:pt x="422" y="4763"/>
                    <a:pt x="572" y="5244"/>
                    <a:pt x="783" y="5786"/>
                  </a:cubicBezTo>
                  <a:cubicBezTo>
                    <a:pt x="1024" y="6298"/>
                    <a:pt x="1174" y="6719"/>
                    <a:pt x="602" y="7411"/>
                  </a:cubicBezTo>
                  <a:cubicBezTo>
                    <a:pt x="121" y="7893"/>
                    <a:pt x="0" y="8645"/>
                    <a:pt x="301" y="9277"/>
                  </a:cubicBezTo>
                  <a:cubicBezTo>
                    <a:pt x="482" y="9758"/>
                    <a:pt x="482" y="10481"/>
                    <a:pt x="783" y="10782"/>
                  </a:cubicBezTo>
                  <a:cubicBezTo>
                    <a:pt x="1014" y="11013"/>
                    <a:pt x="1581" y="11243"/>
                    <a:pt x="1955" y="11243"/>
                  </a:cubicBezTo>
                  <a:cubicBezTo>
                    <a:pt x="2068" y="11243"/>
                    <a:pt x="2164" y="11222"/>
                    <a:pt x="2227" y="11173"/>
                  </a:cubicBezTo>
                  <a:cubicBezTo>
                    <a:pt x="2468" y="10932"/>
                    <a:pt x="2739" y="11203"/>
                    <a:pt x="3040" y="10872"/>
                  </a:cubicBezTo>
                  <a:cubicBezTo>
                    <a:pt x="3341" y="10511"/>
                    <a:pt x="3762" y="8705"/>
                    <a:pt x="4184" y="7501"/>
                  </a:cubicBezTo>
                  <a:cubicBezTo>
                    <a:pt x="4575" y="6298"/>
                    <a:pt x="5086" y="4763"/>
                    <a:pt x="5026" y="4432"/>
                  </a:cubicBezTo>
                  <a:cubicBezTo>
                    <a:pt x="4996" y="4101"/>
                    <a:pt x="5327" y="3890"/>
                    <a:pt x="5177" y="3529"/>
                  </a:cubicBezTo>
                  <a:cubicBezTo>
                    <a:pt x="5063" y="3232"/>
                    <a:pt x="5156" y="2953"/>
                    <a:pt x="5273" y="2953"/>
                  </a:cubicBezTo>
                  <a:cubicBezTo>
                    <a:pt x="5311" y="2953"/>
                    <a:pt x="5351" y="2982"/>
                    <a:pt x="5387" y="3047"/>
                  </a:cubicBezTo>
                  <a:cubicBezTo>
                    <a:pt x="5446" y="3165"/>
                    <a:pt x="5541" y="3239"/>
                    <a:pt x="5633" y="3239"/>
                  </a:cubicBezTo>
                  <a:cubicBezTo>
                    <a:pt x="5729" y="3239"/>
                    <a:pt x="5823" y="3157"/>
                    <a:pt x="5869" y="2957"/>
                  </a:cubicBezTo>
                  <a:cubicBezTo>
                    <a:pt x="5929" y="2596"/>
                    <a:pt x="5568" y="1994"/>
                    <a:pt x="5568" y="1452"/>
                  </a:cubicBezTo>
                  <a:cubicBezTo>
                    <a:pt x="5568" y="941"/>
                    <a:pt x="5086" y="399"/>
                    <a:pt x="4996" y="128"/>
                  </a:cubicBezTo>
                  <a:cubicBezTo>
                    <a:pt x="4965" y="36"/>
                    <a:pt x="4939" y="1"/>
                    <a:pt x="4914"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14" name="Google Shape;3008;p123">
              <a:extLst>
                <a:ext uri="{FF2B5EF4-FFF2-40B4-BE49-F238E27FC236}">
                  <a16:creationId xmlns:a16="http://schemas.microsoft.com/office/drawing/2014/main" id="{63D4D3DB-FEC5-7246-9F46-FE937AAA4D77}"/>
                </a:ext>
              </a:extLst>
            </p:cNvPr>
            <p:cNvSpPr/>
            <p:nvPr/>
          </p:nvSpPr>
          <p:spPr>
            <a:xfrm>
              <a:off x="5297557" y="2798882"/>
              <a:ext cx="292690" cy="172437"/>
            </a:xfrm>
            <a:custGeom>
              <a:avLst/>
              <a:gdLst/>
              <a:ahLst/>
              <a:cxnLst/>
              <a:rect l="l" t="t" r="r" b="b"/>
              <a:pathLst>
                <a:path w="9434" h="5558" extrusionOk="0">
                  <a:moveTo>
                    <a:pt x="7434" y="1"/>
                  </a:moveTo>
                  <a:lnTo>
                    <a:pt x="6682" y="241"/>
                  </a:lnTo>
                  <a:cubicBezTo>
                    <a:pt x="6471" y="271"/>
                    <a:pt x="6118" y="271"/>
                    <a:pt x="5798" y="271"/>
                  </a:cubicBezTo>
                  <a:cubicBezTo>
                    <a:pt x="5478" y="271"/>
                    <a:pt x="5192" y="271"/>
                    <a:pt x="5117" y="302"/>
                  </a:cubicBezTo>
                  <a:cubicBezTo>
                    <a:pt x="4966" y="392"/>
                    <a:pt x="4064" y="1054"/>
                    <a:pt x="3913" y="1355"/>
                  </a:cubicBezTo>
                  <a:cubicBezTo>
                    <a:pt x="3811" y="1560"/>
                    <a:pt x="3680" y="1667"/>
                    <a:pt x="3541" y="1667"/>
                  </a:cubicBezTo>
                  <a:cubicBezTo>
                    <a:pt x="3476" y="1667"/>
                    <a:pt x="3409" y="1644"/>
                    <a:pt x="3341" y="1596"/>
                  </a:cubicBezTo>
                  <a:cubicBezTo>
                    <a:pt x="3101" y="1445"/>
                    <a:pt x="2318" y="1475"/>
                    <a:pt x="2258" y="1385"/>
                  </a:cubicBezTo>
                  <a:cubicBezTo>
                    <a:pt x="2044" y="1327"/>
                    <a:pt x="1830" y="1293"/>
                    <a:pt x="1617" y="1293"/>
                  </a:cubicBezTo>
                  <a:cubicBezTo>
                    <a:pt x="1499" y="1293"/>
                    <a:pt x="1382" y="1303"/>
                    <a:pt x="1265" y="1325"/>
                  </a:cubicBezTo>
                  <a:cubicBezTo>
                    <a:pt x="1242" y="1327"/>
                    <a:pt x="1219" y="1328"/>
                    <a:pt x="1198" y="1328"/>
                  </a:cubicBezTo>
                  <a:cubicBezTo>
                    <a:pt x="962" y="1328"/>
                    <a:pt x="828" y="1201"/>
                    <a:pt x="722" y="1201"/>
                  </a:cubicBezTo>
                  <a:cubicBezTo>
                    <a:pt x="712" y="1201"/>
                    <a:pt x="702" y="1202"/>
                    <a:pt x="693" y="1204"/>
                  </a:cubicBezTo>
                  <a:cubicBezTo>
                    <a:pt x="543" y="1265"/>
                    <a:pt x="422" y="1355"/>
                    <a:pt x="362" y="1505"/>
                  </a:cubicBezTo>
                  <a:cubicBezTo>
                    <a:pt x="302" y="1596"/>
                    <a:pt x="392" y="1836"/>
                    <a:pt x="362" y="1957"/>
                  </a:cubicBezTo>
                  <a:lnTo>
                    <a:pt x="1" y="2137"/>
                  </a:lnTo>
                  <a:cubicBezTo>
                    <a:pt x="61" y="2288"/>
                    <a:pt x="91" y="2468"/>
                    <a:pt x="61" y="2649"/>
                  </a:cubicBezTo>
                  <a:cubicBezTo>
                    <a:pt x="1" y="3070"/>
                    <a:pt x="61" y="3492"/>
                    <a:pt x="302" y="3883"/>
                  </a:cubicBezTo>
                  <a:cubicBezTo>
                    <a:pt x="543" y="4244"/>
                    <a:pt x="452" y="4936"/>
                    <a:pt x="603" y="5056"/>
                  </a:cubicBezTo>
                  <a:cubicBezTo>
                    <a:pt x="660" y="5091"/>
                    <a:pt x="817" y="5112"/>
                    <a:pt x="1013" y="5112"/>
                  </a:cubicBezTo>
                  <a:cubicBezTo>
                    <a:pt x="1333" y="5112"/>
                    <a:pt x="1756" y="5055"/>
                    <a:pt x="2017" y="4906"/>
                  </a:cubicBezTo>
                  <a:cubicBezTo>
                    <a:pt x="2318" y="4665"/>
                    <a:pt x="2679" y="4545"/>
                    <a:pt x="3040" y="4545"/>
                  </a:cubicBezTo>
                  <a:cubicBezTo>
                    <a:pt x="3371" y="4515"/>
                    <a:pt x="3672" y="4364"/>
                    <a:pt x="3913" y="4154"/>
                  </a:cubicBezTo>
                  <a:cubicBezTo>
                    <a:pt x="4089" y="4065"/>
                    <a:pt x="4282" y="4010"/>
                    <a:pt x="4478" y="4010"/>
                  </a:cubicBezTo>
                  <a:cubicBezTo>
                    <a:pt x="4550" y="4010"/>
                    <a:pt x="4623" y="4017"/>
                    <a:pt x="4696" y="4033"/>
                  </a:cubicBezTo>
                  <a:cubicBezTo>
                    <a:pt x="4876" y="4033"/>
                    <a:pt x="5057" y="3853"/>
                    <a:pt x="5298" y="3612"/>
                  </a:cubicBezTo>
                  <a:cubicBezTo>
                    <a:pt x="5508" y="3401"/>
                    <a:pt x="6230" y="3281"/>
                    <a:pt x="6983" y="3040"/>
                  </a:cubicBezTo>
                  <a:cubicBezTo>
                    <a:pt x="7735" y="2829"/>
                    <a:pt x="7555" y="2438"/>
                    <a:pt x="7735" y="2258"/>
                  </a:cubicBezTo>
                  <a:cubicBezTo>
                    <a:pt x="7916" y="2077"/>
                    <a:pt x="8066" y="2107"/>
                    <a:pt x="8427" y="1987"/>
                  </a:cubicBezTo>
                  <a:cubicBezTo>
                    <a:pt x="8036" y="1234"/>
                    <a:pt x="7675" y="422"/>
                    <a:pt x="7434" y="1"/>
                  </a:cubicBezTo>
                  <a:close/>
                  <a:moveTo>
                    <a:pt x="9003" y="5224"/>
                  </a:moveTo>
                  <a:cubicBezTo>
                    <a:pt x="8725" y="5224"/>
                    <a:pt x="8439" y="5279"/>
                    <a:pt x="8608" y="5448"/>
                  </a:cubicBezTo>
                  <a:cubicBezTo>
                    <a:pt x="8687" y="5527"/>
                    <a:pt x="8788" y="5557"/>
                    <a:pt x="8890" y="5557"/>
                  </a:cubicBezTo>
                  <a:cubicBezTo>
                    <a:pt x="9138" y="5557"/>
                    <a:pt x="9399" y="5382"/>
                    <a:pt x="9421" y="5297"/>
                  </a:cubicBezTo>
                  <a:cubicBezTo>
                    <a:pt x="9434" y="5258"/>
                    <a:pt x="9221" y="5224"/>
                    <a:pt x="9003" y="5224"/>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15" name="Google Shape;3009;p123">
              <a:extLst>
                <a:ext uri="{FF2B5EF4-FFF2-40B4-BE49-F238E27FC236}">
                  <a16:creationId xmlns:a16="http://schemas.microsoft.com/office/drawing/2014/main" id="{972C6BE0-995A-3441-816C-3BDC9ACC5713}"/>
                </a:ext>
              </a:extLst>
            </p:cNvPr>
            <p:cNvSpPr/>
            <p:nvPr/>
          </p:nvSpPr>
          <p:spPr>
            <a:xfrm>
              <a:off x="5921935" y="4595167"/>
              <a:ext cx="62857" cy="32266"/>
            </a:xfrm>
            <a:custGeom>
              <a:avLst/>
              <a:gdLst/>
              <a:ahLst/>
              <a:cxnLst/>
              <a:rect l="l" t="t" r="r" b="b"/>
              <a:pathLst>
                <a:path w="2026" h="1040" extrusionOk="0">
                  <a:moveTo>
                    <a:pt x="825" y="0"/>
                  </a:moveTo>
                  <a:cubicBezTo>
                    <a:pt x="616" y="0"/>
                    <a:pt x="0" y="670"/>
                    <a:pt x="641" y="938"/>
                  </a:cubicBezTo>
                  <a:cubicBezTo>
                    <a:pt x="814" y="1013"/>
                    <a:pt x="925" y="1039"/>
                    <a:pt x="998" y="1039"/>
                  </a:cubicBezTo>
                  <a:cubicBezTo>
                    <a:pt x="1168" y="1039"/>
                    <a:pt x="1131" y="896"/>
                    <a:pt x="1191" y="896"/>
                  </a:cubicBezTo>
                  <a:cubicBezTo>
                    <a:pt x="1208" y="896"/>
                    <a:pt x="1233" y="907"/>
                    <a:pt x="1273" y="938"/>
                  </a:cubicBezTo>
                  <a:cubicBezTo>
                    <a:pt x="1353" y="1000"/>
                    <a:pt x="1444" y="1028"/>
                    <a:pt x="1532" y="1028"/>
                  </a:cubicBezTo>
                  <a:cubicBezTo>
                    <a:pt x="1742" y="1028"/>
                    <a:pt x="1935" y="870"/>
                    <a:pt x="1935" y="637"/>
                  </a:cubicBezTo>
                  <a:cubicBezTo>
                    <a:pt x="2026" y="215"/>
                    <a:pt x="1002" y="276"/>
                    <a:pt x="882" y="35"/>
                  </a:cubicBezTo>
                  <a:cubicBezTo>
                    <a:pt x="872" y="11"/>
                    <a:pt x="852" y="0"/>
                    <a:pt x="825"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16" name="Google Shape;3010;p123">
              <a:extLst>
                <a:ext uri="{FF2B5EF4-FFF2-40B4-BE49-F238E27FC236}">
                  <a16:creationId xmlns:a16="http://schemas.microsoft.com/office/drawing/2014/main" id="{C852F1C1-1AAF-A642-8511-9E775E21428A}"/>
                </a:ext>
              </a:extLst>
            </p:cNvPr>
            <p:cNvSpPr/>
            <p:nvPr/>
          </p:nvSpPr>
          <p:spPr>
            <a:xfrm>
              <a:off x="8040880" y="3418265"/>
              <a:ext cx="198622" cy="134245"/>
            </a:xfrm>
            <a:custGeom>
              <a:avLst/>
              <a:gdLst/>
              <a:ahLst/>
              <a:cxnLst/>
              <a:rect l="l" t="t" r="r" b="b"/>
              <a:pathLst>
                <a:path w="6402" h="4327" extrusionOk="0">
                  <a:moveTo>
                    <a:pt x="86" y="0"/>
                  </a:moveTo>
                  <a:cubicBezTo>
                    <a:pt x="71" y="0"/>
                    <a:pt x="61" y="6"/>
                    <a:pt x="57" y="19"/>
                  </a:cubicBezTo>
                  <a:cubicBezTo>
                    <a:pt x="1" y="215"/>
                    <a:pt x="644" y="1212"/>
                    <a:pt x="953" y="1212"/>
                  </a:cubicBezTo>
                  <a:cubicBezTo>
                    <a:pt x="978" y="1212"/>
                    <a:pt x="1000" y="1206"/>
                    <a:pt x="1020" y="1193"/>
                  </a:cubicBezTo>
                  <a:cubicBezTo>
                    <a:pt x="1271" y="998"/>
                    <a:pt x="280" y="0"/>
                    <a:pt x="86" y="0"/>
                  </a:cubicBezTo>
                  <a:close/>
                  <a:moveTo>
                    <a:pt x="1591" y="960"/>
                  </a:moveTo>
                  <a:cubicBezTo>
                    <a:pt x="1575" y="960"/>
                    <a:pt x="1564" y="967"/>
                    <a:pt x="1561" y="982"/>
                  </a:cubicBezTo>
                  <a:cubicBezTo>
                    <a:pt x="1561" y="1094"/>
                    <a:pt x="2023" y="1564"/>
                    <a:pt x="2189" y="1564"/>
                  </a:cubicBezTo>
                  <a:cubicBezTo>
                    <a:pt x="2203" y="1564"/>
                    <a:pt x="2214" y="1561"/>
                    <a:pt x="2223" y="1554"/>
                  </a:cubicBezTo>
                  <a:cubicBezTo>
                    <a:pt x="2331" y="1500"/>
                    <a:pt x="1735" y="960"/>
                    <a:pt x="1591" y="960"/>
                  </a:cubicBezTo>
                  <a:close/>
                  <a:moveTo>
                    <a:pt x="3164" y="1776"/>
                  </a:moveTo>
                  <a:cubicBezTo>
                    <a:pt x="3121" y="1776"/>
                    <a:pt x="3096" y="1791"/>
                    <a:pt x="3096" y="1825"/>
                  </a:cubicBezTo>
                  <a:cubicBezTo>
                    <a:pt x="3096" y="2014"/>
                    <a:pt x="3822" y="2445"/>
                    <a:pt x="4102" y="2445"/>
                  </a:cubicBezTo>
                  <a:cubicBezTo>
                    <a:pt x="4135" y="2445"/>
                    <a:pt x="4161" y="2439"/>
                    <a:pt x="4179" y="2427"/>
                  </a:cubicBezTo>
                  <a:cubicBezTo>
                    <a:pt x="4335" y="2324"/>
                    <a:pt x="3424" y="1776"/>
                    <a:pt x="3164" y="1776"/>
                  </a:cubicBezTo>
                  <a:close/>
                  <a:moveTo>
                    <a:pt x="4912" y="2346"/>
                  </a:moveTo>
                  <a:cubicBezTo>
                    <a:pt x="4885" y="2346"/>
                    <a:pt x="4861" y="2362"/>
                    <a:pt x="4842" y="2397"/>
                  </a:cubicBezTo>
                  <a:cubicBezTo>
                    <a:pt x="4721" y="2758"/>
                    <a:pt x="5383" y="3450"/>
                    <a:pt x="5504" y="3450"/>
                  </a:cubicBezTo>
                  <a:cubicBezTo>
                    <a:pt x="5611" y="3450"/>
                    <a:pt x="5142" y="2346"/>
                    <a:pt x="4912" y="2346"/>
                  </a:cubicBezTo>
                  <a:close/>
                  <a:moveTo>
                    <a:pt x="4140" y="3061"/>
                  </a:moveTo>
                  <a:cubicBezTo>
                    <a:pt x="4068" y="3061"/>
                    <a:pt x="4023" y="3095"/>
                    <a:pt x="4029" y="3179"/>
                  </a:cubicBezTo>
                  <a:cubicBezTo>
                    <a:pt x="4134" y="3468"/>
                    <a:pt x="4422" y="3642"/>
                    <a:pt x="4733" y="3642"/>
                  </a:cubicBezTo>
                  <a:cubicBezTo>
                    <a:pt x="4779" y="3642"/>
                    <a:pt x="4825" y="3638"/>
                    <a:pt x="4872" y="3631"/>
                  </a:cubicBezTo>
                  <a:cubicBezTo>
                    <a:pt x="5037" y="3513"/>
                    <a:pt x="4406" y="3061"/>
                    <a:pt x="4140" y="3061"/>
                  </a:cubicBezTo>
                  <a:close/>
                  <a:moveTo>
                    <a:pt x="5540" y="3896"/>
                  </a:moveTo>
                  <a:cubicBezTo>
                    <a:pt x="5505" y="3896"/>
                    <a:pt x="5489" y="3907"/>
                    <a:pt x="5504" y="3932"/>
                  </a:cubicBezTo>
                  <a:cubicBezTo>
                    <a:pt x="5529" y="4033"/>
                    <a:pt x="5853" y="4327"/>
                    <a:pt x="6099" y="4327"/>
                  </a:cubicBezTo>
                  <a:cubicBezTo>
                    <a:pt x="6145" y="4327"/>
                    <a:pt x="6188" y="4317"/>
                    <a:pt x="6226" y="4293"/>
                  </a:cubicBezTo>
                  <a:cubicBezTo>
                    <a:pt x="6401" y="4167"/>
                    <a:pt x="5720" y="3896"/>
                    <a:pt x="5540" y="3896"/>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17" name="Google Shape;3011;p123">
              <a:extLst>
                <a:ext uri="{FF2B5EF4-FFF2-40B4-BE49-F238E27FC236}">
                  <a16:creationId xmlns:a16="http://schemas.microsoft.com/office/drawing/2014/main" id="{54524435-5E9A-E346-A086-7CECBBC5784C}"/>
                </a:ext>
              </a:extLst>
            </p:cNvPr>
            <p:cNvSpPr/>
            <p:nvPr/>
          </p:nvSpPr>
          <p:spPr>
            <a:xfrm>
              <a:off x="8040880" y="3418265"/>
              <a:ext cx="198622" cy="134245"/>
            </a:xfrm>
            <a:custGeom>
              <a:avLst/>
              <a:gdLst/>
              <a:ahLst/>
              <a:cxnLst/>
              <a:rect l="l" t="t" r="r" b="b"/>
              <a:pathLst>
                <a:path w="6402" h="4327" extrusionOk="0">
                  <a:moveTo>
                    <a:pt x="86" y="0"/>
                  </a:moveTo>
                  <a:cubicBezTo>
                    <a:pt x="71" y="0"/>
                    <a:pt x="61" y="6"/>
                    <a:pt x="57" y="19"/>
                  </a:cubicBezTo>
                  <a:cubicBezTo>
                    <a:pt x="1" y="215"/>
                    <a:pt x="644" y="1212"/>
                    <a:pt x="953" y="1212"/>
                  </a:cubicBezTo>
                  <a:cubicBezTo>
                    <a:pt x="978" y="1212"/>
                    <a:pt x="1000" y="1206"/>
                    <a:pt x="1020" y="1193"/>
                  </a:cubicBezTo>
                  <a:cubicBezTo>
                    <a:pt x="1271" y="998"/>
                    <a:pt x="280" y="0"/>
                    <a:pt x="86" y="0"/>
                  </a:cubicBezTo>
                  <a:close/>
                  <a:moveTo>
                    <a:pt x="1591" y="960"/>
                  </a:moveTo>
                  <a:cubicBezTo>
                    <a:pt x="1575" y="960"/>
                    <a:pt x="1564" y="967"/>
                    <a:pt x="1561" y="982"/>
                  </a:cubicBezTo>
                  <a:cubicBezTo>
                    <a:pt x="1561" y="1094"/>
                    <a:pt x="2023" y="1564"/>
                    <a:pt x="2189" y="1564"/>
                  </a:cubicBezTo>
                  <a:cubicBezTo>
                    <a:pt x="2203" y="1564"/>
                    <a:pt x="2214" y="1561"/>
                    <a:pt x="2223" y="1554"/>
                  </a:cubicBezTo>
                  <a:cubicBezTo>
                    <a:pt x="2331" y="1500"/>
                    <a:pt x="1735" y="960"/>
                    <a:pt x="1591" y="960"/>
                  </a:cubicBezTo>
                  <a:close/>
                  <a:moveTo>
                    <a:pt x="3164" y="1776"/>
                  </a:moveTo>
                  <a:cubicBezTo>
                    <a:pt x="3121" y="1776"/>
                    <a:pt x="3096" y="1791"/>
                    <a:pt x="3096" y="1825"/>
                  </a:cubicBezTo>
                  <a:cubicBezTo>
                    <a:pt x="3096" y="2014"/>
                    <a:pt x="3822" y="2445"/>
                    <a:pt x="4102" y="2445"/>
                  </a:cubicBezTo>
                  <a:cubicBezTo>
                    <a:pt x="4135" y="2445"/>
                    <a:pt x="4161" y="2439"/>
                    <a:pt x="4179" y="2427"/>
                  </a:cubicBezTo>
                  <a:cubicBezTo>
                    <a:pt x="4335" y="2324"/>
                    <a:pt x="3424" y="1776"/>
                    <a:pt x="3164" y="1776"/>
                  </a:cubicBezTo>
                  <a:close/>
                  <a:moveTo>
                    <a:pt x="4912" y="2346"/>
                  </a:moveTo>
                  <a:cubicBezTo>
                    <a:pt x="4885" y="2346"/>
                    <a:pt x="4861" y="2362"/>
                    <a:pt x="4842" y="2397"/>
                  </a:cubicBezTo>
                  <a:cubicBezTo>
                    <a:pt x="4721" y="2758"/>
                    <a:pt x="5383" y="3450"/>
                    <a:pt x="5504" y="3450"/>
                  </a:cubicBezTo>
                  <a:cubicBezTo>
                    <a:pt x="5611" y="3450"/>
                    <a:pt x="5142" y="2346"/>
                    <a:pt x="4912" y="2346"/>
                  </a:cubicBezTo>
                  <a:close/>
                  <a:moveTo>
                    <a:pt x="4140" y="3061"/>
                  </a:moveTo>
                  <a:cubicBezTo>
                    <a:pt x="4068" y="3061"/>
                    <a:pt x="4023" y="3095"/>
                    <a:pt x="4029" y="3179"/>
                  </a:cubicBezTo>
                  <a:cubicBezTo>
                    <a:pt x="4134" y="3468"/>
                    <a:pt x="4422" y="3642"/>
                    <a:pt x="4733" y="3642"/>
                  </a:cubicBezTo>
                  <a:cubicBezTo>
                    <a:pt x="4779" y="3642"/>
                    <a:pt x="4825" y="3638"/>
                    <a:pt x="4872" y="3631"/>
                  </a:cubicBezTo>
                  <a:cubicBezTo>
                    <a:pt x="5037" y="3513"/>
                    <a:pt x="4406" y="3061"/>
                    <a:pt x="4140" y="3061"/>
                  </a:cubicBezTo>
                  <a:close/>
                  <a:moveTo>
                    <a:pt x="5540" y="3896"/>
                  </a:moveTo>
                  <a:cubicBezTo>
                    <a:pt x="5505" y="3896"/>
                    <a:pt x="5489" y="3907"/>
                    <a:pt x="5504" y="3932"/>
                  </a:cubicBezTo>
                  <a:cubicBezTo>
                    <a:pt x="5529" y="4033"/>
                    <a:pt x="5853" y="4327"/>
                    <a:pt x="6099" y="4327"/>
                  </a:cubicBezTo>
                  <a:cubicBezTo>
                    <a:pt x="6145" y="4327"/>
                    <a:pt x="6188" y="4317"/>
                    <a:pt x="6226" y="4293"/>
                  </a:cubicBezTo>
                  <a:cubicBezTo>
                    <a:pt x="6401" y="4167"/>
                    <a:pt x="5720" y="3896"/>
                    <a:pt x="5540" y="3896"/>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18" name="Google Shape;3012;p123">
              <a:extLst>
                <a:ext uri="{FF2B5EF4-FFF2-40B4-BE49-F238E27FC236}">
                  <a16:creationId xmlns:a16="http://schemas.microsoft.com/office/drawing/2014/main" id="{6695B0DC-9ECC-4047-86B3-A94D9A5486BA}"/>
                </a:ext>
              </a:extLst>
            </p:cNvPr>
            <p:cNvSpPr/>
            <p:nvPr/>
          </p:nvSpPr>
          <p:spPr>
            <a:xfrm>
              <a:off x="7007158" y="3546429"/>
              <a:ext cx="1010267" cy="894078"/>
            </a:xfrm>
            <a:custGeom>
              <a:avLst/>
              <a:gdLst/>
              <a:ahLst/>
              <a:cxnLst/>
              <a:rect l="l" t="t" r="r" b="b"/>
              <a:pathLst>
                <a:path w="32563" h="28818" extrusionOk="0">
                  <a:moveTo>
                    <a:pt x="14476" y="608"/>
                  </a:moveTo>
                  <a:cubicBezTo>
                    <a:pt x="14110" y="608"/>
                    <a:pt x="13529" y="785"/>
                    <a:pt x="13724" y="914"/>
                  </a:cubicBezTo>
                  <a:cubicBezTo>
                    <a:pt x="13799" y="973"/>
                    <a:pt x="13913" y="996"/>
                    <a:pt x="14038" y="996"/>
                  </a:cubicBezTo>
                  <a:cubicBezTo>
                    <a:pt x="14365" y="996"/>
                    <a:pt x="14769" y="834"/>
                    <a:pt x="14747" y="704"/>
                  </a:cubicBezTo>
                  <a:cubicBezTo>
                    <a:pt x="14730" y="636"/>
                    <a:pt x="14619" y="608"/>
                    <a:pt x="14476" y="608"/>
                  </a:cubicBezTo>
                  <a:close/>
                  <a:moveTo>
                    <a:pt x="19401" y="21226"/>
                  </a:moveTo>
                  <a:cubicBezTo>
                    <a:pt x="19085" y="21226"/>
                    <a:pt x="18568" y="21368"/>
                    <a:pt x="18689" y="21469"/>
                  </a:cubicBezTo>
                  <a:cubicBezTo>
                    <a:pt x="18764" y="21544"/>
                    <a:pt x="18923" y="21583"/>
                    <a:pt x="19089" y="21583"/>
                  </a:cubicBezTo>
                  <a:cubicBezTo>
                    <a:pt x="19322" y="21583"/>
                    <a:pt x="19569" y="21507"/>
                    <a:pt x="19622" y="21348"/>
                  </a:cubicBezTo>
                  <a:cubicBezTo>
                    <a:pt x="19662" y="21260"/>
                    <a:pt x="19555" y="21226"/>
                    <a:pt x="19401" y="21226"/>
                  </a:cubicBezTo>
                  <a:close/>
                  <a:moveTo>
                    <a:pt x="23582" y="0"/>
                  </a:moveTo>
                  <a:cubicBezTo>
                    <a:pt x="23412" y="0"/>
                    <a:pt x="23088" y="420"/>
                    <a:pt x="23143" y="613"/>
                  </a:cubicBezTo>
                  <a:cubicBezTo>
                    <a:pt x="23143" y="854"/>
                    <a:pt x="23083" y="1065"/>
                    <a:pt x="22933" y="1275"/>
                  </a:cubicBezTo>
                  <a:cubicBezTo>
                    <a:pt x="22782" y="1366"/>
                    <a:pt x="23053" y="1937"/>
                    <a:pt x="22842" y="2118"/>
                  </a:cubicBezTo>
                  <a:cubicBezTo>
                    <a:pt x="22602" y="2329"/>
                    <a:pt x="22782" y="3111"/>
                    <a:pt x="22752" y="3532"/>
                  </a:cubicBezTo>
                  <a:cubicBezTo>
                    <a:pt x="22752" y="3954"/>
                    <a:pt x="22692" y="4375"/>
                    <a:pt x="22541" y="4766"/>
                  </a:cubicBezTo>
                  <a:cubicBezTo>
                    <a:pt x="22301" y="5037"/>
                    <a:pt x="22271" y="5519"/>
                    <a:pt x="21849" y="5669"/>
                  </a:cubicBezTo>
                  <a:cubicBezTo>
                    <a:pt x="21771" y="5697"/>
                    <a:pt x="21688" y="5710"/>
                    <a:pt x="21605" y="5710"/>
                  </a:cubicBezTo>
                  <a:cubicBezTo>
                    <a:pt x="21245" y="5710"/>
                    <a:pt x="20886" y="5474"/>
                    <a:pt x="20886" y="5278"/>
                  </a:cubicBezTo>
                  <a:cubicBezTo>
                    <a:pt x="20886" y="5085"/>
                    <a:pt x="20509" y="4943"/>
                    <a:pt x="20237" y="4943"/>
                  </a:cubicBezTo>
                  <a:cubicBezTo>
                    <a:pt x="20212" y="4943"/>
                    <a:pt x="20187" y="4944"/>
                    <a:pt x="20164" y="4947"/>
                  </a:cubicBezTo>
                  <a:cubicBezTo>
                    <a:pt x="20153" y="4948"/>
                    <a:pt x="20143" y="4949"/>
                    <a:pt x="20133" y="4949"/>
                  </a:cubicBezTo>
                  <a:cubicBezTo>
                    <a:pt x="19883" y="4949"/>
                    <a:pt x="19758" y="4604"/>
                    <a:pt x="19412" y="4315"/>
                  </a:cubicBezTo>
                  <a:cubicBezTo>
                    <a:pt x="19271" y="4207"/>
                    <a:pt x="19142" y="4184"/>
                    <a:pt x="19028" y="4184"/>
                  </a:cubicBezTo>
                  <a:cubicBezTo>
                    <a:pt x="18945" y="4184"/>
                    <a:pt x="18870" y="4196"/>
                    <a:pt x="18803" y="4196"/>
                  </a:cubicBezTo>
                  <a:cubicBezTo>
                    <a:pt x="18706" y="4196"/>
                    <a:pt x="18626" y="4170"/>
                    <a:pt x="18569" y="4044"/>
                  </a:cubicBezTo>
                  <a:cubicBezTo>
                    <a:pt x="18509" y="3773"/>
                    <a:pt x="18298" y="3563"/>
                    <a:pt x="18057" y="3442"/>
                  </a:cubicBezTo>
                  <a:cubicBezTo>
                    <a:pt x="17786" y="3262"/>
                    <a:pt x="17877" y="3262"/>
                    <a:pt x="18117" y="3081"/>
                  </a:cubicBezTo>
                  <a:cubicBezTo>
                    <a:pt x="18358" y="2900"/>
                    <a:pt x="18388" y="2600"/>
                    <a:pt x="18208" y="2389"/>
                  </a:cubicBezTo>
                  <a:cubicBezTo>
                    <a:pt x="18057" y="2178"/>
                    <a:pt x="18358" y="2208"/>
                    <a:pt x="18719" y="2028"/>
                  </a:cubicBezTo>
                  <a:cubicBezTo>
                    <a:pt x="19111" y="1817"/>
                    <a:pt x="18719" y="1606"/>
                    <a:pt x="18990" y="1486"/>
                  </a:cubicBezTo>
                  <a:cubicBezTo>
                    <a:pt x="19261" y="1366"/>
                    <a:pt x="19111" y="1155"/>
                    <a:pt x="18810" y="1125"/>
                  </a:cubicBezTo>
                  <a:cubicBezTo>
                    <a:pt x="18783" y="1119"/>
                    <a:pt x="18759" y="1117"/>
                    <a:pt x="18738" y="1117"/>
                  </a:cubicBezTo>
                  <a:cubicBezTo>
                    <a:pt x="18528" y="1117"/>
                    <a:pt x="18618" y="1371"/>
                    <a:pt x="18509" y="1426"/>
                  </a:cubicBezTo>
                  <a:cubicBezTo>
                    <a:pt x="18505" y="1427"/>
                    <a:pt x="18501" y="1427"/>
                    <a:pt x="18497" y="1427"/>
                  </a:cubicBezTo>
                  <a:cubicBezTo>
                    <a:pt x="18384" y="1427"/>
                    <a:pt x="18324" y="1004"/>
                    <a:pt x="18208" y="1004"/>
                  </a:cubicBezTo>
                  <a:cubicBezTo>
                    <a:pt x="18109" y="1004"/>
                    <a:pt x="17889" y="1329"/>
                    <a:pt x="17713" y="1329"/>
                  </a:cubicBezTo>
                  <a:cubicBezTo>
                    <a:pt x="17675" y="1329"/>
                    <a:pt x="17638" y="1313"/>
                    <a:pt x="17606" y="1275"/>
                  </a:cubicBezTo>
                  <a:cubicBezTo>
                    <a:pt x="17425" y="1035"/>
                    <a:pt x="16432" y="824"/>
                    <a:pt x="16071" y="764"/>
                  </a:cubicBezTo>
                  <a:cubicBezTo>
                    <a:pt x="15703" y="735"/>
                    <a:pt x="15574" y="307"/>
                    <a:pt x="15385" y="307"/>
                  </a:cubicBezTo>
                  <a:cubicBezTo>
                    <a:pt x="15373" y="307"/>
                    <a:pt x="15361" y="309"/>
                    <a:pt x="15349" y="312"/>
                  </a:cubicBezTo>
                  <a:cubicBezTo>
                    <a:pt x="15108" y="403"/>
                    <a:pt x="15379" y="553"/>
                    <a:pt x="15650" y="854"/>
                  </a:cubicBezTo>
                  <a:cubicBezTo>
                    <a:pt x="15863" y="1091"/>
                    <a:pt x="15183" y="1253"/>
                    <a:pt x="14721" y="1253"/>
                  </a:cubicBezTo>
                  <a:cubicBezTo>
                    <a:pt x="14596" y="1253"/>
                    <a:pt x="14487" y="1241"/>
                    <a:pt x="14416" y="1215"/>
                  </a:cubicBezTo>
                  <a:cubicBezTo>
                    <a:pt x="14372" y="1204"/>
                    <a:pt x="14340" y="1200"/>
                    <a:pt x="14317" y="1200"/>
                  </a:cubicBezTo>
                  <a:cubicBezTo>
                    <a:pt x="14145" y="1200"/>
                    <a:pt x="14440" y="1456"/>
                    <a:pt x="14175" y="1456"/>
                  </a:cubicBezTo>
                  <a:cubicBezTo>
                    <a:pt x="13874" y="1456"/>
                    <a:pt x="13844" y="1907"/>
                    <a:pt x="13603" y="2178"/>
                  </a:cubicBezTo>
                  <a:cubicBezTo>
                    <a:pt x="13393" y="2419"/>
                    <a:pt x="13543" y="2569"/>
                    <a:pt x="13302" y="2720"/>
                  </a:cubicBezTo>
                  <a:cubicBezTo>
                    <a:pt x="13092" y="2870"/>
                    <a:pt x="13062" y="3081"/>
                    <a:pt x="13362" y="3412"/>
                  </a:cubicBezTo>
                  <a:cubicBezTo>
                    <a:pt x="13520" y="3586"/>
                    <a:pt x="13471" y="3668"/>
                    <a:pt x="13349" y="3668"/>
                  </a:cubicBezTo>
                  <a:cubicBezTo>
                    <a:pt x="13239" y="3668"/>
                    <a:pt x="13070" y="3601"/>
                    <a:pt x="12941" y="3472"/>
                  </a:cubicBezTo>
                  <a:cubicBezTo>
                    <a:pt x="12813" y="3359"/>
                    <a:pt x="12685" y="3299"/>
                    <a:pt x="12592" y="3299"/>
                  </a:cubicBezTo>
                  <a:cubicBezTo>
                    <a:pt x="12488" y="3299"/>
                    <a:pt x="12428" y="3374"/>
                    <a:pt x="12460" y="3532"/>
                  </a:cubicBezTo>
                  <a:cubicBezTo>
                    <a:pt x="12472" y="3652"/>
                    <a:pt x="12417" y="3705"/>
                    <a:pt x="12353" y="3705"/>
                  </a:cubicBezTo>
                  <a:cubicBezTo>
                    <a:pt x="12255" y="3705"/>
                    <a:pt x="12134" y="3582"/>
                    <a:pt x="12189" y="3382"/>
                  </a:cubicBezTo>
                  <a:cubicBezTo>
                    <a:pt x="12249" y="3021"/>
                    <a:pt x="11798" y="3171"/>
                    <a:pt x="11737" y="2991"/>
                  </a:cubicBezTo>
                  <a:cubicBezTo>
                    <a:pt x="11651" y="2818"/>
                    <a:pt x="11316" y="2507"/>
                    <a:pt x="11077" y="2507"/>
                  </a:cubicBezTo>
                  <a:cubicBezTo>
                    <a:pt x="11066" y="2507"/>
                    <a:pt x="11056" y="2508"/>
                    <a:pt x="11045" y="2509"/>
                  </a:cubicBezTo>
                  <a:cubicBezTo>
                    <a:pt x="10835" y="2539"/>
                    <a:pt x="10835" y="2780"/>
                    <a:pt x="10594" y="2780"/>
                  </a:cubicBezTo>
                  <a:cubicBezTo>
                    <a:pt x="10383" y="2780"/>
                    <a:pt x="10353" y="2870"/>
                    <a:pt x="10383" y="3141"/>
                  </a:cubicBezTo>
                  <a:cubicBezTo>
                    <a:pt x="10393" y="3227"/>
                    <a:pt x="10357" y="3255"/>
                    <a:pt x="10297" y="3255"/>
                  </a:cubicBezTo>
                  <a:cubicBezTo>
                    <a:pt x="10175" y="3255"/>
                    <a:pt x="9951" y="3139"/>
                    <a:pt x="9787" y="3139"/>
                  </a:cubicBezTo>
                  <a:cubicBezTo>
                    <a:pt x="9775" y="3139"/>
                    <a:pt x="9763" y="3140"/>
                    <a:pt x="9751" y="3141"/>
                  </a:cubicBezTo>
                  <a:cubicBezTo>
                    <a:pt x="9480" y="3171"/>
                    <a:pt x="9751" y="3472"/>
                    <a:pt x="9601" y="3472"/>
                  </a:cubicBezTo>
                  <a:cubicBezTo>
                    <a:pt x="9450" y="3472"/>
                    <a:pt x="9480" y="3743"/>
                    <a:pt x="9239" y="3743"/>
                  </a:cubicBezTo>
                  <a:cubicBezTo>
                    <a:pt x="9029" y="3743"/>
                    <a:pt x="9059" y="4285"/>
                    <a:pt x="9059" y="4526"/>
                  </a:cubicBezTo>
                  <a:cubicBezTo>
                    <a:pt x="9059" y="4601"/>
                    <a:pt x="9033" y="4628"/>
                    <a:pt x="8991" y="4628"/>
                  </a:cubicBezTo>
                  <a:cubicBezTo>
                    <a:pt x="8893" y="4628"/>
                    <a:pt x="8708" y="4489"/>
                    <a:pt x="8546" y="4489"/>
                  </a:cubicBezTo>
                  <a:cubicBezTo>
                    <a:pt x="8526" y="4489"/>
                    <a:pt x="8506" y="4491"/>
                    <a:pt x="8487" y="4495"/>
                  </a:cubicBezTo>
                  <a:cubicBezTo>
                    <a:pt x="8276" y="4586"/>
                    <a:pt x="8547" y="4766"/>
                    <a:pt x="8607" y="5067"/>
                  </a:cubicBezTo>
                  <a:cubicBezTo>
                    <a:pt x="8698" y="5368"/>
                    <a:pt x="8487" y="5368"/>
                    <a:pt x="8397" y="5489"/>
                  </a:cubicBezTo>
                  <a:cubicBezTo>
                    <a:pt x="8386" y="5497"/>
                    <a:pt x="8375" y="5500"/>
                    <a:pt x="8362" y="5500"/>
                  </a:cubicBezTo>
                  <a:cubicBezTo>
                    <a:pt x="8236" y="5500"/>
                    <a:pt x="8036" y="5106"/>
                    <a:pt x="8036" y="4887"/>
                  </a:cubicBezTo>
                  <a:cubicBezTo>
                    <a:pt x="8036" y="4809"/>
                    <a:pt x="8011" y="4776"/>
                    <a:pt x="7969" y="4776"/>
                  </a:cubicBezTo>
                  <a:cubicBezTo>
                    <a:pt x="7863" y="4776"/>
                    <a:pt x="7649" y="4982"/>
                    <a:pt x="7434" y="5218"/>
                  </a:cubicBezTo>
                  <a:cubicBezTo>
                    <a:pt x="7133" y="5549"/>
                    <a:pt x="7554" y="6030"/>
                    <a:pt x="7404" y="6121"/>
                  </a:cubicBezTo>
                  <a:cubicBezTo>
                    <a:pt x="7012" y="6482"/>
                    <a:pt x="6621" y="6843"/>
                    <a:pt x="6290" y="7234"/>
                  </a:cubicBezTo>
                  <a:cubicBezTo>
                    <a:pt x="5899" y="7686"/>
                    <a:pt x="5117" y="7415"/>
                    <a:pt x="4846" y="7655"/>
                  </a:cubicBezTo>
                  <a:cubicBezTo>
                    <a:pt x="4575" y="7896"/>
                    <a:pt x="4364" y="7686"/>
                    <a:pt x="4093" y="7896"/>
                  </a:cubicBezTo>
                  <a:cubicBezTo>
                    <a:pt x="3881" y="8038"/>
                    <a:pt x="3593" y="8291"/>
                    <a:pt x="3436" y="8291"/>
                  </a:cubicBezTo>
                  <a:cubicBezTo>
                    <a:pt x="3393" y="8291"/>
                    <a:pt x="3360" y="8272"/>
                    <a:pt x="3341" y="8227"/>
                  </a:cubicBezTo>
                  <a:cubicBezTo>
                    <a:pt x="3321" y="8148"/>
                    <a:pt x="3243" y="8115"/>
                    <a:pt x="3138" y="8115"/>
                  </a:cubicBezTo>
                  <a:cubicBezTo>
                    <a:pt x="2922" y="8115"/>
                    <a:pt x="2590" y="8256"/>
                    <a:pt x="2408" y="8438"/>
                  </a:cubicBezTo>
                  <a:cubicBezTo>
                    <a:pt x="2137" y="8739"/>
                    <a:pt x="1806" y="8919"/>
                    <a:pt x="1415" y="9010"/>
                  </a:cubicBezTo>
                  <a:cubicBezTo>
                    <a:pt x="1114" y="9010"/>
                    <a:pt x="1114" y="9461"/>
                    <a:pt x="1024" y="9581"/>
                  </a:cubicBezTo>
                  <a:cubicBezTo>
                    <a:pt x="1011" y="9594"/>
                    <a:pt x="1000" y="9600"/>
                    <a:pt x="990" y="9600"/>
                  </a:cubicBezTo>
                  <a:cubicBezTo>
                    <a:pt x="903" y="9600"/>
                    <a:pt x="903" y="9181"/>
                    <a:pt x="903" y="9100"/>
                  </a:cubicBezTo>
                  <a:cubicBezTo>
                    <a:pt x="903" y="9082"/>
                    <a:pt x="897" y="9073"/>
                    <a:pt x="886" y="9073"/>
                  </a:cubicBezTo>
                  <a:cubicBezTo>
                    <a:pt x="824" y="9073"/>
                    <a:pt x="614" y="9336"/>
                    <a:pt x="512" y="9642"/>
                  </a:cubicBezTo>
                  <a:cubicBezTo>
                    <a:pt x="422" y="10033"/>
                    <a:pt x="813" y="10183"/>
                    <a:pt x="572" y="10544"/>
                  </a:cubicBezTo>
                  <a:cubicBezTo>
                    <a:pt x="301" y="10936"/>
                    <a:pt x="30" y="11357"/>
                    <a:pt x="422" y="11839"/>
                  </a:cubicBezTo>
                  <a:cubicBezTo>
                    <a:pt x="783" y="12320"/>
                    <a:pt x="963" y="12621"/>
                    <a:pt x="873" y="12892"/>
                  </a:cubicBezTo>
                  <a:cubicBezTo>
                    <a:pt x="856" y="12925"/>
                    <a:pt x="837" y="12940"/>
                    <a:pt x="815" y="12940"/>
                  </a:cubicBezTo>
                  <a:cubicBezTo>
                    <a:pt x="689" y="12940"/>
                    <a:pt x="493" y="12463"/>
                    <a:pt x="384" y="12463"/>
                  </a:cubicBezTo>
                  <a:cubicBezTo>
                    <a:pt x="376" y="12463"/>
                    <a:pt x="368" y="12465"/>
                    <a:pt x="362" y="12471"/>
                  </a:cubicBezTo>
                  <a:cubicBezTo>
                    <a:pt x="271" y="12531"/>
                    <a:pt x="723" y="12892"/>
                    <a:pt x="602" y="13042"/>
                  </a:cubicBezTo>
                  <a:cubicBezTo>
                    <a:pt x="591" y="13056"/>
                    <a:pt x="578" y="13062"/>
                    <a:pt x="564" y="13062"/>
                  </a:cubicBezTo>
                  <a:cubicBezTo>
                    <a:pt x="440" y="13062"/>
                    <a:pt x="207" y="12593"/>
                    <a:pt x="98" y="12593"/>
                  </a:cubicBezTo>
                  <a:cubicBezTo>
                    <a:pt x="83" y="12593"/>
                    <a:pt x="70" y="12601"/>
                    <a:pt x="61" y="12621"/>
                  </a:cubicBezTo>
                  <a:cubicBezTo>
                    <a:pt x="0" y="12802"/>
                    <a:pt x="813" y="13975"/>
                    <a:pt x="873" y="14397"/>
                  </a:cubicBezTo>
                  <a:cubicBezTo>
                    <a:pt x="903" y="14788"/>
                    <a:pt x="1565" y="15239"/>
                    <a:pt x="1535" y="15901"/>
                  </a:cubicBezTo>
                  <a:cubicBezTo>
                    <a:pt x="1505" y="16533"/>
                    <a:pt x="2137" y="17557"/>
                    <a:pt x="2227" y="17707"/>
                  </a:cubicBezTo>
                  <a:cubicBezTo>
                    <a:pt x="2288" y="17857"/>
                    <a:pt x="1987" y="18249"/>
                    <a:pt x="2077" y="18760"/>
                  </a:cubicBezTo>
                  <a:cubicBezTo>
                    <a:pt x="2137" y="19242"/>
                    <a:pt x="1926" y="19392"/>
                    <a:pt x="1626" y="19392"/>
                  </a:cubicBezTo>
                  <a:cubicBezTo>
                    <a:pt x="1325" y="19392"/>
                    <a:pt x="1475" y="19874"/>
                    <a:pt x="1806" y="19904"/>
                  </a:cubicBezTo>
                  <a:cubicBezTo>
                    <a:pt x="2137" y="19964"/>
                    <a:pt x="2017" y="20175"/>
                    <a:pt x="2408" y="20446"/>
                  </a:cubicBezTo>
                  <a:cubicBezTo>
                    <a:pt x="2599" y="20589"/>
                    <a:pt x="2934" y="20623"/>
                    <a:pt x="3251" y="20623"/>
                  </a:cubicBezTo>
                  <a:cubicBezTo>
                    <a:pt x="3533" y="20623"/>
                    <a:pt x="3801" y="20596"/>
                    <a:pt x="3943" y="20596"/>
                  </a:cubicBezTo>
                  <a:cubicBezTo>
                    <a:pt x="4244" y="20596"/>
                    <a:pt x="4334" y="20145"/>
                    <a:pt x="4725" y="20115"/>
                  </a:cubicBezTo>
                  <a:cubicBezTo>
                    <a:pt x="5147" y="20054"/>
                    <a:pt x="5086" y="19994"/>
                    <a:pt x="5297" y="19723"/>
                  </a:cubicBezTo>
                  <a:cubicBezTo>
                    <a:pt x="5417" y="19588"/>
                    <a:pt x="5688" y="19550"/>
                    <a:pt x="6049" y="19550"/>
                  </a:cubicBezTo>
                  <a:cubicBezTo>
                    <a:pt x="6411" y="19550"/>
                    <a:pt x="6862" y="19588"/>
                    <a:pt x="7344" y="19603"/>
                  </a:cubicBezTo>
                  <a:cubicBezTo>
                    <a:pt x="7431" y="19609"/>
                    <a:pt x="7513" y="19611"/>
                    <a:pt x="7591" y="19611"/>
                  </a:cubicBezTo>
                  <a:cubicBezTo>
                    <a:pt x="8342" y="19611"/>
                    <a:pt x="8652" y="19356"/>
                    <a:pt x="8788" y="19001"/>
                  </a:cubicBezTo>
                  <a:cubicBezTo>
                    <a:pt x="8939" y="18640"/>
                    <a:pt x="9601" y="18640"/>
                    <a:pt x="9841" y="18399"/>
                  </a:cubicBezTo>
                  <a:cubicBezTo>
                    <a:pt x="10056" y="18232"/>
                    <a:pt x="10252" y="18179"/>
                    <a:pt x="10654" y="18179"/>
                  </a:cubicBezTo>
                  <a:cubicBezTo>
                    <a:pt x="10759" y="18179"/>
                    <a:pt x="10878" y="18182"/>
                    <a:pt x="11015" y="18189"/>
                  </a:cubicBezTo>
                  <a:cubicBezTo>
                    <a:pt x="11042" y="18190"/>
                    <a:pt x="11070" y="18190"/>
                    <a:pt x="11097" y="18190"/>
                  </a:cubicBezTo>
                  <a:cubicBezTo>
                    <a:pt x="11757" y="18190"/>
                    <a:pt x="12357" y="17849"/>
                    <a:pt x="12791" y="17647"/>
                  </a:cubicBezTo>
                  <a:cubicBezTo>
                    <a:pt x="13242" y="17466"/>
                    <a:pt x="14025" y="17557"/>
                    <a:pt x="14446" y="17466"/>
                  </a:cubicBezTo>
                  <a:cubicBezTo>
                    <a:pt x="14466" y="17463"/>
                    <a:pt x="14485" y="17462"/>
                    <a:pt x="14504" y="17462"/>
                  </a:cubicBezTo>
                  <a:cubicBezTo>
                    <a:pt x="14847" y="17462"/>
                    <a:pt x="14938" y="17927"/>
                    <a:pt x="15314" y="17927"/>
                  </a:cubicBezTo>
                  <a:cubicBezTo>
                    <a:pt x="15344" y="17927"/>
                    <a:pt x="15375" y="17924"/>
                    <a:pt x="15409" y="17918"/>
                  </a:cubicBezTo>
                  <a:cubicBezTo>
                    <a:pt x="15473" y="17910"/>
                    <a:pt x="15533" y="17907"/>
                    <a:pt x="15588" y="17907"/>
                  </a:cubicBezTo>
                  <a:cubicBezTo>
                    <a:pt x="15938" y="17907"/>
                    <a:pt x="16108" y="18041"/>
                    <a:pt x="16318" y="18041"/>
                  </a:cubicBezTo>
                  <a:cubicBezTo>
                    <a:pt x="16336" y="18041"/>
                    <a:pt x="16354" y="18040"/>
                    <a:pt x="16372" y="18038"/>
                  </a:cubicBezTo>
                  <a:cubicBezTo>
                    <a:pt x="16388" y="18036"/>
                    <a:pt x="16403" y="18035"/>
                    <a:pt x="16416" y="18035"/>
                  </a:cubicBezTo>
                  <a:cubicBezTo>
                    <a:pt x="16606" y="18035"/>
                    <a:pt x="16570" y="18221"/>
                    <a:pt x="16823" y="18249"/>
                  </a:cubicBezTo>
                  <a:cubicBezTo>
                    <a:pt x="17064" y="18309"/>
                    <a:pt x="17004" y="18520"/>
                    <a:pt x="16853" y="18790"/>
                  </a:cubicBezTo>
                  <a:cubicBezTo>
                    <a:pt x="16703" y="19061"/>
                    <a:pt x="17215" y="18971"/>
                    <a:pt x="17576" y="19422"/>
                  </a:cubicBezTo>
                  <a:cubicBezTo>
                    <a:pt x="17907" y="19874"/>
                    <a:pt x="17576" y="19964"/>
                    <a:pt x="17756" y="20325"/>
                  </a:cubicBezTo>
                  <a:cubicBezTo>
                    <a:pt x="17830" y="20484"/>
                    <a:pt x="17893" y="20559"/>
                    <a:pt x="17965" y="20559"/>
                  </a:cubicBezTo>
                  <a:cubicBezTo>
                    <a:pt x="18070" y="20559"/>
                    <a:pt x="18192" y="20400"/>
                    <a:pt x="18388" y="20115"/>
                  </a:cubicBezTo>
                  <a:cubicBezTo>
                    <a:pt x="18719" y="19603"/>
                    <a:pt x="19141" y="19904"/>
                    <a:pt x="19171" y="19513"/>
                  </a:cubicBezTo>
                  <a:cubicBezTo>
                    <a:pt x="19221" y="19163"/>
                    <a:pt x="19498" y="18731"/>
                    <a:pt x="19729" y="18731"/>
                  </a:cubicBezTo>
                  <a:cubicBezTo>
                    <a:pt x="19776" y="18731"/>
                    <a:pt x="19822" y="18749"/>
                    <a:pt x="19863" y="18790"/>
                  </a:cubicBezTo>
                  <a:cubicBezTo>
                    <a:pt x="20074" y="19001"/>
                    <a:pt x="19682" y="19091"/>
                    <a:pt x="19532" y="19904"/>
                  </a:cubicBezTo>
                  <a:cubicBezTo>
                    <a:pt x="19445" y="20392"/>
                    <a:pt x="19317" y="20446"/>
                    <a:pt x="19208" y="20446"/>
                  </a:cubicBezTo>
                  <a:cubicBezTo>
                    <a:pt x="19177" y="20446"/>
                    <a:pt x="19147" y="20441"/>
                    <a:pt x="19120" y="20441"/>
                  </a:cubicBezTo>
                  <a:cubicBezTo>
                    <a:pt x="19078" y="20441"/>
                    <a:pt x="19043" y="20452"/>
                    <a:pt x="19020" y="20506"/>
                  </a:cubicBezTo>
                  <a:cubicBezTo>
                    <a:pt x="18988" y="20634"/>
                    <a:pt x="19203" y="20736"/>
                    <a:pt x="19411" y="20736"/>
                  </a:cubicBezTo>
                  <a:cubicBezTo>
                    <a:pt x="19595" y="20736"/>
                    <a:pt x="19773" y="20657"/>
                    <a:pt x="19773" y="20446"/>
                  </a:cubicBezTo>
                  <a:cubicBezTo>
                    <a:pt x="19773" y="20167"/>
                    <a:pt x="19818" y="20003"/>
                    <a:pt x="19924" y="20003"/>
                  </a:cubicBezTo>
                  <a:cubicBezTo>
                    <a:pt x="19990" y="20003"/>
                    <a:pt x="20079" y="20067"/>
                    <a:pt x="20194" y="20205"/>
                  </a:cubicBezTo>
                  <a:cubicBezTo>
                    <a:pt x="20495" y="20596"/>
                    <a:pt x="20044" y="20927"/>
                    <a:pt x="20134" y="21108"/>
                  </a:cubicBezTo>
                  <a:cubicBezTo>
                    <a:pt x="20151" y="21168"/>
                    <a:pt x="20188" y="21189"/>
                    <a:pt x="20235" y="21189"/>
                  </a:cubicBezTo>
                  <a:cubicBezTo>
                    <a:pt x="20346" y="21189"/>
                    <a:pt x="20518" y="21075"/>
                    <a:pt x="20645" y="21075"/>
                  </a:cubicBezTo>
                  <a:cubicBezTo>
                    <a:pt x="20656" y="21075"/>
                    <a:pt x="20666" y="21076"/>
                    <a:pt x="20676" y="21078"/>
                  </a:cubicBezTo>
                  <a:cubicBezTo>
                    <a:pt x="20886" y="21108"/>
                    <a:pt x="21428" y="21800"/>
                    <a:pt x="21368" y="22161"/>
                  </a:cubicBezTo>
                  <a:cubicBezTo>
                    <a:pt x="21277" y="22552"/>
                    <a:pt x="21187" y="22883"/>
                    <a:pt x="21789" y="23184"/>
                  </a:cubicBezTo>
                  <a:cubicBezTo>
                    <a:pt x="22391" y="23485"/>
                    <a:pt x="22150" y="23515"/>
                    <a:pt x="22571" y="23515"/>
                  </a:cubicBezTo>
                  <a:cubicBezTo>
                    <a:pt x="23143" y="23575"/>
                    <a:pt x="23685" y="23786"/>
                    <a:pt x="24197" y="24087"/>
                  </a:cubicBezTo>
                  <a:cubicBezTo>
                    <a:pt x="24241" y="24138"/>
                    <a:pt x="24305" y="24161"/>
                    <a:pt x="24378" y="24161"/>
                  </a:cubicBezTo>
                  <a:cubicBezTo>
                    <a:pt x="24652" y="24161"/>
                    <a:pt x="25065" y="23847"/>
                    <a:pt x="25160" y="23515"/>
                  </a:cubicBezTo>
                  <a:cubicBezTo>
                    <a:pt x="25199" y="23386"/>
                    <a:pt x="25278" y="23339"/>
                    <a:pt x="25356" y="23339"/>
                  </a:cubicBezTo>
                  <a:cubicBezTo>
                    <a:pt x="25516" y="23339"/>
                    <a:pt x="25672" y="23535"/>
                    <a:pt x="25491" y="23636"/>
                  </a:cubicBezTo>
                  <a:cubicBezTo>
                    <a:pt x="25309" y="23749"/>
                    <a:pt x="25488" y="23949"/>
                    <a:pt x="25586" y="23949"/>
                  </a:cubicBezTo>
                  <a:cubicBezTo>
                    <a:pt x="25618" y="23949"/>
                    <a:pt x="25641" y="23928"/>
                    <a:pt x="25641" y="23876"/>
                  </a:cubicBezTo>
                  <a:cubicBezTo>
                    <a:pt x="25641" y="23721"/>
                    <a:pt x="25691" y="23591"/>
                    <a:pt x="25759" y="23591"/>
                  </a:cubicBezTo>
                  <a:cubicBezTo>
                    <a:pt x="25797" y="23591"/>
                    <a:pt x="25839" y="23630"/>
                    <a:pt x="25882" y="23726"/>
                  </a:cubicBezTo>
                  <a:cubicBezTo>
                    <a:pt x="26002" y="23967"/>
                    <a:pt x="26243" y="23967"/>
                    <a:pt x="26394" y="24207"/>
                  </a:cubicBezTo>
                  <a:cubicBezTo>
                    <a:pt x="26497" y="24352"/>
                    <a:pt x="26586" y="24469"/>
                    <a:pt x="26632" y="24469"/>
                  </a:cubicBezTo>
                  <a:cubicBezTo>
                    <a:pt x="26653" y="24469"/>
                    <a:pt x="26664" y="24445"/>
                    <a:pt x="26664" y="24388"/>
                  </a:cubicBezTo>
                  <a:cubicBezTo>
                    <a:pt x="26664" y="24177"/>
                    <a:pt x="26785" y="23997"/>
                    <a:pt x="26995" y="23937"/>
                  </a:cubicBezTo>
                  <a:cubicBezTo>
                    <a:pt x="27266" y="23786"/>
                    <a:pt x="27537" y="23636"/>
                    <a:pt x="27748" y="23425"/>
                  </a:cubicBezTo>
                  <a:cubicBezTo>
                    <a:pt x="28049" y="23154"/>
                    <a:pt x="29313" y="23124"/>
                    <a:pt x="29403" y="23124"/>
                  </a:cubicBezTo>
                  <a:cubicBezTo>
                    <a:pt x="29523" y="23124"/>
                    <a:pt x="29614" y="22071"/>
                    <a:pt x="29674" y="21499"/>
                  </a:cubicBezTo>
                  <a:cubicBezTo>
                    <a:pt x="29764" y="20927"/>
                    <a:pt x="30216" y="20897"/>
                    <a:pt x="30276" y="20295"/>
                  </a:cubicBezTo>
                  <a:cubicBezTo>
                    <a:pt x="30366" y="19693"/>
                    <a:pt x="30968" y="18640"/>
                    <a:pt x="31118" y="18610"/>
                  </a:cubicBezTo>
                  <a:cubicBezTo>
                    <a:pt x="31359" y="18520"/>
                    <a:pt x="31540" y="18309"/>
                    <a:pt x="31600" y="18038"/>
                  </a:cubicBezTo>
                  <a:cubicBezTo>
                    <a:pt x="31600" y="17737"/>
                    <a:pt x="32021" y="17346"/>
                    <a:pt x="32021" y="16955"/>
                  </a:cubicBezTo>
                  <a:cubicBezTo>
                    <a:pt x="32021" y="16533"/>
                    <a:pt x="32232" y="16082"/>
                    <a:pt x="32202" y="15931"/>
                  </a:cubicBezTo>
                  <a:cubicBezTo>
                    <a:pt x="32081" y="15661"/>
                    <a:pt x="32142" y="15360"/>
                    <a:pt x="32322" y="15149"/>
                  </a:cubicBezTo>
                  <a:cubicBezTo>
                    <a:pt x="32563" y="14878"/>
                    <a:pt x="32202" y="14547"/>
                    <a:pt x="32322" y="14427"/>
                  </a:cubicBezTo>
                  <a:cubicBezTo>
                    <a:pt x="32458" y="14318"/>
                    <a:pt x="32299" y="13838"/>
                    <a:pt x="32155" y="13838"/>
                  </a:cubicBezTo>
                  <a:cubicBezTo>
                    <a:pt x="32140" y="13838"/>
                    <a:pt x="32126" y="13844"/>
                    <a:pt x="32112" y="13855"/>
                  </a:cubicBezTo>
                  <a:cubicBezTo>
                    <a:pt x="32103" y="13862"/>
                    <a:pt x="32096" y="13865"/>
                    <a:pt x="32089" y="13865"/>
                  </a:cubicBezTo>
                  <a:cubicBezTo>
                    <a:pt x="31968" y="13865"/>
                    <a:pt x="32025" y="12931"/>
                    <a:pt x="32081" y="12561"/>
                  </a:cubicBezTo>
                  <a:cubicBezTo>
                    <a:pt x="32114" y="12331"/>
                    <a:pt x="32120" y="12235"/>
                    <a:pt x="32085" y="12235"/>
                  </a:cubicBezTo>
                  <a:cubicBezTo>
                    <a:pt x="32055" y="12235"/>
                    <a:pt x="31996" y="12301"/>
                    <a:pt x="31901" y="12410"/>
                  </a:cubicBezTo>
                  <a:cubicBezTo>
                    <a:pt x="31869" y="12439"/>
                    <a:pt x="31837" y="12451"/>
                    <a:pt x="31806" y="12451"/>
                  </a:cubicBezTo>
                  <a:cubicBezTo>
                    <a:pt x="31606" y="12451"/>
                    <a:pt x="31437" y="11931"/>
                    <a:pt x="31359" y="11748"/>
                  </a:cubicBezTo>
                  <a:cubicBezTo>
                    <a:pt x="31301" y="11574"/>
                    <a:pt x="31073" y="11145"/>
                    <a:pt x="30786" y="11145"/>
                  </a:cubicBezTo>
                  <a:cubicBezTo>
                    <a:pt x="30776" y="11145"/>
                    <a:pt x="30767" y="11145"/>
                    <a:pt x="30757" y="11146"/>
                  </a:cubicBezTo>
                  <a:cubicBezTo>
                    <a:pt x="30748" y="11147"/>
                    <a:pt x="30738" y="11148"/>
                    <a:pt x="30730" y="11148"/>
                  </a:cubicBezTo>
                  <a:cubicBezTo>
                    <a:pt x="30494" y="11148"/>
                    <a:pt x="30627" y="10803"/>
                    <a:pt x="30459" y="10803"/>
                  </a:cubicBezTo>
                  <a:cubicBezTo>
                    <a:pt x="30442" y="10803"/>
                    <a:pt x="30421" y="10807"/>
                    <a:pt x="30396" y="10815"/>
                  </a:cubicBezTo>
                  <a:cubicBezTo>
                    <a:pt x="30375" y="10822"/>
                    <a:pt x="30355" y="10826"/>
                    <a:pt x="30336" y="10826"/>
                  </a:cubicBezTo>
                  <a:cubicBezTo>
                    <a:pt x="30116" y="10826"/>
                    <a:pt x="30067" y="10363"/>
                    <a:pt x="30095" y="10003"/>
                  </a:cubicBezTo>
                  <a:cubicBezTo>
                    <a:pt x="30109" y="9803"/>
                    <a:pt x="30069" y="9766"/>
                    <a:pt x="30011" y="9766"/>
                  </a:cubicBezTo>
                  <a:cubicBezTo>
                    <a:pt x="29976" y="9766"/>
                    <a:pt x="29934" y="9779"/>
                    <a:pt x="29894" y="9779"/>
                  </a:cubicBezTo>
                  <a:cubicBezTo>
                    <a:pt x="29858" y="9779"/>
                    <a:pt x="29824" y="9769"/>
                    <a:pt x="29794" y="9732"/>
                  </a:cubicBezTo>
                  <a:cubicBezTo>
                    <a:pt x="29752" y="9679"/>
                    <a:pt x="29705" y="9659"/>
                    <a:pt x="29655" y="9659"/>
                  </a:cubicBezTo>
                  <a:cubicBezTo>
                    <a:pt x="29563" y="9659"/>
                    <a:pt x="29459" y="9723"/>
                    <a:pt x="29343" y="9762"/>
                  </a:cubicBezTo>
                  <a:cubicBezTo>
                    <a:pt x="29327" y="9770"/>
                    <a:pt x="29311" y="9774"/>
                    <a:pt x="29297" y="9774"/>
                  </a:cubicBezTo>
                  <a:cubicBezTo>
                    <a:pt x="29148" y="9774"/>
                    <a:pt x="29080" y="9382"/>
                    <a:pt x="29162" y="9190"/>
                  </a:cubicBezTo>
                  <a:cubicBezTo>
                    <a:pt x="29222" y="9010"/>
                    <a:pt x="29102" y="8829"/>
                    <a:pt x="28861" y="8649"/>
                  </a:cubicBezTo>
                  <a:cubicBezTo>
                    <a:pt x="28621" y="8528"/>
                    <a:pt x="28530" y="8257"/>
                    <a:pt x="28590" y="8047"/>
                  </a:cubicBezTo>
                  <a:cubicBezTo>
                    <a:pt x="28590" y="7806"/>
                    <a:pt x="27086" y="7054"/>
                    <a:pt x="26755" y="6993"/>
                  </a:cubicBezTo>
                  <a:cubicBezTo>
                    <a:pt x="26394" y="6903"/>
                    <a:pt x="26694" y="6572"/>
                    <a:pt x="26544" y="6422"/>
                  </a:cubicBezTo>
                  <a:cubicBezTo>
                    <a:pt x="26394" y="6271"/>
                    <a:pt x="26363" y="5850"/>
                    <a:pt x="26363" y="5489"/>
                  </a:cubicBezTo>
                  <a:cubicBezTo>
                    <a:pt x="26363" y="5097"/>
                    <a:pt x="25882" y="4947"/>
                    <a:pt x="25882" y="4646"/>
                  </a:cubicBezTo>
                  <a:cubicBezTo>
                    <a:pt x="25882" y="4345"/>
                    <a:pt x="25731" y="4014"/>
                    <a:pt x="25762" y="3683"/>
                  </a:cubicBezTo>
                  <a:cubicBezTo>
                    <a:pt x="25792" y="3322"/>
                    <a:pt x="25280" y="3231"/>
                    <a:pt x="25250" y="3021"/>
                  </a:cubicBezTo>
                  <a:cubicBezTo>
                    <a:pt x="25231" y="2964"/>
                    <a:pt x="25194" y="2943"/>
                    <a:pt x="25142" y="2943"/>
                  </a:cubicBezTo>
                  <a:cubicBezTo>
                    <a:pt x="25031" y="2943"/>
                    <a:pt x="24854" y="3040"/>
                    <a:pt x="24648" y="3081"/>
                  </a:cubicBezTo>
                  <a:cubicBezTo>
                    <a:pt x="24638" y="3082"/>
                    <a:pt x="24629" y="3082"/>
                    <a:pt x="24620" y="3082"/>
                  </a:cubicBezTo>
                  <a:cubicBezTo>
                    <a:pt x="24349" y="3082"/>
                    <a:pt x="24377" y="2647"/>
                    <a:pt x="24377" y="2268"/>
                  </a:cubicBezTo>
                  <a:cubicBezTo>
                    <a:pt x="24377" y="1907"/>
                    <a:pt x="24257" y="1185"/>
                    <a:pt x="24046" y="1004"/>
                  </a:cubicBezTo>
                  <a:cubicBezTo>
                    <a:pt x="23805" y="824"/>
                    <a:pt x="23775" y="132"/>
                    <a:pt x="23625" y="11"/>
                  </a:cubicBezTo>
                  <a:cubicBezTo>
                    <a:pt x="23612" y="4"/>
                    <a:pt x="23598" y="0"/>
                    <a:pt x="23582" y="0"/>
                  </a:cubicBezTo>
                  <a:close/>
                  <a:moveTo>
                    <a:pt x="25310" y="25978"/>
                  </a:moveTo>
                  <a:cubicBezTo>
                    <a:pt x="25299" y="25978"/>
                    <a:pt x="25288" y="25980"/>
                    <a:pt x="25280" y="25983"/>
                  </a:cubicBezTo>
                  <a:cubicBezTo>
                    <a:pt x="25130" y="26013"/>
                    <a:pt x="25882" y="27247"/>
                    <a:pt x="25641" y="27548"/>
                  </a:cubicBezTo>
                  <a:cubicBezTo>
                    <a:pt x="25430" y="27849"/>
                    <a:pt x="26363" y="28722"/>
                    <a:pt x="26694" y="28812"/>
                  </a:cubicBezTo>
                  <a:cubicBezTo>
                    <a:pt x="26717" y="28816"/>
                    <a:pt x="26736" y="28818"/>
                    <a:pt x="26755" y="28818"/>
                  </a:cubicBezTo>
                  <a:cubicBezTo>
                    <a:pt x="27007" y="28818"/>
                    <a:pt x="26891" y="28451"/>
                    <a:pt x="27116" y="28451"/>
                  </a:cubicBezTo>
                  <a:cubicBezTo>
                    <a:pt x="27357" y="28451"/>
                    <a:pt x="27266" y="28240"/>
                    <a:pt x="27296" y="28060"/>
                  </a:cubicBezTo>
                  <a:cubicBezTo>
                    <a:pt x="27309" y="28016"/>
                    <a:pt x="27328" y="28000"/>
                    <a:pt x="27351" y="28000"/>
                  </a:cubicBezTo>
                  <a:cubicBezTo>
                    <a:pt x="27427" y="28000"/>
                    <a:pt x="27553" y="28172"/>
                    <a:pt x="27677" y="28172"/>
                  </a:cubicBezTo>
                  <a:cubicBezTo>
                    <a:pt x="27701" y="28172"/>
                    <a:pt x="27724" y="28165"/>
                    <a:pt x="27748" y="28150"/>
                  </a:cubicBezTo>
                  <a:cubicBezTo>
                    <a:pt x="27958" y="28060"/>
                    <a:pt x="27718" y="27307"/>
                    <a:pt x="27989" y="27307"/>
                  </a:cubicBezTo>
                  <a:cubicBezTo>
                    <a:pt x="28259" y="27307"/>
                    <a:pt x="28049" y="26404"/>
                    <a:pt x="27958" y="26103"/>
                  </a:cubicBezTo>
                  <a:cubicBezTo>
                    <a:pt x="27931" y="26035"/>
                    <a:pt x="27872" y="26009"/>
                    <a:pt x="27791" y="26009"/>
                  </a:cubicBezTo>
                  <a:cubicBezTo>
                    <a:pt x="27514" y="26009"/>
                    <a:pt x="26984" y="26321"/>
                    <a:pt x="26634" y="26344"/>
                  </a:cubicBezTo>
                  <a:cubicBezTo>
                    <a:pt x="26595" y="26352"/>
                    <a:pt x="26554" y="26355"/>
                    <a:pt x="26512" y="26355"/>
                  </a:cubicBezTo>
                  <a:cubicBezTo>
                    <a:pt x="26068" y="26355"/>
                    <a:pt x="25493" y="25978"/>
                    <a:pt x="25310" y="25978"/>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19" name="Google Shape;3013;p123">
              <a:extLst>
                <a:ext uri="{FF2B5EF4-FFF2-40B4-BE49-F238E27FC236}">
                  <a16:creationId xmlns:a16="http://schemas.microsoft.com/office/drawing/2014/main" id="{E86BFB62-8874-1546-8ED2-9ECD54D4AE84}"/>
                </a:ext>
              </a:extLst>
            </p:cNvPr>
            <p:cNvSpPr/>
            <p:nvPr/>
          </p:nvSpPr>
          <p:spPr>
            <a:xfrm>
              <a:off x="8328327" y="4181666"/>
              <a:ext cx="304510" cy="366188"/>
            </a:xfrm>
            <a:custGeom>
              <a:avLst/>
              <a:gdLst/>
              <a:ahLst/>
              <a:cxnLst/>
              <a:rect l="l" t="t" r="r" b="b"/>
              <a:pathLst>
                <a:path w="9815" h="11803" extrusionOk="0">
                  <a:moveTo>
                    <a:pt x="5448" y="1"/>
                  </a:moveTo>
                  <a:cubicBezTo>
                    <a:pt x="5087" y="1"/>
                    <a:pt x="5538" y="663"/>
                    <a:pt x="5719" y="873"/>
                  </a:cubicBezTo>
                  <a:cubicBezTo>
                    <a:pt x="5899" y="1114"/>
                    <a:pt x="6290" y="1265"/>
                    <a:pt x="6230" y="1445"/>
                  </a:cubicBezTo>
                  <a:cubicBezTo>
                    <a:pt x="6200" y="1626"/>
                    <a:pt x="6501" y="2017"/>
                    <a:pt x="6742" y="2047"/>
                  </a:cubicBezTo>
                  <a:cubicBezTo>
                    <a:pt x="6952" y="2077"/>
                    <a:pt x="6621" y="2769"/>
                    <a:pt x="6621" y="3251"/>
                  </a:cubicBezTo>
                  <a:cubicBezTo>
                    <a:pt x="6621" y="3732"/>
                    <a:pt x="6200" y="3612"/>
                    <a:pt x="5929" y="3973"/>
                  </a:cubicBezTo>
                  <a:cubicBezTo>
                    <a:pt x="5688" y="4304"/>
                    <a:pt x="6621" y="4605"/>
                    <a:pt x="6983" y="4906"/>
                  </a:cubicBezTo>
                  <a:cubicBezTo>
                    <a:pt x="7374" y="5207"/>
                    <a:pt x="6682" y="5990"/>
                    <a:pt x="6772" y="6170"/>
                  </a:cubicBezTo>
                  <a:cubicBezTo>
                    <a:pt x="6904" y="6264"/>
                    <a:pt x="7059" y="6311"/>
                    <a:pt x="7215" y="6311"/>
                  </a:cubicBezTo>
                  <a:cubicBezTo>
                    <a:pt x="7309" y="6311"/>
                    <a:pt x="7404" y="6294"/>
                    <a:pt x="7494" y="6260"/>
                  </a:cubicBezTo>
                  <a:cubicBezTo>
                    <a:pt x="7885" y="6170"/>
                    <a:pt x="8096" y="5267"/>
                    <a:pt x="8397" y="5057"/>
                  </a:cubicBezTo>
                  <a:cubicBezTo>
                    <a:pt x="8698" y="4816"/>
                    <a:pt x="8487" y="4425"/>
                    <a:pt x="8608" y="4214"/>
                  </a:cubicBezTo>
                  <a:cubicBezTo>
                    <a:pt x="8708" y="4089"/>
                    <a:pt x="8871" y="4026"/>
                    <a:pt x="9044" y="4026"/>
                  </a:cubicBezTo>
                  <a:cubicBezTo>
                    <a:pt x="9079" y="4026"/>
                    <a:pt x="9114" y="4028"/>
                    <a:pt x="9149" y="4033"/>
                  </a:cubicBezTo>
                  <a:cubicBezTo>
                    <a:pt x="9330" y="4033"/>
                    <a:pt x="9240" y="3582"/>
                    <a:pt x="9480" y="3582"/>
                  </a:cubicBezTo>
                  <a:cubicBezTo>
                    <a:pt x="9691" y="3582"/>
                    <a:pt x="9601" y="3251"/>
                    <a:pt x="9751" y="2860"/>
                  </a:cubicBezTo>
                  <a:cubicBezTo>
                    <a:pt x="9815" y="2708"/>
                    <a:pt x="9718" y="2646"/>
                    <a:pt x="9574" y="2646"/>
                  </a:cubicBezTo>
                  <a:cubicBezTo>
                    <a:pt x="9375" y="2646"/>
                    <a:pt x="9086" y="2763"/>
                    <a:pt x="8999" y="2920"/>
                  </a:cubicBezTo>
                  <a:cubicBezTo>
                    <a:pt x="8943" y="2984"/>
                    <a:pt x="8880" y="3008"/>
                    <a:pt x="8813" y="3008"/>
                  </a:cubicBezTo>
                  <a:cubicBezTo>
                    <a:pt x="8628" y="3008"/>
                    <a:pt x="8407" y="2830"/>
                    <a:pt x="8186" y="2830"/>
                  </a:cubicBezTo>
                  <a:cubicBezTo>
                    <a:pt x="7915" y="2830"/>
                    <a:pt x="7705" y="2619"/>
                    <a:pt x="7705" y="2348"/>
                  </a:cubicBezTo>
                  <a:cubicBezTo>
                    <a:pt x="7705" y="2088"/>
                    <a:pt x="7677" y="1744"/>
                    <a:pt x="7408" y="1744"/>
                  </a:cubicBezTo>
                  <a:cubicBezTo>
                    <a:pt x="7397" y="1744"/>
                    <a:pt x="7386" y="1745"/>
                    <a:pt x="7374" y="1746"/>
                  </a:cubicBezTo>
                  <a:cubicBezTo>
                    <a:pt x="7073" y="1776"/>
                    <a:pt x="7434" y="1987"/>
                    <a:pt x="7374" y="2168"/>
                  </a:cubicBezTo>
                  <a:cubicBezTo>
                    <a:pt x="7356" y="2198"/>
                    <a:pt x="7338" y="2210"/>
                    <a:pt x="7319" y="2210"/>
                  </a:cubicBezTo>
                  <a:cubicBezTo>
                    <a:pt x="7245" y="2210"/>
                    <a:pt x="7163" y="2017"/>
                    <a:pt x="7043" y="2017"/>
                  </a:cubicBezTo>
                  <a:cubicBezTo>
                    <a:pt x="6892" y="2017"/>
                    <a:pt x="6742" y="1806"/>
                    <a:pt x="6742" y="1475"/>
                  </a:cubicBezTo>
                  <a:cubicBezTo>
                    <a:pt x="6742" y="1144"/>
                    <a:pt x="6441" y="1144"/>
                    <a:pt x="6441" y="723"/>
                  </a:cubicBezTo>
                  <a:cubicBezTo>
                    <a:pt x="6441" y="302"/>
                    <a:pt x="5839" y="1"/>
                    <a:pt x="5448" y="1"/>
                  </a:cubicBezTo>
                  <a:close/>
                  <a:moveTo>
                    <a:pt x="4856" y="5563"/>
                  </a:moveTo>
                  <a:cubicBezTo>
                    <a:pt x="4806" y="5563"/>
                    <a:pt x="4752" y="5582"/>
                    <a:pt x="4695" y="5628"/>
                  </a:cubicBezTo>
                  <a:cubicBezTo>
                    <a:pt x="4364" y="5869"/>
                    <a:pt x="4665" y="5990"/>
                    <a:pt x="4274" y="6291"/>
                  </a:cubicBezTo>
                  <a:cubicBezTo>
                    <a:pt x="3913" y="6591"/>
                    <a:pt x="4093" y="6712"/>
                    <a:pt x="3642" y="7374"/>
                  </a:cubicBezTo>
                  <a:cubicBezTo>
                    <a:pt x="3191" y="8066"/>
                    <a:pt x="1686" y="8457"/>
                    <a:pt x="1475" y="8849"/>
                  </a:cubicBezTo>
                  <a:cubicBezTo>
                    <a:pt x="1234" y="9210"/>
                    <a:pt x="482" y="9481"/>
                    <a:pt x="482" y="9781"/>
                  </a:cubicBezTo>
                  <a:cubicBezTo>
                    <a:pt x="482" y="10082"/>
                    <a:pt x="1" y="10293"/>
                    <a:pt x="241" y="10654"/>
                  </a:cubicBezTo>
                  <a:cubicBezTo>
                    <a:pt x="366" y="10835"/>
                    <a:pt x="485" y="10862"/>
                    <a:pt x="598" y="10862"/>
                  </a:cubicBezTo>
                  <a:cubicBezTo>
                    <a:pt x="644" y="10862"/>
                    <a:pt x="690" y="10857"/>
                    <a:pt x="734" y="10857"/>
                  </a:cubicBezTo>
                  <a:cubicBezTo>
                    <a:pt x="814" y="10857"/>
                    <a:pt x="891" y="10872"/>
                    <a:pt x="964" y="10955"/>
                  </a:cubicBezTo>
                  <a:cubicBezTo>
                    <a:pt x="1204" y="11196"/>
                    <a:pt x="1415" y="10985"/>
                    <a:pt x="1535" y="11196"/>
                  </a:cubicBezTo>
                  <a:cubicBezTo>
                    <a:pt x="1579" y="11262"/>
                    <a:pt x="1708" y="11304"/>
                    <a:pt x="1883" y="11304"/>
                  </a:cubicBezTo>
                  <a:cubicBezTo>
                    <a:pt x="2186" y="11304"/>
                    <a:pt x="2628" y="11178"/>
                    <a:pt x="3010" y="10835"/>
                  </a:cubicBezTo>
                  <a:cubicBezTo>
                    <a:pt x="3612" y="10323"/>
                    <a:pt x="3311" y="10082"/>
                    <a:pt x="3522" y="9932"/>
                  </a:cubicBezTo>
                  <a:cubicBezTo>
                    <a:pt x="3762" y="9781"/>
                    <a:pt x="3792" y="9390"/>
                    <a:pt x="3943" y="9119"/>
                  </a:cubicBezTo>
                  <a:cubicBezTo>
                    <a:pt x="4093" y="8849"/>
                    <a:pt x="4154" y="8578"/>
                    <a:pt x="4816" y="8578"/>
                  </a:cubicBezTo>
                  <a:cubicBezTo>
                    <a:pt x="5448" y="8578"/>
                    <a:pt x="5117" y="8427"/>
                    <a:pt x="5056" y="8126"/>
                  </a:cubicBezTo>
                  <a:cubicBezTo>
                    <a:pt x="5026" y="7825"/>
                    <a:pt x="5598" y="7795"/>
                    <a:pt x="5598" y="7434"/>
                  </a:cubicBezTo>
                  <a:cubicBezTo>
                    <a:pt x="5598" y="7043"/>
                    <a:pt x="6381" y="6682"/>
                    <a:pt x="6200" y="6381"/>
                  </a:cubicBezTo>
                  <a:cubicBezTo>
                    <a:pt x="6019" y="6080"/>
                    <a:pt x="6351" y="5929"/>
                    <a:pt x="6140" y="5719"/>
                  </a:cubicBezTo>
                  <a:cubicBezTo>
                    <a:pt x="6075" y="5676"/>
                    <a:pt x="6020" y="5658"/>
                    <a:pt x="5968" y="5658"/>
                  </a:cubicBezTo>
                  <a:cubicBezTo>
                    <a:pt x="5803" y="5658"/>
                    <a:pt x="5684" y="5838"/>
                    <a:pt x="5478" y="5929"/>
                  </a:cubicBezTo>
                  <a:cubicBezTo>
                    <a:pt x="5462" y="5935"/>
                    <a:pt x="5447" y="5938"/>
                    <a:pt x="5431" y="5938"/>
                  </a:cubicBezTo>
                  <a:cubicBezTo>
                    <a:pt x="5250" y="5938"/>
                    <a:pt x="5081" y="5563"/>
                    <a:pt x="4856" y="5563"/>
                  </a:cubicBezTo>
                  <a:close/>
                  <a:moveTo>
                    <a:pt x="1212" y="11373"/>
                  </a:moveTo>
                  <a:cubicBezTo>
                    <a:pt x="1002" y="11373"/>
                    <a:pt x="809" y="11724"/>
                    <a:pt x="1054" y="11798"/>
                  </a:cubicBezTo>
                  <a:cubicBezTo>
                    <a:pt x="1066" y="11801"/>
                    <a:pt x="1081" y="11802"/>
                    <a:pt x="1097" y="11802"/>
                  </a:cubicBezTo>
                  <a:cubicBezTo>
                    <a:pt x="1246" y="11802"/>
                    <a:pt x="1544" y="11680"/>
                    <a:pt x="1355" y="11437"/>
                  </a:cubicBezTo>
                  <a:cubicBezTo>
                    <a:pt x="1310" y="11392"/>
                    <a:pt x="1260" y="11373"/>
                    <a:pt x="1212" y="11373"/>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20" name="Google Shape;3014;p123">
              <a:extLst>
                <a:ext uri="{FF2B5EF4-FFF2-40B4-BE49-F238E27FC236}">
                  <a16:creationId xmlns:a16="http://schemas.microsoft.com/office/drawing/2014/main" id="{BC125982-53FC-F141-B761-0EF6132D7817}"/>
                </a:ext>
              </a:extLst>
            </p:cNvPr>
            <p:cNvSpPr/>
            <p:nvPr/>
          </p:nvSpPr>
          <p:spPr>
            <a:xfrm>
              <a:off x="8598896" y="3691781"/>
              <a:ext cx="65587" cy="51005"/>
            </a:xfrm>
            <a:custGeom>
              <a:avLst/>
              <a:gdLst/>
              <a:ahLst/>
              <a:cxnLst/>
              <a:rect l="l" t="t" r="r" b="b"/>
              <a:pathLst>
                <a:path w="2114" h="1644" extrusionOk="0">
                  <a:moveTo>
                    <a:pt x="2009" y="1"/>
                  </a:moveTo>
                  <a:cubicBezTo>
                    <a:pt x="1733" y="1"/>
                    <a:pt x="1027" y="435"/>
                    <a:pt x="1271" y="533"/>
                  </a:cubicBezTo>
                  <a:cubicBezTo>
                    <a:pt x="1295" y="540"/>
                    <a:pt x="1325" y="543"/>
                    <a:pt x="1359" y="543"/>
                  </a:cubicBezTo>
                  <a:cubicBezTo>
                    <a:pt x="1619" y="543"/>
                    <a:pt x="2114" y="347"/>
                    <a:pt x="2114" y="81"/>
                  </a:cubicBezTo>
                  <a:cubicBezTo>
                    <a:pt x="2114" y="24"/>
                    <a:pt x="2073" y="1"/>
                    <a:pt x="2009" y="1"/>
                  </a:cubicBezTo>
                  <a:close/>
                  <a:moveTo>
                    <a:pt x="832" y="976"/>
                  </a:moveTo>
                  <a:cubicBezTo>
                    <a:pt x="503" y="976"/>
                    <a:pt x="0" y="1279"/>
                    <a:pt x="188" y="1466"/>
                  </a:cubicBezTo>
                  <a:cubicBezTo>
                    <a:pt x="312" y="1578"/>
                    <a:pt x="489" y="1644"/>
                    <a:pt x="652" y="1644"/>
                  </a:cubicBezTo>
                  <a:cubicBezTo>
                    <a:pt x="884" y="1644"/>
                    <a:pt x="1090" y="1512"/>
                    <a:pt x="1090" y="1195"/>
                  </a:cubicBezTo>
                  <a:cubicBezTo>
                    <a:pt x="1090" y="1037"/>
                    <a:pt x="978" y="976"/>
                    <a:pt x="832" y="976"/>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21" name="Google Shape;3015;p123">
              <a:extLst>
                <a:ext uri="{FF2B5EF4-FFF2-40B4-BE49-F238E27FC236}">
                  <a16:creationId xmlns:a16="http://schemas.microsoft.com/office/drawing/2014/main" id="{8AA85A3D-FF31-234A-A2A0-3D3A289D90DC}"/>
                </a:ext>
              </a:extLst>
            </p:cNvPr>
            <p:cNvSpPr/>
            <p:nvPr/>
          </p:nvSpPr>
          <p:spPr>
            <a:xfrm>
              <a:off x="5547804" y="2150707"/>
              <a:ext cx="352010" cy="217051"/>
            </a:xfrm>
            <a:custGeom>
              <a:avLst/>
              <a:gdLst/>
              <a:ahLst/>
              <a:cxnLst/>
              <a:rect l="l" t="t" r="r" b="b"/>
              <a:pathLst>
                <a:path w="11346" h="6996" extrusionOk="0">
                  <a:moveTo>
                    <a:pt x="4868" y="1"/>
                  </a:moveTo>
                  <a:cubicBezTo>
                    <a:pt x="4813" y="1"/>
                    <a:pt x="4772" y="12"/>
                    <a:pt x="4755" y="37"/>
                  </a:cubicBezTo>
                  <a:cubicBezTo>
                    <a:pt x="4680" y="137"/>
                    <a:pt x="4585" y="195"/>
                    <a:pt x="4486" y="195"/>
                  </a:cubicBezTo>
                  <a:cubicBezTo>
                    <a:pt x="4465" y="195"/>
                    <a:pt x="4445" y="193"/>
                    <a:pt x="4424" y="187"/>
                  </a:cubicBezTo>
                  <a:cubicBezTo>
                    <a:pt x="4337" y="187"/>
                    <a:pt x="4362" y="520"/>
                    <a:pt x="4177" y="520"/>
                  </a:cubicBezTo>
                  <a:cubicBezTo>
                    <a:pt x="4170" y="520"/>
                    <a:pt x="4162" y="520"/>
                    <a:pt x="4153" y="518"/>
                  </a:cubicBezTo>
                  <a:cubicBezTo>
                    <a:pt x="4132" y="513"/>
                    <a:pt x="4110" y="511"/>
                    <a:pt x="4087" y="511"/>
                  </a:cubicBezTo>
                  <a:cubicBezTo>
                    <a:pt x="3856" y="511"/>
                    <a:pt x="3582" y="773"/>
                    <a:pt x="3582" y="910"/>
                  </a:cubicBezTo>
                  <a:cubicBezTo>
                    <a:pt x="3582" y="1052"/>
                    <a:pt x="3582" y="1303"/>
                    <a:pt x="3325" y="1303"/>
                  </a:cubicBezTo>
                  <a:cubicBezTo>
                    <a:pt x="3311" y="1303"/>
                    <a:pt x="3296" y="1303"/>
                    <a:pt x="3281" y="1301"/>
                  </a:cubicBezTo>
                  <a:lnTo>
                    <a:pt x="2709" y="1181"/>
                  </a:lnTo>
                  <a:cubicBezTo>
                    <a:pt x="2693" y="1196"/>
                    <a:pt x="2613" y="1252"/>
                    <a:pt x="2510" y="1252"/>
                  </a:cubicBezTo>
                  <a:cubicBezTo>
                    <a:pt x="2414" y="1252"/>
                    <a:pt x="2299" y="1204"/>
                    <a:pt x="2197" y="1030"/>
                  </a:cubicBezTo>
                  <a:cubicBezTo>
                    <a:pt x="1956" y="639"/>
                    <a:pt x="1475" y="278"/>
                    <a:pt x="1204" y="278"/>
                  </a:cubicBezTo>
                  <a:cubicBezTo>
                    <a:pt x="963" y="278"/>
                    <a:pt x="211" y="308"/>
                    <a:pt x="391" y="729"/>
                  </a:cubicBezTo>
                  <a:cubicBezTo>
                    <a:pt x="440" y="843"/>
                    <a:pt x="473" y="884"/>
                    <a:pt x="500" y="884"/>
                  </a:cubicBezTo>
                  <a:cubicBezTo>
                    <a:pt x="573" y="884"/>
                    <a:pt x="599" y="579"/>
                    <a:pt x="753" y="579"/>
                  </a:cubicBezTo>
                  <a:cubicBezTo>
                    <a:pt x="993" y="579"/>
                    <a:pt x="1054" y="1301"/>
                    <a:pt x="1355" y="1301"/>
                  </a:cubicBezTo>
                  <a:cubicBezTo>
                    <a:pt x="1647" y="1301"/>
                    <a:pt x="2024" y="1784"/>
                    <a:pt x="1770" y="1784"/>
                  </a:cubicBezTo>
                  <a:cubicBezTo>
                    <a:pt x="1762" y="1784"/>
                    <a:pt x="1754" y="1783"/>
                    <a:pt x="1746" y="1782"/>
                  </a:cubicBezTo>
                  <a:cubicBezTo>
                    <a:pt x="1731" y="1781"/>
                    <a:pt x="1717" y="1780"/>
                    <a:pt x="1703" y="1780"/>
                  </a:cubicBezTo>
                  <a:cubicBezTo>
                    <a:pt x="1471" y="1780"/>
                    <a:pt x="1275" y="1961"/>
                    <a:pt x="1085" y="1961"/>
                  </a:cubicBezTo>
                  <a:cubicBezTo>
                    <a:pt x="1044" y="1961"/>
                    <a:pt x="1004" y="1953"/>
                    <a:pt x="963" y="1933"/>
                  </a:cubicBezTo>
                  <a:cubicBezTo>
                    <a:pt x="802" y="1861"/>
                    <a:pt x="598" y="1768"/>
                    <a:pt x="447" y="1768"/>
                  </a:cubicBezTo>
                  <a:cubicBezTo>
                    <a:pt x="344" y="1768"/>
                    <a:pt x="265" y="1811"/>
                    <a:pt x="241" y="1933"/>
                  </a:cubicBezTo>
                  <a:cubicBezTo>
                    <a:pt x="151" y="2234"/>
                    <a:pt x="0" y="2595"/>
                    <a:pt x="391" y="2595"/>
                  </a:cubicBezTo>
                  <a:cubicBezTo>
                    <a:pt x="753" y="2595"/>
                    <a:pt x="692" y="2836"/>
                    <a:pt x="422" y="3107"/>
                  </a:cubicBezTo>
                  <a:cubicBezTo>
                    <a:pt x="337" y="3191"/>
                    <a:pt x="346" y="3214"/>
                    <a:pt x="399" y="3214"/>
                  </a:cubicBezTo>
                  <a:cubicBezTo>
                    <a:pt x="464" y="3214"/>
                    <a:pt x="594" y="3180"/>
                    <a:pt x="702" y="3180"/>
                  </a:cubicBezTo>
                  <a:cubicBezTo>
                    <a:pt x="790" y="3180"/>
                    <a:pt x="864" y="3203"/>
                    <a:pt x="873" y="3287"/>
                  </a:cubicBezTo>
                  <a:cubicBezTo>
                    <a:pt x="903" y="3558"/>
                    <a:pt x="1144" y="3558"/>
                    <a:pt x="1023" y="3919"/>
                  </a:cubicBezTo>
                  <a:cubicBezTo>
                    <a:pt x="993" y="4280"/>
                    <a:pt x="993" y="4641"/>
                    <a:pt x="1023" y="4972"/>
                  </a:cubicBezTo>
                  <a:cubicBezTo>
                    <a:pt x="1294" y="4972"/>
                    <a:pt x="1625" y="4942"/>
                    <a:pt x="1716" y="4822"/>
                  </a:cubicBezTo>
                  <a:cubicBezTo>
                    <a:pt x="1776" y="4702"/>
                    <a:pt x="2197" y="4341"/>
                    <a:pt x="2408" y="4341"/>
                  </a:cubicBezTo>
                  <a:cubicBezTo>
                    <a:pt x="2545" y="4341"/>
                    <a:pt x="2663" y="4380"/>
                    <a:pt x="2762" y="4380"/>
                  </a:cubicBezTo>
                  <a:cubicBezTo>
                    <a:pt x="2835" y="4380"/>
                    <a:pt x="2898" y="4358"/>
                    <a:pt x="2950" y="4280"/>
                  </a:cubicBezTo>
                  <a:cubicBezTo>
                    <a:pt x="3093" y="4209"/>
                    <a:pt x="3244" y="4171"/>
                    <a:pt x="3394" y="4171"/>
                  </a:cubicBezTo>
                  <a:cubicBezTo>
                    <a:pt x="3560" y="4171"/>
                    <a:pt x="3725" y="4216"/>
                    <a:pt x="3882" y="4310"/>
                  </a:cubicBezTo>
                  <a:cubicBezTo>
                    <a:pt x="4033" y="4431"/>
                    <a:pt x="4244" y="4521"/>
                    <a:pt x="4454" y="4551"/>
                  </a:cubicBezTo>
                  <a:cubicBezTo>
                    <a:pt x="4568" y="4551"/>
                    <a:pt x="4601" y="4764"/>
                    <a:pt x="4780" y="4764"/>
                  </a:cubicBezTo>
                  <a:cubicBezTo>
                    <a:pt x="4791" y="4764"/>
                    <a:pt x="4803" y="4764"/>
                    <a:pt x="4815" y="4762"/>
                  </a:cubicBezTo>
                  <a:cubicBezTo>
                    <a:pt x="4859" y="4751"/>
                    <a:pt x="4909" y="4746"/>
                    <a:pt x="4962" y="4746"/>
                  </a:cubicBezTo>
                  <a:cubicBezTo>
                    <a:pt x="5204" y="4746"/>
                    <a:pt x="5508" y="4849"/>
                    <a:pt x="5508" y="4972"/>
                  </a:cubicBezTo>
                  <a:cubicBezTo>
                    <a:pt x="5508" y="5123"/>
                    <a:pt x="5688" y="5243"/>
                    <a:pt x="5869" y="5243"/>
                  </a:cubicBezTo>
                  <a:cubicBezTo>
                    <a:pt x="6079" y="5243"/>
                    <a:pt x="6230" y="5695"/>
                    <a:pt x="6410" y="5695"/>
                  </a:cubicBezTo>
                  <a:cubicBezTo>
                    <a:pt x="6483" y="5695"/>
                    <a:pt x="6589" y="5690"/>
                    <a:pt x="6690" y="5690"/>
                  </a:cubicBezTo>
                  <a:cubicBezTo>
                    <a:pt x="6841" y="5690"/>
                    <a:pt x="6982" y="5701"/>
                    <a:pt x="6982" y="5755"/>
                  </a:cubicBezTo>
                  <a:cubicBezTo>
                    <a:pt x="6982" y="6116"/>
                    <a:pt x="7012" y="6417"/>
                    <a:pt x="7103" y="6748"/>
                  </a:cubicBezTo>
                  <a:lnTo>
                    <a:pt x="7253" y="6748"/>
                  </a:lnTo>
                  <a:cubicBezTo>
                    <a:pt x="7268" y="6752"/>
                    <a:pt x="7288" y="6753"/>
                    <a:pt x="7311" y="6753"/>
                  </a:cubicBezTo>
                  <a:cubicBezTo>
                    <a:pt x="7371" y="6753"/>
                    <a:pt x="7452" y="6744"/>
                    <a:pt x="7533" y="6744"/>
                  </a:cubicBezTo>
                  <a:cubicBezTo>
                    <a:pt x="7664" y="6744"/>
                    <a:pt x="7792" y="6769"/>
                    <a:pt x="7825" y="6899"/>
                  </a:cubicBezTo>
                  <a:cubicBezTo>
                    <a:pt x="7853" y="6965"/>
                    <a:pt x="7936" y="6996"/>
                    <a:pt x="8035" y="6996"/>
                  </a:cubicBezTo>
                  <a:cubicBezTo>
                    <a:pt x="8249" y="6996"/>
                    <a:pt x="8538" y="6854"/>
                    <a:pt x="8517" y="6628"/>
                  </a:cubicBezTo>
                  <a:cubicBezTo>
                    <a:pt x="8487" y="6297"/>
                    <a:pt x="9570" y="6297"/>
                    <a:pt x="9631" y="5996"/>
                  </a:cubicBezTo>
                  <a:cubicBezTo>
                    <a:pt x="9713" y="5722"/>
                    <a:pt x="9845" y="5198"/>
                    <a:pt x="10050" y="5198"/>
                  </a:cubicBezTo>
                  <a:cubicBezTo>
                    <a:pt x="10070" y="5198"/>
                    <a:pt x="10091" y="5203"/>
                    <a:pt x="10112" y="5213"/>
                  </a:cubicBezTo>
                  <a:cubicBezTo>
                    <a:pt x="10134" y="5221"/>
                    <a:pt x="10155" y="5224"/>
                    <a:pt x="10176" y="5224"/>
                  </a:cubicBezTo>
                  <a:cubicBezTo>
                    <a:pt x="10401" y="5224"/>
                    <a:pt x="10542" y="4821"/>
                    <a:pt x="10726" y="4821"/>
                  </a:cubicBezTo>
                  <a:cubicBezTo>
                    <a:pt x="10732" y="4821"/>
                    <a:pt x="10738" y="4821"/>
                    <a:pt x="10744" y="4822"/>
                  </a:cubicBezTo>
                  <a:cubicBezTo>
                    <a:pt x="10908" y="4849"/>
                    <a:pt x="11073" y="4976"/>
                    <a:pt x="11282" y="4976"/>
                  </a:cubicBezTo>
                  <a:cubicBezTo>
                    <a:pt x="11303" y="4976"/>
                    <a:pt x="11324" y="4975"/>
                    <a:pt x="11346" y="4972"/>
                  </a:cubicBezTo>
                  <a:lnTo>
                    <a:pt x="11256" y="4461"/>
                  </a:lnTo>
                  <a:cubicBezTo>
                    <a:pt x="11045" y="4341"/>
                    <a:pt x="10804" y="4250"/>
                    <a:pt x="10594" y="4220"/>
                  </a:cubicBezTo>
                  <a:cubicBezTo>
                    <a:pt x="10383" y="4220"/>
                    <a:pt x="10082" y="3769"/>
                    <a:pt x="9751" y="3678"/>
                  </a:cubicBezTo>
                  <a:cubicBezTo>
                    <a:pt x="9420" y="3558"/>
                    <a:pt x="8968" y="3347"/>
                    <a:pt x="8848" y="3137"/>
                  </a:cubicBezTo>
                  <a:cubicBezTo>
                    <a:pt x="8728" y="2926"/>
                    <a:pt x="8096" y="2715"/>
                    <a:pt x="8066" y="2535"/>
                  </a:cubicBezTo>
                  <a:cubicBezTo>
                    <a:pt x="7945" y="2294"/>
                    <a:pt x="7825" y="2083"/>
                    <a:pt x="7674" y="1903"/>
                  </a:cubicBezTo>
                  <a:cubicBezTo>
                    <a:pt x="7524" y="1662"/>
                    <a:pt x="7524" y="1421"/>
                    <a:pt x="7343" y="1361"/>
                  </a:cubicBezTo>
                  <a:cubicBezTo>
                    <a:pt x="7163" y="1331"/>
                    <a:pt x="6170" y="1361"/>
                    <a:pt x="6170" y="1271"/>
                  </a:cubicBezTo>
                  <a:cubicBezTo>
                    <a:pt x="6170" y="1150"/>
                    <a:pt x="6109" y="428"/>
                    <a:pt x="5929" y="398"/>
                  </a:cubicBezTo>
                  <a:cubicBezTo>
                    <a:pt x="5688" y="368"/>
                    <a:pt x="5508" y="308"/>
                    <a:pt x="5327" y="187"/>
                  </a:cubicBezTo>
                  <a:cubicBezTo>
                    <a:pt x="5240" y="78"/>
                    <a:pt x="5010" y="1"/>
                    <a:pt x="4868"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22" name="Google Shape;3016;p123">
              <a:extLst>
                <a:ext uri="{FF2B5EF4-FFF2-40B4-BE49-F238E27FC236}">
                  <a16:creationId xmlns:a16="http://schemas.microsoft.com/office/drawing/2014/main" id="{2B20A14C-0F76-1E4D-A5C0-0D3A0F5763A3}"/>
                </a:ext>
              </a:extLst>
            </p:cNvPr>
            <p:cNvSpPr/>
            <p:nvPr/>
          </p:nvSpPr>
          <p:spPr>
            <a:xfrm>
              <a:off x="5334911" y="2231776"/>
              <a:ext cx="485541" cy="409344"/>
            </a:xfrm>
            <a:custGeom>
              <a:avLst/>
              <a:gdLst/>
              <a:ahLst/>
              <a:cxnLst/>
              <a:rect l="l" t="t" r="r" b="b"/>
              <a:pathLst>
                <a:path w="15650" h="13194" extrusionOk="0">
                  <a:moveTo>
                    <a:pt x="372" y="1"/>
                  </a:moveTo>
                  <a:cubicBezTo>
                    <a:pt x="134" y="1"/>
                    <a:pt x="346" y="403"/>
                    <a:pt x="181" y="403"/>
                  </a:cubicBezTo>
                  <a:cubicBezTo>
                    <a:pt x="1" y="403"/>
                    <a:pt x="151" y="945"/>
                    <a:pt x="181" y="1065"/>
                  </a:cubicBezTo>
                  <a:cubicBezTo>
                    <a:pt x="211" y="1156"/>
                    <a:pt x="61" y="1878"/>
                    <a:pt x="181" y="1908"/>
                  </a:cubicBezTo>
                  <a:cubicBezTo>
                    <a:pt x="302" y="1968"/>
                    <a:pt x="603" y="2450"/>
                    <a:pt x="542" y="2510"/>
                  </a:cubicBezTo>
                  <a:cubicBezTo>
                    <a:pt x="512" y="2600"/>
                    <a:pt x="843" y="2931"/>
                    <a:pt x="843" y="3172"/>
                  </a:cubicBezTo>
                  <a:cubicBezTo>
                    <a:pt x="873" y="3383"/>
                    <a:pt x="1054" y="3563"/>
                    <a:pt x="1295" y="3623"/>
                  </a:cubicBezTo>
                  <a:cubicBezTo>
                    <a:pt x="1445" y="3623"/>
                    <a:pt x="1686" y="3714"/>
                    <a:pt x="1596" y="3924"/>
                  </a:cubicBezTo>
                  <a:cubicBezTo>
                    <a:pt x="1535" y="4105"/>
                    <a:pt x="1686" y="4376"/>
                    <a:pt x="1505" y="4376"/>
                  </a:cubicBezTo>
                  <a:cubicBezTo>
                    <a:pt x="1295" y="4376"/>
                    <a:pt x="1355" y="4887"/>
                    <a:pt x="1204" y="5008"/>
                  </a:cubicBezTo>
                  <a:cubicBezTo>
                    <a:pt x="1054" y="5128"/>
                    <a:pt x="1144" y="5640"/>
                    <a:pt x="1295" y="5730"/>
                  </a:cubicBezTo>
                  <a:cubicBezTo>
                    <a:pt x="1445" y="5790"/>
                    <a:pt x="1686" y="5941"/>
                    <a:pt x="1686" y="6182"/>
                  </a:cubicBezTo>
                  <a:cubicBezTo>
                    <a:pt x="1686" y="6392"/>
                    <a:pt x="2318" y="6723"/>
                    <a:pt x="2559" y="6723"/>
                  </a:cubicBezTo>
                  <a:cubicBezTo>
                    <a:pt x="2769" y="6723"/>
                    <a:pt x="2769" y="7114"/>
                    <a:pt x="2920" y="7235"/>
                  </a:cubicBezTo>
                  <a:cubicBezTo>
                    <a:pt x="3070" y="7325"/>
                    <a:pt x="2799" y="7596"/>
                    <a:pt x="2860" y="7746"/>
                  </a:cubicBezTo>
                  <a:cubicBezTo>
                    <a:pt x="2890" y="7897"/>
                    <a:pt x="3161" y="8047"/>
                    <a:pt x="3161" y="8288"/>
                  </a:cubicBezTo>
                  <a:cubicBezTo>
                    <a:pt x="3161" y="8499"/>
                    <a:pt x="3371" y="8679"/>
                    <a:pt x="3552" y="8920"/>
                  </a:cubicBezTo>
                  <a:lnTo>
                    <a:pt x="3793" y="8920"/>
                  </a:lnTo>
                  <a:cubicBezTo>
                    <a:pt x="3937" y="8920"/>
                    <a:pt x="3966" y="8766"/>
                    <a:pt x="4049" y="8766"/>
                  </a:cubicBezTo>
                  <a:cubicBezTo>
                    <a:pt x="4069" y="8766"/>
                    <a:pt x="4094" y="8776"/>
                    <a:pt x="4124" y="8800"/>
                  </a:cubicBezTo>
                  <a:cubicBezTo>
                    <a:pt x="4174" y="8840"/>
                    <a:pt x="4234" y="8853"/>
                    <a:pt x="4299" y="8853"/>
                  </a:cubicBezTo>
                  <a:cubicBezTo>
                    <a:pt x="4428" y="8853"/>
                    <a:pt x="4575" y="8800"/>
                    <a:pt x="4695" y="8800"/>
                  </a:cubicBezTo>
                  <a:cubicBezTo>
                    <a:pt x="4876" y="8800"/>
                    <a:pt x="5297" y="9642"/>
                    <a:pt x="5478" y="10034"/>
                  </a:cubicBezTo>
                  <a:cubicBezTo>
                    <a:pt x="5658" y="10455"/>
                    <a:pt x="5658" y="10575"/>
                    <a:pt x="5929" y="10756"/>
                  </a:cubicBezTo>
                  <a:cubicBezTo>
                    <a:pt x="6200" y="10936"/>
                    <a:pt x="6531" y="10846"/>
                    <a:pt x="6922" y="11237"/>
                  </a:cubicBezTo>
                  <a:cubicBezTo>
                    <a:pt x="7434" y="11629"/>
                    <a:pt x="8066" y="11869"/>
                    <a:pt x="8728" y="11930"/>
                  </a:cubicBezTo>
                  <a:cubicBezTo>
                    <a:pt x="8740" y="11931"/>
                    <a:pt x="8752" y="11931"/>
                    <a:pt x="8764" y="11931"/>
                  </a:cubicBezTo>
                  <a:cubicBezTo>
                    <a:pt x="9095" y="11931"/>
                    <a:pt x="9368" y="11579"/>
                    <a:pt x="9810" y="11579"/>
                  </a:cubicBezTo>
                  <a:cubicBezTo>
                    <a:pt x="9868" y="11579"/>
                    <a:pt x="9928" y="11585"/>
                    <a:pt x="9992" y="11599"/>
                  </a:cubicBezTo>
                  <a:cubicBezTo>
                    <a:pt x="10564" y="11689"/>
                    <a:pt x="10413" y="12381"/>
                    <a:pt x="10594" y="12652"/>
                  </a:cubicBezTo>
                  <a:cubicBezTo>
                    <a:pt x="10775" y="12893"/>
                    <a:pt x="12971" y="13013"/>
                    <a:pt x="13333" y="13133"/>
                  </a:cubicBezTo>
                  <a:lnTo>
                    <a:pt x="14175" y="13194"/>
                  </a:lnTo>
                  <a:lnTo>
                    <a:pt x="14175" y="13013"/>
                  </a:lnTo>
                  <a:cubicBezTo>
                    <a:pt x="14175" y="12682"/>
                    <a:pt x="14356" y="12351"/>
                    <a:pt x="14657" y="12200"/>
                  </a:cubicBezTo>
                  <a:lnTo>
                    <a:pt x="15379" y="11960"/>
                  </a:lnTo>
                  <a:cubicBezTo>
                    <a:pt x="15650" y="11930"/>
                    <a:pt x="15379" y="11388"/>
                    <a:pt x="15198" y="11358"/>
                  </a:cubicBezTo>
                  <a:cubicBezTo>
                    <a:pt x="14988" y="11298"/>
                    <a:pt x="15198" y="10636"/>
                    <a:pt x="14807" y="10455"/>
                  </a:cubicBezTo>
                  <a:cubicBezTo>
                    <a:pt x="14476" y="10335"/>
                    <a:pt x="14175" y="10094"/>
                    <a:pt x="14025" y="9793"/>
                  </a:cubicBezTo>
                  <a:cubicBezTo>
                    <a:pt x="13904" y="9522"/>
                    <a:pt x="13453" y="9281"/>
                    <a:pt x="13483" y="9101"/>
                  </a:cubicBezTo>
                  <a:cubicBezTo>
                    <a:pt x="13543" y="8920"/>
                    <a:pt x="14446" y="8318"/>
                    <a:pt x="14296" y="7957"/>
                  </a:cubicBezTo>
                  <a:cubicBezTo>
                    <a:pt x="14145" y="7626"/>
                    <a:pt x="13573" y="7656"/>
                    <a:pt x="13483" y="7566"/>
                  </a:cubicBezTo>
                  <a:cubicBezTo>
                    <a:pt x="13483" y="7265"/>
                    <a:pt x="13453" y="6964"/>
                    <a:pt x="13393" y="6663"/>
                  </a:cubicBezTo>
                  <a:cubicBezTo>
                    <a:pt x="13242" y="6302"/>
                    <a:pt x="13483" y="6031"/>
                    <a:pt x="13393" y="5820"/>
                  </a:cubicBezTo>
                  <a:cubicBezTo>
                    <a:pt x="13272" y="5640"/>
                    <a:pt x="13453" y="5279"/>
                    <a:pt x="13483" y="5128"/>
                  </a:cubicBezTo>
                  <a:cubicBezTo>
                    <a:pt x="13543" y="4948"/>
                    <a:pt x="13844" y="4797"/>
                    <a:pt x="13784" y="4526"/>
                  </a:cubicBezTo>
                  <a:cubicBezTo>
                    <a:pt x="13754" y="4346"/>
                    <a:pt x="13844" y="4195"/>
                    <a:pt x="13995" y="4135"/>
                  </a:cubicBezTo>
                  <a:cubicBezTo>
                    <a:pt x="13874" y="3804"/>
                    <a:pt x="13844" y="3503"/>
                    <a:pt x="13844" y="3172"/>
                  </a:cubicBezTo>
                  <a:cubicBezTo>
                    <a:pt x="13844" y="3092"/>
                    <a:pt x="13670" y="3065"/>
                    <a:pt x="13501" y="3065"/>
                  </a:cubicBezTo>
                  <a:cubicBezTo>
                    <a:pt x="13416" y="3065"/>
                    <a:pt x="13333" y="3072"/>
                    <a:pt x="13272" y="3082"/>
                  </a:cubicBezTo>
                  <a:cubicBezTo>
                    <a:pt x="13267" y="3083"/>
                    <a:pt x="13262" y="3083"/>
                    <a:pt x="13256" y="3083"/>
                  </a:cubicBezTo>
                  <a:cubicBezTo>
                    <a:pt x="13083" y="3083"/>
                    <a:pt x="12935" y="2630"/>
                    <a:pt x="12731" y="2630"/>
                  </a:cubicBezTo>
                  <a:cubicBezTo>
                    <a:pt x="12550" y="2630"/>
                    <a:pt x="12370" y="2480"/>
                    <a:pt x="12370" y="2359"/>
                  </a:cubicBezTo>
                  <a:cubicBezTo>
                    <a:pt x="12370" y="2277"/>
                    <a:pt x="11995" y="2145"/>
                    <a:pt x="11746" y="2145"/>
                  </a:cubicBezTo>
                  <a:cubicBezTo>
                    <a:pt x="11722" y="2145"/>
                    <a:pt x="11699" y="2146"/>
                    <a:pt x="11677" y="2149"/>
                  </a:cubicBezTo>
                  <a:cubicBezTo>
                    <a:pt x="11663" y="2151"/>
                    <a:pt x="11650" y="2152"/>
                    <a:pt x="11638" y="2152"/>
                  </a:cubicBezTo>
                  <a:cubicBezTo>
                    <a:pt x="11462" y="2152"/>
                    <a:pt x="11429" y="1968"/>
                    <a:pt x="11316" y="1968"/>
                  </a:cubicBezTo>
                  <a:cubicBezTo>
                    <a:pt x="11106" y="1908"/>
                    <a:pt x="10895" y="1818"/>
                    <a:pt x="10744" y="1697"/>
                  </a:cubicBezTo>
                  <a:cubicBezTo>
                    <a:pt x="10587" y="1603"/>
                    <a:pt x="10422" y="1558"/>
                    <a:pt x="10256" y="1558"/>
                  </a:cubicBezTo>
                  <a:cubicBezTo>
                    <a:pt x="10106" y="1558"/>
                    <a:pt x="9955" y="1596"/>
                    <a:pt x="9812" y="1667"/>
                  </a:cubicBezTo>
                  <a:cubicBezTo>
                    <a:pt x="9760" y="1745"/>
                    <a:pt x="9692" y="1767"/>
                    <a:pt x="9614" y="1767"/>
                  </a:cubicBezTo>
                  <a:cubicBezTo>
                    <a:pt x="9511" y="1767"/>
                    <a:pt x="9390" y="1728"/>
                    <a:pt x="9270" y="1728"/>
                  </a:cubicBezTo>
                  <a:cubicBezTo>
                    <a:pt x="9089" y="1728"/>
                    <a:pt x="8668" y="2059"/>
                    <a:pt x="8578" y="2209"/>
                  </a:cubicBezTo>
                  <a:cubicBezTo>
                    <a:pt x="8457" y="2359"/>
                    <a:pt x="8156" y="2359"/>
                    <a:pt x="7885" y="2359"/>
                  </a:cubicBezTo>
                  <a:cubicBezTo>
                    <a:pt x="7916" y="2510"/>
                    <a:pt x="7916" y="2660"/>
                    <a:pt x="7885" y="2781"/>
                  </a:cubicBezTo>
                  <a:cubicBezTo>
                    <a:pt x="7765" y="2961"/>
                    <a:pt x="6832" y="3112"/>
                    <a:pt x="6170" y="3172"/>
                  </a:cubicBezTo>
                  <a:cubicBezTo>
                    <a:pt x="6159" y="3173"/>
                    <a:pt x="6148" y="3173"/>
                    <a:pt x="6137" y="3173"/>
                  </a:cubicBezTo>
                  <a:cubicBezTo>
                    <a:pt x="5477" y="3173"/>
                    <a:pt x="5436" y="2299"/>
                    <a:pt x="4726" y="2299"/>
                  </a:cubicBezTo>
                  <a:cubicBezTo>
                    <a:pt x="4214" y="2269"/>
                    <a:pt x="3793" y="1848"/>
                    <a:pt x="3762" y="1366"/>
                  </a:cubicBezTo>
                  <a:cubicBezTo>
                    <a:pt x="3462" y="1246"/>
                    <a:pt x="3161" y="1005"/>
                    <a:pt x="3191" y="945"/>
                  </a:cubicBezTo>
                  <a:cubicBezTo>
                    <a:pt x="3218" y="864"/>
                    <a:pt x="3367" y="197"/>
                    <a:pt x="3133" y="197"/>
                  </a:cubicBezTo>
                  <a:cubicBezTo>
                    <a:pt x="3107" y="197"/>
                    <a:pt x="3076" y="205"/>
                    <a:pt x="3040" y="223"/>
                  </a:cubicBezTo>
                  <a:cubicBezTo>
                    <a:pt x="2676" y="391"/>
                    <a:pt x="2207" y="924"/>
                    <a:pt x="1586" y="924"/>
                  </a:cubicBezTo>
                  <a:cubicBezTo>
                    <a:pt x="1540" y="924"/>
                    <a:pt x="1493" y="921"/>
                    <a:pt x="1445" y="915"/>
                  </a:cubicBezTo>
                  <a:cubicBezTo>
                    <a:pt x="783" y="795"/>
                    <a:pt x="1265" y="764"/>
                    <a:pt x="934" y="614"/>
                  </a:cubicBezTo>
                  <a:cubicBezTo>
                    <a:pt x="603" y="464"/>
                    <a:pt x="783" y="72"/>
                    <a:pt x="452" y="12"/>
                  </a:cubicBezTo>
                  <a:cubicBezTo>
                    <a:pt x="421" y="4"/>
                    <a:pt x="395" y="1"/>
                    <a:pt x="372"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23" name="Google Shape;3017;p123">
              <a:extLst>
                <a:ext uri="{FF2B5EF4-FFF2-40B4-BE49-F238E27FC236}">
                  <a16:creationId xmlns:a16="http://schemas.microsoft.com/office/drawing/2014/main" id="{27525D2D-A96A-5345-B3A7-252EB57E2E4F}"/>
                </a:ext>
              </a:extLst>
            </p:cNvPr>
            <p:cNvSpPr/>
            <p:nvPr/>
          </p:nvSpPr>
          <p:spPr>
            <a:xfrm>
              <a:off x="5396526" y="1745273"/>
              <a:ext cx="1000960" cy="463948"/>
            </a:xfrm>
            <a:custGeom>
              <a:avLst/>
              <a:gdLst/>
              <a:ahLst/>
              <a:cxnLst/>
              <a:rect l="l" t="t" r="r" b="b"/>
              <a:pathLst>
                <a:path w="32263" h="14954" extrusionOk="0">
                  <a:moveTo>
                    <a:pt x="11153" y="9211"/>
                  </a:moveTo>
                  <a:cubicBezTo>
                    <a:pt x="11509" y="9211"/>
                    <a:pt x="12200" y="9366"/>
                    <a:pt x="12069" y="9584"/>
                  </a:cubicBezTo>
                  <a:cubicBezTo>
                    <a:pt x="12046" y="9606"/>
                    <a:pt x="11995" y="9616"/>
                    <a:pt x="11927" y="9616"/>
                  </a:cubicBezTo>
                  <a:cubicBezTo>
                    <a:pt x="11630" y="9616"/>
                    <a:pt x="11004" y="9430"/>
                    <a:pt x="10955" y="9283"/>
                  </a:cubicBezTo>
                  <a:cubicBezTo>
                    <a:pt x="10931" y="9233"/>
                    <a:pt x="11017" y="9211"/>
                    <a:pt x="11153" y="9211"/>
                  </a:cubicBezTo>
                  <a:close/>
                  <a:moveTo>
                    <a:pt x="26102" y="9094"/>
                  </a:moveTo>
                  <a:cubicBezTo>
                    <a:pt x="26136" y="9094"/>
                    <a:pt x="26164" y="9097"/>
                    <a:pt x="26183" y="9102"/>
                  </a:cubicBezTo>
                  <a:cubicBezTo>
                    <a:pt x="26364" y="9132"/>
                    <a:pt x="26003" y="9464"/>
                    <a:pt x="25341" y="9464"/>
                  </a:cubicBezTo>
                  <a:cubicBezTo>
                    <a:pt x="25025" y="9464"/>
                    <a:pt x="24498" y="9388"/>
                    <a:pt x="23975" y="9388"/>
                  </a:cubicBezTo>
                  <a:cubicBezTo>
                    <a:pt x="23452" y="9388"/>
                    <a:pt x="22933" y="9464"/>
                    <a:pt x="22632" y="9764"/>
                  </a:cubicBezTo>
                  <a:cubicBezTo>
                    <a:pt x="22030" y="10366"/>
                    <a:pt x="22482" y="10758"/>
                    <a:pt x="22211" y="10788"/>
                  </a:cubicBezTo>
                  <a:cubicBezTo>
                    <a:pt x="22207" y="10788"/>
                    <a:pt x="22203" y="10788"/>
                    <a:pt x="22200" y="10788"/>
                  </a:cubicBezTo>
                  <a:cubicBezTo>
                    <a:pt x="21966" y="10788"/>
                    <a:pt x="21825" y="9849"/>
                    <a:pt x="22151" y="9494"/>
                  </a:cubicBezTo>
                  <a:cubicBezTo>
                    <a:pt x="22389" y="9255"/>
                    <a:pt x="22986" y="9142"/>
                    <a:pt x="23560" y="9142"/>
                  </a:cubicBezTo>
                  <a:cubicBezTo>
                    <a:pt x="23783" y="9142"/>
                    <a:pt x="24003" y="9159"/>
                    <a:pt x="24197" y="9193"/>
                  </a:cubicBezTo>
                  <a:cubicBezTo>
                    <a:pt x="24332" y="9223"/>
                    <a:pt x="24486" y="9235"/>
                    <a:pt x="24648" y="9235"/>
                  </a:cubicBezTo>
                  <a:cubicBezTo>
                    <a:pt x="25203" y="9235"/>
                    <a:pt x="25844" y="9094"/>
                    <a:pt x="26102" y="9094"/>
                  </a:cubicBezTo>
                  <a:close/>
                  <a:moveTo>
                    <a:pt x="18609" y="1"/>
                  </a:moveTo>
                  <a:cubicBezTo>
                    <a:pt x="18304" y="1"/>
                    <a:pt x="17847" y="119"/>
                    <a:pt x="17847" y="255"/>
                  </a:cubicBezTo>
                  <a:cubicBezTo>
                    <a:pt x="17847" y="435"/>
                    <a:pt x="16854" y="556"/>
                    <a:pt x="16703" y="646"/>
                  </a:cubicBezTo>
                  <a:cubicBezTo>
                    <a:pt x="16312" y="736"/>
                    <a:pt x="15951" y="796"/>
                    <a:pt x="15560" y="856"/>
                  </a:cubicBezTo>
                  <a:cubicBezTo>
                    <a:pt x="15289" y="887"/>
                    <a:pt x="15078" y="1097"/>
                    <a:pt x="14747" y="1097"/>
                  </a:cubicBezTo>
                  <a:cubicBezTo>
                    <a:pt x="14694" y="1093"/>
                    <a:pt x="14641" y="1092"/>
                    <a:pt x="14588" y="1092"/>
                  </a:cubicBezTo>
                  <a:cubicBezTo>
                    <a:pt x="14227" y="1092"/>
                    <a:pt x="13889" y="1180"/>
                    <a:pt x="13574" y="1338"/>
                  </a:cubicBezTo>
                  <a:cubicBezTo>
                    <a:pt x="13449" y="1425"/>
                    <a:pt x="13298" y="1445"/>
                    <a:pt x="13147" y="1445"/>
                  </a:cubicBezTo>
                  <a:cubicBezTo>
                    <a:pt x="13019" y="1445"/>
                    <a:pt x="12891" y="1431"/>
                    <a:pt x="12779" y="1431"/>
                  </a:cubicBezTo>
                  <a:cubicBezTo>
                    <a:pt x="12704" y="1431"/>
                    <a:pt x="12637" y="1437"/>
                    <a:pt x="12581" y="1458"/>
                  </a:cubicBezTo>
                  <a:cubicBezTo>
                    <a:pt x="12518" y="1485"/>
                    <a:pt x="12446" y="1493"/>
                    <a:pt x="12372" y="1493"/>
                  </a:cubicBezTo>
                  <a:cubicBezTo>
                    <a:pt x="12250" y="1493"/>
                    <a:pt x="12125" y="1471"/>
                    <a:pt x="12038" y="1471"/>
                  </a:cubicBezTo>
                  <a:cubicBezTo>
                    <a:pt x="11999" y="1471"/>
                    <a:pt x="11968" y="1475"/>
                    <a:pt x="11949" y="1488"/>
                  </a:cubicBezTo>
                  <a:cubicBezTo>
                    <a:pt x="11888" y="1579"/>
                    <a:pt x="11888" y="1970"/>
                    <a:pt x="11979" y="2120"/>
                  </a:cubicBezTo>
                  <a:cubicBezTo>
                    <a:pt x="12099" y="2301"/>
                    <a:pt x="12641" y="2391"/>
                    <a:pt x="12671" y="2512"/>
                  </a:cubicBezTo>
                  <a:cubicBezTo>
                    <a:pt x="12701" y="2632"/>
                    <a:pt x="12099" y="2602"/>
                    <a:pt x="11828" y="2632"/>
                  </a:cubicBezTo>
                  <a:cubicBezTo>
                    <a:pt x="11587" y="2662"/>
                    <a:pt x="11617" y="3023"/>
                    <a:pt x="11678" y="3174"/>
                  </a:cubicBezTo>
                  <a:cubicBezTo>
                    <a:pt x="11768" y="3354"/>
                    <a:pt x="11437" y="3565"/>
                    <a:pt x="11196" y="3595"/>
                  </a:cubicBezTo>
                  <a:cubicBezTo>
                    <a:pt x="10985" y="3625"/>
                    <a:pt x="11196" y="4046"/>
                    <a:pt x="11437" y="4046"/>
                  </a:cubicBezTo>
                  <a:cubicBezTo>
                    <a:pt x="11648" y="4046"/>
                    <a:pt x="11798" y="4197"/>
                    <a:pt x="11979" y="4197"/>
                  </a:cubicBezTo>
                  <a:cubicBezTo>
                    <a:pt x="12189" y="4197"/>
                    <a:pt x="12189" y="4588"/>
                    <a:pt x="12189" y="4769"/>
                  </a:cubicBezTo>
                  <a:cubicBezTo>
                    <a:pt x="12189" y="4949"/>
                    <a:pt x="11979" y="5070"/>
                    <a:pt x="11678" y="5070"/>
                  </a:cubicBezTo>
                  <a:cubicBezTo>
                    <a:pt x="11377" y="5070"/>
                    <a:pt x="11286" y="4859"/>
                    <a:pt x="11076" y="4799"/>
                  </a:cubicBezTo>
                  <a:cubicBezTo>
                    <a:pt x="11069" y="4798"/>
                    <a:pt x="11062" y="4797"/>
                    <a:pt x="11055" y="4797"/>
                  </a:cubicBezTo>
                  <a:cubicBezTo>
                    <a:pt x="10902" y="4797"/>
                    <a:pt x="10979" y="5132"/>
                    <a:pt x="10835" y="5190"/>
                  </a:cubicBezTo>
                  <a:cubicBezTo>
                    <a:pt x="10827" y="5192"/>
                    <a:pt x="10819" y="5192"/>
                    <a:pt x="10812" y="5192"/>
                  </a:cubicBezTo>
                  <a:cubicBezTo>
                    <a:pt x="10678" y="5192"/>
                    <a:pt x="10615" y="4949"/>
                    <a:pt x="10444" y="4949"/>
                  </a:cubicBezTo>
                  <a:cubicBezTo>
                    <a:pt x="10263" y="4949"/>
                    <a:pt x="9962" y="4919"/>
                    <a:pt x="9932" y="4678"/>
                  </a:cubicBezTo>
                  <a:cubicBezTo>
                    <a:pt x="9901" y="4569"/>
                    <a:pt x="9748" y="4516"/>
                    <a:pt x="9574" y="4516"/>
                  </a:cubicBezTo>
                  <a:cubicBezTo>
                    <a:pt x="9414" y="4516"/>
                    <a:pt x="9235" y="4562"/>
                    <a:pt x="9120" y="4648"/>
                  </a:cubicBezTo>
                  <a:cubicBezTo>
                    <a:pt x="9028" y="4740"/>
                    <a:pt x="8970" y="4775"/>
                    <a:pt x="8917" y="4775"/>
                  </a:cubicBezTo>
                  <a:cubicBezTo>
                    <a:pt x="8849" y="4775"/>
                    <a:pt x="8787" y="4716"/>
                    <a:pt x="8668" y="4648"/>
                  </a:cubicBezTo>
                  <a:cubicBezTo>
                    <a:pt x="8627" y="4628"/>
                    <a:pt x="8568" y="4618"/>
                    <a:pt x="8501" y="4618"/>
                  </a:cubicBezTo>
                  <a:cubicBezTo>
                    <a:pt x="8275" y="4618"/>
                    <a:pt x="7955" y="4727"/>
                    <a:pt x="7886" y="4889"/>
                  </a:cubicBezTo>
                  <a:cubicBezTo>
                    <a:pt x="7851" y="4994"/>
                    <a:pt x="7704" y="5058"/>
                    <a:pt x="7534" y="5058"/>
                  </a:cubicBezTo>
                  <a:cubicBezTo>
                    <a:pt x="7411" y="5058"/>
                    <a:pt x="7277" y="5025"/>
                    <a:pt x="7163" y="4949"/>
                  </a:cubicBezTo>
                  <a:cubicBezTo>
                    <a:pt x="7031" y="4850"/>
                    <a:pt x="6908" y="4778"/>
                    <a:pt x="6824" y="4778"/>
                  </a:cubicBezTo>
                  <a:cubicBezTo>
                    <a:pt x="6755" y="4778"/>
                    <a:pt x="6712" y="4827"/>
                    <a:pt x="6712" y="4949"/>
                  </a:cubicBezTo>
                  <a:cubicBezTo>
                    <a:pt x="6712" y="5040"/>
                    <a:pt x="6689" y="5073"/>
                    <a:pt x="6657" y="5073"/>
                  </a:cubicBezTo>
                  <a:cubicBezTo>
                    <a:pt x="6595" y="5073"/>
                    <a:pt x="6501" y="4939"/>
                    <a:pt x="6501" y="4859"/>
                  </a:cubicBezTo>
                  <a:cubicBezTo>
                    <a:pt x="6501" y="4709"/>
                    <a:pt x="6050" y="4438"/>
                    <a:pt x="5809" y="4287"/>
                  </a:cubicBezTo>
                  <a:cubicBezTo>
                    <a:pt x="5599" y="4137"/>
                    <a:pt x="4967" y="4137"/>
                    <a:pt x="4906" y="4016"/>
                  </a:cubicBezTo>
                  <a:cubicBezTo>
                    <a:pt x="4889" y="3946"/>
                    <a:pt x="4736" y="3865"/>
                    <a:pt x="4595" y="3865"/>
                  </a:cubicBezTo>
                  <a:cubicBezTo>
                    <a:pt x="4496" y="3865"/>
                    <a:pt x="4402" y="3905"/>
                    <a:pt x="4365" y="4016"/>
                  </a:cubicBezTo>
                  <a:cubicBezTo>
                    <a:pt x="4317" y="4123"/>
                    <a:pt x="4266" y="4159"/>
                    <a:pt x="4211" y="4159"/>
                  </a:cubicBezTo>
                  <a:cubicBezTo>
                    <a:pt x="4126" y="4159"/>
                    <a:pt x="4035" y="4071"/>
                    <a:pt x="3943" y="4016"/>
                  </a:cubicBezTo>
                  <a:cubicBezTo>
                    <a:pt x="3917" y="4001"/>
                    <a:pt x="3886" y="3994"/>
                    <a:pt x="3852" y="3994"/>
                  </a:cubicBezTo>
                  <a:cubicBezTo>
                    <a:pt x="3692" y="3994"/>
                    <a:pt x="3466" y="4142"/>
                    <a:pt x="3341" y="4167"/>
                  </a:cubicBezTo>
                  <a:cubicBezTo>
                    <a:pt x="3191" y="4197"/>
                    <a:pt x="2740" y="4588"/>
                    <a:pt x="2499" y="4588"/>
                  </a:cubicBezTo>
                  <a:cubicBezTo>
                    <a:pt x="2288" y="4588"/>
                    <a:pt x="2408" y="4889"/>
                    <a:pt x="2047" y="4949"/>
                  </a:cubicBezTo>
                  <a:cubicBezTo>
                    <a:pt x="1716" y="5040"/>
                    <a:pt x="1837" y="5220"/>
                    <a:pt x="1867" y="5371"/>
                  </a:cubicBezTo>
                  <a:cubicBezTo>
                    <a:pt x="1897" y="5521"/>
                    <a:pt x="2047" y="5732"/>
                    <a:pt x="1807" y="5852"/>
                  </a:cubicBezTo>
                  <a:cubicBezTo>
                    <a:pt x="1775" y="5866"/>
                    <a:pt x="1746" y="5872"/>
                    <a:pt x="1719" y="5872"/>
                  </a:cubicBezTo>
                  <a:cubicBezTo>
                    <a:pt x="1506" y="5872"/>
                    <a:pt x="1384" y="5500"/>
                    <a:pt x="1144" y="5341"/>
                  </a:cubicBezTo>
                  <a:cubicBezTo>
                    <a:pt x="1080" y="5284"/>
                    <a:pt x="1018" y="5260"/>
                    <a:pt x="962" y="5260"/>
                  </a:cubicBezTo>
                  <a:cubicBezTo>
                    <a:pt x="806" y="5260"/>
                    <a:pt x="693" y="5443"/>
                    <a:pt x="693" y="5641"/>
                  </a:cubicBezTo>
                  <a:cubicBezTo>
                    <a:pt x="693" y="5882"/>
                    <a:pt x="392" y="5852"/>
                    <a:pt x="302" y="6123"/>
                  </a:cubicBezTo>
                  <a:cubicBezTo>
                    <a:pt x="181" y="6394"/>
                    <a:pt x="512" y="6394"/>
                    <a:pt x="512" y="6484"/>
                  </a:cubicBezTo>
                  <a:cubicBezTo>
                    <a:pt x="512" y="6605"/>
                    <a:pt x="332" y="6725"/>
                    <a:pt x="242" y="6755"/>
                  </a:cubicBezTo>
                  <a:cubicBezTo>
                    <a:pt x="181" y="6785"/>
                    <a:pt x="1" y="7146"/>
                    <a:pt x="61" y="7237"/>
                  </a:cubicBezTo>
                  <a:cubicBezTo>
                    <a:pt x="151" y="7357"/>
                    <a:pt x="543" y="7297"/>
                    <a:pt x="512" y="7568"/>
                  </a:cubicBezTo>
                  <a:cubicBezTo>
                    <a:pt x="487" y="7773"/>
                    <a:pt x="461" y="7978"/>
                    <a:pt x="585" y="7978"/>
                  </a:cubicBezTo>
                  <a:cubicBezTo>
                    <a:pt x="606" y="7978"/>
                    <a:pt x="632" y="7972"/>
                    <a:pt x="663" y="7959"/>
                  </a:cubicBezTo>
                  <a:cubicBezTo>
                    <a:pt x="791" y="7938"/>
                    <a:pt x="933" y="7916"/>
                    <a:pt x="1070" y="7916"/>
                  </a:cubicBezTo>
                  <a:cubicBezTo>
                    <a:pt x="1126" y="7916"/>
                    <a:pt x="1182" y="7920"/>
                    <a:pt x="1235" y="7929"/>
                  </a:cubicBezTo>
                  <a:cubicBezTo>
                    <a:pt x="1385" y="7929"/>
                    <a:pt x="1445" y="8230"/>
                    <a:pt x="1716" y="8500"/>
                  </a:cubicBezTo>
                  <a:cubicBezTo>
                    <a:pt x="1987" y="8741"/>
                    <a:pt x="2047" y="8892"/>
                    <a:pt x="1837" y="8982"/>
                  </a:cubicBezTo>
                  <a:cubicBezTo>
                    <a:pt x="1596" y="9072"/>
                    <a:pt x="1686" y="9223"/>
                    <a:pt x="1987" y="9373"/>
                  </a:cubicBezTo>
                  <a:lnTo>
                    <a:pt x="2258" y="9524"/>
                  </a:lnTo>
                  <a:lnTo>
                    <a:pt x="2408" y="9403"/>
                  </a:lnTo>
                  <a:cubicBezTo>
                    <a:pt x="2737" y="9125"/>
                    <a:pt x="3298" y="8826"/>
                    <a:pt x="3791" y="8826"/>
                  </a:cubicBezTo>
                  <a:cubicBezTo>
                    <a:pt x="3885" y="8826"/>
                    <a:pt x="3977" y="8837"/>
                    <a:pt x="4064" y="8862"/>
                  </a:cubicBezTo>
                  <a:cubicBezTo>
                    <a:pt x="4201" y="8902"/>
                    <a:pt x="4335" y="8912"/>
                    <a:pt x="4461" y="8912"/>
                  </a:cubicBezTo>
                  <a:cubicBezTo>
                    <a:pt x="4584" y="8912"/>
                    <a:pt x="4701" y="8903"/>
                    <a:pt x="4810" y="8903"/>
                  </a:cubicBezTo>
                  <a:cubicBezTo>
                    <a:pt x="5004" y="8903"/>
                    <a:pt x="5171" y="8933"/>
                    <a:pt x="5298" y="9102"/>
                  </a:cubicBezTo>
                  <a:cubicBezTo>
                    <a:pt x="5568" y="9433"/>
                    <a:pt x="5298" y="10035"/>
                    <a:pt x="5358" y="10246"/>
                  </a:cubicBezTo>
                  <a:cubicBezTo>
                    <a:pt x="5423" y="10419"/>
                    <a:pt x="5192" y="10483"/>
                    <a:pt x="4923" y="10483"/>
                  </a:cubicBezTo>
                  <a:cubicBezTo>
                    <a:pt x="4818" y="10483"/>
                    <a:pt x="4707" y="10474"/>
                    <a:pt x="4605" y="10457"/>
                  </a:cubicBezTo>
                  <a:cubicBezTo>
                    <a:pt x="4556" y="10443"/>
                    <a:pt x="4498" y="10437"/>
                    <a:pt x="4434" y="10437"/>
                  </a:cubicBezTo>
                  <a:cubicBezTo>
                    <a:pt x="4070" y="10437"/>
                    <a:pt x="3535" y="10638"/>
                    <a:pt x="3612" y="10818"/>
                  </a:cubicBezTo>
                  <a:cubicBezTo>
                    <a:pt x="3660" y="11008"/>
                    <a:pt x="3858" y="11349"/>
                    <a:pt x="3700" y="11349"/>
                  </a:cubicBezTo>
                  <a:cubicBezTo>
                    <a:pt x="3659" y="11349"/>
                    <a:pt x="3592" y="11326"/>
                    <a:pt x="3492" y="11269"/>
                  </a:cubicBezTo>
                  <a:cubicBezTo>
                    <a:pt x="3396" y="11215"/>
                    <a:pt x="3313" y="11193"/>
                    <a:pt x="3243" y="11193"/>
                  </a:cubicBezTo>
                  <a:cubicBezTo>
                    <a:pt x="2966" y="11193"/>
                    <a:pt x="2908" y="11540"/>
                    <a:pt x="3101" y="11540"/>
                  </a:cubicBezTo>
                  <a:cubicBezTo>
                    <a:pt x="3371" y="11540"/>
                    <a:pt x="3703" y="11841"/>
                    <a:pt x="3703" y="12022"/>
                  </a:cubicBezTo>
                  <a:cubicBezTo>
                    <a:pt x="3703" y="12188"/>
                    <a:pt x="3753" y="12634"/>
                    <a:pt x="3926" y="12634"/>
                  </a:cubicBezTo>
                  <a:cubicBezTo>
                    <a:pt x="3941" y="12634"/>
                    <a:pt x="3957" y="12631"/>
                    <a:pt x="3973" y="12623"/>
                  </a:cubicBezTo>
                  <a:cubicBezTo>
                    <a:pt x="3989" y="12620"/>
                    <a:pt x="4003" y="12618"/>
                    <a:pt x="4016" y="12618"/>
                  </a:cubicBezTo>
                  <a:cubicBezTo>
                    <a:pt x="4202" y="12618"/>
                    <a:pt x="4232" y="12960"/>
                    <a:pt x="4487" y="12960"/>
                  </a:cubicBezTo>
                  <a:cubicBezTo>
                    <a:pt x="4505" y="12960"/>
                    <a:pt x="4524" y="12958"/>
                    <a:pt x="4545" y="12954"/>
                  </a:cubicBezTo>
                  <a:cubicBezTo>
                    <a:pt x="4573" y="12952"/>
                    <a:pt x="4600" y="12951"/>
                    <a:pt x="4627" y="12951"/>
                  </a:cubicBezTo>
                  <a:cubicBezTo>
                    <a:pt x="4918" y="12951"/>
                    <a:pt x="5127" y="13100"/>
                    <a:pt x="4906" y="13376"/>
                  </a:cubicBezTo>
                  <a:cubicBezTo>
                    <a:pt x="4719" y="13644"/>
                    <a:pt x="4985" y="14342"/>
                    <a:pt x="5109" y="14342"/>
                  </a:cubicBezTo>
                  <a:cubicBezTo>
                    <a:pt x="5124" y="14342"/>
                    <a:pt x="5137" y="14332"/>
                    <a:pt x="5147" y="14309"/>
                  </a:cubicBezTo>
                  <a:cubicBezTo>
                    <a:pt x="5207" y="14128"/>
                    <a:pt x="5177" y="13948"/>
                    <a:pt x="5267" y="13797"/>
                  </a:cubicBezTo>
                  <a:cubicBezTo>
                    <a:pt x="5328" y="13647"/>
                    <a:pt x="5869" y="13346"/>
                    <a:pt x="6080" y="13346"/>
                  </a:cubicBezTo>
                  <a:cubicBezTo>
                    <a:pt x="6321" y="13346"/>
                    <a:pt x="6772" y="13707"/>
                    <a:pt x="7073" y="14098"/>
                  </a:cubicBezTo>
                  <a:cubicBezTo>
                    <a:pt x="7133" y="14237"/>
                    <a:pt x="7270" y="14323"/>
                    <a:pt x="7409" y="14323"/>
                  </a:cubicBezTo>
                  <a:cubicBezTo>
                    <a:pt x="7481" y="14323"/>
                    <a:pt x="7553" y="14300"/>
                    <a:pt x="7615" y="14249"/>
                  </a:cubicBezTo>
                  <a:lnTo>
                    <a:pt x="7705" y="10758"/>
                  </a:lnTo>
                  <a:lnTo>
                    <a:pt x="9691" y="10186"/>
                  </a:lnTo>
                  <a:lnTo>
                    <a:pt x="9782" y="10065"/>
                  </a:lnTo>
                  <a:cubicBezTo>
                    <a:pt x="9868" y="9937"/>
                    <a:pt x="9969" y="9892"/>
                    <a:pt x="10067" y="9892"/>
                  </a:cubicBezTo>
                  <a:cubicBezTo>
                    <a:pt x="10246" y="9892"/>
                    <a:pt x="10416" y="10037"/>
                    <a:pt x="10474" y="10096"/>
                  </a:cubicBezTo>
                  <a:cubicBezTo>
                    <a:pt x="10487" y="10108"/>
                    <a:pt x="10498" y="10114"/>
                    <a:pt x="10507" y="10114"/>
                  </a:cubicBezTo>
                  <a:cubicBezTo>
                    <a:pt x="10589" y="10114"/>
                    <a:pt x="10593" y="9733"/>
                    <a:pt x="10812" y="9733"/>
                  </a:cubicBezTo>
                  <a:cubicBezTo>
                    <a:pt x="10820" y="9733"/>
                    <a:pt x="10827" y="9734"/>
                    <a:pt x="10835" y="9734"/>
                  </a:cubicBezTo>
                  <a:cubicBezTo>
                    <a:pt x="11076" y="9764"/>
                    <a:pt x="10775" y="10186"/>
                    <a:pt x="11016" y="10186"/>
                  </a:cubicBezTo>
                  <a:cubicBezTo>
                    <a:pt x="11226" y="10186"/>
                    <a:pt x="11527" y="10758"/>
                    <a:pt x="11437" y="11239"/>
                  </a:cubicBezTo>
                  <a:cubicBezTo>
                    <a:pt x="11798" y="11510"/>
                    <a:pt x="12129" y="11871"/>
                    <a:pt x="12370" y="12262"/>
                  </a:cubicBezTo>
                  <a:cubicBezTo>
                    <a:pt x="12383" y="12302"/>
                    <a:pt x="12432" y="12317"/>
                    <a:pt x="12502" y="12317"/>
                  </a:cubicBezTo>
                  <a:cubicBezTo>
                    <a:pt x="12726" y="12317"/>
                    <a:pt x="13165" y="12165"/>
                    <a:pt x="13341" y="12165"/>
                  </a:cubicBezTo>
                  <a:cubicBezTo>
                    <a:pt x="13363" y="12165"/>
                    <a:pt x="13380" y="12167"/>
                    <a:pt x="13393" y="12172"/>
                  </a:cubicBezTo>
                  <a:cubicBezTo>
                    <a:pt x="13935" y="12232"/>
                    <a:pt x="14476" y="12262"/>
                    <a:pt x="14988" y="12262"/>
                  </a:cubicBezTo>
                  <a:cubicBezTo>
                    <a:pt x="15229" y="12262"/>
                    <a:pt x="15379" y="12623"/>
                    <a:pt x="15590" y="12714"/>
                  </a:cubicBezTo>
                  <a:cubicBezTo>
                    <a:pt x="15831" y="12774"/>
                    <a:pt x="15801" y="13165"/>
                    <a:pt x="15801" y="13466"/>
                  </a:cubicBezTo>
                  <a:cubicBezTo>
                    <a:pt x="15801" y="13767"/>
                    <a:pt x="16192" y="14008"/>
                    <a:pt x="16252" y="14279"/>
                  </a:cubicBezTo>
                  <a:cubicBezTo>
                    <a:pt x="16268" y="14425"/>
                    <a:pt x="16399" y="14448"/>
                    <a:pt x="16549" y="14448"/>
                  </a:cubicBezTo>
                  <a:cubicBezTo>
                    <a:pt x="16619" y="14448"/>
                    <a:pt x="16693" y="14443"/>
                    <a:pt x="16761" y="14443"/>
                  </a:cubicBezTo>
                  <a:cubicBezTo>
                    <a:pt x="16818" y="14443"/>
                    <a:pt x="16870" y="14447"/>
                    <a:pt x="16914" y="14459"/>
                  </a:cubicBezTo>
                  <a:cubicBezTo>
                    <a:pt x="17155" y="14550"/>
                    <a:pt x="17546" y="14610"/>
                    <a:pt x="17606" y="14850"/>
                  </a:cubicBezTo>
                  <a:cubicBezTo>
                    <a:pt x="17617" y="14924"/>
                    <a:pt x="17660" y="14953"/>
                    <a:pt x="17713" y="14953"/>
                  </a:cubicBezTo>
                  <a:cubicBezTo>
                    <a:pt x="17813" y="14953"/>
                    <a:pt x="17948" y="14848"/>
                    <a:pt x="17967" y="14730"/>
                  </a:cubicBezTo>
                  <a:cubicBezTo>
                    <a:pt x="17998" y="14550"/>
                    <a:pt x="18299" y="14279"/>
                    <a:pt x="18750" y="14098"/>
                  </a:cubicBezTo>
                  <a:cubicBezTo>
                    <a:pt x="18843" y="14061"/>
                    <a:pt x="18947" y="14035"/>
                    <a:pt x="19042" y="14035"/>
                  </a:cubicBezTo>
                  <a:cubicBezTo>
                    <a:pt x="19101" y="14035"/>
                    <a:pt x="19155" y="14045"/>
                    <a:pt x="19201" y="14068"/>
                  </a:cubicBezTo>
                  <a:cubicBezTo>
                    <a:pt x="19322" y="13827"/>
                    <a:pt x="19412" y="13647"/>
                    <a:pt x="19472" y="13647"/>
                  </a:cubicBezTo>
                  <a:cubicBezTo>
                    <a:pt x="19713" y="13526"/>
                    <a:pt x="19894" y="13316"/>
                    <a:pt x="19954" y="13075"/>
                  </a:cubicBezTo>
                  <a:cubicBezTo>
                    <a:pt x="19954" y="12970"/>
                    <a:pt x="20119" y="12917"/>
                    <a:pt x="20334" y="12917"/>
                  </a:cubicBezTo>
                  <a:cubicBezTo>
                    <a:pt x="20548" y="12917"/>
                    <a:pt x="20811" y="12970"/>
                    <a:pt x="21007" y="13075"/>
                  </a:cubicBezTo>
                  <a:cubicBezTo>
                    <a:pt x="21179" y="13173"/>
                    <a:pt x="21331" y="13221"/>
                    <a:pt x="21451" y="13221"/>
                  </a:cubicBezTo>
                  <a:cubicBezTo>
                    <a:pt x="21624" y="13221"/>
                    <a:pt x="21729" y="13120"/>
                    <a:pt x="21729" y="12924"/>
                  </a:cubicBezTo>
                  <a:cubicBezTo>
                    <a:pt x="21729" y="12686"/>
                    <a:pt x="22057" y="12573"/>
                    <a:pt x="22319" y="12573"/>
                  </a:cubicBezTo>
                  <a:cubicBezTo>
                    <a:pt x="22421" y="12573"/>
                    <a:pt x="22513" y="12590"/>
                    <a:pt x="22572" y="12623"/>
                  </a:cubicBezTo>
                  <a:cubicBezTo>
                    <a:pt x="22723" y="12724"/>
                    <a:pt x="23150" y="12952"/>
                    <a:pt x="23461" y="12952"/>
                  </a:cubicBezTo>
                  <a:cubicBezTo>
                    <a:pt x="23521" y="12952"/>
                    <a:pt x="23577" y="12944"/>
                    <a:pt x="23625" y="12924"/>
                  </a:cubicBezTo>
                  <a:cubicBezTo>
                    <a:pt x="23835" y="12905"/>
                    <a:pt x="24048" y="12895"/>
                    <a:pt x="24261" y="12895"/>
                  </a:cubicBezTo>
                  <a:cubicBezTo>
                    <a:pt x="24723" y="12895"/>
                    <a:pt x="25189" y="12942"/>
                    <a:pt x="25642" y="13045"/>
                  </a:cubicBezTo>
                  <a:cubicBezTo>
                    <a:pt x="25689" y="13053"/>
                    <a:pt x="25732" y="13056"/>
                    <a:pt x="25772" y="13056"/>
                  </a:cubicBezTo>
                  <a:cubicBezTo>
                    <a:pt x="25871" y="13056"/>
                    <a:pt x="25951" y="13037"/>
                    <a:pt x="26029" y="13037"/>
                  </a:cubicBezTo>
                  <a:cubicBezTo>
                    <a:pt x="26138" y="13037"/>
                    <a:pt x="26244" y="13075"/>
                    <a:pt x="26394" y="13255"/>
                  </a:cubicBezTo>
                  <a:cubicBezTo>
                    <a:pt x="26509" y="13405"/>
                    <a:pt x="26593" y="13440"/>
                    <a:pt x="26670" y="13440"/>
                  </a:cubicBezTo>
                  <a:cubicBezTo>
                    <a:pt x="26739" y="13440"/>
                    <a:pt x="26802" y="13412"/>
                    <a:pt x="26877" y="13412"/>
                  </a:cubicBezTo>
                  <a:cubicBezTo>
                    <a:pt x="26936" y="13412"/>
                    <a:pt x="27003" y="13430"/>
                    <a:pt x="27086" y="13496"/>
                  </a:cubicBezTo>
                  <a:cubicBezTo>
                    <a:pt x="27148" y="13540"/>
                    <a:pt x="27182" y="13557"/>
                    <a:pt x="27197" y="13557"/>
                  </a:cubicBezTo>
                  <a:cubicBezTo>
                    <a:pt x="27254" y="13557"/>
                    <a:pt x="27026" y="13291"/>
                    <a:pt x="27026" y="13195"/>
                  </a:cubicBezTo>
                  <a:cubicBezTo>
                    <a:pt x="27026" y="13075"/>
                    <a:pt x="27387" y="12774"/>
                    <a:pt x="27447" y="12593"/>
                  </a:cubicBezTo>
                  <a:cubicBezTo>
                    <a:pt x="27538" y="12413"/>
                    <a:pt x="27146" y="11871"/>
                    <a:pt x="27146" y="11721"/>
                  </a:cubicBezTo>
                  <a:cubicBezTo>
                    <a:pt x="27146" y="11570"/>
                    <a:pt x="27146" y="11119"/>
                    <a:pt x="26966" y="10998"/>
                  </a:cubicBezTo>
                  <a:cubicBezTo>
                    <a:pt x="26785" y="10908"/>
                    <a:pt x="27297" y="10697"/>
                    <a:pt x="27417" y="10697"/>
                  </a:cubicBezTo>
                  <a:cubicBezTo>
                    <a:pt x="27519" y="10697"/>
                    <a:pt x="27897" y="10527"/>
                    <a:pt x="28086" y="10527"/>
                  </a:cubicBezTo>
                  <a:cubicBezTo>
                    <a:pt x="28122" y="10527"/>
                    <a:pt x="28151" y="10533"/>
                    <a:pt x="28170" y="10547"/>
                  </a:cubicBezTo>
                  <a:cubicBezTo>
                    <a:pt x="28294" y="10647"/>
                    <a:pt x="28460" y="10705"/>
                    <a:pt x="28633" y="10705"/>
                  </a:cubicBezTo>
                  <a:cubicBezTo>
                    <a:pt x="28669" y="10705"/>
                    <a:pt x="28705" y="10703"/>
                    <a:pt x="28741" y="10697"/>
                  </a:cubicBezTo>
                  <a:cubicBezTo>
                    <a:pt x="28952" y="10697"/>
                    <a:pt x="28892" y="10457"/>
                    <a:pt x="28741" y="10336"/>
                  </a:cubicBezTo>
                  <a:cubicBezTo>
                    <a:pt x="28591" y="10216"/>
                    <a:pt x="29133" y="9163"/>
                    <a:pt x="29223" y="8832"/>
                  </a:cubicBezTo>
                  <a:cubicBezTo>
                    <a:pt x="29244" y="8716"/>
                    <a:pt x="29283" y="8677"/>
                    <a:pt x="29336" y="8677"/>
                  </a:cubicBezTo>
                  <a:cubicBezTo>
                    <a:pt x="29434" y="8677"/>
                    <a:pt x="29578" y="8812"/>
                    <a:pt x="29735" y="8832"/>
                  </a:cubicBezTo>
                  <a:cubicBezTo>
                    <a:pt x="29802" y="8839"/>
                    <a:pt x="29872" y="8841"/>
                    <a:pt x="29941" y="8841"/>
                  </a:cubicBezTo>
                  <a:cubicBezTo>
                    <a:pt x="30010" y="8841"/>
                    <a:pt x="30079" y="8839"/>
                    <a:pt x="30145" y="8839"/>
                  </a:cubicBezTo>
                  <a:cubicBezTo>
                    <a:pt x="30276" y="8839"/>
                    <a:pt x="30397" y="8847"/>
                    <a:pt x="30487" y="8892"/>
                  </a:cubicBezTo>
                  <a:cubicBezTo>
                    <a:pt x="30524" y="8895"/>
                    <a:pt x="30561" y="8897"/>
                    <a:pt x="30597" y="8897"/>
                  </a:cubicBezTo>
                  <a:cubicBezTo>
                    <a:pt x="30853" y="8897"/>
                    <a:pt x="31081" y="8802"/>
                    <a:pt x="31239" y="8591"/>
                  </a:cubicBezTo>
                  <a:cubicBezTo>
                    <a:pt x="31360" y="8410"/>
                    <a:pt x="31089" y="8380"/>
                    <a:pt x="31149" y="7959"/>
                  </a:cubicBezTo>
                  <a:cubicBezTo>
                    <a:pt x="31179" y="7537"/>
                    <a:pt x="31360" y="7357"/>
                    <a:pt x="31631" y="7357"/>
                  </a:cubicBezTo>
                  <a:cubicBezTo>
                    <a:pt x="31901" y="7357"/>
                    <a:pt x="31962" y="7146"/>
                    <a:pt x="31962" y="6936"/>
                  </a:cubicBezTo>
                  <a:cubicBezTo>
                    <a:pt x="31962" y="6755"/>
                    <a:pt x="32202" y="6635"/>
                    <a:pt x="32262" y="6424"/>
                  </a:cubicBezTo>
                  <a:cubicBezTo>
                    <a:pt x="32172" y="6334"/>
                    <a:pt x="32112" y="6243"/>
                    <a:pt x="32082" y="6123"/>
                  </a:cubicBezTo>
                  <a:cubicBezTo>
                    <a:pt x="32082" y="6062"/>
                    <a:pt x="32057" y="6041"/>
                    <a:pt x="32020" y="6041"/>
                  </a:cubicBezTo>
                  <a:cubicBezTo>
                    <a:pt x="31965" y="6041"/>
                    <a:pt x="31883" y="6087"/>
                    <a:pt x="31811" y="6123"/>
                  </a:cubicBezTo>
                  <a:cubicBezTo>
                    <a:pt x="31600" y="6213"/>
                    <a:pt x="31390" y="6243"/>
                    <a:pt x="31179" y="6243"/>
                  </a:cubicBezTo>
                  <a:cubicBezTo>
                    <a:pt x="31029" y="6243"/>
                    <a:pt x="30758" y="6063"/>
                    <a:pt x="30758" y="5882"/>
                  </a:cubicBezTo>
                  <a:cubicBezTo>
                    <a:pt x="30758" y="5732"/>
                    <a:pt x="30758" y="5611"/>
                    <a:pt x="30607" y="5611"/>
                  </a:cubicBezTo>
                  <a:cubicBezTo>
                    <a:pt x="30457" y="5611"/>
                    <a:pt x="30276" y="5521"/>
                    <a:pt x="30126" y="5190"/>
                  </a:cubicBezTo>
                  <a:cubicBezTo>
                    <a:pt x="29975" y="4859"/>
                    <a:pt x="29735" y="4889"/>
                    <a:pt x="29584" y="4769"/>
                  </a:cubicBezTo>
                  <a:cubicBezTo>
                    <a:pt x="29563" y="4747"/>
                    <a:pt x="29530" y="4738"/>
                    <a:pt x="29490" y="4738"/>
                  </a:cubicBezTo>
                  <a:cubicBezTo>
                    <a:pt x="29303" y="4738"/>
                    <a:pt x="28950" y="4935"/>
                    <a:pt x="28802" y="5010"/>
                  </a:cubicBezTo>
                  <a:cubicBezTo>
                    <a:pt x="28772" y="5019"/>
                    <a:pt x="28738" y="5024"/>
                    <a:pt x="28702" y="5024"/>
                  </a:cubicBezTo>
                  <a:cubicBezTo>
                    <a:pt x="28515" y="5024"/>
                    <a:pt x="28250" y="4914"/>
                    <a:pt x="28049" y="4889"/>
                  </a:cubicBezTo>
                  <a:cubicBezTo>
                    <a:pt x="27845" y="4860"/>
                    <a:pt x="27641" y="4436"/>
                    <a:pt x="27438" y="4436"/>
                  </a:cubicBezTo>
                  <a:cubicBezTo>
                    <a:pt x="27431" y="4436"/>
                    <a:pt x="27424" y="4437"/>
                    <a:pt x="27417" y="4438"/>
                  </a:cubicBezTo>
                  <a:cubicBezTo>
                    <a:pt x="27176" y="4468"/>
                    <a:pt x="27146" y="4949"/>
                    <a:pt x="26966" y="4949"/>
                  </a:cubicBezTo>
                  <a:cubicBezTo>
                    <a:pt x="26785" y="4949"/>
                    <a:pt x="26484" y="4046"/>
                    <a:pt x="26123" y="3535"/>
                  </a:cubicBezTo>
                  <a:cubicBezTo>
                    <a:pt x="25792" y="2993"/>
                    <a:pt x="25220" y="2030"/>
                    <a:pt x="24709" y="1789"/>
                  </a:cubicBezTo>
                  <a:cubicBezTo>
                    <a:pt x="24167" y="1579"/>
                    <a:pt x="24317" y="1338"/>
                    <a:pt x="24468" y="1187"/>
                  </a:cubicBezTo>
                  <a:cubicBezTo>
                    <a:pt x="24547" y="1108"/>
                    <a:pt x="24451" y="1071"/>
                    <a:pt x="24311" y="1071"/>
                  </a:cubicBezTo>
                  <a:cubicBezTo>
                    <a:pt x="24186" y="1071"/>
                    <a:pt x="24026" y="1101"/>
                    <a:pt x="23926" y="1157"/>
                  </a:cubicBezTo>
                  <a:cubicBezTo>
                    <a:pt x="23685" y="1338"/>
                    <a:pt x="23445" y="1458"/>
                    <a:pt x="23204" y="1579"/>
                  </a:cubicBezTo>
                  <a:cubicBezTo>
                    <a:pt x="22993" y="1605"/>
                    <a:pt x="22690" y="1931"/>
                    <a:pt x="22436" y="1931"/>
                  </a:cubicBezTo>
                  <a:cubicBezTo>
                    <a:pt x="22400" y="1931"/>
                    <a:pt x="22365" y="1925"/>
                    <a:pt x="22331" y="1910"/>
                  </a:cubicBezTo>
                  <a:cubicBezTo>
                    <a:pt x="22299" y="1895"/>
                    <a:pt x="22269" y="1889"/>
                    <a:pt x="22241" y="1889"/>
                  </a:cubicBezTo>
                  <a:cubicBezTo>
                    <a:pt x="22076" y="1889"/>
                    <a:pt x="21985" y="2103"/>
                    <a:pt x="21858" y="2103"/>
                  </a:cubicBezTo>
                  <a:cubicBezTo>
                    <a:pt x="21828" y="2103"/>
                    <a:pt x="21795" y="2091"/>
                    <a:pt x="21759" y="2060"/>
                  </a:cubicBezTo>
                  <a:cubicBezTo>
                    <a:pt x="21579" y="1880"/>
                    <a:pt x="22030" y="1729"/>
                    <a:pt x="22030" y="1549"/>
                  </a:cubicBezTo>
                  <a:cubicBezTo>
                    <a:pt x="22030" y="1485"/>
                    <a:pt x="22000" y="1465"/>
                    <a:pt x="21956" y="1465"/>
                  </a:cubicBezTo>
                  <a:cubicBezTo>
                    <a:pt x="21882" y="1465"/>
                    <a:pt x="21768" y="1521"/>
                    <a:pt x="21686" y="1521"/>
                  </a:cubicBezTo>
                  <a:cubicBezTo>
                    <a:pt x="21654" y="1521"/>
                    <a:pt x="21627" y="1512"/>
                    <a:pt x="21609" y="1488"/>
                  </a:cubicBezTo>
                  <a:cubicBezTo>
                    <a:pt x="21572" y="1432"/>
                    <a:pt x="21441" y="1365"/>
                    <a:pt x="21348" y="1365"/>
                  </a:cubicBezTo>
                  <a:cubicBezTo>
                    <a:pt x="21291" y="1365"/>
                    <a:pt x="21248" y="1390"/>
                    <a:pt x="21248" y="1458"/>
                  </a:cubicBezTo>
                  <a:cubicBezTo>
                    <a:pt x="21248" y="1520"/>
                    <a:pt x="21220" y="1543"/>
                    <a:pt x="21183" y="1543"/>
                  </a:cubicBezTo>
                  <a:cubicBezTo>
                    <a:pt x="21111" y="1543"/>
                    <a:pt x="21007" y="1458"/>
                    <a:pt x="21007" y="1398"/>
                  </a:cubicBezTo>
                  <a:cubicBezTo>
                    <a:pt x="21007" y="1305"/>
                    <a:pt x="20917" y="1140"/>
                    <a:pt x="20806" y="1140"/>
                  </a:cubicBezTo>
                  <a:cubicBezTo>
                    <a:pt x="20774" y="1140"/>
                    <a:pt x="20740" y="1154"/>
                    <a:pt x="20706" y="1187"/>
                  </a:cubicBezTo>
                  <a:cubicBezTo>
                    <a:pt x="20604" y="1289"/>
                    <a:pt x="20366" y="1377"/>
                    <a:pt x="20193" y="1377"/>
                  </a:cubicBezTo>
                  <a:cubicBezTo>
                    <a:pt x="20111" y="1377"/>
                    <a:pt x="20043" y="1357"/>
                    <a:pt x="20014" y="1308"/>
                  </a:cubicBezTo>
                  <a:cubicBezTo>
                    <a:pt x="19894" y="1157"/>
                    <a:pt x="20074" y="1157"/>
                    <a:pt x="20074" y="977"/>
                  </a:cubicBezTo>
                  <a:cubicBezTo>
                    <a:pt x="20074" y="796"/>
                    <a:pt x="19924" y="646"/>
                    <a:pt x="19954" y="435"/>
                  </a:cubicBezTo>
                  <a:cubicBezTo>
                    <a:pt x="19928" y="230"/>
                    <a:pt x="19750" y="91"/>
                    <a:pt x="19549" y="91"/>
                  </a:cubicBezTo>
                  <a:cubicBezTo>
                    <a:pt x="19514" y="91"/>
                    <a:pt x="19478" y="95"/>
                    <a:pt x="19442" y="104"/>
                  </a:cubicBezTo>
                  <a:cubicBezTo>
                    <a:pt x="19367" y="125"/>
                    <a:pt x="19293" y="135"/>
                    <a:pt x="19220" y="135"/>
                  </a:cubicBezTo>
                  <a:cubicBezTo>
                    <a:pt x="19086" y="135"/>
                    <a:pt x="18957" y="102"/>
                    <a:pt x="18840" y="44"/>
                  </a:cubicBezTo>
                  <a:cubicBezTo>
                    <a:pt x="18795" y="14"/>
                    <a:pt x="18710" y="1"/>
                    <a:pt x="18609"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24" name="Google Shape;3018;p123">
              <a:extLst>
                <a:ext uri="{FF2B5EF4-FFF2-40B4-BE49-F238E27FC236}">
                  <a16:creationId xmlns:a16="http://schemas.microsoft.com/office/drawing/2014/main" id="{84366A3A-6BBD-114A-84BE-A0BB29CA6FBB}"/>
                </a:ext>
              </a:extLst>
            </p:cNvPr>
            <p:cNvSpPr/>
            <p:nvPr/>
          </p:nvSpPr>
          <p:spPr>
            <a:xfrm>
              <a:off x="4739231" y="588692"/>
              <a:ext cx="4196969" cy="1603589"/>
            </a:xfrm>
            <a:custGeom>
              <a:avLst/>
              <a:gdLst/>
              <a:ahLst/>
              <a:cxnLst/>
              <a:rect l="l" t="t" r="r" b="b"/>
              <a:pathLst>
                <a:path w="135277" h="51687" extrusionOk="0">
                  <a:moveTo>
                    <a:pt x="30850" y="0"/>
                  </a:moveTo>
                  <a:cubicBezTo>
                    <a:pt x="30462" y="0"/>
                    <a:pt x="30075" y="70"/>
                    <a:pt x="30125" y="186"/>
                  </a:cubicBezTo>
                  <a:cubicBezTo>
                    <a:pt x="30245" y="367"/>
                    <a:pt x="29042" y="306"/>
                    <a:pt x="29072" y="367"/>
                  </a:cubicBezTo>
                  <a:cubicBezTo>
                    <a:pt x="29132" y="427"/>
                    <a:pt x="29523" y="638"/>
                    <a:pt x="30095" y="638"/>
                  </a:cubicBezTo>
                  <a:cubicBezTo>
                    <a:pt x="30642" y="638"/>
                    <a:pt x="30528" y="335"/>
                    <a:pt x="30833" y="335"/>
                  </a:cubicBezTo>
                  <a:cubicBezTo>
                    <a:pt x="30847" y="335"/>
                    <a:pt x="30862" y="335"/>
                    <a:pt x="30877" y="337"/>
                  </a:cubicBezTo>
                  <a:cubicBezTo>
                    <a:pt x="30985" y="345"/>
                    <a:pt x="31099" y="351"/>
                    <a:pt x="31204" y="351"/>
                  </a:cubicBezTo>
                  <a:cubicBezTo>
                    <a:pt x="31483" y="351"/>
                    <a:pt x="31701" y="309"/>
                    <a:pt x="31570" y="156"/>
                  </a:cubicBezTo>
                  <a:cubicBezTo>
                    <a:pt x="31488" y="47"/>
                    <a:pt x="31168" y="0"/>
                    <a:pt x="30850" y="0"/>
                  </a:cubicBezTo>
                  <a:close/>
                  <a:moveTo>
                    <a:pt x="56672" y="519"/>
                  </a:moveTo>
                  <a:cubicBezTo>
                    <a:pt x="56286" y="519"/>
                    <a:pt x="55847" y="652"/>
                    <a:pt x="56097" y="848"/>
                  </a:cubicBezTo>
                  <a:cubicBezTo>
                    <a:pt x="56273" y="999"/>
                    <a:pt x="56466" y="1066"/>
                    <a:pt x="56638" y="1066"/>
                  </a:cubicBezTo>
                  <a:cubicBezTo>
                    <a:pt x="56878" y="1066"/>
                    <a:pt x="57080" y="938"/>
                    <a:pt x="57150" y="728"/>
                  </a:cubicBezTo>
                  <a:cubicBezTo>
                    <a:pt x="57175" y="581"/>
                    <a:pt x="56936" y="519"/>
                    <a:pt x="56672" y="519"/>
                  </a:cubicBezTo>
                  <a:close/>
                  <a:moveTo>
                    <a:pt x="36216" y="653"/>
                  </a:moveTo>
                  <a:cubicBezTo>
                    <a:pt x="35875" y="653"/>
                    <a:pt x="35756" y="938"/>
                    <a:pt x="35542" y="938"/>
                  </a:cubicBezTo>
                  <a:cubicBezTo>
                    <a:pt x="35331" y="938"/>
                    <a:pt x="34429" y="1089"/>
                    <a:pt x="34609" y="1270"/>
                  </a:cubicBezTo>
                  <a:cubicBezTo>
                    <a:pt x="34706" y="1367"/>
                    <a:pt x="34951" y="1394"/>
                    <a:pt x="35227" y="1394"/>
                  </a:cubicBezTo>
                  <a:cubicBezTo>
                    <a:pt x="35464" y="1394"/>
                    <a:pt x="35725" y="1374"/>
                    <a:pt x="35933" y="1360"/>
                  </a:cubicBezTo>
                  <a:cubicBezTo>
                    <a:pt x="36836" y="1239"/>
                    <a:pt x="36806" y="758"/>
                    <a:pt x="36355" y="668"/>
                  </a:cubicBezTo>
                  <a:cubicBezTo>
                    <a:pt x="36304" y="658"/>
                    <a:pt x="36258" y="653"/>
                    <a:pt x="36216" y="653"/>
                  </a:cubicBezTo>
                  <a:close/>
                  <a:moveTo>
                    <a:pt x="28520" y="565"/>
                  </a:moveTo>
                  <a:cubicBezTo>
                    <a:pt x="28372" y="565"/>
                    <a:pt x="28364" y="655"/>
                    <a:pt x="28590" y="848"/>
                  </a:cubicBezTo>
                  <a:cubicBezTo>
                    <a:pt x="29012" y="1239"/>
                    <a:pt x="27537" y="1149"/>
                    <a:pt x="27717" y="1360"/>
                  </a:cubicBezTo>
                  <a:cubicBezTo>
                    <a:pt x="27803" y="1433"/>
                    <a:pt x="28261" y="1481"/>
                    <a:pt x="28783" y="1481"/>
                  </a:cubicBezTo>
                  <a:cubicBezTo>
                    <a:pt x="29554" y="1481"/>
                    <a:pt x="30462" y="1376"/>
                    <a:pt x="30516" y="1089"/>
                  </a:cubicBezTo>
                  <a:cubicBezTo>
                    <a:pt x="30543" y="871"/>
                    <a:pt x="30392" y="832"/>
                    <a:pt x="30163" y="832"/>
                  </a:cubicBezTo>
                  <a:cubicBezTo>
                    <a:pt x="30033" y="832"/>
                    <a:pt x="29878" y="845"/>
                    <a:pt x="29716" y="845"/>
                  </a:cubicBezTo>
                  <a:cubicBezTo>
                    <a:pt x="29531" y="845"/>
                    <a:pt x="29338" y="828"/>
                    <a:pt x="29162" y="758"/>
                  </a:cubicBezTo>
                  <a:cubicBezTo>
                    <a:pt x="28883" y="632"/>
                    <a:pt x="28649" y="565"/>
                    <a:pt x="28520" y="565"/>
                  </a:cubicBezTo>
                  <a:close/>
                  <a:moveTo>
                    <a:pt x="33036" y="868"/>
                  </a:moveTo>
                  <a:cubicBezTo>
                    <a:pt x="32771" y="868"/>
                    <a:pt x="32554" y="908"/>
                    <a:pt x="32593" y="999"/>
                  </a:cubicBezTo>
                  <a:cubicBezTo>
                    <a:pt x="32653" y="1239"/>
                    <a:pt x="31690" y="1510"/>
                    <a:pt x="31991" y="1721"/>
                  </a:cubicBezTo>
                  <a:cubicBezTo>
                    <a:pt x="32072" y="1778"/>
                    <a:pt x="32258" y="1802"/>
                    <a:pt x="32491" y="1802"/>
                  </a:cubicBezTo>
                  <a:cubicBezTo>
                    <a:pt x="33122" y="1802"/>
                    <a:pt x="34094" y="1626"/>
                    <a:pt x="34248" y="1450"/>
                  </a:cubicBezTo>
                  <a:cubicBezTo>
                    <a:pt x="34398" y="1239"/>
                    <a:pt x="33947" y="1239"/>
                    <a:pt x="33857" y="1059"/>
                  </a:cubicBezTo>
                  <a:cubicBezTo>
                    <a:pt x="33822" y="939"/>
                    <a:pt x="33387" y="868"/>
                    <a:pt x="33036" y="868"/>
                  </a:cubicBezTo>
                  <a:close/>
                  <a:moveTo>
                    <a:pt x="22343" y="1171"/>
                  </a:moveTo>
                  <a:cubicBezTo>
                    <a:pt x="22072" y="1171"/>
                    <a:pt x="21789" y="1212"/>
                    <a:pt x="21638" y="1300"/>
                  </a:cubicBezTo>
                  <a:cubicBezTo>
                    <a:pt x="21247" y="1540"/>
                    <a:pt x="20284" y="1360"/>
                    <a:pt x="20404" y="1601"/>
                  </a:cubicBezTo>
                  <a:cubicBezTo>
                    <a:pt x="20593" y="1789"/>
                    <a:pt x="20840" y="1879"/>
                    <a:pt x="21083" y="1879"/>
                  </a:cubicBezTo>
                  <a:cubicBezTo>
                    <a:pt x="21306" y="1879"/>
                    <a:pt x="21526" y="1804"/>
                    <a:pt x="21698" y="1661"/>
                  </a:cubicBezTo>
                  <a:cubicBezTo>
                    <a:pt x="21916" y="1455"/>
                    <a:pt x="22163" y="1405"/>
                    <a:pt x="22384" y="1405"/>
                  </a:cubicBezTo>
                  <a:cubicBezTo>
                    <a:pt x="22594" y="1405"/>
                    <a:pt x="22781" y="1450"/>
                    <a:pt x="22899" y="1450"/>
                  </a:cubicBezTo>
                  <a:cubicBezTo>
                    <a:pt x="22965" y="1450"/>
                    <a:pt x="23010" y="1436"/>
                    <a:pt x="23023" y="1390"/>
                  </a:cubicBezTo>
                  <a:cubicBezTo>
                    <a:pt x="23075" y="1250"/>
                    <a:pt x="22720" y="1171"/>
                    <a:pt x="22343" y="1171"/>
                  </a:cubicBezTo>
                  <a:close/>
                  <a:moveTo>
                    <a:pt x="26955" y="2058"/>
                  </a:moveTo>
                  <a:cubicBezTo>
                    <a:pt x="26608" y="2058"/>
                    <a:pt x="26043" y="2280"/>
                    <a:pt x="26213" y="2323"/>
                  </a:cubicBezTo>
                  <a:cubicBezTo>
                    <a:pt x="26356" y="2371"/>
                    <a:pt x="26627" y="2444"/>
                    <a:pt x="26849" y="2444"/>
                  </a:cubicBezTo>
                  <a:cubicBezTo>
                    <a:pt x="27046" y="2444"/>
                    <a:pt x="27206" y="2386"/>
                    <a:pt x="27206" y="2202"/>
                  </a:cubicBezTo>
                  <a:cubicBezTo>
                    <a:pt x="27206" y="2096"/>
                    <a:pt x="27099" y="2058"/>
                    <a:pt x="26955" y="2058"/>
                  </a:cubicBezTo>
                  <a:close/>
                  <a:moveTo>
                    <a:pt x="24534" y="971"/>
                  </a:moveTo>
                  <a:cubicBezTo>
                    <a:pt x="24046" y="971"/>
                    <a:pt x="23641" y="1258"/>
                    <a:pt x="23895" y="1420"/>
                  </a:cubicBezTo>
                  <a:cubicBezTo>
                    <a:pt x="24226" y="1691"/>
                    <a:pt x="22993" y="1601"/>
                    <a:pt x="22842" y="1841"/>
                  </a:cubicBezTo>
                  <a:cubicBezTo>
                    <a:pt x="22692" y="2052"/>
                    <a:pt x="21939" y="1992"/>
                    <a:pt x="22090" y="2263"/>
                  </a:cubicBezTo>
                  <a:cubicBezTo>
                    <a:pt x="22174" y="2398"/>
                    <a:pt x="22562" y="2476"/>
                    <a:pt x="22887" y="2476"/>
                  </a:cubicBezTo>
                  <a:cubicBezTo>
                    <a:pt x="23140" y="2476"/>
                    <a:pt x="23354" y="2428"/>
                    <a:pt x="23354" y="2323"/>
                  </a:cubicBezTo>
                  <a:cubicBezTo>
                    <a:pt x="23354" y="2112"/>
                    <a:pt x="24016" y="2293"/>
                    <a:pt x="24016" y="2112"/>
                  </a:cubicBezTo>
                  <a:cubicBezTo>
                    <a:pt x="24016" y="1901"/>
                    <a:pt x="24317" y="1661"/>
                    <a:pt x="24949" y="1601"/>
                  </a:cubicBezTo>
                  <a:cubicBezTo>
                    <a:pt x="25581" y="1570"/>
                    <a:pt x="25611" y="1300"/>
                    <a:pt x="24979" y="1059"/>
                  </a:cubicBezTo>
                  <a:cubicBezTo>
                    <a:pt x="24833" y="996"/>
                    <a:pt x="24680" y="971"/>
                    <a:pt x="24534" y="971"/>
                  </a:cubicBezTo>
                  <a:close/>
                  <a:moveTo>
                    <a:pt x="30629" y="1809"/>
                  </a:moveTo>
                  <a:cubicBezTo>
                    <a:pt x="30373" y="1809"/>
                    <a:pt x="30184" y="1839"/>
                    <a:pt x="30215" y="1901"/>
                  </a:cubicBezTo>
                  <a:cubicBezTo>
                    <a:pt x="30276" y="2112"/>
                    <a:pt x="30095" y="2112"/>
                    <a:pt x="29644" y="2112"/>
                  </a:cubicBezTo>
                  <a:cubicBezTo>
                    <a:pt x="29192" y="2112"/>
                    <a:pt x="28921" y="2353"/>
                    <a:pt x="29162" y="2594"/>
                  </a:cubicBezTo>
                  <a:cubicBezTo>
                    <a:pt x="29246" y="2677"/>
                    <a:pt x="29506" y="2718"/>
                    <a:pt x="29800" y="2718"/>
                  </a:cubicBezTo>
                  <a:cubicBezTo>
                    <a:pt x="30245" y="2718"/>
                    <a:pt x="30769" y="2624"/>
                    <a:pt x="30877" y="2443"/>
                  </a:cubicBezTo>
                  <a:cubicBezTo>
                    <a:pt x="31088" y="2142"/>
                    <a:pt x="31630" y="2413"/>
                    <a:pt x="31750" y="2112"/>
                  </a:cubicBezTo>
                  <a:cubicBezTo>
                    <a:pt x="31829" y="1916"/>
                    <a:pt x="31111" y="1809"/>
                    <a:pt x="30629" y="1809"/>
                  </a:cubicBezTo>
                  <a:close/>
                  <a:moveTo>
                    <a:pt x="60001" y="325"/>
                  </a:moveTo>
                  <a:cubicBezTo>
                    <a:pt x="59831" y="325"/>
                    <a:pt x="59637" y="662"/>
                    <a:pt x="58956" y="788"/>
                  </a:cubicBezTo>
                  <a:cubicBezTo>
                    <a:pt x="58113" y="938"/>
                    <a:pt x="57752" y="1149"/>
                    <a:pt x="58083" y="1300"/>
                  </a:cubicBezTo>
                  <a:cubicBezTo>
                    <a:pt x="58414" y="1450"/>
                    <a:pt x="58083" y="1871"/>
                    <a:pt x="57752" y="1871"/>
                  </a:cubicBezTo>
                  <a:cubicBezTo>
                    <a:pt x="57421" y="1871"/>
                    <a:pt x="57301" y="2202"/>
                    <a:pt x="57752" y="2413"/>
                  </a:cubicBezTo>
                  <a:cubicBezTo>
                    <a:pt x="58203" y="2594"/>
                    <a:pt x="58053" y="2714"/>
                    <a:pt x="57541" y="2714"/>
                  </a:cubicBezTo>
                  <a:cubicBezTo>
                    <a:pt x="57060" y="2714"/>
                    <a:pt x="56699" y="2865"/>
                    <a:pt x="57000" y="2955"/>
                  </a:cubicBezTo>
                  <a:cubicBezTo>
                    <a:pt x="57301" y="3075"/>
                    <a:pt x="57210" y="3346"/>
                    <a:pt x="57692" y="3466"/>
                  </a:cubicBezTo>
                  <a:cubicBezTo>
                    <a:pt x="57743" y="3475"/>
                    <a:pt x="57794" y="3480"/>
                    <a:pt x="57844" y="3480"/>
                  </a:cubicBezTo>
                  <a:cubicBezTo>
                    <a:pt x="58295" y="3480"/>
                    <a:pt x="58682" y="3138"/>
                    <a:pt x="58655" y="2895"/>
                  </a:cubicBezTo>
                  <a:cubicBezTo>
                    <a:pt x="58595" y="2624"/>
                    <a:pt x="60340" y="2353"/>
                    <a:pt x="60822" y="2263"/>
                  </a:cubicBezTo>
                  <a:cubicBezTo>
                    <a:pt x="61303" y="2142"/>
                    <a:pt x="60521" y="1601"/>
                    <a:pt x="61002" y="1570"/>
                  </a:cubicBezTo>
                  <a:cubicBezTo>
                    <a:pt x="61514" y="1540"/>
                    <a:pt x="61303" y="1300"/>
                    <a:pt x="60701" y="1209"/>
                  </a:cubicBezTo>
                  <a:cubicBezTo>
                    <a:pt x="60130" y="1089"/>
                    <a:pt x="60340" y="547"/>
                    <a:pt x="60099" y="367"/>
                  </a:cubicBezTo>
                  <a:cubicBezTo>
                    <a:pt x="60065" y="337"/>
                    <a:pt x="60033" y="325"/>
                    <a:pt x="60001" y="325"/>
                  </a:cubicBezTo>
                  <a:close/>
                  <a:moveTo>
                    <a:pt x="60915" y="2513"/>
                  </a:moveTo>
                  <a:cubicBezTo>
                    <a:pt x="60305" y="2513"/>
                    <a:pt x="58986" y="2855"/>
                    <a:pt x="58986" y="3045"/>
                  </a:cubicBezTo>
                  <a:cubicBezTo>
                    <a:pt x="58986" y="3316"/>
                    <a:pt x="58234" y="3557"/>
                    <a:pt x="58444" y="3767"/>
                  </a:cubicBezTo>
                  <a:cubicBezTo>
                    <a:pt x="58579" y="3868"/>
                    <a:pt x="58676" y="3885"/>
                    <a:pt x="58772" y="3885"/>
                  </a:cubicBezTo>
                  <a:cubicBezTo>
                    <a:pt x="58818" y="3885"/>
                    <a:pt x="58863" y="3881"/>
                    <a:pt x="58913" y="3881"/>
                  </a:cubicBezTo>
                  <a:cubicBezTo>
                    <a:pt x="58945" y="3881"/>
                    <a:pt x="58979" y="3882"/>
                    <a:pt x="59016" y="3888"/>
                  </a:cubicBezTo>
                  <a:cubicBezTo>
                    <a:pt x="59240" y="3944"/>
                    <a:pt x="59386" y="4469"/>
                    <a:pt x="59720" y="4469"/>
                  </a:cubicBezTo>
                  <a:cubicBezTo>
                    <a:pt x="59745" y="4469"/>
                    <a:pt x="59771" y="4466"/>
                    <a:pt x="59798" y="4460"/>
                  </a:cubicBezTo>
                  <a:cubicBezTo>
                    <a:pt x="59822" y="4456"/>
                    <a:pt x="59848" y="4455"/>
                    <a:pt x="59875" y="4455"/>
                  </a:cubicBezTo>
                  <a:cubicBezTo>
                    <a:pt x="60349" y="4455"/>
                    <a:pt x="61430" y="4911"/>
                    <a:pt x="62056" y="4911"/>
                  </a:cubicBezTo>
                  <a:cubicBezTo>
                    <a:pt x="62748" y="4911"/>
                    <a:pt x="62808" y="4339"/>
                    <a:pt x="62597" y="4339"/>
                  </a:cubicBezTo>
                  <a:cubicBezTo>
                    <a:pt x="62357" y="4339"/>
                    <a:pt x="62567" y="3978"/>
                    <a:pt x="62928" y="3466"/>
                  </a:cubicBezTo>
                  <a:cubicBezTo>
                    <a:pt x="63208" y="3079"/>
                    <a:pt x="62487" y="2753"/>
                    <a:pt x="62054" y="2753"/>
                  </a:cubicBezTo>
                  <a:cubicBezTo>
                    <a:pt x="61882" y="2753"/>
                    <a:pt x="61755" y="2805"/>
                    <a:pt x="61755" y="2925"/>
                  </a:cubicBezTo>
                  <a:cubicBezTo>
                    <a:pt x="61755" y="3044"/>
                    <a:pt x="61719" y="3091"/>
                    <a:pt x="61665" y="3091"/>
                  </a:cubicBezTo>
                  <a:cubicBezTo>
                    <a:pt x="61528" y="3091"/>
                    <a:pt x="61278" y="2788"/>
                    <a:pt x="61213" y="2594"/>
                  </a:cubicBezTo>
                  <a:cubicBezTo>
                    <a:pt x="61188" y="2537"/>
                    <a:pt x="61076" y="2513"/>
                    <a:pt x="60915" y="2513"/>
                  </a:cubicBezTo>
                  <a:close/>
                  <a:moveTo>
                    <a:pt x="65054" y="3743"/>
                  </a:moveTo>
                  <a:cubicBezTo>
                    <a:pt x="64969" y="3743"/>
                    <a:pt x="64900" y="3778"/>
                    <a:pt x="64885" y="3858"/>
                  </a:cubicBezTo>
                  <a:cubicBezTo>
                    <a:pt x="64854" y="4159"/>
                    <a:pt x="64072" y="3918"/>
                    <a:pt x="64072" y="4159"/>
                  </a:cubicBezTo>
                  <a:cubicBezTo>
                    <a:pt x="64072" y="4429"/>
                    <a:pt x="63711" y="4550"/>
                    <a:pt x="63771" y="4760"/>
                  </a:cubicBezTo>
                  <a:cubicBezTo>
                    <a:pt x="63801" y="5001"/>
                    <a:pt x="63199" y="4670"/>
                    <a:pt x="63199" y="5212"/>
                  </a:cubicBezTo>
                  <a:cubicBezTo>
                    <a:pt x="63199" y="5784"/>
                    <a:pt x="62266" y="6175"/>
                    <a:pt x="62627" y="6356"/>
                  </a:cubicBezTo>
                  <a:cubicBezTo>
                    <a:pt x="62681" y="6388"/>
                    <a:pt x="62759" y="6401"/>
                    <a:pt x="62855" y="6401"/>
                  </a:cubicBezTo>
                  <a:cubicBezTo>
                    <a:pt x="63258" y="6401"/>
                    <a:pt x="63979" y="6169"/>
                    <a:pt x="64553" y="6169"/>
                  </a:cubicBezTo>
                  <a:cubicBezTo>
                    <a:pt x="64605" y="6169"/>
                    <a:pt x="64655" y="6171"/>
                    <a:pt x="64704" y="6175"/>
                  </a:cubicBezTo>
                  <a:cubicBezTo>
                    <a:pt x="64721" y="6176"/>
                    <a:pt x="64740" y="6176"/>
                    <a:pt x="64759" y="6176"/>
                  </a:cubicBezTo>
                  <a:cubicBezTo>
                    <a:pt x="65520" y="6176"/>
                    <a:pt x="67384" y="5594"/>
                    <a:pt x="67443" y="5212"/>
                  </a:cubicBezTo>
                  <a:cubicBezTo>
                    <a:pt x="67533" y="4851"/>
                    <a:pt x="66720" y="4881"/>
                    <a:pt x="66389" y="4550"/>
                  </a:cubicBezTo>
                  <a:cubicBezTo>
                    <a:pt x="66284" y="4445"/>
                    <a:pt x="66149" y="4403"/>
                    <a:pt x="66009" y="4403"/>
                  </a:cubicBezTo>
                  <a:cubicBezTo>
                    <a:pt x="65706" y="4403"/>
                    <a:pt x="65379" y="4596"/>
                    <a:pt x="65276" y="4760"/>
                  </a:cubicBezTo>
                  <a:cubicBezTo>
                    <a:pt x="65230" y="4843"/>
                    <a:pt x="65181" y="4881"/>
                    <a:pt x="65147" y="4881"/>
                  </a:cubicBezTo>
                  <a:cubicBezTo>
                    <a:pt x="65068" y="4881"/>
                    <a:pt x="65064" y="4683"/>
                    <a:pt x="65336" y="4369"/>
                  </a:cubicBezTo>
                  <a:cubicBezTo>
                    <a:pt x="65646" y="4015"/>
                    <a:pt x="65289" y="3743"/>
                    <a:pt x="65054" y="3743"/>
                  </a:cubicBezTo>
                  <a:close/>
                  <a:moveTo>
                    <a:pt x="94060" y="9316"/>
                  </a:moveTo>
                  <a:cubicBezTo>
                    <a:pt x="93447" y="9316"/>
                    <a:pt x="92105" y="10803"/>
                    <a:pt x="92812" y="11171"/>
                  </a:cubicBezTo>
                  <a:cubicBezTo>
                    <a:pt x="93053" y="11291"/>
                    <a:pt x="93264" y="11472"/>
                    <a:pt x="93444" y="11682"/>
                  </a:cubicBezTo>
                  <a:cubicBezTo>
                    <a:pt x="93492" y="11738"/>
                    <a:pt x="93578" y="11760"/>
                    <a:pt x="93683" y="11760"/>
                  </a:cubicBezTo>
                  <a:cubicBezTo>
                    <a:pt x="93976" y="11760"/>
                    <a:pt x="94419" y="11590"/>
                    <a:pt x="94618" y="11502"/>
                  </a:cubicBezTo>
                  <a:cubicBezTo>
                    <a:pt x="94646" y="11489"/>
                    <a:pt x="94671" y="11484"/>
                    <a:pt x="94695" y="11484"/>
                  </a:cubicBezTo>
                  <a:cubicBezTo>
                    <a:pt x="94853" y="11484"/>
                    <a:pt x="94928" y="11729"/>
                    <a:pt x="95141" y="11729"/>
                  </a:cubicBezTo>
                  <a:cubicBezTo>
                    <a:pt x="95203" y="11729"/>
                    <a:pt x="95278" y="11708"/>
                    <a:pt x="95371" y="11652"/>
                  </a:cubicBezTo>
                  <a:cubicBezTo>
                    <a:pt x="95610" y="11509"/>
                    <a:pt x="95849" y="11475"/>
                    <a:pt x="96096" y="11475"/>
                  </a:cubicBezTo>
                  <a:cubicBezTo>
                    <a:pt x="96317" y="11475"/>
                    <a:pt x="96544" y="11502"/>
                    <a:pt x="96785" y="11502"/>
                  </a:cubicBezTo>
                  <a:cubicBezTo>
                    <a:pt x="97327" y="11502"/>
                    <a:pt x="96695" y="10870"/>
                    <a:pt x="96725" y="10599"/>
                  </a:cubicBezTo>
                  <a:cubicBezTo>
                    <a:pt x="96736" y="10499"/>
                    <a:pt x="96821" y="10456"/>
                    <a:pt x="96915" y="10456"/>
                  </a:cubicBezTo>
                  <a:cubicBezTo>
                    <a:pt x="97075" y="10456"/>
                    <a:pt x="97260" y="10579"/>
                    <a:pt x="97146" y="10749"/>
                  </a:cubicBezTo>
                  <a:cubicBezTo>
                    <a:pt x="96942" y="11012"/>
                    <a:pt x="97360" y="11473"/>
                    <a:pt x="98072" y="11473"/>
                  </a:cubicBezTo>
                  <a:cubicBezTo>
                    <a:pt x="98094" y="11473"/>
                    <a:pt x="98117" y="11472"/>
                    <a:pt x="98139" y="11472"/>
                  </a:cubicBezTo>
                  <a:cubicBezTo>
                    <a:pt x="98892" y="11442"/>
                    <a:pt x="98350" y="10930"/>
                    <a:pt x="98711" y="10779"/>
                  </a:cubicBezTo>
                  <a:cubicBezTo>
                    <a:pt x="99102" y="10629"/>
                    <a:pt x="99042" y="10418"/>
                    <a:pt x="98530" y="10117"/>
                  </a:cubicBezTo>
                  <a:cubicBezTo>
                    <a:pt x="97989" y="9816"/>
                    <a:pt x="97297" y="9997"/>
                    <a:pt x="96785" y="9786"/>
                  </a:cubicBezTo>
                  <a:cubicBezTo>
                    <a:pt x="96586" y="9687"/>
                    <a:pt x="96365" y="9628"/>
                    <a:pt x="96174" y="9628"/>
                  </a:cubicBezTo>
                  <a:cubicBezTo>
                    <a:pt x="95903" y="9628"/>
                    <a:pt x="95689" y="9745"/>
                    <a:pt x="95671" y="10027"/>
                  </a:cubicBezTo>
                  <a:cubicBezTo>
                    <a:pt x="95666" y="10128"/>
                    <a:pt x="95624" y="10169"/>
                    <a:pt x="95556" y="10169"/>
                  </a:cubicBezTo>
                  <a:cubicBezTo>
                    <a:pt x="95280" y="10169"/>
                    <a:pt x="94578" y="9480"/>
                    <a:pt x="94167" y="9335"/>
                  </a:cubicBezTo>
                  <a:cubicBezTo>
                    <a:pt x="94135" y="9322"/>
                    <a:pt x="94099" y="9316"/>
                    <a:pt x="94060" y="9316"/>
                  </a:cubicBezTo>
                  <a:close/>
                  <a:moveTo>
                    <a:pt x="100331" y="10524"/>
                  </a:moveTo>
                  <a:cubicBezTo>
                    <a:pt x="100077" y="10524"/>
                    <a:pt x="99687" y="11145"/>
                    <a:pt x="99915" y="11171"/>
                  </a:cubicBezTo>
                  <a:cubicBezTo>
                    <a:pt x="100487" y="11201"/>
                    <a:pt x="100757" y="11742"/>
                    <a:pt x="101841" y="11803"/>
                  </a:cubicBezTo>
                  <a:cubicBezTo>
                    <a:pt x="102002" y="11816"/>
                    <a:pt x="102156" y="11822"/>
                    <a:pt x="102302" y="11822"/>
                  </a:cubicBezTo>
                  <a:cubicBezTo>
                    <a:pt x="103141" y="11822"/>
                    <a:pt x="103716" y="11621"/>
                    <a:pt x="103767" y="11442"/>
                  </a:cubicBezTo>
                  <a:cubicBezTo>
                    <a:pt x="103791" y="11249"/>
                    <a:pt x="103122" y="10999"/>
                    <a:pt x="102699" y="10999"/>
                  </a:cubicBezTo>
                  <a:cubicBezTo>
                    <a:pt x="102593" y="10999"/>
                    <a:pt x="102503" y="11014"/>
                    <a:pt x="102443" y="11050"/>
                  </a:cubicBezTo>
                  <a:cubicBezTo>
                    <a:pt x="102394" y="11079"/>
                    <a:pt x="102347" y="11091"/>
                    <a:pt x="102301" y="11091"/>
                  </a:cubicBezTo>
                  <a:cubicBezTo>
                    <a:pt x="102094" y="11091"/>
                    <a:pt x="101902" y="10850"/>
                    <a:pt x="101659" y="10850"/>
                  </a:cubicBezTo>
                  <a:cubicBezTo>
                    <a:pt x="101620" y="10850"/>
                    <a:pt x="101581" y="10856"/>
                    <a:pt x="101540" y="10870"/>
                  </a:cubicBezTo>
                  <a:cubicBezTo>
                    <a:pt x="101419" y="10907"/>
                    <a:pt x="101286" y="10927"/>
                    <a:pt x="101156" y="10927"/>
                  </a:cubicBezTo>
                  <a:cubicBezTo>
                    <a:pt x="100864" y="10927"/>
                    <a:pt x="100581" y="10827"/>
                    <a:pt x="100457" y="10599"/>
                  </a:cubicBezTo>
                  <a:cubicBezTo>
                    <a:pt x="100423" y="10546"/>
                    <a:pt x="100380" y="10524"/>
                    <a:pt x="100331" y="10524"/>
                  </a:cubicBezTo>
                  <a:close/>
                  <a:moveTo>
                    <a:pt x="73243" y="12070"/>
                  </a:moveTo>
                  <a:cubicBezTo>
                    <a:pt x="73012" y="12070"/>
                    <a:pt x="72768" y="12136"/>
                    <a:pt x="72709" y="12224"/>
                  </a:cubicBezTo>
                  <a:cubicBezTo>
                    <a:pt x="72649" y="12405"/>
                    <a:pt x="72107" y="12405"/>
                    <a:pt x="72258" y="12585"/>
                  </a:cubicBezTo>
                  <a:cubicBezTo>
                    <a:pt x="72311" y="12660"/>
                    <a:pt x="72506" y="12697"/>
                    <a:pt x="72737" y="12697"/>
                  </a:cubicBezTo>
                  <a:cubicBezTo>
                    <a:pt x="73152" y="12697"/>
                    <a:pt x="73683" y="12577"/>
                    <a:pt x="73702" y="12344"/>
                  </a:cubicBezTo>
                  <a:cubicBezTo>
                    <a:pt x="73718" y="12144"/>
                    <a:pt x="73487" y="12070"/>
                    <a:pt x="73243" y="12070"/>
                  </a:cubicBezTo>
                  <a:close/>
                  <a:moveTo>
                    <a:pt x="95637" y="12510"/>
                  </a:moveTo>
                  <a:cubicBezTo>
                    <a:pt x="95300" y="12510"/>
                    <a:pt x="94726" y="12792"/>
                    <a:pt x="95100" y="12946"/>
                  </a:cubicBezTo>
                  <a:cubicBezTo>
                    <a:pt x="95258" y="12999"/>
                    <a:pt x="95388" y="13023"/>
                    <a:pt x="95493" y="13023"/>
                  </a:cubicBezTo>
                  <a:cubicBezTo>
                    <a:pt x="95746" y="13023"/>
                    <a:pt x="95852" y="12880"/>
                    <a:pt x="95852" y="12645"/>
                  </a:cubicBezTo>
                  <a:cubicBezTo>
                    <a:pt x="95852" y="12548"/>
                    <a:pt x="95760" y="12510"/>
                    <a:pt x="95637" y="12510"/>
                  </a:cubicBezTo>
                  <a:close/>
                  <a:moveTo>
                    <a:pt x="96545" y="13178"/>
                  </a:moveTo>
                  <a:cubicBezTo>
                    <a:pt x="95880" y="13178"/>
                    <a:pt x="95287" y="13705"/>
                    <a:pt x="95371" y="13789"/>
                  </a:cubicBezTo>
                  <a:cubicBezTo>
                    <a:pt x="95426" y="13899"/>
                    <a:pt x="97002" y="14187"/>
                    <a:pt x="97610" y="14187"/>
                  </a:cubicBezTo>
                  <a:cubicBezTo>
                    <a:pt x="97664" y="14187"/>
                    <a:pt x="97711" y="14185"/>
                    <a:pt x="97748" y="14180"/>
                  </a:cubicBezTo>
                  <a:cubicBezTo>
                    <a:pt x="98139" y="14090"/>
                    <a:pt x="97387" y="13307"/>
                    <a:pt x="96695" y="13187"/>
                  </a:cubicBezTo>
                  <a:cubicBezTo>
                    <a:pt x="96645" y="13181"/>
                    <a:pt x="96595" y="13178"/>
                    <a:pt x="96545" y="13178"/>
                  </a:cubicBezTo>
                  <a:close/>
                  <a:moveTo>
                    <a:pt x="40809" y="13729"/>
                  </a:moveTo>
                  <a:cubicBezTo>
                    <a:pt x="40297" y="13729"/>
                    <a:pt x="40177" y="14331"/>
                    <a:pt x="40448" y="14361"/>
                  </a:cubicBezTo>
                  <a:cubicBezTo>
                    <a:pt x="40474" y="14363"/>
                    <a:pt x="40504" y="14365"/>
                    <a:pt x="40537" y="14365"/>
                  </a:cubicBezTo>
                  <a:cubicBezTo>
                    <a:pt x="40885" y="14365"/>
                    <a:pt x="41572" y="14227"/>
                    <a:pt x="41681" y="14090"/>
                  </a:cubicBezTo>
                  <a:cubicBezTo>
                    <a:pt x="41802" y="13939"/>
                    <a:pt x="41350" y="13729"/>
                    <a:pt x="40809" y="13729"/>
                  </a:cubicBezTo>
                  <a:close/>
                  <a:moveTo>
                    <a:pt x="47705" y="14301"/>
                  </a:moveTo>
                  <a:cubicBezTo>
                    <a:pt x="47457" y="14301"/>
                    <a:pt x="47062" y="14583"/>
                    <a:pt x="47279" y="14692"/>
                  </a:cubicBezTo>
                  <a:cubicBezTo>
                    <a:pt x="47418" y="14767"/>
                    <a:pt x="47539" y="14804"/>
                    <a:pt x="47635" y="14804"/>
                  </a:cubicBezTo>
                  <a:cubicBezTo>
                    <a:pt x="47807" y="14804"/>
                    <a:pt x="47900" y="14683"/>
                    <a:pt x="47881" y="14451"/>
                  </a:cubicBezTo>
                  <a:cubicBezTo>
                    <a:pt x="47873" y="14343"/>
                    <a:pt x="47800" y="14301"/>
                    <a:pt x="47705" y="14301"/>
                  </a:cubicBezTo>
                  <a:close/>
                  <a:moveTo>
                    <a:pt x="127723" y="16780"/>
                  </a:moveTo>
                  <a:cubicBezTo>
                    <a:pt x="126717" y="16780"/>
                    <a:pt x="125571" y="17481"/>
                    <a:pt x="126067" y="17701"/>
                  </a:cubicBezTo>
                  <a:cubicBezTo>
                    <a:pt x="126162" y="17752"/>
                    <a:pt x="126250" y="17770"/>
                    <a:pt x="126333" y="17770"/>
                  </a:cubicBezTo>
                  <a:cubicBezTo>
                    <a:pt x="126573" y="17770"/>
                    <a:pt x="126773" y="17616"/>
                    <a:pt x="126982" y="17616"/>
                  </a:cubicBezTo>
                  <a:cubicBezTo>
                    <a:pt x="127047" y="17616"/>
                    <a:pt x="127113" y="17631"/>
                    <a:pt x="127181" y="17671"/>
                  </a:cubicBezTo>
                  <a:cubicBezTo>
                    <a:pt x="127277" y="17730"/>
                    <a:pt x="127403" y="17753"/>
                    <a:pt x="127545" y="17753"/>
                  </a:cubicBezTo>
                  <a:cubicBezTo>
                    <a:pt x="127982" y="17753"/>
                    <a:pt x="128563" y="17536"/>
                    <a:pt x="128836" y="17491"/>
                  </a:cubicBezTo>
                  <a:cubicBezTo>
                    <a:pt x="129227" y="17400"/>
                    <a:pt x="129047" y="16949"/>
                    <a:pt x="127993" y="16798"/>
                  </a:cubicBezTo>
                  <a:cubicBezTo>
                    <a:pt x="127905" y="16786"/>
                    <a:pt x="127814" y="16780"/>
                    <a:pt x="127723" y="16780"/>
                  </a:cubicBezTo>
                  <a:close/>
                  <a:moveTo>
                    <a:pt x="38756" y="8137"/>
                  </a:moveTo>
                  <a:cubicBezTo>
                    <a:pt x="38089" y="8137"/>
                    <a:pt x="37192" y="8536"/>
                    <a:pt x="36896" y="8763"/>
                  </a:cubicBezTo>
                  <a:cubicBezTo>
                    <a:pt x="36535" y="9064"/>
                    <a:pt x="35963" y="8823"/>
                    <a:pt x="35602" y="9064"/>
                  </a:cubicBezTo>
                  <a:cubicBezTo>
                    <a:pt x="35362" y="9194"/>
                    <a:pt x="34973" y="9300"/>
                    <a:pt x="34618" y="9300"/>
                  </a:cubicBezTo>
                  <a:cubicBezTo>
                    <a:pt x="34397" y="9300"/>
                    <a:pt x="34188" y="9259"/>
                    <a:pt x="34037" y="9154"/>
                  </a:cubicBezTo>
                  <a:cubicBezTo>
                    <a:pt x="33977" y="9114"/>
                    <a:pt x="33912" y="9097"/>
                    <a:pt x="33844" y="9097"/>
                  </a:cubicBezTo>
                  <a:cubicBezTo>
                    <a:pt x="33529" y="9097"/>
                    <a:pt x="33160" y="9460"/>
                    <a:pt x="32908" y="9460"/>
                  </a:cubicBezTo>
                  <a:cubicBezTo>
                    <a:pt x="32893" y="9460"/>
                    <a:pt x="32878" y="9458"/>
                    <a:pt x="32864" y="9455"/>
                  </a:cubicBezTo>
                  <a:cubicBezTo>
                    <a:pt x="32851" y="9454"/>
                    <a:pt x="32837" y="9453"/>
                    <a:pt x="32824" y="9453"/>
                  </a:cubicBezTo>
                  <a:cubicBezTo>
                    <a:pt x="32545" y="9453"/>
                    <a:pt x="32218" y="9728"/>
                    <a:pt x="31914" y="9728"/>
                  </a:cubicBezTo>
                  <a:cubicBezTo>
                    <a:pt x="31899" y="9728"/>
                    <a:pt x="31885" y="9727"/>
                    <a:pt x="31871" y="9726"/>
                  </a:cubicBezTo>
                  <a:cubicBezTo>
                    <a:pt x="31855" y="9725"/>
                    <a:pt x="31839" y="9724"/>
                    <a:pt x="31822" y="9724"/>
                  </a:cubicBezTo>
                  <a:cubicBezTo>
                    <a:pt x="31479" y="9724"/>
                    <a:pt x="30876" y="10005"/>
                    <a:pt x="30847" y="10178"/>
                  </a:cubicBezTo>
                  <a:cubicBezTo>
                    <a:pt x="30817" y="10358"/>
                    <a:pt x="30245" y="10328"/>
                    <a:pt x="30245" y="10569"/>
                  </a:cubicBezTo>
                  <a:cubicBezTo>
                    <a:pt x="30206" y="10766"/>
                    <a:pt x="30025" y="10885"/>
                    <a:pt x="29837" y="10885"/>
                  </a:cubicBezTo>
                  <a:cubicBezTo>
                    <a:pt x="29737" y="10885"/>
                    <a:pt x="29636" y="10852"/>
                    <a:pt x="29553" y="10779"/>
                  </a:cubicBezTo>
                  <a:cubicBezTo>
                    <a:pt x="29520" y="10751"/>
                    <a:pt x="29484" y="10738"/>
                    <a:pt x="29449" y="10738"/>
                  </a:cubicBezTo>
                  <a:cubicBezTo>
                    <a:pt x="29263" y="10738"/>
                    <a:pt x="29094" y="11098"/>
                    <a:pt x="29373" y="11351"/>
                  </a:cubicBezTo>
                  <a:cubicBezTo>
                    <a:pt x="29704" y="11652"/>
                    <a:pt x="28771" y="11652"/>
                    <a:pt x="28921" y="11833"/>
                  </a:cubicBezTo>
                  <a:cubicBezTo>
                    <a:pt x="29072" y="12013"/>
                    <a:pt x="28590" y="12134"/>
                    <a:pt x="28711" y="12374"/>
                  </a:cubicBezTo>
                  <a:cubicBezTo>
                    <a:pt x="28801" y="12585"/>
                    <a:pt x="28349" y="12675"/>
                    <a:pt x="28018" y="12705"/>
                  </a:cubicBezTo>
                  <a:cubicBezTo>
                    <a:pt x="27687" y="12736"/>
                    <a:pt x="27447" y="13277"/>
                    <a:pt x="27898" y="13277"/>
                  </a:cubicBezTo>
                  <a:cubicBezTo>
                    <a:pt x="28349" y="13277"/>
                    <a:pt x="27657" y="13368"/>
                    <a:pt x="27717" y="13729"/>
                  </a:cubicBezTo>
                  <a:cubicBezTo>
                    <a:pt x="27808" y="14060"/>
                    <a:pt x="26965" y="13849"/>
                    <a:pt x="27025" y="14090"/>
                  </a:cubicBezTo>
                  <a:cubicBezTo>
                    <a:pt x="27055" y="14331"/>
                    <a:pt x="26905" y="14481"/>
                    <a:pt x="26453" y="14481"/>
                  </a:cubicBezTo>
                  <a:cubicBezTo>
                    <a:pt x="26002" y="14481"/>
                    <a:pt x="26664" y="14782"/>
                    <a:pt x="26724" y="14993"/>
                  </a:cubicBezTo>
                  <a:cubicBezTo>
                    <a:pt x="26754" y="15233"/>
                    <a:pt x="26273" y="15083"/>
                    <a:pt x="26213" y="15504"/>
                  </a:cubicBezTo>
                  <a:cubicBezTo>
                    <a:pt x="26183" y="15896"/>
                    <a:pt x="25370" y="15504"/>
                    <a:pt x="25250" y="16016"/>
                  </a:cubicBezTo>
                  <a:cubicBezTo>
                    <a:pt x="25129" y="16558"/>
                    <a:pt x="25671" y="16437"/>
                    <a:pt x="26032" y="16467"/>
                  </a:cubicBezTo>
                  <a:cubicBezTo>
                    <a:pt x="26423" y="16497"/>
                    <a:pt x="25912" y="16859"/>
                    <a:pt x="26183" y="17069"/>
                  </a:cubicBezTo>
                  <a:cubicBezTo>
                    <a:pt x="26277" y="17153"/>
                    <a:pt x="26364" y="17193"/>
                    <a:pt x="26430" y="17193"/>
                  </a:cubicBezTo>
                  <a:cubicBezTo>
                    <a:pt x="26553" y="17193"/>
                    <a:pt x="26601" y="17053"/>
                    <a:pt x="26484" y="16798"/>
                  </a:cubicBezTo>
                  <a:cubicBezTo>
                    <a:pt x="26438" y="16707"/>
                    <a:pt x="26478" y="16670"/>
                    <a:pt x="26558" y="16670"/>
                  </a:cubicBezTo>
                  <a:cubicBezTo>
                    <a:pt x="26796" y="16670"/>
                    <a:pt x="27386" y="17002"/>
                    <a:pt x="27116" y="17250"/>
                  </a:cubicBezTo>
                  <a:cubicBezTo>
                    <a:pt x="26785" y="17611"/>
                    <a:pt x="27687" y="17791"/>
                    <a:pt x="28139" y="17791"/>
                  </a:cubicBezTo>
                  <a:cubicBezTo>
                    <a:pt x="28440" y="17791"/>
                    <a:pt x="29236" y="17952"/>
                    <a:pt x="29751" y="17952"/>
                  </a:cubicBezTo>
                  <a:cubicBezTo>
                    <a:pt x="30008" y="17952"/>
                    <a:pt x="30195" y="17912"/>
                    <a:pt x="30215" y="17791"/>
                  </a:cubicBezTo>
                  <a:cubicBezTo>
                    <a:pt x="30245" y="17400"/>
                    <a:pt x="29613" y="17370"/>
                    <a:pt x="29132" y="16859"/>
                  </a:cubicBezTo>
                  <a:cubicBezTo>
                    <a:pt x="28620" y="16317"/>
                    <a:pt x="28289" y="15504"/>
                    <a:pt x="28831" y="15143"/>
                  </a:cubicBezTo>
                  <a:cubicBezTo>
                    <a:pt x="29343" y="14812"/>
                    <a:pt x="28891" y="14632"/>
                    <a:pt x="29463" y="14210"/>
                  </a:cubicBezTo>
                  <a:cubicBezTo>
                    <a:pt x="30035" y="13789"/>
                    <a:pt x="29704" y="13458"/>
                    <a:pt x="30155" y="13398"/>
                  </a:cubicBezTo>
                  <a:cubicBezTo>
                    <a:pt x="30607" y="13307"/>
                    <a:pt x="30125" y="12946"/>
                    <a:pt x="30576" y="12856"/>
                  </a:cubicBezTo>
                  <a:cubicBezTo>
                    <a:pt x="30938" y="12796"/>
                    <a:pt x="31178" y="12465"/>
                    <a:pt x="31088" y="12104"/>
                  </a:cubicBezTo>
                  <a:cubicBezTo>
                    <a:pt x="30998" y="11923"/>
                    <a:pt x="31570" y="12104"/>
                    <a:pt x="31840" y="11833"/>
                  </a:cubicBezTo>
                  <a:cubicBezTo>
                    <a:pt x="32081" y="11592"/>
                    <a:pt x="32683" y="11742"/>
                    <a:pt x="32894" y="11351"/>
                  </a:cubicBezTo>
                  <a:cubicBezTo>
                    <a:pt x="33074" y="10990"/>
                    <a:pt x="35783" y="10027"/>
                    <a:pt x="37288" y="9666"/>
                  </a:cubicBezTo>
                  <a:cubicBezTo>
                    <a:pt x="38792" y="9275"/>
                    <a:pt x="39876" y="8673"/>
                    <a:pt x="39304" y="8282"/>
                  </a:cubicBezTo>
                  <a:cubicBezTo>
                    <a:pt x="39164" y="8179"/>
                    <a:pt x="38972" y="8137"/>
                    <a:pt x="38756" y="8137"/>
                  </a:cubicBezTo>
                  <a:close/>
                  <a:moveTo>
                    <a:pt x="23486" y="19548"/>
                  </a:moveTo>
                  <a:cubicBezTo>
                    <a:pt x="23003" y="19548"/>
                    <a:pt x="22469" y="19973"/>
                    <a:pt x="22872" y="20350"/>
                  </a:cubicBezTo>
                  <a:cubicBezTo>
                    <a:pt x="23034" y="20503"/>
                    <a:pt x="23191" y="20561"/>
                    <a:pt x="23341" y="20561"/>
                  </a:cubicBezTo>
                  <a:cubicBezTo>
                    <a:pt x="23778" y="20561"/>
                    <a:pt x="24153" y="20071"/>
                    <a:pt x="24377" y="20049"/>
                  </a:cubicBezTo>
                  <a:cubicBezTo>
                    <a:pt x="24678" y="20018"/>
                    <a:pt x="24196" y="19657"/>
                    <a:pt x="23655" y="19567"/>
                  </a:cubicBezTo>
                  <a:cubicBezTo>
                    <a:pt x="23600" y="19554"/>
                    <a:pt x="23544" y="19548"/>
                    <a:pt x="23486" y="19548"/>
                  </a:cubicBezTo>
                  <a:close/>
                  <a:moveTo>
                    <a:pt x="1410" y="37161"/>
                  </a:moveTo>
                  <a:cubicBezTo>
                    <a:pt x="1314" y="37161"/>
                    <a:pt x="1199" y="37186"/>
                    <a:pt x="1084" y="37203"/>
                  </a:cubicBezTo>
                  <a:cubicBezTo>
                    <a:pt x="903" y="37233"/>
                    <a:pt x="1174" y="37233"/>
                    <a:pt x="1204" y="37323"/>
                  </a:cubicBezTo>
                  <a:cubicBezTo>
                    <a:pt x="1234" y="37383"/>
                    <a:pt x="783" y="37534"/>
                    <a:pt x="993" y="37714"/>
                  </a:cubicBezTo>
                  <a:cubicBezTo>
                    <a:pt x="1089" y="37826"/>
                    <a:pt x="973" y="37895"/>
                    <a:pt x="843" y="37895"/>
                  </a:cubicBezTo>
                  <a:cubicBezTo>
                    <a:pt x="728" y="37895"/>
                    <a:pt x="602" y="37841"/>
                    <a:pt x="602" y="37714"/>
                  </a:cubicBezTo>
                  <a:cubicBezTo>
                    <a:pt x="602" y="37623"/>
                    <a:pt x="520" y="37588"/>
                    <a:pt x="417" y="37588"/>
                  </a:cubicBezTo>
                  <a:cubicBezTo>
                    <a:pt x="250" y="37588"/>
                    <a:pt x="30" y="37681"/>
                    <a:pt x="30" y="37774"/>
                  </a:cubicBezTo>
                  <a:cubicBezTo>
                    <a:pt x="60" y="37835"/>
                    <a:pt x="30" y="37895"/>
                    <a:pt x="0" y="37955"/>
                  </a:cubicBezTo>
                  <a:lnTo>
                    <a:pt x="421" y="38105"/>
                  </a:lnTo>
                  <a:cubicBezTo>
                    <a:pt x="966" y="38180"/>
                    <a:pt x="1531" y="38234"/>
                    <a:pt x="2084" y="38234"/>
                  </a:cubicBezTo>
                  <a:cubicBezTo>
                    <a:pt x="2202" y="38234"/>
                    <a:pt x="2321" y="38231"/>
                    <a:pt x="2438" y="38226"/>
                  </a:cubicBezTo>
                  <a:cubicBezTo>
                    <a:pt x="2438" y="38105"/>
                    <a:pt x="2498" y="37804"/>
                    <a:pt x="2498" y="37684"/>
                  </a:cubicBezTo>
                  <a:cubicBezTo>
                    <a:pt x="2498" y="37578"/>
                    <a:pt x="2219" y="37403"/>
                    <a:pt x="2090" y="37403"/>
                  </a:cubicBezTo>
                  <a:cubicBezTo>
                    <a:pt x="2072" y="37403"/>
                    <a:pt x="2058" y="37406"/>
                    <a:pt x="2047" y="37413"/>
                  </a:cubicBezTo>
                  <a:cubicBezTo>
                    <a:pt x="1866" y="37413"/>
                    <a:pt x="1685" y="37353"/>
                    <a:pt x="1595" y="37233"/>
                  </a:cubicBezTo>
                  <a:cubicBezTo>
                    <a:pt x="1554" y="37178"/>
                    <a:pt x="1489" y="37161"/>
                    <a:pt x="1410" y="37161"/>
                  </a:cubicBezTo>
                  <a:close/>
                  <a:moveTo>
                    <a:pt x="70619" y="36894"/>
                  </a:moveTo>
                  <a:cubicBezTo>
                    <a:pt x="70633" y="36894"/>
                    <a:pt x="70648" y="36897"/>
                    <a:pt x="70663" y="36902"/>
                  </a:cubicBezTo>
                  <a:cubicBezTo>
                    <a:pt x="70903" y="36962"/>
                    <a:pt x="70422" y="39129"/>
                    <a:pt x="69760" y="39730"/>
                  </a:cubicBezTo>
                  <a:cubicBezTo>
                    <a:pt x="69098" y="40332"/>
                    <a:pt x="67744" y="40423"/>
                    <a:pt x="67744" y="40934"/>
                  </a:cubicBezTo>
                  <a:cubicBezTo>
                    <a:pt x="67744" y="41293"/>
                    <a:pt x="66857" y="41535"/>
                    <a:pt x="66356" y="41535"/>
                  </a:cubicBezTo>
                  <a:cubicBezTo>
                    <a:pt x="66185" y="41535"/>
                    <a:pt x="66059" y="41507"/>
                    <a:pt x="66028" y="41446"/>
                  </a:cubicBezTo>
                  <a:cubicBezTo>
                    <a:pt x="65908" y="41235"/>
                    <a:pt x="67202" y="41235"/>
                    <a:pt x="67533" y="40513"/>
                  </a:cubicBezTo>
                  <a:cubicBezTo>
                    <a:pt x="67864" y="39791"/>
                    <a:pt x="69038" y="39460"/>
                    <a:pt x="69639" y="38527"/>
                  </a:cubicBezTo>
                  <a:cubicBezTo>
                    <a:pt x="70208" y="37616"/>
                    <a:pt x="70374" y="36894"/>
                    <a:pt x="70619" y="36894"/>
                  </a:cubicBezTo>
                  <a:close/>
                  <a:moveTo>
                    <a:pt x="96967" y="38567"/>
                  </a:moveTo>
                  <a:cubicBezTo>
                    <a:pt x="96950" y="38567"/>
                    <a:pt x="96930" y="38573"/>
                    <a:pt x="96905" y="38587"/>
                  </a:cubicBezTo>
                  <a:cubicBezTo>
                    <a:pt x="96635" y="38737"/>
                    <a:pt x="96905" y="39369"/>
                    <a:pt x="96544" y="39430"/>
                  </a:cubicBezTo>
                  <a:cubicBezTo>
                    <a:pt x="96153" y="39460"/>
                    <a:pt x="96544" y="39791"/>
                    <a:pt x="96394" y="40272"/>
                  </a:cubicBezTo>
                  <a:cubicBezTo>
                    <a:pt x="96243" y="40784"/>
                    <a:pt x="96454" y="41416"/>
                    <a:pt x="96635" y="41867"/>
                  </a:cubicBezTo>
                  <a:cubicBezTo>
                    <a:pt x="96845" y="42319"/>
                    <a:pt x="96394" y="44546"/>
                    <a:pt x="96574" y="44907"/>
                  </a:cubicBezTo>
                  <a:cubicBezTo>
                    <a:pt x="96755" y="45298"/>
                    <a:pt x="96273" y="46953"/>
                    <a:pt x="96424" y="47134"/>
                  </a:cubicBezTo>
                  <a:cubicBezTo>
                    <a:pt x="96442" y="47156"/>
                    <a:pt x="96458" y="47166"/>
                    <a:pt x="96473" y="47166"/>
                  </a:cubicBezTo>
                  <a:cubicBezTo>
                    <a:pt x="96573" y="47166"/>
                    <a:pt x="96593" y="46671"/>
                    <a:pt x="96935" y="46592"/>
                  </a:cubicBezTo>
                  <a:cubicBezTo>
                    <a:pt x="96959" y="46589"/>
                    <a:pt x="96981" y="46587"/>
                    <a:pt x="97001" y="46587"/>
                  </a:cubicBezTo>
                  <a:cubicBezTo>
                    <a:pt x="97358" y="46587"/>
                    <a:pt x="97372" y="47052"/>
                    <a:pt x="97628" y="47194"/>
                  </a:cubicBezTo>
                  <a:cubicBezTo>
                    <a:pt x="97649" y="47206"/>
                    <a:pt x="97667" y="47211"/>
                    <a:pt x="97683" y="47211"/>
                  </a:cubicBezTo>
                  <a:cubicBezTo>
                    <a:pt x="97868" y="47211"/>
                    <a:pt x="97737" y="46499"/>
                    <a:pt x="97503" y="46499"/>
                  </a:cubicBezTo>
                  <a:cubicBezTo>
                    <a:pt x="97495" y="46499"/>
                    <a:pt x="97486" y="46500"/>
                    <a:pt x="97477" y="46502"/>
                  </a:cubicBezTo>
                  <a:cubicBezTo>
                    <a:pt x="97471" y="46502"/>
                    <a:pt x="97464" y="46503"/>
                    <a:pt x="97458" y="46503"/>
                  </a:cubicBezTo>
                  <a:cubicBezTo>
                    <a:pt x="97199" y="46503"/>
                    <a:pt x="97053" y="45920"/>
                    <a:pt x="96935" y="45539"/>
                  </a:cubicBezTo>
                  <a:cubicBezTo>
                    <a:pt x="96845" y="45178"/>
                    <a:pt x="97176" y="44726"/>
                    <a:pt x="97176" y="44275"/>
                  </a:cubicBezTo>
                  <a:cubicBezTo>
                    <a:pt x="97176" y="44032"/>
                    <a:pt x="97351" y="43919"/>
                    <a:pt x="97564" y="43919"/>
                  </a:cubicBezTo>
                  <a:cubicBezTo>
                    <a:pt x="97746" y="43919"/>
                    <a:pt x="97956" y="44002"/>
                    <a:pt x="98109" y="44154"/>
                  </a:cubicBezTo>
                  <a:cubicBezTo>
                    <a:pt x="98232" y="44277"/>
                    <a:pt x="98321" y="44325"/>
                    <a:pt x="98378" y="44325"/>
                  </a:cubicBezTo>
                  <a:cubicBezTo>
                    <a:pt x="98474" y="44325"/>
                    <a:pt x="98475" y="44186"/>
                    <a:pt x="98380" y="44034"/>
                  </a:cubicBezTo>
                  <a:cubicBezTo>
                    <a:pt x="98230" y="43823"/>
                    <a:pt x="97778" y="41897"/>
                    <a:pt x="97537" y="41235"/>
                  </a:cubicBezTo>
                  <a:cubicBezTo>
                    <a:pt x="97297" y="40543"/>
                    <a:pt x="97929" y="39881"/>
                    <a:pt x="97447" y="39520"/>
                  </a:cubicBezTo>
                  <a:cubicBezTo>
                    <a:pt x="96981" y="39218"/>
                    <a:pt x="97139" y="38567"/>
                    <a:pt x="96967" y="38567"/>
                  </a:cubicBezTo>
                  <a:close/>
                  <a:moveTo>
                    <a:pt x="66148" y="6837"/>
                  </a:moveTo>
                  <a:cubicBezTo>
                    <a:pt x="65787" y="6897"/>
                    <a:pt x="65426" y="6957"/>
                    <a:pt x="65095" y="7048"/>
                  </a:cubicBezTo>
                  <a:cubicBezTo>
                    <a:pt x="64523" y="7168"/>
                    <a:pt x="64493" y="7589"/>
                    <a:pt x="64222" y="7740"/>
                  </a:cubicBezTo>
                  <a:cubicBezTo>
                    <a:pt x="63952" y="7890"/>
                    <a:pt x="63440" y="8372"/>
                    <a:pt x="63651" y="8402"/>
                  </a:cubicBezTo>
                  <a:cubicBezTo>
                    <a:pt x="63891" y="8462"/>
                    <a:pt x="63771" y="8613"/>
                    <a:pt x="63801" y="8763"/>
                  </a:cubicBezTo>
                  <a:cubicBezTo>
                    <a:pt x="63824" y="8880"/>
                    <a:pt x="63721" y="8924"/>
                    <a:pt x="63547" y="8924"/>
                  </a:cubicBezTo>
                  <a:cubicBezTo>
                    <a:pt x="63497" y="8924"/>
                    <a:pt x="63441" y="8920"/>
                    <a:pt x="63380" y="8914"/>
                  </a:cubicBezTo>
                  <a:cubicBezTo>
                    <a:pt x="63296" y="8893"/>
                    <a:pt x="63121" y="8879"/>
                    <a:pt x="62928" y="8879"/>
                  </a:cubicBezTo>
                  <a:cubicBezTo>
                    <a:pt x="62568" y="8879"/>
                    <a:pt x="62146" y="8927"/>
                    <a:pt x="62146" y="9064"/>
                  </a:cubicBezTo>
                  <a:cubicBezTo>
                    <a:pt x="62146" y="9245"/>
                    <a:pt x="62718" y="9365"/>
                    <a:pt x="62688" y="9455"/>
                  </a:cubicBezTo>
                  <a:cubicBezTo>
                    <a:pt x="62672" y="9487"/>
                    <a:pt x="62636" y="9500"/>
                    <a:pt x="62588" y="9500"/>
                  </a:cubicBezTo>
                  <a:cubicBezTo>
                    <a:pt x="62452" y="9500"/>
                    <a:pt x="62219" y="9394"/>
                    <a:pt x="62086" y="9305"/>
                  </a:cubicBezTo>
                  <a:cubicBezTo>
                    <a:pt x="62024" y="9278"/>
                    <a:pt x="61948" y="9265"/>
                    <a:pt x="61867" y="9265"/>
                  </a:cubicBezTo>
                  <a:cubicBezTo>
                    <a:pt x="61673" y="9265"/>
                    <a:pt x="61457" y="9345"/>
                    <a:pt x="61394" y="9515"/>
                  </a:cubicBezTo>
                  <a:cubicBezTo>
                    <a:pt x="61363" y="9621"/>
                    <a:pt x="61258" y="9658"/>
                    <a:pt x="61149" y="9658"/>
                  </a:cubicBezTo>
                  <a:cubicBezTo>
                    <a:pt x="61040" y="9658"/>
                    <a:pt x="60927" y="9621"/>
                    <a:pt x="60882" y="9576"/>
                  </a:cubicBezTo>
                  <a:cubicBezTo>
                    <a:pt x="60864" y="9567"/>
                    <a:pt x="60844" y="9563"/>
                    <a:pt x="60822" y="9563"/>
                  </a:cubicBezTo>
                  <a:cubicBezTo>
                    <a:pt x="60715" y="9563"/>
                    <a:pt x="60563" y="9648"/>
                    <a:pt x="60442" y="9648"/>
                  </a:cubicBezTo>
                  <a:cubicBezTo>
                    <a:pt x="60416" y="9648"/>
                    <a:pt x="60392" y="9645"/>
                    <a:pt x="60370" y="9636"/>
                  </a:cubicBezTo>
                  <a:cubicBezTo>
                    <a:pt x="60220" y="9546"/>
                    <a:pt x="60731" y="9335"/>
                    <a:pt x="60581" y="9154"/>
                  </a:cubicBezTo>
                  <a:cubicBezTo>
                    <a:pt x="60539" y="9113"/>
                    <a:pt x="60468" y="9094"/>
                    <a:pt x="60385" y="9094"/>
                  </a:cubicBezTo>
                  <a:cubicBezTo>
                    <a:pt x="60170" y="9094"/>
                    <a:pt x="59880" y="9221"/>
                    <a:pt x="59859" y="9395"/>
                  </a:cubicBezTo>
                  <a:cubicBezTo>
                    <a:pt x="59851" y="9453"/>
                    <a:pt x="59823" y="9474"/>
                    <a:pt x="59783" y="9474"/>
                  </a:cubicBezTo>
                  <a:cubicBezTo>
                    <a:pt x="59669" y="9474"/>
                    <a:pt x="59455" y="9298"/>
                    <a:pt x="59347" y="9298"/>
                  </a:cubicBezTo>
                  <a:cubicBezTo>
                    <a:pt x="59336" y="9298"/>
                    <a:pt x="59326" y="9300"/>
                    <a:pt x="59317" y="9305"/>
                  </a:cubicBezTo>
                  <a:lnTo>
                    <a:pt x="58805" y="9546"/>
                  </a:lnTo>
                  <a:cubicBezTo>
                    <a:pt x="58745" y="9572"/>
                    <a:pt x="58678" y="9581"/>
                    <a:pt x="58608" y="9581"/>
                  </a:cubicBezTo>
                  <a:cubicBezTo>
                    <a:pt x="58469" y="9581"/>
                    <a:pt x="58323" y="9546"/>
                    <a:pt x="58215" y="9546"/>
                  </a:cubicBezTo>
                  <a:cubicBezTo>
                    <a:pt x="58133" y="9546"/>
                    <a:pt x="58073" y="9566"/>
                    <a:pt x="58053" y="9636"/>
                  </a:cubicBezTo>
                  <a:cubicBezTo>
                    <a:pt x="57963" y="9816"/>
                    <a:pt x="58504" y="9877"/>
                    <a:pt x="58504" y="9967"/>
                  </a:cubicBezTo>
                  <a:cubicBezTo>
                    <a:pt x="58504" y="10027"/>
                    <a:pt x="57210" y="10027"/>
                    <a:pt x="57180" y="10147"/>
                  </a:cubicBezTo>
                  <a:cubicBezTo>
                    <a:pt x="57150" y="10268"/>
                    <a:pt x="56729" y="10298"/>
                    <a:pt x="56217" y="10298"/>
                  </a:cubicBezTo>
                  <a:cubicBezTo>
                    <a:pt x="55676" y="10298"/>
                    <a:pt x="55916" y="10569"/>
                    <a:pt x="55465" y="10629"/>
                  </a:cubicBezTo>
                  <a:cubicBezTo>
                    <a:pt x="55013" y="10719"/>
                    <a:pt x="54863" y="10749"/>
                    <a:pt x="54743" y="10930"/>
                  </a:cubicBezTo>
                  <a:cubicBezTo>
                    <a:pt x="54649" y="11061"/>
                    <a:pt x="54497" y="11134"/>
                    <a:pt x="54352" y="11134"/>
                  </a:cubicBezTo>
                  <a:cubicBezTo>
                    <a:pt x="54264" y="11134"/>
                    <a:pt x="54179" y="11107"/>
                    <a:pt x="54111" y="11050"/>
                  </a:cubicBezTo>
                  <a:cubicBezTo>
                    <a:pt x="54078" y="11001"/>
                    <a:pt x="54023" y="10983"/>
                    <a:pt x="53964" y="10983"/>
                  </a:cubicBezTo>
                  <a:cubicBezTo>
                    <a:pt x="53810" y="10983"/>
                    <a:pt x="53635" y="11110"/>
                    <a:pt x="53810" y="11110"/>
                  </a:cubicBezTo>
                  <a:cubicBezTo>
                    <a:pt x="53999" y="11110"/>
                    <a:pt x="53848" y="11330"/>
                    <a:pt x="53728" y="11330"/>
                  </a:cubicBezTo>
                  <a:cubicBezTo>
                    <a:pt x="53714" y="11330"/>
                    <a:pt x="53701" y="11327"/>
                    <a:pt x="53689" y="11321"/>
                  </a:cubicBezTo>
                  <a:cubicBezTo>
                    <a:pt x="53674" y="11309"/>
                    <a:pt x="53653" y="11304"/>
                    <a:pt x="53629" y="11304"/>
                  </a:cubicBezTo>
                  <a:cubicBezTo>
                    <a:pt x="53470" y="11304"/>
                    <a:pt x="53179" y="11532"/>
                    <a:pt x="53388" y="11532"/>
                  </a:cubicBezTo>
                  <a:cubicBezTo>
                    <a:pt x="53599" y="11532"/>
                    <a:pt x="53689" y="11682"/>
                    <a:pt x="53599" y="11803"/>
                  </a:cubicBezTo>
                  <a:cubicBezTo>
                    <a:pt x="53588" y="11825"/>
                    <a:pt x="53561" y="11834"/>
                    <a:pt x="53524" y="11834"/>
                  </a:cubicBezTo>
                  <a:cubicBezTo>
                    <a:pt x="53405" y="11834"/>
                    <a:pt x="53181" y="11741"/>
                    <a:pt x="53039" y="11741"/>
                  </a:cubicBezTo>
                  <a:cubicBezTo>
                    <a:pt x="52996" y="11741"/>
                    <a:pt x="52960" y="11750"/>
                    <a:pt x="52937" y="11773"/>
                  </a:cubicBezTo>
                  <a:cubicBezTo>
                    <a:pt x="52817" y="11863"/>
                    <a:pt x="53148" y="12043"/>
                    <a:pt x="53358" y="12043"/>
                  </a:cubicBezTo>
                  <a:cubicBezTo>
                    <a:pt x="53385" y="12033"/>
                    <a:pt x="53412" y="12028"/>
                    <a:pt x="53440" y="12028"/>
                  </a:cubicBezTo>
                  <a:cubicBezTo>
                    <a:pt x="53567" y="12028"/>
                    <a:pt x="53689" y="12136"/>
                    <a:pt x="53689" y="12284"/>
                  </a:cubicBezTo>
                  <a:cubicBezTo>
                    <a:pt x="53697" y="12323"/>
                    <a:pt x="53668" y="12336"/>
                    <a:pt x="53620" y="12336"/>
                  </a:cubicBezTo>
                  <a:cubicBezTo>
                    <a:pt x="53530" y="12336"/>
                    <a:pt x="53374" y="12293"/>
                    <a:pt x="53256" y="12293"/>
                  </a:cubicBezTo>
                  <a:cubicBezTo>
                    <a:pt x="53193" y="12293"/>
                    <a:pt x="53141" y="12305"/>
                    <a:pt x="53117" y="12344"/>
                  </a:cubicBezTo>
                  <a:cubicBezTo>
                    <a:pt x="53057" y="12495"/>
                    <a:pt x="53208" y="12525"/>
                    <a:pt x="53418" y="12525"/>
                  </a:cubicBezTo>
                  <a:cubicBezTo>
                    <a:pt x="53659" y="12525"/>
                    <a:pt x="53448" y="12645"/>
                    <a:pt x="53689" y="12826"/>
                  </a:cubicBezTo>
                  <a:cubicBezTo>
                    <a:pt x="53689" y="12826"/>
                    <a:pt x="53689" y="12856"/>
                    <a:pt x="53719" y="12856"/>
                  </a:cubicBezTo>
                  <a:cubicBezTo>
                    <a:pt x="53840" y="13006"/>
                    <a:pt x="53599" y="13037"/>
                    <a:pt x="53599" y="13187"/>
                  </a:cubicBezTo>
                  <a:cubicBezTo>
                    <a:pt x="53599" y="13282"/>
                    <a:pt x="53515" y="13341"/>
                    <a:pt x="53453" y="13341"/>
                  </a:cubicBezTo>
                  <a:cubicBezTo>
                    <a:pt x="53417" y="13341"/>
                    <a:pt x="53388" y="13321"/>
                    <a:pt x="53388" y="13277"/>
                  </a:cubicBezTo>
                  <a:cubicBezTo>
                    <a:pt x="53388" y="13207"/>
                    <a:pt x="53186" y="13158"/>
                    <a:pt x="52987" y="13158"/>
                  </a:cubicBezTo>
                  <a:cubicBezTo>
                    <a:pt x="52842" y="13158"/>
                    <a:pt x="52699" y="13184"/>
                    <a:pt x="52636" y="13247"/>
                  </a:cubicBezTo>
                  <a:cubicBezTo>
                    <a:pt x="52540" y="13343"/>
                    <a:pt x="52493" y="13415"/>
                    <a:pt x="52417" y="13415"/>
                  </a:cubicBezTo>
                  <a:cubicBezTo>
                    <a:pt x="52373" y="13415"/>
                    <a:pt x="52321" y="13392"/>
                    <a:pt x="52245" y="13337"/>
                  </a:cubicBezTo>
                  <a:cubicBezTo>
                    <a:pt x="52198" y="13299"/>
                    <a:pt x="52139" y="13284"/>
                    <a:pt x="52067" y="13284"/>
                  </a:cubicBezTo>
                  <a:cubicBezTo>
                    <a:pt x="51861" y="13284"/>
                    <a:pt x="51547" y="13405"/>
                    <a:pt x="51101" y="13428"/>
                  </a:cubicBezTo>
                  <a:cubicBezTo>
                    <a:pt x="50409" y="13428"/>
                    <a:pt x="49717" y="13488"/>
                    <a:pt x="49055" y="13578"/>
                  </a:cubicBezTo>
                  <a:cubicBezTo>
                    <a:pt x="48754" y="13699"/>
                    <a:pt x="48543" y="14090"/>
                    <a:pt x="48784" y="14361"/>
                  </a:cubicBezTo>
                  <a:cubicBezTo>
                    <a:pt x="49055" y="14632"/>
                    <a:pt x="48784" y="14782"/>
                    <a:pt x="48784" y="14932"/>
                  </a:cubicBezTo>
                  <a:cubicBezTo>
                    <a:pt x="48784" y="15083"/>
                    <a:pt x="49506" y="15504"/>
                    <a:pt x="49897" y="15504"/>
                  </a:cubicBezTo>
                  <a:cubicBezTo>
                    <a:pt x="50258" y="15504"/>
                    <a:pt x="50559" y="16016"/>
                    <a:pt x="50349" y="16287"/>
                  </a:cubicBezTo>
                  <a:cubicBezTo>
                    <a:pt x="50290" y="16353"/>
                    <a:pt x="50206" y="16381"/>
                    <a:pt x="50106" y="16381"/>
                  </a:cubicBezTo>
                  <a:cubicBezTo>
                    <a:pt x="49797" y="16381"/>
                    <a:pt x="49336" y="16108"/>
                    <a:pt x="48994" y="15835"/>
                  </a:cubicBezTo>
                  <a:cubicBezTo>
                    <a:pt x="48470" y="15532"/>
                    <a:pt x="47896" y="15380"/>
                    <a:pt x="47340" y="15380"/>
                  </a:cubicBezTo>
                  <a:cubicBezTo>
                    <a:pt x="47289" y="15380"/>
                    <a:pt x="47239" y="15381"/>
                    <a:pt x="47189" y="15384"/>
                  </a:cubicBezTo>
                  <a:cubicBezTo>
                    <a:pt x="47173" y="15385"/>
                    <a:pt x="47158" y="15386"/>
                    <a:pt x="47145" y="15386"/>
                  </a:cubicBezTo>
                  <a:cubicBezTo>
                    <a:pt x="46845" y="15386"/>
                    <a:pt x="47020" y="15083"/>
                    <a:pt x="46617" y="15083"/>
                  </a:cubicBezTo>
                  <a:cubicBezTo>
                    <a:pt x="46196" y="15083"/>
                    <a:pt x="45774" y="15504"/>
                    <a:pt x="46075" y="15504"/>
                  </a:cubicBezTo>
                  <a:cubicBezTo>
                    <a:pt x="46209" y="15504"/>
                    <a:pt x="46325" y="15492"/>
                    <a:pt x="46399" y="15492"/>
                  </a:cubicBezTo>
                  <a:cubicBezTo>
                    <a:pt x="46492" y="15492"/>
                    <a:pt x="46520" y="15511"/>
                    <a:pt x="46436" y="15595"/>
                  </a:cubicBezTo>
                  <a:cubicBezTo>
                    <a:pt x="46286" y="15745"/>
                    <a:pt x="46497" y="15715"/>
                    <a:pt x="46828" y="15865"/>
                  </a:cubicBezTo>
                  <a:cubicBezTo>
                    <a:pt x="47071" y="15967"/>
                    <a:pt x="46877" y="16082"/>
                    <a:pt x="46606" y="16082"/>
                  </a:cubicBezTo>
                  <a:cubicBezTo>
                    <a:pt x="46474" y="16082"/>
                    <a:pt x="46323" y="16055"/>
                    <a:pt x="46196" y="15986"/>
                  </a:cubicBezTo>
                  <a:cubicBezTo>
                    <a:pt x="46084" y="15908"/>
                    <a:pt x="45960" y="15871"/>
                    <a:pt x="45839" y="15871"/>
                  </a:cubicBezTo>
                  <a:cubicBezTo>
                    <a:pt x="45634" y="15871"/>
                    <a:pt x="45437" y="15977"/>
                    <a:pt x="45323" y="16166"/>
                  </a:cubicBezTo>
                  <a:cubicBezTo>
                    <a:pt x="45233" y="16347"/>
                    <a:pt x="45744" y="16889"/>
                    <a:pt x="46376" y="16949"/>
                  </a:cubicBezTo>
                  <a:cubicBezTo>
                    <a:pt x="47038" y="17039"/>
                    <a:pt x="46798" y="17250"/>
                    <a:pt x="47098" y="17370"/>
                  </a:cubicBezTo>
                  <a:cubicBezTo>
                    <a:pt x="47399" y="17491"/>
                    <a:pt x="47189" y="17611"/>
                    <a:pt x="46978" y="17611"/>
                  </a:cubicBezTo>
                  <a:cubicBezTo>
                    <a:pt x="46677" y="17491"/>
                    <a:pt x="46376" y="17340"/>
                    <a:pt x="46075" y="17159"/>
                  </a:cubicBezTo>
                  <a:cubicBezTo>
                    <a:pt x="45971" y="17093"/>
                    <a:pt x="45819" y="17075"/>
                    <a:pt x="45653" y="17075"/>
                  </a:cubicBezTo>
                  <a:cubicBezTo>
                    <a:pt x="45441" y="17075"/>
                    <a:pt x="45206" y="17105"/>
                    <a:pt x="45019" y="17105"/>
                  </a:cubicBezTo>
                  <a:cubicBezTo>
                    <a:pt x="44888" y="17105"/>
                    <a:pt x="44780" y="17090"/>
                    <a:pt x="44721" y="17039"/>
                  </a:cubicBezTo>
                  <a:cubicBezTo>
                    <a:pt x="44540" y="16859"/>
                    <a:pt x="44841" y="16648"/>
                    <a:pt x="44691" y="16497"/>
                  </a:cubicBezTo>
                  <a:cubicBezTo>
                    <a:pt x="44540" y="16347"/>
                    <a:pt x="44661" y="16046"/>
                    <a:pt x="44871" y="15715"/>
                  </a:cubicBezTo>
                  <a:cubicBezTo>
                    <a:pt x="45052" y="15354"/>
                    <a:pt x="44902" y="14932"/>
                    <a:pt x="44540" y="14752"/>
                  </a:cubicBezTo>
                  <a:cubicBezTo>
                    <a:pt x="44495" y="14734"/>
                    <a:pt x="44457" y="14726"/>
                    <a:pt x="44424" y="14726"/>
                  </a:cubicBezTo>
                  <a:cubicBezTo>
                    <a:pt x="44242" y="14726"/>
                    <a:pt x="44253" y="14976"/>
                    <a:pt x="44330" y="15053"/>
                  </a:cubicBezTo>
                  <a:cubicBezTo>
                    <a:pt x="44390" y="15324"/>
                    <a:pt x="44330" y="15625"/>
                    <a:pt x="44119" y="15865"/>
                  </a:cubicBezTo>
                  <a:cubicBezTo>
                    <a:pt x="43908" y="16166"/>
                    <a:pt x="43186" y="16166"/>
                    <a:pt x="43186" y="16407"/>
                  </a:cubicBezTo>
                  <a:cubicBezTo>
                    <a:pt x="43186" y="16618"/>
                    <a:pt x="42705" y="16738"/>
                    <a:pt x="42855" y="16889"/>
                  </a:cubicBezTo>
                  <a:cubicBezTo>
                    <a:pt x="43216" y="17190"/>
                    <a:pt x="43517" y="17551"/>
                    <a:pt x="43758" y="17972"/>
                  </a:cubicBezTo>
                  <a:cubicBezTo>
                    <a:pt x="43878" y="18153"/>
                    <a:pt x="43186" y="18875"/>
                    <a:pt x="43307" y="19296"/>
                  </a:cubicBezTo>
                  <a:cubicBezTo>
                    <a:pt x="43427" y="19718"/>
                    <a:pt x="43186" y="19898"/>
                    <a:pt x="43337" y="20079"/>
                  </a:cubicBezTo>
                  <a:cubicBezTo>
                    <a:pt x="43403" y="20158"/>
                    <a:pt x="43492" y="20173"/>
                    <a:pt x="43587" y="20173"/>
                  </a:cubicBezTo>
                  <a:cubicBezTo>
                    <a:pt x="43647" y="20173"/>
                    <a:pt x="43709" y="20167"/>
                    <a:pt x="43769" y="20167"/>
                  </a:cubicBezTo>
                  <a:cubicBezTo>
                    <a:pt x="43830" y="20167"/>
                    <a:pt x="43888" y="20174"/>
                    <a:pt x="43939" y="20199"/>
                  </a:cubicBezTo>
                  <a:cubicBezTo>
                    <a:pt x="43963" y="20207"/>
                    <a:pt x="43991" y="20211"/>
                    <a:pt x="44020" y="20211"/>
                  </a:cubicBezTo>
                  <a:cubicBezTo>
                    <a:pt x="44205" y="20211"/>
                    <a:pt x="44478" y="20066"/>
                    <a:pt x="44841" y="19988"/>
                  </a:cubicBezTo>
                  <a:cubicBezTo>
                    <a:pt x="44867" y="19985"/>
                    <a:pt x="44895" y="19983"/>
                    <a:pt x="44924" y="19983"/>
                  </a:cubicBezTo>
                  <a:cubicBezTo>
                    <a:pt x="45361" y="19983"/>
                    <a:pt x="46094" y="20387"/>
                    <a:pt x="46376" y="20500"/>
                  </a:cubicBezTo>
                  <a:cubicBezTo>
                    <a:pt x="46677" y="20590"/>
                    <a:pt x="46527" y="20861"/>
                    <a:pt x="46677" y="21132"/>
                  </a:cubicBezTo>
                  <a:cubicBezTo>
                    <a:pt x="46828" y="21403"/>
                    <a:pt x="46316" y="21343"/>
                    <a:pt x="46316" y="21704"/>
                  </a:cubicBezTo>
                  <a:cubicBezTo>
                    <a:pt x="46316" y="22035"/>
                    <a:pt x="47189" y="22185"/>
                    <a:pt x="47219" y="22306"/>
                  </a:cubicBezTo>
                  <a:cubicBezTo>
                    <a:pt x="47229" y="22336"/>
                    <a:pt x="47165" y="22349"/>
                    <a:pt x="47066" y="22349"/>
                  </a:cubicBezTo>
                  <a:cubicBezTo>
                    <a:pt x="46868" y="22349"/>
                    <a:pt x="46527" y="22296"/>
                    <a:pt x="46346" y="22215"/>
                  </a:cubicBezTo>
                  <a:cubicBezTo>
                    <a:pt x="46075" y="22095"/>
                    <a:pt x="46045" y="21794"/>
                    <a:pt x="45985" y="21734"/>
                  </a:cubicBezTo>
                  <a:cubicBezTo>
                    <a:pt x="45895" y="21644"/>
                    <a:pt x="46166" y="21403"/>
                    <a:pt x="46166" y="21162"/>
                  </a:cubicBezTo>
                  <a:cubicBezTo>
                    <a:pt x="46166" y="20951"/>
                    <a:pt x="45895" y="20801"/>
                    <a:pt x="45774" y="20650"/>
                  </a:cubicBezTo>
                  <a:cubicBezTo>
                    <a:pt x="45698" y="20523"/>
                    <a:pt x="45534" y="20330"/>
                    <a:pt x="45358" y="20330"/>
                  </a:cubicBezTo>
                  <a:cubicBezTo>
                    <a:pt x="45326" y="20330"/>
                    <a:pt x="45294" y="20336"/>
                    <a:pt x="45263" y="20350"/>
                  </a:cubicBezTo>
                  <a:cubicBezTo>
                    <a:pt x="45022" y="20410"/>
                    <a:pt x="44270" y="20440"/>
                    <a:pt x="44059" y="20650"/>
                  </a:cubicBezTo>
                  <a:cubicBezTo>
                    <a:pt x="43818" y="20831"/>
                    <a:pt x="44089" y="21463"/>
                    <a:pt x="44209" y="21764"/>
                  </a:cubicBezTo>
                  <a:cubicBezTo>
                    <a:pt x="44330" y="22065"/>
                    <a:pt x="43517" y="22456"/>
                    <a:pt x="43577" y="22697"/>
                  </a:cubicBezTo>
                  <a:cubicBezTo>
                    <a:pt x="43607" y="22968"/>
                    <a:pt x="43307" y="23058"/>
                    <a:pt x="42976" y="23239"/>
                  </a:cubicBezTo>
                  <a:cubicBezTo>
                    <a:pt x="42614" y="23419"/>
                    <a:pt x="42223" y="23540"/>
                    <a:pt x="42253" y="23840"/>
                  </a:cubicBezTo>
                  <a:cubicBezTo>
                    <a:pt x="42266" y="23968"/>
                    <a:pt x="42182" y="24014"/>
                    <a:pt x="42062" y="24014"/>
                  </a:cubicBezTo>
                  <a:cubicBezTo>
                    <a:pt x="41899" y="24014"/>
                    <a:pt x="41670" y="23927"/>
                    <a:pt x="41531" y="23840"/>
                  </a:cubicBezTo>
                  <a:cubicBezTo>
                    <a:pt x="41484" y="23807"/>
                    <a:pt x="41430" y="23794"/>
                    <a:pt x="41370" y="23794"/>
                  </a:cubicBezTo>
                  <a:cubicBezTo>
                    <a:pt x="41188" y="23794"/>
                    <a:pt x="40957" y="23910"/>
                    <a:pt x="40731" y="23910"/>
                  </a:cubicBezTo>
                  <a:cubicBezTo>
                    <a:pt x="40697" y="23910"/>
                    <a:pt x="40662" y="23907"/>
                    <a:pt x="40628" y="23901"/>
                  </a:cubicBezTo>
                  <a:cubicBezTo>
                    <a:pt x="40357" y="23876"/>
                    <a:pt x="40288" y="23689"/>
                    <a:pt x="40122" y="23689"/>
                  </a:cubicBezTo>
                  <a:cubicBezTo>
                    <a:pt x="40086" y="23689"/>
                    <a:pt x="40045" y="23698"/>
                    <a:pt x="39996" y="23720"/>
                  </a:cubicBezTo>
                  <a:cubicBezTo>
                    <a:pt x="39946" y="23742"/>
                    <a:pt x="39898" y="23752"/>
                    <a:pt x="39853" y="23752"/>
                  </a:cubicBezTo>
                  <a:cubicBezTo>
                    <a:pt x="39657" y="23752"/>
                    <a:pt x="39526" y="23561"/>
                    <a:pt x="39575" y="23389"/>
                  </a:cubicBezTo>
                  <a:cubicBezTo>
                    <a:pt x="39604" y="23310"/>
                    <a:pt x="39660" y="23280"/>
                    <a:pt x="39722" y="23280"/>
                  </a:cubicBezTo>
                  <a:cubicBezTo>
                    <a:pt x="39850" y="23280"/>
                    <a:pt x="40006" y="23408"/>
                    <a:pt x="40026" y="23509"/>
                  </a:cubicBezTo>
                  <a:cubicBezTo>
                    <a:pt x="40037" y="23564"/>
                    <a:pt x="40072" y="23587"/>
                    <a:pt x="40121" y="23587"/>
                  </a:cubicBezTo>
                  <a:cubicBezTo>
                    <a:pt x="40209" y="23587"/>
                    <a:pt x="40343" y="23515"/>
                    <a:pt x="40478" y="23419"/>
                  </a:cubicBezTo>
                  <a:cubicBezTo>
                    <a:pt x="40522" y="23391"/>
                    <a:pt x="40554" y="23380"/>
                    <a:pt x="40579" y="23380"/>
                  </a:cubicBezTo>
                  <a:cubicBezTo>
                    <a:pt x="40689" y="23380"/>
                    <a:pt x="40659" y="23600"/>
                    <a:pt x="40929" y="23600"/>
                  </a:cubicBezTo>
                  <a:cubicBezTo>
                    <a:pt x="41260" y="23600"/>
                    <a:pt x="41080" y="23449"/>
                    <a:pt x="41350" y="23449"/>
                  </a:cubicBezTo>
                  <a:cubicBezTo>
                    <a:pt x="41621" y="23449"/>
                    <a:pt x="41621" y="23419"/>
                    <a:pt x="41531" y="23269"/>
                  </a:cubicBezTo>
                  <a:cubicBezTo>
                    <a:pt x="41471" y="23118"/>
                    <a:pt x="41712" y="23088"/>
                    <a:pt x="41862" y="22998"/>
                  </a:cubicBezTo>
                  <a:cubicBezTo>
                    <a:pt x="42012" y="22938"/>
                    <a:pt x="41982" y="22667"/>
                    <a:pt x="42133" y="22546"/>
                  </a:cubicBezTo>
                  <a:cubicBezTo>
                    <a:pt x="42283" y="22456"/>
                    <a:pt x="42163" y="22336"/>
                    <a:pt x="42313" y="22336"/>
                  </a:cubicBezTo>
                  <a:cubicBezTo>
                    <a:pt x="42464" y="22336"/>
                    <a:pt x="42584" y="22065"/>
                    <a:pt x="42735" y="22065"/>
                  </a:cubicBezTo>
                  <a:cubicBezTo>
                    <a:pt x="42885" y="22065"/>
                    <a:pt x="42976" y="21794"/>
                    <a:pt x="42855" y="21704"/>
                  </a:cubicBezTo>
                  <a:cubicBezTo>
                    <a:pt x="42795" y="21493"/>
                    <a:pt x="42885" y="21282"/>
                    <a:pt x="43066" y="21162"/>
                  </a:cubicBezTo>
                  <a:cubicBezTo>
                    <a:pt x="43216" y="21132"/>
                    <a:pt x="43216" y="20982"/>
                    <a:pt x="43126" y="20861"/>
                  </a:cubicBezTo>
                  <a:cubicBezTo>
                    <a:pt x="43006" y="20741"/>
                    <a:pt x="42434" y="20410"/>
                    <a:pt x="42464" y="20199"/>
                  </a:cubicBezTo>
                  <a:cubicBezTo>
                    <a:pt x="42524" y="19958"/>
                    <a:pt x="42404" y="19537"/>
                    <a:pt x="42434" y="19356"/>
                  </a:cubicBezTo>
                  <a:cubicBezTo>
                    <a:pt x="42494" y="19116"/>
                    <a:pt x="42494" y="18875"/>
                    <a:pt x="42434" y="18634"/>
                  </a:cubicBezTo>
                  <a:cubicBezTo>
                    <a:pt x="42404" y="18423"/>
                    <a:pt x="42584" y="18183"/>
                    <a:pt x="42614" y="17791"/>
                  </a:cubicBezTo>
                  <a:cubicBezTo>
                    <a:pt x="42675" y="17370"/>
                    <a:pt x="42223" y="16979"/>
                    <a:pt x="41982" y="16919"/>
                  </a:cubicBezTo>
                  <a:cubicBezTo>
                    <a:pt x="41772" y="16828"/>
                    <a:pt x="41922" y="16588"/>
                    <a:pt x="42253" y="16317"/>
                  </a:cubicBezTo>
                  <a:cubicBezTo>
                    <a:pt x="42584" y="16046"/>
                    <a:pt x="42614" y="15143"/>
                    <a:pt x="42584" y="14963"/>
                  </a:cubicBezTo>
                  <a:cubicBezTo>
                    <a:pt x="42554" y="14782"/>
                    <a:pt x="41862" y="14632"/>
                    <a:pt x="41621" y="14632"/>
                  </a:cubicBezTo>
                  <a:cubicBezTo>
                    <a:pt x="41493" y="14639"/>
                    <a:pt x="41365" y="14643"/>
                    <a:pt x="41238" y="14643"/>
                  </a:cubicBezTo>
                  <a:cubicBezTo>
                    <a:pt x="40856" y="14643"/>
                    <a:pt x="40478" y="14609"/>
                    <a:pt x="40117" y="14541"/>
                  </a:cubicBezTo>
                  <a:cubicBezTo>
                    <a:pt x="40103" y="14540"/>
                    <a:pt x="40089" y="14539"/>
                    <a:pt x="40076" y="14539"/>
                  </a:cubicBezTo>
                  <a:cubicBezTo>
                    <a:pt x="39836" y="14539"/>
                    <a:pt x="39751" y="14793"/>
                    <a:pt x="39665" y="14993"/>
                  </a:cubicBezTo>
                  <a:cubicBezTo>
                    <a:pt x="39424" y="15354"/>
                    <a:pt x="39244" y="15745"/>
                    <a:pt x="39123" y="16136"/>
                  </a:cubicBezTo>
                  <a:cubicBezTo>
                    <a:pt x="38973" y="16648"/>
                    <a:pt x="38341" y="16798"/>
                    <a:pt x="38070" y="16919"/>
                  </a:cubicBezTo>
                  <a:cubicBezTo>
                    <a:pt x="37799" y="17039"/>
                    <a:pt x="37619" y="17430"/>
                    <a:pt x="37739" y="17641"/>
                  </a:cubicBezTo>
                  <a:cubicBezTo>
                    <a:pt x="37788" y="17715"/>
                    <a:pt x="37853" y="17733"/>
                    <a:pt x="37921" y="17733"/>
                  </a:cubicBezTo>
                  <a:cubicBezTo>
                    <a:pt x="37986" y="17733"/>
                    <a:pt x="38055" y="17716"/>
                    <a:pt x="38114" y="17716"/>
                  </a:cubicBezTo>
                  <a:cubicBezTo>
                    <a:pt x="38142" y="17716"/>
                    <a:pt x="38168" y="17720"/>
                    <a:pt x="38190" y="17731"/>
                  </a:cubicBezTo>
                  <a:cubicBezTo>
                    <a:pt x="38311" y="17822"/>
                    <a:pt x="38190" y="18303"/>
                    <a:pt x="38100" y="18333"/>
                  </a:cubicBezTo>
                  <a:cubicBezTo>
                    <a:pt x="38040" y="18393"/>
                    <a:pt x="38251" y="18604"/>
                    <a:pt x="38040" y="18724"/>
                  </a:cubicBezTo>
                  <a:cubicBezTo>
                    <a:pt x="37799" y="18845"/>
                    <a:pt x="37649" y="19146"/>
                    <a:pt x="37769" y="19296"/>
                  </a:cubicBezTo>
                  <a:cubicBezTo>
                    <a:pt x="37889" y="19447"/>
                    <a:pt x="38491" y="19477"/>
                    <a:pt x="38702" y="19627"/>
                  </a:cubicBezTo>
                  <a:cubicBezTo>
                    <a:pt x="38943" y="19778"/>
                    <a:pt x="38853" y="20049"/>
                    <a:pt x="39063" y="20259"/>
                  </a:cubicBezTo>
                  <a:cubicBezTo>
                    <a:pt x="39244" y="20500"/>
                    <a:pt x="39424" y="20380"/>
                    <a:pt x="39545" y="20530"/>
                  </a:cubicBezTo>
                  <a:cubicBezTo>
                    <a:pt x="39665" y="20681"/>
                    <a:pt x="39214" y="21282"/>
                    <a:pt x="39063" y="21313"/>
                  </a:cubicBezTo>
                  <a:cubicBezTo>
                    <a:pt x="39060" y="21313"/>
                    <a:pt x="39056" y="21314"/>
                    <a:pt x="39052" y="21314"/>
                  </a:cubicBezTo>
                  <a:cubicBezTo>
                    <a:pt x="38884" y="21314"/>
                    <a:pt x="38247" y="20677"/>
                    <a:pt x="38070" y="20530"/>
                  </a:cubicBezTo>
                  <a:lnTo>
                    <a:pt x="36806" y="19988"/>
                  </a:lnTo>
                  <a:cubicBezTo>
                    <a:pt x="36445" y="19868"/>
                    <a:pt x="36084" y="19718"/>
                    <a:pt x="35753" y="19537"/>
                  </a:cubicBezTo>
                  <a:cubicBezTo>
                    <a:pt x="35368" y="19306"/>
                    <a:pt x="34939" y="19163"/>
                    <a:pt x="34504" y="19163"/>
                  </a:cubicBezTo>
                  <a:cubicBezTo>
                    <a:pt x="34429" y="19163"/>
                    <a:pt x="34354" y="19167"/>
                    <a:pt x="34278" y="19176"/>
                  </a:cubicBezTo>
                  <a:cubicBezTo>
                    <a:pt x="33797" y="19146"/>
                    <a:pt x="33315" y="19086"/>
                    <a:pt x="32834" y="19025"/>
                  </a:cubicBezTo>
                  <a:cubicBezTo>
                    <a:pt x="32823" y="19027"/>
                    <a:pt x="32812" y="19028"/>
                    <a:pt x="32803" y="19028"/>
                  </a:cubicBezTo>
                  <a:cubicBezTo>
                    <a:pt x="32628" y="19028"/>
                    <a:pt x="32663" y="18775"/>
                    <a:pt x="32292" y="18604"/>
                  </a:cubicBezTo>
                  <a:cubicBezTo>
                    <a:pt x="31956" y="18460"/>
                    <a:pt x="31697" y="18259"/>
                    <a:pt x="31469" y="18259"/>
                  </a:cubicBezTo>
                  <a:cubicBezTo>
                    <a:pt x="31410" y="18259"/>
                    <a:pt x="31354" y="18272"/>
                    <a:pt x="31299" y="18303"/>
                  </a:cubicBezTo>
                  <a:cubicBezTo>
                    <a:pt x="31028" y="18454"/>
                    <a:pt x="31148" y="18875"/>
                    <a:pt x="31539" y="18935"/>
                  </a:cubicBezTo>
                  <a:cubicBezTo>
                    <a:pt x="31873" y="19019"/>
                    <a:pt x="31744" y="19179"/>
                    <a:pt x="32056" y="19179"/>
                  </a:cubicBezTo>
                  <a:cubicBezTo>
                    <a:pt x="32081" y="19179"/>
                    <a:pt x="32110" y="19178"/>
                    <a:pt x="32141" y="19176"/>
                  </a:cubicBezTo>
                  <a:cubicBezTo>
                    <a:pt x="32175" y="19173"/>
                    <a:pt x="32206" y="19172"/>
                    <a:pt x="32235" y="19172"/>
                  </a:cubicBezTo>
                  <a:cubicBezTo>
                    <a:pt x="32547" y="19172"/>
                    <a:pt x="32623" y="19317"/>
                    <a:pt x="32623" y="19537"/>
                  </a:cubicBezTo>
                  <a:cubicBezTo>
                    <a:pt x="32653" y="19808"/>
                    <a:pt x="32773" y="20049"/>
                    <a:pt x="32984" y="20199"/>
                  </a:cubicBezTo>
                  <a:cubicBezTo>
                    <a:pt x="33135" y="20380"/>
                    <a:pt x="33044" y="20650"/>
                    <a:pt x="32743" y="20650"/>
                  </a:cubicBezTo>
                  <a:cubicBezTo>
                    <a:pt x="32442" y="20650"/>
                    <a:pt x="32051" y="20681"/>
                    <a:pt x="32202" y="20891"/>
                  </a:cubicBezTo>
                  <a:cubicBezTo>
                    <a:pt x="32296" y="21042"/>
                    <a:pt x="32224" y="21110"/>
                    <a:pt x="32084" y="21110"/>
                  </a:cubicBezTo>
                  <a:cubicBezTo>
                    <a:pt x="32000" y="21110"/>
                    <a:pt x="31892" y="21087"/>
                    <a:pt x="31780" y="21042"/>
                  </a:cubicBezTo>
                  <a:cubicBezTo>
                    <a:pt x="31479" y="20951"/>
                    <a:pt x="31630" y="20711"/>
                    <a:pt x="31780" y="20590"/>
                  </a:cubicBezTo>
                  <a:cubicBezTo>
                    <a:pt x="31931" y="20500"/>
                    <a:pt x="31479" y="20289"/>
                    <a:pt x="31299" y="20229"/>
                  </a:cubicBezTo>
                  <a:cubicBezTo>
                    <a:pt x="31286" y="20223"/>
                    <a:pt x="31271" y="20220"/>
                    <a:pt x="31253" y="20220"/>
                  </a:cubicBezTo>
                  <a:cubicBezTo>
                    <a:pt x="31012" y="20220"/>
                    <a:pt x="30319" y="20747"/>
                    <a:pt x="30095" y="20831"/>
                  </a:cubicBezTo>
                  <a:cubicBezTo>
                    <a:pt x="30063" y="20840"/>
                    <a:pt x="30023" y="20844"/>
                    <a:pt x="29977" y="20844"/>
                  </a:cubicBezTo>
                  <a:cubicBezTo>
                    <a:pt x="29794" y="20844"/>
                    <a:pt x="29505" y="20789"/>
                    <a:pt x="29183" y="20789"/>
                  </a:cubicBezTo>
                  <a:cubicBezTo>
                    <a:pt x="29040" y="20789"/>
                    <a:pt x="28890" y="20800"/>
                    <a:pt x="28741" y="20831"/>
                  </a:cubicBezTo>
                  <a:cubicBezTo>
                    <a:pt x="28186" y="20948"/>
                    <a:pt x="28226" y="21404"/>
                    <a:pt x="28037" y="21404"/>
                  </a:cubicBezTo>
                  <a:cubicBezTo>
                    <a:pt x="28031" y="21404"/>
                    <a:pt x="28025" y="21404"/>
                    <a:pt x="28018" y="21403"/>
                  </a:cubicBezTo>
                  <a:cubicBezTo>
                    <a:pt x="27958" y="21383"/>
                    <a:pt x="27848" y="21379"/>
                    <a:pt x="27717" y="21379"/>
                  </a:cubicBezTo>
                  <a:cubicBezTo>
                    <a:pt x="27652" y="21379"/>
                    <a:pt x="27582" y="21380"/>
                    <a:pt x="27511" y="21380"/>
                  </a:cubicBezTo>
                  <a:cubicBezTo>
                    <a:pt x="27296" y="21380"/>
                    <a:pt x="27070" y="21373"/>
                    <a:pt x="26935" y="21313"/>
                  </a:cubicBezTo>
                  <a:cubicBezTo>
                    <a:pt x="26664" y="21192"/>
                    <a:pt x="26905" y="21102"/>
                    <a:pt x="27176" y="21102"/>
                  </a:cubicBezTo>
                  <a:cubicBezTo>
                    <a:pt x="27417" y="21102"/>
                    <a:pt x="27477" y="21012"/>
                    <a:pt x="27356" y="20861"/>
                  </a:cubicBezTo>
                  <a:cubicBezTo>
                    <a:pt x="27236" y="20711"/>
                    <a:pt x="27537" y="20410"/>
                    <a:pt x="27507" y="20289"/>
                  </a:cubicBezTo>
                  <a:cubicBezTo>
                    <a:pt x="27503" y="20278"/>
                    <a:pt x="27486" y="20273"/>
                    <a:pt x="27458" y="20273"/>
                  </a:cubicBezTo>
                  <a:cubicBezTo>
                    <a:pt x="27268" y="20273"/>
                    <a:pt x="26585" y="20519"/>
                    <a:pt x="26453" y="20650"/>
                  </a:cubicBezTo>
                  <a:cubicBezTo>
                    <a:pt x="26303" y="20801"/>
                    <a:pt x="26453" y="20982"/>
                    <a:pt x="26303" y="21102"/>
                  </a:cubicBezTo>
                  <a:cubicBezTo>
                    <a:pt x="26280" y="21116"/>
                    <a:pt x="26260" y="21122"/>
                    <a:pt x="26241" y="21122"/>
                  </a:cubicBezTo>
                  <a:cubicBezTo>
                    <a:pt x="26139" y="21122"/>
                    <a:pt x="26090" y="20938"/>
                    <a:pt x="25912" y="20861"/>
                  </a:cubicBezTo>
                  <a:cubicBezTo>
                    <a:pt x="25280" y="20891"/>
                    <a:pt x="24678" y="21072"/>
                    <a:pt x="24106" y="21403"/>
                  </a:cubicBezTo>
                  <a:cubicBezTo>
                    <a:pt x="23865" y="21704"/>
                    <a:pt x="23354" y="21704"/>
                    <a:pt x="23354" y="21884"/>
                  </a:cubicBezTo>
                  <a:cubicBezTo>
                    <a:pt x="23354" y="22065"/>
                    <a:pt x="22722" y="22035"/>
                    <a:pt x="22511" y="22155"/>
                  </a:cubicBezTo>
                  <a:cubicBezTo>
                    <a:pt x="22270" y="22245"/>
                    <a:pt x="22421" y="22757"/>
                    <a:pt x="22300" y="22968"/>
                  </a:cubicBezTo>
                  <a:cubicBezTo>
                    <a:pt x="22210" y="23209"/>
                    <a:pt x="21247" y="23118"/>
                    <a:pt x="20946" y="23178"/>
                  </a:cubicBezTo>
                  <a:cubicBezTo>
                    <a:pt x="20939" y="23179"/>
                    <a:pt x="20932" y="23180"/>
                    <a:pt x="20925" y="23180"/>
                  </a:cubicBezTo>
                  <a:cubicBezTo>
                    <a:pt x="20642" y="23180"/>
                    <a:pt x="20579" y="22606"/>
                    <a:pt x="20344" y="22577"/>
                  </a:cubicBezTo>
                  <a:cubicBezTo>
                    <a:pt x="20134" y="22516"/>
                    <a:pt x="20254" y="22185"/>
                    <a:pt x="20314" y="22035"/>
                  </a:cubicBezTo>
                  <a:cubicBezTo>
                    <a:pt x="20404" y="21884"/>
                    <a:pt x="20585" y="22035"/>
                    <a:pt x="20886" y="21854"/>
                  </a:cubicBezTo>
                  <a:cubicBezTo>
                    <a:pt x="20973" y="21802"/>
                    <a:pt x="21057" y="21785"/>
                    <a:pt x="21135" y="21785"/>
                  </a:cubicBezTo>
                  <a:cubicBezTo>
                    <a:pt x="21282" y="21785"/>
                    <a:pt x="21408" y="21845"/>
                    <a:pt x="21488" y="21845"/>
                  </a:cubicBezTo>
                  <a:cubicBezTo>
                    <a:pt x="21512" y="21845"/>
                    <a:pt x="21533" y="21839"/>
                    <a:pt x="21548" y="21824"/>
                  </a:cubicBezTo>
                  <a:cubicBezTo>
                    <a:pt x="21668" y="21704"/>
                    <a:pt x="21097" y="21313"/>
                    <a:pt x="21067" y="21072"/>
                  </a:cubicBezTo>
                  <a:cubicBezTo>
                    <a:pt x="21043" y="20861"/>
                    <a:pt x="20673" y="20741"/>
                    <a:pt x="20354" y="20741"/>
                  </a:cubicBezTo>
                  <a:cubicBezTo>
                    <a:pt x="20263" y="20741"/>
                    <a:pt x="20177" y="20751"/>
                    <a:pt x="20103" y="20771"/>
                  </a:cubicBezTo>
                  <a:cubicBezTo>
                    <a:pt x="19985" y="20803"/>
                    <a:pt x="19862" y="20820"/>
                    <a:pt x="19740" y="20820"/>
                  </a:cubicBezTo>
                  <a:cubicBezTo>
                    <a:pt x="19521" y="20820"/>
                    <a:pt x="19303" y="20766"/>
                    <a:pt x="19110" y="20650"/>
                  </a:cubicBezTo>
                  <a:cubicBezTo>
                    <a:pt x="19070" y="20632"/>
                    <a:pt x="19036" y="20624"/>
                    <a:pt x="19010" y="20624"/>
                  </a:cubicBezTo>
                  <a:cubicBezTo>
                    <a:pt x="18864" y="20624"/>
                    <a:pt x="18950" y="20875"/>
                    <a:pt x="19231" y="20951"/>
                  </a:cubicBezTo>
                  <a:cubicBezTo>
                    <a:pt x="19562" y="21012"/>
                    <a:pt x="19411" y="21313"/>
                    <a:pt x="19502" y="21523"/>
                  </a:cubicBezTo>
                  <a:cubicBezTo>
                    <a:pt x="19471" y="21824"/>
                    <a:pt x="19351" y="22125"/>
                    <a:pt x="19140" y="22366"/>
                  </a:cubicBezTo>
                  <a:cubicBezTo>
                    <a:pt x="19005" y="22637"/>
                    <a:pt x="19056" y="22671"/>
                    <a:pt x="19217" y="22671"/>
                  </a:cubicBezTo>
                  <a:cubicBezTo>
                    <a:pt x="19270" y="22671"/>
                    <a:pt x="19336" y="22667"/>
                    <a:pt x="19411" y="22667"/>
                  </a:cubicBezTo>
                  <a:cubicBezTo>
                    <a:pt x="19712" y="22667"/>
                    <a:pt x="19712" y="23088"/>
                    <a:pt x="19712" y="23389"/>
                  </a:cubicBezTo>
                  <a:cubicBezTo>
                    <a:pt x="19712" y="23690"/>
                    <a:pt x="19502" y="23780"/>
                    <a:pt x="19502" y="23991"/>
                  </a:cubicBezTo>
                  <a:cubicBezTo>
                    <a:pt x="19502" y="24053"/>
                    <a:pt x="19483" y="24075"/>
                    <a:pt x="19455" y="24075"/>
                  </a:cubicBezTo>
                  <a:cubicBezTo>
                    <a:pt x="19385" y="24075"/>
                    <a:pt x="19251" y="23946"/>
                    <a:pt x="19157" y="23946"/>
                  </a:cubicBezTo>
                  <a:cubicBezTo>
                    <a:pt x="19140" y="23946"/>
                    <a:pt x="19124" y="23950"/>
                    <a:pt x="19110" y="23961"/>
                  </a:cubicBezTo>
                  <a:cubicBezTo>
                    <a:pt x="19086" y="23973"/>
                    <a:pt x="19065" y="23979"/>
                    <a:pt x="19047" y="23979"/>
                  </a:cubicBezTo>
                  <a:cubicBezTo>
                    <a:pt x="18976" y="23979"/>
                    <a:pt x="18948" y="23888"/>
                    <a:pt x="18900" y="23720"/>
                  </a:cubicBezTo>
                  <a:cubicBezTo>
                    <a:pt x="18809" y="23540"/>
                    <a:pt x="18358" y="23660"/>
                    <a:pt x="18087" y="23570"/>
                  </a:cubicBezTo>
                  <a:cubicBezTo>
                    <a:pt x="18045" y="23559"/>
                    <a:pt x="18007" y="23554"/>
                    <a:pt x="17972" y="23554"/>
                  </a:cubicBezTo>
                  <a:cubicBezTo>
                    <a:pt x="17804" y="23554"/>
                    <a:pt x="17705" y="23667"/>
                    <a:pt x="17606" y="23840"/>
                  </a:cubicBezTo>
                  <a:cubicBezTo>
                    <a:pt x="17395" y="24021"/>
                    <a:pt x="17154" y="24111"/>
                    <a:pt x="16883" y="24141"/>
                  </a:cubicBezTo>
                  <a:cubicBezTo>
                    <a:pt x="16673" y="24172"/>
                    <a:pt x="16342" y="24563"/>
                    <a:pt x="16131" y="24683"/>
                  </a:cubicBezTo>
                  <a:cubicBezTo>
                    <a:pt x="15950" y="24773"/>
                    <a:pt x="15890" y="25074"/>
                    <a:pt x="16191" y="25375"/>
                  </a:cubicBezTo>
                  <a:cubicBezTo>
                    <a:pt x="16372" y="25526"/>
                    <a:pt x="16492" y="25736"/>
                    <a:pt x="16522" y="25977"/>
                  </a:cubicBezTo>
                  <a:cubicBezTo>
                    <a:pt x="16509" y="26045"/>
                    <a:pt x="16336" y="26076"/>
                    <a:pt x="16143" y="26076"/>
                  </a:cubicBezTo>
                  <a:cubicBezTo>
                    <a:pt x="15907" y="26076"/>
                    <a:pt x="15639" y="26030"/>
                    <a:pt x="15589" y="25947"/>
                  </a:cubicBezTo>
                  <a:cubicBezTo>
                    <a:pt x="15386" y="25812"/>
                    <a:pt x="15183" y="25744"/>
                    <a:pt x="14967" y="25744"/>
                  </a:cubicBezTo>
                  <a:cubicBezTo>
                    <a:pt x="14895" y="25744"/>
                    <a:pt x="14822" y="25752"/>
                    <a:pt x="14747" y="25767"/>
                  </a:cubicBezTo>
                  <a:cubicBezTo>
                    <a:pt x="14742" y="25767"/>
                    <a:pt x="14737" y="25768"/>
                    <a:pt x="14732" y="25768"/>
                  </a:cubicBezTo>
                  <a:cubicBezTo>
                    <a:pt x="14542" y="25768"/>
                    <a:pt x="14078" y="25224"/>
                    <a:pt x="13844" y="25195"/>
                  </a:cubicBezTo>
                  <a:cubicBezTo>
                    <a:pt x="13835" y="25193"/>
                    <a:pt x="13826" y="25193"/>
                    <a:pt x="13817" y="25193"/>
                  </a:cubicBezTo>
                  <a:cubicBezTo>
                    <a:pt x="13615" y="25193"/>
                    <a:pt x="13420" y="25502"/>
                    <a:pt x="13362" y="25646"/>
                  </a:cubicBezTo>
                  <a:cubicBezTo>
                    <a:pt x="13272" y="25797"/>
                    <a:pt x="13483" y="25887"/>
                    <a:pt x="13573" y="26098"/>
                  </a:cubicBezTo>
                  <a:cubicBezTo>
                    <a:pt x="13693" y="26338"/>
                    <a:pt x="14145" y="26399"/>
                    <a:pt x="14385" y="26399"/>
                  </a:cubicBezTo>
                  <a:cubicBezTo>
                    <a:pt x="14596" y="26399"/>
                    <a:pt x="14536" y="26730"/>
                    <a:pt x="14446" y="26850"/>
                  </a:cubicBezTo>
                  <a:cubicBezTo>
                    <a:pt x="14403" y="26934"/>
                    <a:pt x="14184" y="27033"/>
                    <a:pt x="14015" y="27033"/>
                  </a:cubicBezTo>
                  <a:cubicBezTo>
                    <a:pt x="13943" y="27033"/>
                    <a:pt x="13880" y="27015"/>
                    <a:pt x="13844" y="26970"/>
                  </a:cubicBezTo>
                  <a:cubicBezTo>
                    <a:pt x="13723" y="26820"/>
                    <a:pt x="13242" y="26970"/>
                    <a:pt x="13212" y="26790"/>
                  </a:cubicBezTo>
                  <a:cubicBezTo>
                    <a:pt x="13137" y="26516"/>
                    <a:pt x="12898" y="26345"/>
                    <a:pt x="12647" y="26345"/>
                  </a:cubicBezTo>
                  <a:cubicBezTo>
                    <a:pt x="12595" y="26345"/>
                    <a:pt x="12542" y="26353"/>
                    <a:pt x="12489" y="26368"/>
                  </a:cubicBezTo>
                  <a:cubicBezTo>
                    <a:pt x="12452" y="26375"/>
                    <a:pt x="12417" y="26378"/>
                    <a:pt x="12385" y="26378"/>
                  </a:cubicBezTo>
                  <a:cubicBezTo>
                    <a:pt x="12116" y="26378"/>
                    <a:pt x="12068" y="26159"/>
                    <a:pt x="12068" y="25917"/>
                  </a:cubicBezTo>
                  <a:cubicBezTo>
                    <a:pt x="12068" y="25646"/>
                    <a:pt x="11888" y="25466"/>
                    <a:pt x="11888" y="25345"/>
                  </a:cubicBezTo>
                  <a:cubicBezTo>
                    <a:pt x="11888" y="25225"/>
                    <a:pt x="11737" y="24924"/>
                    <a:pt x="11918" y="24834"/>
                  </a:cubicBezTo>
                  <a:cubicBezTo>
                    <a:pt x="12128" y="24713"/>
                    <a:pt x="11978" y="24472"/>
                    <a:pt x="11978" y="24292"/>
                  </a:cubicBezTo>
                  <a:cubicBezTo>
                    <a:pt x="11978" y="24111"/>
                    <a:pt x="11677" y="23871"/>
                    <a:pt x="11376" y="23871"/>
                  </a:cubicBezTo>
                  <a:cubicBezTo>
                    <a:pt x="11075" y="23871"/>
                    <a:pt x="11135" y="23570"/>
                    <a:pt x="10864" y="23509"/>
                  </a:cubicBezTo>
                  <a:cubicBezTo>
                    <a:pt x="10563" y="23389"/>
                    <a:pt x="10293" y="23148"/>
                    <a:pt x="10112" y="22877"/>
                  </a:cubicBezTo>
                  <a:cubicBezTo>
                    <a:pt x="10082" y="22727"/>
                    <a:pt x="9721" y="22667"/>
                    <a:pt x="9811" y="22607"/>
                  </a:cubicBezTo>
                  <a:cubicBezTo>
                    <a:pt x="9841" y="22603"/>
                    <a:pt x="9871" y="22601"/>
                    <a:pt x="9901" y="22601"/>
                  </a:cubicBezTo>
                  <a:cubicBezTo>
                    <a:pt x="10111" y="22601"/>
                    <a:pt x="10315" y="22693"/>
                    <a:pt x="10473" y="22877"/>
                  </a:cubicBezTo>
                  <a:cubicBezTo>
                    <a:pt x="10774" y="23118"/>
                    <a:pt x="11135" y="23269"/>
                    <a:pt x="11557" y="23329"/>
                  </a:cubicBezTo>
                  <a:cubicBezTo>
                    <a:pt x="12128" y="23389"/>
                    <a:pt x="12339" y="23660"/>
                    <a:pt x="12941" y="23780"/>
                  </a:cubicBezTo>
                  <a:lnTo>
                    <a:pt x="14777" y="24081"/>
                  </a:lnTo>
                  <a:cubicBezTo>
                    <a:pt x="14819" y="24086"/>
                    <a:pt x="14863" y="24088"/>
                    <a:pt x="14907" y="24088"/>
                  </a:cubicBezTo>
                  <a:cubicBezTo>
                    <a:pt x="15789" y="24088"/>
                    <a:pt x="16865" y="23259"/>
                    <a:pt x="17094" y="23058"/>
                  </a:cubicBezTo>
                  <a:cubicBezTo>
                    <a:pt x="17305" y="22817"/>
                    <a:pt x="17004" y="22306"/>
                    <a:pt x="17004" y="22125"/>
                  </a:cubicBezTo>
                  <a:cubicBezTo>
                    <a:pt x="17004" y="21914"/>
                    <a:pt x="16643" y="21884"/>
                    <a:pt x="16552" y="21764"/>
                  </a:cubicBezTo>
                  <a:cubicBezTo>
                    <a:pt x="16432" y="21523"/>
                    <a:pt x="16191" y="21373"/>
                    <a:pt x="15920" y="21373"/>
                  </a:cubicBezTo>
                  <a:cubicBezTo>
                    <a:pt x="15589" y="21373"/>
                    <a:pt x="15529" y="20982"/>
                    <a:pt x="15228" y="20982"/>
                  </a:cubicBezTo>
                  <a:cubicBezTo>
                    <a:pt x="14927" y="20982"/>
                    <a:pt x="14777" y="20861"/>
                    <a:pt x="14115" y="20410"/>
                  </a:cubicBezTo>
                  <a:cubicBezTo>
                    <a:pt x="13514" y="20018"/>
                    <a:pt x="12686" y="19694"/>
                    <a:pt x="12341" y="19694"/>
                  </a:cubicBezTo>
                  <a:cubicBezTo>
                    <a:pt x="12288" y="19694"/>
                    <a:pt x="12246" y="19702"/>
                    <a:pt x="12219" y="19718"/>
                  </a:cubicBezTo>
                  <a:cubicBezTo>
                    <a:pt x="12144" y="19755"/>
                    <a:pt x="12090" y="19777"/>
                    <a:pt x="12043" y="19777"/>
                  </a:cubicBezTo>
                  <a:cubicBezTo>
                    <a:pt x="11978" y="19777"/>
                    <a:pt x="11928" y="19733"/>
                    <a:pt x="11857" y="19627"/>
                  </a:cubicBezTo>
                  <a:cubicBezTo>
                    <a:pt x="11767" y="19552"/>
                    <a:pt x="11654" y="19514"/>
                    <a:pt x="11545" y="19514"/>
                  </a:cubicBezTo>
                  <a:cubicBezTo>
                    <a:pt x="11436" y="19514"/>
                    <a:pt x="11331" y="19552"/>
                    <a:pt x="11256" y="19627"/>
                  </a:cubicBezTo>
                  <a:cubicBezTo>
                    <a:pt x="11215" y="19661"/>
                    <a:pt x="11172" y="19674"/>
                    <a:pt x="11128" y="19674"/>
                  </a:cubicBezTo>
                  <a:cubicBezTo>
                    <a:pt x="11003" y="19674"/>
                    <a:pt x="10859" y="19578"/>
                    <a:pt x="10674" y="19578"/>
                  </a:cubicBezTo>
                  <a:cubicBezTo>
                    <a:pt x="10629" y="19578"/>
                    <a:pt x="10583" y="19584"/>
                    <a:pt x="10533" y="19597"/>
                  </a:cubicBezTo>
                  <a:cubicBezTo>
                    <a:pt x="10493" y="19604"/>
                    <a:pt x="10456" y="19608"/>
                    <a:pt x="10420" y="19608"/>
                  </a:cubicBezTo>
                  <a:cubicBezTo>
                    <a:pt x="10162" y="19608"/>
                    <a:pt x="10029" y="19432"/>
                    <a:pt x="10082" y="19326"/>
                  </a:cubicBezTo>
                  <a:cubicBezTo>
                    <a:pt x="10172" y="19206"/>
                    <a:pt x="10684" y="19326"/>
                    <a:pt x="10684" y="19146"/>
                  </a:cubicBezTo>
                  <a:cubicBezTo>
                    <a:pt x="10684" y="18965"/>
                    <a:pt x="10473" y="19146"/>
                    <a:pt x="10172" y="18905"/>
                  </a:cubicBezTo>
                  <a:cubicBezTo>
                    <a:pt x="10068" y="18832"/>
                    <a:pt x="9974" y="18802"/>
                    <a:pt x="9894" y="18802"/>
                  </a:cubicBezTo>
                  <a:cubicBezTo>
                    <a:pt x="9743" y="18802"/>
                    <a:pt x="9640" y="18907"/>
                    <a:pt x="9600" y="19025"/>
                  </a:cubicBezTo>
                  <a:cubicBezTo>
                    <a:pt x="9557" y="19112"/>
                    <a:pt x="9480" y="19150"/>
                    <a:pt x="9394" y="19150"/>
                  </a:cubicBezTo>
                  <a:cubicBezTo>
                    <a:pt x="9301" y="19150"/>
                    <a:pt x="9198" y="19104"/>
                    <a:pt x="9119" y="19025"/>
                  </a:cubicBezTo>
                  <a:cubicBezTo>
                    <a:pt x="9119" y="18995"/>
                    <a:pt x="9089" y="18995"/>
                    <a:pt x="9059" y="18995"/>
                  </a:cubicBezTo>
                  <a:cubicBezTo>
                    <a:pt x="9059" y="19169"/>
                    <a:pt x="8915" y="19282"/>
                    <a:pt x="8763" y="19282"/>
                  </a:cubicBezTo>
                  <a:cubicBezTo>
                    <a:pt x="8731" y="19282"/>
                    <a:pt x="8699" y="19277"/>
                    <a:pt x="8667" y="19266"/>
                  </a:cubicBezTo>
                  <a:cubicBezTo>
                    <a:pt x="8649" y="19261"/>
                    <a:pt x="8631" y="19259"/>
                    <a:pt x="8613" y="19259"/>
                  </a:cubicBezTo>
                  <a:cubicBezTo>
                    <a:pt x="8399" y="19259"/>
                    <a:pt x="8228" y="19567"/>
                    <a:pt x="8005" y="19567"/>
                  </a:cubicBezTo>
                  <a:cubicBezTo>
                    <a:pt x="7735" y="19567"/>
                    <a:pt x="7524" y="19778"/>
                    <a:pt x="7464" y="20049"/>
                  </a:cubicBezTo>
                  <a:cubicBezTo>
                    <a:pt x="7403" y="20229"/>
                    <a:pt x="7163" y="20109"/>
                    <a:pt x="7163" y="20259"/>
                  </a:cubicBezTo>
                  <a:cubicBezTo>
                    <a:pt x="7163" y="20410"/>
                    <a:pt x="7133" y="20560"/>
                    <a:pt x="7042" y="20681"/>
                  </a:cubicBezTo>
                  <a:cubicBezTo>
                    <a:pt x="6922" y="20831"/>
                    <a:pt x="7042" y="20891"/>
                    <a:pt x="7163" y="21132"/>
                  </a:cubicBezTo>
                  <a:cubicBezTo>
                    <a:pt x="7253" y="21373"/>
                    <a:pt x="7524" y="21313"/>
                    <a:pt x="7644" y="21403"/>
                  </a:cubicBezTo>
                  <a:cubicBezTo>
                    <a:pt x="7765" y="21463"/>
                    <a:pt x="8216" y="21854"/>
                    <a:pt x="8216" y="22005"/>
                  </a:cubicBezTo>
                  <a:cubicBezTo>
                    <a:pt x="8216" y="22155"/>
                    <a:pt x="7855" y="22486"/>
                    <a:pt x="7704" y="22546"/>
                  </a:cubicBezTo>
                  <a:cubicBezTo>
                    <a:pt x="7554" y="22637"/>
                    <a:pt x="7373" y="22908"/>
                    <a:pt x="7494" y="23058"/>
                  </a:cubicBezTo>
                  <a:cubicBezTo>
                    <a:pt x="7614" y="23209"/>
                    <a:pt x="7975" y="23750"/>
                    <a:pt x="8246" y="24262"/>
                  </a:cubicBezTo>
                  <a:cubicBezTo>
                    <a:pt x="8517" y="24743"/>
                    <a:pt x="8126" y="24472"/>
                    <a:pt x="7975" y="24713"/>
                  </a:cubicBezTo>
                  <a:cubicBezTo>
                    <a:pt x="7825" y="24924"/>
                    <a:pt x="8066" y="25195"/>
                    <a:pt x="8096" y="25315"/>
                  </a:cubicBezTo>
                  <a:cubicBezTo>
                    <a:pt x="8126" y="25405"/>
                    <a:pt x="7855" y="25405"/>
                    <a:pt x="7915" y="25526"/>
                  </a:cubicBezTo>
                  <a:cubicBezTo>
                    <a:pt x="7945" y="25646"/>
                    <a:pt x="8276" y="25706"/>
                    <a:pt x="8306" y="25797"/>
                  </a:cubicBezTo>
                  <a:cubicBezTo>
                    <a:pt x="8367" y="25857"/>
                    <a:pt x="8066" y="26007"/>
                    <a:pt x="8216" y="26218"/>
                  </a:cubicBezTo>
                  <a:cubicBezTo>
                    <a:pt x="8367" y="26399"/>
                    <a:pt x="8577" y="26399"/>
                    <a:pt x="8607" y="26609"/>
                  </a:cubicBezTo>
                  <a:cubicBezTo>
                    <a:pt x="8667" y="26850"/>
                    <a:pt x="8096" y="26880"/>
                    <a:pt x="8126" y="27061"/>
                  </a:cubicBezTo>
                  <a:cubicBezTo>
                    <a:pt x="8156" y="27271"/>
                    <a:pt x="8818" y="27482"/>
                    <a:pt x="9119" y="27813"/>
                  </a:cubicBezTo>
                  <a:cubicBezTo>
                    <a:pt x="9420" y="28174"/>
                    <a:pt x="9420" y="28264"/>
                    <a:pt x="9330" y="28475"/>
                  </a:cubicBezTo>
                  <a:cubicBezTo>
                    <a:pt x="9269" y="28656"/>
                    <a:pt x="8367" y="29167"/>
                    <a:pt x="8156" y="29589"/>
                  </a:cubicBezTo>
                  <a:cubicBezTo>
                    <a:pt x="7975" y="30010"/>
                    <a:pt x="7253" y="30281"/>
                    <a:pt x="6952" y="30582"/>
                  </a:cubicBezTo>
                  <a:lnTo>
                    <a:pt x="6561" y="31063"/>
                  </a:lnTo>
                  <a:lnTo>
                    <a:pt x="6561" y="31063"/>
                  </a:lnTo>
                  <a:lnTo>
                    <a:pt x="6892" y="30943"/>
                  </a:lnTo>
                  <a:cubicBezTo>
                    <a:pt x="6907" y="30935"/>
                    <a:pt x="6922" y="30932"/>
                    <a:pt x="6937" y="30932"/>
                  </a:cubicBezTo>
                  <a:cubicBezTo>
                    <a:pt x="7098" y="30932"/>
                    <a:pt x="7238" y="31347"/>
                    <a:pt x="7403" y="31485"/>
                  </a:cubicBezTo>
                  <a:cubicBezTo>
                    <a:pt x="7494" y="31560"/>
                    <a:pt x="7637" y="31560"/>
                    <a:pt x="7772" y="31560"/>
                  </a:cubicBezTo>
                  <a:cubicBezTo>
                    <a:pt x="7908" y="31560"/>
                    <a:pt x="8035" y="31560"/>
                    <a:pt x="8096" y="31635"/>
                  </a:cubicBezTo>
                  <a:cubicBezTo>
                    <a:pt x="8163" y="31720"/>
                    <a:pt x="8117" y="31757"/>
                    <a:pt x="8014" y="31757"/>
                  </a:cubicBezTo>
                  <a:cubicBezTo>
                    <a:pt x="7935" y="31757"/>
                    <a:pt x="7823" y="31735"/>
                    <a:pt x="7704" y="31695"/>
                  </a:cubicBezTo>
                  <a:cubicBezTo>
                    <a:pt x="7675" y="31688"/>
                    <a:pt x="7648" y="31685"/>
                    <a:pt x="7623" y="31685"/>
                  </a:cubicBezTo>
                  <a:cubicBezTo>
                    <a:pt x="7437" y="31685"/>
                    <a:pt x="7322" y="31860"/>
                    <a:pt x="6952" y="31966"/>
                  </a:cubicBezTo>
                  <a:cubicBezTo>
                    <a:pt x="6531" y="32086"/>
                    <a:pt x="6651" y="32207"/>
                    <a:pt x="6591" y="32267"/>
                  </a:cubicBezTo>
                  <a:cubicBezTo>
                    <a:pt x="6501" y="32357"/>
                    <a:pt x="6501" y="32598"/>
                    <a:pt x="6380" y="32809"/>
                  </a:cubicBezTo>
                  <a:cubicBezTo>
                    <a:pt x="6290" y="32989"/>
                    <a:pt x="6170" y="33049"/>
                    <a:pt x="6139" y="33200"/>
                  </a:cubicBezTo>
                  <a:cubicBezTo>
                    <a:pt x="6139" y="33350"/>
                    <a:pt x="6170" y="33501"/>
                    <a:pt x="6200" y="33651"/>
                  </a:cubicBezTo>
                  <a:cubicBezTo>
                    <a:pt x="6200" y="33802"/>
                    <a:pt x="6260" y="33952"/>
                    <a:pt x="6350" y="34073"/>
                  </a:cubicBezTo>
                  <a:cubicBezTo>
                    <a:pt x="6501" y="34253"/>
                    <a:pt x="6230" y="34253"/>
                    <a:pt x="6170" y="34344"/>
                  </a:cubicBezTo>
                  <a:cubicBezTo>
                    <a:pt x="6079" y="34404"/>
                    <a:pt x="6139" y="34644"/>
                    <a:pt x="6230" y="34795"/>
                  </a:cubicBezTo>
                  <a:cubicBezTo>
                    <a:pt x="6350" y="34885"/>
                    <a:pt x="6410" y="35066"/>
                    <a:pt x="6350" y="35216"/>
                  </a:cubicBezTo>
                  <a:cubicBezTo>
                    <a:pt x="6290" y="35307"/>
                    <a:pt x="6471" y="35547"/>
                    <a:pt x="6591" y="35668"/>
                  </a:cubicBezTo>
                  <a:cubicBezTo>
                    <a:pt x="6711" y="35758"/>
                    <a:pt x="6711" y="36119"/>
                    <a:pt x="6802" y="36209"/>
                  </a:cubicBezTo>
                  <a:cubicBezTo>
                    <a:pt x="6894" y="36301"/>
                    <a:pt x="7003" y="36341"/>
                    <a:pt x="7117" y="36341"/>
                  </a:cubicBezTo>
                  <a:cubicBezTo>
                    <a:pt x="7152" y="36341"/>
                    <a:pt x="7187" y="36337"/>
                    <a:pt x="7223" y="36330"/>
                  </a:cubicBezTo>
                  <a:cubicBezTo>
                    <a:pt x="7261" y="36317"/>
                    <a:pt x="7299" y="36311"/>
                    <a:pt x="7334" y="36311"/>
                  </a:cubicBezTo>
                  <a:cubicBezTo>
                    <a:pt x="7465" y="36311"/>
                    <a:pt x="7573" y="36392"/>
                    <a:pt x="7644" y="36510"/>
                  </a:cubicBezTo>
                  <a:cubicBezTo>
                    <a:pt x="7673" y="36581"/>
                    <a:pt x="7721" y="36612"/>
                    <a:pt x="7787" y="36612"/>
                  </a:cubicBezTo>
                  <a:cubicBezTo>
                    <a:pt x="7860" y="36612"/>
                    <a:pt x="7954" y="36574"/>
                    <a:pt x="8066" y="36510"/>
                  </a:cubicBezTo>
                  <a:cubicBezTo>
                    <a:pt x="8093" y="36496"/>
                    <a:pt x="8127" y="36490"/>
                    <a:pt x="8166" y="36490"/>
                  </a:cubicBezTo>
                  <a:cubicBezTo>
                    <a:pt x="8377" y="36490"/>
                    <a:pt x="8716" y="36675"/>
                    <a:pt x="8818" y="36751"/>
                  </a:cubicBezTo>
                  <a:cubicBezTo>
                    <a:pt x="8908" y="36811"/>
                    <a:pt x="8848" y="37082"/>
                    <a:pt x="8878" y="37263"/>
                  </a:cubicBezTo>
                  <a:cubicBezTo>
                    <a:pt x="8908" y="37473"/>
                    <a:pt x="8758" y="37714"/>
                    <a:pt x="8968" y="37835"/>
                  </a:cubicBezTo>
                  <a:cubicBezTo>
                    <a:pt x="9149" y="37955"/>
                    <a:pt x="9119" y="38256"/>
                    <a:pt x="9330" y="38316"/>
                  </a:cubicBezTo>
                  <a:cubicBezTo>
                    <a:pt x="9570" y="38406"/>
                    <a:pt x="9630" y="38737"/>
                    <a:pt x="9781" y="38767"/>
                  </a:cubicBezTo>
                  <a:cubicBezTo>
                    <a:pt x="9992" y="38858"/>
                    <a:pt x="10142" y="39008"/>
                    <a:pt x="10232" y="39189"/>
                  </a:cubicBezTo>
                  <a:cubicBezTo>
                    <a:pt x="10232" y="39339"/>
                    <a:pt x="9962" y="39490"/>
                    <a:pt x="9811" y="39580"/>
                  </a:cubicBezTo>
                  <a:cubicBezTo>
                    <a:pt x="9797" y="39586"/>
                    <a:pt x="9782" y="39588"/>
                    <a:pt x="9766" y="39588"/>
                  </a:cubicBezTo>
                  <a:cubicBezTo>
                    <a:pt x="9636" y="39588"/>
                    <a:pt x="9443" y="39431"/>
                    <a:pt x="9332" y="39431"/>
                  </a:cubicBezTo>
                  <a:cubicBezTo>
                    <a:pt x="9306" y="39431"/>
                    <a:pt x="9285" y="39439"/>
                    <a:pt x="9269" y="39460"/>
                  </a:cubicBezTo>
                  <a:cubicBezTo>
                    <a:pt x="9149" y="39580"/>
                    <a:pt x="9299" y="39791"/>
                    <a:pt x="9360" y="40212"/>
                  </a:cubicBezTo>
                  <a:cubicBezTo>
                    <a:pt x="9450" y="40633"/>
                    <a:pt x="9510" y="40633"/>
                    <a:pt x="9721" y="40633"/>
                  </a:cubicBezTo>
                  <a:cubicBezTo>
                    <a:pt x="9901" y="40633"/>
                    <a:pt x="9962" y="40513"/>
                    <a:pt x="10082" y="40423"/>
                  </a:cubicBezTo>
                  <a:cubicBezTo>
                    <a:pt x="10108" y="40410"/>
                    <a:pt x="10143" y="40405"/>
                    <a:pt x="10182" y="40405"/>
                  </a:cubicBezTo>
                  <a:cubicBezTo>
                    <a:pt x="10270" y="40405"/>
                    <a:pt x="10381" y="40427"/>
                    <a:pt x="10469" y="40427"/>
                  </a:cubicBezTo>
                  <a:cubicBezTo>
                    <a:pt x="10522" y="40427"/>
                    <a:pt x="10567" y="40419"/>
                    <a:pt x="10594" y="40393"/>
                  </a:cubicBezTo>
                  <a:cubicBezTo>
                    <a:pt x="10634" y="40372"/>
                    <a:pt x="10711" y="40362"/>
                    <a:pt x="10799" y="40362"/>
                  </a:cubicBezTo>
                  <a:cubicBezTo>
                    <a:pt x="10975" y="40362"/>
                    <a:pt x="11195" y="40403"/>
                    <a:pt x="11256" y="40483"/>
                  </a:cubicBezTo>
                  <a:cubicBezTo>
                    <a:pt x="11316" y="40573"/>
                    <a:pt x="11436" y="40964"/>
                    <a:pt x="11346" y="41085"/>
                  </a:cubicBezTo>
                  <a:cubicBezTo>
                    <a:pt x="11286" y="41175"/>
                    <a:pt x="11436" y="41325"/>
                    <a:pt x="11557" y="41536"/>
                  </a:cubicBezTo>
                  <a:cubicBezTo>
                    <a:pt x="11647" y="41717"/>
                    <a:pt x="12008" y="41596"/>
                    <a:pt x="12098" y="41687"/>
                  </a:cubicBezTo>
                  <a:cubicBezTo>
                    <a:pt x="12219" y="41747"/>
                    <a:pt x="12520" y="42078"/>
                    <a:pt x="12459" y="42289"/>
                  </a:cubicBezTo>
                  <a:cubicBezTo>
                    <a:pt x="12395" y="42417"/>
                    <a:pt x="12513" y="42454"/>
                    <a:pt x="12630" y="42454"/>
                  </a:cubicBezTo>
                  <a:cubicBezTo>
                    <a:pt x="12678" y="42454"/>
                    <a:pt x="12725" y="42448"/>
                    <a:pt x="12760" y="42439"/>
                  </a:cubicBezTo>
                  <a:cubicBezTo>
                    <a:pt x="12777" y="42428"/>
                    <a:pt x="12796" y="42423"/>
                    <a:pt x="12816" y="42423"/>
                  </a:cubicBezTo>
                  <a:cubicBezTo>
                    <a:pt x="12905" y="42423"/>
                    <a:pt x="13023" y="42521"/>
                    <a:pt x="13121" y="42620"/>
                  </a:cubicBezTo>
                  <a:cubicBezTo>
                    <a:pt x="13179" y="42643"/>
                    <a:pt x="13236" y="42652"/>
                    <a:pt x="13292" y="42652"/>
                  </a:cubicBezTo>
                  <a:cubicBezTo>
                    <a:pt x="13383" y="42652"/>
                    <a:pt x="13468" y="42627"/>
                    <a:pt x="13543" y="42589"/>
                  </a:cubicBezTo>
                  <a:cubicBezTo>
                    <a:pt x="13634" y="42517"/>
                    <a:pt x="13747" y="42477"/>
                    <a:pt x="13842" y="42477"/>
                  </a:cubicBezTo>
                  <a:cubicBezTo>
                    <a:pt x="13904" y="42477"/>
                    <a:pt x="13959" y="42494"/>
                    <a:pt x="13994" y="42529"/>
                  </a:cubicBezTo>
                  <a:cubicBezTo>
                    <a:pt x="14054" y="42650"/>
                    <a:pt x="14325" y="42890"/>
                    <a:pt x="14325" y="42951"/>
                  </a:cubicBezTo>
                  <a:cubicBezTo>
                    <a:pt x="14325" y="43041"/>
                    <a:pt x="14777" y="42951"/>
                    <a:pt x="14957" y="43071"/>
                  </a:cubicBezTo>
                  <a:cubicBezTo>
                    <a:pt x="15168" y="43191"/>
                    <a:pt x="15409" y="43101"/>
                    <a:pt x="15649" y="43252"/>
                  </a:cubicBezTo>
                  <a:cubicBezTo>
                    <a:pt x="15860" y="43402"/>
                    <a:pt x="16101" y="43372"/>
                    <a:pt x="16101" y="43522"/>
                  </a:cubicBezTo>
                  <a:cubicBezTo>
                    <a:pt x="16101" y="43673"/>
                    <a:pt x="15860" y="43793"/>
                    <a:pt x="15860" y="43853"/>
                  </a:cubicBezTo>
                  <a:cubicBezTo>
                    <a:pt x="15860" y="43944"/>
                    <a:pt x="16071" y="43974"/>
                    <a:pt x="16071" y="44094"/>
                  </a:cubicBezTo>
                  <a:cubicBezTo>
                    <a:pt x="16071" y="44184"/>
                    <a:pt x="15830" y="44184"/>
                    <a:pt x="15800" y="44275"/>
                  </a:cubicBezTo>
                  <a:cubicBezTo>
                    <a:pt x="15770" y="44335"/>
                    <a:pt x="15950" y="44485"/>
                    <a:pt x="15980" y="44576"/>
                  </a:cubicBezTo>
                  <a:cubicBezTo>
                    <a:pt x="16011" y="44636"/>
                    <a:pt x="15830" y="44937"/>
                    <a:pt x="15830" y="45057"/>
                  </a:cubicBezTo>
                  <a:cubicBezTo>
                    <a:pt x="15830" y="45092"/>
                    <a:pt x="15788" y="45104"/>
                    <a:pt x="15726" y="45104"/>
                  </a:cubicBezTo>
                  <a:cubicBezTo>
                    <a:pt x="15570" y="45104"/>
                    <a:pt x="15284" y="45027"/>
                    <a:pt x="15198" y="45027"/>
                  </a:cubicBezTo>
                  <a:cubicBezTo>
                    <a:pt x="15078" y="45027"/>
                    <a:pt x="14717" y="45448"/>
                    <a:pt x="14566" y="45448"/>
                  </a:cubicBezTo>
                  <a:cubicBezTo>
                    <a:pt x="14416" y="45448"/>
                    <a:pt x="14506" y="45659"/>
                    <a:pt x="14566" y="45810"/>
                  </a:cubicBezTo>
                  <a:cubicBezTo>
                    <a:pt x="14574" y="45851"/>
                    <a:pt x="14635" y="45865"/>
                    <a:pt x="14718" y="45865"/>
                  </a:cubicBezTo>
                  <a:cubicBezTo>
                    <a:pt x="14900" y="45865"/>
                    <a:pt x="15192" y="45798"/>
                    <a:pt x="15304" y="45798"/>
                  </a:cubicBezTo>
                  <a:cubicBezTo>
                    <a:pt x="15329" y="45798"/>
                    <a:pt x="15345" y="45802"/>
                    <a:pt x="15348" y="45810"/>
                  </a:cubicBezTo>
                  <a:cubicBezTo>
                    <a:pt x="15379" y="45900"/>
                    <a:pt x="14536" y="46351"/>
                    <a:pt x="14355" y="46381"/>
                  </a:cubicBezTo>
                  <a:cubicBezTo>
                    <a:pt x="14205" y="46411"/>
                    <a:pt x="14717" y="46682"/>
                    <a:pt x="14656" y="46833"/>
                  </a:cubicBezTo>
                  <a:cubicBezTo>
                    <a:pt x="14626" y="46983"/>
                    <a:pt x="14175" y="47013"/>
                    <a:pt x="14235" y="47284"/>
                  </a:cubicBezTo>
                  <a:cubicBezTo>
                    <a:pt x="14265" y="47555"/>
                    <a:pt x="14024" y="47615"/>
                    <a:pt x="13784" y="47615"/>
                  </a:cubicBezTo>
                  <a:cubicBezTo>
                    <a:pt x="13513" y="47615"/>
                    <a:pt x="13422" y="47766"/>
                    <a:pt x="13573" y="47796"/>
                  </a:cubicBezTo>
                  <a:cubicBezTo>
                    <a:pt x="13723" y="47856"/>
                    <a:pt x="13693" y="48187"/>
                    <a:pt x="14175" y="48307"/>
                  </a:cubicBezTo>
                  <a:cubicBezTo>
                    <a:pt x="14777" y="48518"/>
                    <a:pt x="15258" y="48879"/>
                    <a:pt x="15649" y="49391"/>
                  </a:cubicBezTo>
                  <a:lnTo>
                    <a:pt x="15890" y="49541"/>
                  </a:lnTo>
                  <a:lnTo>
                    <a:pt x="16191" y="49391"/>
                  </a:lnTo>
                  <a:cubicBezTo>
                    <a:pt x="16522" y="49391"/>
                    <a:pt x="16853" y="49481"/>
                    <a:pt x="17124" y="49692"/>
                  </a:cubicBezTo>
                  <a:cubicBezTo>
                    <a:pt x="17218" y="49754"/>
                    <a:pt x="17380" y="49770"/>
                    <a:pt x="17556" y="49770"/>
                  </a:cubicBezTo>
                  <a:cubicBezTo>
                    <a:pt x="17735" y="49770"/>
                    <a:pt x="17928" y="49754"/>
                    <a:pt x="18082" y="49754"/>
                  </a:cubicBezTo>
                  <a:cubicBezTo>
                    <a:pt x="18217" y="49754"/>
                    <a:pt x="18321" y="49766"/>
                    <a:pt x="18358" y="49812"/>
                  </a:cubicBezTo>
                  <a:cubicBezTo>
                    <a:pt x="18478" y="49963"/>
                    <a:pt x="18659" y="50053"/>
                    <a:pt x="18839" y="50113"/>
                  </a:cubicBezTo>
                  <a:cubicBezTo>
                    <a:pt x="18972" y="50113"/>
                    <a:pt x="19151" y="50369"/>
                    <a:pt x="19295" y="50369"/>
                  </a:cubicBezTo>
                  <a:cubicBezTo>
                    <a:pt x="19314" y="50369"/>
                    <a:pt x="19333" y="50365"/>
                    <a:pt x="19351" y="50354"/>
                  </a:cubicBezTo>
                  <a:cubicBezTo>
                    <a:pt x="19532" y="50286"/>
                    <a:pt x="19729" y="50252"/>
                    <a:pt x="19931" y="50252"/>
                  </a:cubicBezTo>
                  <a:cubicBezTo>
                    <a:pt x="19998" y="50252"/>
                    <a:pt x="20066" y="50256"/>
                    <a:pt x="20134" y="50264"/>
                  </a:cubicBezTo>
                  <a:cubicBezTo>
                    <a:pt x="20284" y="50264"/>
                    <a:pt x="20284" y="50354"/>
                    <a:pt x="20435" y="50354"/>
                  </a:cubicBezTo>
                  <a:cubicBezTo>
                    <a:pt x="20581" y="50354"/>
                    <a:pt x="20556" y="50867"/>
                    <a:pt x="20638" y="50867"/>
                  </a:cubicBezTo>
                  <a:cubicBezTo>
                    <a:pt x="20640" y="50867"/>
                    <a:pt x="20643" y="50866"/>
                    <a:pt x="20645" y="50865"/>
                  </a:cubicBezTo>
                  <a:cubicBezTo>
                    <a:pt x="20654" y="50861"/>
                    <a:pt x="20665" y="50859"/>
                    <a:pt x="20677" y="50859"/>
                  </a:cubicBezTo>
                  <a:cubicBezTo>
                    <a:pt x="20825" y="50859"/>
                    <a:pt x="21175" y="51169"/>
                    <a:pt x="21398" y="51197"/>
                  </a:cubicBezTo>
                  <a:cubicBezTo>
                    <a:pt x="21659" y="51226"/>
                    <a:pt x="21893" y="51619"/>
                    <a:pt x="21990" y="51619"/>
                  </a:cubicBezTo>
                  <a:cubicBezTo>
                    <a:pt x="21993" y="51619"/>
                    <a:pt x="21996" y="51619"/>
                    <a:pt x="21999" y="51618"/>
                  </a:cubicBezTo>
                  <a:cubicBezTo>
                    <a:pt x="22013" y="51611"/>
                    <a:pt x="22028" y="51608"/>
                    <a:pt x="22042" y="51608"/>
                  </a:cubicBezTo>
                  <a:cubicBezTo>
                    <a:pt x="22118" y="51608"/>
                    <a:pt x="22201" y="51686"/>
                    <a:pt x="22272" y="51686"/>
                  </a:cubicBezTo>
                  <a:cubicBezTo>
                    <a:pt x="22305" y="51686"/>
                    <a:pt x="22335" y="51669"/>
                    <a:pt x="22361" y="51618"/>
                  </a:cubicBezTo>
                  <a:cubicBezTo>
                    <a:pt x="22421" y="51407"/>
                    <a:pt x="22752" y="51528"/>
                    <a:pt x="22872" y="51227"/>
                  </a:cubicBezTo>
                  <a:cubicBezTo>
                    <a:pt x="22421" y="50715"/>
                    <a:pt x="21939" y="50113"/>
                    <a:pt x="21939" y="49872"/>
                  </a:cubicBezTo>
                  <a:cubicBezTo>
                    <a:pt x="21939" y="49662"/>
                    <a:pt x="22120" y="49210"/>
                    <a:pt x="21638" y="48789"/>
                  </a:cubicBezTo>
                  <a:cubicBezTo>
                    <a:pt x="21157" y="48368"/>
                    <a:pt x="21698" y="48067"/>
                    <a:pt x="22060" y="47615"/>
                  </a:cubicBezTo>
                  <a:cubicBezTo>
                    <a:pt x="22391" y="47164"/>
                    <a:pt x="23023" y="47043"/>
                    <a:pt x="23444" y="46803"/>
                  </a:cubicBezTo>
                  <a:lnTo>
                    <a:pt x="23173" y="46652"/>
                  </a:lnTo>
                  <a:cubicBezTo>
                    <a:pt x="22872" y="46502"/>
                    <a:pt x="22752" y="46351"/>
                    <a:pt x="23023" y="46261"/>
                  </a:cubicBezTo>
                  <a:cubicBezTo>
                    <a:pt x="23294" y="46201"/>
                    <a:pt x="23173" y="46080"/>
                    <a:pt x="22902" y="45779"/>
                  </a:cubicBezTo>
                  <a:cubicBezTo>
                    <a:pt x="22662" y="45479"/>
                    <a:pt x="22571" y="45208"/>
                    <a:pt x="22421" y="45208"/>
                  </a:cubicBezTo>
                  <a:cubicBezTo>
                    <a:pt x="22368" y="45199"/>
                    <a:pt x="22312" y="45195"/>
                    <a:pt x="22256" y="45195"/>
                  </a:cubicBezTo>
                  <a:cubicBezTo>
                    <a:pt x="22119" y="45195"/>
                    <a:pt x="21977" y="45217"/>
                    <a:pt x="21849" y="45238"/>
                  </a:cubicBezTo>
                  <a:cubicBezTo>
                    <a:pt x="21818" y="45251"/>
                    <a:pt x="21792" y="45257"/>
                    <a:pt x="21771" y="45257"/>
                  </a:cubicBezTo>
                  <a:cubicBezTo>
                    <a:pt x="21647" y="45257"/>
                    <a:pt x="21673" y="45052"/>
                    <a:pt x="21698" y="44847"/>
                  </a:cubicBezTo>
                  <a:cubicBezTo>
                    <a:pt x="21759" y="44576"/>
                    <a:pt x="21337" y="44606"/>
                    <a:pt x="21247" y="44546"/>
                  </a:cubicBezTo>
                  <a:cubicBezTo>
                    <a:pt x="21187" y="44455"/>
                    <a:pt x="21367" y="44034"/>
                    <a:pt x="21458" y="44034"/>
                  </a:cubicBezTo>
                  <a:cubicBezTo>
                    <a:pt x="21518" y="44034"/>
                    <a:pt x="21698" y="43884"/>
                    <a:pt x="21698" y="43793"/>
                  </a:cubicBezTo>
                  <a:cubicBezTo>
                    <a:pt x="21698" y="43673"/>
                    <a:pt x="21337" y="43643"/>
                    <a:pt x="21488" y="43402"/>
                  </a:cubicBezTo>
                  <a:cubicBezTo>
                    <a:pt x="21638" y="43191"/>
                    <a:pt x="21909" y="43131"/>
                    <a:pt x="21909" y="42920"/>
                  </a:cubicBezTo>
                  <a:cubicBezTo>
                    <a:pt x="21909" y="42736"/>
                    <a:pt x="22033" y="42569"/>
                    <a:pt x="22199" y="42569"/>
                  </a:cubicBezTo>
                  <a:cubicBezTo>
                    <a:pt x="22250" y="42569"/>
                    <a:pt x="22304" y="42584"/>
                    <a:pt x="22361" y="42620"/>
                  </a:cubicBezTo>
                  <a:cubicBezTo>
                    <a:pt x="22548" y="42754"/>
                    <a:pt x="22664" y="43150"/>
                    <a:pt x="22900" y="43150"/>
                  </a:cubicBezTo>
                  <a:cubicBezTo>
                    <a:pt x="22929" y="43150"/>
                    <a:pt x="22960" y="43144"/>
                    <a:pt x="22993" y="43131"/>
                  </a:cubicBezTo>
                  <a:cubicBezTo>
                    <a:pt x="23294" y="43041"/>
                    <a:pt x="23113" y="42800"/>
                    <a:pt x="23053" y="42650"/>
                  </a:cubicBezTo>
                  <a:cubicBezTo>
                    <a:pt x="23023" y="42499"/>
                    <a:pt x="22962" y="42319"/>
                    <a:pt x="23263" y="42228"/>
                  </a:cubicBezTo>
                  <a:cubicBezTo>
                    <a:pt x="23564" y="42168"/>
                    <a:pt x="23444" y="41867"/>
                    <a:pt x="23715" y="41867"/>
                  </a:cubicBezTo>
                  <a:cubicBezTo>
                    <a:pt x="23956" y="41867"/>
                    <a:pt x="24377" y="41536"/>
                    <a:pt x="24527" y="41446"/>
                  </a:cubicBezTo>
                  <a:cubicBezTo>
                    <a:pt x="24654" y="41395"/>
                    <a:pt x="24886" y="41281"/>
                    <a:pt x="25046" y="41281"/>
                  </a:cubicBezTo>
                  <a:cubicBezTo>
                    <a:pt x="25077" y="41281"/>
                    <a:pt x="25105" y="41286"/>
                    <a:pt x="25129" y="41295"/>
                  </a:cubicBezTo>
                  <a:cubicBezTo>
                    <a:pt x="25220" y="41350"/>
                    <a:pt x="25310" y="41425"/>
                    <a:pt x="25394" y="41425"/>
                  </a:cubicBezTo>
                  <a:cubicBezTo>
                    <a:pt x="25450" y="41425"/>
                    <a:pt x="25502" y="41392"/>
                    <a:pt x="25551" y="41295"/>
                  </a:cubicBezTo>
                  <a:cubicBezTo>
                    <a:pt x="25606" y="41199"/>
                    <a:pt x="25718" y="41159"/>
                    <a:pt x="25829" y="41159"/>
                  </a:cubicBezTo>
                  <a:cubicBezTo>
                    <a:pt x="25960" y="41159"/>
                    <a:pt x="26090" y="41214"/>
                    <a:pt x="26122" y="41295"/>
                  </a:cubicBezTo>
                  <a:cubicBezTo>
                    <a:pt x="26153" y="41446"/>
                    <a:pt x="26815" y="41416"/>
                    <a:pt x="27025" y="41566"/>
                  </a:cubicBezTo>
                  <a:cubicBezTo>
                    <a:pt x="27206" y="41717"/>
                    <a:pt x="27687" y="41988"/>
                    <a:pt x="27687" y="42138"/>
                  </a:cubicBezTo>
                  <a:cubicBezTo>
                    <a:pt x="27687" y="42236"/>
                    <a:pt x="27788" y="42346"/>
                    <a:pt x="27860" y="42346"/>
                  </a:cubicBezTo>
                  <a:cubicBezTo>
                    <a:pt x="27898" y="42346"/>
                    <a:pt x="27928" y="42313"/>
                    <a:pt x="27928" y="42228"/>
                  </a:cubicBezTo>
                  <a:cubicBezTo>
                    <a:pt x="27928" y="42127"/>
                    <a:pt x="27963" y="42081"/>
                    <a:pt x="28032" y="42081"/>
                  </a:cubicBezTo>
                  <a:cubicBezTo>
                    <a:pt x="28108" y="42081"/>
                    <a:pt x="28223" y="42135"/>
                    <a:pt x="28380" y="42228"/>
                  </a:cubicBezTo>
                  <a:cubicBezTo>
                    <a:pt x="28502" y="42314"/>
                    <a:pt x="28630" y="42350"/>
                    <a:pt x="28743" y="42350"/>
                  </a:cubicBezTo>
                  <a:cubicBezTo>
                    <a:pt x="28906" y="42350"/>
                    <a:pt x="29036" y="42275"/>
                    <a:pt x="29072" y="42168"/>
                  </a:cubicBezTo>
                  <a:cubicBezTo>
                    <a:pt x="29140" y="42031"/>
                    <a:pt x="29453" y="41876"/>
                    <a:pt x="29691" y="41876"/>
                  </a:cubicBezTo>
                  <a:cubicBezTo>
                    <a:pt x="29766" y="41876"/>
                    <a:pt x="29834" y="41891"/>
                    <a:pt x="29884" y="41927"/>
                  </a:cubicBezTo>
                  <a:cubicBezTo>
                    <a:pt x="29985" y="42011"/>
                    <a:pt x="30038" y="42076"/>
                    <a:pt x="30108" y="42076"/>
                  </a:cubicBezTo>
                  <a:cubicBezTo>
                    <a:pt x="30163" y="42076"/>
                    <a:pt x="30229" y="42034"/>
                    <a:pt x="30336" y="41927"/>
                  </a:cubicBezTo>
                  <a:cubicBezTo>
                    <a:pt x="30426" y="41837"/>
                    <a:pt x="30567" y="41796"/>
                    <a:pt x="30705" y="41796"/>
                  </a:cubicBezTo>
                  <a:cubicBezTo>
                    <a:pt x="30888" y="41796"/>
                    <a:pt x="31067" y="41867"/>
                    <a:pt x="31118" y="41988"/>
                  </a:cubicBezTo>
                  <a:cubicBezTo>
                    <a:pt x="31178" y="42168"/>
                    <a:pt x="31419" y="42228"/>
                    <a:pt x="31630" y="42228"/>
                  </a:cubicBezTo>
                  <a:cubicBezTo>
                    <a:pt x="31849" y="42228"/>
                    <a:pt x="31869" y="42477"/>
                    <a:pt x="31983" y="42477"/>
                  </a:cubicBezTo>
                  <a:cubicBezTo>
                    <a:pt x="31995" y="42477"/>
                    <a:pt x="32007" y="42475"/>
                    <a:pt x="32021" y="42469"/>
                  </a:cubicBezTo>
                  <a:cubicBezTo>
                    <a:pt x="32165" y="42383"/>
                    <a:pt x="32144" y="42076"/>
                    <a:pt x="32273" y="42076"/>
                  </a:cubicBezTo>
                  <a:cubicBezTo>
                    <a:pt x="32279" y="42076"/>
                    <a:pt x="32285" y="42077"/>
                    <a:pt x="32292" y="42078"/>
                  </a:cubicBezTo>
                  <a:cubicBezTo>
                    <a:pt x="32442" y="42138"/>
                    <a:pt x="32623" y="42349"/>
                    <a:pt x="32894" y="42349"/>
                  </a:cubicBezTo>
                  <a:cubicBezTo>
                    <a:pt x="33135" y="42349"/>
                    <a:pt x="33375" y="42289"/>
                    <a:pt x="33375" y="42048"/>
                  </a:cubicBezTo>
                  <a:cubicBezTo>
                    <a:pt x="33375" y="41837"/>
                    <a:pt x="33345" y="41476"/>
                    <a:pt x="33195" y="41476"/>
                  </a:cubicBezTo>
                  <a:cubicBezTo>
                    <a:pt x="33044" y="41476"/>
                    <a:pt x="32803" y="41325"/>
                    <a:pt x="32623" y="41325"/>
                  </a:cubicBezTo>
                  <a:cubicBezTo>
                    <a:pt x="32442" y="41325"/>
                    <a:pt x="32171" y="40964"/>
                    <a:pt x="32382" y="40874"/>
                  </a:cubicBezTo>
                  <a:cubicBezTo>
                    <a:pt x="32623" y="40814"/>
                    <a:pt x="32954" y="40663"/>
                    <a:pt x="32894" y="40483"/>
                  </a:cubicBezTo>
                  <a:cubicBezTo>
                    <a:pt x="32803" y="40272"/>
                    <a:pt x="32743" y="39941"/>
                    <a:pt x="33044" y="39911"/>
                  </a:cubicBezTo>
                  <a:cubicBezTo>
                    <a:pt x="33345" y="39881"/>
                    <a:pt x="33887" y="39881"/>
                    <a:pt x="33857" y="39791"/>
                  </a:cubicBezTo>
                  <a:cubicBezTo>
                    <a:pt x="33827" y="39730"/>
                    <a:pt x="33255" y="39610"/>
                    <a:pt x="33195" y="39430"/>
                  </a:cubicBezTo>
                  <a:cubicBezTo>
                    <a:pt x="33104" y="39219"/>
                    <a:pt x="33044" y="38828"/>
                    <a:pt x="33135" y="38767"/>
                  </a:cubicBezTo>
                  <a:cubicBezTo>
                    <a:pt x="33195" y="38752"/>
                    <a:pt x="33308" y="38752"/>
                    <a:pt x="33432" y="38752"/>
                  </a:cubicBezTo>
                  <a:cubicBezTo>
                    <a:pt x="33556" y="38752"/>
                    <a:pt x="33691" y="38752"/>
                    <a:pt x="33797" y="38737"/>
                  </a:cubicBezTo>
                  <a:cubicBezTo>
                    <a:pt x="33819" y="38734"/>
                    <a:pt x="33846" y="38732"/>
                    <a:pt x="33877" y="38732"/>
                  </a:cubicBezTo>
                  <a:cubicBezTo>
                    <a:pt x="33971" y="38732"/>
                    <a:pt x="34098" y="38745"/>
                    <a:pt x="34233" y="38745"/>
                  </a:cubicBezTo>
                  <a:cubicBezTo>
                    <a:pt x="34414" y="38745"/>
                    <a:pt x="34609" y="38722"/>
                    <a:pt x="34760" y="38617"/>
                  </a:cubicBezTo>
                  <a:cubicBezTo>
                    <a:pt x="35075" y="38459"/>
                    <a:pt x="35413" y="38371"/>
                    <a:pt x="35774" y="38371"/>
                  </a:cubicBezTo>
                  <a:cubicBezTo>
                    <a:pt x="35827" y="38371"/>
                    <a:pt x="35880" y="38372"/>
                    <a:pt x="35933" y="38376"/>
                  </a:cubicBezTo>
                  <a:cubicBezTo>
                    <a:pt x="36264" y="38376"/>
                    <a:pt x="36505" y="38166"/>
                    <a:pt x="36746" y="38135"/>
                  </a:cubicBezTo>
                  <a:cubicBezTo>
                    <a:pt x="37137" y="38075"/>
                    <a:pt x="37498" y="38015"/>
                    <a:pt x="37889" y="37925"/>
                  </a:cubicBezTo>
                  <a:cubicBezTo>
                    <a:pt x="38040" y="37835"/>
                    <a:pt x="39003" y="37714"/>
                    <a:pt x="39063" y="37534"/>
                  </a:cubicBezTo>
                  <a:cubicBezTo>
                    <a:pt x="39086" y="37398"/>
                    <a:pt x="39515" y="37280"/>
                    <a:pt x="39804" y="37280"/>
                  </a:cubicBezTo>
                  <a:cubicBezTo>
                    <a:pt x="39900" y="37280"/>
                    <a:pt x="39981" y="37293"/>
                    <a:pt x="40026" y="37323"/>
                  </a:cubicBezTo>
                  <a:cubicBezTo>
                    <a:pt x="40143" y="37381"/>
                    <a:pt x="40272" y="37414"/>
                    <a:pt x="40406" y="37414"/>
                  </a:cubicBezTo>
                  <a:cubicBezTo>
                    <a:pt x="40479" y="37414"/>
                    <a:pt x="40553" y="37404"/>
                    <a:pt x="40628" y="37383"/>
                  </a:cubicBezTo>
                  <a:cubicBezTo>
                    <a:pt x="40664" y="37374"/>
                    <a:pt x="40700" y="37370"/>
                    <a:pt x="40735" y="37370"/>
                  </a:cubicBezTo>
                  <a:cubicBezTo>
                    <a:pt x="40937" y="37370"/>
                    <a:pt x="41119" y="37509"/>
                    <a:pt x="41170" y="37714"/>
                  </a:cubicBezTo>
                  <a:cubicBezTo>
                    <a:pt x="41110" y="37925"/>
                    <a:pt x="41320" y="38105"/>
                    <a:pt x="41260" y="38256"/>
                  </a:cubicBezTo>
                  <a:cubicBezTo>
                    <a:pt x="41230" y="38406"/>
                    <a:pt x="41080" y="38466"/>
                    <a:pt x="41200" y="38587"/>
                  </a:cubicBezTo>
                  <a:cubicBezTo>
                    <a:pt x="41239" y="38626"/>
                    <a:pt x="41312" y="38643"/>
                    <a:pt x="41399" y="38643"/>
                  </a:cubicBezTo>
                  <a:cubicBezTo>
                    <a:pt x="41580" y="38643"/>
                    <a:pt x="41820" y="38568"/>
                    <a:pt x="41922" y="38466"/>
                  </a:cubicBezTo>
                  <a:cubicBezTo>
                    <a:pt x="41956" y="38433"/>
                    <a:pt x="41990" y="38419"/>
                    <a:pt x="42022" y="38419"/>
                  </a:cubicBezTo>
                  <a:cubicBezTo>
                    <a:pt x="42133" y="38419"/>
                    <a:pt x="42223" y="38584"/>
                    <a:pt x="42223" y="38677"/>
                  </a:cubicBezTo>
                  <a:cubicBezTo>
                    <a:pt x="42223" y="38736"/>
                    <a:pt x="42314" y="38809"/>
                    <a:pt x="42376" y="38809"/>
                  </a:cubicBezTo>
                  <a:cubicBezTo>
                    <a:pt x="42409" y="38809"/>
                    <a:pt x="42434" y="38789"/>
                    <a:pt x="42434" y="38737"/>
                  </a:cubicBezTo>
                  <a:cubicBezTo>
                    <a:pt x="42434" y="38679"/>
                    <a:pt x="42479" y="38657"/>
                    <a:pt x="42540" y="38657"/>
                  </a:cubicBezTo>
                  <a:cubicBezTo>
                    <a:pt x="42635" y="38657"/>
                    <a:pt x="42770" y="38712"/>
                    <a:pt x="42825" y="38767"/>
                  </a:cubicBezTo>
                  <a:cubicBezTo>
                    <a:pt x="42840" y="38797"/>
                    <a:pt x="42871" y="38806"/>
                    <a:pt x="42909" y="38806"/>
                  </a:cubicBezTo>
                  <a:cubicBezTo>
                    <a:pt x="42982" y="38806"/>
                    <a:pt x="43083" y="38771"/>
                    <a:pt x="43148" y="38771"/>
                  </a:cubicBezTo>
                  <a:cubicBezTo>
                    <a:pt x="43189" y="38771"/>
                    <a:pt x="43216" y="38784"/>
                    <a:pt x="43216" y="38828"/>
                  </a:cubicBezTo>
                  <a:cubicBezTo>
                    <a:pt x="43216" y="38978"/>
                    <a:pt x="42735" y="39159"/>
                    <a:pt x="42976" y="39339"/>
                  </a:cubicBezTo>
                  <a:cubicBezTo>
                    <a:pt x="43016" y="39374"/>
                    <a:pt x="43051" y="39387"/>
                    <a:pt x="43085" y="39387"/>
                  </a:cubicBezTo>
                  <a:cubicBezTo>
                    <a:pt x="43213" y="39387"/>
                    <a:pt x="43305" y="39182"/>
                    <a:pt x="43467" y="39182"/>
                  </a:cubicBezTo>
                  <a:cubicBezTo>
                    <a:pt x="43483" y="39182"/>
                    <a:pt x="43500" y="39184"/>
                    <a:pt x="43517" y="39189"/>
                  </a:cubicBezTo>
                  <a:cubicBezTo>
                    <a:pt x="43545" y="39198"/>
                    <a:pt x="43574" y="39202"/>
                    <a:pt x="43604" y="39202"/>
                  </a:cubicBezTo>
                  <a:cubicBezTo>
                    <a:pt x="43867" y="39202"/>
                    <a:pt x="44201" y="38885"/>
                    <a:pt x="44390" y="38858"/>
                  </a:cubicBezTo>
                  <a:cubicBezTo>
                    <a:pt x="44631" y="38737"/>
                    <a:pt x="44871" y="38617"/>
                    <a:pt x="45112" y="38436"/>
                  </a:cubicBezTo>
                  <a:cubicBezTo>
                    <a:pt x="45197" y="38388"/>
                    <a:pt x="45319" y="38369"/>
                    <a:pt x="45431" y="38369"/>
                  </a:cubicBezTo>
                  <a:cubicBezTo>
                    <a:pt x="45597" y="38369"/>
                    <a:pt x="45738" y="38412"/>
                    <a:pt x="45684" y="38466"/>
                  </a:cubicBezTo>
                  <a:cubicBezTo>
                    <a:pt x="45564" y="38587"/>
                    <a:pt x="45383" y="38888"/>
                    <a:pt x="45895" y="39068"/>
                  </a:cubicBezTo>
                  <a:cubicBezTo>
                    <a:pt x="46436" y="39279"/>
                    <a:pt x="46978" y="40332"/>
                    <a:pt x="47339" y="40814"/>
                  </a:cubicBezTo>
                  <a:cubicBezTo>
                    <a:pt x="47670" y="41295"/>
                    <a:pt x="48001" y="42228"/>
                    <a:pt x="48152" y="42228"/>
                  </a:cubicBezTo>
                  <a:cubicBezTo>
                    <a:pt x="48302" y="42228"/>
                    <a:pt x="48393" y="41777"/>
                    <a:pt x="48603" y="41717"/>
                  </a:cubicBezTo>
                  <a:cubicBezTo>
                    <a:pt x="48623" y="41709"/>
                    <a:pt x="48642" y="41706"/>
                    <a:pt x="48660" y="41706"/>
                  </a:cubicBezTo>
                  <a:cubicBezTo>
                    <a:pt x="48869" y="41706"/>
                    <a:pt x="49014" y="42140"/>
                    <a:pt x="49235" y="42168"/>
                  </a:cubicBezTo>
                  <a:cubicBezTo>
                    <a:pt x="49462" y="42193"/>
                    <a:pt x="49709" y="42303"/>
                    <a:pt x="49890" y="42303"/>
                  </a:cubicBezTo>
                  <a:cubicBezTo>
                    <a:pt x="49925" y="42303"/>
                    <a:pt x="49958" y="42298"/>
                    <a:pt x="49988" y="42289"/>
                  </a:cubicBezTo>
                  <a:cubicBezTo>
                    <a:pt x="50173" y="42209"/>
                    <a:pt x="50543" y="42037"/>
                    <a:pt x="50733" y="42037"/>
                  </a:cubicBezTo>
                  <a:cubicBezTo>
                    <a:pt x="50759" y="42037"/>
                    <a:pt x="50782" y="42040"/>
                    <a:pt x="50800" y="42048"/>
                  </a:cubicBezTo>
                  <a:cubicBezTo>
                    <a:pt x="50951" y="42138"/>
                    <a:pt x="51161" y="42168"/>
                    <a:pt x="51312" y="42469"/>
                  </a:cubicBezTo>
                  <a:cubicBezTo>
                    <a:pt x="51462" y="42770"/>
                    <a:pt x="51643" y="42890"/>
                    <a:pt x="51793" y="42890"/>
                  </a:cubicBezTo>
                  <a:cubicBezTo>
                    <a:pt x="51944" y="42890"/>
                    <a:pt x="51944" y="43041"/>
                    <a:pt x="51944" y="43191"/>
                  </a:cubicBezTo>
                  <a:cubicBezTo>
                    <a:pt x="51944" y="43342"/>
                    <a:pt x="52215" y="43522"/>
                    <a:pt x="52365" y="43522"/>
                  </a:cubicBezTo>
                  <a:cubicBezTo>
                    <a:pt x="52576" y="43522"/>
                    <a:pt x="52786" y="43492"/>
                    <a:pt x="52997" y="43402"/>
                  </a:cubicBezTo>
                  <a:cubicBezTo>
                    <a:pt x="53069" y="43366"/>
                    <a:pt x="53151" y="43320"/>
                    <a:pt x="53206" y="43320"/>
                  </a:cubicBezTo>
                  <a:cubicBezTo>
                    <a:pt x="53243" y="43320"/>
                    <a:pt x="53268" y="43341"/>
                    <a:pt x="53268" y="43402"/>
                  </a:cubicBezTo>
                  <a:cubicBezTo>
                    <a:pt x="53268" y="43552"/>
                    <a:pt x="53509" y="43853"/>
                    <a:pt x="53659" y="43853"/>
                  </a:cubicBezTo>
                  <a:cubicBezTo>
                    <a:pt x="53759" y="43853"/>
                    <a:pt x="53900" y="43907"/>
                    <a:pt x="54000" y="43907"/>
                  </a:cubicBezTo>
                  <a:cubicBezTo>
                    <a:pt x="54050" y="43907"/>
                    <a:pt x="54091" y="43894"/>
                    <a:pt x="54111" y="43853"/>
                  </a:cubicBezTo>
                  <a:cubicBezTo>
                    <a:pt x="54141" y="43733"/>
                    <a:pt x="54502" y="43673"/>
                    <a:pt x="54622" y="43643"/>
                  </a:cubicBezTo>
                  <a:cubicBezTo>
                    <a:pt x="54743" y="43583"/>
                    <a:pt x="55254" y="43522"/>
                    <a:pt x="55375" y="43282"/>
                  </a:cubicBezTo>
                  <a:cubicBezTo>
                    <a:pt x="55495" y="43071"/>
                    <a:pt x="55856" y="43101"/>
                    <a:pt x="55976" y="42951"/>
                  </a:cubicBezTo>
                  <a:cubicBezTo>
                    <a:pt x="56097" y="42800"/>
                    <a:pt x="56428" y="42740"/>
                    <a:pt x="56518" y="42620"/>
                  </a:cubicBezTo>
                  <a:cubicBezTo>
                    <a:pt x="56578" y="42499"/>
                    <a:pt x="57000" y="42469"/>
                    <a:pt x="57030" y="42349"/>
                  </a:cubicBezTo>
                  <a:cubicBezTo>
                    <a:pt x="57047" y="42278"/>
                    <a:pt x="57179" y="42249"/>
                    <a:pt x="57321" y="42249"/>
                  </a:cubicBezTo>
                  <a:cubicBezTo>
                    <a:pt x="57421" y="42249"/>
                    <a:pt x="57527" y="42264"/>
                    <a:pt x="57602" y="42289"/>
                  </a:cubicBezTo>
                  <a:lnTo>
                    <a:pt x="58685" y="42469"/>
                  </a:lnTo>
                  <a:cubicBezTo>
                    <a:pt x="58689" y="42468"/>
                    <a:pt x="58693" y="42468"/>
                    <a:pt x="58696" y="42468"/>
                  </a:cubicBezTo>
                  <a:cubicBezTo>
                    <a:pt x="58807" y="42468"/>
                    <a:pt x="58839" y="42891"/>
                    <a:pt x="58956" y="42920"/>
                  </a:cubicBezTo>
                  <a:cubicBezTo>
                    <a:pt x="59065" y="42948"/>
                    <a:pt x="59399" y="43199"/>
                    <a:pt x="59549" y="43199"/>
                  </a:cubicBezTo>
                  <a:cubicBezTo>
                    <a:pt x="59564" y="43199"/>
                    <a:pt x="59577" y="43197"/>
                    <a:pt x="59588" y="43191"/>
                  </a:cubicBezTo>
                  <a:cubicBezTo>
                    <a:pt x="59701" y="43097"/>
                    <a:pt x="59837" y="43050"/>
                    <a:pt x="59975" y="43050"/>
                  </a:cubicBezTo>
                  <a:cubicBezTo>
                    <a:pt x="60058" y="43050"/>
                    <a:pt x="60141" y="43067"/>
                    <a:pt x="60220" y="43101"/>
                  </a:cubicBezTo>
                  <a:cubicBezTo>
                    <a:pt x="60397" y="43212"/>
                    <a:pt x="60590" y="43338"/>
                    <a:pt x="60703" y="43338"/>
                  </a:cubicBezTo>
                  <a:cubicBezTo>
                    <a:pt x="60745" y="43338"/>
                    <a:pt x="60776" y="43322"/>
                    <a:pt x="60792" y="43282"/>
                  </a:cubicBezTo>
                  <a:cubicBezTo>
                    <a:pt x="60882" y="43131"/>
                    <a:pt x="61394" y="43041"/>
                    <a:pt x="61424" y="42951"/>
                  </a:cubicBezTo>
                  <a:cubicBezTo>
                    <a:pt x="61484" y="42890"/>
                    <a:pt x="61574" y="42589"/>
                    <a:pt x="61484" y="42469"/>
                  </a:cubicBezTo>
                  <a:cubicBezTo>
                    <a:pt x="61333" y="42258"/>
                    <a:pt x="61243" y="42048"/>
                    <a:pt x="61213" y="41837"/>
                  </a:cubicBezTo>
                  <a:cubicBezTo>
                    <a:pt x="61123" y="41626"/>
                    <a:pt x="61484" y="41596"/>
                    <a:pt x="61514" y="41416"/>
                  </a:cubicBezTo>
                  <a:cubicBezTo>
                    <a:pt x="61544" y="41235"/>
                    <a:pt x="61845" y="41235"/>
                    <a:pt x="61965" y="41145"/>
                  </a:cubicBezTo>
                  <a:cubicBezTo>
                    <a:pt x="62079" y="41088"/>
                    <a:pt x="62085" y="40871"/>
                    <a:pt x="62211" y="40871"/>
                  </a:cubicBezTo>
                  <a:cubicBezTo>
                    <a:pt x="62219" y="40871"/>
                    <a:pt x="62227" y="40872"/>
                    <a:pt x="62236" y="40874"/>
                  </a:cubicBezTo>
                  <a:cubicBezTo>
                    <a:pt x="62417" y="40934"/>
                    <a:pt x="62627" y="40994"/>
                    <a:pt x="62838" y="41115"/>
                  </a:cubicBezTo>
                  <a:cubicBezTo>
                    <a:pt x="62868" y="41175"/>
                    <a:pt x="63139" y="41235"/>
                    <a:pt x="63320" y="41235"/>
                  </a:cubicBezTo>
                  <a:cubicBezTo>
                    <a:pt x="63530" y="41265"/>
                    <a:pt x="63711" y="41356"/>
                    <a:pt x="63891" y="41476"/>
                  </a:cubicBezTo>
                  <a:cubicBezTo>
                    <a:pt x="64072" y="41566"/>
                    <a:pt x="64553" y="41566"/>
                    <a:pt x="64674" y="41717"/>
                  </a:cubicBezTo>
                  <a:cubicBezTo>
                    <a:pt x="64794" y="41867"/>
                    <a:pt x="64644" y="42228"/>
                    <a:pt x="64734" y="42379"/>
                  </a:cubicBezTo>
                  <a:cubicBezTo>
                    <a:pt x="64844" y="42516"/>
                    <a:pt x="65103" y="42778"/>
                    <a:pt x="65217" y="42778"/>
                  </a:cubicBezTo>
                  <a:cubicBezTo>
                    <a:pt x="65228" y="42778"/>
                    <a:pt x="65238" y="42775"/>
                    <a:pt x="65246" y="42770"/>
                  </a:cubicBezTo>
                  <a:cubicBezTo>
                    <a:pt x="65253" y="42758"/>
                    <a:pt x="65269" y="42753"/>
                    <a:pt x="65289" y="42753"/>
                  </a:cubicBezTo>
                  <a:cubicBezTo>
                    <a:pt x="65426" y="42753"/>
                    <a:pt x="65807" y="42981"/>
                    <a:pt x="65938" y="42981"/>
                  </a:cubicBezTo>
                  <a:cubicBezTo>
                    <a:pt x="66088" y="42981"/>
                    <a:pt x="66359" y="42680"/>
                    <a:pt x="66510" y="42680"/>
                  </a:cubicBezTo>
                  <a:cubicBezTo>
                    <a:pt x="66750" y="42650"/>
                    <a:pt x="66991" y="42620"/>
                    <a:pt x="67232" y="42620"/>
                  </a:cubicBezTo>
                  <a:cubicBezTo>
                    <a:pt x="67371" y="42620"/>
                    <a:pt x="67817" y="42773"/>
                    <a:pt x="67933" y="42773"/>
                  </a:cubicBezTo>
                  <a:cubicBezTo>
                    <a:pt x="67942" y="42773"/>
                    <a:pt x="67950" y="42772"/>
                    <a:pt x="67954" y="42770"/>
                  </a:cubicBezTo>
                  <a:cubicBezTo>
                    <a:pt x="67990" y="42765"/>
                    <a:pt x="68026" y="42762"/>
                    <a:pt x="68063" y="42762"/>
                  </a:cubicBezTo>
                  <a:cubicBezTo>
                    <a:pt x="68237" y="42762"/>
                    <a:pt x="68412" y="42821"/>
                    <a:pt x="68586" y="42920"/>
                  </a:cubicBezTo>
                  <a:cubicBezTo>
                    <a:pt x="68646" y="43071"/>
                    <a:pt x="69218" y="43071"/>
                    <a:pt x="69218" y="43221"/>
                  </a:cubicBezTo>
                  <a:cubicBezTo>
                    <a:pt x="69218" y="43372"/>
                    <a:pt x="69549" y="43492"/>
                    <a:pt x="69639" y="43673"/>
                  </a:cubicBezTo>
                  <a:cubicBezTo>
                    <a:pt x="69700" y="43853"/>
                    <a:pt x="70512" y="43733"/>
                    <a:pt x="70663" y="43853"/>
                  </a:cubicBezTo>
                  <a:cubicBezTo>
                    <a:pt x="70738" y="43914"/>
                    <a:pt x="70986" y="43944"/>
                    <a:pt x="71223" y="43944"/>
                  </a:cubicBezTo>
                  <a:cubicBezTo>
                    <a:pt x="71460" y="43944"/>
                    <a:pt x="71686" y="43914"/>
                    <a:pt x="71716" y="43853"/>
                  </a:cubicBezTo>
                  <a:cubicBezTo>
                    <a:pt x="71746" y="43733"/>
                    <a:pt x="72559" y="43703"/>
                    <a:pt x="72709" y="43583"/>
                  </a:cubicBezTo>
                  <a:cubicBezTo>
                    <a:pt x="72860" y="43492"/>
                    <a:pt x="73371" y="43522"/>
                    <a:pt x="73371" y="43372"/>
                  </a:cubicBezTo>
                  <a:cubicBezTo>
                    <a:pt x="73371" y="43221"/>
                    <a:pt x="73823" y="43101"/>
                    <a:pt x="74003" y="42951"/>
                  </a:cubicBezTo>
                  <a:cubicBezTo>
                    <a:pt x="74085" y="42883"/>
                    <a:pt x="74282" y="42852"/>
                    <a:pt x="74477" y="42852"/>
                  </a:cubicBezTo>
                  <a:cubicBezTo>
                    <a:pt x="74715" y="42852"/>
                    <a:pt x="74950" y="42898"/>
                    <a:pt x="74966" y="42981"/>
                  </a:cubicBezTo>
                  <a:cubicBezTo>
                    <a:pt x="75010" y="43090"/>
                    <a:pt x="75259" y="43167"/>
                    <a:pt x="75462" y="43167"/>
                  </a:cubicBezTo>
                  <a:cubicBezTo>
                    <a:pt x="75539" y="43167"/>
                    <a:pt x="75609" y="43156"/>
                    <a:pt x="75658" y="43131"/>
                  </a:cubicBezTo>
                  <a:cubicBezTo>
                    <a:pt x="75715" y="43119"/>
                    <a:pt x="75772" y="43113"/>
                    <a:pt x="75827" y="43113"/>
                  </a:cubicBezTo>
                  <a:cubicBezTo>
                    <a:pt x="76040" y="43113"/>
                    <a:pt x="76244" y="43199"/>
                    <a:pt x="76411" y="43342"/>
                  </a:cubicBezTo>
                  <a:cubicBezTo>
                    <a:pt x="76576" y="43460"/>
                    <a:pt x="76798" y="43541"/>
                    <a:pt x="77017" y="43541"/>
                  </a:cubicBezTo>
                  <a:cubicBezTo>
                    <a:pt x="77076" y="43541"/>
                    <a:pt x="77135" y="43535"/>
                    <a:pt x="77193" y="43522"/>
                  </a:cubicBezTo>
                  <a:cubicBezTo>
                    <a:pt x="77434" y="43372"/>
                    <a:pt x="77675" y="43252"/>
                    <a:pt x="77946" y="43131"/>
                  </a:cubicBezTo>
                  <a:cubicBezTo>
                    <a:pt x="78096" y="43101"/>
                    <a:pt x="78337" y="42951"/>
                    <a:pt x="78277" y="42800"/>
                  </a:cubicBezTo>
                  <a:cubicBezTo>
                    <a:pt x="78247" y="42650"/>
                    <a:pt x="78638" y="42168"/>
                    <a:pt x="78668" y="41988"/>
                  </a:cubicBezTo>
                  <a:cubicBezTo>
                    <a:pt x="78758" y="41687"/>
                    <a:pt x="78939" y="41416"/>
                    <a:pt x="79149" y="41235"/>
                  </a:cubicBezTo>
                  <a:cubicBezTo>
                    <a:pt x="79270" y="41175"/>
                    <a:pt x="79541" y="40964"/>
                    <a:pt x="79480" y="40814"/>
                  </a:cubicBezTo>
                  <a:cubicBezTo>
                    <a:pt x="79450" y="40663"/>
                    <a:pt x="79420" y="40242"/>
                    <a:pt x="79270" y="40242"/>
                  </a:cubicBezTo>
                  <a:cubicBezTo>
                    <a:pt x="79252" y="40242"/>
                    <a:pt x="79233" y="40242"/>
                    <a:pt x="79214" y="40242"/>
                  </a:cubicBezTo>
                  <a:cubicBezTo>
                    <a:pt x="79070" y="40242"/>
                    <a:pt x="78914" y="40219"/>
                    <a:pt x="79180" y="39821"/>
                  </a:cubicBezTo>
                  <a:cubicBezTo>
                    <a:pt x="79405" y="39596"/>
                    <a:pt x="79713" y="39475"/>
                    <a:pt x="80018" y="39475"/>
                  </a:cubicBezTo>
                  <a:cubicBezTo>
                    <a:pt x="80080" y="39475"/>
                    <a:pt x="80142" y="39480"/>
                    <a:pt x="80203" y="39490"/>
                  </a:cubicBezTo>
                  <a:cubicBezTo>
                    <a:pt x="80455" y="39431"/>
                    <a:pt x="80708" y="39398"/>
                    <a:pt x="80961" y="39398"/>
                  </a:cubicBezTo>
                  <a:cubicBezTo>
                    <a:pt x="81099" y="39398"/>
                    <a:pt x="81238" y="39408"/>
                    <a:pt x="81376" y="39430"/>
                  </a:cubicBezTo>
                  <a:cubicBezTo>
                    <a:pt x="81466" y="39446"/>
                    <a:pt x="81544" y="39449"/>
                    <a:pt x="81619" y="39449"/>
                  </a:cubicBezTo>
                  <a:cubicBezTo>
                    <a:pt x="81665" y="39449"/>
                    <a:pt x="81709" y="39448"/>
                    <a:pt x="81754" y="39448"/>
                  </a:cubicBezTo>
                  <a:cubicBezTo>
                    <a:pt x="81905" y="39448"/>
                    <a:pt x="82059" y="39461"/>
                    <a:pt x="82279" y="39580"/>
                  </a:cubicBezTo>
                  <a:cubicBezTo>
                    <a:pt x="82640" y="39761"/>
                    <a:pt x="83092" y="39670"/>
                    <a:pt x="83212" y="39821"/>
                  </a:cubicBezTo>
                  <a:cubicBezTo>
                    <a:pt x="83333" y="39971"/>
                    <a:pt x="83814" y="40122"/>
                    <a:pt x="83754" y="40423"/>
                  </a:cubicBezTo>
                  <a:cubicBezTo>
                    <a:pt x="83664" y="40724"/>
                    <a:pt x="83995" y="40543"/>
                    <a:pt x="84115" y="41145"/>
                  </a:cubicBezTo>
                  <a:cubicBezTo>
                    <a:pt x="84235" y="41747"/>
                    <a:pt x="84536" y="41777"/>
                    <a:pt x="84567" y="42078"/>
                  </a:cubicBezTo>
                  <a:cubicBezTo>
                    <a:pt x="84597" y="42379"/>
                    <a:pt x="85018" y="42890"/>
                    <a:pt x="84988" y="43041"/>
                  </a:cubicBezTo>
                  <a:cubicBezTo>
                    <a:pt x="84958" y="43191"/>
                    <a:pt x="84867" y="43492"/>
                    <a:pt x="85289" y="43492"/>
                  </a:cubicBezTo>
                  <a:cubicBezTo>
                    <a:pt x="85692" y="43492"/>
                    <a:pt x="85930" y="43795"/>
                    <a:pt x="86055" y="43795"/>
                  </a:cubicBezTo>
                  <a:cubicBezTo>
                    <a:pt x="86061" y="43795"/>
                    <a:pt x="86066" y="43795"/>
                    <a:pt x="86071" y="43793"/>
                  </a:cubicBezTo>
                  <a:cubicBezTo>
                    <a:pt x="86089" y="43784"/>
                    <a:pt x="86115" y="43780"/>
                    <a:pt x="86145" y="43780"/>
                  </a:cubicBezTo>
                  <a:cubicBezTo>
                    <a:pt x="86321" y="43780"/>
                    <a:pt x="86674" y="43919"/>
                    <a:pt x="86854" y="44124"/>
                  </a:cubicBezTo>
                  <a:cubicBezTo>
                    <a:pt x="87094" y="44335"/>
                    <a:pt x="87426" y="44245"/>
                    <a:pt x="87426" y="44485"/>
                  </a:cubicBezTo>
                  <a:cubicBezTo>
                    <a:pt x="87426" y="44756"/>
                    <a:pt x="87606" y="44937"/>
                    <a:pt x="87576" y="45178"/>
                  </a:cubicBezTo>
                  <a:cubicBezTo>
                    <a:pt x="87549" y="45367"/>
                    <a:pt x="87934" y="45483"/>
                    <a:pt x="88253" y="45483"/>
                  </a:cubicBezTo>
                  <a:cubicBezTo>
                    <a:pt x="88289" y="45483"/>
                    <a:pt x="88325" y="45482"/>
                    <a:pt x="88358" y="45479"/>
                  </a:cubicBezTo>
                  <a:cubicBezTo>
                    <a:pt x="88395" y="45476"/>
                    <a:pt x="88429" y="45474"/>
                    <a:pt x="88462" y="45474"/>
                  </a:cubicBezTo>
                  <a:cubicBezTo>
                    <a:pt x="88595" y="45474"/>
                    <a:pt x="88705" y="45494"/>
                    <a:pt x="88795" y="45494"/>
                  </a:cubicBezTo>
                  <a:cubicBezTo>
                    <a:pt x="88908" y="45494"/>
                    <a:pt x="88990" y="45463"/>
                    <a:pt x="89051" y="45328"/>
                  </a:cubicBezTo>
                  <a:cubicBezTo>
                    <a:pt x="89171" y="45057"/>
                    <a:pt x="89653" y="45148"/>
                    <a:pt x="89833" y="45027"/>
                  </a:cubicBezTo>
                  <a:cubicBezTo>
                    <a:pt x="89921" y="44969"/>
                    <a:pt x="90073" y="44903"/>
                    <a:pt x="90206" y="44903"/>
                  </a:cubicBezTo>
                  <a:cubicBezTo>
                    <a:pt x="90346" y="44903"/>
                    <a:pt x="90465" y="44976"/>
                    <a:pt x="90465" y="45208"/>
                  </a:cubicBezTo>
                  <a:cubicBezTo>
                    <a:pt x="90465" y="45659"/>
                    <a:pt x="90706" y="45689"/>
                    <a:pt x="90465" y="45840"/>
                  </a:cubicBezTo>
                  <a:cubicBezTo>
                    <a:pt x="90254" y="45990"/>
                    <a:pt x="90134" y="46592"/>
                    <a:pt x="90074" y="46863"/>
                  </a:cubicBezTo>
                  <a:cubicBezTo>
                    <a:pt x="89984" y="47134"/>
                    <a:pt x="89653" y="47194"/>
                    <a:pt x="89622" y="47465"/>
                  </a:cubicBezTo>
                  <a:cubicBezTo>
                    <a:pt x="89562" y="47736"/>
                    <a:pt x="89231" y="47766"/>
                    <a:pt x="89231" y="48006"/>
                  </a:cubicBezTo>
                  <a:cubicBezTo>
                    <a:pt x="89231" y="48103"/>
                    <a:pt x="89130" y="48143"/>
                    <a:pt x="88997" y="48143"/>
                  </a:cubicBezTo>
                  <a:cubicBezTo>
                    <a:pt x="88840" y="48143"/>
                    <a:pt x="88639" y="48088"/>
                    <a:pt x="88509" y="48006"/>
                  </a:cubicBezTo>
                  <a:cubicBezTo>
                    <a:pt x="88479" y="47985"/>
                    <a:pt x="88448" y="47976"/>
                    <a:pt x="88417" y="47976"/>
                  </a:cubicBezTo>
                  <a:cubicBezTo>
                    <a:pt x="88231" y="47976"/>
                    <a:pt x="88032" y="48307"/>
                    <a:pt x="87877" y="48307"/>
                  </a:cubicBezTo>
                  <a:cubicBezTo>
                    <a:pt x="87696" y="48307"/>
                    <a:pt x="87696" y="48669"/>
                    <a:pt x="87726" y="48849"/>
                  </a:cubicBezTo>
                  <a:cubicBezTo>
                    <a:pt x="87757" y="49060"/>
                    <a:pt x="87696" y="49240"/>
                    <a:pt x="87817" y="49511"/>
                  </a:cubicBezTo>
                  <a:cubicBezTo>
                    <a:pt x="87907" y="49752"/>
                    <a:pt x="87817" y="49963"/>
                    <a:pt x="87847" y="50264"/>
                  </a:cubicBezTo>
                  <a:cubicBezTo>
                    <a:pt x="88057" y="50083"/>
                    <a:pt x="88268" y="49993"/>
                    <a:pt x="88509" y="49902"/>
                  </a:cubicBezTo>
                  <a:cubicBezTo>
                    <a:pt x="88780" y="49902"/>
                    <a:pt x="89081" y="50414"/>
                    <a:pt x="89412" y="50414"/>
                  </a:cubicBezTo>
                  <a:cubicBezTo>
                    <a:pt x="89773" y="50414"/>
                    <a:pt x="91217" y="49421"/>
                    <a:pt x="91217" y="49270"/>
                  </a:cubicBezTo>
                  <a:cubicBezTo>
                    <a:pt x="91639" y="48759"/>
                    <a:pt x="92090" y="48277"/>
                    <a:pt x="92542" y="47856"/>
                  </a:cubicBezTo>
                  <a:cubicBezTo>
                    <a:pt x="92993" y="47375"/>
                    <a:pt x="93384" y="46863"/>
                    <a:pt x="93715" y="46291"/>
                  </a:cubicBezTo>
                  <a:cubicBezTo>
                    <a:pt x="93956" y="45900"/>
                    <a:pt x="94227" y="45509"/>
                    <a:pt x="94528" y="45178"/>
                  </a:cubicBezTo>
                  <a:cubicBezTo>
                    <a:pt x="94739" y="44907"/>
                    <a:pt x="94889" y="44636"/>
                    <a:pt x="95039" y="44335"/>
                  </a:cubicBezTo>
                  <a:cubicBezTo>
                    <a:pt x="95280" y="43823"/>
                    <a:pt x="95280" y="42349"/>
                    <a:pt x="95371" y="42289"/>
                  </a:cubicBezTo>
                  <a:cubicBezTo>
                    <a:pt x="95431" y="42198"/>
                    <a:pt x="95401" y="41927"/>
                    <a:pt x="95521" y="41777"/>
                  </a:cubicBezTo>
                  <a:cubicBezTo>
                    <a:pt x="95641" y="41626"/>
                    <a:pt x="95581" y="41416"/>
                    <a:pt x="95822" y="41235"/>
                  </a:cubicBezTo>
                  <a:cubicBezTo>
                    <a:pt x="96003" y="41115"/>
                    <a:pt x="96033" y="40874"/>
                    <a:pt x="95942" y="40693"/>
                  </a:cubicBezTo>
                  <a:cubicBezTo>
                    <a:pt x="95882" y="40543"/>
                    <a:pt x="95972" y="40212"/>
                    <a:pt x="95882" y="40092"/>
                  </a:cubicBezTo>
                  <a:cubicBezTo>
                    <a:pt x="95822" y="39971"/>
                    <a:pt x="95852" y="39941"/>
                    <a:pt x="95972" y="39881"/>
                  </a:cubicBezTo>
                  <a:cubicBezTo>
                    <a:pt x="96093" y="39791"/>
                    <a:pt x="95882" y="39580"/>
                    <a:pt x="95702" y="39460"/>
                  </a:cubicBezTo>
                  <a:cubicBezTo>
                    <a:pt x="95521" y="39339"/>
                    <a:pt x="95250" y="39309"/>
                    <a:pt x="95220" y="39068"/>
                  </a:cubicBezTo>
                  <a:cubicBezTo>
                    <a:pt x="95100" y="38798"/>
                    <a:pt x="94859" y="38617"/>
                    <a:pt x="94588" y="38587"/>
                  </a:cubicBezTo>
                  <a:cubicBezTo>
                    <a:pt x="94565" y="38590"/>
                    <a:pt x="94540" y="38591"/>
                    <a:pt x="94513" y="38591"/>
                  </a:cubicBezTo>
                  <a:cubicBezTo>
                    <a:pt x="94357" y="38591"/>
                    <a:pt x="94147" y="38549"/>
                    <a:pt x="94017" y="38549"/>
                  </a:cubicBezTo>
                  <a:cubicBezTo>
                    <a:pt x="93936" y="38549"/>
                    <a:pt x="93885" y="38565"/>
                    <a:pt x="93896" y="38617"/>
                  </a:cubicBezTo>
                  <a:cubicBezTo>
                    <a:pt x="93923" y="38754"/>
                    <a:pt x="93901" y="38892"/>
                    <a:pt x="93782" y="38892"/>
                  </a:cubicBezTo>
                  <a:cubicBezTo>
                    <a:pt x="93771" y="38892"/>
                    <a:pt x="93759" y="38890"/>
                    <a:pt x="93745" y="38888"/>
                  </a:cubicBezTo>
                  <a:cubicBezTo>
                    <a:pt x="93730" y="38885"/>
                    <a:pt x="93716" y="38883"/>
                    <a:pt x="93703" y="38883"/>
                  </a:cubicBezTo>
                  <a:cubicBezTo>
                    <a:pt x="93588" y="38883"/>
                    <a:pt x="93549" y="39000"/>
                    <a:pt x="93414" y="39189"/>
                  </a:cubicBezTo>
                  <a:cubicBezTo>
                    <a:pt x="93334" y="39317"/>
                    <a:pt x="93144" y="39385"/>
                    <a:pt x="93024" y="39385"/>
                  </a:cubicBezTo>
                  <a:cubicBezTo>
                    <a:pt x="92918" y="39385"/>
                    <a:pt x="92866" y="39332"/>
                    <a:pt x="92993" y="39219"/>
                  </a:cubicBezTo>
                  <a:cubicBezTo>
                    <a:pt x="93264" y="39008"/>
                    <a:pt x="92873" y="39008"/>
                    <a:pt x="92963" y="38767"/>
                  </a:cubicBezTo>
                  <a:cubicBezTo>
                    <a:pt x="93011" y="38599"/>
                    <a:pt x="93117" y="38393"/>
                    <a:pt x="93035" y="38393"/>
                  </a:cubicBezTo>
                  <a:cubicBezTo>
                    <a:pt x="93014" y="38393"/>
                    <a:pt x="92981" y="38406"/>
                    <a:pt x="92933" y="38436"/>
                  </a:cubicBezTo>
                  <a:cubicBezTo>
                    <a:pt x="92662" y="38587"/>
                    <a:pt x="92662" y="38978"/>
                    <a:pt x="92421" y="39008"/>
                  </a:cubicBezTo>
                  <a:cubicBezTo>
                    <a:pt x="92416" y="39009"/>
                    <a:pt x="92412" y="39009"/>
                    <a:pt x="92407" y="39009"/>
                  </a:cubicBezTo>
                  <a:cubicBezTo>
                    <a:pt x="92213" y="39009"/>
                    <a:pt x="92272" y="38402"/>
                    <a:pt x="92331" y="38226"/>
                  </a:cubicBezTo>
                  <a:cubicBezTo>
                    <a:pt x="92342" y="38152"/>
                    <a:pt x="92296" y="38130"/>
                    <a:pt x="92211" y="38130"/>
                  </a:cubicBezTo>
                  <a:cubicBezTo>
                    <a:pt x="92086" y="38130"/>
                    <a:pt x="91876" y="38177"/>
                    <a:pt x="91628" y="38177"/>
                  </a:cubicBezTo>
                  <a:cubicBezTo>
                    <a:pt x="91564" y="38177"/>
                    <a:pt x="91497" y="38174"/>
                    <a:pt x="91428" y="38166"/>
                  </a:cubicBezTo>
                  <a:cubicBezTo>
                    <a:pt x="90886" y="38135"/>
                    <a:pt x="91067" y="37804"/>
                    <a:pt x="91458" y="37624"/>
                  </a:cubicBezTo>
                  <a:cubicBezTo>
                    <a:pt x="91819" y="37413"/>
                    <a:pt x="91789" y="37203"/>
                    <a:pt x="91970" y="37112"/>
                  </a:cubicBezTo>
                  <a:lnTo>
                    <a:pt x="92993" y="36510"/>
                  </a:lnTo>
                  <a:cubicBezTo>
                    <a:pt x="93204" y="36390"/>
                    <a:pt x="93384" y="36209"/>
                    <a:pt x="93444" y="35969"/>
                  </a:cubicBezTo>
                  <a:cubicBezTo>
                    <a:pt x="93535" y="35728"/>
                    <a:pt x="94076" y="35517"/>
                    <a:pt x="94588" y="35096"/>
                  </a:cubicBezTo>
                  <a:cubicBezTo>
                    <a:pt x="94919" y="34855"/>
                    <a:pt x="95220" y="34554"/>
                    <a:pt x="95431" y="34193"/>
                  </a:cubicBezTo>
                  <a:cubicBezTo>
                    <a:pt x="95551" y="33952"/>
                    <a:pt x="96303" y="33651"/>
                    <a:pt x="96334" y="33471"/>
                  </a:cubicBezTo>
                  <a:cubicBezTo>
                    <a:pt x="96394" y="33290"/>
                    <a:pt x="97206" y="32809"/>
                    <a:pt x="97808" y="32688"/>
                  </a:cubicBezTo>
                  <a:cubicBezTo>
                    <a:pt x="97959" y="32658"/>
                    <a:pt x="98130" y="32645"/>
                    <a:pt x="98305" y="32645"/>
                  </a:cubicBezTo>
                  <a:cubicBezTo>
                    <a:pt x="98831" y="32645"/>
                    <a:pt x="99396" y="32764"/>
                    <a:pt x="99554" y="32899"/>
                  </a:cubicBezTo>
                  <a:cubicBezTo>
                    <a:pt x="99625" y="32983"/>
                    <a:pt x="99688" y="33014"/>
                    <a:pt x="99742" y="33014"/>
                  </a:cubicBezTo>
                  <a:cubicBezTo>
                    <a:pt x="99825" y="33014"/>
                    <a:pt x="99890" y="32941"/>
                    <a:pt x="99945" y="32869"/>
                  </a:cubicBezTo>
                  <a:cubicBezTo>
                    <a:pt x="99990" y="32823"/>
                    <a:pt x="100053" y="32808"/>
                    <a:pt x="100133" y="32808"/>
                  </a:cubicBezTo>
                  <a:cubicBezTo>
                    <a:pt x="100264" y="32808"/>
                    <a:pt x="100442" y="32850"/>
                    <a:pt x="100667" y="32869"/>
                  </a:cubicBezTo>
                  <a:cubicBezTo>
                    <a:pt x="100694" y="32871"/>
                    <a:pt x="100719" y="32872"/>
                    <a:pt x="100742" y="32872"/>
                  </a:cubicBezTo>
                  <a:cubicBezTo>
                    <a:pt x="101027" y="32872"/>
                    <a:pt x="101138" y="32738"/>
                    <a:pt x="101345" y="32738"/>
                  </a:cubicBezTo>
                  <a:cubicBezTo>
                    <a:pt x="101377" y="32738"/>
                    <a:pt x="101412" y="32741"/>
                    <a:pt x="101450" y="32749"/>
                  </a:cubicBezTo>
                  <a:cubicBezTo>
                    <a:pt x="101577" y="32787"/>
                    <a:pt x="101688" y="32820"/>
                    <a:pt x="101786" y="32820"/>
                  </a:cubicBezTo>
                  <a:cubicBezTo>
                    <a:pt x="101918" y="32820"/>
                    <a:pt x="102025" y="32759"/>
                    <a:pt x="102112" y="32568"/>
                  </a:cubicBezTo>
                  <a:cubicBezTo>
                    <a:pt x="102192" y="32392"/>
                    <a:pt x="102451" y="32326"/>
                    <a:pt x="102703" y="32326"/>
                  </a:cubicBezTo>
                  <a:cubicBezTo>
                    <a:pt x="102924" y="32326"/>
                    <a:pt x="103141" y="32377"/>
                    <a:pt x="103225" y="32448"/>
                  </a:cubicBezTo>
                  <a:cubicBezTo>
                    <a:pt x="103347" y="32549"/>
                    <a:pt x="103441" y="32650"/>
                    <a:pt x="103573" y="32650"/>
                  </a:cubicBezTo>
                  <a:cubicBezTo>
                    <a:pt x="103637" y="32650"/>
                    <a:pt x="103709" y="32627"/>
                    <a:pt x="103797" y="32568"/>
                  </a:cubicBezTo>
                  <a:cubicBezTo>
                    <a:pt x="103845" y="32536"/>
                    <a:pt x="103885" y="32523"/>
                    <a:pt x="103920" y="32523"/>
                  </a:cubicBezTo>
                  <a:cubicBezTo>
                    <a:pt x="104086" y="32523"/>
                    <a:pt x="104146" y="32814"/>
                    <a:pt x="104369" y="32839"/>
                  </a:cubicBezTo>
                  <a:cubicBezTo>
                    <a:pt x="104597" y="32867"/>
                    <a:pt x="104447" y="33112"/>
                    <a:pt x="104251" y="33112"/>
                  </a:cubicBezTo>
                  <a:cubicBezTo>
                    <a:pt x="104240" y="33112"/>
                    <a:pt x="104229" y="33111"/>
                    <a:pt x="104218" y="33110"/>
                  </a:cubicBezTo>
                  <a:cubicBezTo>
                    <a:pt x="104181" y="33100"/>
                    <a:pt x="104142" y="33096"/>
                    <a:pt x="104105" y="33096"/>
                  </a:cubicBezTo>
                  <a:cubicBezTo>
                    <a:pt x="103898" y="33096"/>
                    <a:pt x="103719" y="33223"/>
                    <a:pt x="103948" y="33350"/>
                  </a:cubicBezTo>
                  <a:cubicBezTo>
                    <a:pt x="104003" y="33381"/>
                    <a:pt x="104061" y="33393"/>
                    <a:pt x="104119" y="33393"/>
                  </a:cubicBezTo>
                  <a:cubicBezTo>
                    <a:pt x="104322" y="33393"/>
                    <a:pt x="104536" y="33252"/>
                    <a:pt x="104698" y="33252"/>
                  </a:cubicBezTo>
                  <a:cubicBezTo>
                    <a:pt x="104720" y="33252"/>
                    <a:pt x="104741" y="33255"/>
                    <a:pt x="104760" y="33260"/>
                  </a:cubicBezTo>
                  <a:cubicBezTo>
                    <a:pt x="104812" y="33265"/>
                    <a:pt x="104862" y="33268"/>
                    <a:pt x="104913" y="33268"/>
                  </a:cubicBezTo>
                  <a:cubicBezTo>
                    <a:pt x="105154" y="33268"/>
                    <a:pt x="105378" y="33209"/>
                    <a:pt x="105603" y="33110"/>
                  </a:cubicBezTo>
                  <a:cubicBezTo>
                    <a:pt x="105667" y="33060"/>
                    <a:pt x="105721" y="33042"/>
                    <a:pt x="105769" y="33042"/>
                  </a:cubicBezTo>
                  <a:cubicBezTo>
                    <a:pt x="105887" y="33042"/>
                    <a:pt x="105967" y="33147"/>
                    <a:pt x="106070" y="33147"/>
                  </a:cubicBezTo>
                  <a:cubicBezTo>
                    <a:pt x="106102" y="33147"/>
                    <a:pt x="106136" y="33137"/>
                    <a:pt x="106175" y="33110"/>
                  </a:cubicBezTo>
                  <a:cubicBezTo>
                    <a:pt x="106358" y="32979"/>
                    <a:pt x="106610" y="32893"/>
                    <a:pt x="106851" y="32893"/>
                  </a:cubicBezTo>
                  <a:cubicBezTo>
                    <a:pt x="106887" y="32893"/>
                    <a:pt x="106922" y="32895"/>
                    <a:pt x="106957" y="32899"/>
                  </a:cubicBezTo>
                  <a:cubicBezTo>
                    <a:pt x="107168" y="32899"/>
                    <a:pt x="106987" y="32658"/>
                    <a:pt x="106656" y="32658"/>
                  </a:cubicBezTo>
                  <a:cubicBezTo>
                    <a:pt x="106325" y="32658"/>
                    <a:pt x="106325" y="32448"/>
                    <a:pt x="106566" y="31966"/>
                  </a:cubicBezTo>
                  <a:cubicBezTo>
                    <a:pt x="106837" y="31485"/>
                    <a:pt x="107408" y="31244"/>
                    <a:pt x="107739" y="30943"/>
                  </a:cubicBezTo>
                  <a:cubicBezTo>
                    <a:pt x="108071" y="30642"/>
                    <a:pt x="108341" y="30792"/>
                    <a:pt x="108341" y="30612"/>
                  </a:cubicBezTo>
                  <a:cubicBezTo>
                    <a:pt x="108341" y="30431"/>
                    <a:pt x="108492" y="29890"/>
                    <a:pt x="108763" y="29890"/>
                  </a:cubicBezTo>
                  <a:cubicBezTo>
                    <a:pt x="108898" y="29890"/>
                    <a:pt x="109124" y="29912"/>
                    <a:pt x="109368" y="29912"/>
                  </a:cubicBezTo>
                  <a:cubicBezTo>
                    <a:pt x="109613" y="29912"/>
                    <a:pt x="109876" y="29890"/>
                    <a:pt x="110087" y="29799"/>
                  </a:cubicBezTo>
                  <a:cubicBezTo>
                    <a:pt x="110174" y="29752"/>
                    <a:pt x="110239" y="29734"/>
                    <a:pt x="110289" y="29734"/>
                  </a:cubicBezTo>
                  <a:cubicBezTo>
                    <a:pt x="110463" y="29734"/>
                    <a:pt x="110458" y="29956"/>
                    <a:pt x="110598" y="29980"/>
                  </a:cubicBezTo>
                  <a:cubicBezTo>
                    <a:pt x="110606" y="29981"/>
                    <a:pt x="110613" y="29982"/>
                    <a:pt x="110620" y="29982"/>
                  </a:cubicBezTo>
                  <a:cubicBezTo>
                    <a:pt x="110764" y="29982"/>
                    <a:pt x="110925" y="29762"/>
                    <a:pt x="111074" y="29762"/>
                  </a:cubicBezTo>
                  <a:cubicBezTo>
                    <a:pt x="111107" y="29762"/>
                    <a:pt x="111139" y="29773"/>
                    <a:pt x="111170" y="29799"/>
                  </a:cubicBezTo>
                  <a:cubicBezTo>
                    <a:pt x="111351" y="29950"/>
                    <a:pt x="110869" y="30160"/>
                    <a:pt x="110779" y="30491"/>
                  </a:cubicBezTo>
                  <a:cubicBezTo>
                    <a:pt x="110719" y="30853"/>
                    <a:pt x="111020" y="30732"/>
                    <a:pt x="111200" y="30792"/>
                  </a:cubicBezTo>
                  <a:cubicBezTo>
                    <a:pt x="111381" y="30883"/>
                    <a:pt x="110990" y="31033"/>
                    <a:pt x="111020" y="31153"/>
                  </a:cubicBezTo>
                  <a:cubicBezTo>
                    <a:pt x="111028" y="31178"/>
                    <a:pt x="111065" y="31194"/>
                    <a:pt x="111125" y="31194"/>
                  </a:cubicBezTo>
                  <a:cubicBezTo>
                    <a:pt x="111284" y="31194"/>
                    <a:pt x="111603" y="31082"/>
                    <a:pt x="111953" y="30732"/>
                  </a:cubicBezTo>
                  <a:cubicBezTo>
                    <a:pt x="112381" y="30304"/>
                    <a:pt x="112833" y="30090"/>
                    <a:pt x="113160" y="30090"/>
                  </a:cubicBezTo>
                  <a:cubicBezTo>
                    <a:pt x="113201" y="30090"/>
                    <a:pt x="113240" y="30093"/>
                    <a:pt x="113277" y="30100"/>
                  </a:cubicBezTo>
                  <a:cubicBezTo>
                    <a:pt x="113291" y="30101"/>
                    <a:pt x="113304" y="30102"/>
                    <a:pt x="113316" y="30102"/>
                  </a:cubicBezTo>
                  <a:cubicBezTo>
                    <a:pt x="113593" y="30102"/>
                    <a:pt x="113427" y="29780"/>
                    <a:pt x="113427" y="29348"/>
                  </a:cubicBezTo>
                  <a:cubicBezTo>
                    <a:pt x="113427" y="28994"/>
                    <a:pt x="114075" y="28788"/>
                    <a:pt x="114514" y="28788"/>
                  </a:cubicBezTo>
                  <a:cubicBezTo>
                    <a:pt x="114635" y="28788"/>
                    <a:pt x="114740" y="28804"/>
                    <a:pt x="114812" y="28836"/>
                  </a:cubicBezTo>
                  <a:cubicBezTo>
                    <a:pt x="115083" y="28960"/>
                    <a:pt x="115112" y="29063"/>
                    <a:pt x="114931" y="29063"/>
                  </a:cubicBezTo>
                  <a:cubicBezTo>
                    <a:pt x="114891" y="29063"/>
                    <a:pt x="114841" y="29058"/>
                    <a:pt x="114782" y="29047"/>
                  </a:cubicBezTo>
                  <a:cubicBezTo>
                    <a:pt x="114739" y="29035"/>
                    <a:pt x="114697" y="29030"/>
                    <a:pt x="114656" y="29030"/>
                  </a:cubicBezTo>
                  <a:cubicBezTo>
                    <a:pt x="114385" y="29030"/>
                    <a:pt x="114180" y="29282"/>
                    <a:pt x="114180" y="29649"/>
                  </a:cubicBezTo>
                  <a:cubicBezTo>
                    <a:pt x="114180" y="30040"/>
                    <a:pt x="113909" y="30160"/>
                    <a:pt x="114059" y="30311"/>
                  </a:cubicBezTo>
                  <a:cubicBezTo>
                    <a:pt x="114210" y="30461"/>
                    <a:pt x="113849" y="30491"/>
                    <a:pt x="113849" y="30642"/>
                  </a:cubicBezTo>
                  <a:cubicBezTo>
                    <a:pt x="113849" y="30792"/>
                    <a:pt x="113849" y="30943"/>
                    <a:pt x="113608" y="31033"/>
                  </a:cubicBezTo>
                  <a:cubicBezTo>
                    <a:pt x="113397" y="31093"/>
                    <a:pt x="112555" y="31184"/>
                    <a:pt x="112555" y="31485"/>
                  </a:cubicBezTo>
                  <a:cubicBezTo>
                    <a:pt x="112555" y="31785"/>
                    <a:pt x="112103" y="31816"/>
                    <a:pt x="111923" y="32207"/>
                  </a:cubicBezTo>
                  <a:cubicBezTo>
                    <a:pt x="111742" y="32568"/>
                    <a:pt x="110930" y="32809"/>
                    <a:pt x="110448" y="33561"/>
                  </a:cubicBezTo>
                  <a:cubicBezTo>
                    <a:pt x="109967" y="34313"/>
                    <a:pt x="109124" y="34313"/>
                    <a:pt x="109124" y="34404"/>
                  </a:cubicBezTo>
                  <a:cubicBezTo>
                    <a:pt x="109124" y="34524"/>
                    <a:pt x="108612" y="34554"/>
                    <a:pt x="108432" y="34554"/>
                  </a:cubicBezTo>
                  <a:cubicBezTo>
                    <a:pt x="108221" y="34554"/>
                    <a:pt x="108582" y="35066"/>
                    <a:pt x="108161" y="35547"/>
                  </a:cubicBezTo>
                  <a:cubicBezTo>
                    <a:pt x="107679" y="36029"/>
                    <a:pt x="107408" y="36661"/>
                    <a:pt x="107408" y="37353"/>
                  </a:cubicBezTo>
                  <a:cubicBezTo>
                    <a:pt x="107439" y="38015"/>
                    <a:pt x="107619" y="39941"/>
                    <a:pt x="107860" y="40272"/>
                  </a:cubicBezTo>
                  <a:cubicBezTo>
                    <a:pt x="108071" y="40633"/>
                    <a:pt x="107920" y="41446"/>
                    <a:pt x="108071" y="41626"/>
                  </a:cubicBezTo>
                  <a:cubicBezTo>
                    <a:pt x="108221" y="41837"/>
                    <a:pt x="108191" y="42078"/>
                    <a:pt x="108311" y="42198"/>
                  </a:cubicBezTo>
                  <a:cubicBezTo>
                    <a:pt x="108323" y="42209"/>
                    <a:pt x="108336" y="42215"/>
                    <a:pt x="108352" y="42215"/>
                  </a:cubicBezTo>
                  <a:cubicBezTo>
                    <a:pt x="108504" y="42215"/>
                    <a:pt x="108851" y="41722"/>
                    <a:pt x="109124" y="41476"/>
                  </a:cubicBezTo>
                  <a:cubicBezTo>
                    <a:pt x="109425" y="41235"/>
                    <a:pt x="109335" y="41145"/>
                    <a:pt x="109545" y="41025"/>
                  </a:cubicBezTo>
                  <a:cubicBezTo>
                    <a:pt x="109786" y="40934"/>
                    <a:pt x="109666" y="40362"/>
                    <a:pt x="109696" y="40212"/>
                  </a:cubicBezTo>
                  <a:cubicBezTo>
                    <a:pt x="109726" y="40062"/>
                    <a:pt x="110117" y="40031"/>
                    <a:pt x="110267" y="39881"/>
                  </a:cubicBezTo>
                  <a:cubicBezTo>
                    <a:pt x="110418" y="39730"/>
                    <a:pt x="110689" y="39791"/>
                    <a:pt x="110839" y="39761"/>
                  </a:cubicBezTo>
                  <a:cubicBezTo>
                    <a:pt x="110990" y="39730"/>
                    <a:pt x="110839" y="39309"/>
                    <a:pt x="110749" y="39068"/>
                  </a:cubicBezTo>
                  <a:cubicBezTo>
                    <a:pt x="110689" y="38858"/>
                    <a:pt x="111230" y="38557"/>
                    <a:pt x="111501" y="38376"/>
                  </a:cubicBezTo>
                  <a:cubicBezTo>
                    <a:pt x="111586" y="38311"/>
                    <a:pt x="111679" y="38295"/>
                    <a:pt x="111778" y="38295"/>
                  </a:cubicBezTo>
                  <a:cubicBezTo>
                    <a:pt x="111872" y="38295"/>
                    <a:pt x="111972" y="38309"/>
                    <a:pt x="112075" y="38309"/>
                  </a:cubicBezTo>
                  <a:cubicBezTo>
                    <a:pt x="112211" y="38309"/>
                    <a:pt x="112353" y="38284"/>
                    <a:pt x="112494" y="38166"/>
                  </a:cubicBezTo>
                  <a:cubicBezTo>
                    <a:pt x="112826" y="37865"/>
                    <a:pt x="112434" y="37534"/>
                    <a:pt x="112344" y="37383"/>
                  </a:cubicBezTo>
                  <a:cubicBezTo>
                    <a:pt x="112224" y="37233"/>
                    <a:pt x="112645" y="36510"/>
                    <a:pt x="112886" y="36450"/>
                  </a:cubicBezTo>
                  <a:cubicBezTo>
                    <a:pt x="112927" y="36436"/>
                    <a:pt x="112965" y="36431"/>
                    <a:pt x="113000" y="36431"/>
                  </a:cubicBezTo>
                  <a:cubicBezTo>
                    <a:pt x="113127" y="36431"/>
                    <a:pt x="113220" y="36502"/>
                    <a:pt x="113319" y="36502"/>
                  </a:cubicBezTo>
                  <a:cubicBezTo>
                    <a:pt x="113371" y="36502"/>
                    <a:pt x="113425" y="36482"/>
                    <a:pt x="113488" y="36420"/>
                  </a:cubicBezTo>
                  <a:cubicBezTo>
                    <a:pt x="113718" y="36190"/>
                    <a:pt x="113314" y="35876"/>
                    <a:pt x="113147" y="35876"/>
                  </a:cubicBezTo>
                  <a:cubicBezTo>
                    <a:pt x="113140" y="35876"/>
                    <a:pt x="113133" y="35877"/>
                    <a:pt x="113126" y="35878"/>
                  </a:cubicBezTo>
                  <a:cubicBezTo>
                    <a:pt x="113123" y="35879"/>
                    <a:pt x="113120" y="35879"/>
                    <a:pt x="113116" y="35879"/>
                  </a:cubicBezTo>
                  <a:cubicBezTo>
                    <a:pt x="112972" y="35879"/>
                    <a:pt x="112895" y="35269"/>
                    <a:pt x="113277" y="34976"/>
                  </a:cubicBezTo>
                  <a:cubicBezTo>
                    <a:pt x="113638" y="34675"/>
                    <a:pt x="113548" y="34644"/>
                    <a:pt x="113277" y="34554"/>
                  </a:cubicBezTo>
                  <a:cubicBezTo>
                    <a:pt x="113223" y="34542"/>
                    <a:pt x="113178" y="34537"/>
                    <a:pt x="113140" y="34537"/>
                  </a:cubicBezTo>
                  <a:cubicBezTo>
                    <a:pt x="112986" y="34537"/>
                    <a:pt x="112928" y="34614"/>
                    <a:pt x="112735" y="34614"/>
                  </a:cubicBezTo>
                  <a:cubicBezTo>
                    <a:pt x="112525" y="34614"/>
                    <a:pt x="112374" y="34193"/>
                    <a:pt x="112675" y="33772"/>
                  </a:cubicBezTo>
                  <a:cubicBezTo>
                    <a:pt x="112976" y="33350"/>
                    <a:pt x="113277" y="33441"/>
                    <a:pt x="113337" y="33110"/>
                  </a:cubicBezTo>
                  <a:cubicBezTo>
                    <a:pt x="113488" y="32718"/>
                    <a:pt x="113698" y="32387"/>
                    <a:pt x="113939" y="32086"/>
                  </a:cubicBezTo>
                  <a:cubicBezTo>
                    <a:pt x="113970" y="32024"/>
                    <a:pt x="114044" y="32005"/>
                    <a:pt x="114133" y="32005"/>
                  </a:cubicBezTo>
                  <a:cubicBezTo>
                    <a:pt x="114283" y="32005"/>
                    <a:pt x="114477" y="32060"/>
                    <a:pt x="114590" y="32060"/>
                  </a:cubicBezTo>
                  <a:cubicBezTo>
                    <a:pt x="114605" y="32060"/>
                    <a:pt x="114619" y="32059"/>
                    <a:pt x="114631" y="32056"/>
                  </a:cubicBezTo>
                  <a:cubicBezTo>
                    <a:pt x="114642" y="32052"/>
                    <a:pt x="114652" y="32050"/>
                    <a:pt x="114661" y="32050"/>
                  </a:cubicBezTo>
                  <a:cubicBezTo>
                    <a:pt x="114754" y="32050"/>
                    <a:pt x="114765" y="32255"/>
                    <a:pt x="114849" y="32255"/>
                  </a:cubicBezTo>
                  <a:cubicBezTo>
                    <a:pt x="114871" y="32255"/>
                    <a:pt x="114898" y="32241"/>
                    <a:pt x="114932" y="32207"/>
                  </a:cubicBezTo>
                  <a:cubicBezTo>
                    <a:pt x="115113" y="31996"/>
                    <a:pt x="115444" y="31454"/>
                    <a:pt x="115715" y="31454"/>
                  </a:cubicBezTo>
                  <a:cubicBezTo>
                    <a:pt x="115985" y="31454"/>
                    <a:pt x="115835" y="31846"/>
                    <a:pt x="115895" y="32117"/>
                  </a:cubicBezTo>
                  <a:cubicBezTo>
                    <a:pt x="115918" y="32186"/>
                    <a:pt x="115943" y="32216"/>
                    <a:pt x="115977" y="32216"/>
                  </a:cubicBezTo>
                  <a:cubicBezTo>
                    <a:pt x="116073" y="32216"/>
                    <a:pt x="116237" y="31964"/>
                    <a:pt x="116617" y="31695"/>
                  </a:cubicBezTo>
                  <a:cubicBezTo>
                    <a:pt x="116998" y="31514"/>
                    <a:pt x="117401" y="31420"/>
                    <a:pt x="117805" y="31420"/>
                  </a:cubicBezTo>
                  <a:cubicBezTo>
                    <a:pt x="118072" y="31420"/>
                    <a:pt x="118340" y="31461"/>
                    <a:pt x="118604" y="31545"/>
                  </a:cubicBezTo>
                  <a:cubicBezTo>
                    <a:pt x="118952" y="31690"/>
                    <a:pt x="118992" y="32058"/>
                    <a:pt x="119156" y="32058"/>
                  </a:cubicBezTo>
                  <a:cubicBezTo>
                    <a:pt x="119162" y="32058"/>
                    <a:pt x="119169" y="32057"/>
                    <a:pt x="119176" y="32056"/>
                  </a:cubicBezTo>
                  <a:cubicBezTo>
                    <a:pt x="119356" y="31996"/>
                    <a:pt x="119266" y="31665"/>
                    <a:pt x="119507" y="31605"/>
                  </a:cubicBezTo>
                  <a:cubicBezTo>
                    <a:pt x="119928" y="31424"/>
                    <a:pt x="120319" y="31214"/>
                    <a:pt x="120680" y="30943"/>
                  </a:cubicBezTo>
                  <a:cubicBezTo>
                    <a:pt x="121011" y="30642"/>
                    <a:pt x="120951" y="30883"/>
                    <a:pt x="121132" y="30612"/>
                  </a:cubicBezTo>
                  <a:cubicBezTo>
                    <a:pt x="121312" y="30341"/>
                    <a:pt x="121553" y="30491"/>
                    <a:pt x="121583" y="30311"/>
                  </a:cubicBezTo>
                  <a:cubicBezTo>
                    <a:pt x="121613" y="30130"/>
                    <a:pt x="122185" y="29890"/>
                    <a:pt x="122937" y="29709"/>
                  </a:cubicBezTo>
                  <a:cubicBezTo>
                    <a:pt x="123690" y="29528"/>
                    <a:pt x="124623" y="29077"/>
                    <a:pt x="124562" y="28926"/>
                  </a:cubicBezTo>
                  <a:cubicBezTo>
                    <a:pt x="124505" y="28830"/>
                    <a:pt x="124643" y="28759"/>
                    <a:pt x="124759" y="28759"/>
                  </a:cubicBezTo>
                  <a:cubicBezTo>
                    <a:pt x="124825" y="28759"/>
                    <a:pt x="124883" y="28782"/>
                    <a:pt x="124894" y="28836"/>
                  </a:cubicBezTo>
                  <a:cubicBezTo>
                    <a:pt x="124924" y="28987"/>
                    <a:pt x="125194" y="28926"/>
                    <a:pt x="125616" y="29047"/>
                  </a:cubicBezTo>
                  <a:cubicBezTo>
                    <a:pt x="125834" y="29094"/>
                    <a:pt x="125964" y="29149"/>
                    <a:pt x="126088" y="29149"/>
                  </a:cubicBezTo>
                  <a:cubicBezTo>
                    <a:pt x="126204" y="29149"/>
                    <a:pt x="126315" y="29101"/>
                    <a:pt x="126489" y="28957"/>
                  </a:cubicBezTo>
                  <a:cubicBezTo>
                    <a:pt x="126820" y="28656"/>
                    <a:pt x="126428" y="28535"/>
                    <a:pt x="126428" y="28325"/>
                  </a:cubicBezTo>
                  <a:cubicBezTo>
                    <a:pt x="126428" y="28084"/>
                    <a:pt x="125917" y="27843"/>
                    <a:pt x="125977" y="27572"/>
                  </a:cubicBezTo>
                  <a:cubicBezTo>
                    <a:pt x="126058" y="27330"/>
                    <a:pt x="125680" y="26797"/>
                    <a:pt x="125492" y="26797"/>
                  </a:cubicBezTo>
                  <a:cubicBezTo>
                    <a:pt x="125470" y="26797"/>
                    <a:pt x="125451" y="26804"/>
                    <a:pt x="125435" y="26820"/>
                  </a:cubicBezTo>
                  <a:cubicBezTo>
                    <a:pt x="125405" y="26851"/>
                    <a:pt x="125368" y="26864"/>
                    <a:pt x="125328" y="26864"/>
                  </a:cubicBezTo>
                  <a:cubicBezTo>
                    <a:pt x="125175" y="26864"/>
                    <a:pt x="124984" y="26663"/>
                    <a:pt x="124984" y="26519"/>
                  </a:cubicBezTo>
                  <a:cubicBezTo>
                    <a:pt x="124984" y="26378"/>
                    <a:pt x="124947" y="26201"/>
                    <a:pt x="124831" y="26201"/>
                  </a:cubicBezTo>
                  <a:cubicBezTo>
                    <a:pt x="124798" y="26201"/>
                    <a:pt x="124759" y="26215"/>
                    <a:pt x="124713" y="26248"/>
                  </a:cubicBezTo>
                  <a:cubicBezTo>
                    <a:pt x="124641" y="26299"/>
                    <a:pt x="124558" y="26323"/>
                    <a:pt x="124476" y="26323"/>
                  </a:cubicBezTo>
                  <a:cubicBezTo>
                    <a:pt x="124318" y="26323"/>
                    <a:pt x="124160" y="26236"/>
                    <a:pt x="124081" y="26098"/>
                  </a:cubicBezTo>
                  <a:cubicBezTo>
                    <a:pt x="124014" y="25964"/>
                    <a:pt x="124259" y="25831"/>
                    <a:pt x="124550" y="25831"/>
                  </a:cubicBezTo>
                  <a:cubicBezTo>
                    <a:pt x="124653" y="25831"/>
                    <a:pt x="124761" y="25848"/>
                    <a:pt x="124863" y="25887"/>
                  </a:cubicBezTo>
                  <a:cubicBezTo>
                    <a:pt x="125225" y="26037"/>
                    <a:pt x="125074" y="26188"/>
                    <a:pt x="125285" y="26248"/>
                  </a:cubicBezTo>
                  <a:cubicBezTo>
                    <a:pt x="125410" y="26290"/>
                    <a:pt x="125549" y="26312"/>
                    <a:pt x="125692" y="26312"/>
                  </a:cubicBezTo>
                  <a:cubicBezTo>
                    <a:pt x="125856" y="26312"/>
                    <a:pt x="126026" y="26282"/>
                    <a:pt x="126188" y="26218"/>
                  </a:cubicBezTo>
                  <a:cubicBezTo>
                    <a:pt x="126398" y="26098"/>
                    <a:pt x="127121" y="25887"/>
                    <a:pt x="127241" y="25676"/>
                  </a:cubicBezTo>
                  <a:cubicBezTo>
                    <a:pt x="127331" y="25496"/>
                    <a:pt x="127181" y="25375"/>
                    <a:pt x="127452" y="25285"/>
                  </a:cubicBezTo>
                  <a:cubicBezTo>
                    <a:pt x="127722" y="25165"/>
                    <a:pt x="127482" y="24894"/>
                    <a:pt x="127301" y="24773"/>
                  </a:cubicBezTo>
                  <a:cubicBezTo>
                    <a:pt x="127121" y="24683"/>
                    <a:pt x="127151" y="24412"/>
                    <a:pt x="127391" y="24412"/>
                  </a:cubicBezTo>
                  <a:cubicBezTo>
                    <a:pt x="127602" y="24412"/>
                    <a:pt x="127542" y="24141"/>
                    <a:pt x="127632" y="24141"/>
                  </a:cubicBezTo>
                  <a:cubicBezTo>
                    <a:pt x="127712" y="24141"/>
                    <a:pt x="127779" y="24195"/>
                    <a:pt x="127877" y="24195"/>
                  </a:cubicBezTo>
                  <a:cubicBezTo>
                    <a:pt x="127926" y="24195"/>
                    <a:pt x="127983" y="24182"/>
                    <a:pt x="128053" y="24141"/>
                  </a:cubicBezTo>
                  <a:cubicBezTo>
                    <a:pt x="128091" y="24123"/>
                    <a:pt x="128118" y="24114"/>
                    <a:pt x="128136" y="24114"/>
                  </a:cubicBezTo>
                  <a:cubicBezTo>
                    <a:pt x="128231" y="24114"/>
                    <a:pt x="128069" y="24360"/>
                    <a:pt x="127993" y="24563"/>
                  </a:cubicBezTo>
                  <a:cubicBezTo>
                    <a:pt x="127873" y="24773"/>
                    <a:pt x="128204" y="24984"/>
                    <a:pt x="128234" y="25074"/>
                  </a:cubicBezTo>
                  <a:cubicBezTo>
                    <a:pt x="128272" y="25150"/>
                    <a:pt x="128475" y="25213"/>
                    <a:pt x="128695" y="25213"/>
                  </a:cubicBezTo>
                  <a:cubicBezTo>
                    <a:pt x="128827" y="25213"/>
                    <a:pt x="128964" y="25191"/>
                    <a:pt x="129077" y="25135"/>
                  </a:cubicBezTo>
                  <a:cubicBezTo>
                    <a:pt x="129130" y="25108"/>
                    <a:pt x="129200" y="25097"/>
                    <a:pt x="129280" y="25097"/>
                  </a:cubicBezTo>
                  <a:cubicBezTo>
                    <a:pt x="129659" y="25097"/>
                    <a:pt x="130261" y="25352"/>
                    <a:pt x="130311" y="25526"/>
                  </a:cubicBezTo>
                  <a:cubicBezTo>
                    <a:pt x="130401" y="25827"/>
                    <a:pt x="130581" y="26067"/>
                    <a:pt x="130882" y="26218"/>
                  </a:cubicBezTo>
                  <a:cubicBezTo>
                    <a:pt x="131244" y="26399"/>
                    <a:pt x="131605" y="26278"/>
                    <a:pt x="131665" y="26489"/>
                  </a:cubicBezTo>
                  <a:cubicBezTo>
                    <a:pt x="131714" y="26612"/>
                    <a:pt x="131844" y="26715"/>
                    <a:pt x="131989" y="26715"/>
                  </a:cubicBezTo>
                  <a:cubicBezTo>
                    <a:pt x="132021" y="26715"/>
                    <a:pt x="132054" y="26710"/>
                    <a:pt x="132086" y="26699"/>
                  </a:cubicBezTo>
                  <a:cubicBezTo>
                    <a:pt x="132101" y="26697"/>
                    <a:pt x="132115" y="26696"/>
                    <a:pt x="132128" y="26696"/>
                  </a:cubicBezTo>
                  <a:cubicBezTo>
                    <a:pt x="132260" y="26696"/>
                    <a:pt x="132356" y="26784"/>
                    <a:pt x="132451" y="26784"/>
                  </a:cubicBezTo>
                  <a:cubicBezTo>
                    <a:pt x="132489" y="26784"/>
                    <a:pt x="132527" y="26770"/>
                    <a:pt x="132568" y="26730"/>
                  </a:cubicBezTo>
                  <a:cubicBezTo>
                    <a:pt x="132607" y="26690"/>
                    <a:pt x="132642" y="26678"/>
                    <a:pt x="132675" y="26678"/>
                  </a:cubicBezTo>
                  <a:cubicBezTo>
                    <a:pt x="132738" y="26678"/>
                    <a:pt x="132795" y="26721"/>
                    <a:pt x="132864" y="26721"/>
                  </a:cubicBezTo>
                  <a:cubicBezTo>
                    <a:pt x="132901" y="26721"/>
                    <a:pt x="132942" y="26708"/>
                    <a:pt x="132989" y="26669"/>
                  </a:cubicBezTo>
                  <a:cubicBezTo>
                    <a:pt x="133170" y="26519"/>
                    <a:pt x="132568" y="26368"/>
                    <a:pt x="132658" y="26218"/>
                  </a:cubicBezTo>
                  <a:cubicBezTo>
                    <a:pt x="132671" y="26185"/>
                    <a:pt x="132687" y="26172"/>
                    <a:pt x="132706" y="26172"/>
                  </a:cubicBezTo>
                  <a:cubicBezTo>
                    <a:pt x="132773" y="26172"/>
                    <a:pt x="132878" y="26338"/>
                    <a:pt x="133019" y="26338"/>
                  </a:cubicBezTo>
                  <a:cubicBezTo>
                    <a:pt x="133200" y="26338"/>
                    <a:pt x="132989" y="25947"/>
                    <a:pt x="133109" y="25917"/>
                  </a:cubicBezTo>
                  <a:cubicBezTo>
                    <a:pt x="133200" y="25887"/>
                    <a:pt x="133139" y="25195"/>
                    <a:pt x="132989" y="25165"/>
                  </a:cubicBezTo>
                  <a:cubicBezTo>
                    <a:pt x="132876" y="25142"/>
                    <a:pt x="132933" y="24983"/>
                    <a:pt x="133084" y="24983"/>
                  </a:cubicBezTo>
                  <a:cubicBezTo>
                    <a:pt x="133134" y="24983"/>
                    <a:pt x="133193" y="25000"/>
                    <a:pt x="133260" y="25044"/>
                  </a:cubicBezTo>
                  <a:cubicBezTo>
                    <a:pt x="133461" y="25170"/>
                    <a:pt x="133703" y="25232"/>
                    <a:pt x="133952" y="25232"/>
                  </a:cubicBezTo>
                  <a:cubicBezTo>
                    <a:pt x="134002" y="25232"/>
                    <a:pt x="134052" y="25230"/>
                    <a:pt x="134103" y="25225"/>
                  </a:cubicBezTo>
                  <a:cubicBezTo>
                    <a:pt x="134343" y="25225"/>
                    <a:pt x="134163" y="25044"/>
                    <a:pt x="133922" y="25014"/>
                  </a:cubicBezTo>
                  <a:cubicBezTo>
                    <a:pt x="133759" y="24991"/>
                    <a:pt x="133866" y="24895"/>
                    <a:pt x="133993" y="24895"/>
                  </a:cubicBezTo>
                  <a:cubicBezTo>
                    <a:pt x="134030" y="24895"/>
                    <a:pt x="134069" y="24904"/>
                    <a:pt x="134103" y="24924"/>
                  </a:cubicBezTo>
                  <a:cubicBezTo>
                    <a:pt x="134203" y="25004"/>
                    <a:pt x="134357" y="25071"/>
                    <a:pt x="134457" y="25071"/>
                  </a:cubicBezTo>
                  <a:cubicBezTo>
                    <a:pt x="134507" y="25071"/>
                    <a:pt x="134544" y="25054"/>
                    <a:pt x="134554" y="25014"/>
                  </a:cubicBezTo>
                  <a:cubicBezTo>
                    <a:pt x="134614" y="24894"/>
                    <a:pt x="134704" y="24563"/>
                    <a:pt x="134945" y="24563"/>
                  </a:cubicBezTo>
                  <a:cubicBezTo>
                    <a:pt x="135156" y="24563"/>
                    <a:pt x="135276" y="24442"/>
                    <a:pt x="135066" y="24322"/>
                  </a:cubicBezTo>
                  <a:cubicBezTo>
                    <a:pt x="134614" y="24141"/>
                    <a:pt x="134223" y="23840"/>
                    <a:pt x="133892" y="23509"/>
                  </a:cubicBezTo>
                  <a:cubicBezTo>
                    <a:pt x="133759" y="23310"/>
                    <a:pt x="133233" y="23192"/>
                    <a:pt x="132966" y="23192"/>
                  </a:cubicBezTo>
                  <a:cubicBezTo>
                    <a:pt x="132871" y="23192"/>
                    <a:pt x="132808" y="23207"/>
                    <a:pt x="132808" y="23239"/>
                  </a:cubicBezTo>
                  <a:cubicBezTo>
                    <a:pt x="132808" y="23273"/>
                    <a:pt x="132784" y="23288"/>
                    <a:pt x="132747" y="23288"/>
                  </a:cubicBezTo>
                  <a:cubicBezTo>
                    <a:pt x="132654" y="23288"/>
                    <a:pt x="132482" y="23196"/>
                    <a:pt x="132417" y="23088"/>
                  </a:cubicBezTo>
                  <a:cubicBezTo>
                    <a:pt x="132368" y="23005"/>
                    <a:pt x="132064" y="22959"/>
                    <a:pt x="131800" y="22959"/>
                  </a:cubicBezTo>
                  <a:cubicBezTo>
                    <a:pt x="131583" y="22959"/>
                    <a:pt x="131394" y="22990"/>
                    <a:pt x="131394" y="23058"/>
                  </a:cubicBezTo>
                  <a:cubicBezTo>
                    <a:pt x="131394" y="23209"/>
                    <a:pt x="131635" y="23239"/>
                    <a:pt x="131785" y="23419"/>
                  </a:cubicBezTo>
                  <a:cubicBezTo>
                    <a:pt x="131936" y="23600"/>
                    <a:pt x="131575" y="23720"/>
                    <a:pt x="131635" y="23901"/>
                  </a:cubicBezTo>
                  <a:cubicBezTo>
                    <a:pt x="131642" y="23953"/>
                    <a:pt x="131626" y="23974"/>
                    <a:pt x="131594" y="23974"/>
                  </a:cubicBezTo>
                  <a:cubicBezTo>
                    <a:pt x="131499" y="23974"/>
                    <a:pt x="131267" y="23781"/>
                    <a:pt x="131153" y="23690"/>
                  </a:cubicBezTo>
                  <a:cubicBezTo>
                    <a:pt x="131003" y="23570"/>
                    <a:pt x="131063" y="23118"/>
                    <a:pt x="131093" y="22908"/>
                  </a:cubicBezTo>
                  <a:cubicBezTo>
                    <a:pt x="131153" y="22667"/>
                    <a:pt x="130822" y="22727"/>
                    <a:pt x="130792" y="22486"/>
                  </a:cubicBezTo>
                  <a:cubicBezTo>
                    <a:pt x="130762" y="22276"/>
                    <a:pt x="129709" y="21764"/>
                    <a:pt x="129257" y="21583"/>
                  </a:cubicBezTo>
                  <a:cubicBezTo>
                    <a:pt x="128806" y="21403"/>
                    <a:pt x="128234" y="21222"/>
                    <a:pt x="128084" y="20982"/>
                  </a:cubicBezTo>
                  <a:cubicBezTo>
                    <a:pt x="127933" y="20771"/>
                    <a:pt x="127151" y="20711"/>
                    <a:pt x="126850" y="20410"/>
                  </a:cubicBezTo>
                  <a:cubicBezTo>
                    <a:pt x="126549" y="20109"/>
                    <a:pt x="125194" y="19567"/>
                    <a:pt x="124623" y="19507"/>
                  </a:cubicBezTo>
                  <a:cubicBezTo>
                    <a:pt x="124104" y="19478"/>
                    <a:pt x="124165" y="19174"/>
                    <a:pt x="123960" y="19174"/>
                  </a:cubicBezTo>
                  <a:cubicBezTo>
                    <a:pt x="123951" y="19174"/>
                    <a:pt x="123941" y="19175"/>
                    <a:pt x="123930" y="19176"/>
                  </a:cubicBezTo>
                  <a:cubicBezTo>
                    <a:pt x="123669" y="19188"/>
                    <a:pt x="123407" y="19196"/>
                    <a:pt x="123145" y="19196"/>
                  </a:cubicBezTo>
                  <a:cubicBezTo>
                    <a:pt x="122775" y="19196"/>
                    <a:pt x="122405" y="19181"/>
                    <a:pt x="122035" y="19146"/>
                  </a:cubicBezTo>
                  <a:cubicBezTo>
                    <a:pt x="121986" y="19134"/>
                    <a:pt x="121943" y="19129"/>
                    <a:pt x="121904" y="19129"/>
                  </a:cubicBezTo>
                  <a:cubicBezTo>
                    <a:pt x="121686" y="19129"/>
                    <a:pt x="121581" y="19283"/>
                    <a:pt x="121412" y="19283"/>
                  </a:cubicBezTo>
                  <a:cubicBezTo>
                    <a:pt x="121381" y="19283"/>
                    <a:pt x="121348" y="19278"/>
                    <a:pt x="121312" y="19266"/>
                  </a:cubicBezTo>
                  <a:cubicBezTo>
                    <a:pt x="121109" y="19164"/>
                    <a:pt x="120067" y="18805"/>
                    <a:pt x="119640" y="18805"/>
                  </a:cubicBezTo>
                  <a:cubicBezTo>
                    <a:pt x="119562" y="18805"/>
                    <a:pt x="119504" y="18817"/>
                    <a:pt x="119476" y="18845"/>
                  </a:cubicBezTo>
                  <a:cubicBezTo>
                    <a:pt x="119296" y="19025"/>
                    <a:pt x="119416" y="19296"/>
                    <a:pt x="119266" y="19326"/>
                  </a:cubicBezTo>
                  <a:cubicBezTo>
                    <a:pt x="119115" y="19356"/>
                    <a:pt x="119266" y="19597"/>
                    <a:pt x="119627" y="19958"/>
                  </a:cubicBezTo>
                  <a:cubicBezTo>
                    <a:pt x="120018" y="20350"/>
                    <a:pt x="119777" y="20560"/>
                    <a:pt x="119446" y="20711"/>
                  </a:cubicBezTo>
                  <a:cubicBezTo>
                    <a:pt x="119357" y="20736"/>
                    <a:pt x="119267" y="20748"/>
                    <a:pt x="119178" y="20748"/>
                  </a:cubicBezTo>
                  <a:cubicBezTo>
                    <a:pt x="118845" y="20748"/>
                    <a:pt x="118529" y="20581"/>
                    <a:pt x="118363" y="20319"/>
                  </a:cubicBezTo>
                  <a:cubicBezTo>
                    <a:pt x="118152" y="20049"/>
                    <a:pt x="117671" y="20169"/>
                    <a:pt x="117550" y="19808"/>
                  </a:cubicBezTo>
                  <a:cubicBezTo>
                    <a:pt x="117493" y="19598"/>
                    <a:pt x="117569" y="19497"/>
                    <a:pt x="117693" y="19497"/>
                  </a:cubicBezTo>
                  <a:cubicBezTo>
                    <a:pt x="117765" y="19497"/>
                    <a:pt x="117853" y="19531"/>
                    <a:pt x="117942" y="19597"/>
                  </a:cubicBezTo>
                  <a:cubicBezTo>
                    <a:pt x="118005" y="19652"/>
                    <a:pt x="118080" y="19676"/>
                    <a:pt x="118154" y="19676"/>
                  </a:cubicBezTo>
                  <a:cubicBezTo>
                    <a:pt x="118327" y="19676"/>
                    <a:pt x="118501" y="19546"/>
                    <a:pt x="118544" y="19356"/>
                  </a:cubicBezTo>
                  <a:cubicBezTo>
                    <a:pt x="118544" y="19161"/>
                    <a:pt x="118001" y="18992"/>
                    <a:pt x="117610" y="18992"/>
                  </a:cubicBezTo>
                  <a:cubicBezTo>
                    <a:pt x="117579" y="18992"/>
                    <a:pt x="117549" y="18993"/>
                    <a:pt x="117520" y="18995"/>
                  </a:cubicBezTo>
                  <a:cubicBezTo>
                    <a:pt x="117159" y="19025"/>
                    <a:pt x="116948" y="19507"/>
                    <a:pt x="116587" y="19718"/>
                  </a:cubicBezTo>
                  <a:cubicBezTo>
                    <a:pt x="116495" y="19760"/>
                    <a:pt x="116347" y="19777"/>
                    <a:pt x="116172" y="19777"/>
                  </a:cubicBezTo>
                  <a:cubicBezTo>
                    <a:pt x="115601" y="19777"/>
                    <a:pt x="114746" y="19592"/>
                    <a:pt x="114631" y="19477"/>
                  </a:cubicBezTo>
                  <a:cubicBezTo>
                    <a:pt x="114587" y="19433"/>
                    <a:pt x="114380" y="19414"/>
                    <a:pt x="114105" y="19414"/>
                  </a:cubicBezTo>
                  <a:cubicBezTo>
                    <a:pt x="113439" y="19414"/>
                    <a:pt x="112373" y="19521"/>
                    <a:pt x="112224" y="19627"/>
                  </a:cubicBezTo>
                  <a:cubicBezTo>
                    <a:pt x="111983" y="19778"/>
                    <a:pt x="112194" y="20319"/>
                    <a:pt x="112073" y="20380"/>
                  </a:cubicBezTo>
                  <a:cubicBezTo>
                    <a:pt x="112068" y="20382"/>
                    <a:pt x="112063" y="20383"/>
                    <a:pt x="112058" y="20383"/>
                  </a:cubicBezTo>
                  <a:cubicBezTo>
                    <a:pt x="111943" y="20383"/>
                    <a:pt x="111832" y="19741"/>
                    <a:pt x="111832" y="19597"/>
                  </a:cubicBezTo>
                  <a:cubicBezTo>
                    <a:pt x="111832" y="19447"/>
                    <a:pt x="111622" y="19356"/>
                    <a:pt x="111230" y="19356"/>
                  </a:cubicBezTo>
                  <a:cubicBezTo>
                    <a:pt x="110869" y="19356"/>
                    <a:pt x="110689" y="19356"/>
                    <a:pt x="110839" y="19206"/>
                  </a:cubicBezTo>
                  <a:cubicBezTo>
                    <a:pt x="110990" y="19055"/>
                    <a:pt x="110689" y="18905"/>
                    <a:pt x="110990" y="18724"/>
                  </a:cubicBezTo>
                  <a:cubicBezTo>
                    <a:pt x="111261" y="18544"/>
                    <a:pt x="110448" y="17882"/>
                    <a:pt x="109666" y="17611"/>
                  </a:cubicBezTo>
                  <a:cubicBezTo>
                    <a:pt x="109335" y="17484"/>
                    <a:pt x="108832" y="17437"/>
                    <a:pt x="108328" y="17437"/>
                  </a:cubicBezTo>
                  <a:cubicBezTo>
                    <a:pt x="107639" y="17437"/>
                    <a:pt x="106947" y="17524"/>
                    <a:pt x="106686" y="17611"/>
                  </a:cubicBezTo>
                  <a:cubicBezTo>
                    <a:pt x="106212" y="17679"/>
                    <a:pt x="105738" y="17712"/>
                    <a:pt x="105277" y="17712"/>
                  </a:cubicBezTo>
                  <a:cubicBezTo>
                    <a:pt x="105123" y="17712"/>
                    <a:pt x="104971" y="17709"/>
                    <a:pt x="104820" y="17701"/>
                  </a:cubicBezTo>
                  <a:cubicBezTo>
                    <a:pt x="104399" y="17701"/>
                    <a:pt x="104730" y="17521"/>
                    <a:pt x="104610" y="17340"/>
                  </a:cubicBezTo>
                  <a:cubicBezTo>
                    <a:pt x="104540" y="17178"/>
                    <a:pt x="104042" y="16980"/>
                    <a:pt x="103776" y="16980"/>
                  </a:cubicBezTo>
                  <a:cubicBezTo>
                    <a:pt x="103696" y="16980"/>
                    <a:pt x="103637" y="16998"/>
                    <a:pt x="103617" y="17039"/>
                  </a:cubicBezTo>
                  <a:cubicBezTo>
                    <a:pt x="103580" y="17094"/>
                    <a:pt x="103538" y="17115"/>
                    <a:pt x="103497" y="17115"/>
                  </a:cubicBezTo>
                  <a:cubicBezTo>
                    <a:pt x="103403" y="17115"/>
                    <a:pt x="103316" y="17003"/>
                    <a:pt x="103316" y="16919"/>
                  </a:cubicBezTo>
                  <a:cubicBezTo>
                    <a:pt x="103316" y="16814"/>
                    <a:pt x="102765" y="16571"/>
                    <a:pt x="102445" y="16571"/>
                  </a:cubicBezTo>
                  <a:cubicBezTo>
                    <a:pt x="102399" y="16571"/>
                    <a:pt x="102357" y="16576"/>
                    <a:pt x="102322" y="16588"/>
                  </a:cubicBezTo>
                  <a:cubicBezTo>
                    <a:pt x="102300" y="16593"/>
                    <a:pt x="102278" y="16595"/>
                    <a:pt x="102257" y="16595"/>
                  </a:cubicBezTo>
                  <a:cubicBezTo>
                    <a:pt x="102030" y="16595"/>
                    <a:pt x="101929" y="16317"/>
                    <a:pt x="102232" y="16317"/>
                  </a:cubicBezTo>
                  <a:cubicBezTo>
                    <a:pt x="102346" y="16317"/>
                    <a:pt x="102475" y="16326"/>
                    <a:pt x="102592" y="16326"/>
                  </a:cubicBezTo>
                  <a:cubicBezTo>
                    <a:pt x="102844" y="16326"/>
                    <a:pt x="103038" y="16284"/>
                    <a:pt x="102894" y="16016"/>
                  </a:cubicBezTo>
                  <a:cubicBezTo>
                    <a:pt x="102693" y="15713"/>
                    <a:pt x="101160" y="15580"/>
                    <a:pt x="100562" y="15580"/>
                  </a:cubicBezTo>
                  <a:cubicBezTo>
                    <a:pt x="100446" y="15580"/>
                    <a:pt x="100365" y="15585"/>
                    <a:pt x="100336" y="15595"/>
                  </a:cubicBezTo>
                  <a:cubicBezTo>
                    <a:pt x="100156" y="15685"/>
                    <a:pt x="100336" y="15956"/>
                    <a:pt x="99885" y="16347"/>
                  </a:cubicBezTo>
                  <a:cubicBezTo>
                    <a:pt x="99711" y="16509"/>
                    <a:pt x="99537" y="16569"/>
                    <a:pt x="99391" y="16569"/>
                  </a:cubicBezTo>
                  <a:cubicBezTo>
                    <a:pt x="99157" y="16569"/>
                    <a:pt x="98993" y="16416"/>
                    <a:pt x="99012" y="16287"/>
                  </a:cubicBezTo>
                  <a:cubicBezTo>
                    <a:pt x="99042" y="16046"/>
                    <a:pt x="99644" y="16136"/>
                    <a:pt x="99644" y="15896"/>
                  </a:cubicBezTo>
                  <a:cubicBezTo>
                    <a:pt x="99644" y="15685"/>
                    <a:pt x="98862" y="15835"/>
                    <a:pt x="98741" y="15625"/>
                  </a:cubicBezTo>
                  <a:cubicBezTo>
                    <a:pt x="98670" y="15482"/>
                    <a:pt x="98806" y="15395"/>
                    <a:pt x="99014" y="15395"/>
                  </a:cubicBezTo>
                  <a:cubicBezTo>
                    <a:pt x="99070" y="15395"/>
                    <a:pt x="99130" y="15401"/>
                    <a:pt x="99193" y="15414"/>
                  </a:cubicBezTo>
                  <a:cubicBezTo>
                    <a:pt x="99372" y="15450"/>
                    <a:pt x="99604" y="15496"/>
                    <a:pt x="99776" y="15496"/>
                  </a:cubicBezTo>
                  <a:cubicBezTo>
                    <a:pt x="99892" y="15496"/>
                    <a:pt x="99981" y="15475"/>
                    <a:pt x="100005" y="15414"/>
                  </a:cubicBezTo>
                  <a:cubicBezTo>
                    <a:pt x="100035" y="15264"/>
                    <a:pt x="99704" y="15264"/>
                    <a:pt x="99253" y="15173"/>
                  </a:cubicBezTo>
                  <a:cubicBezTo>
                    <a:pt x="98500" y="15023"/>
                    <a:pt x="97778" y="14932"/>
                    <a:pt x="97026" y="14872"/>
                  </a:cubicBezTo>
                  <a:cubicBezTo>
                    <a:pt x="96947" y="14884"/>
                    <a:pt x="96874" y="14889"/>
                    <a:pt x="96806" y="14889"/>
                  </a:cubicBezTo>
                  <a:cubicBezTo>
                    <a:pt x="96352" y="14889"/>
                    <a:pt x="96110" y="14662"/>
                    <a:pt x="95822" y="14662"/>
                  </a:cubicBezTo>
                  <a:cubicBezTo>
                    <a:pt x="95491" y="14662"/>
                    <a:pt x="95521" y="14812"/>
                    <a:pt x="95671" y="14993"/>
                  </a:cubicBezTo>
                  <a:cubicBezTo>
                    <a:pt x="95806" y="15155"/>
                    <a:pt x="95433" y="15268"/>
                    <a:pt x="95072" y="15268"/>
                  </a:cubicBezTo>
                  <a:cubicBezTo>
                    <a:pt x="95031" y="15268"/>
                    <a:pt x="94990" y="15267"/>
                    <a:pt x="94949" y="15264"/>
                  </a:cubicBezTo>
                  <a:cubicBezTo>
                    <a:pt x="94929" y="15262"/>
                    <a:pt x="94907" y="15261"/>
                    <a:pt x="94886" y="15261"/>
                  </a:cubicBezTo>
                  <a:cubicBezTo>
                    <a:pt x="94525" y="15261"/>
                    <a:pt x="94028" y="15490"/>
                    <a:pt x="94227" y="15745"/>
                  </a:cubicBezTo>
                  <a:cubicBezTo>
                    <a:pt x="94299" y="15826"/>
                    <a:pt x="94368" y="15853"/>
                    <a:pt x="94435" y="15853"/>
                  </a:cubicBezTo>
                  <a:cubicBezTo>
                    <a:pt x="94574" y="15853"/>
                    <a:pt x="94705" y="15738"/>
                    <a:pt x="94834" y="15738"/>
                  </a:cubicBezTo>
                  <a:cubicBezTo>
                    <a:pt x="94853" y="15738"/>
                    <a:pt x="94871" y="15740"/>
                    <a:pt x="94889" y="15745"/>
                  </a:cubicBezTo>
                  <a:cubicBezTo>
                    <a:pt x="95070" y="15835"/>
                    <a:pt x="94377" y="16046"/>
                    <a:pt x="94648" y="16196"/>
                  </a:cubicBezTo>
                  <a:cubicBezTo>
                    <a:pt x="94919" y="16347"/>
                    <a:pt x="94889" y="16588"/>
                    <a:pt x="94919" y="16738"/>
                  </a:cubicBezTo>
                  <a:cubicBezTo>
                    <a:pt x="94935" y="16817"/>
                    <a:pt x="94803" y="16863"/>
                    <a:pt x="94643" y="16863"/>
                  </a:cubicBezTo>
                  <a:cubicBezTo>
                    <a:pt x="94497" y="16863"/>
                    <a:pt x="94328" y="16824"/>
                    <a:pt x="94227" y="16738"/>
                  </a:cubicBezTo>
                  <a:cubicBezTo>
                    <a:pt x="94153" y="16651"/>
                    <a:pt x="94073" y="16626"/>
                    <a:pt x="93984" y="16626"/>
                  </a:cubicBezTo>
                  <a:cubicBezTo>
                    <a:pt x="93858" y="16626"/>
                    <a:pt x="93712" y="16678"/>
                    <a:pt x="93535" y="16678"/>
                  </a:cubicBezTo>
                  <a:cubicBezTo>
                    <a:pt x="93234" y="16678"/>
                    <a:pt x="92933" y="16798"/>
                    <a:pt x="93294" y="16828"/>
                  </a:cubicBezTo>
                  <a:cubicBezTo>
                    <a:pt x="93685" y="16889"/>
                    <a:pt x="93745" y="17099"/>
                    <a:pt x="93294" y="17190"/>
                  </a:cubicBezTo>
                  <a:cubicBezTo>
                    <a:pt x="93269" y="17193"/>
                    <a:pt x="93245" y="17195"/>
                    <a:pt x="93223" y="17195"/>
                  </a:cubicBezTo>
                  <a:cubicBezTo>
                    <a:pt x="92873" y="17195"/>
                    <a:pt x="92911" y="16793"/>
                    <a:pt x="92704" y="16793"/>
                  </a:cubicBezTo>
                  <a:cubicBezTo>
                    <a:pt x="92691" y="16793"/>
                    <a:pt x="92677" y="16795"/>
                    <a:pt x="92662" y="16798"/>
                  </a:cubicBezTo>
                  <a:cubicBezTo>
                    <a:pt x="92627" y="16810"/>
                    <a:pt x="92585" y="16815"/>
                    <a:pt x="92539" y="16815"/>
                  </a:cubicBezTo>
                  <a:cubicBezTo>
                    <a:pt x="92231" y="16815"/>
                    <a:pt x="91716" y="16588"/>
                    <a:pt x="91428" y="16588"/>
                  </a:cubicBezTo>
                  <a:cubicBezTo>
                    <a:pt x="91067" y="16588"/>
                    <a:pt x="90977" y="16828"/>
                    <a:pt x="90525" y="16889"/>
                  </a:cubicBezTo>
                  <a:cubicBezTo>
                    <a:pt x="90074" y="16889"/>
                    <a:pt x="89622" y="16738"/>
                    <a:pt x="89321" y="16437"/>
                  </a:cubicBezTo>
                  <a:cubicBezTo>
                    <a:pt x="89237" y="16302"/>
                    <a:pt x="89171" y="16224"/>
                    <a:pt x="89098" y="16224"/>
                  </a:cubicBezTo>
                  <a:cubicBezTo>
                    <a:pt x="89041" y="16224"/>
                    <a:pt x="88979" y="16271"/>
                    <a:pt x="88900" y="16377"/>
                  </a:cubicBezTo>
                  <a:cubicBezTo>
                    <a:pt x="88720" y="16648"/>
                    <a:pt x="88659" y="17190"/>
                    <a:pt x="88449" y="17220"/>
                  </a:cubicBezTo>
                  <a:cubicBezTo>
                    <a:pt x="88208" y="17250"/>
                    <a:pt x="88148" y="17701"/>
                    <a:pt x="87967" y="17822"/>
                  </a:cubicBezTo>
                  <a:cubicBezTo>
                    <a:pt x="87932" y="17842"/>
                    <a:pt x="87901" y="17850"/>
                    <a:pt x="87874" y="17850"/>
                  </a:cubicBezTo>
                  <a:cubicBezTo>
                    <a:pt x="87747" y="17850"/>
                    <a:pt x="87688" y="17669"/>
                    <a:pt x="87493" y="17669"/>
                  </a:cubicBezTo>
                  <a:cubicBezTo>
                    <a:pt x="87481" y="17669"/>
                    <a:pt x="87469" y="17670"/>
                    <a:pt x="87456" y="17671"/>
                  </a:cubicBezTo>
                  <a:cubicBezTo>
                    <a:pt x="87452" y="17672"/>
                    <a:pt x="87447" y="17672"/>
                    <a:pt x="87443" y="17672"/>
                  </a:cubicBezTo>
                  <a:cubicBezTo>
                    <a:pt x="87185" y="17672"/>
                    <a:pt x="86311" y="16825"/>
                    <a:pt x="86252" y="16618"/>
                  </a:cubicBezTo>
                  <a:cubicBezTo>
                    <a:pt x="86222" y="16377"/>
                    <a:pt x="85710" y="15896"/>
                    <a:pt x="85560" y="15775"/>
                  </a:cubicBezTo>
                  <a:cubicBezTo>
                    <a:pt x="85494" y="15736"/>
                    <a:pt x="85514" y="15714"/>
                    <a:pt x="85571" y="15714"/>
                  </a:cubicBezTo>
                  <a:cubicBezTo>
                    <a:pt x="85643" y="15714"/>
                    <a:pt x="85776" y="15751"/>
                    <a:pt x="85861" y="15835"/>
                  </a:cubicBezTo>
                  <a:cubicBezTo>
                    <a:pt x="85945" y="15903"/>
                    <a:pt x="86058" y="15942"/>
                    <a:pt x="86178" y="15942"/>
                  </a:cubicBezTo>
                  <a:cubicBezTo>
                    <a:pt x="86272" y="15942"/>
                    <a:pt x="86370" y="15918"/>
                    <a:pt x="86462" y="15865"/>
                  </a:cubicBezTo>
                  <a:cubicBezTo>
                    <a:pt x="86613" y="15775"/>
                    <a:pt x="86613" y="15324"/>
                    <a:pt x="86312" y="15324"/>
                  </a:cubicBezTo>
                  <a:cubicBezTo>
                    <a:pt x="86011" y="15324"/>
                    <a:pt x="86101" y="15083"/>
                    <a:pt x="86252" y="14993"/>
                  </a:cubicBezTo>
                  <a:cubicBezTo>
                    <a:pt x="86402" y="14932"/>
                    <a:pt x="85891" y="14511"/>
                    <a:pt x="86071" y="14481"/>
                  </a:cubicBezTo>
                  <a:cubicBezTo>
                    <a:pt x="86252" y="14421"/>
                    <a:pt x="86192" y="14210"/>
                    <a:pt x="85921" y="14180"/>
                  </a:cubicBezTo>
                  <a:cubicBezTo>
                    <a:pt x="85650" y="14150"/>
                    <a:pt x="85409" y="13939"/>
                    <a:pt x="85409" y="13789"/>
                  </a:cubicBezTo>
                  <a:cubicBezTo>
                    <a:pt x="85409" y="13720"/>
                    <a:pt x="85176" y="13683"/>
                    <a:pt x="84928" y="13683"/>
                  </a:cubicBezTo>
                  <a:cubicBezTo>
                    <a:pt x="84635" y="13683"/>
                    <a:pt x="84323" y="13735"/>
                    <a:pt x="84356" y="13849"/>
                  </a:cubicBezTo>
                  <a:cubicBezTo>
                    <a:pt x="84368" y="13920"/>
                    <a:pt x="84314" y="13949"/>
                    <a:pt x="84249" y="13949"/>
                  </a:cubicBezTo>
                  <a:cubicBezTo>
                    <a:pt x="84148" y="13949"/>
                    <a:pt x="84018" y="13880"/>
                    <a:pt x="84055" y="13789"/>
                  </a:cubicBezTo>
                  <a:cubicBezTo>
                    <a:pt x="84085" y="13638"/>
                    <a:pt x="83664" y="13699"/>
                    <a:pt x="83152" y="13578"/>
                  </a:cubicBezTo>
                  <a:cubicBezTo>
                    <a:pt x="82610" y="13458"/>
                    <a:pt x="82610" y="13037"/>
                    <a:pt x="82430" y="13037"/>
                  </a:cubicBezTo>
                  <a:cubicBezTo>
                    <a:pt x="82265" y="13037"/>
                    <a:pt x="82301" y="13439"/>
                    <a:pt x="82101" y="13439"/>
                  </a:cubicBezTo>
                  <a:cubicBezTo>
                    <a:pt x="82083" y="13439"/>
                    <a:pt x="82062" y="13435"/>
                    <a:pt x="82039" y="13428"/>
                  </a:cubicBezTo>
                  <a:cubicBezTo>
                    <a:pt x="82003" y="13415"/>
                    <a:pt x="81968" y="13408"/>
                    <a:pt x="81934" y="13408"/>
                  </a:cubicBezTo>
                  <a:cubicBezTo>
                    <a:pt x="81735" y="13408"/>
                    <a:pt x="81575" y="13618"/>
                    <a:pt x="81677" y="13849"/>
                  </a:cubicBezTo>
                  <a:cubicBezTo>
                    <a:pt x="81828" y="14120"/>
                    <a:pt x="81677" y="14180"/>
                    <a:pt x="81677" y="14451"/>
                  </a:cubicBezTo>
                  <a:cubicBezTo>
                    <a:pt x="81677" y="14547"/>
                    <a:pt x="81649" y="14581"/>
                    <a:pt x="81595" y="14581"/>
                  </a:cubicBezTo>
                  <a:cubicBezTo>
                    <a:pt x="81514" y="14581"/>
                    <a:pt x="81376" y="14505"/>
                    <a:pt x="81196" y="14451"/>
                  </a:cubicBezTo>
                  <a:cubicBezTo>
                    <a:pt x="81152" y="14433"/>
                    <a:pt x="81114" y="14426"/>
                    <a:pt x="81079" y="14426"/>
                  </a:cubicBezTo>
                  <a:cubicBezTo>
                    <a:pt x="80922" y="14426"/>
                    <a:pt x="80837" y="14579"/>
                    <a:pt x="80529" y="14579"/>
                  </a:cubicBezTo>
                  <a:cubicBezTo>
                    <a:pt x="80447" y="14579"/>
                    <a:pt x="80351" y="14568"/>
                    <a:pt x="80233" y="14541"/>
                  </a:cubicBezTo>
                  <a:cubicBezTo>
                    <a:pt x="79601" y="14391"/>
                    <a:pt x="79270" y="14541"/>
                    <a:pt x="79149" y="14361"/>
                  </a:cubicBezTo>
                  <a:cubicBezTo>
                    <a:pt x="79075" y="14249"/>
                    <a:pt x="78978" y="14172"/>
                    <a:pt x="78907" y="14172"/>
                  </a:cubicBezTo>
                  <a:cubicBezTo>
                    <a:pt x="78863" y="14172"/>
                    <a:pt x="78830" y="14201"/>
                    <a:pt x="78818" y="14270"/>
                  </a:cubicBezTo>
                  <a:cubicBezTo>
                    <a:pt x="78807" y="14350"/>
                    <a:pt x="78658" y="14387"/>
                    <a:pt x="78473" y="14387"/>
                  </a:cubicBezTo>
                  <a:cubicBezTo>
                    <a:pt x="78170" y="14387"/>
                    <a:pt x="77772" y="14288"/>
                    <a:pt x="77735" y="14120"/>
                  </a:cubicBezTo>
                  <a:cubicBezTo>
                    <a:pt x="77645" y="13879"/>
                    <a:pt x="77885" y="13849"/>
                    <a:pt x="78036" y="13759"/>
                  </a:cubicBezTo>
                  <a:cubicBezTo>
                    <a:pt x="78166" y="13681"/>
                    <a:pt x="77958" y="13602"/>
                    <a:pt x="77528" y="13602"/>
                  </a:cubicBezTo>
                  <a:cubicBezTo>
                    <a:pt x="77462" y="13602"/>
                    <a:pt x="77390" y="13604"/>
                    <a:pt x="77314" y="13608"/>
                  </a:cubicBezTo>
                  <a:cubicBezTo>
                    <a:pt x="77286" y="13610"/>
                    <a:pt x="77260" y="13610"/>
                    <a:pt x="77233" y="13610"/>
                  </a:cubicBezTo>
                  <a:cubicBezTo>
                    <a:pt x="76736" y="13610"/>
                    <a:pt x="76418" y="13365"/>
                    <a:pt x="75945" y="13365"/>
                  </a:cubicBezTo>
                  <a:cubicBezTo>
                    <a:pt x="75920" y="13365"/>
                    <a:pt x="75895" y="13366"/>
                    <a:pt x="75869" y="13368"/>
                  </a:cubicBezTo>
                  <a:cubicBezTo>
                    <a:pt x="75357" y="13428"/>
                    <a:pt x="74033" y="13578"/>
                    <a:pt x="73883" y="13638"/>
                  </a:cubicBezTo>
                  <a:cubicBezTo>
                    <a:pt x="73732" y="13729"/>
                    <a:pt x="74033" y="14060"/>
                    <a:pt x="73762" y="14090"/>
                  </a:cubicBezTo>
                  <a:cubicBezTo>
                    <a:pt x="73751" y="14093"/>
                    <a:pt x="73740" y="14094"/>
                    <a:pt x="73730" y="14094"/>
                  </a:cubicBezTo>
                  <a:cubicBezTo>
                    <a:pt x="73539" y="14094"/>
                    <a:pt x="73698" y="13565"/>
                    <a:pt x="73612" y="13307"/>
                  </a:cubicBezTo>
                  <a:cubicBezTo>
                    <a:pt x="73577" y="13149"/>
                    <a:pt x="73429" y="13073"/>
                    <a:pt x="73330" y="13073"/>
                  </a:cubicBezTo>
                  <a:cubicBezTo>
                    <a:pt x="73259" y="13073"/>
                    <a:pt x="73213" y="13112"/>
                    <a:pt x="73251" y="13187"/>
                  </a:cubicBezTo>
                  <a:cubicBezTo>
                    <a:pt x="73290" y="13326"/>
                    <a:pt x="73004" y="13412"/>
                    <a:pt x="72744" y="13412"/>
                  </a:cubicBezTo>
                  <a:cubicBezTo>
                    <a:pt x="72608" y="13412"/>
                    <a:pt x="72480" y="13389"/>
                    <a:pt x="72408" y="13337"/>
                  </a:cubicBezTo>
                  <a:cubicBezTo>
                    <a:pt x="72167" y="13127"/>
                    <a:pt x="71836" y="12946"/>
                    <a:pt x="71505" y="12856"/>
                  </a:cubicBezTo>
                  <a:cubicBezTo>
                    <a:pt x="71459" y="12843"/>
                    <a:pt x="71411" y="12838"/>
                    <a:pt x="71363" y="12838"/>
                  </a:cubicBezTo>
                  <a:cubicBezTo>
                    <a:pt x="70948" y="12838"/>
                    <a:pt x="70522" y="13263"/>
                    <a:pt x="70603" y="13398"/>
                  </a:cubicBezTo>
                  <a:cubicBezTo>
                    <a:pt x="70655" y="13463"/>
                    <a:pt x="70759" y="13477"/>
                    <a:pt x="70860" y="13477"/>
                  </a:cubicBezTo>
                  <a:cubicBezTo>
                    <a:pt x="70935" y="13477"/>
                    <a:pt x="71009" y="13470"/>
                    <a:pt x="71057" y="13470"/>
                  </a:cubicBezTo>
                  <a:cubicBezTo>
                    <a:pt x="71092" y="13470"/>
                    <a:pt x="71114" y="13474"/>
                    <a:pt x="71114" y="13488"/>
                  </a:cubicBezTo>
                  <a:cubicBezTo>
                    <a:pt x="71114" y="13578"/>
                    <a:pt x="70121" y="13608"/>
                    <a:pt x="70121" y="13789"/>
                  </a:cubicBezTo>
                  <a:cubicBezTo>
                    <a:pt x="70121" y="13969"/>
                    <a:pt x="69188" y="14180"/>
                    <a:pt x="68917" y="14210"/>
                  </a:cubicBezTo>
                  <a:cubicBezTo>
                    <a:pt x="68646" y="14240"/>
                    <a:pt x="67984" y="14300"/>
                    <a:pt x="67593" y="14632"/>
                  </a:cubicBezTo>
                  <a:cubicBezTo>
                    <a:pt x="67521" y="14697"/>
                    <a:pt x="67475" y="14725"/>
                    <a:pt x="67451" y="14725"/>
                  </a:cubicBezTo>
                  <a:cubicBezTo>
                    <a:pt x="67352" y="14725"/>
                    <a:pt x="67593" y="14277"/>
                    <a:pt x="67834" y="14060"/>
                  </a:cubicBezTo>
                  <a:cubicBezTo>
                    <a:pt x="68135" y="13789"/>
                    <a:pt x="68406" y="13909"/>
                    <a:pt x="68556" y="13699"/>
                  </a:cubicBezTo>
                  <a:cubicBezTo>
                    <a:pt x="68707" y="13458"/>
                    <a:pt x="69007" y="13458"/>
                    <a:pt x="69399" y="13398"/>
                  </a:cubicBezTo>
                  <a:cubicBezTo>
                    <a:pt x="69820" y="13307"/>
                    <a:pt x="69850" y="13097"/>
                    <a:pt x="70061" y="12976"/>
                  </a:cubicBezTo>
                  <a:cubicBezTo>
                    <a:pt x="70362" y="12886"/>
                    <a:pt x="70633" y="12705"/>
                    <a:pt x="70873" y="12495"/>
                  </a:cubicBezTo>
                  <a:cubicBezTo>
                    <a:pt x="70964" y="12254"/>
                    <a:pt x="72017" y="11923"/>
                    <a:pt x="72228" y="11923"/>
                  </a:cubicBezTo>
                  <a:cubicBezTo>
                    <a:pt x="72468" y="11923"/>
                    <a:pt x="72498" y="11502"/>
                    <a:pt x="72619" y="11502"/>
                  </a:cubicBezTo>
                  <a:cubicBezTo>
                    <a:pt x="72950" y="11411"/>
                    <a:pt x="73251" y="11261"/>
                    <a:pt x="73582" y="11141"/>
                  </a:cubicBezTo>
                  <a:cubicBezTo>
                    <a:pt x="73762" y="11020"/>
                    <a:pt x="73913" y="10840"/>
                    <a:pt x="73913" y="10629"/>
                  </a:cubicBezTo>
                  <a:cubicBezTo>
                    <a:pt x="73973" y="10478"/>
                    <a:pt x="73612" y="10539"/>
                    <a:pt x="73582" y="10388"/>
                  </a:cubicBezTo>
                  <a:cubicBezTo>
                    <a:pt x="73552" y="10208"/>
                    <a:pt x="73732" y="10328"/>
                    <a:pt x="73973" y="10238"/>
                  </a:cubicBezTo>
                  <a:cubicBezTo>
                    <a:pt x="74165" y="10128"/>
                    <a:pt x="74007" y="9869"/>
                    <a:pt x="73819" y="9869"/>
                  </a:cubicBezTo>
                  <a:cubicBezTo>
                    <a:pt x="73800" y="9869"/>
                    <a:pt x="73781" y="9871"/>
                    <a:pt x="73762" y="9877"/>
                  </a:cubicBezTo>
                  <a:cubicBezTo>
                    <a:pt x="73738" y="9889"/>
                    <a:pt x="73722" y="9895"/>
                    <a:pt x="73713" y="9895"/>
                  </a:cubicBezTo>
                  <a:cubicBezTo>
                    <a:pt x="73655" y="9895"/>
                    <a:pt x="73858" y="9671"/>
                    <a:pt x="73702" y="9515"/>
                  </a:cubicBezTo>
                  <a:cubicBezTo>
                    <a:pt x="73656" y="9469"/>
                    <a:pt x="73597" y="9454"/>
                    <a:pt x="73536" y="9454"/>
                  </a:cubicBezTo>
                  <a:cubicBezTo>
                    <a:pt x="73437" y="9454"/>
                    <a:pt x="73334" y="9493"/>
                    <a:pt x="73272" y="9493"/>
                  </a:cubicBezTo>
                  <a:cubicBezTo>
                    <a:pt x="73225" y="9493"/>
                    <a:pt x="73202" y="9471"/>
                    <a:pt x="73221" y="9395"/>
                  </a:cubicBezTo>
                  <a:cubicBezTo>
                    <a:pt x="73221" y="9154"/>
                    <a:pt x="73161" y="8944"/>
                    <a:pt x="73010" y="8763"/>
                  </a:cubicBezTo>
                  <a:cubicBezTo>
                    <a:pt x="72994" y="8736"/>
                    <a:pt x="72972" y="8725"/>
                    <a:pt x="72944" y="8725"/>
                  </a:cubicBezTo>
                  <a:cubicBezTo>
                    <a:pt x="72852" y="8725"/>
                    <a:pt x="72703" y="8845"/>
                    <a:pt x="72532" y="8845"/>
                  </a:cubicBezTo>
                  <a:cubicBezTo>
                    <a:pt x="72473" y="8845"/>
                    <a:pt x="72411" y="8831"/>
                    <a:pt x="72348" y="8793"/>
                  </a:cubicBezTo>
                  <a:cubicBezTo>
                    <a:pt x="71987" y="8583"/>
                    <a:pt x="71596" y="8492"/>
                    <a:pt x="71174" y="8492"/>
                  </a:cubicBezTo>
                  <a:cubicBezTo>
                    <a:pt x="71174" y="8517"/>
                    <a:pt x="71156" y="8527"/>
                    <a:pt x="71127" y="8527"/>
                  </a:cubicBezTo>
                  <a:cubicBezTo>
                    <a:pt x="71038" y="8527"/>
                    <a:pt x="70847" y="8441"/>
                    <a:pt x="70748" y="8441"/>
                  </a:cubicBezTo>
                  <a:cubicBezTo>
                    <a:pt x="70722" y="8441"/>
                    <a:pt x="70703" y="8447"/>
                    <a:pt x="70693" y="8462"/>
                  </a:cubicBezTo>
                  <a:cubicBezTo>
                    <a:pt x="70640" y="8497"/>
                    <a:pt x="70391" y="8512"/>
                    <a:pt x="70145" y="8512"/>
                  </a:cubicBezTo>
                  <a:cubicBezTo>
                    <a:pt x="69971" y="8512"/>
                    <a:pt x="69799" y="8505"/>
                    <a:pt x="69700" y="8492"/>
                  </a:cubicBezTo>
                  <a:cubicBezTo>
                    <a:pt x="69664" y="8482"/>
                    <a:pt x="69627" y="8477"/>
                    <a:pt x="69590" y="8477"/>
                  </a:cubicBezTo>
                  <a:cubicBezTo>
                    <a:pt x="69413" y="8477"/>
                    <a:pt x="69243" y="8594"/>
                    <a:pt x="69218" y="8793"/>
                  </a:cubicBezTo>
                  <a:cubicBezTo>
                    <a:pt x="69202" y="8890"/>
                    <a:pt x="68951" y="8918"/>
                    <a:pt x="68699" y="8918"/>
                  </a:cubicBezTo>
                  <a:cubicBezTo>
                    <a:pt x="68482" y="8918"/>
                    <a:pt x="68265" y="8897"/>
                    <a:pt x="68195" y="8883"/>
                  </a:cubicBezTo>
                  <a:cubicBezTo>
                    <a:pt x="68044" y="8823"/>
                    <a:pt x="68797" y="8221"/>
                    <a:pt x="68797" y="8131"/>
                  </a:cubicBezTo>
                  <a:cubicBezTo>
                    <a:pt x="68797" y="8091"/>
                    <a:pt x="68660" y="8081"/>
                    <a:pt x="68475" y="8081"/>
                  </a:cubicBezTo>
                  <a:cubicBezTo>
                    <a:pt x="68290" y="8081"/>
                    <a:pt x="68057" y="8091"/>
                    <a:pt x="67865" y="8091"/>
                  </a:cubicBezTo>
                  <a:cubicBezTo>
                    <a:pt x="67673" y="8091"/>
                    <a:pt x="67523" y="8081"/>
                    <a:pt x="67503" y="8041"/>
                  </a:cubicBezTo>
                  <a:cubicBezTo>
                    <a:pt x="67412" y="7920"/>
                    <a:pt x="66811" y="7890"/>
                    <a:pt x="66540" y="7890"/>
                  </a:cubicBezTo>
                  <a:cubicBezTo>
                    <a:pt x="66299" y="7890"/>
                    <a:pt x="66540" y="7800"/>
                    <a:pt x="66780" y="7800"/>
                  </a:cubicBezTo>
                  <a:cubicBezTo>
                    <a:pt x="66991" y="7800"/>
                    <a:pt x="67262" y="7559"/>
                    <a:pt x="67533" y="7499"/>
                  </a:cubicBezTo>
                  <a:cubicBezTo>
                    <a:pt x="67804" y="7469"/>
                    <a:pt x="67744" y="7409"/>
                    <a:pt x="67593" y="7198"/>
                  </a:cubicBezTo>
                  <a:cubicBezTo>
                    <a:pt x="67443" y="7018"/>
                    <a:pt x="67232" y="7138"/>
                    <a:pt x="66961" y="7048"/>
                  </a:cubicBezTo>
                  <a:cubicBezTo>
                    <a:pt x="66690" y="6957"/>
                    <a:pt x="66419" y="6867"/>
                    <a:pt x="66148" y="6837"/>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25" name="Google Shape;3019;p123">
              <a:extLst>
                <a:ext uri="{FF2B5EF4-FFF2-40B4-BE49-F238E27FC236}">
                  <a16:creationId xmlns:a16="http://schemas.microsoft.com/office/drawing/2014/main" id="{C1116ACE-D27E-FA43-80E1-A392EE1034F4}"/>
                </a:ext>
              </a:extLst>
            </p:cNvPr>
            <p:cNvSpPr/>
            <p:nvPr/>
          </p:nvSpPr>
          <p:spPr>
            <a:xfrm>
              <a:off x="4739231" y="588692"/>
              <a:ext cx="4196969" cy="1603589"/>
            </a:xfrm>
            <a:custGeom>
              <a:avLst/>
              <a:gdLst/>
              <a:ahLst/>
              <a:cxnLst/>
              <a:rect l="l" t="t" r="r" b="b"/>
              <a:pathLst>
                <a:path w="135277" h="51687" extrusionOk="0">
                  <a:moveTo>
                    <a:pt x="30850" y="0"/>
                  </a:moveTo>
                  <a:cubicBezTo>
                    <a:pt x="30462" y="0"/>
                    <a:pt x="30075" y="70"/>
                    <a:pt x="30125" y="186"/>
                  </a:cubicBezTo>
                  <a:cubicBezTo>
                    <a:pt x="30245" y="367"/>
                    <a:pt x="29042" y="306"/>
                    <a:pt x="29072" y="367"/>
                  </a:cubicBezTo>
                  <a:cubicBezTo>
                    <a:pt x="29132" y="427"/>
                    <a:pt x="29523" y="638"/>
                    <a:pt x="30095" y="638"/>
                  </a:cubicBezTo>
                  <a:cubicBezTo>
                    <a:pt x="30642" y="638"/>
                    <a:pt x="30528" y="335"/>
                    <a:pt x="30833" y="335"/>
                  </a:cubicBezTo>
                  <a:cubicBezTo>
                    <a:pt x="30847" y="335"/>
                    <a:pt x="30862" y="335"/>
                    <a:pt x="30877" y="337"/>
                  </a:cubicBezTo>
                  <a:cubicBezTo>
                    <a:pt x="30985" y="345"/>
                    <a:pt x="31099" y="351"/>
                    <a:pt x="31204" y="351"/>
                  </a:cubicBezTo>
                  <a:cubicBezTo>
                    <a:pt x="31483" y="351"/>
                    <a:pt x="31701" y="309"/>
                    <a:pt x="31570" y="156"/>
                  </a:cubicBezTo>
                  <a:cubicBezTo>
                    <a:pt x="31488" y="47"/>
                    <a:pt x="31168" y="0"/>
                    <a:pt x="30850" y="0"/>
                  </a:cubicBezTo>
                  <a:close/>
                  <a:moveTo>
                    <a:pt x="56672" y="519"/>
                  </a:moveTo>
                  <a:cubicBezTo>
                    <a:pt x="56286" y="519"/>
                    <a:pt x="55847" y="652"/>
                    <a:pt x="56097" y="848"/>
                  </a:cubicBezTo>
                  <a:cubicBezTo>
                    <a:pt x="56273" y="999"/>
                    <a:pt x="56466" y="1066"/>
                    <a:pt x="56638" y="1066"/>
                  </a:cubicBezTo>
                  <a:cubicBezTo>
                    <a:pt x="56878" y="1066"/>
                    <a:pt x="57080" y="938"/>
                    <a:pt x="57150" y="728"/>
                  </a:cubicBezTo>
                  <a:cubicBezTo>
                    <a:pt x="57175" y="581"/>
                    <a:pt x="56936" y="519"/>
                    <a:pt x="56672" y="519"/>
                  </a:cubicBezTo>
                  <a:close/>
                  <a:moveTo>
                    <a:pt x="36216" y="653"/>
                  </a:moveTo>
                  <a:cubicBezTo>
                    <a:pt x="35875" y="653"/>
                    <a:pt x="35756" y="938"/>
                    <a:pt x="35542" y="938"/>
                  </a:cubicBezTo>
                  <a:cubicBezTo>
                    <a:pt x="35331" y="938"/>
                    <a:pt x="34429" y="1089"/>
                    <a:pt x="34609" y="1270"/>
                  </a:cubicBezTo>
                  <a:cubicBezTo>
                    <a:pt x="34706" y="1367"/>
                    <a:pt x="34951" y="1394"/>
                    <a:pt x="35227" y="1394"/>
                  </a:cubicBezTo>
                  <a:cubicBezTo>
                    <a:pt x="35464" y="1394"/>
                    <a:pt x="35725" y="1374"/>
                    <a:pt x="35933" y="1360"/>
                  </a:cubicBezTo>
                  <a:cubicBezTo>
                    <a:pt x="36836" y="1239"/>
                    <a:pt x="36806" y="758"/>
                    <a:pt x="36355" y="668"/>
                  </a:cubicBezTo>
                  <a:cubicBezTo>
                    <a:pt x="36304" y="658"/>
                    <a:pt x="36258" y="653"/>
                    <a:pt x="36216" y="653"/>
                  </a:cubicBezTo>
                  <a:close/>
                  <a:moveTo>
                    <a:pt x="28520" y="565"/>
                  </a:moveTo>
                  <a:cubicBezTo>
                    <a:pt x="28372" y="565"/>
                    <a:pt x="28364" y="655"/>
                    <a:pt x="28590" y="848"/>
                  </a:cubicBezTo>
                  <a:cubicBezTo>
                    <a:pt x="29012" y="1239"/>
                    <a:pt x="27537" y="1149"/>
                    <a:pt x="27717" y="1360"/>
                  </a:cubicBezTo>
                  <a:cubicBezTo>
                    <a:pt x="27803" y="1433"/>
                    <a:pt x="28261" y="1481"/>
                    <a:pt x="28783" y="1481"/>
                  </a:cubicBezTo>
                  <a:cubicBezTo>
                    <a:pt x="29554" y="1481"/>
                    <a:pt x="30462" y="1376"/>
                    <a:pt x="30516" y="1089"/>
                  </a:cubicBezTo>
                  <a:cubicBezTo>
                    <a:pt x="30543" y="871"/>
                    <a:pt x="30392" y="832"/>
                    <a:pt x="30163" y="832"/>
                  </a:cubicBezTo>
                  <a:cubicBezTo>
                    <a:pt x="30033" y="832"/>
                    <a:pt x="29878" y="845"/>
                    <a:pt x="29716" y="845"/>
                  </a:cubicBezTo>
                  <a:cubicBezTo>
                    <a:pt x="29531" y="845"/>
                    <a:pt x="29338" y="828"/>
                    <a:pt x="29162" y="758"/>
                  </a:cubicBezTo>
                  <a:cubicBezTo>
                    <a:pt x="28883" y="632"/>
                    <a:pt x="28649" y="565"/>
                    <a:pt x="28520" y="565"/>
                  </a:cubicBezTo>
                  <a:close/>
                  <a:moveTo>
                    <a:pt x="33036" y="868"/>
                  </a:moveTo>
                  <a:cubicBezTo>
                    <a:pt x="32771" y="868"/>
                    <a:pt x="32554" y="908"/>
                    <a:pt x="32593" y="999"/>
                  </a:cubicBezTo>
                  <a:cubicBezTo>
                    <a:pt x="32653" y="1239"/>
                    <a:pt x="31690" y="1510"/>
                    <a:pt x="31991" y="1721"/>
                  </a:cubicBezTo>
                  <a:cubicBezTo>
                    <a:pt x="32072" y="1778"/>
                    <a:pt x="32258" y="1802"/>
                    <a:pt x="32491" y="1802"/>
                  </a:cubicBezTo>
                  <a:cubicBezTo>
                    <a:pt x="33122" y="1802"/>
                    <a:pt x="34094" y="1626"/>
                    <a:pt x="34248" y="1450"/>
                  </a:cubicBezTo>
                  <a:cubicBezTo>
                    <a:pt x="34398" y="1239"/>
                    <a:pt x="33947" y="1239"/>
                    <a:pt x="33857" y="1059"/>
                  </a:cubicBezTo>
                  <a:cubicBezTo>
                    <a:pt x="33822" y="939"/>
                    <a:pt x="33387" y="868"/>
                    <a:pt x="33036" y="868"/>
                  </a:cubicBezTo>
                  <a:close/>
                  <a:moveTo>
                    <a:pt x="22343" y="1171"/>
                  </a:moveTo>
                  <a:cubicBezTo>
                    <a:pt x="22072" y="1171"/>
                    <a:pt x="21789" y="1212"/>
                    <a:pt x="21638" y="1300"/>
                  </a:cubicBezTo>
                  <a:cubicBezTo>
                    <a:pt x="21247" y="1540"/>
                    <a:pt x="20284" y="1360"/>
                    <a:pt x="20404" y="1601"/>
                  </a:cubicBezTo>
                  <a:cubicBezTo>
                    <a:pt x="20593" y="1789"/>
                    <a:pt x="20840" y="1879"/>
                    <a:pt x="21083" y="1879"/>
                  </a:cubicBezTo>
                  <a:cubicBezTo>
                    <a:pt x="21306" y="1879"/>
                    <a:pt x="21526" y="1804"/>
                    <a:pt x="21698" y="1661"/>
                  </a:cubicBezTo>
                  <a:cubicBezTo>
                    <a:pt x="21916" y="1455"/>
                    <a:pt x="22163" y="1405"/>
                    <a:pt x="22384" y="1405"/>
                  </a:cubicBezTo>
                  <a:cubicBezTo>
                    <a:pt x="22594" y="1405"/>
                    <a:pt x="22781" y="1450"/>
                    <a:pt x="22899" y="1450"/>
                  </a:cubicBezTo>
                  <a:cubicBezTo>
                    <a:pt x="22965" y="1450"/>
                    <a:pt x="23010" y="1436"/>
                    <a:pt x="23023" y="1390"/>
                  </a:cubicBezTo>
                  <a:cubicBezTo>
                    <a:pt x="23075" y="1250"/>
                    <a:pt x="22720" y="1171"/>
                    <a:pt x="22343" y="1171"/>
                  </a:cubicBezTo>
                  <a:close/>
                  <a:moveTo>
                    <a:pt x="26955" y="2058"/>
                  </a:moveTo>
                  <a:cubicBezTo>
                    <a:pt x="26608" y="2058"/>
                    <a:pt x="26043" y="2280"/>
                    <a:pt x="26213" y="2323"/>
                  </a:cubicBezTo>
                  <a:cubicBezTo>
                    <a:pt x="26356" y="2371"/>
                    <a:pt x="26627" y="2444"/>
                    <a:pt x="26849" y="2444"/>
                  </a:cubicBezTo>
                  <a:cubicBezTo>
                    <a:pt x="27046" y="2444"/>
                    <a:pt x="27206" y="2386"/>
                    <a:pt x="27206" y="2202"/>
                  </a:cubicBezTo>
                  <a:cubicBezTo>
                    <a:pt x="27206" y="2096"/>
                    <a:pt x="27099" y="2058"/>
                    <a:pt x="26955" y="2058"/>
                  </a:cubicBezTo>
                  <a:close/>
                  <a:moveTo>
                    <a:pt x="24534" y="971"/>
                  </a:moveTo>
                  <a:cubicBezTo>
                    <a:pt x="24046" y="971"/>
                    <a:pt x="23641" y="1258"/>
                    <a:pt x="23895" y="1420"/>
                  </a:cubicBezTo>
                  <a:cubicBezTo>
                    <a:pt x="24226" y="1691"/>
                    <a:pt x="22993" y="1601"/>
                    <a:pt x="22842" y="1841"/>
                  </a:cubicBezTo>
                  <a:cubicBezTo>
                    <a:pt x="22692" y="2052"/>
                    <a:pt x="21939" y="1992"/>
                    <a:pt x="22090" y="2263"/>
                  </a:cubicBezTo>
                  <a:cubicBezTo>
                    <a:pt x="22174" y="2398"/>
                    <a:pt x="22562" y="2476"/>
                    <a:pt x="22887" y="2476"/>
                  </a:cubicBezTo>
                  <a:cubicBezTo>
                    <a:pt x="23140" y="2476"/>
                    <a:pt x="23354" y="2428"/>
                    <a:pt x="23354" y="2323"/>
                  </a:cubicBezTo>
                  <a:cubicBezTo>
                    <a:pt x="23354" y="2112"/>
                    <a:pt x="24016" y="2293"/>
                    <a:pt x="24016" y="2112"/>
                  </a:cubicBezTo>
                  <a:cubicBezTo>
                    <a:pt x="24016" y="1901"/>
                    <a:pt x="24317" y="1661"/>
                    <a:pt x="24949" y="1601"/>
                  </a:cubicBezTo>
                  <a:cubicBezTo>
                    <a:pt x="25581" y="1570"/>
                    <a:pt x="25611" y="1300"/>
                    <a:pt x="24979" y="1059"/>
                  </a:cubicBezTo>
                  <a:cubicBezTo>
                    <a:pt x="24833" y="996"/>
                    <a:pt x="24680" y="971"/>
                    <a:pt x="24534" y="971"/>
                  </a:cubicBezTo>
                  <a:close/>
                  <a:moveTo>
                    <a:pt x="30629" y="1809"/>
                  </a:moveTo>
                  <a:cubicBezTo>
                    <a:pt x="30373" y="1809"/>
                    <a:pt x="30184" y="1839"/>
                    <a:pt x="30215" y="1901"/>
                  </a:cubicBezTo>
                  <a:cubicBezTo>
                    <a:pt x="30276" y="2112"/>
                    <a:pt x="30095" y="2112"/>
                    <a:pt x="29644" y="2112"/>
                  </a:cubicBezTo>
                  <a:cubicBezTo>
                    <a:pt x="29192" y="2112"/>
                    <a:pt x="28921" y="2353"/>
                    <a:pt x="29162" y="2594"/>
                  </a:cubicBezTo>
                  <a:cubicBezTo>
                    <a:pt x="29246" y="2677"/>
                    <a:pt x="29506" y="2718"/>
                    <a:pt x="29800" y="2718"/>
                  </a:cubicBezTo>
                  <a:cubicBezTo>
                    <a:pt x="30245" y="2718"/>
                    <a:pt x="30769" y="2624"/>
                    <a:pt x="30877" y="2443"/>
                  </a:cubicBezTo>
                  <a:cubicBezTo>
                    <a:pt x="31088" y="2142"/>
                    <a:pt x="31630" y="2413"/>
                    <a:pt x="31750" y="2112"/>
                  </a:cubicBezTo>
                  <a:cubicBezTo>
                    <a:pt x="31829" y="1916"/>
                    <a:pt x="31111" y="1809"/>
                    <a:pt x="30629" y="1809"/>
                  </a:cubicBezTo>
                  <a:close/>
                  <a:moveTo>
                    <a:pt x="60001" y="325"/>
                  </a:moveTo>
                  <a:cubicBezTo>
                    <a:pt x="59831" y="325"/>
                    <a:pt x="59637" y="662"/>
                    <a:pt x="58956" y="788"/>
                  </a:cubicBezTo>
                  <a:cubicBezTo>
                    <a:pt x="58113" y="938"/>
                    <a:pt x="57752" y="1149"/>
                    <a:pt x="58083" y="1300"/>
                  </a:cubicBezTo>
                  <a:cubicBezTo>
                    <a:pt x="58414" y="1450"/>
                    <a:pt x="58083" y="1871"/>
                    <a:pt x="57752" y="1871"/>
                  </a:cubicBezTo>
                  <a:cubicBezTo>
                    <a:pt x="57421" y="1871"/>
                    <a:pt x="57301" y="2202"/>
                    <a:pt x="57752" y="2413"/>
                  </a:cubicBezTo>
                  <a:cubicBezTo>
                    <a:pt x="58203" y="2594"/>
                    <a:pt x="58053" y="2714"/>
                    <a:pt x="57541" y="2714"/>
                  </a:cubicBezTo>
                  <a:cubicBezTo>
                    <a:pt x="57060" y="2714"/>
                    <a:pt x="56699" y="2865"/>
                    <a:pt x="57000" y="2955"/>
                  </a:cubicBezTo>
                  <a:cubicBezTo>
                    <a:pt x="57301" y="3075"/>
                    <a:pt x="57210" y="3346"/>
                    <a:pt x="57692" y="3466"/>
                  </a:cubicBezTo>
                  <a:cubicBezTo>
                    <a:pt x="57743" y="3475"/>
                    <a:pt x="57794" y="3480"/>
                    <a:pt x="57844" y="3480"/>
                  </a:cubicBezTo>
                  <a:cubicBezTo>
                    <a:pt x="58295" y="3480"/>
                    <a:pt x="58682" y="3138"/>
                    <a:pt x="58655" y="2895"/>
                  </a:cubicBezTo>
                  <a:cubicBezTo>
                    <a:pt x="58595" y="2624"/>
                    <a:pt x="60340" y="2353"/>
                    <a:pt x="60822" y="2263"/>
                  </a:cubicBezTo>
                  <a:cubicBezTo>
                    <a:pt x="61303" y="2142"/>
                    <a:pt x="60521" y="1601"/>
                    <a:pt x="61002" y="1570"/>
                  </a:cubicBezTo>
                  <a:cubicBezTo>
                    <a:pt x="61514" y="1540"/>
                    <a:pt x="61303" y="1300"/>
                    <a:pt x="60701" y="1209"/>
                  </a:cubicBezTo>
                  <a:cubicBezTo>
                    <a:pt x="60130" y="1089"/>
                    <a:pt x="60340" y="547"/>
                    <a:pt x="60099" y="367"/>
                  </a:cubicBezTo>
                  <a:cubicBezTo>
                    <a:pt x="60065" y="337"/>
                    <a:pt x="60033" y="325"/>
                    <a:pt x="60001" y="325"/>
                  </a:cubicBezTo>
                  <a:close/>
                  <a:moveTo>
                    <a:pt x="60915" y="2513"/>
                  </a:moveTo>
                  <a:cubicBezTo>
                    <a:pt x="60305" y="2513"/>
                    <a:pt x="58986" y="2855"/>
                    <a:pt x="58986" y="3045"/>
                  </a:cubicBezTo>
                  <a:cubicBezTo>
                    <a:pt x="58986" y="3316"/>
                    <a:pt x="58234" y="3557"/>
                    <a:pt x="58444" y="3767"/>
                  </a:cubicBezTo>
                  <a:cubicBezTo>
                    <a:pt x="58579" y="3868"/>
                    <a:pt x="58676" y="3885"/>
                    <a:pt x="58772" y="3885"/>
                  </a:cubicBezTo>
                  <a:cubicBezTo>
                    <a:pt x="58818" y="3885"/>
                    <a:pt x="58863" y="3881"/>
                    <a:pt x="58913" y="3881"/>
                  </a:cubicBezTo>
                  <a:cubicBezTo>
                    <a:pt x="58945" y="3881"/>
                    <a:pt x="58979" y="3882"/>
                    <a:pt x="59016" y="3888"/>
                  </a:cubicBezTo>
                  <a:cubicBezTo>
                    <a:pt x="59240" y="3944"/>
                    <a:pt x="59386" y="4469"/>
                    <a:pt x="59720" y="4469"/>
                  </a:cubicBezTo>
                  <a:cubicBezTo>
                    <a:pt x="59745" y="4469"/>
                    <a:pt x="59771" y="4466"/>
                    <a:pt x="59798" y="4460"/>
                  </a:cubicBezTo>
                  <a:cubicBezTo>
                    <a:pt x="59822" y="4456"/>
                    <a:pt x="59848" y="4455"/>
                    <a:pt x="59875" y="4455"/>
                  </a:cubicBezTo>
                  <a:cubicBezTo>
                    <a:pt x="60349" y="4455"/>
                    <a:pt x="61430" y="4911"/>
                    <a:pt x="62056" y="4911"/>
                  </a:cubicBezTo>
                  <a:cubicBezTo>
                    <a:pt x="62748" y="4911"/>
                    <a:pt x="62808" y="4339"/>
                    <a:pt x="62597" y="4339"/>
                  </a:cubicBezTo>
                  <a:cubicBezTo>
                    <a:pt x="62357" y="4339"/>
                    <a:pt x="62567" y="3978"/>
                    <a:pt x="62928" y="3466"/>
                  </a:cubicBezTo>
                  <a:cubicBezTo>
                    <a:pt x="63208" y="3079"/>
                    <a:pt x="62487" y="2753"/>
                    <a:pt x="62054" y="2753"/>
                  </a:cubicBezTo>
                  <a:cubicBezTo>
                    <a:pt x="61882" y="2753"/>
                    <a:pt x="61755" y="2805"/>
                    <a:pt x="61755" y="2925"/>
                  </a:cubicBezTo>
                  <a:cubicBezTo>
                    <a:pt x="61755" y="3044"/>
                    <a:pt x="61719" y="3091"/>
                    <a:pt x="61665" y="3091"/>
                  </a:cubicBezTo>
                  <a:cubicBezTo>
                    <a:pt x="61528" y="3091"/>
                    <a:pt x="61278" y="2788"/>
                    <a:pt x="61213" y="2594"/>
                  </a:cubicBezTo>
                  <a:cubicBezTo>
                    <a:pt x="61188" y="2537"/>
                    <a:pt x="61076" y="2513"/>
                    <a:pt x="60915" y="2513"/>
                  </a:cubicBezTo>
                  <a:close/>
                  <a:moveTo>
                    <a:pt x="65054" y="3743"/>
                  </a:moveTo>
                  <a:cubicBezTo>
                    <a:pt x="64969" y="3743"/>
                    <a:pt x="64900" y="3778"/>
                    <a:pt x="64885" y="3858"/>
                  </a:cubicBezTo>
                  <a:cubicBezTo>
                    <a:pt x="64854" y="4159"/>
                    <a:pt x="64072" y="3918"/>
                    <a:pt x="64072" y="4159"/>
                  </a:cubicBezTo>
                  <a:cubicBezTo>
                    <a:pt x="64072" y="4429"/>
                    <a:pt x="63711" y="4550"/>
                    <a:pt x="63771" y="4760"/>
                  </a:cubicBezTo>
                  <a:cubicBezTo>
                    <a:pt x="63801" y="5001"/>
                    <a:pt x="63199" y="4670"/>
                    <a:pt x="63199" y="5212"/>
                  </a:cubicBezTo>
                  <a:cubicBezTo>
                    <a:pt x="63199" y="5784"/>
                    <a:pt x="62266" y="6175"/>
                    <a:pt x="62627" y="6356"/>
                  </a:cubicBezTo>
                  <a:cubicBezTo>
                    <a:pt x="62681" y="6388"/>
                    <a:pt x="62759" y="6401"/>
                    <a:pt x="62855" y="6401"/>
                  </a:cubicBezTo>
                  <a:cubicBezTo>
                    <a:pt x="63258" y="6401"/>
                    <a:pt x="63979" y="6169"/>
                    <a:pt x="64553" y="6169"/>
                  </a:cubicBezTo>
                  <a:cubicBezTo>
                    <a:pt x="64605" y="6169"/>
                    <a:pt x="64655" y="6171"/>
                    <a:pt x="64704" y="6175"/>
                  </a:cubicBezTo>
                  <a:cubicBezTo>
                    <a:pt x="64721" y="6176"/>
                    <a:pt x="64740" y="6176"/>
                    <a:pt x="64759" y="6176"/>
                  </a:cubicBezTo>
                  <a:cubicBezTo>
                    <a:pt x="65520" y="6176"/>
                    <a:pt x="67384" y="5594"/>
                    <a:pt x="67443" y="5212"/>
                  </a:cubicBezTo>
                  <a:cubicBezTo>
                    <a:pt x="67533" y="4851"/>
                    <a:pt x="66720" y="4881"/>
                    <a:pt x="66389" y="4550"/>
                  </a:cubicBezTo>
                  <a:cubicBezTo>
                    <a:pt x="66284" y="4445"/>
                    <a:pt x="66149" y="4403"/>
                    <a:pt x="66009" y="4403"/>
                  </a:cubicBezTo>
                  <a:cubicBezTo>
                    <a:pt x="65706" y="4403"/>
                    <a:pt x="65379" y="4596"/>
                    <a:pt x="65276" y="4760"/>
                  </a:cubicBezTo>
                  <a:cubicBezTo>
                    <a:pt x="65230" y="4843"/>
                    <a:pt x="65181" y="4881"/>
                    <a:pt x="65147" y="4881"/>
                  </a:cubicBezTo>
                  <a:cubicBezTo>
                    <a:pt x="65068" y="4881"/>
                    <a:pt x="65064" y="4683"/>
                    <a:pt x="65336" y="4369"/>
                  </a:cubicBezTo>
                  <a:cubicBezTo>
                    <a:pt x="65646" y="4015"/>
                    <a:pt x="65289" y="3743"/>
                    <a:pt x="65054" y="3743"/>
                  </a:cubicBezTo>
                  <a:close/>
                  <a:moveTo>
                    <a:pt x="94060" y="9316"/>
                  </a:moveTo>
                  <a:cubicBezTo>
                    <a:pt x="93447" y="9316"/>
                    <a:pt x="92105" y="10803"/>
                    <a:pt x="92812" y="11171"/>
                  </a:cubicBezTo>
                  <a:cubicBezTo>
                    <a:pt x="93053" y="11291"/>
                    <a:pt x="93264" y="11472"/>
                    <a:pt x="93444" y="11682"/>
                  </a:cubicBezTo>
                  <a:cubicBezTo>
                    <a:pt x="93492" y="11738"/>
                    <a:pt x="93578" y="11760"/>
                    <a:pt x="93683" y="11760"/>
                  </a:cubicBezTo>
                  <a:cubicBezTo>
                    <a:pt x="93976" y="11760"/>
                    <a:pt x="94419" y="11590"/>
                    <a:pt x="94618" y="11502"/>
                  </a:cubicBezTo>
                  <a:cubicBezTo>
                    <a:pt x="94646" y="11489"/>
                    <a:pt x="94671" y="11484"/>
                    <a:pt x="94695" y="11484"/>
                  </a:cubicBezTo>
                  <a:cubicBezTo>
                    <a:pt x="94853" y="11484"/>
                    <a:pt x="94928" y="11729"/>
                    <a:pt x="95141" y="11729"/>
                  </a:cubicBezTo>
                  <a:cubicBezTo>
                    <a:pt x="95203" y="11729"/>
                    <a:pt x="95278" y="11708"/>
                    <a:pt x="95371" y="11652"/>
                  </a:cubicBezTo>
                  <a:cubicBezTo>
                    <a:pt x="95610" y="11509"/>
                    <a:pt x="95849" y="11475"/>
                    <a:pt x="96096" y="11475"/>
                  </a:cubicBezTo>
                  <a:cubicBezTo>
                    <a:pt x="96317" y="11475"/>
                    <a:pt x="96544" y="11502"/>
                    <a:pt x="96785" y="11502"/>
                  </a:cubicBezTo>
                  <a:cubicBezTo>
                    <a:pt x="97327" y="11502"/>
                    <a:pt x="96695" y="10870"/>
                    <a:pt x="96725" y="10599"/>
                  </a:cubicBezTo>
                  <a:cubicBezTo>
                    <a:pt x="96736" y="10499"/>
                    <a:pt x="96821" y="10456"/>
                    <a:pt x="96915" y="10456"/>
                  </a:cubicBezTo>
                  <a:cubicBezTo>
                    <a:pt x="97075" y="10456"/>
                    <a:pt x="97260" y="10579"/>
                    <a:pt x="97146" y="10749"/>
                  </a:cubicBezTo>
                  <a:cubicBezTo>
                    <a:pt x="96942" y="11012"/>
                    <a:pt x="97360" y="11473"/>
                    <a:pt x="98072" y="11473"/>
                  </a:cubicBezTo>
                  <a:cubicBezTo>
                    <a:pt x="98094" y="11473"/>
                    <a:pt x="98117" y="11472"/>
                    <a:pt x="98139" y="11472"/>
                  </a:cubicBezTo>
                  <a:cubicBezTo>
                    <a:pt x="98892" y="11442"/>
                    <a:pt x="98350" y="10930"/>
                    <a:pt x="98711" y="10779"/>
                  </a:cubicBezTo>
                  <a:cubicBezTo>
                    <a:pt x="99102" y="10629"/>
                    <a:pt x="99042" y="10418"/>
                    <a:pt x="98530" y="10117"/>
                  </a:cubicBezTo>
                  <a:cubicBezTo>
                    <a:pt x="97989" y="9816"/>
                    <a:pt x="97297" y="9997"/>
                    <a:pt x="96785" y="9786"/>
                  </a:cubicBezTo>
                  <a:cubicBezTo>
                    <a:pt x="96586" y="9687"/>
                    <a:pt x="96365" y="9628"/>
                    <a:pt x="96174" y="9628"/>
                  </a:cubicBezTo>
                  <a:cubicBezTo>
                    <a:pt x="95903" y="9628"/>
                    <a:pt x="95689" y="9745"/>
                    <a:pt x="95671" y="10027"/>
                  </a:cubicBezTo>
                  <a:cubicBezTo>
                    <a:pt x="95666" y="10128"/>
                    <a:pt x="95624" y="10169"/>
                    <a:pt x="95556" y="10169"/>
                  </a:cubicBezTo>
                  <a:cubicBezTo>
                    <a:pt x="95280" y="10169"/>
                    <a:pt x="94578" y="9480"/>
                    <a:pt x="94167" y="9335"/>
                  </a:cubicBezTo>
                  <a:cubicBezTo>
                    <a:pt x="94135" y="9322"/>
                    <a:pt x="94099" y="9316"/>
                    <a:pt x="94060" y="9316"/>
                  </a:cubicBezTo>
                  <a:close/>
                  <a:moveTo>
                    <a:pt x="100331" y="10524"/>
                  </a:moveTo>
                  <a:cubicBezTo>
                    <a:pt x="100077" y="10524"/>
                    <a:pt x="99687" y="11145"/>
                    <a:pt x="99915" y="11171"/>
                  </a:cubicBezTo>
                  <a:cubicBezTo>
                    <a:pt x="100487" y="11201"/>
                    <a:pt x="100757" y="11742"/>
                    <a:pt x="101841" y="11803"/>
                  </a:cubicBezTo>
                  <a:cubicBezTo>
                    <a:pt x="102002" y="11816"/>
                    <a:pt x="102156" y="11822"/>
                    <a:pt x="102302" y="11822"/>
                  </a:cubicBezTo>
                  <a:cubicBezTo>
                    <a:pt x="103141" y="11822"/>
                    <a:pt x="103716" y="11621"/>
                    <a:pt x="103767" y="11442"/>
                  </a:cubicBezTo>
                  <a:cubicBezTo>
                    <a:pt x="103791" y="11249"/>
                    <a:pt x="103122" y="10999"/>
                    <a:pt x="102699" y="10999"/>
                  </a:cubicBezTo>
                  <a:cubicBezTo>
                    <a:pt x="102593" y="10999"/>
                    <a:pt x="102503" y="11014"/>
                    <a:pt x="102443" y="11050"/>
                  </a:cubicBezTo>
                  <a:cubicBezTo>
                    <a:pt x="102394" y="11079"/>
                    <a:pt x="102347" y="11091"/>
                    <a:pt x="102301" y="11091"/>
                  </a:cubicBezTo>
                  <a:cubicBezTo>
                    <a:pt x="102094" y="11091"/>
                    <a:pt x="101902" y="10850"/>
                    <a:pt x="101659" y="10850"/>
                  </a:cubicBezTo>
                  <a:cubicBezTo>
                    <a:pt x="101620" y="10850"/>
                    <a:pt x="101581" y="10856"/>
                    <a:pt x="101540" y="10870"/>
                  </a:cubicBezTo>
                  <a:cubicBezTo>
                    <a:pt x="101419" y="10907"/>
                    <a:pt x="101286" y="10927"/>
                    <a:pt x="101156" y="10927"/>
                  </a:cubicBezTo>
                  <a:cubicBezTo>
                    <a:pt x="100864" y="10927"/>
                    <a:pt x="100581" y="10827"/>
                    <a:pt x="100457" y="10599"/>
                  </a:cubicBezTo>
                  <a:cubicBezTo>
                    <a:pt x="100423" y="10546"/>
                    <a:pt x="100380" y="10524"/>
                    <a:pt x="100331" y="10524"/>
                  </a:cubicBezTo>
                  <a:close/>
                  <a:moveTo>
                    <a:pt x="73243" y="12070"/>
                  </a:moveTo>
                  <a:cubicBezTo>
                    <a:pt x="73012" y="12070"/>
                    <a:pt x="72768" y="12136"/>
                    <a:pt x="72709" y="12224"/>
                  </a:cubicBezTo>
                  <a:cubicBezTo>
                    <a:pt x="72649" y="12405"/>
                    <a:pt x="72107" y="12405"/>
                    <a:pt x="72258" y="12585"/>
                  </a:cubicBezTo>
                  <a:cubicBezTo>
                    <a:pt x="72311" y="12660"/>
                    <a:pt x="72506" y="12697"/>
                    <a:pt x="72737" y="12697"/>
                  </a:cubicBezTo>
                  <a:cubicBezTo>
                    <a:pt x="73152" y="12697"/>
                    <a:pt x="73683" y="12577"/>
                    <a:pt x="73702" y="12344"/>
                  </a:cubicBezTo>
                  <a:cubicBezTo>
                    <a:pt x="73718" y="12144"/>
                    <a:pt x="73487" y="12070"/>
                    <a:pt x="73243" y="12070"/>
                  </a:cubicBezTo>
                  <a:close/>
                  <a:moveTo>
                    <a:pt x="95637" y="12510"/>
                  </a:moveTo>
                  <a:cubicBezTo>
                    <a:pt x="95300" y="12510"/>
                    <a:pt x="94726" y="12792"/>
                    <a:pt x="95100" y="12946"/>
                  </a:cubicBezTo>
                  <a:cubicBezTo>
                    <a:pt x="95258" y="12999"/>
                    <a:pt x="95388" y="13023"/>
                    <a:pt x="95493" y="13023"/>
                  </a:cubicBezTo>
                  <a:cubicBezTo>
                    <a:pt x="95746" y="13023"/>
                    <a:pt x="95852" y="12880"/>
                    <a:pt x="95852" y="12645"/>
                  </a:cubicBezTo>
                  <a:cubicBezTo>
                    <a:pt x="95852" y="12548"/>
                    <a:pt x="95760" y="12510"/>
                    <a:pt x="95637" y="12510"/>
                  </a:cubicBezTo>
                  <a:close/>
                  <a:moveTo>
                    <a:pt x="96545" y="13178"/>
                  </a:moveTo>
                  <a:cubicBezTo>
                    <a:pt x="95880" y="13178"/>
                    <a:pt x="95287" y="13705"/>
                    <a:pt x="95371" y="13789"/>
                  </a:cubicBezTo>
                  <a:cubicBezTo>
                    <a:pt x="95426" y="13899"/>
                    <a:pt x="97002" y="14187"/>
                    <a:pt x="97610" y="14187"/>
                  </a:cubicBezTo>
                  <a:cubicBezTo>
                    <a:pt x="97664" y="14187"/>
                    <a:pt x="97711" y="14185"/>
                    <a:pt x="97748" y="14180"/>
                  </a:cubicBezTo>
                  <a:cubicBezTo>
                    <a:pt x="98139" y="14090"/>
                    <a:pt x="97387" y="13307"/>
                    <a:pt x="96695" y="13187"/>
                  </a:cubicBezTo>
                  <a:cubicBezTo>
                    <a:pt x="96645" y="13181"/>
                    <a:pt x="96595" y="13178"/>
                    <a:pt x="96545" y="13178"/>
                  </a:cubicBezTo>
                  <a:close/>
                  <a:moveTo>
                    <a:pt x="40809" y="13729"/>
                  </a:moveTo>
                  <a:cubicBezTo>
                    <a:pt x="40297" y="13729"/>
                    <a:pt x="40177" y="14331"/>
                    <a:pt x="40448" y="14361"/>
                  </a:cubicBezTo>
                  <a:cubicBezTo>
                    <a:pt x="40474" y="14363"/>
                    <a:pt x="40504" y="14365"/>
                    <a:pt x="40537" y="14365"/>
                  </a:cubicBezTo>
                  <a:cubicBezTo>
                    <a:pt x="40885" y="14365"/>
                    <a:pt x="41572" y="14227"/>
                    <a:pt x="41681" y="14090"/>
                  </a:cubicBezTo>
                  <a:cubicBezTo>
                    <a:pt x="41802" y="13939"/>
                    <a:pt x="41350" y="13729"/>
                    <a:pt x="40809" y="13729"/>
                  </a:cubicBezTo>
                  <a:close/>
                  <a:moveTo>
                    <a:pt x="47705" y="14301"/>
                  </a:moveTo>
                  <a:cubicBezTo>
                    <a:pt x="47457" y="14301"/>
                    <a:pt x="47062" y="14583"/>
                    <a:pt x="47279" y="14692"/>
                  </a:cubicBezTo>
                  <a:cubicBezTo>
                    <a:pt x="47418" y="14767"/>
                    <a:pt x="47539" y="14804"/>
                    <a:pt x="47635" y="14804"/>
                  </a:cubicBezTo>
                  <a:cubicBezTo>
                    <a:pt x="47807" y="14804"/>
                    <a:pt x="47900" y="14683"/>
                    <a:pt x="47881" y="14451"/>
                  </a:cubicBezTo>
                  <a:cubicBezTo>
                    <a:pt x="47873" y="14343"/>
                    <a:pt x="47800" y="14301"/>
                    <a:pt x="47705" y="14301"/>
                  </a:cubicBezTo>
                  <a:close/>
                  <a:moveTo>
                    <a:pt x="127723" y="16780"/>
                  </a:moveTo>
                  <a:cubicBezTo>
                    <a:pt x="126717" y="16780"/>
                    <a:pt x="125571" y="17481"/>
                    <a:pt x="126067" y="17701"/>
                  </a:cubicBezTo>
                  <a:cubicBezTo>
                    <a:pt x="126162" y="17752"/>
                    <a:pt x="126250" y="17770"/>
                    <a:pt x="126333" y="17770"/>
                  </a:cubicBezTo>
                  <a:cubicBezTo>
                    <a:pt x="126573" y="17770"/>
                    <a:pt x="126773" y="17616"/>
                    <a:pt x="126982" y="17616"/>
                  </a:cubicBezTo>
                  <a:cubicBezTo>
                    <a:pt x="127047" y="17616"/>
                    <a:pt x="127113" y="17631"/>
                    <a:pt x="127181" y="17671"/>
                  </a:cubicBezTo>
                  <a:cubicBezTo>
                    <a:pt x="127277" y="17730"/>
                    <a:pt x="127403" y="17753"/>
                    <a:pt x="127545" y="17753"/>
                  </a:cubicBezTo>
                  <a:cubicBezTo>
                    <a:pt x="127982" y="17753"/>
                    <a:pt x="128563" y="17536"/>
                    <a:pt x="128836" y="17491"/>
                  </a:cubicBezTo>
                  <a:cubicBezTo>
                    <a:pt x="129227" y="17400"/>
                    <a:pt x="129047" y="16949"/>
                    <a:pt x="127993" y="16798"/>
                  </a:cubicBezTo>
                  <a:cubicBezTo>
                    <a:pt x="127905" y="16786"/>
                    <a:pt x="127814" y="16780"/>
                    <a:pt x="127723" y="16780"/>
                  </a:cubicBezTo>
                  <a:close/>
                  <a:moveTo>
                    <a:pt x="38756" y="8137"/>
                  </a:moveTo>
                  <a:cubicBezTo>
                    <a:pt x="38089" y="8137"/>
                    <a:pt x="37192" y="8536"/>
                    <a:pt x="36896" y="8763"/>
                  </a:cubicBezTo>
                  <a:cubicBezTo>
                    <a:pt x="36535" y="9064"/>
                    <a:pt x="35963" y="8823"/>
                    <a:pt x="35602" y="9064"/>
                  </a:cubicBezTo>
                  <a:cubicBezTo>
                    <a:pt x="35362" y="9194"/>
                    <a:pt x="34973" y="9300"/>
                    <a:pt x="34618" y="9300"/>
                  </a:cubicBezTo>
                  <a:cubicBezTo>
                    <a:pt x="34397" y="9300"/>
                    <a:pt x="34188" y="9259"/>
                    <a:pt x="34037" y="9154"/>
                  </a:cubicBezTo>
                  <a:cubicBezTo>
                    <a:pt x="33977" y="9114"/>
                    <a:pt x="33912" y="9097"/>
                    <a:pt x="33844" y="9097"/>
                  </a:cubicBezTo>
                  <a:cubicBezTo>
                    <a:pt x="33529" y="9097"/>
                    <a:pt x="33160" y="9460"/>
                    <a:pt x="32908" y="9460"/>
                  </a:cubicBezTo>
                  <a:cubicBezTo>
                    <a:pt x="32893" y="9460"/>
                    <a:pt x="32878" y="9458"/>
                    <a:pt x="32864" y="9455"/>
                  </a:cubicBezTo>
                  <a:cubicBezTo>
                    <a:pt x="32851" y="9454"/>
                    <a:pt x="32837" y="9453"/>
                    <a:pt x="32824" y="9453"/>
                  </a:cubicBezTo>
                  <a:cubicBezTo>
                    <a:pt x="32545" y="9453"/>
                    <a:pt x="32218" y="9728"/>
                    <a:pt x="31914" y="9728"/>
                  </a:cubicBezTo>
                  <a:cubicBezTo>
                    <a:pt x="31899" y="9728"/>
                    <a:pt x="31885" y="9727"/>
                    <a:pt x="31871" y="9726"/>
                  </a:cubicBezTo>
                  <a:cubicBezTo>
                    <a:pt x="31855" y="9725"/>
                    <a:pt x="31839" y="9724"/>
                    <a:pt x="31822" y="9724"/>
                  </a:cubicBezTo>
                  <a:cubicBezTo>
                    <a:pt x="31479" y="9724"/>
                    <a:pt x="30876" y="10005"/>
                    <a:pt x="30847" y="10178"/>
                  </a:cubicBezTo>
                  <a:cubicBezTo>
                    <a:pt x="30817" y="10358"/>
                    <a:pt x="30245" y="10328"/>
                    <a:pt x="30245" y="10569"/>
                  </a:cubicBezTo>
                  <a:cubicBezTo>
                    <a:pt x="30206" y="10766"/>
                    <a:pt x="30025" y="10885"/>
                    <a:pt x="29837" y="10885"/>
                  </a:cubicBezTo>
                  <a:cubicBezTo>
                    <a:pt x="29737" y="10885"/>
                    <a:pt x="29636" y="10852"/>
                    <a:pt x="29553" y="10779"/>
                  </a:cubicBezTo>
                  <a:cubicBezTo>
                    <a:pt x="29520" y="10751"/>
                    <a:pt x="29484" y="10738"/>
                    <a:pt x="29449" y="10738"/>
                  </a:cubicBezTo>
                  <a:cubicBezTo>
                    <a:pt x="29263" y="10738"/>
                    <a:pt x="29094" y="11098"/>
                    <a:pt x="29373" y="11351"/>
                  </a:cubicBezTo>
                  <a:cubicBezTo>
                    <a:pt x="29704" y="11652"/>
                    <a:pt x="28771" y="11652"/>
                    <a:pt x="28921" y="11833"/>
                  </a:cubicBezTo>
                  <a:cubicBezTo>
                    <a:pt x="29072" y="12013"/>
                    <a:pt x="28590" y="12134"/>
                    <a:pt x="28711" y="12374"/>
                  </a:cubicBezTo>
                  <a:cubicBezTo>
                    <a:pt x="28801" y="12585"/>
                    <a:pt x="28349" y="12675"/>
                    <a:pt x="28018" y="12705"/>
                  </a:cubicBezTo>
                  <a:cubicBezTo>
                    <a:pt x="27687" y="12736"/>
                    <a:pt x="27447" y="13277"/>
                    <a:pt x="27898" y="13277"/>
                  </a:cubicBezTo>
                  <a:cubicBezTo>
                    <a:pt x="28349" y="13277"/>
                    <a:pt x="27657" y="13368"/>
                    <a:pt x="27717" y="13729"/>
                  </a:cubicBezTo>
                  <a:cubicBezTo>
                    <a:pt x="27808" y="14060"/>
                    <a:pt x="26965" y="13849"/>
                    <a:pt x="27025" y="14090"/>
                  </a:cubicBezTo>
                  <a:cubicBezTo>
                    <a:pt x="27055" y="14331"/>
                    <a:pt x="26905" y="14481"/>
                    <a:pt x="26453" y="14481"/>
                  </a:cubicBezTo>
                  <a:cubicBezTo>
                    <a:pt x="26002" y="14481"/>
                    <a:pt x="26664" y="14782"/>
                    <a:pt x="26724" y="14993"/>
                  </a:cubicBezTo>
                  <a:cubicBezTo>
                    <a:pt x="26754" y="15233"/>
                    <a:pt x="26273" y="15083"/>
                    <a:pt x="26213" y="15504"/>
                  </a:cubicBezTo>
                  <a:cubicBezTo>
                    <a:pt x="26183" y="15896"/>
                    <a:pt x="25370" y="15504"/>
                    <a:pt x="25250" y="16016"/>
                  </a:cubicBezTo>
                  <a:cubicBezTo>
                    <a:pt x="25129" y="16558"/>
                    <a:pt x="25671" y="16437"/>
                    <a:pt x="26032" y="16467"/>
                  </a:cubicBezTo>
                  <a:cubicBezTo>
                    <a:pt x="26423" y="16497"/>
                    <a:pt x="25912" y="16859"/>
                    <a:pt x="26183" y="17069"/>
                  </a:cubicBezTo>
                  <a:cubicBezTo>
                    <a:pt x="26277" y="17153"/>
                    <a:pt x="26364" y="17193"/>
                    <a:pt x="26430" y="17193"/>
                  </a:cubicBezTo>
                  <a:cubicBezTo>
                    <a:pt x="26553" y="17193"/>
                    <a:pt x="26601" y="17053"/>
                    <a:pt x="26484" y="16798"/>
                  </a:cubicBezTo>
                  <a:cubicBezTo>
                    <a:pt x="26438" y="16707"/>
                    <a:pt x="26478" y="16670"/>
                    <a:pt x="26558" y="16670"/>
                  </a:cubicBezTo>
                  <a:cubicBezTo>
                    <a:pt x="26796" y="16670"/>
                    <a:pt x="27386" y="17002"/>
                    <a:pt x="27116" y="17250"/>
                  </a:cubicBezTo>
                  <a:cubicBezTo>
                    <a:pt x="26785" y="17611"/>
                    <a:pt x="27687" y="17791"/>
                    <a:pt x="28139" y="17791"/>
                  </a:cubicBezTo>
                  <a:cubicBezTo>
                    <a:pt x="28440" y="17791"/>
                    <a:pt x="29236" y="17952"/>
                    <a:pt x="29751" y="17952"/>
                  </a:cubicBezTo>
                  <a:cubicBezTo>
                    <a:pt x="30008" y="17952"/>
                    <a:pt x="30195" y="17912"/>
                    <a:pt x="30215" y="17791"/>
                  </a:cubicBezTo>
                  <a:cubicBezTo>
                    <a:pt x="30245" y="17400"/>
                    <a:pt x="29613" y="17370"/>
                    <a:pt x="29132" y="16859"/>
                  </a:cubicBezTo>
                  <a:cubicBezTo>
                    <a:pt x="28620" y="16317"/>
                    <a:pt x="28289" y="15504"/>
                    <a:pt x="28831" y="15143"/>
                  </a:cubicBezTo>
                  <a:cubicBezTo>
                    <a:pt x="29343" y="14812"/>
                    <a:pt x="28891" y="14632"/>
                    <a:pt x="29463" y="14210"/>
                  </a:cubicBezTo>
                  <a:cubicBezTo>
                    <a:pt x="30035" y="13789"/>
                    <a:pt x="29704" y="13458"/>
                    <a:pt x="30155" y="13398"/>
                  </a:cubicBezTo>
                  <a:cubicBezTo>
                    <a:pt x="30607" y="13307"/>
                    <a:pt x="30125" y="12946"/>
                    <a:pt x="30576" y="12856"/>
                  </a:cubicBezTo>
                  <a:cubicBezTo>
                    <a:pt x="30938" y="12796"/>
                    <a:pt x="31178" y="12465"/>
                    <a:pt x="31088" y="12104"/>
                  </a:cubicBezTo>
                  <a:cubicBezTo>
                    <a:pt x="30998" y="11923"/>
                    <a:pt x="31570" y="12104"/>
                    <a:pt x="31840" y="11833"/>
                  </a:cubicBezTo>
                  <a:cubicBezTo>
                    <a:pt x="32081" y="11592"/>
                    <a:pt x="32683" y="11742"/>
                    <a:pt x="32894" y="11351"/>
                  </a:cubicBezTo>
                  <a:cubicBezTo>
                    <a:pt x="33074" y="10990"/>
                    <a:pt x="35783" y="10027"/>
                    <a:pt x="37288" y="9666"/>
                  </a:cubicBezTo>
                  <a:cubicBezTo>
                    <a:pt x="38792" y="9275"/>
                    <a:pt x="39876" y="8673"/>
                    <a:pt x="39304" y="8282"/>
                  </a:cubicBezTo>
                  <a:cubicBezTo>
                    <a:pt x="39164" y="8179"/>
                    <a:pt x="38972" y="8137"/>
                    <a:pt x="38756" y="8137"/>
                  </a:cubicBezTo>
                  <a:close/>
                  <a:moveTo>
                    <a:pt x="23486" y="19548"/>
                  </a:moveTo>
                  <a:cubicBezTo>
                    <a:pt x="23003" y="19548"/>
                    <a:pt x="22469" y="19973"/>
                    <a:pt x="22872" y="20350"/>
                  </a:cubicBezTo>
                  <a:cubicBezTo>
                    <a:pt x="23034" y="20503"/>
                    <a:pt x="23191" y="20561"/>
                    <a:pt x="23341" y="20561"/>
                  </a:cubicBezTo>
                  <a:cubicBezTo>
                    <a:pt x="23778" y="20561"/>
                    <a:pt x="24153" y="20071"/>
                    <a:pt x="24377" y="20049"/>
                  </a:cubicBezTo>
                  <a:cubicBezTo>
                    <a:pt x="24678" y="20018"/>
                    <a:pt x="24196" y="19657"/>
                    <a:pt x="23655" y="19567"/>
                  </a:cubicBezTo>
                  <a:cubicBezTo>
                    <a:pt x="23600" y="19554"/>
                    <a:pt x="23544" y="19548"/>
                    <a:pt x="23486" y="19548"/>
                  </a:cubicBezTo>
                  <a:close/>
                  <a:moveTo>
                    <a:pt x="1410" y="37161"/>
                  </a:moveTo>
                  <a:cubicBezTo>
                    <a:pt x="1314" y="37161"/>
                    <a:pt x="1199" y="37186"/>
                    <a:pt x="1084" y="37203"/>
                  </a:cubicBezTo>
                  <a:cubicBezTo>
                    <a:pt x="903" y="37233"/>
                    <a:pt x="1174" y="37233"/>
                    <a:pt x="1204" y="37323"/>
                  </a:cubicBezTo>
                  <a:cubicBezTo>
                    <a:pt x="1234" y="37383"/>
                    <a:pt x="783" y="37534"/>
                    <a:pt x="993" y="37714"/>
                  </a:cubicBezTo>
                  <a:cubicBezTo>
                    <a:pt x="1089" y="37826"/>
                    <a:pt x="973" y="37895"/>
                    <a:pt x="843" y="37895"/>
                  </a:cubicBezTo>
                  <a:cubicBezTo>
                    <a:pt x="728" y="37895"/>
                    <a:pt x="602" y="37841"/>
                    <a:pt x="602" y="37714"/>
                  </a:cubicBezTo>
                  <a:cubicBezTo>
                    <a:pt x="602" y="37623"/>
                    <a:pt x="520" y="37588"/>
                    <a:pt x="417" y="37588"/>
                  </a:cubicBezTo>
                  <a:cubicBezTo>
                    <a:pt x="250" y="37588"/>
                    <a:pt x="30" y="37681"/>
                    <a:pt x="30" y="37774"/>
                  </a:cubicBezTo>
                  <a:cubicBezTo>
                    <a:pt x="60" y="37835"/>
                    <a:pt x="30" y="37895"/>
                    <a:pt x="0" y="37955"/>
                  </a:cubicBezTo>
                  <a:lnTo>
                    <a:pt x="421" y="38105"/>
                  </a:lnTo>
                  <a:cubicBezTo>
                    <a:pt x="966" y="38180"/>
                    <a:pt x="1531" y="38234"/>
                    <a:pt x="2084" y="38234"/>
                  </a:cubicBezTo>
                  <a:cubicBezTo>
                    <a:pt x="2202" y="38234"/>
                    <a:pt x="2321" y="38231"/>
                    <a:pt x="2438" y="38226"/>
                  </a:cubicBezTo>
                  <a:cubicBezTo>
                    <a:pt x="2438" y="38105"/>
                    <a:pt x="2498" y="37804"/>
                    <a:pt x="2498" y="37684"/>
                  </a:cubicBezTo>
                  <a:cubicBezTo>
                    <a:pt x="2498" y="37578"/>
                    <a:pt x="2219" y="37403"/>
                    <a:pt x="2090" y="37403"/>
                  </a:cubicBezTo>
                  <a:cubicBezTo>
                    <a:pt x="2072" y="37403"/>
                    <a:pt x="2058" y="37406"/>
                    <a:pt x="2047" y="37413"/>
                  </a:cubicBezTo>
                  <a:cubicBezTo>
                    <a:pt x="1866" y="37413"/>
                    <a:pt x="1685" y="37353"/>
                    <a:pt x="1595" y="37233"/>
                  </a:cubicBezTo>
                  <a:cubicBezTo>
                    <a:pt x="1554" y="37178"/>
                    <a:pt x="1489" y="37161"/>
                    <a:pt x="1410" y="37161"/>
                  </a:cubicBezTo>
                  <a:close/>
                  <a:moveTo>
                    <a:pt x="70619" y="36894"/>
                  </a:moveTo>
                  <a:cubicBezTo>
                    <a:pt x="70633" y="36894"/>
                    <a:pt x="70648" y="36897"/>
                    <a:pt x="70663" y="36902"/>
                  </a:cubicBezTo>
                  <a:cubicBezTo>
                    <a:pt x="70903" y="36962"/>
                    <a:pt x="70422" y="39129"/>
                    <a:pt x="69760" y="39730"/>
                  </a:cubicBezTo>
                  <a:cubicBezTo>
                    <a:pt x="69098" y="40332"/>
                    <a:pt x="67744" y="40423"/>
                    <a:pt x="67744" y="40934"/>
                  </a:cubicBezTo>
                  <a:cubicBezTo>
                    <a:pt x="67744" y="41293"/>
                    <a:pt x="66857" y="41535"/>
                    <a:pt x="66356" y="41535"/>
                  </a:cubicBezTo>
                  <a:cubicBezTo>
                    <a:pt x="66185" y="41535"/>
                    <a:pt x="66059" y="41507"/>
                    <a:pt x="66028" y="41446"/>
                  </a:cubicBezTo>
                  <a:cubicBezTo>
                    <a:pt x="65908" y="41235"/>
                    <a:pt x="67202" y="41235"/>
                    <a:pt x="67533" y="40513"/>
                  </a:cubicBezTo>
                  <a:cubicBezTo>
                    <a:pt x="67864" y="39791"/>
                    <a:pt x="69038" y="39460"/>
                    <a:pt x="69639" y="38527"/>
                  </a:cubicBezTo>
                  <a:cubicBezTo>
                    <a:pt x="70208" y="37616"/>
                    <a:pt x="70374" y="36894"/>
                    <a:pt x="70619" y="36894"/>
                  </a:cubicBezTo>
                  <a:close/>
                  <a:moveTo>
                    <a:pt x="96967" y="38567"/>
                  </a:moveTo>
                  <a:cubicBezTo>
                    <a:pt x="96950" y="38567"/>
                    <a:pt x="96930" y="38573"/>
                    <a:pt x="96905" y="38587"/>
                  </a:cubicBezTo>
                  <a:cubicBezTo>
                    <a:pt x="96635" y="38737"/>
                    <a:pt x="96905" y="39369"/>
                    <a:pt x="96544" y="39430"/>
                  </a:cubicBezTo>
                  <a:cubicBezTo>
                    <a:pt x="96153" y="39460"/>
                    <a:pt x="96544" y="39791"/>
                    <a:pt x="96394" y="40272"/>
                  </a:cubicBezTo>
                  <a:cubicBezTo>
                    <a:pt x="96243" y="40784"/>
                    <a:pt x="96454" y="41416"/>
                    <a:pt x="96635" y="41867"/>
                  </a:cubicBezTo>
                  <a:cubicBezTo>
                    <a:pt x="96845" y="42319"/>
                    <a:pt x="96394" y="44546"/>
                    <a:pt x="96574" y="44907"/>
                  </a:cubicBezTo>
                  <a:cubicBezTo>
                    <a:pt x="96755" y="45298"/>
                    <a:pt x="96273" y="46953"/>
                    <a:pt x="96424" y="47134"/>
                  </a:cubicBezTo>
                  <a:cubicBezTo>
                    <a:pt x="96442" y="47156"/>
                    <a:pt x="96458" y="47166"/>
                    <a:pt x="96473" y="47166"/>
                  </a:cubicBezTo>
                  <a:cubicBezTo>
                    <a:pt x="96573" y="47166"/>
                    <a:pt x="96593" y="46671"/>
                    <a:pt x="96935" y="46592"/>
                  </a:cubicBezTo>
                  <a:cubicBezTo>
                    <a:pt x="96959" y="46589"/>
                    <a:pt x="96981" y="46587"/>
                    <a:pt x="97001" y="46587"/>
                  </a:cubicBezTo>
                  <a:cubicBezTo>
                    <a:pt x="97358" y="46587"/>
                    <a:pt x="97372" y="47052"/>
                    <a:pt x="97628" y="47194"/>
                  </a:cubicBezTo>
                  <a:cubicBezTo>
                    <a:pt x="97649" y="47206"/>
                    <a:pt x="97667" y="47211"/>
                    <a:pt x="97683" y="47211"/>
                  </a:cubicBezTo>
                  <a:cubicBezTo>
                    <a:pt x="97868" y="47211"/>
                    <a:pt x="97737" y="46499"/>
                    <a:pt x="97503" y="46499"/>
                  </a:cubicBezTo>
                  <a:cubicBezTo>
                    <a:pt x="97495" y="46499"/>
                    <a:pt x="97486" y="46500"/>
                    <a:pt x="97477" y="46502"/>
                  </a:cubicBezTo>
                  <a:cubicBezTo>
                    <a:pt x="97471" y="46502"/>
                    <a:pt x="97464" y="46503"/>
                    <a:pt x="97458" y="46503"/>
                  </a:cubicBezTo>
                  <a:cubicBezTo>
                    <a:pt x="97199" y="46503"/>
                    <a:pt x="97053" y="45920"/>
                    <a:pt x="96935" y="45539"/>
                  </a:cubicBezTo>
                  <a:cubicBezTo>
                    <a:pt x="96845" y="45178"/>
                    <a:pt x="97176" y="44726"/>
                    <a:pt x="97176" y="44275"/>
                  </a:cubicBezTo>
                  <a:cubicBezTo>
                    <a:pt x="97176" y="44032"/>
                    <a:pt x="97351" y="43919"/>
                    <a:pt x="97564" y="43919"/>
                  </a:cubicBezTo>
                  <a:cubicBezTo>
                    <a:pt x="97746" y="43919"/>
                    <a:pt x="97956" y="44002"/>
                    <a:pt x="98109" y="44154"/>
                  </a:cubicBezTo>
                  <a:cubicBezTo>
                    <a:pt x="98232" y="44277"/>
                    <a:pt x="98321" y="44325"/>
                    <a:pt x="98378" y="44325"/>
                  </a:cubicBezTo>
                  <a:cubicBezTo>
                    <a:pt x="98474" y="44325"/>
                    <a:pt x="98475" y="44186"/>
                    <a:pt x="98380" y="44034"/>
                  </a:cubicBezTo>
                  <a:cubicBezTo>
                    <a:pt x="98230" y="43823"/>
                    <a:pt x="97778" y="41897"/>
                    <a:pt x="97537" y="41235"/>
                  </a:cubicBezTo>
                  <a:cubicBezTo>
                    <a:pt x="97297" y="40543"/>
                    <a:pt x="97929" y="39881"/>
                    <a:pt x="97447" y="39520"/>
                  </a:cubicBezTo>
                  <a:cubicBezTo>
                    <a:pt x="96981" y="39218"/>
                    <a:pt x="97139" y="38567"/>
                    <a:pt x="96967" y="38567"/>
                  </a:cubicBezTo>
                  <a:close/>
                  <a:moveTo>
                    <a:pt x="66148" y="6837"/>
                  </a:moveTo>
                  <a:cubicBezTo>
                    <a:pt x="65787" y="6897"/>
                    <a:pt x="65426" y="6957"/>
                    <a:pt x="65095" y="7048"/>
                  </a:cubicBezTo>
                  <a:cubicBezTo>
                    <a:pt x="64523" y="7168"/>
                    <a:pt x="64493" y="7589"/>
                    <a:pt x="64222" y="7740"/>
                  </a:cubicBezTo>
                  <a:cubicBezTo>
                    <a:pt x="63952" y="7890"/>
                    <a:pt x="63440" y="8372"/>
                    <a:pt x="63651" y="8402"/>
                  </a:cubicBezTo>
                  <a:cubicBezTo>
                    <a:pt x="63891" y="8462"/>
                    <a:pt x="63771" y="8613"/>
                    <a:pt x="63801" y="8763"/>
                  </a:cubicBezTo>
                  <a:cubicBezTo>
                    <a:pt x="63824" y="8880"/>
                    <a:pt x="63721" y="8924"/>
                    <a:pt x="63547" y="8924"/>
                  </a:cubicBezTo>
                  <a:cubicBezTo>
                    <a:pt x="63497" y="8924"/>
                    <a:pt x="63441" y="8920"/>
                    <a:pt x="63380" y="8914"/>
                  </a:cubicBezTo>
                  <a:cubicBezTo>
                    <a:pt x="63296" y="8893"/>
                    <a:pt x="63121" y="8879"/>
                    <a:pt x="62928" y="8879"/>
                  </a:cubicBezTo>
                  <a:cubicBezTo>
                    <a:pt x="62568" y="8879"/>
                    <a:pt x="62146" y="8927"/>
                    <a:pt x="62146" y="9064"/>
                  </a:cubicBezTo>
                  <a:cubicBezTo>
                    <a:pt x="62146" y="9245"/>
                    <a:pt x="62718" y="9365"/>
                    <a:pt x="62688" y="9455"/>
                  </a:cubicBezTo>
                  <a:cubicBezTo>
                    <a:pt x="62672" y="9487"/>
                    <a:pt x="62636" y="9500"/>
                    <a:pt x="62588" y="9500"/>
                  </a:cubicBezTo>
                  <a:cubicBezTo>
                    <a:pt x="62452" y="9500"/>
                    <a:pt x="62219" y="9394"/>
                    <a:pt x="62086" y="9305"/>
                  </a:cubicBezTo>
                  <a:cubicBezTo>
                    <a:pt x="62024" y="9278"/>
                    <a:pt x="61948" y="9265"/>
                    <a:pt x="61867" y="9265"/>
                  </a:cubicBezTo>
                  <a:cubicBezTo>
                    <a:pt x="61673" y="9265"/>
                    <a:pt x="61457" y="9345"/>
                    <a:pt x="61394" y="9515"/>
                  </a:cubicBezTo>
                  <a:cubicBezTo>
                    <a:pt x="61363" y="9621"/>
                    <a:pt x="61258" y="9658"/>
                    <a:pt x="61149" y="9658"/>
                  </a:cubicBezTo>
                  <a:cubicBezTo>
                    <a:pt x="61040" y="9658"/>
                    <a:pt x="60927" y="9621"/>
                    <a:pt x="60882" y="9576"/>
                  </a:cubicBezTo>
                  <a:cubicBezTo>
                    <a:pt x="60864" y="9567"/>
                    <a:pt x="60844" y="9563"/>
                    <a:pt x="60822" y="9563"/>
                  </a:cubicBezTo>
                  <a:cubicBezTo>
                    <a:pt x="60715" y="9563"/>
                    <a:pt x="60563" y="9648"/>
                    <a:pt x="60442" y="9648"/>
                  </a:cubicBezTo>
                  <a:cubicBezTo>
                    <a:pt x="60416" y="9648"/>
                    <a:pt x="60392" y="9645"/>
                    <a:pt x="60370" y="9636"/>
                  </a:cubicBezTo>
                  <a:cubicBezTo>
                    <a:pt x="60220" y="9546"/>
                    <a:pt x="60731" y="9335"/>
                    <a:pt x="60581" y="9154"/>
                  </a:cubicBezTo>
                  <a:cubicBezTo>
                    <a:pt x="60539" y="9113"/>
                    <a:pt x="60468" y="9094"/>
                    <a:pt x="60385" y="9094"/>
                  </a:cubicBezTo>
                  <a:cubicBezTo>
                    <a:pt x="60170" y="9094"/>
                    <a:pt x="59880" y="9221"/>
                    <a:pt x="59859" y="9395"/>
                  </a:cubicBezTo>
                  <a:cubicBezTo>
                    <a:pt x="59851" y="9453"/>
                    <a:pt x="59823" y="9474"/>
                    <a:pt x="59783" y="9474"/>
                  </a:cubicBezTo>
                  <a:cubicBezTo>
                    <a:pt x="59669" y="9474"/>
                    <a:pt x="59455" y="9298"/>
                    <a:pt x="59347" y="9298"/>
                  </a:cubicBezTo>
                  <a:cubicBezTo>
                    <a:pt x="59336" y="9298"/>
                    <a:pt x="59326" y="9300"/>
                    <a:pt x="59317" y="9305"/>
                  </a:cubicBezTo>
                  <a:lnTo>
                    <a:pt x="58805" y="9546"/>
                  </a:lnTo>
                  <a:cubicBezTo>
                    <a:pt x="58745" y="9572"/>
                    <a:pt x="58678" y="9581"/>
                    <a:pt x="58608" y="9581"/>
                  </a:cubicBezTo>
                  <a:cubicBezTo>
                    <a:pt x="58469" y="9581"/>
                    <a:pt x="58323" y="9546"/>
                    <a:pt x="58215" y="9546"/>
                  </a:cubicBezTo>
                  <a:cubicBezTo>
                    <a:pt x="58133" y="9546"/>
                    <a:pt x="58073" y="9566"/>
                    <a:pt x="58053" y="9636"/>
                  </a:cubicBezTo>
                  <a:cubicBezTo>
                    <a:pt x="57963" y="9816"/>
                    <a:pt x="58504" y="9877"/>
                    <a:pt x="58504" y="9967"/>
                  </a:cubicBezTo>
                  <a:cubicBezTo>
                    <a:pt x="58504" y="10027"/>
                    <a:pt x="57210" y="10027"/>
                    <a:pt x="57180" y="10147"/>
                  </a:cubicBezTo>
                  <a:cubicBezTo>
                    <a:pt x="57150" y="10268"/>
                    <a:pt x="56729" y="10298"/>
                    <a:pt x="56217" y="10298"/>
                  </a:cubicBezTo>
                  <a:cubicBezTo>
                    <a:pt x="55676" y="10298"/>
                    <a:pt x="55916" y="10569"/>
                    <a:pt x="55465" y="10629"/>
                  </a:cubicBezTo>
                  <a:cubicBezTo>
                    <a:pt x="55013" y="10719"/>
                    <a:pt x="54863" y="10749"/>
                    <a:pt x="54743" y="10930"/>
                  </a:cubicBezTo>
                  <a:cubicBezTo>
                    <a:pt x="54649" y="11061"/>
                    <a:pt x="54497" y="11134"/>
                    <a:pt x="54352" y="11134"/>
                  </a:cubicBezTo>
                  <a:cubicBezTo>
                    <a:pt x="54264" y="11134"/>
                    <a:pt x="54179" y="11107"/>
                    <a:pt x="54111" y="11050"/>
                  </a:cubicBezTo>
                  <a:cubicBezTo>
                    <a:pt x="54078" y="11001"/>
                    <a:pt x="54023" y="10983"/>
                    <a:pt x="53964" y="10983"/>
                  </a:cubicBezTo>
                  <a:cubicBezTo>
                    <a:pt x="53810" y="10983"/>
                    <a:pt x="53635" y="11110"/>
                    <a:pt x="53810" y="11110"/>
                  </a:cubicBezTo>
                  <a:cubicBezTo>
                    <a:pt x="53999" y="11110"/>
                    <a:pt x="53848" y="11330"/>
                    <a:pt x="53728" y="11330"/>
                  </a:cubicBezTo>
                  <a:cubicBezTo>
                    <a:pt x="53714" y="11330"/>
                    <a:pt x="53701" y="11327"/>
                    <a:pt x="53689" y="11321"/>
                  </a:cubicBezTo>
                  <a:cubicBezTo>
                    <a:pt x="53674" y="11309"/>
                    <a:pt x="53653" y="11304"/>
                    <a:pt x="53629" y="11304"/>
                  </a:cubicBezTo>
                  <a:cubicBezTo>
                    <a:pt x="53470" y="11304"/>
                    <a:pt x="53179" y="11532"/>
                    <a:pt x="53388" y="11532"/>
                  </a:cubicBezTo>
                  <a:cubicBezTo>
                    <a:pt x="53599" y="11532"/>
                    <a:pt x="53689" y="11682"/>
                    <a:pt x="53599" y="11803"/>
                  </a:cubicBezTo>
                  <a:cubicBezTo>
                    <a:pt x="53588" y="11825"/>
                    <a:pt x="53561" y="11834"/>
                    <a:pt x="53524" y="11834"/>
                  </a:cubicBezTo>
                  <a:cubicBezTo>
                    <a:pt x="53405" y="11834"/>
                    <a:pt x="53181" y="11741"/>
                    <a:pt x="53039" y="11741"/>
                  </a:cubicBezTo>
                  <a:cubicBezTo>
                    <a:pt x="52996" y="11741"/>
                    <a:pt x="52960" y="11750"/>
                    <a:pt x="52937" y="11773"/>
                  </a:cubicBezTo>
                  <a:cubicBezTo>
                    <a:pt x="52817" y="11863"/>
                    <a:pt x="53148" y="12043"/>
                    <a:pt x="53358" y="12043"/>
                  </a:cubicBezTo>
                  <a:cubicBezTo>
                    <a:pt x="53385" y="12033"/>
                    <a:pt x="53412" y="12028"/>
                    <a:pt x="53440" y="12028"/>
                  </a:cubicBezTo>
                  <a:cubicBezTo>
                    <a:pt x="53567" y="12028"/>
                    <a:pt x="53689" y="12136"/>
                    <a:pt x="53689" y="12284"/>
                  </a:cubicBezTo>
                  <a:cubicBezTo>
                    <a:pt x="53697" y="12323"/>
                    <a:pt x="53668" y="12336"/>
                    <a:pt x="53620" y="12336"/>
                  </a:cubicBezTo>
                  <a:cubicBezTo>
                    <a:pt x="53530" y="12336"/>
                    <a:pt x="53374" y="12293"/>
                    <a:pt x="53256" y="12293"/>
                  </a:cubicBezTo>
                  <a:cubicBezTo>
                    <a:pt x="53193" y="12293"/>
                    <a:pt x="53141" y="12305"/>
                    <a:pt x="53117" y="12344"/>
                  </a:cubicBezTo>
                  <a:cubicBezTo>
                    <a:pt x="53057" y="12495"/>
                    <a:pt x="53208" y="12525"/>
                    <a:pt x="53418" y="12525"/>
                  </a:cubicBezTo>
                  <a:cubicBezTo>
                    <a:pt x="53659" y="12525"/>
                    <a:pt x="53448" y="12645"/>
                    <a:pt x="53689" y="12826"/>
                  </a:cubicBezTo>
                  <a:cubicBezTo>
                    <a:pt x="53689" y="12826"/>
                    <a:pt x="53689" y="12856"/>
                    <a:pt x="53719" y="12856"/>
                  </a:cubicBezTo>
                  <a:cubicBezTo>
                    <a:pt x="53840" y="13006"/>
                    <a:pt x="53599" y="13037"/>
                    <a:pt x="53599" y="13187"/>
                  </a:cubicBezTo>
                  <a:cubicBezTo>
                    <a:pt x="53599" y="13282"/>
                    <a:pt x="53515" y="13341"/>
                    <a:pt x="53453" y="13341"/>
                  </a:cubicBezTo>
                  <a:cubicBezTo>
                    <a:pt x="53417" y="13341"/>
                    <a:pt x="53388" y="13321"/>
                    <a:pt x="53388" y="13277"/>
                  </a:cubicBezTo>
                  <a:cubicBezTo>
                    <a:pt x="53388" y="13207"/>
                    <a:pt x="53186" y="13158"/>
                    <a:pt x="52987" y="13158"/>
                  </a:cubicBezTo>
                  <a:cubicBezTo>
                    <a:pt x="52842" y="13158"/>
                    <a:pt x="52699" y="13184"/>
                    <a:pt x="52636" y="13247"/>
                  </a:cubicBezTo>
                  <a:cubicBezTo>
                    <a:pt x="52540" y="13343"/>
                    <a:pt x="52493" y="13415"/>
                    <a:pt x="52417" y="13415"/>
                  </a:cubicBezTo>
                  <a:cubicBezTo>
                    <a:pt x="52373" y="13415"/>
                    <a:pt x="52321" y="13392"/>
                    <a:pt x="52245" y="13337"/>
                  </a:cubicBezTo>
                  <a:cubicBezTo>
                    <a:pt x="52198" y="13299"/>
                    <a:pt x="52139" y="13284"/>
                    <a:pt x="52067" y="13284"/>
                  </a:cubicBezTo>
                  <a:cubicBezTo>
                    <a:pt x="51861" y="13284"/>
                    <a:pt x="51547" y="13405"/>
                    <a:pt x="51101" y="13428"/>
                  </a:cubicBezTo>
                  <a:cubicBezTo>
                    <a:pt x="50409" y="13428"/>
                    <a:pt x="49717" y="13488"/>
                    <a:pt x="49055" y="13578"/>
                  </a:cubicBezTo>
                  <a:cubicBezTo>
                    <a:pt x="48754" y="13699"/>
                    <a:pt x="48543" y="14090"/>
                    <a:pt x="48784" y="14361"/>
                  </a:cubicBezTo>
                  <a:cubicBezTo>
                    <a:pt x="49055" y="14632"/>
                    <a:pt x="48784" y="14782"/>
                    <a:pt x="48784" y="14932"/>
                  </a:cubicBezTo>
                  <a:cubicBezTo>
                    <a:pt x="48784" y="15083"/>
                    <a:pt x="49506" y="15504"/>
                    <a:pt x="49897" y="15504"/>
                  </a:cubicBezTo>
                  <a:cubicBezTo>
                    <a:pt x="50258" y="15504"/>
                    <a:pt x="50559" y="16016"/>
                    <a:pt x="50349" y="16287"/>
                  </a:cubicBezTo>
                  <a:cubicBezTo>
                    <a:pt x="50290" y="16353"/>
                    <a:pt x="50206" y="16381"/>
                    <a:pt x="50106" y="16381"/>
                  </a:cubicBezTo>
                  <a:cubicBezTo>
                    <a:pt x="49797" y="16381"/>
                    <a:pt x="49336" y="16108"/>
                    <a:pt x="48994" y="15835"/>
                  </a:cubicBezTo>
                  <a:cubicBezTo>
                    <a:pt x="48470" y="15532"/>
                    <a:pt x="47896" y="15380"/>
                    <a:pt x="47340" y="15380"/>
                  </a:cubicBezTo>
                  <a:cubicBezTo>
                    <a:pt x="47289" y="15380"/>
                    <a:pt x="47239" y="15381"/>
                    <a:pt x="47189" y="15384"/>
                  </a:cubicBezTo>
                  <a:cubicBezTo>
                    <a:pt x="47173" y="15385"/>
                    <a:pt x="47158" y="15386"/>
                    <a:pt x="47145" y="15386"/>
                  </a:cubicBezTo>
                  <a:cubicBezTo>
                    <a:pt x="46845" y="15386"/>
                    <a:pt x="47020" y="15083"/>
                    <a:pt x="46617" y="15083"/>
                  </a:cubicBezTo>
                  <a:cubicBezTo>
                    <a:pt x="46196" y="15083"/>
                    <a:pt x="45774" y="15504"/>
                    <a:pt x="46075" y="15504"/>
                  </a:cubicBezTo>
                  <a:cubicBezTo>
                    <a:pt x="46209" y="15504"/>
                    <a:pt x="46325" y="15492"/>
                    <a:pt x="46399" y="15492"/>
                  </a:cubicBezTo>
                  <a:cubicBezTo>
                    <a:pt x="46492" y="15492"/>
                    <a:pt x="46520" y="15511"/>
                    <a:pt x="46436" y="15595"/>
                  </a:cubicBezTo>
                  <a:cubicBezTo>
                    <a:pt x="46286" y="15745"/>
                    <a:pt x="46497" y="15715"/>
                    <a:pt x="46828" y="15865"/>
                  </a:cubicBezTo>
                  <a:cubicBezTo>
                    <a:pt x="47071" y="15967"/>
                    <a:pt x="46877" y="16082"/>
                    <a:pt x="46606" y="16082"/>
                  </a:cubicBezTo>
                  <a:cubicBezTo>
                    <a:pt x="46474" y="16082"/>
                    <a:pt x="46323" y="16055"/>
                    <a:pt x="46196" y="15986"/>
                  </a:cubicBezTo>
                  <a:cubicBezTo>
                    <a:pt x="46084" y="15908"/>
                    <a:pt x="45960" y="15871"/>
                    <a:pt x="45839" y="15871"/>
                  </a:cubicBezTo>
                  <a:cubicBezTo>
                    <a:pt x="45634" y="15871"/>
                    <a:pt x="45437" y="15977"/>
                    <a:pt x="45323" y="16166"/>
                  </a:cubicBezTo>
                  <a:cubicBezTo>
                    <a:pt x="45233" y="16347"/>
                    <a:pt x="45744" y="16889"/>
                    <a:pt x="46376" y="16949"/>
                  </a:cubicBezTo>
                  <a:cubicBezTo>
                    <a:pt x="47038" y="17039"/>
                    <a:pt x="46798" y="17250"/>
                    <a:pt x="47098" y="17370"/>
                  </a:cubicBezTo>
                  <a:cubicBezTo>
                    <a:pt x="47399" y="17491"/>
                    <a:pt x="47189" y="17611"/>
                    <a:pt x="46978" y="17611"/>
                  </a:cubicBezTo>
                  <a:cubicBezTo>
                    <a:pt x="46677" y="17491"/>
                    <a:pt x="46376" y="17340"/>
                    <a:pt x="46075" y="17159"/>
                  </a:cubicBezTo>
                  <a:cubicBezTo>
                    <a:pt x="45971" y="17093"/>
                    <a:pt x="45819" y="17075"/>
                    <a:pt x="45653" y="17075"/>
                  </a:cubicBezTo>
                  <a:cubicBezTo>
                    <a:pt x="45441" y="17075"/>
                    <a:pt x="45206" y="17105"/>
                    <a:pt x="45019" y="17105"/>
                  </a:cubicBezTo>
                  <a:cubicBezTo>
                    <a:pt x="44888" y="17105"/>
                    <a:pt x="44780" y="17090"/>
                    <a:pt x="44721" y="17039"/>
                  </a:cubicBezTo>
                  <a:cubicBezTo>
                    <a:pt x="44540" y="16859"/>
                    <a:pt x="44841" y="16648"/>
                    <a:pt x="44691" y="16497"/>
                  </a:cubicBezTo>
                  <a:cubicBezTo>
                    <a:pt x="44540" y="16347"/>
                    <a:pt x="44661" y="16046"/>
                    <a:pt x="44871" y="15715"/>
                  </a:cubicBezTo>
                  <a:cubicBezTo>
                    <a:pt x="45052" y="15354"/>
                    <a:pt x="44902" y="14932"/>
                    <a:pt x="44540" y="14752"/>
                  </a:cubicBezTo>
                  <a:cubicBezTo>
                    <a:pt x="44495" y="14734"/>
                    <a:pt x="44457" y="14726"/>
                    <a:pt x="44424" y="14726"/>
                  </a:cubicBezTo>
                  <a:cubicBezTo>
                    <a:pt x="44242" y="14726"/>
                    <a:pt x="44253" y="14976"/>
                    <a:pt x="44330" y="15053"/>
                  </a:cubicBezTo>
                  <a:cubicBezTo>
                    <a:pt x="44390" y="15324"/>
                    <a:pt x="44330" y="15625"/>
                    <a:pt x="44119" y="15865"/>
                  </a:cubicBezTo>
                  <a:cubicBezTo>
                    <a:pt x="43908" y="16166"/>
                    <a:pt x="43186" y="16166"/>
                    <a:pt x="43186" y="16407"/>
                  </a:cubicBezTo>
                  <a:cubicBezTo>
                    <a:pt x="43186" y="16618"/>
                    <a:pt x="42705" y="16738"/>
                    <a:pt x="42855" y="16889"/>
                  </a:cubicBezTo>
                  <a:cubicBezTo>
                    <a:pt x="43216" y="17190"/>
                    <a:pt x="43517" y="17551"/>
                    <a:pt x="43758" y="17972"/>
                  </a:cubicBezTo>
                  <a:cubicBezTo>
                    <a:pt x="43878" y="18153"/>
                    <a:pt x="43186" y="18875"/>
                    <a:pt x="43307" y="19296"/>
                  </a:cubicBezTo>
                  <a:cubicBezTo>
                    <a:pt x="43427" y="19718"/>
                    <a:pt x="43186" y="19898"/>
                    <a:pt x="43337" y="20079"/>
                  </a:cubicBezTo>
                  <a:cubicBezTo>
                    <a:pt x="43403" y="20158"/>
                    <a:pt x="43492" y="20173"/>
                    <a:pt x="43587" y="20173"/>
                  </a:cubicBezTo>
                  <a:cubicBezTo>
                    <a:pt x="43647" y="20173"/>
                    <a:pt x="43709" y="20167"/>
                    <a:pt x="43769" y="20167"/>
                  </a:cubicBezTo>
                  <a:cubicBezTo>
                    <a:pt x="43830" y="20167"/>
                    <a:pt x="43888" y="20174"/>
                    <a:pt x="43939" y="20199"/>
                  </a:cubicBezTo>
                  <a:cubicBezTo>
                    <a:pt x="43963" y="20207"/>
                    <a:pt x="43991" y="20211"/>
                    <a:pt x="44020" y="20211"/>
                  </a:cubicBezTo>
                  <a:cubicBezTo>
                    <a:pt x="44205" y="20211"/>
                    <a:pt x="44478" y="20066"/>
                    <a:pt x="44841" y="19988"/>
                  </a:cubicBezTo>
                  <a:cubicBezTo>
                    <a:pt x="44867" y="19985"/>
                    <a:pt x="44895" y="19983"/>
                    <a:pt x="44924" y="19983"/>
                  </a:cubicBezTo>
                  <a:cubicBezTo>
                    <a:pt x="45361" y="19983"/>
                    <a:pt x="46094" y="20387"/>
                    <a:pt x="46376" y="20500"/>
                  </a:cubicBezTo>
                  <a:cubicBezTo>
                    <a:pt x="46677" y="20590"/>
                    <a:pt x="46527" y="20861"/>
                    <a:pt x="46677" y="21132"/>
                  </a:cubicBezTo>
                  <a:cubicBezTo>
                    <a:pt x="46828" y="21403"/>
                    <a:pt x="46316" y="21343"/>
                    <a:pt x="46316" y="21704"/>
                  </a:cubicBezTo>
                  <a:cubicBezTo>
                    <a:pt x="46316" y="22035"/>
                    <a:pt x="47189" y="22185"/>
                    <a:pt x="47219" y="22306"/>
                  </a:cubicBezTo>
                  <a:cubicBezTo>
                    <a:pt x="47229" y="22336"/>
                    <a:pt x="47165" y="22349"/>
                    <a:pt x="47066" y="22349"/>
                  </a:cubicBezTo>
                  <a:cubicBezTo>
                    <a:pt x="46868" y="22349"/>
                    <a:pt x="46527" y="22296"/>
                    <a:pt x="46346" y="22215"/>
                  </a:cubicBezTo>
                  <a:cubicBezTo>
                    <a:pt x="46075" y="22095"/>
                    <a:pt x="46045" y="21794"/>
                    <a:pt x="45985" y="21734"/>
                  </a:cubicBezTo>
                  <a:cubicBezTo>
                    <a:pt x="45895" y="21644"/>
                    <a:pt x="46166" y="21403"/>
                    <a:pt x="46166" y="21162"/>
                  </a:cubicBezTo>
                  <a:cubicBezTo>
                    <a:pt x="46166" y="20951"/>
                    <a:pt x="45895" y="20801"/>
                    <a:pt x="45774" y="20650"/>
                  </a:cubicBezTo>
                  <a:cubicBezTo>
                    <a:pt x="45698" y="20523"/>
                    <a:pt x="45534" y="20330"/>
                    <a:pt x="45358" y="20330"/>
                  </a:cubicBezTo>
                  <a:cubicBezTo>
                    <a:pt x="45326" y="20330"/>
                    <a:pt x="45294" y="20336"/>
                    <a:pt x="45263" y="20350"/>
                  </a:cubicBezTo>
                  <a:cubicBezTo>
                    <a:pt x="45022" y="20410"/>
                    <a:pt x="44270" y="20440"/>
                    <a:pt x="44059" y="20650"/>
                  </a:cubicBezTo>
                  <a:cubicBezTo>
                    <a:pt x="43818" y="20831"/>
                    <a:pt x="44089" y="21463"/>
                    <a:pt x="44209" y="21764"/>
                  </a:cubicBezTo>
                  <a:cubicBezTo>
                    <a:pt x="44330" y="22065"/>
                    <a:pt x="43517" y="22456"/>
                    <a:pt x="43577" y="22697"/>
                  </a:cubicBezTo>
                  <a:cubicBezTo>
                    <a:pt x="43607" y="22968"/>
                    <a:pt x="43307" y="23058"/>
                    <a:pt x="42976" y="23239"/>
                  </a:cubicBezTo>
                  <a:cubicBezTo>
                    <a:pt x="42614" y="23419"/>
                    <a:pt x="42223" y="23540"/>
                    <a:pt x="42253" y="23840"/>
                  </a:cubicBezTo>
                  <a:cubicBezTo>
                    <a:pt x="42266" y="23968"/>
                    <a:pt x="42182" y="24014"/>
                    <a:pt x="42062" y="24014"/>
                  </a:cubicBezTo>
                  <a:cubicBezTo>
                    <a:pt x="41899" y="24014"/>
                    <a:pt x="41670" y="23927"/>
                    <a:pt x="41531" y="23840"/>
                  </a:cubicBezTo>
                  <a:cubicBezTo>
                    <a:pt x="41484" y="23807"/>
                    <a:pt x="41430" y="23794"/>
                    <a:pt x="41370" y="23794"/>
                  </a:cubicBezTo>
                  <a:cubicBezTo>
                    <a:pt x="41188" y="23794"/>
                    <a:pt x="40957" y="23910"/>
                    <a:pt x="40731" y="23910"/>
                  </a:cubicBezTo>
                  <a:cubicBezTo>
                    <a:pt x="40697" y="23910"/>
                    <a:pt x="40662" y="23907"/>
                    <a:pt x="40628" y="23901"/>
                  </a:cubicBezTo>
                  <a:cubicBezTo>
                    <a:pt x="40357" y="23876"/>
                    <a:pt x="40288" y="23689"/>
                    <a:pt x="40122" y="23689"/>
                  </a:cubicBezTo>
                  <a:cubicBezTo>
                    <a:pt x="40086" y="23689"/>
                    <a:pt x="40045" y="23698"/>
                    <a:pt x="39996" y="23720"/>
                  </a:cubicBezTo>
                  <a:cubicBezTo>
                    <a:pt x="39946" y="23742"/>
                    <a:pt x="39898" y="23752"/>
                    <a:pt x="39853" y="23752"/>
                  </a:cubicBezTo>
                  <a:cubicBezTo>
                    <a:pt x="39657" y="23752"/>
                    <a:pt x="39526" y="23561"/>
                    <a:pt x="39575" y="23389"/>
                  </a:cubicBezTo>
                  <a:cubicBezTo>
                    <a:pt x="39604" y="23310"/>
                    <a:pt x="39660" y="23280"/>
                    <a:pt x="39722" y="23280"/>
                  </a:cubicBezTo>
                  <a:cubicBezTo>
                    <a:pt x="39850" y="23280"/>
                    <a:pt x="40006" y="23408"/>
                    <a:pt x="40026" y="23509"/>
                  </a:cubicBezTo>
                  <a:cubicBezTo>
                    <a:pt x="40037" y="23564"/>
                    <a:pt x="40072" y="23587"/>
                    <a:pt x="40121" y="23587"/>
                  </a:cubicBezTo>
                  <a:cubicBezTo>
                    <a:pt x="40209" y="23587"/>
                    <a:pt x="40343" y="23515"/>
                    <a:pt x="40478" y="23419"/>
                  </a:cubicBezTo>
                  <a:cubicBezTo>
                    <a:pt x="40522" y="23391"/>
                    <a:pt x="40554" y="23380"/>
                    <a:pt x="40579" y="23380"/>
                  </a:cubicBezTo>
                  <a:cubicBezTo>
                    <a:pt x="40689" y="23380"/>
                    <a:pt x="40659" y="23600"/>
                    <a:pt x="40929" y="23600"/>
                  </a:cubicBezTo>
                  <a:cubicBezTo>
                    <a:pt x="41260" y="23600"/>
                    <a:pt x="41080" y="23449"/>
                    <a:pt x="41350" y="23449"/>
                  </a:cubicBezTo>
                  <a:cubicBezTo>
                    <a:pt x="41621" y="23449"/>
                    <a:pt x="41621" y="23419"/>
                    <a:pt x="41531" y="23269"/>
                  </a:cubicBezTo>
                  <a:cubicBezTo>
                    <a:pt x="41471" y="23118"/>
                    <a:pt x="41712" y="23088"/>
                    <a:pt x="41862" y="22998"/>
                  </a:cubicBezTo>
                  <a:cubicBezTo>
                    <a:pt x="42012" y="22938"/>
                    <a:pt x="41982" y="22667"/>
                    <a:pt x="42133" y="22546"/>
                  </a:cubicBezTo>
                  <a:cubicBezTo>
                    <a:pt x="42283" y="22456"/>
                    <a:pt x="42163" y="22336"/>
                    <a:pt x="42313" y="22336"/>
                  </a:cubicBezTo>
                  <a:cubicBezTo>
                    <a:pt x="42464" y="22336"/>
                    <a:pt x="42584" y="22065"/>
                    <a:pt x="42735" y="22065"/>
                  </a:cubicBezTo>
                  <a:cubicBezTo>
                    <a:pt x="42885" y="22065"/>
                    <a:pt x="42976" y="21794"/>
                    <a:pt x="42855" y="21704"/>
                  </a:cubicBezTo>
                  <a:cubicBezTo>
                    <a:pt x="42795" y="21493"/>
                    <a:pt x="42885" y="21282"/>
                    <a:pt x="43066" y="21162"/>
                  </a:cubicBezTo>
                  <a:cubicBezTo>
                    <a:pt x="43216" y="21132"/>
                    <a:pt x="43216" y="20982"/>
                    <a:pt x="43126" y="20861"/>
                  </a:cubicBezTo>
                  <a:cubicBezTo>
                    <a:pt x="43006" y="20741"/>
                    <a:pt x="42434" y="20410"/>
                    <a:pt x="42464" y="20199"/>
                  </a:cubicBezTo>
                  <a:cubicBezTo>
                    <a:pt x="42524" y="19958"/>
                    <a:pt x="42404" y="19537"/>
                    <a:pt x="42434" y="19356"/>
                  </a:cubicBezTo>
                  <a:cubicBezTo>
                    <a:pt x="42494" y="19116"/>
                    <a:pt x="42494" y="18875"/>
                    <a:pt x="42434" y="18634"/>
                  </a:cubicBezTo>
                  <a:cubicBezTo>
                    <a:pt x="42404" y="18423"/>
                    <a:pt x="42584" y="18183"/>
                    <a:pt x="42614" y="17791"/>
                  </a:cubicBezTo>
                  <a:cubicBezTo>
                    <a:pt x="42675" y="17370"/>
                    <a:pt x="42223" y="16979"/>
                    <a:pt x="41982" y="16919"/>
                  </a:cubicBezTo>
                  <a:cubicBezTo>
                    <a:pt x="41772" y="16828"/>
                    <a:pt x="41922" y="16588"/>
                    <a:pt x="42253" y="16317"/>
                  </a:cubicBezTo>
                  <a:cubicBezTo>
                    <a:pt x="42584" y="16046"/>
                    <a:pt x="42614" y="15143"/>
                    <a:pt x="42584" y="14963"/>
                  </a:cubicBezTo>
                  <a:cubicBezTo>
                    <a:pt x="42554" y="14782"/>
                    <a:pt x="41862" y="14632"/>
                    <a:pt x="41621" y="14632"/>
                  </a:cubicBezTo>
                  <a:cubicBezTo>
                    <a:pt x="41493" y="14639"/>
                    <a:pt x="41365" y="14643"/>
                    <a:pt x="41238" y="14643"/>
                  </a:cubicBezTo>
                  <a:cubicBezTo>
                    <a:pt x="40856" y="14643"/>
                    <a:pt x="40478" y="14609"/>
                    <a:pt x="40117" y="14541"/>
                  </a:cubicBezTo>
                  <a:cubicBezTo>
                    <a:pt x="40103" y="14540"/>
                    <a:pt x="40089" y="14539"/>
                    <a:pt x="40076" y="14539"/>
                  </a:cubicBezTo>
                  <a:cubicBezTo>
                    <a:pt x="39836" y="14539"/>
                    <a:pt x="39751" y="14793"/>
                    <a:pt x="39665" y="14993"/>
                  </a:cubicBezTo>
                  <a:cubicBezTo>
                    <a:pt x="39424" y="15354"/>
                    <a:pt x="39244" y="15745"/>
                    <a:pt x="39123" y="16136"/>
                  </a:cubicBezTo>
                  <a:cubicBezTo>
                    <a:pt x="38973" y="16648"/>
                    <a:pt x="38341" y="16798"/>
                    <a:pt x="38070" y="16919"/>
                  </a:cubicBezTo>
                  <a:cubicBezTo>
                    <a:pt x="37799" y="17039"/>
                    <a:pt x="37619" y="17430"/>
                    <a:pt x="37739" y="17641"/>
                  </a:cubicBezTo>
                  <a:cubicBezTo>
                    <a:pt x="37788" y="17715"/>
                    <a:pt x="37853" y="17733"/>
                    <a:pt x="37921" y="17733"/>
                  </a:cubicBezTo>
                  <a:cubicBezTo>
                    <a:pt x="37986" y="17733"/>
                    <a:pt x="38055" y="17716"/>
                    <a:pt x="38114" y="17716"/>
                  </a:cubicBezTo>
                  <a:cubicBezTo>
                    <a:pt x="38142" y="17716"/>
                    <a:pt x="38168" y="17720"/>
                    <a:pt x="38190" y="17731"/>
                  </a:cubicBezTo>
                  <a:cubicBezTo>
                    <a:pt x="38311" y="17822"/>
                    <a:pt x="38190" y="18303"/>
                    <a:pt x="38100" y="18333"/>
                  </a:cubicBezTo>
                  <a:cubicBezTo>
                    <a:pt x="38040" y="18393"/>
                    <a:pt x="38251" y="18604"/>
                    <a:pt x="38040" y="18724"/>
                  </a:cubicBezTo>
                  <a:cubicBezTo>
                    <a:pt x="37799" y="18845"/>
                    <a:pt x="37649" y="19146"/>
                    <a:pt x="37769" y="19296"/>
                  </a:cubicBezTo>
                  <a:cubicBezTo>
                    <a:pt x="37889" y="19447"/>
                    <a:pt x="38491" y="19477"/>
                    <a:pt x="38702" y="19627"/>
                  </a:cubicBezTo>
                  <a:cubicBezTo>
                    <a:pt x="38943" y="19778"/>
                    <a:pt x="38853" y="20049"/>
                    <a:pt x="39063" y="20259"/>
                  </a:cubicBezTo>
                  <a:cubicBezTo>
                    <a:pt x="39244" y="20500"/>
                    <a:pt x="39424" y="20380"/>
                    <a:pt x="39545" y="20530"/>
                  </a:cubicBezTo>
                  <a:cubicBezTo>
                    <a:pt x="39665" y="20681"/>
                    <a:pt x="39214" y="21282"/>
                    <a:pt x="39063" y="21313"/>
                  </a:cubicBezTo>
                  <a:cubicBezTo>
                    <a:pt x="39060" y="21313"/>
                    <a:pt x="39056" y="21314"/>
                    <a:pt x="39052" y="21314"/>
                  </a:cubicBezTo>
                  <a:cubicBezTo>
                    <a:pt x="38884" y="21314"/>
                    <a:pt x="38247" y="20677"/>
                    <a:pt x="38070" y="20530"/>
                  </a:cubicBezTo>
                  <a:lnTo>
                    <a:pt x="36806" y="19988"/>
                  </a:lnTo>
                  <a:cubicBezTo>
                    <a:pt x="36445" y="19868"/>
                    <a:pt x="36084" y="19718"/>
                    <a:pt x="35753" y="19537"/>
                  </a:cubicBezTo>
                  <a:cubicBezTo>
                    <a:pt x="35368" y="19306"/>
                    <a:pt x="34939" y="19163"/>
                    <a:pt x="34504" y="19163"/>
                  </a:cubicBezTo>
                  <a:cubicBezTo>
                    <a:pt x="34429" y="19163"/>
                    <a:pt x="34354" y="19167"/>
                    <a:pt x="34278" y="19176"/>
                  </a:cubicBezTo>
                  <a:cubicBezTo>
                    <a:pt x="33797" y="19146"/>
                    <a:pt x="33315" y="19086"/>
                    <a:pt x="32834" y="19025"/>
                  </a:cubicBezTo>
                  <a:cubicBezTo>
                    <a:pt x="32823" y="19027"/>
                    <a:pt x="32812" y="19028"/>
                    <a:pt x="32803" y="19028"/>
                  </a:cubicBezTo>
                  <a:cubicBezTo>
                    <a:pt x="32628" y="19028"/>
                    <a:pt x="32663" y="18775"/>
                    <a:pt x="32292" y="18604"/>
                  </a:cubicBezTo>
                  <a:cubicBezTo>
                    <a:pt x="31956" y="18460"/>
                    <a:pt x="31697" y="18259"/>
                    <a:pt x="31469" y="18259"/>
                  </a:cubicBezTo>
                  <a:cubicBezTo>
                    <a:pt x="31410" y="18259"/>
                    <a:pt x="31354" y="18272"/>
                    <a:pt x="31299" y="18303"/>
                  </a:cubicBezTo>
                  <a:cubicBezTo>
                    <a:pt x="31028" y="18454"/>
                    <a:pt x="31148" y="18875"/>
                    <a:pt x="31539" y="18935"/>
                  </a:cubicBezTo>
                  <a:cubicBezTo>
                    <a:pt x="31873" y="19019"/>
                    <a:pt x="31744" y="19179"/>
                    <a:pt x="32056" y="19179"/>
                  </a:cubicBezTo>
                  <a:cubicBezTo>
                    <a:pt x="32081" y="19179"/>
                    <a:pt x="32110" y="19178"/>
                    <a:pt x="32141" y="19176"/>
                  </a:cubicBezTo>
                  <a:cubicBezTo>
                    <a:pt x="32175" y="19173"/>
                    <a:pt x="32206" y="19172"/>
                    <a:pt x="32235" y="19172"/>
                  </a:cubicBezTo>
                  <a:cubicBezTo>
                    <a:pt x="32547" y="19172"/>
                    <a:pt x="32623" y="19317"/>
                    <a:pt x="32623" y="19537"/>
                  </a:cubicBezTo>
                  <a:cubicBezTo>
                    <a:pt x="32653" y="19808"/>
                    <a:pt x="32773" y="20049"/>
                    <a:pt x="32984" y="20199"/>
                  </a:cubicBezTo>
                  <a:cubicBezTo>
                    <a:pt x="33135" y="20380"/>
                    <a:pt x="33044" y="20650"/>
                    <a:pt x="32743" y="20650"/>
                  </a:cubicBezTo>
                  <a:cubicBezTo>
                    <a:pt x="32442" y="20650"/>
                    <a:pt x="32051" y="20681"/>
                    <a:pt x="32202" y="20891"/>
                  </a:cubicBezTo>
                  <a:cubicBezTo>
                    <a:pt x="32296" y="21042"/>
                    <a:pt x="32224" y="21110"/>
                    <a:pt x="32084" y="21110"/>
                  </a:cubicBezTo>
                  <a:cubicBezTo>
                    <a:pt x="32000" y="21110"/>
                    <a:pt x="31892" y="21087"/>
                    <a:pt x="31780" y="21042"/>
                  </a:cubicBezTo>
                  <a:cubicBezTo>
                    <a:pt x="31479" y="20951"/>
                    <a:pt x="31630" y="20711"/>
                    <a:pt x="31780" y="20590"/>
                  </a:cubicBezTo>
                  <a:cubicBezTo>
                    <a:pt x="31931" y="20500"/>
                    <a:pt x="31479" y="20289"/>
                    <a:pt x="31299" y="20229"/>
                  </a:cubicBezTo>
                  <a:cubicBezTo>
                    <a:pt x="31286" y="20223"/>
                    <a:pt x="31271" y="20220"/>
                    <a:pt x="31253" y="20220"/>
                  </a:cubicBezTo>
                  <a:cubicBezTo>
                    <a:pt x="31012" y="20220"/>
                    <a:pt x="30319" y="20747"/>
                    <a:pt x="30095" y="20831"/>
                  </a:cubicBezTo>
                  <a:cubicBezTo>
                    <a:pt x="30063" y="20840"/>
                    <a:pt x="30023" y="20844"/>
                    <a:pt x="29977" y="20844"/>
                  </a:cubicBezTo>
                  <a:cubicBezTo>
                    <a:pt x="29794" y="20844"/>
                    <a:pt x="29505" y="20789"/>
                    <a:pt x="29183" y="20789"/>
                  </a:cubicBezTo>
                  <a:cubicBezTo>
                    <a:pt x="29040" y="20789"/>
                    <a:pt x="28890" y="20800"/>
                    <a:pt x="28741" y="20831"/>
                  </a:cubicBezTo>
                  <a:cubicBezTo>
                    <a:pt x="28186" y="20948"/>
                    <a:pt x="28226" y="21404"/>
                    <a:pt x="28037" y="21404"/>
                  </a:cubicBezTo>
                  <a:cubicBezTo>
                    <a:pt x="28031" y="21404"/>
                    <a:pt x="28025" y="21404"/>
                    <a:pt x="28018" y="21403"/>
                  </a:cubicBezTo>
                  <a:cubicBezTo>
                    <a:pt x="27958" y="21383"/>
                    <a:pt x="27848" y="21379"/>
                    <a:pt x="27717" y="21379"/>
                  </a:cubicBezTo>
                  <a:cubicBezTo>
                    <a:pt x="27652" y="21379"/>
                    <a:pt x="27582" y="21380"/>
                    <a:pt x="27511" y="21380"/>
                  </a:cubicBezTo>
                  <a:cubicBezTo>
                    <a:pt x="27296" y="21380"/>
                    <a:pt x="27070" y="21373"/>
                    <a:pt x="26935" y="21313"/>
                  </a:cubicBezTo>
                  <a:cubicBezTo>
                    <a:pt x="26664" y="21192"/>
                    <a:pt x="26905" y="21102"/>
                    <a:pt x="27176" y="21102"/>
                  </a:cubicBezTo>
                  <a:cubicBezTo>
                    <a:pt x="27417" y="21102"/>
                    <a:pt x="27477" y="21012"/>
                    <a:pt x="27356" y="20861"/>
                  </a:cubicBezTo>
                  <a:cubicBezTo>
                    <a:pt x="27236" y="20711"/>
                    <a:pt x="27537" y="20410"/>
                    <a:pt x="27507" y="20289"/>
                  </a:cubicBezTo>
                  <a:cubicBezTo>
                    <a:pt x="27503" y="20278"/>
                    <a:pt x="27486" y="20273"/>
                    <a:pt x="27458" y="20273"/>
                  </a:cubicBezTo>
                  <a:cubicBezTo>
                    <a:pt x="27268" y="20273"/>
                    <a:pt x="26585" y="20519"/>
                    <a:pt x="26453" y="20650"/>
                  </a:cubicBezTo>
                  <a:cubicBezTo>
                    <a:pt x="26303" y="20801"/>
                    <a:pt x="26453" y="20982"/>
                    <a:pt x="26303" y="21102"/>
                  </a:cubicBezTo>
                  <a:cubicBezTo>
                    <a:pt x="26280" y="21116"/>
                    <a:pt x="26260" y="21122"/>
                    <a:pt x="26241" y="21122"/>
                  </a:cubicBezTo>
                  <a:cubicBezTo>
                    <a:pt x="26139" y="21122"/>
                    <a:pt x="26090" y="20938"/>
                    <a:pt x="25912" y="20861"/>
                  </a:cubicBezTo>
                  <a:cubicBezTo>
                    <a:pt x="25280" y="20891"/>
                    <a:pt x="24678" y="21072"/>
                    <a:pt x="24106" y="21403"/>
                  </a:cubicBezTo>
                  <a:cubicBezTo>
                    <a:pt x="23865" y="21704"/>
                    <a:pt x="23354" y="21704"/>
                    <a:pt x="23354" y="21884"/>
                  </a:cubicBezTo>
                  <a:cubicBezTo>
                    <a:pt x="23354" y="22065"/>
                    <a:pt x="22722" y="22035"/>
                    <a:pt x="22511" y="22155"/>
                  </a:cubicBezTo>
                  <a:cubicBezTo>
                    <a:pt x="22270" y="22245"/>
                    <a:pt x="22421" y="22757"/>
                    <a:pt x="22300" y="22968"/>
                  </a:cubicBezTo>
                  <a:cubicBezTo>
                    <a:pt x="22210" y="23209"/>
                    <a:pt x="21247" y="23118"/>
                    <a:pt x="20946" y="23178"/>
                  </a:cubicBezTo>
                  <a:cubicBezTo>
                    <a:pt x="20939" y="23179"/>
                    <a:pt x="20932" y="23180"/>
                    <a:pt x="20925" y="23180"/>
                  </a:cubicBezTo>
                  <a:cubicBezTo>
                    <a:pt x="20642" y="23180"/>
                    <a:pt x="20579" y="22606"/>
                    <a:pt x="20344" y="22577"/>
                  </a:cubicBezTo>
                  <a:cubicBezTo>
                    <a:pt x="20134" y="22516"/>
                    <a:pt x="20254" y="22185"/>
                    <a:pt x="20314" y="22035"/>
                  </a:cubicBezTo>
                  <a:cubicBezTo>
                    <a:pt x="20404" y="21884"/>
                    <a:pt x="20585" y="22035"/>
                    <a:pt x="20886" y="21854"/>
                  </a:cubicBezTo>
                  <a:cubicBezTo>
                    <a:pt x="20973" y="21802"/>
                    <a:pt x="21057" y="21785"/>
                    <a:pt x="21135" y="21785"/>
                  </a:cubicBezTo>
                  <a:cubicBezTo>
                    <a:pt x="21282" y="21785"/>
                    <a:pt x="21408" y="21845"/>
                    <a:pt x="21488" y="21845"/>
                  </a:cubicBezTo>
                  <a:cubicBezTo>
                    <a:pt x="21512" y="21845"/>
                    <a:pt x="21533" y="21839"/>
                    <a:pt x="21548" y="21824"/>
                  </a:cubicBezTo>
                  <a:cubicBezTo>
                    <a:pt x="21668" y="21704"/>
                    <a:pt x="21097" y="21313"/>
                    <a:pt x="21067" y="21072"/>
                  </a:cubicBezTo>
                  <a:cubicBezTo>
                    <a:pt x="21043" y="20861"/>
                    <a:pt x="20673" y="20741"/>
                    <a:pt x="20354" y="20741"/>
                  </a:cubicBezTo>
                  <a:cubicBezTo>
                    <a:pt x="20263" y="20741"/>
                    <a:pt x="20177" y="20751"/>
                    <a:pt x="20103" y="20771"/>
                  </a:cubicBezTo>
                  <a:cubicBezTo>
                    <a:pt x="19985" y="20803"/>
                    <a:pt x="19862" y="20820"/>
                    <a:pt x="19740" y="20820"/>
                  </a:cubicBezTo>
                  <a:cubicBezTo>
                    <a:pt x="19521" y="20820"/>
                    <a:pt x="19303" y="20766"/>
                    <a:pt x="19110" y="20650"/>
                  </a:cubicBezTo>
                  <a:cubicBezTo>
                    <a:pt x="19070" y="20632"/>
                    <a:pt x="19036" y="20624"/>
                    <a:pt x="19010" y="20624"/>
                  </a:cubicBezTo>
                  <a:cubicBezTo>
                    <a:pt x="18864" y="20624"/>
                    <a:pt x="18950" y="20875"/>
                    <a:pt x="19231" y="20951"/>
                  </a:cubicBezTo>
                  <a:cubicBezTo>
                    <a:pt x="19562" y="21012"/>
                    <a:pt x="19411" y="21313"/>
                    <a:pt x="19502" y="21523"/>
                  </a:cubicBezTo>
                  <a:cubicBezTo>
                    <a:pt x="19471" y="21824"/>
                    <a:pt x="19351" y="22125"/>
                    <a:pt x="19140" y="22366"/>
                  </a:cubicBezTo>
                  <a:cubicBezTo>
                    <a:pt x="19005" y="22637"/>
                    <a:pt x="19056" y="22671"/>
                    <a:pt x="19217" y="22671"/>
                  </a:cubicBezTo>
                  <a:cubicBezTo>
                    <a:pt x="19270" y="22671"/>
                    <a:pt x="19336" y="22667"/>
                    <a:pt x="19411" y="22667"/>
                  </a:cubicBezTo>
                  <a:cubicBezTo>
                    <a:pt x="19712" y="22667"/>
                    <a:pt x="19712" y="23088"/>
                    <a:pt x="19712" y="23389"/>
                  </a:cubicBezTo>
                  <a:cubicBezTo>
                    <a:pt x="19712" y="23690"/>
                    <a:pt x="19502" y="23780"/>
                    <a:pt x="19502" y="23991"/>
                  </a:cubicBezTo>
                  <a:cubicBezTo>
                    <a:pt x="19502" y="24053"/>
                    <a:pt x="19483" y="24075"/>
                    <a:pt x="19455" y="24075"/>
                  </a:cubicBezTo>
                  <a:cubicBezTo>
                    <a:pt x="19385" y="24075"/>
                    <a:pt x="19251" y="23946"/>
                    <a:pt x="19157" y="23946"/>
                  </a:cubicBezTo>
                  <a:cubicBezTo>
                    <a:pt x="19140" y="23946"/>
                    <a:pt x="19124" y="23950"/>
                    <a:pt x="19110" y="23961"/>
                  </a:cubicBezTo>
                  <a:cubicBezTo>
                    <a:pt x="19086" y="23973"/>
                    <a:pt x="19065" y="23979"/>
                    <a:pt x="19047" y="23979"/>
                  </a:cubicBezTo>
                  <a:cubicBezTo>
                    <a:pt x="18976" y="23979"/>
                    <a:pt x="18948" y="23888"/>
                    <a:pt x="18900" y="23720"/>
                  </a:cubicBezTo>
                  <a:cubicBezTo>
                    <a:pt x="18809" y="23540"/>
                    <a:pt x="18358" y="23660"/>
                    <a:pt x="18087" y="23570"/>
                  </a:cubicBezTo>
                  <a:cubicBezTo>
                    <a:pt x="18045" y="23559"/>
                    <a:pt x="18007" y="23554"/>
                    <a:pt x="17972" y="23554"/>
                  </a:cubicBezTo>
                  <a:cubicBezTo>
                    <a:pt x="17804" y="23554"/>
                    <a:pt x="17705" y="23667"/>
                    <a:pt x="17606" y="23840"/>
                  </a:cubicBezTo>
                  <a:cubicBezTo>
                    <a:pt x="17395" y="24021"/>
                    <a:pt x="17154" y="24111"/>
                    <a:pt x="16883" y="24141"/>
                  </a:cubicBezTo>
                  <a:cubicBezTo>
                    <a:pt x="16673" y="24172"/>
                    <a:pt x="16342" y="24563"/>
                    <a:pt x="16131" y="24683"/>
                  </a:cubicBezTo>
                  <a:cubicBezTo>
                    <a:pt x="15950" y="24773"/>
                    <a:pt x="15890" y="25074"/>
                    <a:pt x="16191" y="25375"/>
                  </a:cubicBezTo>
                  <a:cubicBezTo>
                    <a:pt x="16372" y="25526"/>
                    <a:pt x="16492" y="25736"/>
                    <a:pt x="16522" y="25977"/>
                  </a:cubicBezTo>
                  <a:cubicBezTo>
                    <a:pt x="16509" y="26045"/>
                    <a:pt x="16336" y="26076"/>
                    <a:pt x="16143" y="26076"/>
                  </a:cubicBezTo>
                  <a:cubicBezTo>
                    <a:pt x="15907" y="26076"/>
                    <a:pt x="15639" y="26030"/>
                    <a:pt x="15589" y="25947"/>
                  </a:cubicBezTo>
                  <a:cubicBezTo>
                    <a:pt x="15386" y="25812"/>
                    <a:pt x="15183" y="25744"/>
                    <a:pt x="14967" y="25744"/>
                  </a:cubicBezTo>
                  <a:cubicBezTo>
                    <a:pt x="14895" y="25744"/>
                    <a:pt x="14822" y="25752"/>
                    <a:pt x="14747" y="25767"/>
                  </a:cubicBezTo>
                  <a:cubicBezTo>
                    <a:pt x="14742" y="25767"/>
                    <a:pt x="14737" y="25768"/>
                    <a:pt x="14732" y="25768"/>
                  </a:cubicBezTo>
                  <a:cubicBezTo>
                    <a:pt x="14542" y="25768"/>
                    <a:pt x="14078" y="25224"/>
                    <a:pt x="13844" y="25195"/>
                  </a:cubicBezTo>
                  <a:cubicBezTo>
                    <a:pt x="13835" y="25193"/>
                    <a:pt x="13826" y="25193"/>
                    <a:pt x="13817" y="25193"/>
                  </a:cubicBezTo>
                  <a:cubicBezTo>
                    <a:pt x="13615" y="25193"/>
                    <a:pt x="13420" y="25502"/>
                    <a:pt x="13362" y="25646"/>
                  </a:cubicBezTo>
                  <a:cubicBezTo>
                    <a:pt x="13272" y="25797"/>
                    <a:pt x="13483" y="25887"/>
                    <a:pt x="13573" y="26098"/>
                  </a:cubicBezTo>
                  <a:cubicBezTo>
                    <a:pt x="13693" y="26338"/>
                    <a:pt x="14145" y="26399"/>
                    <a:pt x="14385" y="26399"/>
                  </a:cubicBezTo>
                  <a:cubicBezTo>
                    <a:pt x="14596" y="26399"/>
                    <a:pt x="14536" y="26730"/>
                    <a:pt x="14446" y="26850"/>
                  </a:cubicBezTo>
                  <a:cubicBezTo>
                    <a:pt x="14403" y="26934"/>
                    <a:pt x="14184" y="27033"/>
                    <a:pt x="14015" y="27033"/>
                  </a:cubicBezTo>
                  <a:cubicBezTo>
                    <a:pt x="13943" y="27033"/>
                    <a:pt x="13880" y="27015"/>
                    <a:pt x="13844" y="26970"/>
                  </a:cubicBezTo>
                  <a:cubicBezTo>
                    <a:pt x="13723" y="26820"/>
                    <a:pt x="13242" y="26970"/>
                    <a:pt x="13212" y="26790"/>
                  </a:cubicBezTo>
                  <a:cubicBezTo>
                    <a:pt x="13137" y="26516"/>
                    <a:pt x="12898" y="26345"/>
                    <a:pt x="12647" y="26345"/>
                  </a:cubicBezTo>
                  <a:cubicBezTo>
                    <a:pt x="12595" y="26345"/>
                    <a:pt x="12542" y="26353"/>
                    <a:pt x="12489" y="26368"/>
                  </a:cubicBezTo>
                  <a:cubicBezTo>
                    <a:pt x="12452" y="26375"/>
                    <a:pt x="12417" y="26378"/>
                    <a:pt x="12385" y="26378"/>
                  </a:cubicBezTo>
                  <a:cubicBezTo>
                    <a:pt x="12116" y="26378"/>
                    <a:pt x="12068" y="26159"/>
                    <a:pt x="12068" y="25917"/>
                  </a:cubicBezTo>
                  <a:cubicBezTo>
                    <a:pt x="12068" y="25646"/>
                    <a:pt x="11888" y="25466"/>
                    <a:pt x="11888" y="25345"/>
                  </a:cubicBezTo>
                  <a:cubicBezTo>
                    <a:pt x="11888" y="25225"/>
                    <a:pt x="11737" y="24924"/>
                    <a:pt x="11918" y="24834"/>
                  </a:cubicBezTo>
                  <a:cubicBezTo>
                    <a:pt x="12128" y="24713"/>
                    <a:pt x="11978" y="24472"/>
                    <a:pt x="11978" y="24292"/>
                  </a:cubicBezTo>
                  <a:cubicBezTo>
                    <a:pt x="11978" y="24111"/>
                    <a:pt x="11677" y="23871"/>
                    <a:pt x="11376" y="23871"/>
                  </a:cubicBezTo>
                  <a:cubicBezTo>
                    <a:pt x="11075" y="23871"/>
                    <a:pt x="11135" y="23570"/>
                    <a:pt x="10864" y="23509"/>
                  </a:cubicBezTo>
                  <a:cubicBezTo>
                    <a:pt x="10563" y="23389"/>
                    <a:pt x="10293" y="23148"/>
                    <a:pt x="10112" y="22877"/>
                  </a:cubicBezTo>
                  <a:cubicBezTo>
                    <a:pt x="10082" y="22727"/>
                    <a:pt x="9721" y="22667"/>
                    <a:pt x="9811" y="22607"/>
                  </a:cubicBezTo>
                  <a:cubicBezTo>
                    <a:pt x="9841" y="22603"/>
                    <a:pt x="9871" y="22601"/>
                    <a:pt x="9901" y="22601"/>
                  </a:cubicBezTo>
                  <a:cubicBezTo>
                    <a:pt x="10111" y="22601"/>
                    <a:pt x="10315" y="22693"/>
                    <a:pt x="10473" y="22877"/>
                  </a:cubicBezTo>
                  <a:cubicBezTo>
                    <a:pt x="10774" y="23118"/>
                    <a:pt x="11135" y="23269"/>
                    <a:pt x="11557" y="23329"/>
                  </a:cubicBezTo>
                  <a:cubicBezTo>
                    <a:pt x="12128" y="23389"/>
                    <a:pt x="12339" y="23660"/>
                    <a:pt x="12941" y="23780"/>
                  </a:cubicBezTo>
                  <a:lnTo>
                    <a:pt x="14777" y="24081"/>
                  </a:lnTo>
                  <a:cubicBezTo>
                    <a:pt x="14819" y="24086"/>
                    <a:pt x="14863" y="24088"/>
                    <a:pt x="14907" y="24088"/>
                  </a:cubicBezTo>
                  <a:cubicBezTo>
                    <a:pt x="15789" y="24088"/>
                    <a:pt x="16865" y="23259"/>
                    <a:pt x="17094" y="23058"/>
                  </a:cubicBezTo>
                  <a:cubicBezTo>
                    <a:pt x="17305" y="22817"/>
                    <a:pt x="17004" y="22306"/>
                    <a:pt x="17004" y="22125"/>
                  </a:cubicBezTo>
                  <a:cubicBezTo>
                    <a:pt x="17004" y="21914"/>
                    <a:pt x="16643" y="21884"/>
                    <a:pt x="16552" y="21764"/>
                  </a:cubicBezTo>
                  <a:cubicBezTo>
                    <a:pt x="16432" y="21523"/>
                    <a:pt x="16191" y="21373"/>
                    <a:pt x="15920" y="21373"/>
                  </a:cubicBezTo>
                  <a:cubicBezTo>
                    <a:pt x="15589" y="21373"/>
                    <a:pt x="15529" y="20982"/>
                    <a:pt x="15228" y="20982"/>
                  </a:cubicBezTo>
                  <a:cubicBezTo>
                    <a:pt x="14927" y="20982"/>
                    <a:pt x="14777" y="20861"/>
                    <a:pt x="14115" y="20410"/>
                  </a:cubicBezTo>
                  <a:cubicBezTo>
                    <a:pt x="13514" y="20018"/>
                    <a:pt x="12686" y="19694"/>
                    <a:pt x="12341" y="19694"/>
                  </a:cubicBezTo>
                  <a:cubicBezTo>
                    <a:pt x="12288" y="19694"/>
                    <a:pt x="12246" y="19702"/>
                    <a:pt x="12219" y="19718"/>
                  </a:cubicBezTo>
                  <a:cubicBezTo>
                    <a:pt x="12144" y="19755"/>
                    <a:pt x="12090" y="19777"/>
                    <a:pt x="12043" y="19777"/>
                  </a:cubicBezTo>
                  <a:cubicBezTo>
                    <a:pt x="11978" y="19777"/>
                    <a:pt x="11928" y="19733"/>
                    <a:pt x="11857" y="19627"/>
                  </a:cubicBezTo>
                  <a:cubicBezTo>
                    <a:pt x="11767" y="19552"/>
                    <a:pt x="11654" y="19514"/>
                    <a:pt x="11545" y="19514"/>
                  </a:cubicBezTo>
                  <a:cubicBezTo>
                    <a:pt x="11436" y="19514"/>
                    <a:pt x="11331" y="19552"/>
                    <a:pt x="11256" y="19627"/>
                  </a:cubicBezTo>
                  <a:cubicBezTo>
                    <a:pt x="11215" y="19661"/>
                    <a:pt x="11172" y="19674"/>
                    <a:pt x="11128" y="19674"/>
                  </a:cubicBezTo>
                  <a:cubicBezTo>
                    <a:pt x="11003" y="19674"/>
                    <a:pt x="10859" y="19578"/>
                    <a:pt x="10674" y="19578"/>
                  </a:cubicBezTo>
                  <a:cubicBezTo>
                    <a:pt x="10629" y="19578"/>
                    <a:pt x="10583" y="19584"/>
                    <a:pt x="10533" y="19597"/>
                  </a:cubicBezTo>
                  <a:cubicBezTo>
                    <a:pt x="10493" y="19604"/>
                    <a:pt x="10456" y="19608"/>
                    <a:pt x="10420" y="19608"/>
                  </a:cubicBezTo>
                  <a:cubicBezTo>
                    <a:pt x="10162" y="19608"/>
                    <a:pt x="10029" y="19432"/>
                    <a:pt x="10082" y="19326"/>
                  </a:cubicBezTo>
                  <a:cubicBezTo>
                    <a:pt x="10172" y="19206"/>
                    <a:pt x="10684" y="19326"/>
                    <a:pt x="10684" y="19146"/>
                  </a:cubicBezTo>
                  <a:cubicBezTo>
                    <a:pt x="10684" y="18965"/>
                    <a:pt x="10473" y="19146"/>
                    <a:pt x="10172" y="18905"/>
                  </a:cubicBezTo>
                  <a:cubicBezTo>
                    <a:pt x="10068" y="18832"/>
                    <a:pt x="9974" y="18802"/>
                    <a:pt x="9894" y="18802"/>
                  </a:cubicBezTo>
                  <a:cubicBezTo>
                    <a:pt x="9743" y="18802"/>
                    <a:pt x="9640" y="18907"/>
                    <a:pt x="9600" y="19025"/>
                  </a:cubicBezTo>
                  <a:cubicBezTo>
                    <a:pt x="9557" y="19112"/>
                    <a:pt x="9480" y="19150"/>
                    <a:pt x="9394" y="19150"/>
                  </a:cubicBezTo>
                  <a:cubicBezTo>
                    <a:pt x="9301" y="19150"/>
                    <a:pt x="9198" y="19104"/>
                    <a:pt x="9119" y="19025"/>
                  </a:cubicBezTo>
                  <a:cubicBezTo>
                    <a:pt x="9119" y="18995"/>
                    <a:pt x="9089" y="18995"/>
                    <a:pt x="9059" y="18995"/>
                  </a:cubicBezTo>
                  <a:cubicBezTo>
                    <a:pt x="9059" y="19169"/>
                    <a:pt x="8915" y="19282"/>
                    <a:pt x="8763" y="19282"/>
                  </a:cubicBezTo>
                  <a:cubicBezTo>
                    <a:pt x="8731" y="19282"/>
                    <a:pt x="8699" y="19277"/>
                    <a:pt x="8667" y="19266"/>
                  </a:cubicBezTo>
                  <a:cubicBezTo>
                    <a:pt x="8649" y="19261"/>
                    <a:pt x="8631" y="19259"/>
                    <a:pt x="8613" y="19259"/>
                  </a:cubicBezTo>
                  <a:cubicBezTo>
                    <a:pt x="8399" y="19259"/>
                    <a:pt x="8228" y="19567"/>
                    <a:pt x="8005" y="19567"/>
                  </a:cubicBezTo>
                  <a:cubicBezTo>
                    <a:pt x="7735" y="19567"/>
                    <a:pt x="7524" y="19778"/>
                    <a:pt x="7464" y="20049"/>
                  </a:cubicBezTo>
                  <a:cubicBezTo>
                    <a:pt x="7403" y="20229"/>
                    <a:pt x="7163" y="20109"/>
                    <a:pt x="7163" y="20259"/>
                  </a:cubicBezTo>
                  <a:cubicBezTo>
                    <a:pt x="7163" y="20410"/>
                    <a:pt x="7133" y="20560"/>
                    <a:pt x="7042" y="20681"/>
                  </a:cubicBezTo>
                  <a:cubicBezTo>
                    <a:pt x="6922" y="20831"/>
                    <a:pt x="7042" y="20891"/>
                    <a:pt x="7163" y="21132"/>
                  </a:cubicBezTo>
                  <a:cubicBezTo>
                    <a:pt x="7253" y="21373"/>
                    <a:pt x="7524" y="21313"/>
                    <a:pt x="7644" y="21403"/>
                  </a:cubicBezTo>
                  <a:cubicBezTo>
                    <a:pt x="7765" y="21463"/>
                    <a:pt x="8216" y="21854"/>
                    <a:pt x="8216" y="22005"/>
                  </a:cubicBezTo>
                  <a:cubicBezTo>
                    <a:pt x="8216" y="22155"/>
                    <a:pt x="7855" y="22486"/>
                    <a:pt x="7704" y="22546"/>
                  </a:cubicBezTo>
                  <a:cubicBezTo>
                    <a:pt x="7554" y="22637"/>
                    <a:pt x="7373" y="22908"/>
                    <a:pt x="7494" y="23058"/>
                  </a:cubicBezTo>
                  <a:cubicBezTo>
                    <a:pt x="7614" y="23209"/>
                    <a:pt x="7975" y="23750"/>
                    <a:pt x="8246" y="24262"/>
                  </a:cubicBezTo>
                  <a:cubicBezTo>
                    <a:pt x="8517" y="24743"/>
                    <a:pt x="8126" y="24472"/>
                    <a:pt x="7975" y="24713"/>
                  </a:cubicBezTo>
                  <a:cubicBezTo>
                    <a:pt x="7825" y="24924"/>
                    <a:pt x="8066" y="25195"/>
                    <a:pt x="8096" y="25315"/>
                  </a:cubicBezTo>
                  <a:cubicBezTo>
                    <a:pt x="8126" y="25405"/>
                    <a:pt x="7855" y="25405"/>
                    <a:pt x="7915" y="25526"/>
                  </a:cubicBezTo>
                  <a:cubicBezTo>
                    <a:pt x="7945" y="25646"/>
                    <a:pt x="8276" y="25706"/>
                    <a:pt x="8306" y="25797"/>
                  </a:cubicBezTo>
                  <a:cubicBezTo>
                    <a:pt x="8367" y="25857"/>
                    <a:pt x="8066" y="26007"/>
                    <a:pt x="8216" y="26218"/>
                  </a:cubicBezTo>
                  <a:cubicBezTo>
                    <a:pt x="8367" y="26399"/>
                    <a:pt x="8577" y="26399"/>
                    <a:pt x="8607" y="26609"/>
                  </a:cubicBezTo>
                  <a:cubicBezTo>
                    <a:pt x="8667" y="26850"/>
                    <a:pt x="8096" y="26880"/>
                    <a:pt x="8126" y="27061"/>
                  </a:cubicBezTo>
                  <a:cubicBezTo>
                    <a:pt x="8156" y="27271"/>
                    <a:pt x="8818" y="27482"/>
                    <a:pt x="9119" y="27813"/>
                  </a:cubicBezTo>
                  <a:cubicBezTo>
                    <a:pt x="9420" y="28174"/>
                    <a:pt x="9420" y="28264"/>
                    <a:pt x="9330" y="28475"/>
                  </a:cubicBezTo>
                  <a:cubicBezTo>
                    <a:pt x="9269" y="28656"/>
                    <a:pt x="8367" y="29167"/>
                    <a:pt x="8156" y="29589"/>
                  </a:cubicBezTo>
                  <a:cubicBezTo>
                    <a:pt x="7975" y="30010"/>
                    <a:pt x="7253" y="30281"/>
                    <a:pt x="6952" y="30582"/>
                  </a:cubicBezTo>
                  <a:lnTo>
                    <a:pt x="6561" y="31063"/>
                  </a:lnTo>
                  <a:lnTo>
                    <a:pt x="6561" y="31063"/>
                  </a:lnTo>
                  <a:lnTo>
                    <a:pt x="6892" y="30943"/>
                  </a:lnTo>
                  <a:cubicBezTo>
                    <a:pt x="6907" y="30935"/>
                    <a:pt x="6922" y="30932"/>
                    <a:pt x="6937" y="30932"/>
                  </a:cubicBezTo>
                  <a:cubicBezTo>
                    <a:pt x="7098" y="30932"/>
                    <a:pt x="7238" y="31347"/>
                    <a:pt x="7403" y="31485"/>
                  </a:cubicBezTo>
                  <a:cubicBezTo>
                    <a:pt x="7494" y="31560"/>
                    <a:pt x="7637" y="31560"/>
                    <a:pt x="7772" y="31560"/>
                  </a:cubicBezTo>
                  <a:cubicBezTo>
                    <a:pt x="7908" y="31560"/>
                    <a:pt x="8035" y="31560"/>
                    <a:pt x="8096" y="31635"/>
                  </a:cubicBezTo>
                  <a:cubicBezTo>
                    <a:pt x="8163" y="31720"/>
                    <a:pt x="8117" y="31757"/>
                    <a:pt x="8014" y="31757"/>
                  </a:cubicBezTo>
                  <a:cubicBezTo>
                    <a:pt x="7935" y="31757"/>
                    <a:pt x="7823" y="31735"/>
                    <a:pt x="7704" y="31695"/>
                  </a:cubicBezTo>
                  <a:cubicBezTo>
                    <a:pt x="7675" y="31688"/>
                    <a:pt x="7648" y="31685"/>
                    <a:pt x="7623" y="31685"/>
                  </a:cubicBezTo>
                  <a:cubicBezTo>
                    <a:pt x="7437" y="31685"/>
                    <a:pt x="7322" y="31860"/>
                    <a:pt x="6952" y="31966"/>
                  </a:cubicBezTo>
                  <a:cubicBezTo>
                    <a:pt x="6531" y="32086"/>
                    <a:pt x="6651" y="32207"/>
                    <a:pt x="6591" y="32267"/>
                  </a:cubicBezTo>
                  <a:cubicBezTo>
                    <a:pt x="6501" y="32357"/>
                    <a:pt x="6501" y="32598"/>
                    <a:pt x="6380" y="32809"/>
                  </a:cubicBezTo>
                  <a:cubicBezTo>
                    <a:pt x="6290" y="32989"/>
                    <a:pt x="6170" y="33049"/>
                    <a:pt x="6139" y="33200"/>
                  </a:cubicBezTo>
                  <a:cubicBezTo>
                    <a:pt x="6139" y="33350"/>
                    <a:pt x="6170" y="33501"/>
                    <a:pt x="6200" y="33651"/>
                  </a:cubicBezTo>
                  <a:cubicBezTo>
                    <a:pt x="6200" y="33802"/>
                    <a:pt x="6260" y="33952"/>
                    <a:pt x="6350" y="34073"/>
                  </a:cubicBezTo>
                  <a:cubicBezTo>
                    <a:pt x="6501" y="34253"/>
                    <a:pt x="6230" y="34253"/>
                    <a:pt x="6170" y="34344"/>
                  </a:cubicBezTo>
                  <a:cubicBezTo>
                    <a:pt x="6079" y="34404"/>
                    <a:pt x="6139" y="34644"/>
                    <a:pt x="6230" y="34795"/>
                  </a:cubicBezTo>
                  <a:cubicBezTo>
                    <a:pt x="6350" y="34885"/>
                    <a:pt x="6410" y="35066"/>
                    <a:pt x="6350" y="35216"/>
                  </a:cubicBezTo>
                  <a:cubicBezTo>
                    <a:pt x="6290" y="35307"/>
                    <a:pt x="6471" y="35547"/>
                    <a:pt x="6591" y="35668"/>
                  </a:cubicBezTo>
                  <a:cubicBezTo>
                    <a:pt x="6711" y="35758"/>
                    <a:pt x="6711" y="36119"/>
                    <a:pt x="6802" y="36209"/>
                  </a:cubicBezTo>
                  <a:cubicBezTo>
                    <a:pt x="6894" y="36301"/>
                    <a:pt x="7003" y="36341"/>
                    <a:pt x="7117" y="36341"/>
                  </a:cubicBezTo>
                  <a:cubicBezTo>
                    <a:pt x="7152" y="36341"/>
                    <a:pt x="7187" y="36337"/>
                    <a:pt x="7223" y="36330"/>
                  </a:cubicBezTo>
                  <a:cubicBezTo>
                    <a:pt x="7261" y="36317"/>
                    <a:pt x="7299" y="36311"/>
                    <a:pt x="7334" y="36311"/>
                  </a:cubicBezTo>
                  <a:cubicBezTo>
                    <a:pt x="7465" y="36311"/>
                    <a:pt x="7573" y="36392"/>
                    <a:pt x="7644" y="36510"/>
                  </a:cubicBezTo>
                  <a:cubicBezTo>
                    <a:pt x="7673" y="36581"/>
                    <a:pt x="7721" y="36612"/>
                    <a:pt x="7787" y="36612"/>
                  </a:cubicBezTo>
                  <a:cubicBezTo>
                    <a:pt x="7860" y="36612"/>
                    <a:pt x="7954" y="36574"/>
                    <a:pt x="8066" y="36510"/>
                  </a:cubicBezTo>
                  <a:cubicBezTo>
                    <a:pt x="8093" y="36496"/>
                    <a:pt x="8127" y="36490"/>
                    <a:pt x="8166" y="36490"/>
                  </a:cubicBezTo>
                  <a:cubicBezTo>
                    <a:pt x="8377" y="36490"/>
                    <a:pt x="8716" y="36675"/>
                    <a:pt x="8818" y="36751"/>
                  </a:cubicBezTo>
                  <a:cubicBezTo>
                    <a:pt x="8908" y="36811"/>
                    <a:pt x="8848" y="37082"/>
                    <a:pt x="8878" y="37263"/>
                  </a:cubicBezTo>
                  <a:cubicBezTo>
                    <a:pt x="8908" y="37473"/>
                    <a:pt x="8758" y="37714"/>
                    <a:pt x="8968" y="37835"/>
                  </a:cubicBezTo>
                  <a:cubicBezTo>
                    <a:pt x="9149" y="37955"/>
                    <a:pt x="9119" y="38256"/>
                    <a:pt x="9330" y="38316"/>
                  </a:cubicBezTo>
                  <a:cubicBezTo>
                    <a:pt x="9570" y="38406"/>
                    <a:pt x="9630" y="38737"/>
                    <a:pt x="9781" y="38767"/>
                  </a:cubicBezTo>
                  <a:cubicBezTo>
                    <a:pt x="9992" y="38858"/>
                    <a:pt x="10142" y="39008"/>
                    <a:pt x="10232" y="39189"/>
                  </a:cubicBezTo>
                  <a:cubicBezTo>
                    <a:pt x="10232" y="39339"/>
                    <a:pt x="9962" y="39490"/>
                    <a:pt x="9811" y="39580"/>
                  </a:cubicBezTo>
                  <a:cubicBezTo>
                    <a:pt x="9797" y="39586"/>
                    <a:pt x="9782" y="39588"/>
                    <a:pt x="9766" y="39588"/>
                  </a:cubicBezTo>
                  <a:cubicBezTo>
                    <a:pt x="9636" y="39588"/>
                    <a:pt x="9443" y="39431"/>
                    <a:pt x="9332" y="39431"/>
                  </a:cubicBezTo>
                  <a:cubicBezTo>
                    <a:pt x="9306" y="39431"/>
                    <a:pt x="9285" y="39439"/>
                    <a:pt x="9269" y="39460"/>
                  </a:cubicBezTo>
                  <a:cubicBezTo>
                    <a:pt x="9149" y="39580"/>
                    <a:pt x="9299" y="39791"/>
                    <a:pt x="9360" y="40212"/>
                  </a:cubicBezTo>
                  <a:cubicBezTo>
                    <a:pt x="9450" y="40633"/>
                    <a:pt x="9510" y="40633"/>
                    <a:pt x="9721" y="40633"/>
                  </a:cubicBezTo>
                  <a:cubicBezTo>
                    <a:pt x="9901" y="40633"/>
                    <a:pt x="9962" y="40513"/>
                    <a:pt x="10082" y="40423"/>
                  </a:cubicBezTo>
                  <a:cubicBezTo>
                    <a:pt x="10108" y="40410"/>
                    <a:pt x="10143" y="40405"/>
                    <a:pt x="10182" y="40405"/>
                  </a:cubicBezTo>
                  <a:cubicBezTo>
                    <a:pt x="10270" y="40405"/>
                    <a:pt x="10381" y="40427"/>
                    <a:pt x="10469" y="40427"/>
                  </a:cubicBezTo>
                  <a:cubicBezTo>
                    <a:pt x="10522" y="40427"/>
                    <a:pt x="10567" y="40419"/>
                    <a:pt x="10594" y="40393"/>
                  </a:cubicBezTo>
                  <a:cubicBezTo>
                    <a:pt x="10634" y="40372"/>
                    <a:pt x="10711" y="40362"/>
                    <a:pt x="10799" y="40362"/>
                  </a:cubicBezTo>
                  <a:cubicBezTo>
                    <a:pt x="10975" y="40362"/>
                    <a:pt x="11195" y="40403"/>
                    <a:pt x="11256" y="40483"/>
                  </a:cubicBezTo>
                  <a:cubicBezTo>
                    <a:pt x="11316" y="40573"/>
                    <a:pt x="11436" y="40964"/>
                    <a:pt x="11346" y="41085"/>
                  </a:cubicBezTo>
                  <a:cubicBezTo>
                    <a:pt x="11286" y="41175"/>
                    <a:pt x="11436" y="41325"/>
                    <a:pt x="11557" y="41536"/>
                  </a:cubicBezTo>
                  <a:cubicBezTo>
                    <a:pt x="11647" y="41717"/>
                    <a:pt x="12008" y="41596"/>
                    <a:pt x="12098" y="41687"/>
                  </a:cubicBezTo>
                  <a:cubicBezTo>
                    <a:pt x="12219" y="41747"/>
                    <a:pt x="12520" y="42078"/>
                    <a:pt x="12459" y="42289"/>
                  </a:cubicBezTo>
                  <a:cubicBezTo>
                    <a:pt x="12395" y="42417"/>
                    <a:pt x="12513" y="42454"/>
                    <a:pt x="12630" y="42454"/>
                  </a:cubicBezTo>
                  <a:cubicBezTo>
                    <a:pt x="12678" y="42454"/>
                    <a:pt x="12725" y="42448"/>
                    <a:pt x="12760" y="42439"/>
                  </a:cubicBezTo>
                  <a:cubicBezTo>
                    <a:pt x="12777" y="42428"/>
                    <a:pt x="12796" y="42423"/>
                    <a:pt x="12816" y="42423"/>
                  </a:cubicBezTo>
                  <a:cubicBezTo>
                    <a:pt x="12905" y="42423"/>
                    <a:pt x="13023" y="42521"/>
                    <a:pt x="13121" y="42620"/>
                  </a:cubicBezTo>
                  <a:cubicBezTo>
                    <a:pt x="13179" y="42643"/>
                    <a:pt x="13236" y="42652"/>
                    <a:pt x="13292" y="42652"/>
                  </a:cubicBezTo>
                  <a:cubicBezTo>
                    <a:pt x="13383" y="42652"/>
                    <a:pt x="13468" y="42627"/>
                    <a:pt x="13543" y="42589"/>
                  </a:cubicBezTo>
                  <a:cubicBezTo>
                    <a:pt x="13634" y="42517"/>
                    <a:pt x="13747" y="42477"/>
                    <a:pt x="13842" y="42477"/>
                  </a:cubicBezTo>
                  <a:cubicBezTo>
                    <a:pt x="13904" y="42477"/>
                    <a:pt x="13959" y="42494"/>
                    <a:pt x="13994" y="42529"/>
                  </a:cubicBezTo>
                  <a:cubicBezTo>
                    <a:pt x="14054" y="42650"/>
                    <a:pt x="14325" y="42890"/>
                    <a:pt x="14325" y="42951"/>
                  </a:cubicBezTo>
                  <a:cubicBezTo>
                    <a:pt x="14325" y="43041"/>
                    <a:pt x="14777" y="42951"/>
                    <a:pt x="14957" y="43071"/>
                  </a:cubicBezTo>
                  <a:cubicBezTo>
                    <a:pt x="15168" y="43191"/>
                    <a:pt x="15409" y="43101"/>
                    <a:pt x="15649" y="43252"/>
                  </a:cubicBezTo>
                  <a:cubicBezTo>
                    <a:pt x="15860" y="43402"/>
                    <a:pt x="16101" y="43372"/>
                    <a:pt x="16101" y="43522"/>
                  </a:cubicBezTo>
                  <a:cubicBezTo>
                    <a:pt x="16101" y="43673"/>
                    <a:pt x="15860" y="43793"/>
                    <a:pt x="15860" y="43853"/>
                  </a:cubicBezTo>
                  <a:cubicBezTo>
                    <a:pt x="15860" y="43944"/>
                    <a:pt x="16071" y="43974"/>
                    <a:pt x="16071" y="44094"/>
                  </a:cubicBezTo>
                  <a:cubicBezTo>
                    <a:pt x="16071" y="44184"/>
                    <a:pt x="15830" y="44184"/>
                    <a:pt x="15800" y="44275"/>
                  </a:cubicBezTo>
                  <a:cubicBezTo>
                    <a:pt x="15770" y="44335"/>
                    <a:pt x="15950" y="44485"/>
                    <a:pt x="15980" y="44576"/>
                  </a:cubicBezTo>
                  <a:cubicBezTo>
                    <a:pt x="16011" y="44636"/>
                    <a:pt x="15830" y="44937"/>
                    <a:pt x="15830" y="45057"/>
                  </a:cubicBezTo>
                  <a:cubicBezTo>
                    <a:pt x="15830" y="45092"/>
                    <a:pt x="15788" y="45104"/>
                    <a:pt x="15726" y="45104"/>
                  </a:cubicBezTo>
                  <a:cubicBezTo>
                    <a:pt x="15570" y="45104"/>
                    <a:pt x="15284" y="45027"/>
                    <a:pt x="15198" y="45027"/>
                  </a:cubicBezTo>
                  <a:cubicBezTo>
                    <a:pt x="15078" y="45027"/>
                    <a:pt x="14717" y="45448"/>
                    <a:pt x="14566" y="45448"/>
                  </a:cubicBezTo>
                  <a:cubicBezTo>
                    <a:pt x="14416" y="45448"/>
                    <a:pt x="14506" y="45659"/>
                    <a:pt x="14566" y="45810"/>
                  </a:cubicBezTo>
                  <a:cubicBezTo>
                    <a:pt x="14574" y="45851"/>
                    <a:pt x="14635" y="45865"/>
                    <a:pt x="14718" y="45865"/>
                  </a:cubicBezTo>
                  <a:cubicBezTo>
                    <a:pt x="14900" y="45865"/>
                    <a:pt x="15192" y="45798"/>
                    <a:pt x="15304" y="45798"/>
                  </a:cubicBezTo>
                  <a:cubicBezTo>
                    <a:pt x="15329" y="45798"/>
                    <a:pt x="15345" y="45802"/>
                    <a:pt x="15348" y="45810"/>
                  </a:cubicBezTo>
                  <a:cubicBezTo>
                    <a:pt x="15379" y="45900"/>
                    <a:pt x="14536" y="46351"/>
                    <a:pt x="14355" y="46381"/>
                  </a:cubicBezTo>
                  <a:cubicBezTo>
                    <a:pt x="14205" y="46411"/>
                    <a:pt x="14717" y="46682"/>
                    <a:pt x="14656" y="46833"/>
                  </a:cubicBezTo>
                  <a:cubicBezTo>
                    <a:pt x="14626" y="46983"/>
                    <a:pt x="14175" y="47013"/>
                    <a:pt x="14235" y="47284"/>
                  </a:cubicBezTo>
                  <a:cubicBezTo>
                    <a:pt x="14265" y="47555"/>
                    <a:pt x="14024" y="47615"/>
                    <a:pt x="13784" y="47615"/>
                  </a:cubicBezTo>
                  <a:cubicBezTo>
                    <a:pt x="13513" y="47615"/>
                    <a:pt x="13422" y="47766"/>
                    <a:pt x="13573" y="47796"/>
                  </a:cubicBezTo>
                  <a:cubicBezTo>
                    <a:pt x="13723" y="47856"/>
                    <a:pt x="13693" y="48187"/>
                    <a:pt x="14175" y="48307"/>
                  </a:cubicBezTo>
                  <a:cubicBezTo>
                    <a:pt x="14777" y="48518"/>
                    <a:pt x="15258" y="48879"/>
                    <a:pt x="15649" y="49391"/>
                  </a:cubicBezTo>
                  <a:lnTo>
                    <a:pt x="15890" y="49541"/>
                  </a:lnTo>
                  <a:lnTo>
                    <a:pt x="16191" y="49391"/>
                  </a:lnTo>
                  <a:cubicBezTo>
                    <a:pt x="16522" y="49391"/>
                    <a:pt x="16853" y="49481"/>
                    <a:pt x="17124" y="49692"/>
                  </a:cubicBezTo>
                  <a:cubicBezTo>
                    <a:pt x="17218" y="49754"/>
                    <a:pt x="17380" y="49770"/>
                    <a:pt x="17556" y="49770"/>
                  </a:cubicBezTo>
                  <a:cubicBezTo>
                    <a:pt x="17735" y="49770"/>
                    <a:pt x="17928" y="49754"/>
                    <a:pt x="18082" y="49754"/>
                  </a:cubicBezTo>
                  <a:cubicBezTo>
                    <a:pt x="18217" y="49754"/>
                    <a:pt x="18321" y="49766"/>
                    <a:pt x="18358" y="49812"/>
                  </a:cubicBezTo>
                  <a:cubicBezTo>
                    <a:pt x="18478" y="49963"/>
                    <a:pt x="18659" y="50053"/>
                    <a:pt x="18839" y="50113"/>
                  </a:cubicBezTo>
                  <a:cubicBezTo>
                    <a:pt x="18972" y="50113"/>
                    <a:pt x="19151" y="50369"/>
                    <a:pt x="19295" y="50369"/>
                  </a:cubicBezTo>
                  <a:cubicBezTo>
                    <a:pt x="19314" y="50369"/>
                    <a:pt x="19333" y="50365"/>
                    <a:pt x="19351" y="50354"/>
                  </a:cubicBezTo>
                  <a:cubicBezTo>
                    <a:pt x="19532" y="50286"/>
                    <a:pt x="19729" y="50252"/>
                    <a:pt x="19931" y="50252"/>
                  </a:cubicBezTo>
                  <a:cubicBezTo>
                    <a:pt x="19998" y="50252"/>
                    <a:pt x="20066" y="50256"/>
                    <a:pt x="20134" y="50264"/>
                  </a:cubicBezTo>
                  <a:cubicBezTo>
                    <a:pt x="20284" y="50264"/>
                    <a:pt x="20284" y="50354"/>
                    <a:pt x="20435" y="50354"/>
                  </a:cubicBezTo>
                  <a:cubicBezTo>
                    <a:pt x="20581" y="50354"/>
                    <a:pt x="20556" y="50867"/>
                    <a:pt x="20638" y="50867"/>
                  </a:cubicBezTo>
                  <a:cubicBezTo>
                    <a:pt x="20640" y="50867"/>
                    <a:pt x="20643" y="50866"/>
                    <a:pt x="20645" y="50865"/>
                  </a:cubicBezTo>
                  <a:cubicBezTo>
                    <a:pt x="20654" y="50861"/>
                    <a:pt x="20665" y="50859"/>
                    <a:pt x="20677" y="50859"/>
                  </a:cubicBezTo>
                  <a:cubicBezTo>
                    <a:pt x="20825" y="50859"/>
                    <a:pt x="21175" y="51169"/>
                    <a:pt x="21398" y="51197"/>
                  </a:cubicBezTo>
                  <a:cubicBezTo>
                    <a:pt x="21659" y="51226"/>
                    <a:pt x="21893" y="51619"/>
                    <a:pt x="21990" y="51619"/>
                  </a:cubicBezTo>
                  <a:cubicBezTo>
                    <a:pt x="21993" y="51619"/>
                    <a:pt x="21996" y="51619"/>
                    <a:pt x="21999" y="51618"/>
                  </a:cubicBezTo>
                  <a:cubicBezTo>
                    <a:pt x="22013" y="51611"/>
                    <a:pt x="22028" y="51608"/>
                    <a:pt x="22042" y="51608"/>
                  </a:cubicBezTo>
                  <a:cubicBezTo>
                    <a:pt x="22118" y="51608"/>
                    <a:pt x="22201" y="51686"/>
                    <a:pt x="22272" y="51686"/>
                  </a:cubicBezTo>
                  <a:cubicBezTo>
                    <a:pt x="22305" y="51686"/>
                    <a:pt x="22335" y="51669"/>
                    <a:pt x="22361" y="51618"/>
                  </a:cubicBezTo>
                  <a:cubicBezTo>
                    <a:pt x="22421" y="51407"/>
                    <a:pt x="22752" y="51528"/>
                    <a:pt x="22872" y="51227"/>
                  </a:cubicBezTo>
                  <a:cubicBezTo>
                    <a:pt x="22421" y="50715"/>
                    <a:pt x="21939" y="50113"/>
                    <a:pt x="21939" y="49872"/>
                  </a:cubicBezTo>
                  <a:cubicBezTo>
                    <a:pt x="21939" y="49662"/>
                    <a:pt x="22120" y="49210"/>
                    <a:pt x="21638" y="48789"/>
                  </a:cubicBezTo>
                  <a:cubicBezTo>
                    <a:pt x="21157" y="48368"/>
                    <a:pt x="21698" y="48067"/>
                    <a:pt x="22060" y="47615"/>
                  </a:cubicBezTo>
                  <a:cubicBezTo>
                    <a:pt x="22391" y="47164"/>
                    <a:pt x="23023" y="47043"/>
                    <a:pt x="23444" y="46803"/>
                  </a:cubicBezTo>
                  <a:lnTo>
                    <a:pt x="23173" y="46652"/>
                  </a:lnTo>
                  <a:cubicBezTo>
                    <a:pt x="22872" y="46502"/>
                    <a:pt x="22752" y="46351"/>
                    <a:pt x="23023" y="46261"/>
                  </a:cubicBezTo>
                  <a:cubicBezTo>
                    <a:pt x="23294" y="46201"/>
                    <a:pt x="23173" y="46080"/>
                    <a:pt x="22902" y="45779"/>
                  </a:cubicBezTo>
                  <a:cubicBezTo>
                    <a:pt x="22662" y="45479"/>
                    <a:pt x="22571" y="45208"/>
                    <a:pt x="22421" y="45208"/>
                  </a:cubicBezTo>
                  <a:cubicBezTo>
                    <a:pt x="22368" y="45199"/>
                    <a:pt x="22312" y="45195"/>
                    <a:pt x="22256" y="45195"/>
                  </a:cubicBezTo>
                  <a:cubicBezTo>
                    <a:pt x="22119" y="45195"/>
                    <a:pt x="21977" y="45217"/>
                    <a:pt x="21849" y="45238"/>
                  </a:cubicBezTo>
                  <a:cubicBezTo>
                    <a:pt x="21818" y="45251"/>
                    <a:pt x="21792" y="45257"/>
                    <a:pt x="21771" y="45257"/>
                  </a:cubicBezTo>
                  <a:cubicBezTo>
                    <a:pt x="21647" y="45257"/>
                    <a:pt x="21673" y="45052"/>
                    <a:pt x="21698" y="44847"/>
                  </a:cubicBezTo>
                  <a:cubicBezTo>
                    <a:pt x="21759" y="44576"/>
                    <a:pt x="21337" y="44606"/>
                    <a:pt x="21247" y="44546"/>
                  </a:cubicBezTo>
                  <a:cubicBezTo>
                    <a:pt x="21187" y="44455"/>
                    <a:pt x="21367" y="44034"/>
                    <a:pt x="21458" y="44034"/>
                  </a:cubicBezTo>
                  <a:cubicBezTo>
                    <a:pt x="21518" y="44034"/>
                    <a:pt x="21698" y="43884"/>
                    <a:pt x="21698" y="43793"/>
                  </a:cubicBezTo>
                  <a:cubicBezTo>
                    <a:pt x="21698" y="43673"/>
                    <a:pt x="21337" y="43643"/>
                    <a:pt x="21488" y="43402"/>
                  </a:cubicBezTo>
                  <a:cubicBezTo>
                    <a:pt x="21638" y="43191"/>
                    <a:pt x="21909" y="43131"/>
                    <a:pt x="21909" y="42920"/>
                  </a:cubicBezTo>
                  <a:cubicBezTo>
                    <a:pt x="21909" y="42736"/>
                    <a:pt x="22033" y="42569"/>
                    <a:pt x="22199" y="42569"/>
                  </a:cubicBezTo>
                  <a:cubicBezTo>
                    <a:pt x="22250" y="42569"/>
                    <a:pt x="22304" y="42584"/>
                    <a:pt x="22361" y="42620"/>
                  </a:cubicBezTo>
                  <a:cubicBezTo>
                    <a:pt x="22548" y="42754"/>
                    <a:pt x="22664" y="43150"/>
                    <a:pt x="22900" y="43150"/>
                  </a:cubicBezTo>
                  <a:cubicBezTo>
                    <a:pt x="22929" y="43150"/>
                    <a:pt x="22960" y="43144"/>
                    <a:pt x="22993" y="43131"/>
                  </a:cubicBezTo>
                  <a:cubicBezTo>
                    <a:pt x="23294" y="43041"/>
                    <a:pt x="23113" y="42800"/>
                    <a:pt x="23053" y="42650"/>
                  </a:cubicBezTo>
                  <a:cubicBezTo>
                    <a:pt x="23023" y="42499"/>
                    <a:pt x="22962" y="42319"/>
                    <a:pt x="23263" y="42228"/>
                  </a:cubicBezTo>
                  <a:cubicBezTo>
                    <a:pt x="23564" y="42168"/>
                    <a:pt x="23444" y="41867"/>
                    <a:pt x="23715" y="41867"/>
                  </a:cubicBezTo>
                  <a:cubicBezTo>
                    <a:pt x="23956" y="41867"/>
                    <a:pt x="24377" y="41536"/>
                    <a:pt x="24527" y="41446"/>
                  </a:cubicBezTo>
                  <a:cubicBezTo>
                    <a:pt x="24654" y="41395"/>
                    <a:pt x="24886" y="41281"/>
                    <a:pt x="25046" y="41281"/>
                  </a:cubicBezTo>
                  <a:cubicBezTo>
                    <a:pt x="25077" y="41281"/>
                    <a:pt x="25105" y="41286"/>
                    <a:pt x="25129" y="41295"/>
                  </a:cubicBezTo>
                  <a:cubicBezTo>
                    <a:pt x="25220" y="41350"/>
                    <a:pt x="25310" y="41425"/>
                    <a:pt x="25394" y="41425"/>
                  </a:cubicBezTo>
                  <a:cubicBezTo>
                    <a:pt x="25450" y="41425"/>
                    <a:pt x="25502" y="41392"/>
                    <a:pt x="25551" y="41295"/>
                  </a:cubicBezTo>
                  <a:cubicBezTo>
                    <a:pt x="25606" y="41199"/>
                    <a:pt x="25718" y="41159"/>
                    <a:pt x="25829" y="41159"/>
                  </a:cubicBezTo>
                  <a:cubicBezTo>
                    <a:pt x="25960" y="41159"/>
                    <a:pt x="26090" y="41214"/>
                    <a:pt x="26122" y="41295"/>
                  </a:cubicBezTo>
                  <a:cubicBezTo>
                    <a:pt x="26153" y="41446"/>
                    <a:pt x="26815" y="41416"/>
                    <a:pt x="27025" y="41566"/>
                  </a:cubicBezTo>
                  <a:cubicBezTo>
                    <a:pt x="27206" y="41717"/>
                    <a:pt x="27687" y="41988"/>
                    <a:pt x="27687" y="42138"/>
                  </a:cubicBezTo>
                  <a:cubicBezTo>
                    <a:pt x="27687" y="42236"/>
                    <a:pt x="27788" y="42346"/>
                    <a:pt x="27860" y="42346"/>
                  </a:cubicBezTo>
                  <a:cubicBezTo>
                    <a:pt x="27898" y="42346"/>
                    <a:pt x="27928" y="42313"/>
                    <a:pt x="27928" y="42228"/>
                  </a:cubicBezTo>
                  <a:cubicBezTo>
                    <a:pt x="27928" y="42127"/>
                    <a:pt x="27963" y="42081"/>
                    <a:pt x="28032" y="42081"/>
                  </a:cubicBezTo>
                  <a:cubicBezTo>
                    <a:pt x="28108" y="42081"/>
                    <a:pt x="28223" y="42135"/>
                    <a:pt x="28380" y="42228"/>
                  </a:cubicBezTo>
                  <a:cubicBezTo>
                    <a:pt x="28502" y="42314"/>
                    <a:pt x="28630" y="42350"/>
                    <a:pt x="28743" y="42350"/>
                  </a:cubicBezTo>
                  <a:cubicBezTo>
                    <a:pt x="28906" y="42350"/>
                    <a:pt x="29036" y="42275"/>
                    <a:pt x="29072" y="42168"/>
                  </a:cubicBezTo>
                  <a:cubicBezTo>
                    <a:pt x="29140" y="42031"/>
                    <a:pt x="29453" y="41876"/>
                    <a:pt x="29691" y="41876"/>
                  </a:cubicBezTo>
                  <a:cubicBezTo>
                    <a:pt x="29766" y="41876"/>
                    <a:pt x="29834" y="41891"/>
                    <a:pt x="29884" y="41927"/>
                  </a:cubicBezTo>
                  <a:cubicBezTo>
                    <a:pt x="29985" y="42011"/>
                    <a:pt x="30038" y="42076"/>
                    <a:pt x="30108" y="42076"/>
                  </a:cubicBezTo>
                  <a:cubicBezTo>
                    <a:pt x="30163" y="42076"/>
                    <a:pt x="30229" y="42034"/>
                    <a:pt x="30336" y="41927"/>
                  </a:cubicBezTo>
                  <a:cubicBezTo>
                    <a:pt x="30426" y="41837"/>
                    <a:pt x="30567" y="41796"/>
                    <a:pt x="30705" y="41796"/>
                  </a:cubicBezTo>
                  <a:cubicBezTo>
                    <a:pt x="30888" y="41796"/>
                    <a:pt x="31067" y="41867"/>
                    <a:pt x="31118" y="41988"/>
                  </a:cubicBezTo>
                  <a:cubicBezTo>
                    <a:pt x="31178" y="42168"/>
                    <a:pt x="31419" y="42228"/>
                    <a:pt x="31630" y="42228"/>
                  </a:cubicBezTo>
                  <a:cubicBezTo>
                    <a:pt x="31849" y="42228"/>
                    <a:pt x="31869" y="42477"/>
                    <a:pt x="31983" y="42477"/>
                  </a:cubicBezTo>
                  <a:cubicBezTo>
                    <a:pt x="31995" y="42477"/>
                    <a:pt x="32007" y="42475"/>
                    <a:pt x="32021" y="42469"/>
                  </a:cubicBezTo>
                  <a:cubicBezTo>
                    <a:pt x="32165" y="42383"/>
                    <a:pt x="32144" y="42076"/>
                    <a:pt x="32273" y="42076"/>
                  </a:cubicBezTo>
                  <a:cubicBezTo>
                    <a:pt x="32279" y="42076"/>
                    <a:pt x="32285" y="42077"/>
                    <a:pt x="32292" y="42078"/>
                  </a:cubicBezTo>
                  <a:cubicBezTo>
                    <a:pt x="32442" y="42138"/>
                    <a:pt x="32623" y="42349"/>
                    <a:pt x="32894" y="42349"/>
                  </a:cubicBezTo>
                  <a:cubicBezTo>
                    <a:pt x="33135" y="42349"/>
                    <a:pt x="33375" y="42289"/>
                    <a:pt x="33375" y="42048"/>
                  </a:cubicBezTo>
                  <a:cubicBezTo>
                    <a:pt x="33375" y="41837"/>
                    <a:pt x="33345" y="41476"/>
                    <a:pt x="33195" y="41476"/>
                  </a:cubicBezTo>
                  <a:cubicBezTo>
                    <a:pt x="33044" y="41476"/>
                    <a:pt x="32803" y="41325"/>
                    <a:pt x="32623" y="41325"/>
                  </a:cubicBezTo>
                  <a:cubicBezTo>
                    <a:pt x="32442" y="41325"/>
                    <a:pt x="32171" y="40964"/>
                    <a:pt x="32382" y="40874"/>
                  </a:cubicBezTo>
                  <a:cubicBezTo>
                    <a:pt x="32623" y="40814"/>
                    <a:pt x="32954" y="40663"/>
                    <a:pt x="32894" y="40483"/>
                  </a:cubicBezTo>
                  <a:cubicBezTo>
                    <a:pt x="32803" y="40272"/>
                    <a:pt x="32743" y="39941"/>
                    <a:pt x="33044" y="39911"/>
                  </a:cubicBezTo>
                  <a:cubicBezTo>
                    <a:pt x="33345" y="39881"/>
                    <a:pt x="33887" y="39881"/>
                    <a:pt x="33857" y="39791"/>
                  </a:cubicBezTo>
                  <a:cubicBezTo>
                    <a:pt x="33827" y="39730"/>
                    <a:pt x="33255" y="39610"/>
                    <a:pt x="33195" y="39430"/>
                  </a:cubicBezTo>
                  <a:cubicBezTo>
                    <a:pt x="33104" y="39219"/>
                    <a:pt x="33044" y="38828"/>
                    <a:pt x="33135" y="38767"/>
                  </a:cubicBezTo>
                  <a:cubicBezTo>
                    <a:pt x="33195" y="38752"/>
                    <a:pt x="33308" y="38752"/>
                    <a:pt x="33432" y="38752"/>
                  </a:cubicBezTo>
                  <a:cubicBezTo>
                    <a:pt x="33556" y="38752"/>
                    <a:pt x="33691" y="38752"/>
                    <a:pt x="33797" y="38737"/>
                  </a:cubicBezTo>
                  <a:cubicBezTo>
                    <a:pt x="33819" y="38734"/>
                    <a:pt x="33846" y="38732"/>
                    <a:pt x="33877" y="38732"/>
                  </a:cubicBezTo>
                  <a:cubicBezTo>
                    <a:pt x="33971" y="38732"/>
                    <a:pt x="34098" y="38745"/>
                    <a:pt x="34233" y="38745"/>
                  </a:cubicBezTo>
                  <a:cubicBezTo>
                    <a:pt x="34414" y="38745"/>
                    <a:pt x="34609" y="38722"/>
                    <a:pt x="34760" y="38617"/>
                  </a:cubicBezTo>
                  <a:cubicBezTo>
                    <a:pt x="35075" y="38459"/>
                    <a:pt x="35413" y="38371"/>
                    <a:pt x="35774" y="38371"/>
                  </a:cubicBezTo>
                  <a:cubicBezTo>
                    <a:pt x="35827" y="38371"/>
                    <a:pt x="35880" y="38372"/>
                    <a:pt x="35933" y="38376"/>
                  </a:cubicBezTo>
                  <a:cubicBezTo>
                    <a:pt x="36264" y="38376"/>
                    <a:pt x="36505" y="38166"/>
                    <a:pt x="36746" y="38135"/>
                  </a:cubicBezTo>
                  <a:cubicBezTo>
                    <a:pt x="37137" y="38075"/>
                    <a:pt x="37498" y="38015"/>
                    <a:pt x="37889" y="37925"/>
                  </a:cubicBezTo>
                  <a:cubicBezTo>
                    <a:pt x="38040" y="37835"/>
                    <a:pt x="39003" y="37714"/>
                    <a:pt x="39063" y="37534"/>
                  </a:cubicBezTo>
                  <a:cubicBezTo>
                    <a:pt x="39086" y="37398"/>
                    <a:pt x="39515" y="37280"/>
                    <a:pt x="39804" y="37280"/>
                  </a:cubicBezTo>
                  <a:cubicBezTo>
                    <a:pt x="39900" y="37280"/>
                    <a:pt x="39981" y="37293"/>
                    <a:pt x="40026" y="37323"/>
                  </a:cubicBezTo>
                  <a:cubicBezTo>
                    <a:pt x="40143" y="37381"/>
                    <a:pt x="40272" y="37414"/>
                    <a:pt x="40406" y="37414"/>
                  </a:cubicBezTo>
                  <a:cubicBezTo>
                    <a:pt x="40479" y="37414"/>
                    <a:pt x="40553" y="37404"/>
                    <a:pt x="40628" y="37383"/>
                  </a:cubicBezTo>
                  <a:cubicBezTo>
                    <a:pt x="40664" y="37374"/>
                    <a:pt x="40700" y="37370"/>
                    <a:pt x="40735" y="37370"/>
                  </a:cubicBezTo>
                  <a:cubicBezTo>
                    <a:pt x="40937" y="37370"/>
                    <a:pt x="41119" y="37509"/>
                    <a:pt x="41170" y="37714"/>
                  </a:cubicBezTo>
                  <a:cubicBezTo>
                    <a:pt x="41110" y="37925"/>
                    <a:pt x="41320" y="38105"/>
                    <a:pt x="41260" y="38256"/>
                  </a:cubicBezTo>
                  <a:cubicBezTo>
                    <a:pt x="41230" y="38406"/>
                    <a:pt x="41080" y="38466"/>
                    <a:pt x="41200" y="38587"/>
                  </a:cubicBezTo>
                  <a:cubicBezTo>
                    <a:pt x="41239" y="38626"/>
                    <a:pt x="41312" y="38643"/>
                    <a:pt x="41399" y="38643"/>
                  </a:cubicBezTo>
                  <a:cubicBezTo>
                    <a:pt x="41580" y="38643"/>
                    <a:pt x="41820" y="38568"/>
                    <a:pt x="41922" y="38466"/>
                  </a:cubicBezTo>
                  <a:cubicBezTo>
                    <a:pt x="41956" y="38433"/>
                    <a:pt x="41990" y="38419"/>
                    <a:pt x="42022" y="38419"/>
                  </a:cubicBezTo>
                  <a:cubicBezTo>
                    <a:pt x="42133" y="38419"/>
                    <a:pt x="42223" y="38584"/>
                    <a:pt x="42223" y="38677"/>
                  </a:cubicBezTo>
                  <a:cubicBezTo>
                    <a:pt x="42223" y="38736"/>
                    <a:pt x="42314" y="38809"/>
                    <a:pt x="42376" y="38809"/>
                  </a:cubicBezTo>
                  <a:cubicBezTo>
                    <a:pt x="42409" y="38809"/>
                    <a:pt x="42434" y="38789"/>
                    <a:pt x="42434" y="38737"/>
                  </a:cubicBezTo>
                  <a:cubicBezTo>
                    <a:pt x="42434" y="38679"/>
                    <a:pt x="42479" y="38657"/>
                    <a:pt x="42540" y="38657"/>
                  </a:cubicBezTo>
                  <a:cubicBezTo>
                    <a:pt x="42635" y="38657"/>
                    <a:pt x="42770" y="38712"/>
                    <a:pt x="42825" y="38767"/>
                  </a:cubicBezTo>
                  <a:cubicBezTo>
                    <a:pt x="42840" y="38797"/>
                    <a:pt x="42871" y="38806"/>
                    <a:pt x="42909" y="38806"/>
                  </a:cubicBezTo>
                  <a:cubicBezTo>
                    <a:pt x="42982" y="38806"/>
                    <a:pt x="43083" y="38771"/>
                    <a:pt x="43148" y="38771"/>
                  </a:cubicBezTo>
                  <a:cubicBezTo>
                    <a:pt x="43189" y="38771"/>
                    <a:pt x="43216" y="38784"/>
                    <a:pt x="43216" y="38828"/>
                  </a:cubicBezTo>
                  <a:cubicBezTo>
                    <a:pt x="43216" y="38978"/>
                    <a:pt x="42735" y="39159"/>
                    <a:pt x="42976" y="39339"/>
                  </a:cubicBezTo>
                  <a:cubicBezTo>
                    <a:pt x="43016" y="39374"/>
                    <a:pt x="43051" y="39387"/>
                    <a:pt x="43085" y="39387"/>
                  </a:cubicBezTo>
                  <a:cubicBezTo>
                    <a:pt x="43213" y="39387"/>
                    <a:pt x="43305" y="39182"/>
                    <a:pt x="43467" y="39182"/>
                  </a:cubicBezTo>
                  <a:cubicBezTo>
                    <a:pt x="43483" y="39182"/>
                    <a:pt x="43500" y="39184"/>
                    <a:pt x="43517" y="39189"/>
                  </a:cubicBezTo>
                  <a:cubicBezTo>
                    <a:pt x="43545" y="39198"/>
                    <a:pt x="43574" y="39202"/>
                    <a:pt x="43604" y="39202"/>
                  </a:cubicBezTo>
                  <a:cubicBezTo>
                    <a:pt x="43867" y="39202"/>
                    <a:pt x="44201" y="38885"/>
                    <a:pt x="44390" y="38858"/>
                  </a:cubicBezTo>
                  <a:cubicBezTo>
                    <a:pt x="44631" y="38737"/>
                    <a:pt x="44871" y="38617"/>
                    <a:pt x="45112" y="38436"/>
                  </a:cubicBezTo>
                  <a:cubicBezTo>
                    <a:pt x="45197" y="38388"/>
                    <a:pt x="45319" y="38369"/>
                    <a:pt x="45431" y="38369"/>
                  </a:cubicBezTo>
                  <a:cubicBezTo>
                    <a:pt x="45597" y="38369"/>
                    <a:pt x="45738" y="38412"/>
                    <a:pt x="45684" y="38466"/>
                  </a:cubicBezTo>
                  <a:cubicBezTo>
                    <a:pt x="45564" y="38587"/>
                    <a:pt x="45383" y="38888"/>
                    <a:pt x="45895" y="39068"/>
                  </a:cubicBezTo>
                  <a:cubicBezTo>
                    <a:pt x="46436" y="39279"/>
                    <a:pt x="46978" y="40332"/>
                    <a:pt x="47339" y="40814"/>
                  </a:cubicBezTo>
                  <a:cubicBezTo>
                    <a:pt x="47670" y="41295"/>
                    <a:pt x="48001" y="42228"/>
                    <a:pt x="48152" y="42228"/>
                  </a:cubicBezTo>
                  <a:cubicBezTo>
                    <a:pt x="48302" y="42228"/>
                    <a:pt x="48393" y="41777"/>
                    <a:pt x="48603" y="41717"/>
                  </a:cubicBezTo>
                  <a:cubicBezTo>
                    <a:pt x="48623" y="41709"/>
                    <a:pt x="48642" y="41706"/>
                    <a:pt x="48660" y="41706"/>
                  </a:cubicBezTo>
                  <a:cubicBezTo>
                    <a:pt x="48869" y="41706"/>
                    <a:pt x="49014" y="42140"/>
                    <a:pt x="49235" y="42168"/>
                  </a:cubicBezTo>
                  <a:cubicBezTo>
                    <a:pt x="49462" y="42193"/>
                    <a:pt x="49709" y="42303"/>
                    <a:pt x="49890" y="42303"/>
                  </a:cubicBezTo>
                  <a:cubicBezTo>
                    <a:pt x="49925" y="42303"/>
                    <a:pt x="49958" y="42298"/>
                    <a:pt x="49988" y="42289"/>
                  </a:cubicBezTo>
                  <a:cubicBezTo>
                    <a:pt x="50173" y="42209"/>
                    <a:pt x="50543" y="42037"/>
                    <a:pt x="50733" y="42037"/>
                  </a:cubicBezTo>
                  <a:cubicBezTo>
                    <a:pt x="50759" y="42037"/>
                    <a:pt x="50782" y="42040"/>
                    <a:pt x="50800" y="42048"/>
                  </a:cubicBezTo>
                  <a:cubicBezTo>
                    <a:pt x="50951" y="42138"/>
                    <a:pt x="51161" y="42168"/>
                    <a:pt x="51312" y="42469"/>
                  </a:cubicBezTo>
                  <a:cubicBezTo>
                    <a:pt x="51462" y="42770"/>
                    <a:pt x="51643" y="42890"/>
                    <a:pt x="51793" y="42890"/>
                  </a:cubicBezTo>
                  <a:cubicBezTo>
                    <a:pt x="51944" y="42890"/>
                    <a:pt x="51944" y="43041"/>
                    <a:pt x="51944" y="43191"/>
                  </a:cubicBezTo>
                  <a:cubicBezTo>
                    <a:pt x="51944" y="43342"/>
                    <a:pt x="52215" y="43522"/>
                    <a:pt x="52365" y="43522"/>
                  </a:cubicBezTo>
                  <a:cubicBezTo>
                    <a:pt x="52576" y="43522"/>
                    <a:pt x="52786" y="43492"/>
                    <a:pt x="52997" y="43402"/>
                  </a:cubicBezTo>
                  <a:cubicBezTo>
                    <a:pt x="53069" y="43366"/>
                    <a:pt x="53151" y="43320"/>
                    <a:pt x="53206" y="43320"/>
                  </a:cubicBezTo>
                  <a:cubicBezTo>
                    <a:pt x="53243" y="43320"/>
                    <a:pt x="53268" y="43341"/>
                    <a:pt x="53268" y="43402"/>
                  </a:cubicBezTo>
                  <a:cubicBezTo>
                    <a:pt x="53268" y="43552"/>
                    <a:pt x="53509" y="43853"/>
                    <a:pt x="53659" y="43853"/>
                  </a:cubicBezTo>
                  <a:cubicBezTo>
                    <a:pt x="53759" y="43853"/>
                    <a:pt x="53900" y="43907"/>
                    <a:pt x="54000" y="43907"/>
                  </a:cubicBezTo>
                  <a:cubicBezTo>
                    <a:pt x="54050" y="43907"/>
                    <a:pt x="54091" y="43894"/>
                    <a:pt x="54111" y="43853"/>
                  </a:cubicBezTo>
                  <a:cubicBezTo>
                    <a:pt x="54141" y="43733"/>
                    <a:pt x="54502" y="43673"/>
                    <a:pt x="54622" y="43643"/>
                  </a:cubicBezTo>
                  <a:cubicBezTo>
                    <a:pt x="54743" y="43583"/>
                    <a:pt x="55254" y="43522"/>
                    <a:pt x="55375" y="43282"/>
                  </a:cubicBezTo>
                  <a:cubicBezTo>
                    <a:pt x="55495" y="43071"/>
                    <a:pt x="55856" y="43101"/>
                    <a:pt x="55976" y="42951"/>
                  </a:cubicBezTo>
                  <a:cubicBezTo>
                    <a:pt x="56097" y="42800"/>
                    <a:pt x="56428" y="42740"/>
                    <a:pt x="56518" y="42620"/>
                  </a:cubicBezTo>
                  <a:cubicBezTo>
                    <a:pt x="56578" y="42499"/>
                    <a:pt x="57000" y="42469"/>
                    <a:pt x="57030" y="42349"/>
                  </a:cubicBezTo>
                  <a:cubicBezTo>
                    <a:pt x="57047" y="42278"/>
                    <a:pt x="57179" y="42249"/>
                    <a:pt x="57321" y="42249"/>
                  </a:cubicBezTo>
                  <a:cubicBezTo>
                    <a:pt x="57421" y="42249"/>
                    <a:pt x="57527" y="42264"/>
                    <a:pt x="57602" y="42289"/>
                  </a:cubicBezTo>
                  <a:lnTo>
                    <a:pt x="58685" y="42469"/>
                  </a:lnTo>
                  <a:cubicBezTo>
                    <a:pt x="58689" y="42468"/>
                    <a:pt x="58693" y="42468"/>
                    <a:pt x="58696" y="42468"/>
                  </a:cubicBezTo>
                  <a:cubicBezTo>
                    <a:pt x="58807" y="42468"/>
                    <a:pt x="58839" y="42891"/>
                    <a:pt x="58956" y="42920"/>
                  </a:cubicBezTo>
                  <a:cubicBezTo>
                    <a:pt x="59065" y="42948"/>
                    <a:pt x="59399" y="43199"/>
                    <a:pt x="59549" y="43199"/>
                  </a:cubicBezTo>
                  <a:cubicBezTo>
                    <a:pt x="59564" y="43199"/>
                    <a:pt x="59577" y="43197"/>
                    <a:pt x="59588" y="43191"/>
                  </a:cubicBezTo>
                  <a:cubicBezTo>
                    <a:pt x="59701" y="43097"/>
                    <a:pt x="59837" y="43050"/>
                    <a:pt x="59975" y="43050"/>
                  </a:cubicBezTo>
                  <a:cubicBezTo>
                    <a:pt x="60058" y="43050"/>
                    <a:pt x="60141" y="43067"/>
                    <a:pt x="60220" y="43101"/>
                  </a:cubicBezTo>
                  <a:cubicBezTo>
                    <a:pt x="60397" y="43212"/>
                    <a:pt x="60590" y="43338"/>
                    <a:pt x="60703" y="43338"/>
                  </a:cubicBezTo>
                  <a:cubicBezTo>
                    <a:pt x="60745" y="43338"/>
                    <a:pt x="60776" y="43322"/>
                    <a:pt x="60792" y="43282"/>
                  </a:cubicBezTo>
                  <a:cubicBezTo>
                    <a:pt x="60882" y="43131"/>
                    <a:pt x="61394" y="43041"/>
                    <a:pt x="61424" y="42951"/>
                  </a:cubicBezTo>
                  <a:cubicBezTo>
                    <a:pt x="61484" y="42890"/>
                    <a:pt x="61574" y="42589"/>
                    <a:pt x="61484" y="42469"/>
                  </a:cubicBezTo>
                  <a:cubicBezTo>
                    <a:pt x="61333" y="42258"/>
                    <a:pt x="61243" y="42048"/>
                    <a:pt x="61213" y="41837"/>
                  </a:cubicBezTo>
                  <a:cubicBezTo>
                    <a:pt x="61123" y="41626"/>
                    <a:pt x="61484" y="41596"/>
                    <a:pt x="61514" y="41416"/>
                  </a:cubicBezTo>
                  <a:cubicBezTo>
                    <a:pt x="61544" y="41235"/>
                    <a:pt x="61845" y="41235"/>
                    <a:pt x="61965" y="41145"/>
                  </a:cubicBezTo>
                  <a:cubicBezTo>
                    <a:pt x="62079" y="41088"/>
                    <a:pt x="62085" y="40871"/>
                    <a:pt x="62211" y="40871"/>
                  </a:cubicBezTo>
                  <a:cubicBezTo>
                    <a:pt x="62219" y="40871"/>
                    <a:pt x="62227" y="40872"/>
                    <a:pt x="62236" y="40874"/>
                  </a:cubicBezTo>
                  <a:cubicBezTo>
                    <a:pt x="62417" y="40934"/>
                    <a:pt x="62627" y="40994"/>
                    <a:pt x="62838" y="41115"/>
                  </a:cubicBezTo>
                  <a:cubicBezTo>
                    <a:pt x="62868" y="41175"/>
                    <a:pt x="63139" y="41235"/>
                    <a:pt x="63320" y="41235"/>
                  </a:cubicBezTo>
                  <a:cubicBezTo>
                    <a:pt x="63530" y="41265"/>
                    <a:pt x="63711" y="41356"/>
                    <a:pt x="63891" y="41476"/>
                  </a:cubicBezTo>
                  <a:cubicBezTo>
                    <a:pt x="64072" y="41566"/>
                    <a:pt x="64553" y="41566"/>
                    <a:pt x="64674" y="41717"/>
                  </a:cubicBezTo>
                  <a:cubicBezTo>
                    <a:pt x="64794" y="41867"/>
                    <a:pt x="64644" y="42228"/>
                    <a:pt x="64734" y="42379"/>
                  </a:cubicBezTo>
                  <a:cubicBezTo>
                    <a:pt x="64844" y="42516"/>
                    <a:pt x="65103" y="42778"/>
                    <a:pt x="65217" y="42778"/>
                  </a:cubicBezTo>
                  <a:cubicBezTo>
                    <a:pt x="65228" y="42778"/>
                    <a:pt x="65238" y="42775"/>
                    <a:pt x="65246" y="42770"/>
                  </a:cubicBezTo>
                  <a:cubicBezTo>
                    <a:pt x="65253" y="42758"/>
                    <a:pt x="65269" y="42753"/>
                    <a:pt x="65289" y="42753"/>
                  </a:cubicBezTo>
                  <a:cubicBezTo>
                    <a:pt x="65426" y="42753"/>
                    <a:pt x="65807" y="42981"/>
                    <a:pt x="65938" y="42981"/>
                  </a:cubicBezTo>
                  <a:cubicBezTo>
                    <a:pt x="66088" y="42981"/>
                    <a:pt x="66359" y="42680"/>
                    <a:pt x="66510" y="42680"/>
                  </a:cubicBezTo>
                  <a:cubicBezTo>
                    <a:pt x="66750" y="42650"/>
                    <a:pt x="66991" y="42620"/>
                    <a:pt x="67232" y="42620"/>
                  </a:cubicBezTo>
                  <a:cubicBezTo>
                    <a:pt x="67371" y="42620"/>
                    <a:pt x="67817" y="42773"/>
                    <a:pt x="67933" y="42773"/>
                  </a:cubicBezTo>
                  <a:cubicBezTo>
                    <a:pt x="67942" y="42773"/>
                    <a:pt x="67950" y="42772"/>
                    <a:pt x="67954" y="42770"/>
                  </a:cubicBezTo>
                  <a:cubicBezTo>
                    <a:pt x="67990" y="42765"/>
                    <a:pt x="68026" y="42762"/>
                    <a:pt x="68063" y="42762"/>
                  </a:cubicBezTo>
                  <a:cubicBezTo>
                    <a:pt x="68237" y="42762"/>
                    <a:pt x="68412" y="42821"/>
                    <a:pt x="68586" y="42920"/>
                  </a:cubicBezTo>
                  <a:cubicBezTo>
                    <a:pt x="68646" y="43071"/>
                    <a:pt x="69218" y="43071"/>
                    <a:pt x="69218" y="43221"/>
                  </a:cubicBezTo>
                  <a:cubicBezTo>
                    <a:pt x="69218" y="43372"/>
                    <a:pt x="69549" y="43492"/>
                    <a:pt x="69639" y="43673"/>
                  </a:cubicBezTo>
                  <a:cubicBezTo>
                    <a:pt x="69700" y="43853"/>
                    <a:pt x="70512" y="43733"/>
                    <a:pt x="70663" y="43853"/>
                  </a:cubicBezTo>
                  <a:cubicBezTo>
                    <a:pt x="70738" y="43914"/>
                    <a:pt x="70986" y="43944"/>
                    <a:pt x="71223" y="43944"/>
                  </a:cubicBezTo>
                  <a:cubicBezTo>
                    <a:pt x="71460" y="43944"/>
                    <a:pt x="71686" y="43914"/>
                    <a:pt x="71716" y="43853"/>
                  </a:cubicBezTo>
                  <a:cubicBezTo>
                    <a:pt x="71746" y="43733"/>
                    <a:pt x="72559" y="43703"/>
                    <a:pt x="72709" y="43583"/>
                  </a:cubicBezTo>
                  <a:cubicBezTo>
                    <a:pt x="72860" y="43492"/>
                    <a:pt x="73371" y="43522"/>
                    <a:pt x="73371" y="43372"/>
                  </a:cubicBezTo>
                  <a:cubicBezTo>
                    <a:pt x="73371" y="43221"/>
                    <a:pt x="73823" y="43101"/>
                    <a:pt x="74003" y="42951"/>
                  </a:cubicBezTo>
                  <a:cubicBezTo>
                    <a:pt x="74085" y="42883"/>
                    <a:pt x="74282" y="42852"/>
                    <a:pt x="74477" y="42852"/>
                  </a:cubicBezTo>
                  <a:cubicBezTo>
                    <a:pt x="74715" y="42852"/>
                    <a:pt x="74950" y="42898"/>
                    <a:pt x="74966" y="42981"/>
                  </a:cubicBezTo>
                  <a:cubicBezTo>
                    <a:pt x="75010" y="43090"/>
                    <a:pt x="75259" y="43167"/>
                    <a:pt x="75462" y="43167"/>
                  </a:cubicBezTo>
                  <a:cubicBezTo>
                    <a:pt x="75539" y="43167"/>
                    <a:pt x="75609" y="43156"/>
                    <a:pt x="75658" y="43131"/>
                  </a:cubicBezTo>
                  <a:cubicBezTo>
                    <a:pt x="75715" y="43119"/>
                    <a:pt x="75772" y="43113"/>
                    <a:pt x="75827" y="43113"/>
                  </a:cubicBezTo>
                  <a:cubicBezTo>
                    <a:pt x="76040" y="43113"/>
                    <a:pt x="76244" y="43199"/>
                    <a:pt x="76411" y="43342"/>
                  </a:cubicBezTo>
                  <a:cubicBezTo>
                    <a:pt x="76576" y="43460"/>
                    <a:pt x="76798" y="43541"/>
                    <a:pt x="77017" y="43541"/>
                  </a:cubicBezTo>
                  <a:cubicBezTo>
                    <a:pt x="77076" y="43541"/>
                    <a:pt x="77135" y="43535"/>
                    <a:pt x="77193" y="43522"/>
                  </a:cubicBezTo>
                  <a:cubicBezTo>
                    <a:pt x="77434" y="43372"/>
                    <a:pt x="77675" y="43252"/>
                    <a:pt x="77946" y="43131"/>
                  </a:cubicBezTo>
                  <a:cubicBezTo>
                    <a:pt x="78096" y="43101"/>
                    <a:pt x="78337" y="42951"/>
                    <a:pt x="78277" y="42800"/>
                  </a:cubicBezTo>
                  <a:cubicBezTo>
                    <a:pt x="78247" y="42650"/>
                    <a:pt x="78638" y="42168"/>
                    <a:pt x="78668" y="41988"/>
                  </a:cubicBezTo>
                  <a:cubicBezTo>
                    <a:pt x="78758" y="41687"/>
                    <a:pt x="78939" y="41416"/>
                    <a:pt x="79149" y="41235"/>
                  </a:cubicBezTo>
                  <a:cubicBezTo>
                    <a:pt x="79270" y="41175"/>
                    <a:pt x="79541" y="40964"/>
                    <a:pt x="79480" y="40814"/>
                  </a:cubicBezTo>
                  <a:cubicBezTo>
                    <a:pt x="79450" y="40663"/>
                    <a:pt x="79420" y="40242"/>
                    <a:pt x="79270" y="40242"/>
                  </a:cubicBezTo>
                  <a:cubicBezTo>
                    <a:pt x="79252" y="40242"/>
                    <a:pt x="79233" y="40242"/>
                    <a:pt x="79214" y="40242"/>
                  </a:cubicBezTo>
                  <a:cubicBezTo>
                    <a:pt x="79070" y="40242"/>
                    <a:pt x="78914" y="40219"/>
                    <a:pt x="79180" y="39821"/>
                  </a:cubicBezTo>
                  <a:cubicBezTo>
                    <a:pt x="79405" y="39596"/>
                    <a:pt x="79713" y="39475"/>
                    <a:pt x="80018" y="39475"/>
                  </a:cubicBezTo>
                  <a:cubicBezTo>
                    <a:pt x="80080" y="39475"/>
                    <a:pt x="80142" y="39480"/>
                    <a:pt x="80203" y="39490"/>
                  </a:cubicBezTo>
                  <a:cubicBezTo>
                    <a:pt x="80455" y="39431"/>
                    <a:pt x="80708" y="39398"/>
                    <a:pt x="80961" y="39398"/>
                  </a:cubicBezTo>
                  <a:cubicBezTo>
                    <a:pt x="81099" y="39398"/>
                    <a:pt x="81238" y="39408"/>
                    <a:pt x="81376" y="39430"/>
                  </a:cubicBezTo>
                  <a:cubicBezTo>
                    <a:pt x="81466" y="39446"/>
                    <a:pt x="81544" y="39449"/>
                    <a:pt x="81619" y="39449"/>
                  </a:cubicBezTo>
                  <a:cubicBezTo>
                    <a:pt x="81665" y="39449"/>
                    <a:pt x="81709" y="39448"/>
                    <a:pt x="81754" y="39448"/>
                  </a:cubicBezTo>
                  <a:cubicBezTo>
                    <a:pt x="81905" y="39448"/>
                    <a:pt x="82059" y="39461"/>
                    <a:pt x="82279" y="39580"/>
                  </a:cubicBezTo>
                  <a:cubicBezTo>
                    <a:pt x="82640" y="39761"/>
                    <a:pt x="83092" y="39670"/>
                    <a:pt x="83212" y="39821"/>
                  </a:cubicBezTo>
                  <a:cubicBezTo>
                    <a:pt x="83333" y="39971"/>
                    <a:pt x="83814" y="40122"/>
                    <a:pt x="83754" y="40423"/>
                  </a:cubicBezTo>
                  <a:cubicBezTo>
                    <a:pt x="83664" y="40724"/>
                    <a:pt x="83995" y="40543"/>
                    <a:pt x="84115" y="41145"/>
                  </a:cubicBezTo>
                  <a:cubicBezTo>
                    <a:pt x="84235" y="41747"/>
                    <a:pt x="84536" y="41777"/>
                    <a:pt x="84567" y="42078"/>
                  </a:cubicBezTo>
                  <a:cubicBezTo>
                    <a:pt x="84597" y="42379"/>
                    <a:pt x="85018" y="42890"/>
                    <a:pt x="84988" y="43041"/>
                  </a:cubicBezTo>
                  <a:cubicBezTo>
                    <a:pt x="84958" y="43191"/>
                    <a:pt x="84867" y="43492"/>
                    <a:pt x="85289" y="43492"/>
                  </a:cubicBezTo>
                  <a:cubicBezTo>
                    <a:pt x="85692" y="43492"/>
                    <a:pt x="85930" y="43795"/>
                    <a:pt x="86055" y="43795"/>
                  </a:cubicBezTo>
                  <a:cubicBezTo>
                    <a:pt x="86061" y="43795"/>
                    <a:pt x="86066" y="43795"/>
                    <a:pt x="86071" y="43793"/>
                  </a:cubicBezTo>
                  <a:cubicBezTo>
                    <a:pt x="86089" y="43784"/>
                    <a:pt x="86115" y="43780"/>
                    <a:pt x="86145" y="43780"/>
                  </a:cubicBezTo>
                  <a:cubicBezTo>
                    <a:pt x="86321" y="43780"/>
                    <a:pt x="86674" y="43919"/>
                    <a:pt x="86854" y="44124"/>
                  </a:cubicBezTo>
                  <a:cubicBezTo>
                    <a:pt x="87094" y="44335"/>
                    <a:pt x="87426" y="44245"/>
                    <a:pt x="87426" y="44485"/>
                  </a:cubicBezTo>
                  <a:cubicBezTo>
                    <a:pt x="87426" y="44756"/>
                    <a:pt x="87606" y="44937"/>
                    <a:pt x="87576" y="45178"/>
                  </a:cubicBezTo>
                  <a:cubicBezTo>
                    <a:pt x="87549" y="45367"/>
                    <a:pt x="87934" y="45483"/>
                    <a:pt x="88253" y="45483"/>
                  </a:cubicBezTo>
                  <a:cubicBezTo>
                    <a:pt x="88289" y="45483"/>
                    <a:pt x="88325" y="45482"/>
                    <a:pt x="88358" y="45479"/>
                  </a:cubicBezTo>
                  <a:cubicBezTo>
                    <a:pt x="88395" y="45476"/>
                    <a:pt x="88429" y="45474"/>
                    <a:pt x="88462" y="45474"/>
                  </a:cubicBezTo>
                  <a:cubicBezTo>
                    <a:pt x="88595" y="45474"/>
                    <a:pt x="88705" y="45494"/>
                    <a:pt x="88795" y="45494"/>
                  </a:cubicBezTo>
                  <a:cubicBezTo>
                    <a:pt x="88908" y="45494"/>
                    <a:pt x="88990" y="45463"/>
                    <a:pt x="89051" y="45328"/>
                  </a:cubicBezTo>
                  <a:cubicBezTo>
                    <a:pt x="89171" y="45057"/>
                    <a:pt x="89653" y="45148"/>
                    <a:pt x="89833" y="45027"/>
                  </a:cubicBezTo>
                  <a:cubicBezTo>
                    <a:pt x="89921" y="44969"/>
                    <a:pt x="90073" y="44903"/>
                    <a:pt x="90206" y="44903"/>
                  </a:cubicBezTo>
                  <a:cubicBezTo>
                    <a:pt x="90346" y="44903"/>
                    <a:pt x="90465" y="44976"/>
                    <a:pt x="90465" y="45208"/>
                  </a:cubicBezTo>
                  <a:cubicBezTo>
                    <a:pt x="90465" y="45659"/>
                    <a:pt x="90706" y="45689"/>
                    <a:pt x="90465" y="45840"/>
                  </a:cubicBezTo>
                  <a:cubicBezTo>
                    <a:pt x="90254" y="45990"/>
                    <a:pt x="90134" y="46592"/>
                    <a:pt x="90074" y="46863"/>
                  </a:cubicBezTo>
                  <a:cubicBezTo>
                    <a:pt x="89984" y="47134"/>
                    <a:pt x="89653" y="47194"/>
                    <a:pt x="89622" y="47465"/>
                  </a:cubicBezTo>
                  <a:cubicBezTo>
                    <a:pt x="89562" y="47736"/>
                    <a:pt x="89231" y="47766"/>
                    <a:pt x="89231" y="48006"/>
                  </a:cubicBezTo>
                  <a:cubicBezTo>
                    <a:pt x="89231" y="48103"/>
                    <a:pt x="89130" y="48143"/>
                    <a:pt x="88997" y="48143"/>
                  </a:cubicBezTo>
                  <a:cubicBezTo>
                    <a:pt x="88840" y="48143"/>
                    <a:pt x="88639" y="48088"/>
                    <a:pt x="88509" y="48006"/>
                  </a:cubicBezTo>
                  <a:cubicBezTo>
                    <a:pt x="88479" y="47985"/>
                    <a:pt x="88448" y="47976"/>
                    <a:pt x="88417" y="47976"/>
                  </a:cubicBezTo>
                  <a:cubicBezTo>
                    <a:pt x="88231" y="47976"/>
                    <a:pt x="88032" y="48307"/>
                    <a:pt x="87877" y="48307"/>
                  </a:cubicBezTo>
                  <a:cubicBezTo>
                    <a:pt x="87696" y="48307"/>
                    <a:pt x="87696" y="48669"/>
                    <a:pt x="87726" y="48849"/>
                  </a:cubicBezTo>
                  <a:cubicBezTo>
                    <a:pt x="87757" y="49060"/>
                    <a:pt x="87696" y="49240"/>
                    <a:pt x="87817" y="49511"/>
                  </a:cubicBezTo>
                  <a:cubicBezTo>
                    <a:pt x="87907" y="49752"/>
                    <a:pt x="87817" y="49963"/>
                    <a:pt x="87847" y="50264"/>
                  </a:cubicBezTo>
                  <a:cubicBezTo>
                    <a:pt x="88057" y="50083"/>
                    <a:pt x="88268" y="49993"/>
                    <a:pt x="88509" y="49902"/>
                  </a:cubicBezTo>
                  <a:cubicBezTo>
                    <a:pt x="88780" y="49902"/>
                    <a:pt x="89081" y="50414"/>
                    <a:pt x="89412" y="50414"/>
                  </a:cubicBezTo>
                  <a:cubicBezTo>
                    <a:pt x="89773" y="50414"/>
                    <a:pt x="91217" y="49421"/>
                    <a:pt x="91217" y="49270"/>
                  </a:cubicBezTo>
                  <a:cubicBezTo>
                    <a:pt x="91639" y="48759"/>
                    <a:pt x="92090" y="48277"/>
                    <a:pt x="92542" y="47856"/>
                  </a:cubicBezTo>
                  <a:cubicBezTo>
                    <a:pt x="92993" y="47375"/>
                    <a:pt x="93384" y="46863"/>
                    <a:pt x="93715" y="46291"/>
                  </a:cubicBezTo>
                  <a:cubicBezTo>
                    <a:pt x="93956" y="45900"/>
                    <a:pt x="94227" y="45509"/>
                    <a:pt x="94528" y="45178"/>
                  </a:cubicBezTo>
                  <a:cubicBezTo>
                    <a:pt x="94739" y="44907"/>
                    <a:pt x="94889" y="44636"/>
                    <a:pt x="95039" y="44335"/>
                  </a:cubicBezTo>
                  <a:cubicBezTo>
                    <a:pt x="95280" y="43823"/>
                    <a:pt x="95280" y="42349"/>
                    <a:pt x="95371" y="42289"/>
                  </a:cubicBezTo>
                  <a:cubicBezTo>
                    <a:pt x="95431" y="42198"/>
                    <a:pt x="95401" y="41927"/>
                    <a:pt x="95521" y="41777"/>
                  </a:cubicBezTo>
                  <a:cubicBezTo>
                    <a:pt x="95641" y="41626"/>
                    <a:pt x="95581" y="41416"/>
                    <a:pt x="95822" y="41235"/>
                  </a:cubicBezTo>
                  <a:cubicBezTo>
                    <a:pt x="96003" y="41115"/>
                    <a:pt x="96033" y="40874"/>
                    <a:pt x="95942" y="40693"/>
                  </a:cubicBezTo>
                  <a:cubicBezTo>
                    <a:pt x="95882" y="40543"/>
                    <a:pt x="95972" y="40212"/>
                    <a:pt x="95882" y="40092"/>
                  </a:cubicBezTo>
                  <a:cubicBezTo>
                    <a:pt x="95822" y="39971"/>
                    <a:pt x="95852" y="39941"/>
                    <a:pt x="95972" y="39881"/>
                  </a:cubicBezTo>
                  <a:cubicBezTo>
                    <a:pt x="96093" y="39791"/>
                    <a:pt x="95882" y="39580"/>
                    <a:pt x="95702" y="39460"/>
                  </a:cubicBezTo>
                  <a:cubicBezTo>
                    <a:pt x="95521" y="39339"/>
                    <a:pt x="95250" y="39309"/>
                    <a:pt x="95220" y="39068"/>
                  </a:cubicBezTo>
                  <a:cubicBezTo>
                    <a:pt x="95100" y="38798"/>
                    <a:pt x="94859" y="38617"/>
                    <a:pt x="94588" y="38587"/>
                  </a:cubicBezTo>
                  <a:cubicBezTo>
                    <a:pt x="94565" y="38590"/>
                    <a:pt x="94540" y="38591"/>
                    <a:pt x="94513" y="38591"/>
                  </a:cubicBezTo>
                  <a:cubicBezTo>
                    <a:pt x="94357" y="38591"/>
                    <a:pt x="94147" y="38549"/>
                    <a:pt x="94017" y="38549"/>
                  </a:cubicBezTo>
                  <a:cubicBezTo>
                    <a:pt x="93936" y="38549"/>
                    <a:pt x="93885" y="38565"/>
                    <a:pt x="93896" y="38617"/>
                  </a:cubicBezTo>
                  <a:cubicBezTo>
                    <a:pt x="93923" y="38754"/>
                    <a:pt x="93901" y="38892"/>
                    <a:pt x="93782" y="38892"/>
                  </a:cubicBezTo>
                  <a:cubicBezTo>
                    <a:pt x="93771" y="38892"/>
                    <a:pt x="93759" y="38890"/>
                    <a:pt x="93745" y="38888"/>
                  </a:cubicBezTo>
                  <a:cubicBezTo>
                    <a:pt x="93730" y="38885"/>
                    <a:pt x="93716" y="38883"/>
                    <a:pt x="93703" y="38883"/>
                  </a:cubicBezTo>
                  <a:cubicBezTo>
                    <a:pt x="93588" y="38883"/>
                    <a:pt x="93549" y="39000"/>
                    <a:pt x="93414" y="39189"/>
                  </a:cubicBezTo>
                  <a:cubicBezTo>
                    <a:pt x="93334" y="39317"/>
                    <a:pt x="93144" y="39385"/>
                    <a:pt x="93024" y="39385"/>
                  </a:cubicBezTo>
                  <a:cubicBezTo>
                    <a:pt x="92918" y="39385"/>
                    <a:pt x="92866" y="39332"/>
                    <a:pt x="92993" y="39219"/>
                  </a:cubicBezTo>
                  <a:cubicBezTo>
                    <a:pt x="93264" y="39008"/>
                    <a:pt x="92873" y="39008"/>
                    <a:pt x="92963" y="38767"/>
                  </a:cubicBezTo>
                  <a:cubicBezTo>
                    <a:pt x="93011" y="38599"/>
                    <a:pt x="93117" y="38393"/>
                    <a:pt x="93035" y="38393"/>
                  </a:cubicBezTo>
                  <a:cubicBezTo>
                    <a:pt x="93014" y="38393"/>
                    <a:pt x="92981" y="38406"/>
                    <a:pt x="92933" y="38436"/>
                  </a:cubicBezTo>
                  <a:cubicBezTo>
                    <a:pt x="92662" y="38587"/>
                    <a:pt x="92662" y="38978"/>
                    <a:pt x="92421" y="39008"/>
                  </a:cubicBezTo>
                  <a:cubicBezTo>
                    <a:pt x="92416" y="39009"/>
                    <a:pt x="92412" y="39009"/>
                    <a:pt x="92407" y="39009"/>
                  </a:cubicBezTo>
                  <a:cubicBezTo>
                    <a:pt x="92213" y="39009"/>
                    <a:pt x="92272" y="38402"/>
                    <a:pt x="92331" y="38226"/>
                  </a:cubicBezTo>
                  <a:cubicBezTo>
                    <a:pt x="92342" y="38152"/>
                    <a:pt x="92296" y="38130"/>
                    <a:pt x="92211" y="38130"/>
                  </a:cubicBezTo>
                  <a:cubicBezTo>
                    <a:pt x="92086" y="38130"/>
                    <a:pt x="91876" y="38177"/>
                    <a:pt x="91628" y="38177"/>
                  </a:cubicBezTo>
                  <a:cubicBezTo>
                    <a:pt x="91564" y="38177"/>
                    <a:pt x="91497" y="38174"/>
                    <a:pt x="91428" y="38166"/>
                  </a:cubicBezTo>
                  <a:cubicBezTo>
                    <a:pt x="90886" y="38135"/>
                    <a:pt x="91067" y="37804"/>
                    <a:pt x="91458" y="37624"/>
                  </a:cubicBezTo>
                  <a:cubicBezTo>
                    <a:pt x="91819" y="37413"/>
                    <a:pt x="91789" y="37203"/>
                    <a:pt x="91970" y="37112"/>
                  </a:cubicBezTo>
                  <a:lnTo>
                    <a:pt x="92993" y="36510"/>
                  </a:lnTo>
                  <a:cubicBezTo>
                    <a:pt x="93204" y="36390"/>
                    <a:pt x="93384" y="36209"/>
                    <a:pt x="93444" y="35969"/>
                  </a:cubicBezTo>
                  <a:cubicBezTo>
                    <a:pt x="93535" y="35728"/>
                    <a:pt x="94076" y="35517"/>
                    <a:pt x="94588" y="35096"/>
                  </a:cubicBezTo>
                  <a:cubicBezTo>
                    <a:pt x="94919" y="34855"/>
                    <a:pt x="95220" y="34554"/>
                    <a:pt x="95431" y="34193"/>
                  </a:cubicBezTo>
                  <a:cubicBezTo>
                    <a:pt x="95551" y="33952"/>
                    <a:pt x="96303" y="33651"/>
                    <a:pt x="96334" y="33471"/>
                  </a:cubicBezTo>
                  <a:cubicBezTo>
                    <a:pt x="96394" y="33290"/>
                    <a:pt x="97206" y="32809"/>
                    <a:pt x="97808" y="32688"/>
                  </a:cubicBezTo>
                  <a:cubicBezTo>
                    <a:pt x="97959" y="32658"/>
                    <a:pt x="98130" y="32645"/>
                    <a:pt x="98305" y="32645"/>
                  </a:cubicBezTo>
                  <a:cubicBezTo>
                    <a:pt x="98831" y="32645"/>
                    <a:pt x="99396" y="32764"/>
                    <a:pt x="99554" y="32899"/>
                  </a:cubicBezTo>
                  <a:cubicBezTo>
                    <a:pt x="99625" y="32983"/>
                    <a:pt x="99688" y="33014"/>
                    <a:pt x="99742" y="33014"/>
                  </a:cubicBezTo>
                  <a:cubicBezTo>
                    <a:pt x="99825" y="33014"/>
                    <a:pt x="99890" y="32941"/>
                    <a:pt x="99945" y="32869"/>
                  </a:cubicBezTo>
                  <a:cubicBezTo>
                    <a:pt x="99990" y="32823"/>
                    <a:pt x="100053" y="32808"/>
                    <a:pt x="100133" y="32808"/>
                  </a:cubicBezTo>
                  <a:cubicBezTo>
                    <a:pt x="100264" y="32808"/>
                    <a:pt x="100442" y="32850"/>
                    <a:pt x="100667" y="32869"/>
                  </a:cubicBezTo>
                  <a:cubicBezTo>
                    <a:pt x="100694" y="32871"/>
                    <a:pt x="100719" y="32872"/>
                    <a:pt x="100742" y="32872"/>
                  </a:cubicBezTo>
                  <a:cubicBezTo>
                    <a:pt x="101027" y="32872"/>
                    <a:pt x="101138" y="32738"/>
                    <a:pt x="101345" y="32738"/>
                  </a:cubicBezTo>
                  <a:cubicBezTo>
                    <a:pt x="101377" y="32738"/>
                    <a:pt x="101412" y="32741"/>
                    <a:pt x="101450" y="32749"/>
                  </a:cubicBezTo>
                  <a:cubicBezTo>
                    <a:pt x="101577" y="32787"/>
                    <a:pt x="101688" y="32820"/>
                    <a:pt x="101786" y="32820"/>
                  </a:cubicBezTo>
                  <a:cubicBezTo>
                    <a:pt x="101918" y="32820"/>
                    <a:pt x="102025" y="32759"/>
                    <a:pt x="102112" y="32568"/>
                  </a:cubicBezTo>
                  <a:cubicBezTo>
                    <a:pt x="102192" y="32392"/>
                    <a:pt x="102451" y="32326"/>
                    <a:pt x="102703" y="32326"/>
                  </a:cubicBezTo>
                  <a:cubicBezTo>
                    <a:pt x="102924" y="32326"/>
                    <a:pt x="103141" y="32377"/>
                    <a:pt x="103225" y="32448"/>
                  </a:cubicBezTo>
                  <a:cubicBezTo>
                    <a:pt x="103347" y="32549"/>
                    <a:pt x="103441" y="32650"/>
                    <a:pt x="103573" y="32650"/>
                  </a:cubicBezTo>
                  <a:cubicBezTo>
                    <a:pt x="103637" y="32650"/>
                    <a:pt x="103709" y="32627"/>
                    <a:pt x="103797" y="32568"/>
                  </a:cubicBezTo>
                  <a:cubicBezTo>
                    <a:pt x="103845" y="32536"/>
                    <a:pt x="103885" y="32523"/>
                    <a:pt x="103920" y="32523"/>
                  </a:cubicBezTo>
                  <a:cubicBezTo>
                    <a:pt x="104086" y="32523"/>
                    <a:pt x="104146" y="32814"/>
                    <a:pt x="104369" y="32839"/>
                  </a:cubicBezTo>
                  <a:cubicBezTo>
                    <a:pt x="104597" y="32867"/>
                    <a:pt x="104447" y="33112"/>
                    <a:pt x="104251" y="33112"/>
                  </a:cubicBezTo>
                  <a:cubicBezTo>
                    <a:pt x="104240" y="33112"/>
                    <a:pt x="104229" y="33111"/>
                    <a:pt x="104218" y="33110"/>
                  </a:cubicBezTo>
                  <a:cubicBezTo>
                    <a:pt x="104181" y="33100"/>
                    <a:pt x="104142" y="33096"/>
                    <a:pt x="104105" y="33096"/>
                  </a:cubicBezTo>
                  <a:cubicBezTo>
                    <a:pt x="103898" y="33096"/>
                    <a:pt x="103719" y="33223"/>
                    <a:pt x="103948" y="33350"/>
                  </a:cubicBezTo>
                  <a:cubicBezTo>
                    <a:pt x="104003" y="33381"/>
                    <a:pt x="104061" y="33393"/>
                    <a:pt x="104119" y="33393"/>
                  </a:cubicBezTo>
                  <a:cubicBezTo>
                    <a:pt x="104322" y="33393"/>
                    <a:pt x="104536" y="33252"/>
                    <a:pt x="104698" y="33252"/>
                  </a:cubicBezTo>
                  <a:cubicBezTo>
                    <a:pt x="104720" y="33252"/>
                    <a:pt x="104741" y="33255"/>
                    <a:pt x="104760" y="33260"/>
                  </a:cubicBezTo>
                  <a:cubicBezTo>
                    <a:pt x="104812" y="33265"/>
                    <a:pt x="104862" y="33268"/>
                    <a:pt x="104913" y="33268"/>
                  </a:cubicBezTo>
                  <a:cubicBezTo>
                    <a:pt x="105154" y="33268"/>
                    <a:pt x="105378" y="33209"/>
                    <a:pt x="105603" y="33110"/>
                  </a:cubicBezTo>
                  <a:cubicBezTo>
                    <a:pt x="105667" y="33060"/>
                    <a:pt x="105721" y="33042"/>
                    <a:pt x="105769" y="33042"/>
                  </a:cubicBezTo>
                  <a:cubicBezTo>
                    <a:pt x="105887" y="33042"/>
                    <a:pt x="105967" y="33147"/>
                    <a:pt x="106070" y="33147"/>
                  </a:cubicBezTo>
                  <a:cubicBezTo>
                    <a:pt x="106102" y="33147"/>
                    <a:pt x="106136" y="33137"/>
                    <a:pt x="106175" y="33110"/>
                  </a:cubicBezTo>
                  <a:cubicBezTo>
                    <a:pt x="106358" y="32979"/>
                    <a:pt x="106610" y="32893"/>
                    <a:pt x="106851" y="32893"/>
                  </a:cubicBezTo>
                  <a:cubicBezTo>
                    <a:pt x="106887" y="32893"/>
                    <a:pt x="106922" y="32895"/>
                    <a:pt x="106957" y="32899"/>
                  </a:cubicBezTo>
                  <a:cubicBezTo>
                    <a:pt x="107168" y="32899"/>
                    <a:pt x="106987" y="32658"/>
                    <a:pt x="106656" y="32658"/>
                  </a:cubicBezTo>
                  <a:cubicBezTo>
                    <a:pt x="106325" y="32658"/>
                    <a:pt x="106325" y="32448"/>
                    <a:pt x="106566" y="31966"/>
                  </a:cubicBezTo>
                  <a:cubicBezTo>
                    <a:pt x="106837" y="31485"/>
                    <a:pt x="107408" y="31244"/>
                    <a:pt x="107739" y="30943"/>
                  </a:cubicBezTo>
                  <a:cubicBezTo>
                    <a:pt x="108071" y="30642"/>
                    <a:pt x="108341" y="30792"/>
                    <a:pt x="108341" y="30612"/>
                  </a:cubicBezTo>
                  <a:cubicBezTo>
                    <a:pt x="108341" y="30431"/>
                    <a:pt x="108492" y="29890"/>
                    <a:pt x="108763" y="29890"/>
                  </a:cubicBezTo>
                  <a:cubicBezTo>
                    <a:pt x="108898" y="29890"/>
                    <a:pt x="109124" y="29912"/>
                    <a:pt x="109368" y="29912"/>
                  </a:cubicBezTo>
                  <a:cubicBezTo>
                    <a:pt x="109613" y="29912"/>
                    <a:pt x="109876" y="29890"/>
                    <a:pt x="110087" y="29799"/>
                  </a:cubicBezTo>
                  <a:cubicBezTo>
                    <a:pt x="110174" y="29752"/>
                    <a:pt x="110239" y="29734"/>
                    <a:pt x="110289" y="29734"/>
                  </a:cubicBezTo>
                  <a:cubicBezTo>
                    <a:pt x="110463" y="29734"/>
                    <a:pt x="110458" y="29956"/>
                    <a:pt x="110598" y="29980"/>
                  </a:cubicBezTo>
                  <a:cubicBezTo>
                    <a:pt x="110606" y="29981"/>
                    <a:pt x="110613" y="29982"/>
                    <a:pt x="110620" y="29982"/>
                  </a:cubicBezTo>
                  <a:cubicBezTo>
                    <a:pt x="110764" y="29982"/>
                    <a:pt x="110925" y="29762"/>
                    <a:pt x="111074" y="29762"/>
                  </a:cubicBezTo>
                  <a:cubicBezTo>
                    <a:pt x="111107" y="29762"/>
                    <a:pt x="111139" y="29773"/>
                    <a:pt x="111170" y="29799"/>
                  </a:cubicBezTo>
                  <a:cubicBezTo>
                    <a:pt x="111351" y="29950"/>
                    <a:pt x="110869" y="30160"/>
                    <a:pt x="110779" y="30491"/>
                  </a:cubicBezTo>
                  <a:cubicBezTo>
                    <a:pt x="110719" y="30853"/>
                    <a:pt x="111020" y="30732"/>
                    <a:pt x="111200" y="30792"/>
                  </a:cubicBezTo>
                  <a:cubicBezTo>
                    <a:pt x="111381" y="30883"/>
                    <a:pt x="110990" y="31033"/>
                    <a:pt x="111020" y="31153"/>
                  </a:cubicBezTo>
                  <a:cubicBezTo>
                    <a:pt x="111028" y="31178"/>
                    <a:pt x="111065" y="31194"/>
                    <a:pt x="111125" y="31194"/>
                  </a:cubicBezTo>
                  <a:cubicBezTo>
                    <a:pt x="111284" y="31194"/>
                    <a:pt x="111603" y="31082"/>
                    <a:pt x="111953" y="30732"/>
                  </a:cubicBezTo>
                  <a:cubicBezTo>
                    <a:pt x="112381" y="30304"/>
                    <a:pt x="112833" y="30090"/>
                    <a:pt x="113160" y="30090"/>
                  </a:cubicBezTo>
                  <a:cubicBezTo>
                    <a:pt x="113201" y="30090"/>
                    <a:pt x="113240" y="30093"/>
                    <a:pt x="113277" y="30100"/>
                  </a:cubicBezTo>
                  <a:cubicBezTo>
                    <a:pt x="113291" y="30101"/>
                    <a:pt x="113304" y="30102"/>
                    <a:pt x="113316" y="30102"/>
                  </a:cubicBezTo>
                  <a:cubicBezTo>
                    <a:pt x="113593" y="30102"/>
                    <a:pt x="113427" y="29780"/>
                    <a:pt x="113427" y="29348"/>
                  </a:cubicBezTo>
                  <a:cubicBezTo>
                    <a:pt x="113427" y="28994"/>
                    <a:pt x="114075" y="28788"/>
                    <a:pt x="114514" y="28788"/>
                  </a:cubicBezTo>
                  <a:cubicBezTo>
                    <a:pt x="114635" y="28788"/>
                    <a:pt x="114740" y="28804"/>
                    <a:pt x="114812" y="28836"/>
                  </a:cubicBezTo>
                  <a:cubicBezTo>
                    <a:pt x="115083" y="28960"/>
                    <a:pt x="115112" y="29063"/>
                    <a:pt x="114931" y="29063"/>
                  </a:cubicBezTo>
                  <a:cubicBezTo>
                    <a:pt x="114891" y="29063"/>
                    <a:pt x="114841" y="29058"/>
                    <a:pt x="114782" y="29047"/>
                  </a:cubicBezTo>
                  <a:cubicBezTo>
                    <a:pt x="114739" y="29035"/>
                    <a:pt x="114697" y="29030"/>
                    <a:pt x="114656" y="29030"/>
                  </a:cubicBezTo>
                  <a:cubicBezTo>
                    <a:pt x="114385" y="29030"/>
                    <a:pt x="114180" y="29282"/>
                    <a:pt x="114180" y="29649"/>
                  </a:cubicBezTo>
                  <a:cubicBezTo>
                    <a:pt x="114180" y="30040"/>
                    <a:pt x="113909" y="30160"/>
                    <a:pt x="114059" y="30311"/>
                  </a:cubicBezTo>
                  <a:cubicBezTo>
                    <a:pt x="114210" y="30461"/>
                    <a:pt x="113849" y="30491"/>
                    <a:pt x="113849" y="30642"/>
                  </a:cubicBezTo>
                  <a:cubicBezTo>
                    <a:pt x="113849" y="30792"/>
                    <a:pt x="113849" y="30943"/>
                    <a:pt x="113608" y="31033"/>
                  </a:cubicBezTo>
                  <a:cubicBezTo>
                    <a:pt x="113397" y="31093"/>
                    <a:pt x="112555" y="31184"/>
                    <a:pt x="112555" y="31485"/>
                  </a:cubicBezTo>
                  <a:cubicBezTo>
                    <a:pt x="112555" y="31785"/>
                    <a:pt x="112103" y="31816"/>
                    <a:pt x="111923" y="32207"/>
                  </a:cubicBezTo>
                  <a:cubicBezTo>
                    <a:pt x="111742" y="32568"/>
                    <a:pt x="110930" y="32809"/>
                    <a:pt x="110448" y="33561"/>
                  </a:cubicBezTo>
                  <a:cubicBezTo>
                    <a:pt x="109967" y="34313"/>
                    <a:pt x="109124" y="34313"/>
                    <a:pt x="109124" y="34404"/>
                  </a:cubicBezTo>
                  <a:cubicBezTo>
                    <a:pt x="109124" y="34524"/>
                    <a:pt x="108612" y="34554"/>
                    <a:pt x="108432" y="34554"/>
                  </a:cubicBezTo>
                  <a:cubicBezTo>
                    <a:pt x="108221" y="34554"/>
                    <a:pt x="108582" y="35066"/>
                    <a:pt x="108161" y="35547"/>
                  </a:cubicBezTo>
                  <a:cubicBezTo>
                    <a:pt x="107679" y="36029"/>
                    <a:pt x="107408" y="36661"/>
                    <a:pt x="107408" y="37353"/>
                  </a:cubicBezTo>
                  <a:cubicBezTo>
                    <a:pt x="107439" y="38015"/>
                    <a:pt x="107619" y="39941"/>
                    <a:pt x="107860" y="40272"/>
                  </a:cubicBezTo>
                  <a:cubicBezTo>
                    <a:pt x="108071" y="40633"/>
                    <a:pt x="107920" y="41446"/>
                    <a:pt x="108071" y="41626"/>
                  </a:cubicBezTo>
                  <a:cubicBezTo>
                    <a:pt x="108221" y="41837"/>
                    <a:pt x="108191" y="42078"/>
                    <a:pt x="108311" y="42198"/>
                  </a:cubicBezTo>
                  <a:cubicBezTo>
                    <a:pt x="108323" y="42209"/>
                    <a:pt x="108336" y="42215"/>
                    <a:pt x="108352" y="42215"/>
                  </a:cubicBezTo>
                  <a:cubicBezTo>
                    <a:pt x="108504" y="42215"/>
                    <a:pt x="108851" y="41722"/>
                    <a:pt x="109124" y="41476"/>
                  </a:cubicBezTo>
                  <a:cubicBezTo>
                    <a:pt x="109425" y="41235"/>
                    <a:pt x="109335" y="41145"/>
                    <a:pt x="109545" y="41025"/>
                  </a:cubicBezTo>
                  <a:cubicBezTo>
                    <a:pt x="109786" y="40934"/>
                    <a:pt x="109666" y="40362"/>
                    <a:pt x="109696" y="40212"/>
                  </a:cubicBezTo>
                  <a:cubicBezTo>
                    <a:pt x="109726" y="40062"/>
                    <a:pt x="110117" y="40031"/>
                    <a:pt x="110267" y="39881"/>
                  </a:cubicBezTo>
                  <a:cubicBezTo>
                    <a:pt x="110418" y="39730"/>
                    <a:pt x="110689" y="39791"/>
                    <a:pt x="110839" y="39761"/>
                  </a:cubicBezTo>
                  <a:cubicBezTo>
                    <a:pt x="110990" y="39730"/>
                    <a:pt x="110839" y="39309"/>
                    <a:pt x="110749" y="39068"/>
                  </a:cubicBezTo>
                  <a:cubicBezTo>
                    <a:pt x="110689" y="38858"/>
                    <a:pt x="111230" y="38557"/>
                    <a:pt x="111501" y="38376"/>
                  </a:cubicBezTo>
                  <a:cubicBezTo>
                    <a:pt x="111586" y="38311"/>
                    <a:pt x="111679" y="38295"/>
                    <a:pt x="111778" y="38295"/>
                  </a:cubicBezTo>
                  <a:cubicBezTo>
                    <a:pt x="111872" y="38295"/>
                    <a:pt x="111972" y="38309"/>
                    <a:pt x="112075" y="38309"/>
                  </a:cubicBezTo>
                  <a:cubicBezTo>
                    <a:pt x="112211" y="38309"/>
                    <a:pt x="112353" y="38284"/>
                    <a:pt x="112494" y="38166"/>
                  </a:cubicBezTo>
                  <a:cubicBezTo>
                    <a:pt x="112826" y="37865"/>
                    <a:pt x="112434" y="37534"/>
                    <a:pt x="112344" y="37383"/>
                  </a:cubicBezTo>
                  <a:cubicBezTo>
                    <a:pt x="112224" y="37233"/>
                    <a:pt x="112645" y="36510"/>
                    <a:pt x="112886" y="36450"/>
                  </a:cubicBezTo>
                  <a:cubicBezTo>
                    <a:pt x="112927" y="36436"/>
                    <a:pt x="112965" y="36431"/>
                    <a:pt x="113000" y="36431"/>
                  </a:cubicBezTo>
                  <a:cubicBezTo>
                    <a:pt x="113127" y="36431"/>
                    <a:pt x="113220" y="36502"/>
                    <a:pt x="113319" y="36502"/>
                  </a:cubicBezTo>
                  <a:cubicBezTo>
                    <a:pt x="113371" y="36502"/>
                    <a:pt x="113425" y="36482"/>
                    <a:pt x="113488" y="36420"/>
                  </a:cubicBezTo>
                  <a:cubicBezTo>
                    <a:pt x="113718" y="36190"/>
                    <a:pt x="113314" y="35876"/>
                    <a:pt x="113147" y="35876"/>
                  </a:cubicBezTo>
                  <a:cubicBezTo>
                    <a:pt x="113140" y="35876"/>
                    <a:pt x="113133" y="35877"/>
                    <a:pt x="113126" y="35878"/>
                  </a:cubicBezTo>
                  <a:cubicBezTo>
                    <a:pt x="113123" y="35879"/>
                    <a:pt x="113120" y="35879"/>
                    <a:pt x="113116" y="35879"/>
                  </a:cubicBezTo>
                  <a:cubicBezTo>
                    <a:pt x="112972" y="35879"/>
                    <a:pt x="112895" y="35269"/>
                    <a:pt x="113277" y="34976"/>
                  </a:cubicBezTo>
                  <a:cubicBezTo>
                    <a:pt x="113638" y="34675"/>
                    <a:pt x="113548" y="34644"/>
                    <a:pt x="113277" y="34554"/>
                  </a:cubicBezTo>
                  <a:cubicBezTo>
                    <a:pt x="113223" y="34542"/>
                    <a:pt x="113178" y="34537"/>
                    <a:pt x="113140" y="34537"/>
                  </a:cubicBezTo>
                  <a:cubicBezTo>
                    <a:pt x="112986" y="34537"/>
                    <a:pt x="112928" y="34614"/>
                    <a:pt x="112735" y="34614"/>
                  </a:cubicBezTo>
                  <a:cubicBezTo>
                    <a:pt x="112525" y="34614"/>
                    <a:pt x="112374" y="34193"/>
                    <a:pt x="112675" y="33772"/>
                  </a:cubicBezTo>
                  <a:cubicBezTo>
                    <a:pt x="112976" y="33350"/>
                    <a:pt x="113277" y="33441"/>
                    <a:pt x="113337" y="33110"/>
                  </a:cubicBezTo>
                  <a:cubicBezTo>
                    <a:pt x="113488" y="32718"/>
                    <a:pt x="113698" y="32387"/>
                    <a:pt x="113939" y="32086"/>
                  </a:cubicBezTo>
                  <a:cubicBezTo>
                    <a:pt x="113970" y="32024"/>
                    <a:pt x="114044" y="32005"/>
                    <a:pt x="114133" y="32005"/>
                  </a:cubicBezTo>
                  <a:cubicBezTo>
                    <a:pt x="114283" y="32005"/>
                    <a:pt x="114477" y="32060"/>
                    <a:pt x="114590" y="32060"/>
                  </a:cubicBezTo>
                  <a:cubicBezTo>
                    <a:pt x="114605" y="32060"/>
                    <a:pt x="114619" y="32059"/>
                    <a:pt x="114631" y="32056"/>
                  </a:cubicBezTo>
                  <a:cubicBezTo>
                    <a:pt x="114642" y="32052"/>
                    <a:pt x="114652" y="32050"/>
                    <a:pt x="114661" y="32050"/>
                  </a:cubicBezTo>
                  <a:cubicBezTo>
                    <a:pt x="114754" y="32050"/>
                    <a:pt x="114765" y="32255"/>
                    <a:pt x="114849" y="32255"/>
                  </a:cubicBezTo>
                  <a:cubicBezTo>
                    <a:pt x="114871" y="32255"/>
                    <a:pt x="114898" y="32241"/>
                    <a:pt x="114932" y="32207"/>
                  </a:cubicBezTo>
                  <a:cubicBezTo>
                    <a:pt x="115113" y="31996"/>
                    <a:pt x="115444" y="31454"/>
                    <a:pt x="115715" y="31454"/>
                  </a:cubicBezTo>
                  <a:cubicBezTo>
                    <a:pt x="115985" y="31454"/>
                    <a:pt x="115835" y="31846"/>
                    <a:pt x="115895" y="32117"/>
                  </a:cubicBezTo>
                  <a:cubicBezTo>
                    <a:pt x="115918" y="32186"/>
                    <a:pt x="115943" y="32216"/>
                    <a:pt x="115977" y="32216"/>
                  </a:cubicBezTo>
                  <a:cubicBezTo>
                    <a:pt x="116073" y="32216"/>
                    <a:pt x="116237" y="31964"/>
                    <a:pt x="116617" y="31695"/>
                  </a:cubicBezTo>
                  <a:cubicBezTo>
                    <a:pt x="116998" y="31514"/>
                    <a:pt x="117401" y="31420"/>
                    <a:pt x="117805" y="31420"/>
                  </a:cubicBezTo>
                  <a:cubicBezTo>
                    <a:pt x="118072" y="31420"/>
                    <a:pt x="118340" y="31461"/>
                    <a:pt x="118604" y="31545"/>
                  </a:cubicBezTo>
                  <a:cubicBezTo>
                    <a:pt x="118952" y="31690"/>
                    <a:pt x="118992" y="32058"/>
                    <a:pt x="119156" y="32058"/>
                  </a:cubicBezTo>
                  <a:cubicBezTo>
                    <a:pt x="119162" y="32058"/>
                    <a:pt x="119169" y="32057"/>
                    <a:pt x="119176" y="32056"/>
                  </a:cubicBezTo>
                  <a:cubicBezTo>
                    <a:pt x="119356" y="31996"/>
                    <a:pt x="119266" y="31665"/>
                    <a:pt x="119507" y="31605"/>
                  </a:cubicBezTo>
                  <a:cubicBezTo>
                    <a:pt x="119928" y="31424"/>
                    <a:pt x="120319" y="31214"/>
                    <a:pt x="120680" y="30943"/>
                  </a:cubicBezTo>
                  <a:cubicBezTo>
                    <a:pt x="121011" y="30642"/>
                    <a:pt x="120951" y="30883"/>
                    <a:pt x="121132" y="30612"/>
                  </a:cubicBezTo>
                  <a:cubicBezTo>
                    <a:pt x="121312" y="30341"/>
                    <a:pt x="121553" y="30491"/>
                    <a:pt x="121583" y="30311"/>
                  </a:cubicBezTo>
                  <a:cubicBezTo>
                    <a:pt x="121613" y="30130"/>
                    <a:pt x="122185" y="29890"/>
                    <a:pt x="122937" y="29709"/>
                  </a:cubicBezTo>
                  <a:cubicBezTo>
                    <a:pt x="123690" y="29528"/>
                    <a:pt x="124623" y="29077"/>
                    <a:pt x="124562" y="28926"/>
                  </a:cubicBezTo>
                  <a:cubicBezTo>
                    <a:pt x="124505" y="28830"/>
                    <a:pt x="124643" y="28759"/>
                    <a:pt x="124759" y="28759"/>
                  </a:cubicBezTo>
                  <a:cubicBezTo>
                    <a:pt x="124825" y="28759"/>
                    <a:pt x="124883" y="28782"/>
                    <a:pt x="124894" y="28836"/>
                  </a:cubicBezTo>
                  <a:cubicBezTo>
                    <a:pt x="124924" y="28987"/>
                    <a:pt x="125194" y="28926"/>
                    <a:pt x="125616" y="29047"/>
                  </a:cubicBezTo>
                  <a:cubicBezTo>
                    <a:pt x="125834" y="29094"/>
                    <a:pt x="125964" y="29149"/>
                    <a:pt x="126088" y="29149"/>
                  </a:cubicBezTo>
                  <a:cubicBezTo>
                    <a:pt x="126204" y="29149"/>
                    <a:pt x="126315" y="29101"/>
                    <a:pt x="126489" y="28957"/>
                  </a:cubicBezTo>
                  <a:cubicBezTo>
                    <a:pt x="126820" y="28656"/>
                    <a:pt x="126428" y="28535"/>
                    <a:pt x="126428" y="28325"/>
                  </a:cubicBezTo>
                  <a:cubicBezTo>
                    <a:pt x="126428" y="28084"/>
                    <a:pt x="125917" y="27843"/>
                    <a:pt x="125977" y="27572"/>
                  </a:cubicBezTo>
                  <a:cubicBezTo>
                    <a:pt x="126058" y="27330"/>
                    <a:pt x="125680" y="26797"/>
                    <a:pt x="125492" y="26797"/>
                  </a:cubicBezTo>
                  <a:cubicBezTo>
                    <a:pt x="125470" y="26797"/>
                    <a:pt x="125451" y="26804"/>
                    <a:pt x="125435" y="26820"/>
                  </a:cubicBezTo>
                  <a:cubicBezTo>
                    <a:pt x="125405" y="26851"/>
                    <a:pt x="125368" y="26864"/>
                    <a:pt x="125328" y="26864"/>
                  </a:cubicBezTo>
                  <a:cubicBezTo>
                    <a:pt x="125175" y="26864"/>
                    <a:pt x="124984" y="26663"/>
                    <a:pt x="124984" y="26519"/>
                  </a:cubicBezTo>
                  <a:cubicBezTo>
                    <a:pt x="124984" y="26378"/>
                    <a:pt x="124947" y="26201"/>
                    <a:pt x="124831" y="26201"/>
                  </a:cubicBezTo>
                  <a:cubicBezTo>
                    <a:pt x="124798" y="26201"/>
                    <a:pt x="124759" y="26215"/>
                    <a:pt x="124713" y="26248"/>
                  </a:cubicBezTo>
                  <a:cubicBezTo>
                    <a:pt x="124641" y="26299"/>
                    <a:pt x="124558" y="26323"/>
                    <a:pt x="124476" y="26323"/>
                  </a:cubicBezTo>
                  <a:cubicBezTo>
                    <a:pt x="124318" y="26323"/>
                    <a:pt x="124160" y="26236"/>
                    <a:pt x="124081" y="26098"/>
                  </a:cubicBezTo>
                  <a:cubicBezTo>
                    <a:pt x="124014" y="25964"/>
                    <a:pt x="124259" y="25831"/>
                    <a:pt x="124550" y="25831"/>
                  </a:cubicBezTo>
                  <a:cubicBezTo>
                    <a:pt x="124653" y="25831"/>
                    <a:pt x="124761" y="25848"/>
                    <a:pt x="124863" y="25887"/>
                  </a:cubicBezTo>
                  <a:cubicBezTo>
                    <a:pt x="125225" y="26037"/>
                    <a:pt x="125074" y="26188"/>
                    <a:pt x="125285" y="26248"/>
                  </a:cubicBezTo>
                  <a:cubicBezTo>
                    <a:pt x="125410" y="26290"/>
                    <a:pt x="125549" y="26312"/>
                    <a:pt x="125692" y="26312"/>
                  </a:cubicBezTo>
                  <a:cubicBezTo>
                    <a:pt x="125856" y="26312"/>
                    <a:pt x="126026" y="26282"/>
                    <a:pt x="126188" y="26218"/>
                  </a:cubicBezTo>
                  <a:cubicBezTo>
                    <a:pt x="126398" y="26098"/>
                    <a:pt x="127121" y="25887"/>
                    <a:pt x="127241" y="25676"/>
                  </a:cubicBezTo>
                  <a:cubicBezTo>
                    <a:pt x="127331" y="25496"/>
                    <a:pt x="127181" y="25375"/>
                    <a:pt x="127452" y="25285"/>
                  </a:cubicBezTo>
                  <a:cubicBezTo>
                    <a:pt x="127722" y="25165"/>
                    <a:pt x="127482" y="24894"/>
                    <a:pt x="127301" y="24773"/>
                  </a:cubicBezTo>
                  <a:cubicBezTo>
                    <a:pt x="127121" y="24683"/>
                    <a:pt x="127151" y="24412"/>
                    <a:pt x="127391" y="24412"/>
                  </a:cubicBezTo>
                  <a:cubicBezTo>
                    <a:pt x="127602" y="24412"/>
                    <a:pt x="127542" y="24141"/>
                    <a:pt x="127632" y="24141"/>
                  </a:cubicBezTo>
                  <a:cubicBezTo>
                    <a:pt x="127712" y="24141"/>
                    <a:pt x="127779" y="24195"/>
                    <a:pt x="127877" y="24195"/>
                  </a:cubicBezTo>
                  <a:cubicBezTo>
                    <a:pt x="127926" y="24195"/>
                    <a:pt x="127983" y="24182"/>
                    <a:pt x="128053" y="24141"/>
                  </a:cubicBezTo>
                  <a:cubicBezTo>
                    <a:pt x="128091" y="24123"/>
                    <a:pt x="128118" y="24114"/>
                    <a:pt x="128136" y="24114"/>
                  </a:cubicBezTo>
                  <a:cubicBezTo>
                    <a:pt x="128231" y="24114"/>
                    <a:pt x="128069" y="24360"/>
                    <a:pt x="127993" y="24563"/>
                  </a:cubicBezTo>
                  <a:cubicBezTo>
                    <a:pt x="127873" y="24773"/>
                    <a:pt x="128204" y="24984"/>
                    <a:pt x="128234" y="25074"/>
                  </a:cubicBezTo>
                  <a:cubicBezTo>
                    <a:pt x="128272" y="25150"/>
                    <a:pt x="128475" y="25213"/>
                    <a:pt x="128695" y="25213"/>
                  </a:cubicBezTo>
                  <a:cubicBezTo>
                    <a:pt x="128827" y="25213"/>
                    <a:pt x="128964" y="25191"/>
                    <a:pt x="129077" y="25135"/>
                  </a:cubicBezTo>
                  <a:cubicBezTo>
                    <a:pt x="129130" y="25108"/>
                    <a:pt x="129200" y="25097"/>
                    <a:pt x="129280" y="25097"/>
                  </a:cubicBezTo>
                  <a:cubicBezTo>
                    <a:pt x="129659" y="25097"/>
                    <a:pt x="130261" y="25352"/>
                    <a:pt x="130311" y="25526"/>
                  </a:cubicBezTo>
                  <a:cubicBezTo>
                    <a:pt x="130401" y="25827"/>
                    <a:pt x="130581" y="26067"/>
                    <a:pt x="130882" y="26218"/>
                  </a:cubicBezTo>
                  <a:cubicBezTo>
                    <a:pt x="131244" y="26399"/>
                    <a:pt x="131605" y="26278"/>
                    <a:pt x="131665" y="26489"/>
                  </a:cubicBezTo>
                  <a:cubicBezTo>
                    <a:pt x="131714" y="26612"/>
                    <a:pt x="131844" y="26715"/>
                    <a:pt x="131989" y="26715"/>
                  </a:cubicBezTo>
                  <a:cubicBezTo>
                    <a:pt x="132021" y="26715"/>
                    <a:pt x="132054" y="26710"/>
                    <a:pt x="132086" y="26699"/>
                  </a:cubicBezTo>
                  <a:cubicBezTo>
                    <a:pt x="132101" y="26697"/>
                    <a:pt x="132115" y="26696"/>
                    <a:pt x="132128" y="26696"/>
                  </a:cubicBezTo>
                  <a:cubicBezTo>
                    <a:pt x="132260" y="26696"/>
                    <a:pt x="132356" y="26784"/>
                    <a:pt x="132451" y="26784"/>
                  </a:cubicBezTo>
                  <a:cubicBezTo>
                    <a:pt x="132489" y="26784"/>
                    <a:pt x="132527" y="26770"/>
                    <a:pt x="132568" y="26730"/>
                  </a:cubicBezTo>
                  <a:cubicBezTo>
                    <a:pt x="132607" y="26690"/>
                    <a:pt x="132642" y="26678"/>
                    <a:pt x="132675" y="26678"/>
                  </a:cubicBezTo>
                  <a:cubicBezTo>
                    <a:pt x="132738" y="26678"/>
                    <a:pt x="132795" y="26721"/>
                    <a:pt x="132864" y="26721"/>
                  </a:cubicBezTo>
                  <a:cubicBezTo>
                    <a:pt x="132901" y="26721"/>
                    <a:pt x="132942" y="26708"/>
                    <a:pt x="132989" y="26669"/>
                  </a:cubicBezTo>
                  <a:cubicBezTo>
                    <a:pt x="133170" y="26519"/>
                    <a:pt x="132568" y="26368"/>
                    <a:pt x="132658" y="26218"/>
                  </a:cubicBezTo>
                  <a:cubicBezTo>
                    <a:pt x="132671" y="26185"/>
                    <a:pt x="132687" y="26172"/>
                    <a:pt x="132706" y="26172"/>
                  </a:cubicBezTo>
                  <a:cubicBezTo>
                    <a:pt x="132773" y="26172"/>
                    <a:pt x="132878" y="26338"/>
                    <a:pt x="133019" y="26338"/>
                  </a:cubicBezTo>
                  <a:cubicBezTo>
                    <a:pt x="133200" y="26338"/>
                    <a:pt x="132989" y="25947"/>
                    <a:pt x="133109" y="25917"/>
                  </a:cubicBezTo>
                  <a:cubicBezTo>
                    <a:pt x="133200" y="25887"/>
                    <a:pt x="133139" y="25195"/>
                    <a:pt x="132989" y="25165"/>
                  </a:cubicBezTo>
                  <a:cubicBezTo>
                    <a:pt x="132876" y="25142"/>
                    <a:pt x="132933" y="24983"/>
                    <a:pt x="133084" y="24983"/>
                  </a:cubicBezTo>
                  <a:cubicBezTo>
                    <a:pt x="133134" y="24983"/>
                    <a:pt x="133193" y="25000"/>
                    <a:pt x="133260" y="25044"/>
                  </a:cubicBezTo>
                  <a:cubicBezTo>
                    <a:pt x="133461" y="25170"/>
                    <a:pt x="133703" y="25232"/>
                    <a:pt x="133952" y="25232"/>
                  </a:cubicBezTo>
                  <a:cubicBezTo>
                    <a:pt x="134002" y="25232"/>
                    <a:pt x="134052" y="25230"/>
                    <a:pt x="134103" y="25225"/>
                  </a:cubicBezTo>
                  <a:cubicBezTo>
                    <a:pt x="134343" y="25225"/>
                    <a:pt x="134163" y="25044"/>
                    <a:pt x="133922" y="25014"/>
                  </a:cubicBezTo>
                  <a:cubicBezTo>
                    <a:pt x="133759" y="24991"/>
                    <a:pt x="133866" y="24895"/>
                    <a:pt x="133993" y="24895"/>
                  </a:cubicBezTo>
                  <a:cubicBezTo>
                    <a:pt x="134030" y="24895"/>
                    <a:pt x="134069" y="24904"/>
                    <a:pt x="134103" y="24924"/>
                  </a:cubicBezTo>
                  <a:cubicBezTo>
                    <a:pt x="134203" y="25004"/>
                    <a:pt x="134357" y="25071"/>
                    <a:pt x="134457" y="25071"/>
                  </a:cubicBezTo>
                  <a:cubicBezTo>
                    <a:pt x="134507" y="25071"/>
                    <a:pt x="134544" y="25054"/>
                    <a:pt x="134554" y="25014"/>
                  </a:cubicBezTo>
                  <a:cubicBezTo>
                    <a:pt x="134614" y="24894"/>
                    <a:pt x="134704" y="24563"/>
                    <a:pt x="134945" y="24563"/>
                  </a:cubicBezTo>
                  <a:cubicBezTo>
                    <a:pt x="135156" y="24563"/>
                    <a:pt x="135276" y="24442"/>
                    <a:pt x="135066" y="24322"/>
                  </a:cubicBezTo>
                  <a:cubicBezTo>
                    <a:pt x="134614" y="24141"/>
                    <a:pt x="134223" y="23840"/>
                    <a:pt x="133892" y="23509"/>
                  </a:cubicBezTo>
                  <a:cubicBezTo>
                    <a:pt x="133759" y="23310"/>
                    <a:pt x="133233" y="23192"/>
                    <a:pt x="132966" y="23192"/>
                  </a:cubicBezTo>
                  <a:cubicBezTo>
                    <a:pt x="132871" y="23192"/>
                    <a:pt x="132808" y="23207"/>
                    <a:pt x="132808" y="23239"/>
                  </a:cubicBezTo>
                  <a:cubicBezTo>
                    <a:pt x="132808" y="23273"/>
                    <a:pt x="132784" y="23288"/>
                    <a:pt x="132747" y="23288"/>
                  </a:cubicBezTo>
                  <a:cubicBezTo>
                    <a:pt x="132654" y="23288"/>
                    <a:pt x="132482" y="23196"/>
                    <a:pt x="132417" y="23088"/>
                  </a:cubicBezTo>
                  <a:cubicBezTo>
                    <a:pt x="132368" y="23005"/>
                    <a:pt x="132064" y="22959"/>
                    <a:pt x="131800" y="22959"/>
                  </a:cubicBezTo>
                  <a:cubicBezTo>
                    <a:pt x="131583" y="22959"/>
                    <a:pt x="131394" y="22990"/>
                    <a:pt x="131394" y="23058"/>
                  </a:cubicBezTo>
                  <a:cubicBezTo>
                    <a:pt x="131394" y="23209"/>
                    <a:pt x="131635" y="23239"/>
                    <a:pt x="131785" y="23419"/>
                  </a:cubicBezTo>
                  <a:cubicBezTo>
                    <a:pt x="131936" y="23600"/>
                    <a:pt x="131575" y="23720"/>
                    <a:pt x="131635" y="23901"/>
                  </a:cubicBezTo>
                  <a:cubicBezTo>
                    <a:pt x="131642" y="23953"/>
                    <a:pt x="131626" y="23974"/>
                    <a:pt x="131594" y="23974"/>
                  </a:cubicBezTo>
                  <a:cubicBezTo>
                    <a:pt x="131499" y="23974"/>
                    <a:pt x="131267" y="23781"/>
                    <a:pt x="131153" y="23690"/>
                  </a:cubicBezTo>
                  <a:cubicBezTo>
                    <a:pt x="131003" y="23570"/>
                    <a:pt x="131063" y="23118"/>
                    <a:pt x="131093" y="22908"/>
                  </a:cubicBezTo>
                  <a:cubicBezTo>
                    <a:pt x="131153" y="22667"/>
                    <a:pt x="130822" y="22727"/>
                    <a:pt x="130792" y="22486"/>
                  </a:cubicBezTo>
                  <a:cubicBezTo>
                    <a:pt x="130762" y="22276"/>
                    <a:pt x="129709" y="21764"/>
                    <a:pt x="129257" y="21583"/>
                  </a:cubicBezTo>
                  <a:cubicBezTo>
                    <a:pt x="128806" y="21403"/>
                    <a:pt x="128234" y="21222"/>
                    <a:pt x="128084" y="20982"/>
                  </a:cubicBezTo>
                  <a:cubicBezTo>
                    <a:pt x="127933" y="20771"/>
                    <a:pt x="127151" y="20711"/>
                    <a:pt x="126850" y="20410"/>
                  </a:cubicBezTo>
                  <a:cubicBezTo>
                    <a:pt x="126549" y="20109"/>
                    <a:pt x="125194" y="19567"/>
                    <a:pt x="124623" y="19507"/>
                  </a:cubicBezTo>
                  <a:cubicBezTo>
                    <a:pt x="124104" y="19478"/>
                    <a:pt x="124165" y="19174"/>
                    <a:pt x="123960" y="19174"/>
                  </a:cubicBezTo>
                  <a:cubicBezTo>
                    <a:pt x="123951" y="19174"/>
                    <a:pt x="123941" y="19175"/>
                    <a:pt x="123930" y="19176"/>
                  </a:cubicBezTo>
                  <a:cubicBezTo>
                    <a:pt x="123669" y="19188"/>
                    <a:pt x="123407" y="19196"/>
                    <a:pt x="123145" y="19196"/>
                  </a:cubicBezTo>
                  <a:cubicBezTo>
                    <a:pt x="122775" y="19196"/>
                    <a:pt x="122405" y="19181"/>
                    <a:pt x="122035" y="19146"/>
                  </a:cubicBezTo>
                  <a:cubicBezTo>
                    <a:pt x="121986" y="19134"/>
                    <a:pt x="121943" y="19129"/>
                    <a:pt x="121904" y="19129"/>
                  </a:cubicBezTo>
                  <a:cubicBezTo>
                    <a:pt x="121686" y="19129"/>
                    <a:pt x="121581" y="19283"/>
                    <a:pt x="121412" y="19283"/>
                  </a:cubicBezTo>
                  <a:cubicBezTo>
                    <a:pt x="121381" y="19283"/>
                    <a:pt x="121348" y="19278"/>
                    <a:pt x="121312" y="19266"/>
                  </a:cubicBezTo>
                  <a:cubicBezTo>
                    <a:pt x="121109" y="19164"/>
                    <a:pt x="120067" y="18805"/>
                    <a:pt x="119640" y="18805"/>
                  </a:cubicBezTo>
                  <a:cubicBezTo>
                    <a:pt x="119562" y="18805"/>
                    <a:pt x="119504" y="18817"/>
                    <a:pt x="119476" y="18845"/>
                  </a:cubicBezTo>
                  <a:cubicBezTo>
                    <a:pt x="119296" y="19025"/>
                    <a:pt x="119416" y="19296"/>
                    <a:pt x="119266" y="19326"/>
                  </a:cubicBezTo>
                  <a:cubicBezTo>
                    <a:pt x="119115" y="19356"/>
                    <a:pt x="119266" y="19597"/>
                    <a:pt x="119627" y="19958"/>
                  </a:cubicBezTo>
                  <a:cubicBezTo>
                    <a:pt x="120018" y="20350"/>
                    <a:pt x="119777" y="20560"/>
                    <a:pt x="119446" y="20711"/>
                  </a:cubicBezTo>
                  <a:cubicBezTo>
                    <a:pt x="119357" y="20736"/>
                    <a:pt x="119267" y="20748"/>
                    <a:pt x="119178" y="20748"/>
                  </a:cubicBezTo>
                  <a:cubicBezTo>
                    <a:pt x="118845" y="20748"/>
                    <a:pt x="118529" y="20581"/>
                    <a:pt x="118363" y="20319"/>
                  </a:cubicBezTo>
                  <a:cubicBezTo>
                    <a:pt x="118152" y="20049"/>
                    <a:pt x="117671" y="20169"/>
                    <a:pt x="117550" y="19808"/>
                  </a:cubicBezTo>
                  <a:cubicBezTo>
                    <a:pt x="117493" y="19598"/>
                    <a:pt x="117569" y="19497"/>
                    <a:pt x="117693" y="19497"/>
                  </a:cubicBezTo>
                  <a:cubicBezTo>
                    <a:pt x="117765" y="19497"/>
                    <a:pt x="117853" y="19531"/>
                    <a:pt x="117942" y="19597"/>
                  </a:cubicBezTo>
                  <a:cubicBezTo>
                    <a:pt x="118005" y="19652"/>
                    <a:pt x="118080" y="19676"/>
                    <a:pt x="118154" y="19676"/>
                  </a:cubicBezTo>
                  <a:cubicBezTo>
                    <a:pt x="118327" y="19676"/>
                    <a:pt x="118501" y="19546"/>
                    <a:pt x="118544" y="19356"/>
                  </a:cubicBezTo>
                  <a:cubicBezTo>
                    <a:pt x="118544" y="19161"/>
                    <a:pt x="118001" y="18992"/>
                    <a:pt x="117610" y="18992"/>
                  </a:cubicBezTo>
                  <a:cubicBezTo>
                    <a:pt x="117579" y="18992"/>
                    <a:pt x="117549" y="18993"/>
                    <a:pt x="117520" y="18995"/>
                  </a:cubicBezTo>
                  <a:cubicBezTo>
                    <a:pt x="117159" y="19025"/>
                    <a:pt x="116948" y="19507"/>
                    <a:pt x="116587" y="19718"/>
                  </a:cubicBezTo>
                  <a:cubicBezTo>
                    <a:pt x="116495" y="19760"/>
                    <a:pt x="116347" y="19777"/>
                    <a:pt x="116172" y="19777"/>
                  </a:cubicBezTo>
                  <a:cubicBezTo>
                    <a:pt x="115601" y="19777"/>
                    <a:pt x="114746" y="19592"/>
                    <a:pt x="114631" y="19477"/>
                  </a:cubicBezTo>
                  <a:cubicBezTo>
                    <a:pt x="114587" y="19433"/>
                    <a:pt x="114380" y="19414"/>
                    <a:pt x="114105" y="19414"/>
                  </a:cubicBezTo>
                  <a:cubicBezTo>
                    <a:pt x="113439" y="19414"/>
                    <a:pt x="112373" y="19521"/>
                    <a:pt x="112224" y="19627"/>
                  </a:cubicBezTo>
                  <a:cubicBezTo>
                    <a:pt x="111983" y="19778"/>
                    <a:pt x="112194" y="20319"/>
                    <a:pt x="112073" y="20380"/>
                  </a:cubicBezTo>
                  <a:cubicBezTo>
                    <a:pt x="112068" y="20382"/>
                    <a:pt x="112063" y="20383"/>
                    <a:pt x="112058" y="20383"/>
                  </a:cubicBezTo>
                  <a:cubicBezTo>
                    <a:pt x="111943" y="20383"/>
                    <a:pt x="111832" y="19741"/>
                    <a:pt x="111832" y="19597"/>
                  </a:cubicBezTo>
                  <a:cubicBezTo>
                    <a:pt x="111832" y="19447"/>
                    <a:pt x="111622" y="19356"/>
                    <a:pt x="111230" y="19356"/>
                  </a:cubicBezTo>
                  <a:cubicBezTo>
                    <a:pt x="110869" y="19356"/>
                    <a:pt x="110689" y="19356"/>
                    <a:pt x="110839" y="19206"/>
                  </a:cubicBezTo>
                  <a:cubicBezTo>
                    <a:pt x="110990" y="19055"/>
                    <a:pt x="110689" y="18905"/>
                    <a:pt x="110990" y="18724"/>
                  </a:cubicBezTo>
                  <a:cubicBezTo>
                    <a:pt x="111261" y="18544"/>
                    <a:pt x="110448" y="17882"/>
                    <a:pt x="109666" y="17611"/>
                  </a:cubicBezTo>
                  <a:cubicBezTo>
                    <a:pt x="109335" y="17484"/>
                    <a:pt x="108832" y="17437"/>
                    <a:pt x="108328" y="17437"/>
                  </a:cubicBezTo>
                  <a:cubicBezTo>
                    <a:pt x="107639" y="17437"/>
                    <a:pt x="106947" y="17524"/>
                    <a:pt x="106686" y="17611"/>
                  </a:cubicBezTo>
                  <a:cubicBezTo>
                    <a:pt x="106212" y="17679"/>
                    <a:pt x="105738" y="17712"/>
                    <a:pt x="105277" y="17712"/>
                  </a:cubicBezTo>
                  <a:cubicBezTo>
                    <a:pt x="105123" y="17712"/>
                    <a:pt x="104971" y="17709"/>
                    <a:pt x="104820" y="17701"/>
                  </a:cubicBezTo>
                  <a:cubicBezTo>
                    <a:pt x="104399" y="17701"/>
                    <a:pt x="104730" y="17521"/>
                    <a:pt x="104610" y="17340"/>
                  </a:cubicBezTo>
                  <a:cubicBezTo>
                    <a:pt x="104540" y="17178"/>
                    <a:pt x="104042" y="16980"/>
                    <a:pt x="103776" y="16980"/>
                  </a:cubicBezTo>
                  <a:cubicBezTo>
                    <a:pt x="103696" y="16980"/>
                    <a:pt x="103637" y="16998"/>
                    <a:pt x="103617" y="17039"/>
                  </a:cubicBezTo>
                  <a:cubicBezTo>
                    <a:pt x="103580" y="17094"/>
                    <a:pt x="103538" y="17115"/>
                    <a:pt x="103497" y="17115"/>
                  </a:cubicBezTo>
                  <a:cubicBezTo>
                    <a:pt x="103403" y="17115"/>
                    <a:pt x="103316" y="17003"/>
                    <a:pt x="103316" y="16919"/>
                  </a:cubicBezTo>
                  <a:cubicBezTo>
                    <a:pt x="103316" y="16814"/>
                    <a:pt x="102765" y="16571"/>
                    <a:pt x="102445" y="16571"/>
                  </a:cubicBezTo>
                  <a:cubicBezTo>
                    <a:pt x="102399" y="16571"/>
                    <a:pt x="102357" y="16576"/>
                    <a:pt x="102322" y="16588"/>
                  </a:cubicBezTo>
                  <a:cubicBezTo>
                    <a:pt x="102300" y="16593"/>
                    <a:pt x="102278" y="16595"/>
                    <a:pt x="102257" y="16595"/>
                  </a:cubicBezTo>
                  <a:cubicBezTo>
                    <a:pt x="102030" y="16595"/>
                    <a:pt x="101929" y="16317"/>
                    <a:pt x="102232" y="16317"/>
                  </a:cubicBezTo>
                  <a:cubicBezTo>
                    <a:pt x="102346" y="16317"/>
                    <a:pt x="102475" y="16326"/>
                    <a:pt x="102592" y="16326"/>
                  </a:cubicBezTo>
                  <a:cubicBezTo>
                    <a:pt x="102844" y="16326"/>
                    <a:pt x="103038" y="16284"/>
                    <a:pt x="102894" y="16016"/>
                  </a:cubicBezTo>
                  <a:cubicBezTo>
                    <a:pt x="102693" y="15713"/>
                    <a:pt x="101160" y="15580"/>
                    <a:pt x="100562" y="15580"/>
                  </a:cubicBezTo>
                  <a:cubicBezTo>
                    <a:pt x="100446" y="15580"/>
                    <a:pt x="100365" y="15585"/>
                    <a:pt x="100336" y="15595"/>
                  </a:cubicBezTo>
                  <a:cubicBezTo>
                    <a:pt x="100156" y="15685"/>
                    <a:pt x="100336" y="15956"/>
                    <a:pt x="99885" y="16347"/>
                  </a:cubicBezTo>
                  <a:cubicBezTo>
                    <a:pt x="99711" y="16509"/>
                    <a:pt x="99537" y="16569"/>
                    <a:pt x="99391" y="16569"/>
                  </a:cubicBezTo>
                  <a:cubicBezTo>
                    <a:pt x="99157" y="16569"/>
                    <a:pt x="98993" y="16416"/>
                    <a:pt x="99012" y="16287"/>
                  </a:cubicBezTo>
                  <a:cubicBezTo>
                    <a:pt x="99042" y="16046"/>
                    <a:pt x="99644" y="16136"/>
                    <a:pt x="99644" y="15896"/>
                  </a:cubicBezTo>
                  <a:cubicBezTo>
                    <a:pt x="99644" y="15685"/>
                    <a:pt x="98862" y="15835"/>
                    <a:pt x="98741" y="15625"/>
                  </a:cubicBezTo>
                  <a:cubicBezTo>
                    <a:pt x="98670" y="15482"/>
                    <a:pt x="98806" y="15395"/>
                    <a:pt x="99014" y="15395"/>
                  </a:cubicBezTo>
                  <a:cubicBezTo>
                    <a:pt x="99070" y="15395"/>
                    <a:pt x="99130" y="15401"/>
                    <a:pt x="99193" y="15414"/>
                  </a:cubicBezTo>
                  <a:cubicBezTo>
                    <a:pt x="99372" y="15450"/>
                    <a:pt x="99604" y="15496"/>
                    <a:pt x="99776" y="15496"/>
                  </a:cubicBezTo>
                  <a:cubicBezTo>
                    <a:pt x="99892" y="15496"/>
                    <a:pt x="99981" y="15475"/>
                    <a:pt x="100005" y="15414"/>
                  </a:cubicBezTo>
                  <a:cubicBezTo>
                    <a:pt x="100035" y="15264"/>
                    <a:pt x="99704" y="15264"/>
                    <a:pt x="99253" y="15173"/>
                  </a:cubicBezTo>
                  <a:cubicBezTo>
                    <a:pt x="98500" y="15023"/>
                    <a:pt x="97778" y="14932"/>
                    <a:pt x="97026" y="14872"/>
                  </a:cubicBezTo>
                  <a:cubicBezTo>
                    <a:pt x="96947" y="14884"/>
                    <a:pt x="96874" y="14889"/>
                    <a:pt x="96806" y="14889"/>
                  </a:cubicBezTo>
                  <a:cubicBezTo>
                    <a:pt x="96352" y="14889"/>
                    <a:pt x="96110" y="14662"/>
                    <a:pt x="95822" y="14662"/>
                  </a:cubicBezTo>
                  <a:cubicBezTo>
                    <a:pt x="95491" y="14662"/>
                    <a:pt x="95521" y="14812"/>
                    <a:pt x="95671" y="14993"/>
                  </a:cubicBezTo>
                  <a:cubicBezTo>
                    <a:pt x="95806" y="15155"/>
                    <a:pt x="95433" y="15268"/>
                    <a:pt x="95072" y="15268"/>
                  </a:cubicBezTo>
                  <a:cubicBezTo>
                    <a:pt x="95031" y="15268"/>
                    <a:pt x="94990" y="15267"/>
                    <a:pt x="94949" y="15264"/>
                  </a:cubicBezTo>
                  <a:cubicBezTo>
                    <a:pt x="94929" y="15262"/>
                    <a:pt x="94907" y="15261"/>
                    <a:pt x="94886" y="15261"/>
                  </a:cubicBezTo>
                  <a:cubicBezTo>
                    <a:pt x="94525" y="15261"/>
                    <a:pt x="94028" y="15490"/>
                    <a:pt x="94227" y="15745"/>
                  </a:cubicBezTo>
                  <a:cubicBezTo>
                    <a:pt x="94299" y="15826"/>
                    <a:pt x="94368" y="15853"/>
                    <a:pt x="94435" y="15853"/>
                  </a:cubicBezTo>
                  <a:cubicBezTo>
                    <a:pt x="94574" y="15853"/>
                    <a:pt x="94705" y="15738"/>
                    <a:pt x="94834" y="15738"/>
                  </a:cubicBezTo>
                  <a:cubicBezTo>
                    <a:pt x="94853" y="15738"/>
                    <a:pt x="94871" y="15740"/>
                    <a:pt x="94889" y="15745"/>
                  </a:cubicBezTo>
                  <a:cubicBezTo>
                    <a:pt x="95070" y="15835"/>
                    <a:pt x="94377" y="16046"/>
                    <a:pt x="94648" y="16196"/>
                  </a:cubicBezTo>
                  <a:cubicBezTo>
                    <a:pt x="94919" y="16347"/>
                    <a:pt x="94889" y="16588"/>
                    <a:pt x="94919" y="16738"/>
                  </a:cubicBezTo>
                  <a:cubicBezTo>
                    <a:pt x="94935" y="16817"/>
                    <a:pt x="94803" y="16863"/>
                    <a:pt x="94643" y="16863"/>
                  </a:cubicBezTo>
                  <a:cubicBezTo>
                    <a:pt x="94497" y="16863"/>
                    <a:pt x="94328" y="16824"/>
                    <a:pt x="94227" y="16738"/>
                  </a:cubicBezTo>
                  <a:cubicBezTo>
                    <a:pt x="94153" y="16651"/>
                    <a:pt x="94073" y="16626"/>
                    <a:pt x="93984" y="16626"/>
                  </a:cubicBezTo>
                  <a:cubicBezTo>
                    <a:pt x="93858" y="16626"/>
                    <a:pt x="93712" y="16678"/>
                    <a:pt x="93535" y="16678"/>
                  </a:cubicBezTo>
                  <a:cubicBezTo>
                    <a:pt x="93234" y="16678"/>
                    <a:pt x="92933" y="16798"/>
                    <a:pt x="93294" y="16828"/>
                  </a:cubicBezTo>
                  <a:cubicBezTo>
                    <a:pt x="93685" y="16889"/>
                    <a:pt x="93745" y="17099"/>
                    <a:pt x="93294" y="17190"/>
                  </a:cubicBezTo>
                  <a:cubicBezTo>
                    <a:pt x="93269" y="17193"/>
                    <a:pt x="93245" y="17195"/>
                    <a:pt x="93223" y="17195"/>
                  </a:cubicBezTo>
                  <a:cubicBezTo>
                    <a:pt x="92873" y="17195"/>
                    <a:pt x="92911" y="16793"/>
                    <a:pt x="92704" y="16793"/>
                  </a:cubicBezTo>
                  <a:cubicBezTo>
                    <a:pt x="92691" y="16793"/>
                    <a:pt x="92677" y="16795"/>
                    <a:pt x="92662" y="16798"/>
                  </a:cubicBezTo>
                  <a:cubicBezTo>
                    <a:pt x="92627" y="16810"/>
                    <a:pt x="92585" y="16815"/>
                    <a:pt x="92539" y="16815"/>
                  </a:cubicBezTo>
                  <a:cubicBezTo>
                    <a:pt x="92231" y="16815"/>
                    <a:pt x="91716" y="16588"/>
                    <a:pt x="91428" y="16588"/>
                  </a:cubicBezTo>
                  <a:cubicBezTo>
                    <a:pt x="91067" y="16588"/>
                    <a:pt x="90977" y="16828"/>
                    <a:pt x="90525" y="16889"/>
                  </a:cubicBezTo>
                  <a:cubicBezTo>
                    <a:pt x="90074" y="16889"/>
                    <a:pt x="89622" y="16738"/>
                    <a:pt x="89321" y="16437"/>
                  </a:cubicBezTo>
                  <a:cubicBezTo>
                    <a:pt x="89237" y="16302"/>
                    <a:pt x="89171" y="16224"/>
                    <a:pt x="89098" y="16224"/>
                  </a:cubicBezTo>
                  <a:cubicBezTo>
                    <a:pt x="89041" y="16224"/>
                    <a:pt x="88979" y="16271"/>
                    <a:pt x="88900" y="16377"/>
                  </a:cubicBezTo>
                  <a:cubicBezTo>
                    <a:pt x="88720" y="16648"/>
                    <a:pt x="88659" y="17190"/>
                    <a:pt x="88449" y="17220"/>
                  </a:cubicBezTo>
                  <a:cubicBezTo>
                    <a:pt x="88208" y="17250"/>
                    <a:pt x="88148" y="17701"/>
                    <a:pt x="87967" y="17822"/>
                  </a:cubicBezTo>
                  <a:cubicBezTo>
                    <a:pt x="87932" y="17842"/>
                    <a:pt x="87901" y="17850"/>
                    <a:pt x="87874" y="17850"/>
                  </a:cubicBezTo>
                  <a:cubicBezTo>
                    <a:pt x="87747" y="17850"/>
                    <a:pt x="87688" y="17669"/>
                    <a:pt x="87493" y="17669"/>
                  </a:cubicBezTo>
                  <a:cubicBezTo>
                    <a:pt x="87481" y="17669"/>
                    <a:pt x="87469" y="17670"/>
                    <a:pt x="87456" y="17671"/>
                  </a:cubicBezTo>
                  <a:cubicBezTo>
                    <a:pt x="87452" y="17672"/>
                    <a:pt x="87447" y="17672"/>
                    <a:pt x="87443" y="17672"/>
                  </a:cubicBezTo>
                  <a:cubicBezTo>
                    <a:pt x="87185" y="17672"/>
                    <a:pt x="86311" y="16825"/>
                    <a:pt x="86252" y="16618"/>
                  </a:cubicBezTo>
                  <a:cubicBezTo>
                    <a:pt x="86222" y="16377"/>
                    <a:pt x="85710" y="15896"/>
                    <a:pt x="85560" y="15775"/>
                  </a:cubicBezTo>
                  <a:cubicBezTo>
                    <a:pt x="85494" y="15736"/>
                    <a:pt x="85514" y="15714"/>
                    <a:pt x="85571" y="15714"/>
                  </a:cubicBezTo>
                  <a:cubicBezTo>
                    <a:pt x="85643" y="15714"/>
                    <a:pt x="85776" y="15751"/>
                    <a:pt x="85861" y="15835"/>
                  </a:cubicBezTo>
                  <a:cubicBezTo>
                    <a:pt x="85945" y="15903"/>
                    <a:pt x="86058" y="15942"/>
                    <a:pt x="86178" y="15942"/>
                  </a:cubicBezTo>
                  <a:cubicBezTo>
                    <a:pt x="86272" y="15942"/>
                    <a:pt x="86370" y="15918"/>
                    <a:pt x="86462" y="15865"/>
                  </a:cubicBezTo>
                  <a:cubicBezTo>
                    <a:pt x="86613" y="15775"/>
                    <a:pt x="86613" y="15324"/>
                    <a:pt x="86312" y="15324"/>
                  </a:cubicBezTo>
                  <a:cubicBezTo>
                    <a:pt x="86011" y="15324"/>
                    <a:pt x="86101" y="15083"/>
                    <a:pt x="86252" y="14993"/>
                  </a:cubicBezTo>
                  <a:cubicBezTo>
                    <a:pt x="86402" y="14932"/>
                    <a:pt x="85891" y="14511"/>
                    <a:pt x="86071" y="14481"/>
                  </a:cubicBezTo>
                  <a:cubicBezTo>
                    <a:pt x="86252" y="14421"/>
                    <a:pt x="86192" y="14210"/>
                    <a:pt x="85921" y="14180"/>
                  </a:cubicBezTo>
                  <a:cubicBezTo>
                    <a:pt x="85650" y="14150"/>
                    <a:pt x="85409" y="13939"/>
                    <a:pt x="85409" y="13789"/>
                  </a:cubicBezTo>
                  <a:cubicBezTo>
                    <a:pt x="85409" y="13720"/>
                    <a:pt x="85176" y="13683"/>
                    <a:pt x="84928" y="13683"/>
                  </a:cubicBezTo>
                  <a:cubicBezTo>
                    <a:pt x="84635" y="13683"/>
                    <a:pt x="84323" y="13735"/>
                    <a:pt x="84356" y="13849"/>
                  </a:cubicBezTo>
                  <a:cubicBezTo>
                    <a:pt x="84368" y="13920"/>
                    <a:pt x="84314" y="13949"/>
                    <a:pt x="84249" y="13949"/>
                  </a:cubicBezTo>
                  <a:cubicBezTo>
                    <a:pt x="84148" y="13949"/>
                    <a:pt x="84018" y="13880"/>
                    <a:pt x="84055" y="13789"/>
                  </a:cubicBezTo>
                  <a:cubicBezTo>
                    <a:pt x="84085" y="13638"/>
                    <a:pt x="83664" y="13699"/>
                    <a:pt x="83152" y="13578"/>
                  </a:cubicBezTo>
                  <a:cubicBezTo>
                    <a:pt x="82610" y="13458"/>
                    <a:pt x="82610" y="13037"/>
                    <a:pt x="82430" y="13037"/>
                  </a:cubicBezTo>
                  <a:cubicBezTo>
                    <a:pt x="82265" y="13037"/>
                    <a:pt x="82301" y="13439"/>
                    <a:pt x="82101" y="13439"/>
                  </a:cubicBezTo>
                  <a:cubicBezTo>
                    <a:pt x="82083" y="13439"/>
                    <a:pt x="82062" y="13435"/>
                    <a:pt x="82039" y="13428"/>
                  </a:cubicBezTo>
                  <a:cubicBezTo>
                    <a:pt x="82003" y="13415"/>
                    <a:pt x="81968" y="13408"/>
                    <a:pt x="81934" y="13408"/>
                  </a:cubicBezTo>
                  <a:cubicBezTo>
                    <a:pt x="81735" y="13408"/>
                    <a:pt x="81575" y="13618"/>
                    <a:pt x="81677" y="13849"/>
                  </a:cubicBezTo>
                  <a:cubicBezTo>
                    <a:pt x="81828" y="14120"/>
                    <a:pt x="81677" y="14180"/>
                    <a:pt x="81677" y="14451"/>
                  </a:cubicBezTo>
                  <a:cubicBezTo>
                    <a:pt x="81677" y="14547"/>
                    <a:pt x="81649" y="14581"/>
                    <a:pt x="81595" y="14581"/>
                  </a:cubicBezTo>
                  <a:cubicBezTo>
                    <a:pt x="81514" y="14581"/>
                    <a:pt x="81376" y="14505"/>
                    <a:pt x="81196" y="14451"/>
                  </a:cubicBezTo>
                  <a:cubicBezTo>
                    <a:pt x="81152" y="14433"/>
                    <a:pt x="81114" y="14426"/>
                    <a:pt x="81079" y="14426"/>
                  </a:cubicBezTo>
                  <a:cubicBezTo>
                    <a:pt x="80922" y="14426"/>
                    <a:pt x="80837" y="14579"/>
                    <a:pt x="80529" y="14579"/>
                  </a:cubicBezTo>
                  <a:cubicBezTo>
                    <a:pt x="80447" y="14579"/>
                    <a:pt x="80351" y="14568"/>
                    <a:pt x="80233" y="14541"/>
                  </a:cubicBezTo>
                  <a:cubicBezTo>
                    <a:pt x="79601" y="14391"/>
                    <a:pt x="79270" y="14541"/>
                    <a:pt x="79149" y="14361"/>
                  </a:cubicBezTo>
                  <a:cubicBezTo>
                    <a:pt x="79075" y="14249"/>
                    <a:pt x="78978" y="14172"/>
                    <a:pt x="78907" y="14172"/>
                  </a:cubicBezTo>
                  <a:cubicBezTo>
                    <a:pt x="78863" y="14172"/>
                    <a:pt x="78830" y="14201"/>
                    <a:pt x="78818" y="14270"/>
                  </a:cubicBezTo>
                  <a:cubicBezTo>
                    <a:pt x="78807" y="14350"/>
                    <a:pt x="78658" y="14387"/>
                    <a:pt x="78473" y="14387"/>
                  </a:cubicBezTo>
                  <a:cubicBezTo>
                    <a:pt x="78170" y="14387"/>
                    <a:pt x="77772" y="14288"/>
                    <a:pt x="77735" y="14120"/>
                  </a:cubicBezTo>
                  <a:cubicBezTo>
                    <a:pt x="77645" y="13879"/>
                    <a:pt x="77885" y="13849"/>
                    <a:pt x="78036" y="13759"/>
                  </a:cubicBezTo>
                  <a:cubicBezTo>
                    <a:pt x="78166" y="13681"/>
                    <a:pt x="77958" y="13602"/>
                    <a:pt x="77528" y="13602"/>
                  </a:cubicBezTo>
                  <a:cubicBezTo>
                    <a:pt x="77462" y="13602"/>
                    <a:pt x="77390" y="13604"/>
                    <a:pt x="77314" y="13608"/>
                  </a:cubicBezTo>
                  <a:cubicBezTo>
                    <a:pt x="77286" y="13610"/>
                    <a:pt x="77260" y="13610"/>
                    <a:pt x="77233" y="13610"/>
                  </a:cubicBezTo>
                  <a:cubicBezTo>
                    <a:pt x="76736" y="13610"/>
                    <a:pt x="76418" y="13365"/>
                    <a:pt x="75945" y="13365"/>
                  </a:cubicBezTo>
                  <a:cubicBezTo>
                    <a:pt x="75920" y="13365"/>
                    <a:pt x="75895" y="13366"/>
                    <a:pt x="75869" y="13368"/>
                  </a:cubicBezTo>
                  <a:cubicBezTo>
                    <a:pt x="75357" y="13428"/>
                    <a:pt x="74033" y="13578"/>
                    <a:pt x="73883" y="13638"/>
                  </a:cubicBezTo>
                  <a:cubicBezTo>
                    <a:pt x="73732" y="13729"/>
                    <a:pt x="74033" y="14060"/>
                    <a:pt x="73762" y="14090"/>
                  </a:cubicBezTo>
                  <a:cubicBezTo>
                    <a:pt x="73751" y="14093"/>
                    <a:pt x="73740" y="14094"/>
                    <a:pt x="73730" y="14094"/>
                  </a:cubicBezTo>
                  <a:cubicBezTo>
                    <a:pt x="73539" y="14094"/>
                    <a:pt x="73698" y="13565"/>
                    <a:pt x="73612" y="13307"/>
                  </a:cubicBezTo>
                  <a:cubicBezTo>
                    <a:pt x="73577" y="13149"/>
                    <a:pt x="73429" y="13073"/>
                    <a:pt x="73330" y="13073"/>
                  </a:cubicBezTo>
                  <a:cubicBezTo>
                    <a:pt x="73259" y="13073"/>
                    <a:pt x="73213" y="13112"/>
                    <a:pt x="73251" y="13187"/>
                  </a:cubicBezTo>
                  <a:cubicBezTo>
                    <a:pt x="73290" y="13326"/>
                    <a:pt x="73004" y="13412"/>
                    <a:pt x="72744" y="13412"/>
                  </a:cubicBezTo>
                  <a:cubicBezTo>
                    <a:pt x="72608" y="13412"/>
                    <a:pt x="72480" y="13389"/>
                    <a:pt x="72408" y="13337"/>
                  </a:cubicBezTo>
                  <a:cubicBezTo>
                    <a:pt x="72167" y="13127"/>
                    <a:pt x="71836" y="12946"/>
                    <a:pt x="71505" y="12856"/>
                  </a:cubicBezTo>
                  <a:cubicBezTo>
                    <a:pt x="71459" y="12843"/>
                    <a:pt x="71411" y="12838"/>
                    <a:pt x="71363" y="12838"/>
                  </a:cubicBezTo>
                  <a:cubicBezTo>
                    <a:pt x="70948" y="12838"/>
                    <a:pt x="70522" y="13263"/>
                    <a:pt x="70603" y="13398"/>
                  </a:cubicBezTo>
                  <a:cubicBezTo>
                    <a:pt x="70655" y="13463"/>
                    <a:pt x="70759" y="13477"/>
                    <a:pt x="70860" y="13477"/>
                  </a:cubicBezTo>
                  <a:cubicBezTo>
                    <a:pt x="70935" y="13477"/>
                    <a:pt x="71009" y="13470"/>
                    <a:pt x="71057" y="13470"/>
                  </a:cubicBezTo>
                  <a:cubicBezTo>
                    <a:pt x="71092" y="13470"/>
                    <a:pt x="71114" y="13474"/>
                    <a:pt x="71114" y="13488"/>
                  </a:cubicBezTo>
                  <a:cubicBezTo>
                    <a:pt x="71114" y="13578"/>
                    <a:pt x="70121" y="13608"/>
                    <a:pt x="70121" y="13789"/>
                  </a:cubicBezTo>
                  <a:cubicBezTo>
                    <a:pt x="70121" y="13969"/>
                    <a:pt x="69188" y="14180"/>
                    <a:pt x="68917" y="14210"/>
                  </a:cubicBezTo>
                  <a:cubicBezTo>
                    <a:pt x="68646" y="14240"/>
                    <a:pt x="67984" y="14300"/>
                    <a:pt x="67593" y="14632"/>
                  </a:cubicBezTo>
                  <a:cubicBezTo>
                    <a:pt x="67521" y="14697"/>
                    <a:pt x="67475" y="14725"/>
                    <a:pt x="67451" y="14725"/>
                  </a:cubicBezTo>
                  <a:cubicBezTo>
                    <a:pt x="67352" y="14725"/>
                    <a:pt x="67593" y="14277"/>
                    <a:pt x="67834" y="14060"/>
                  </a:cubicBezTo>
                  <a:cubicBezTo>
                    <a:pt x="68135" y="13789"/>
                    <a:pt x="68406" y="13909"/>
                    <a:pt x="68556" y="13699"/>
                  </a:cubicBezTo>
                  <a:cubicBezTo>
                    <a:pt x="68707" y="13458"/>
                    <a:pt x="69007" y="13458"/>
                    <a:pt x="69399" y="13398"/>
                  </a:cubicBezTo>
                  <a:cubicBezTo>
                    <a:pt x="69820" y="13307"/>
                    <a:pt x="69850" y="13097"/>
                    <a:pt x="70061" y="12976"/>
                  </a:cubicBezTo>
                  <a:cubicBezTo>
                    <a:pt x="70362" y="12886"/>
                    <a:pt x="70633" y="12705"/>
                    <a:pt x="70873" y="12495"/>
                  </a:cubicBezTo>
                  <a:cubicBezTo>
                    <a:pt x="70964" y="12254"/>
                    <a:pt x="72017" y="11923"/>
                    <a:pt x="72228" y="11923"/>
                  </a:cubicBezTo>
                  <a:cubicBezTo>
                    <a:pt x="72468" y="11923"/>
                    <a:pt x="72498" y="11502"/>
                    <a:pt x="72619" y="11502"/>
                  </a:cubicBezTo>
                  <a:cubicBezTo>
                    <a:pt x="72950" y="11411"/>
                    <a:pt x="73251" y="11261"/>
                    <a:pt x="73582" y="11141"/>
                  </a:cubicBezTo>
                  <a:cubicBezTo>
                    <a:pt x="73762" y="11020"/>
                    <a:pt x="73913" y="10840"/>
                    <a:pt x="73913" y="10629"/>
                  </a:cubicBezTo>
                  <a:cubicBezTo>
                    <a:pt x="73973" y="10478"/>
                    <a:pt x="73612" y="10539"/>
                    <a:pt x="73582" y="10388"/>
                  </a:cubicBezTo>
                  <a:cubicBezTo>
                    <a:pt x="73552" y="10208"/>
                    <a:pt x="73732" y="10328"/>
                    <a:pt x="73973" y="10238"/>
                  </a:cubicBezTo>
                  <a:cubicBezTo>
                    <a:pt x="74165" y="10128"/>
                    <a:pt x="74007" y="9869"/>
                    <a:pt x="73819" y="9869"/>
                  </a:cubicBezTo>
                  <a:cubicBezTo>
                    <a:pt x="73800" y="9869"/>
                    <a:pt x="73781" y="9871"/>
                    <a:pt x="73762" y="9877"/>
                  </a:cubicBezTo>
                  <a:cubicBezTo>
                    <a:pt x="73738" y="9889"/>
                    <a:pt x="73722" y="9895"/>
                    <a:pt x="73713" y="9895"/>
                  </a:cubicBezTo>
                  <a:cubicBezTo>
                    <a:pt x="73655" y="9895"/>
                    <a:pt x="73858" y="9671"/>
                    <a:pt x="73702" y="9515"/>
                  </a:cubicBezTo>
                  <a:cubicBezTo>
                    <a:pt x="73656" y="9469"/>
                    <a:pt x="73597" y="9454"/>
                    <a:pt x="73536" y="9454"/>
                  </a:cubicBezTo>
                  <a:cubicBezTo>
                    <a:pt x="73437" y="9454"/>
                    <a:pt x="73334" y="9493"/>
                    <a:pt x="73272" y="9493"/>
                  </a:cubicBezTo>
                  <a:cubicBezTo>
                    <a:pt x="73225" y="9493"/>
                    <a:pt x="73202" y="9471"/>
                    <a:pt x="73221" y="9395"/>
                  </a:cubicBezTo>
                  <a:cubicBezTo>
                    <a:pt x="73221" y="9154"/>
                    <a:pt x="73161" y="8944"/>
                    <a:pt x="73010" y="8763"/>
                  </a:cubicBezTo>
                  <a:cubicBezTo>
                    <a:pt x="72994" y="8736"/>
                    <a:pt x="72972" y="8725"/>
                    <a:pt x="72944" y="8725"/>
                  </a:cubicBezTo>
                  <a:cubicBezTo>
                    <a:pt x="72852" y="8725"/>
                    <a:pt x="72703" y="8845"/>
                    <a:pt x="72532" y="8845"/>
                  </a:cubicBezTo>
                  <a:cubicBezTo>
                    <a:pt x="72473" y="8845"/>
                    <a:pt x="72411" y="8831"/>
                    <a:pt x="72348" y="8793"/>
                  </a:cubicBezTo>
                  <a:cubicBezTo>
                    <a:pt x="71987" y="8583"/>
                    <a:pt x="71596" y="8492"/>
                    <a:pt x="71174" y="8492"/>
                  </a:cubicBezTo>
                  <a:cubicBezTo>
                    <a:pt x="71174" y="8517"/>
                    <a:pt x="71156" y="8527"/>
                    <a:pt x="71127" y="8527"/>
                  </a:cubicBezTo>
                  <a:cubicBezTo>
                    <a:pt x="71038" y="8527"/>
                    <a:pt x="70847" y="8441"/>
                    <a:pt x="70748" y="8441"/>
                  </a:cubicBezTo>
                  <a:cubicBezTo>
                    <a:pt x="70722" y="8441"/>
                    <a:pt x="70703" y="8447"/>
                    <a:pt x="70693" y="8462"/>
                  </a:cubicBezTo>
                  <a:cubicBezTo>
                    <a:pt x="70640" y="8497"/>
                    <a:pt x="70391" y="8512"/>
                    <a:pt x="70145" y="8512"/>
                  </a:cubicBezTo>
                  <a:cubicBezTo>
                    <a:pt x="69971" y="8512"/>
                    <a:pt x="69799" y="8505"/>
                    <a:pt x="69700" y="8492"/>
                  </a:cubicBezTo>
                  <a:cubicBezTo>
                    <a:pt x="69664" y="8482"/>
                    <a:pt x="69627" y="8477"/>
                    <a:pt x="69590" y="8477"/>
                  </a:cubicBezTo>
                  <a:cubicBezTo>
                    <a:pt x="69413" y="8477"/>
                    <a:pt x="69243" y="8594"/>
                    <a:pt x="69218" y="8793"/>
                  </a:cubicBezTo>
                  <a:cubicBezTo>
                    <a:pt x="69202" y="8890"/>
                    <a:pt x="68951" y="8918"/>
                    <a:pt x="68699" y="8918"/>
                  </a:cubicBezTo>
                  <a:cubicBezTo>
                    <a:pt x="68482" y="8918"/>
                    <a:pt x="68265" y="8897"/>
                    <a:pt x="68195" y="8883"/>
                  </a:cubicBezTo>
                  <a:cubicBezTo>
                    <a:pt x="68044" y="8823"/>
                    <a:pt x="68797" y="8221"/>
                    <a:pt x="68797" y="8131"/>
                  </a:cubicBezTo>
                  <a:cubicBezTo>
                    <a:pt x="68797" y="8091"/>
                    <a:pt x="68660" y="8081"/>
                    <a:pt x="68475" y="8081"/>
                  </a:cubicBezTo>
                  <a:cubicBezTo>
                    <a:pt x="68290" y="8081"/>
                    <a:pt x="68057" y="8091"/>
                    <a:pt x="67865" y="8091"/>
                  </a:cubicBezTo>
                  <a:cubicBezTo>
                    <a:pt x="67673" y="8091"/>
                    <a:pt x="67523" y="8081"/>
                    <a:pt x="67503" y="8041"/>
                  </a:cubicBezTo>
                  <a:cubicBezTo>
                    <a:pt x="67412" y="7920"/>
                    <a:pt x="66811" y="7890"/>
                    <a:pt x="66540" y="7890"/>
                  </a:cubicBezTo>
                  <a:cubicBezTo>
                    <a:pt x="66299" y="7890"/>
                    <a:pt x="66540" y="7800"/>
                    <a:pt x="66780" y="7800"/>
                  </a:cubicBezTo>
                  <a:cubicBezTo>
                    <a:pt x="66991" y="7800"/>
                    <a:pt x="67262" y="7559"/>
                    <a:pt x="67533" y="7499"/>
                  </a:cubicBezTo>
                  <a:cubicBezTo>
                    <a:pt x="67804" y="7469"/>
                    <a:pt x="67744" y="7409"/>
                    <a:pt x="67593" y="7198"/>
                  </a:cubicBezTo>
                  <a:cubicBezTo>
                    <a:pt x="67443" y="7018"/>
                    <a:pt x="67232" y="7138"/>
                    <a:pt x="66961" y="7048"/>
                  </a:cubicBezTo>
                  <a:cubicBezTo>
                    <a:pt x="66690" y="6957"/>
                    <a:pt x="66419" y="6867"/>
                    <a:pt x="66148" y="6837"/>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26" name="Google Shape;3020;p123">
              <a:extLst>
                <a:ext uri="{FF2B5EF4-FFF2-40B4-BE49-F238E27FC236}">
                  <a16:creationId xmlns:a16="http://schemas.microsoft.com/office/drawing/2014/main" id="{776B5B28-0537-5746-AEA7-A85DBBC1575B}"/>
                </a:ext>
              </a:extLst>
            </p:cNvPr>
            <p:cNvSpPr/>
            <p:nvPr/>
          </p:nvSpPr>
          <p:spPr>
            <a:xfrm>
              <a:off x="4562761" y="3140994"/>
              <a:ext cx="451010" cy="465778"/>
            </a:xfrm>
            <a:custGeom>
              <a:avLst/>
              <a:gdLst/>
              <a:ahLst/>
              <a:cxnLst/>
              <a:rect l="l" t="t" r="r" b="b"/>
              <a:pathLst>
                <a:path w="14537" h="15013" extrusionOk="0">
                  <a:moveTo>
                    <a:pt x="10301" y="0"/>
                  </a:moveTo>
                  <a:cubicBezTo>
                    <a:pt x="10203" y="0"/>
                    <a:pt x="10122" y="29"/>
                    <a:pt x="10082" y="109"/>
                  </a:cubicBezTo>
                  <a:cubicBezTo>
                    <a:pt x="10014" y="245"/>
                    <a:pt x="9945" y="283"/>
                    <a:pt x="9860" y="283"/>
                  </a:cubicBezTo>
                  <a:cubicBezTo>
                    <a:pt x="9757" y="283"/>
                    <a:pt x="9631" y="229"/>
                    <a:pt x="9450" y="229"/>
                  </a:cubicBezTo>
                  <a:cubicBezTo>
                    <a:pt x="9149" y="259"/>
                    <a:pt x="8878" y="319"/>
                    <a:pt x="8637" y="440"/>
                  </a:cubicBezTo>
                  <a:cubicBezTo>
                    <a:pt x="8582" y="471"/>
                    <a:pt x="8521" y="482"/>
                    <a:pt x="8458" y="482"/>
                  </a:cubicBezTo>
                  <a:cubicBezTo>
                    <a:pt x="8316" y="482"/>
                    <a:pt x="8165" y="427"/>
                    <a:pt x="8053" y="427"/>
                  </a:cubicBezTo>
                  <a:cubicBezTo>
                    <a:pt x="8024" y="427"/>
                    <a:pt x="7998" y="431"/>
                    <a:pt x="7975" y="440"/>
                  </a:cubicBezTo>
                  <a:cubicBezTo>
                    <a:pt x="7885" y="620"/>
                    <a:pt x="7795" y="801"/>
                    <a:pt x="7765" y="1011"/>
                  </a:cubicBezTo>
                  <a:lnTo>
                    <a:pt x="6260" y="710"/>
                  </a:lnTo>
                  <a:cubicBezTo>
                    <a:pt x="6260" y="710"/>
                    <a:pt x="5959" y="259"/>
                    <a:pt x="5628" y="259"/>
                  </a:cubicBezTo>
                  <a:cubicBezTo>
                    <a:pt x="5267" y="259"/>
                    <a:pt x="4785" y="891"/>
                    <a:pt x="4785" y="891"/>
                  </a:cubicBezTo>
                  <a:lnTo>
                    <a:pt x="4785" y="1433"/>
                  </a:lnTo>
                  <a:cubicBezTo>
                    <a:pt x="4815" y="1704"/>
                    <a:pt x="4785" y="2005"/>
                    <a:pt x="4665" y="2245"/>
                  </a:cubicBezTo>
                  <a:cubicBezTo>
                    <a:pt x="4454" y="2486"/>
                    <a:pt x="4364" y="2787"/>
                    <a:pt x="4364" y="3088"/>
                  </a:cubicBezTo>
                  <a:cubicBezTo>
                    <a:pt x="4364" y="3569"/>
                    <a:pt x="3762" y="4352"/>
                    <a:pt x="3762" y="4743"/>
                  </a:cubicBezTo>
                  <a:cubicBezTo>
                    <a:pt x="3762" y="5104"/>
                    <a:pt x="3100" y="5375"/>
                    <a:pt x="3100" y="5646"/>
                  </a:cubicBezTo>
                  <a:cubicBezTo>
                    <a:pt x="3100" y="5917"/>
                    <a:pt x="3040" y="6398"/>
                    <a:pt x="3040" y="6970"/>
                  </a:cubicBezTo>
                  <a:cubicBezTo>
                    <a:pt x="3040" y="7512"/>
                    <a:pt x="2739" y="7030"/>
                    <a:pt x="2739" y="7512"/>
                  </a:cubicBezTo>
                  <a:cubicBezTo>
                    <a:pt x="2739" y="8023"/>
                    <a:pt x="2498" y="7753"/>
                    <a:pt x="2257" y="7963"/>
                  </a:cubicBezTo>
                  <a:cubicBezTo>
                    <a:pt x="2143" y="8094"/>
                    <a:pt x="2055" y="8172"/>
                    <a:pt x="1999" y="8172"/>
                  </a:cubicBezTo>
                  <a:cubicBezTo>
                    <a:pt x="1951" y="8172"/>
                    <a:pt x="1926" y="8117"/>
                    <a:pt x="1926" y="7993"/>
                  </a:cubicBezTo>
                  <a:cubicBezTo>
                    <a:pt x="1926" y="7869"/>
                    <a:pt x="1838" y="7809"/>
                    <a:pt x="1711" y="7809"/>
                  </a:cubicBezTo>
                  <a:cubicBezTo>
                    <a:pt x="1592" y="7809"/>
                    <a:pt x="1440" y="7861"/>
                    <a:pt x="1294" y="7963"/>
                  </a:cubicBezTo>
                  <a:cubicBezTo>
                    <a:pt x="1196" y="8042"/>
                    <a:pt x="1117" y="8069"/>
                    <a:pt x="1051" y="8069"/>
                  </a:cubicBezTo>
                  <a:cubicBezTo>
                    <a:pt x="915" y="8069"/>
                    <a:pt x="834" y="7953"/>
                    <a:pt x="753" y="7933"/>
                  </a:cubicBezTo>
                  <a:cubicBezTo>
                    <a:pt x="746" y="7931"/>
                    <a:pt x="738" y="7930"/>
                    <a:pt x="728" y="7930"/>
                  </a:cubicBezTo>
                  <a:cubicBezTo>
                    <a:pt x="610" y="7930"/>
                    <a:pt x="279" y="8101"/>
                    <a:pt x="0" y="8324"/>
                  </a:cubicBezTo>
                  <a:cubicBezTo>
                    <a:pt x="151" y="8595"/>
                    <a:pt x="241" y="8896"/>
                    <a:pt x="271" y="9227"/>
                  </a:cubicBezTo>
                  <a:cubicBezTo>
                    <a:pt x="301" y="9227"/>
                    <a:pt x="301" y="9257"/>
                    <a:pt x="301" y="9287"/>
                  </a:cubicBezTo>
                  <a:cubicBezTo>
                    <a:pt x="452" y="9167"/>
                    <a:pt x="602" y="9077"/>
                    <a:pt x="753" y="9017"/>
                  </a:cubicBezTo>
                  <a:lnTo>
                    <a:pt x="3311" y="9017"/>
                  </a:lnTo>
                  <a:cubicBezTo>
                    <a:pt x="3431" y="9227"/>
                    <a:pt x="3491" y="9468"/>
                    <a:pt x="3461" y="9709"/>
                  </a:cubicBezTo>
                  <a:cubicBezTo>
                    <a:pt x="3401" y="10010"/>
                    <a:pt x="3582" y="9889"/>
                    <a:pt x="3762" y="10311"/>
                  </a:cubicBezTo>
                  <a:cubicBezTo>
                    <a:pt x="3930" y="10646"/>
                    <a:pt x="4021" y="10829"/>
                    <a:pt x="4249" y="10829"/>
                  </a:cubicBezTo>
                  <a:cubicBezTo>
                    <a:pt x="4307" y="10829"/>
                    <a:pt x="4374" y="10817"/>
                    <a:pt x="4454" y="10792"/>
                  </a:cubicBezTo>
                  <a:cubicBezTo>
                    <a:pt x="4725" y="10672"/>
                    <a:pt x="5056" y="10642"/>
                    <a:pt x="5357" y="10642"/>
                  </a:cubicBezTo>
                  <a:cubicBezTo>
                    <a:pt x="5361" y="10642"/>
                    <a:pt x="5364" y="10643"/>
                    <a:pt x="5367" y="10643"/>
                  </a:cubicBezTo>
                  <a:cubicBezTo>
                    <a:pt x="5506" y="10643"/>
                    <a:pt x="5482" y="10037"/>
                    <a:pt x="5658" y="9919"/>
                  </a:cubicBezTo>
                  <a:cubicBezTo>
                    <a:pt x="5763" y="9904"/>
                    <a:pt x="5869" y="9897"/>
                    <a:pt x="5974" y="9897"/>
                  </a:cubicBezTo>
                  <a:cubicBezTo>
                    <a:pt x="6079" y="9897"/>
                    <a:pt x="6185" y="9904"/>
                    <a:pt x="6290" y="9919"/>
                  </a:cubicBezTo>
                  <a:cubicBezTo>
                    <a:pt x="6290" y="9919"/>
                    <a:pt x="6320" y="10130"/>
                    <a:pt x="6711" y="10130"/>
                  </a:cubicBezTo>
                  <a:cubicBezTo>
                    <a:pt x="6912" y="10130"/>
                    <a:pt x="7048" y="10084"/>
                    <a:pt x="7129" y="10084"/>
                  </a:cubicBezTo>
                  <a:cubicBezTo>
                    <a:pt x="7193" y="10084"/>
                    <a:pt x="7223" y="10113"/>
                    <a:pt x="7223" y="10220"/>
                  </a:cubicBezTo>
                  <a:cubicBezTo>
                    <a:pt x="7223" y="10491"/>
                    <a:pt x="7223" y="10762"/>
                    <a:pt x="7343" y="10882"/>
                  </a:cubicBezTo>
                  <a:cubicBezTo>
                    <a:pt x="7464" y="10973"/>
                    <a:pt x="7073" y="11845"/>
                    <a:pt x="7223" y="11996"/>
                  </a:cubicBezTo>
                  <a:cubicBezTo>
                    <a:pt x="7373" y="12146"/>
                    <a:pt x="7674" y="12447"/>
                    <a:pt x="7644" y="12598"/>
                  </a:cubicBezTo>
                  <a:cubicBezTo>
                    <a:pt x="7614" y="12748"/>
                    <a:pt x="7494" y="13200"/>
                    <a:pt x="7644" y="13230"/>
                  </a:cubicBezTo>
                  <a:cubicBezTo>
                    <a:pt x="7661" y="13237"/>
                    <a:pt x="7676" y="13240"/>
                    <a:pt x="7689" y="13240"/>
                  </a:cubicBezTo>
                  <a:cubicBezTo>
                    <a:pt x="7798" y="13240"/>
                    <a:pt x="7825" y="13049"/>
                    <a:pt x="8066" y="13049"/>
                  </a:cubicBezTo>
                  <a:cubicBezTo>
                    <a:pt x="8130" y="13057"/>
                    <a:pt x="8195" y="13061"/>
                    <a:pt x="8259" y="13061"/>
                  </a:cubicBezTo>
                  <a:cubicBezTo>
                    <a:pt x="8435" y="13061"/>
                    <a:pt x="8612" y="13033"/>
                    <a:pt x="8788" y="12989"/>
                  </a:cubicBezTo>
                  <a:cubicBezTo>
                    <a:pt x="8803" y="12959"/>
                    <a:pt x="8833" y="12944"/>
                    <a:pt x="8867" y="12944"/>
                  </a:cubicBezTo>
                  <a:cubicBezTo>
                    <a:pt x="8901" y="12944"/>
                    <a:pt x="8938" y="12959"/>
                    <a:pt x="8968" y="12989"/>
                  </a:cubicBezTo>
                  <a:cubicBezTo>
                    <a:pt x="9059" y="13019"/>
                    <a:pt x="9119" y="13079"/>
                    <a:pt x="9179" y="13170"/>
                  </a:cubicBezTo>
                  <a:cubicBezTo>
                    <a:pt x="9179" y="13170"/>
                    <a:pt x="9245" y="13369"/>
                    <a:pt x="9340" y="13369"/>
                  </a:cubicBezTo>
                  <a:cubicBezTo>
                    <a:pt x="9356" y="13369"/>
                    <a:pt x="9373" y="13363"/>
                    <a:pt x="9390" y="13350"/>
                  </a:cubicBezTo>
                  <a:cubicBezTo>
                    <a:pt x="9448" y="13311"/>
                    <a:pt x="9644" y="13247"/>
                    <a:pt x="9768" y="13247"/>
                  </a:cubicBezTo>
                  <a:cubicBezTo>
                    <a:pt x="9836" y="13247"/>
                    <a:pt x="9882" y="13267"/>
                    <a:pt x="9871" y="13320"/>
                  </a:cubicBezTo>
                  <a:cubicBezTo>
                    <a:pt x="9845" y="13452"/>
                    <a:pt x="9957" y="13698"/>
                    <a:pt x="10085" y="13698"/>
                  </a:cubicBezTo>
                  <a:cubicBezTo>
                    <a:pt x="10104" y="13698"/>
                    <a:pt x="10123" y="13693"/>
                    <a:pt x="10142" y="13681"/>
                  </a:cubicBezTo>
                  <a:cubicBezTo>
                    <a:pt x="10156" y="13676"/>
                    <a:pt x="10171" y="13673"/>
                    <a:pt x="10187" y="13673"/>
                  </a:cubicBezTo>
                  <a:cubicBezTo>
                    <a:pt x="10352" y="13673"/>
                    <a:pt x="10640" y="13922"/>
                    <a:pt x="10804" y="13922"/>
                  </a:cubicBezTo>
                  <a:cubicBezTo>
                    <a:pt x="10985" y="13922"/>
                    <a:pt x="11135" y="13922"/>
                    <a:pt x="11135" y="13802"/>
                  </a:cubicBezTo>
                  <a:cubicBezTo>
                    <a:pt x="11135" y="13713"/>
                    <a:pt x="11267" y="13607"/>
                    <a:pt x="11360" y="13607"/>
                  </a:cubicBezTo>
                  <a:cubicBezTo>
                    <a:pt x="11393" y="13607"/>
                    <a:pt x="11421" y="13620"/>
                    <a:pt x="11436" y="13651"/>
                  </a:cubicBezTo>
                  <a:cubicBezTo>
                    <a:pt x="11527" y="13772"/>
                    <a:pt x="11677" y="14133"/>
                    <a:pt x="11858" y="14133"/>
                  </a:cubicBezTo>
                  <a:cubicBezTo>
                    <a:pt x="12038" y="14133"/>
                    <a:pt x="12459" y="14133"/>
                    <a:pt x="12459" y="14253"/>
                  </a:cubicBezTo>
                  <a:cubicBezTo>
                    <a:pt x="12490" y="14494"/>
                    <a:pt x="12580" y="14735"/>
                    <a:pt x="12760" y="14945"/>
                  </a:cubicBezTo>
                  <a:cubicBezTo>
                    <a:pt x="12821" y="14995"/>
                    <a:pt x="12904" y="15012"/>
                    <a:pt x="12989" y="15012"/>
                  </a:cubicBezTo>
                  <a:cubicBezTo>
                    <a:pt x="13158" y="15012"/>
                    <a:pt x="13332" y="14945"/>
                    <a:pt x="13332" y="14945"/>
                  </a:cubicBezTo>
                  <a:cubicBezTo>
                    <a:pt x="13423" y="14855"/>
                    <a:pt x="13483" y="14735"/>
                    <a:pt x="13483" y="14584"/>
                  </a:cubicBezTo>
                  <a:cubicBezTo>
                    <a:pt x="13483" y="14343"/>
                    <a:pt x="13483" y="14042"/>
                    <a:pt x="13362" y="14042"/>
                  </a:cubicBezTo>
                  <a:cubicBezTo>
                    <a:pt x="13257" y="14042"/>
                    <a:pt x="13106" y="14204"/>
                    <a:pt x="12928" y="14204"/>
                  </a:cubicBezTo>
                  <a:cubicBezTo>
                    <a:pt x="12903" y="14204"/>
                    <a:pt x="12877" y="14200"/>
                    <a:pt x="12851" y="14193"/>
                  </a:cubicBezTo>
                  <a:cubicBezTo>
                    <a:pt x="12610" y="14103"/>
                    <a:pt x="12429" y="13621"/>
                    <a:pt x="12309" y="13591"/>
                  </a:cubicBezTo>
                  <a:cubicBezTo>
                    <a:pt x="12189" y="13531"/>
                    <a:pt x="12490" y="13049"/>
                    <a:pt x="12490" y="12839"/>
                  </a:cubicBezTo>
                  <a:cubicBezTo>
                    <a:pt x="12490" y="12598"/>
                    <a:pt x="12640" y="12026"/>
                    <a:pt x="12490" y="11966"/>
                  </a:cubicBezTo>
                  <a:cubicBezTo>
                    <a:pt x="12339" y="11876"/>
                    <a:pt x="12459" y="11665"/>
                    <a:pt x="12610" y="11514"/>
                  </a:cubicBezTo>
                  <a:cubicBezTo>
                    <a:pt x="12760" y="11364"/>
                    <a:pt x="12550" y="10973"/>
                    <a:pt x="12851" y="10973"/>
                  </a:cubicBezTo>
                  <a:cubicBezTo>
                    <a:pt x="12984" y="10973"/>
                    <a:pt x="13154" y="10985"/>
                    <a:pt x="13314" y="10985"/>
                  </a:cubicBezTo>
                  <a:cubicBezTo>
                    <a:pt x="13514" y="10985"/>
                    <a:pt x="13700" y="10966"/>
                    <a:pt x="13784" y="10882"/>
                  </a:cubicBezTo>
                  <a:lnTo>
                    <a:pt x="13814" y="10882"/>
                  </a:lnTo>
                  <a:cubicBezTo>
                    <a:pt x="13844" y="10822"/>
                    <a:pt x="13844" y="10792"/>
                    <a:pt x="13844" y="10762"/>
                  </a:cubicBezTo>
                  <a:cubicBezTo>
                    <a:pt x="13663" y="10431"/>
                    <a:pt x="13483" y="10010"/>
                    <a:pt x="13242" y="9889"/>
                  </a:cubicBezTo>
                  <a:cubicBezTo>
                    <a:pt x="12881" y="9679"/>
                    <a:pt x="12730" y="7030"/>
                    <a:pt x="12911" y="6940"/>
                  </a:cubicBezTo>
                  <a:lnTo>
                    <a:pt x="12911" y="6940"/>
                  </a:lnTo>
                  <a:lnTo>
                    <a:pt x="13001" y="7030"/>
                  </a:lnTo>
                  <a:lnTo>
                    <a:pt x="13001" y="6428"/>
                  </a:lnTo>
                  <a:lnTo>
                    <a:pt x="12911" y="6428"/>
                  </a:lnTo>
                  <a:cubicBezTo>
                    <a:pt x="12881" y="6398"/>
                    <a:pt x="12760" y="6308"/>
                    <a:pt x="12760" y="6188"/>
                  </a:cubicBezTo>
                  <a:cubicBezTo>
                    <a:pt x="12760" y="6067"/>
                    <a:pt x="12821" y="5977"/>
                    <a:pt x="12941" y="5947"/>
                  </a:cubicBezTo>
                  <a:cubicBezTo>
                    <a:pt x="12941" y="5947"/>
                    <a:pt x="12911" y="5526"/>
                    <a:pt x="13091" y="5435"/>
                  </a:cubicBezTo>
                  <a:lnTo>
                    <a:pt x="13182" y="5375"/>
                  </a:lnTo>
                  <a:cubicBezTo>
                    <a:pt x="13272" y="5195"/>
                    <a:pt x="13332" y="5014"/>
                    <a:pt x="13332" y="4803"/>
                  </a:cubicBezTo>
                  <a:cubicBezTo>
                    <a:pt x="13332" y="4563"/>
                    <a:pt x="13362" y="4322"/>
                    <a:pt x="13483" y="4081"/>
                  </a:cubicBezTo>
                  <a:cubicBezTo>
                    <a:pt x="13543" y="3901"/>
                    <a:pt x="13513" y="3660"/>
                    <a:pt x="13663" y="3569"/>
                  </a:cubicBezTo>
                  <a:cubicBezTo>
                    <a:pt x="13814" y="3479"/>
                    <a:pt x="13784" y="3148"/>
                    <a:pt x="13964" y="3118"/>
                  </a:cubicBezTo>
                  <a:cubicBezTo>
                    <a:pt x="14145" y="3088"/>
                    <a:pt x="14265" y="2998"/>
                    <a:pt x="14295" y="2907"/>
                  </a:cubicBezTo>
                  <a:cubicBezTo>
                    <a:pt x="14325" y="2787"/>
                    <a:pt x="14536" y="2637"/>
                    <a:pt x="14536" y="2486"/>
                  </a:cubicBezTo>
                  <a:cubicBezTo>
                    <a:pt x="14536" y="2336"/>
                    <a:pt x="14265" y="2305"/>
                    <a:pt x="14265" y="2095"/>
                  </a:cubicBezTo>
                  <a:cubicBezTo>
                    <a:pt x="14265" y="1914"/>
                    <a:pt x="14325" y="1433"/>
                    <a:pt x="14325" y="1433"/>
                  </a:cubicBezTo>
                  <a:lnTo>
                    <a:pt x="13453" y="680"/>
                  </a:lnTo>
                  <a:cubicBezTo>
                    <a:pt x="13423" y="656"/>
                    <a:pt x="13388" y="647"/>
                    <a:pt x="13351" y="647"/>
                  </a:cubicBezTo>
                  <a:cubicBezTo>
                    <a:pt x="13205" y="647"/>
                    <a:pt x="13031" y="801"/>
                    <a:pt x="13031" y="801"/>
                  </a:cubicBezTo>
                  <a:cubicBezTo>
                    <a:pt x="13031" y="801"/>
                    <a:pt x="12896" y="648"/>
                    <a:pt x="12739" y="648"/>
                  </a:cubicBezTo>
                  <a:cubicBezTo>
                    <a:pt x="12687" y="648"/>
                    <a:pt x="12633" y="665"/>
                    <a:pt x="12580" y="710"/>
                  </a:cubicBezTo>
                  <a:cubicBezTo>
                    <a:pt x="12500" y="771"/>
                    <a:pt x="12416" y="791"/>
                    <a:pt x="12340" y="791"/>
                  </a:cubicBezTo>
                  <a:cubicBezTo>
                    <a:pt x="12189" y="791"/>
                    <a:pt x="12068" y="710"/>
                    <a:pt x="12068" y="710"/>
                  </a:cubicBezTo>
                  <a:cubicBezTo>
                    <a:pt x="11948" y="620"/>
                    <a:pt x="11827" y="470"/>
                    <a:pt x="11737" y="349"/>
                  </a:cubicBezTo>
                  <a:cubicBezTo>
                    <a:pt x="11707" y="229"/>
                    <a:pt x="11647" y="199"/>
                    <a:pt x="11557" y="109"/>
                  </a:cubicBezTo>
                  <a:lnTo>
                    <a:pt x="10985" y="229"/>
                  </a:lnTo>
                  <a:cubicBezTo>
                    <a:pt x="10985" y="229"/>
                    <a:pt x="10576" y="0"/>
                    <a:pt x="10301"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27" name="Google Shape;3021;p123">
              <a:extLst>
                <a:ext uri="{FF2B5EF4-FFF2-40B4-BE49-F238E27FC236}">
                  <a16:creationId xmlns:a16="http://schemas.microsoft.com/office/drawing/2014/main" id="{ABC60353-146E-B948-BFB8-388F7556B95E}"/>
                </a:ext>
              </a:extLst>
            </p:cNvPr>
            <p:cNvSpPr/>
            <p:nvPr/>
          </p:nvSpPr>
          <p:spPr>
            <a:xfrm>
              <a:off x="4964224" y="3333877"/>
              <a:ext cx="37385" cy="51377"/>
            </a:xfrm>
            <a:custGeom>
              <a:avLst/>
              <a:gdLst/>
              <a:ahLst/>
              <a:cxnLst/>
              <a:rect l="l" t="t" r="r" b="b"/>
              <a:pathLst>
                <a:path w="1205" h="1656" extrusionOk="0">
                  <a:moveTo>
                    <a:pt x="603" y="1"/>
                  </a:moveTo>
                  <a:cubicBezTo>
                    <a:pt x="603" y="1"/>
                    <a:pt x="626" y="228"/>
                    <a:pt x="335" y="228"/>
                  </a:cubicBezTo>
                  <a:cubicBezTo>
                    <a:pt x="291" y="228"/>
                    <a:pt x="240" y="223"/>
                    <a:pt x="182" y="211"/>
                  </a:cubicBezTo>
                  <a:lnTo>
                    <a:pt x="1" y="211"/>
                  </a:lnTo>
                  <a:lnTo>
                    <a:pt x="61" y="813"/>
                  </a:lnTo>
                  <a:cubicBezTo>
                    <a:pt x="91" y="964"/>
                    <a:pt x="151" y="1265"/>
                    <a:pt x="242" y="1656"/>
                  </a:cubicBezTo>
                  <a:cubicBezTo>
                    <a:pt x="332" y="1566"/>
                    <a:pt x="452" y="1475"/>
                    <a:pt x="573" y="1445"/>
                  </a:cubicBezTo>
                  <a:cubicBezTo>
                    <a:pt x="814" y="1174"/>
                    <a:pt x="1024" y="843"/>
                    <a:pt x="1205" y="512"/>
                  </a:cubicBezTo>
                  <a:lnTo>
                    <a:pt x="1024" y="392"/>
                  </a:lnTo>
                  <a:cubicBezTo>
                    <a:pt x="1024" y="272"/>
                    <a:pt x="1024" y="121"/>
                    <a:pt x="994"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28" name="Google Shape;3022;p123">
              <a:extLst>
                <a:ext uri="{FF2B5EF4-FFF2-40B4-BE49-F238E27FC236}">
                  <a16:creationId xmlns:a16="http://schemas.microsoft.com/office/drawing/2014/main" id="{10D7AF5A-05EC-0244-91FC-A3118408FA3F}"/>
                </a:ext>
              </a:extLst>
            </p:cNvPr>
            <p:cNvSpPr/>
            <p:nvPr/>
          </p:nvSpPr>
          <p:spPr>
            <a:xfrm>
              <a:off x="4987586" y="3536501"/>
              <a:ext cx="261448" cy="421102"/>
            </a:xfrm>
            <a:custGeom>
              <a:avLst/>
              <a:gdLst/>
              <a:ahLst/>
              <a:cxnLst/>
              <a:rect l="l" t="t" r="r" b="b"/>
              <a:pathLst>
                <a:path w="8427" h="13573" extrusionOk="0">
                  <a:moveTo>
                    <a:pt x="8096" y="0"/>
                  </a:moveTo>
                  <a:cubicBezTo>
                    <a:pt x="7795" y="121"/>
                    <a:pt x="7494" y="271"/>
                    <a:pt x="7223" y="452"/>
                  </a:cubicBezTo>
                  <a:cubicBezTo>
                    <a:pt x="7208" y="527"/>
                    <a:pt x="7125" y="527"/>
                    <a:pt x="7024" y="527"/>
                  </a:cubicBezTo>
                  <a:cubicBezTo>
                    <a:pt x="6922" y="527"/>
                    <a:pt x="6802" y="527"/>
                    <a:pt x="6712" y="602"/>
                  </a:cubicBezTo>
                  <a:cubicBezTo>
                    <a:pt x="6647" y="656"/>
                    <a:pt x="6587" y="675"/>
                    <a:pt x="6529" y="675"/>
                  </a:cubicBezTo>
                  <a:cubicBezTo>
                    <a:pt x="6424" y="675"/>
                    <a:pt x="6327" y="611"/>
                    <a:pt x="6230" y="572"/>
                  </a:cubicBezTo>
                  <a:cubicBezTo>
                    <a:pt x="6209" y="560"/>
                    <a:pt x="6190" y="554"/>
                    <a:pt x="6171" y="554"/>
                  </a:cubicBezTo>
                  <a:cubicBezTo>
                    <a:pt x="6056" y="554"/>
                    <a:pt x="5985" y="773"/>
                    <a:pt x="5959" y="903"/>
                  </a:cubicBezTo>
                  <a:cubicBezTo>
                    <a:pt x="5948" y="961"/>
                    <a:pt x="5896" y="979"/>
                    <a:pt x="5830" y="979"/>
                  </a:cubicBezTo>
                  <a:cubicBezTo>
                    <a:pt x="5724" y="979"/>
                    <a:pt x="5582" y="933"/>
                    <a:pt x="5508" y="933"/>
                  </a:cubicBezTo>
                  <a:cubicBezTo>
                    <a:pt x="5267" y="963"/>
                    <a:pt x="5056" y="963"/>
                    <a:pt x="4816" y="1024"/>
                  </a:cubicBezTo>
                  <a:cubicBezTo>
                    <a:pt x="4635" y="1024"/>
                    <a:pt x="4785" y="873"/>
                    <a:pt x="4575" y="783"/>
                  </a:cubicBezTo>
                  <a:cubicBezTo>
                    <a:pt x="4540" y="774"/>
                    <a:pt x="4508" y="771"/>
                    <a:pt x="4479" y="771"/>
                  </a:cubicBezTo>
                  <a:cubicBezTo>
                    <a:pt x="4299" y="771"/>
                    <a:pt x="4192" y="903"/>
                    <a:pt x="4063" y="903"/>
                  </a:cubicBezTo>
                  <a:lnTo>
                    <a:pt x="3672" y="813"/>
                  </a:lnTo>
                  <a:cubicBezTo>
                    <a:pt x="3612" y="933"/>
                    <a:pt x="3612" y="1054"/>
                    <a:pt x="3582" y="1114"/>
                  </a:cubicBezTo>
                  <a:cubicBezTo>
                    <a:pt x="3552" y="1204"/>
                    <a:pt x="3913" y="2408"/>
                    <a:pt x="3913" y="2769"/>
                  </a:cubicBezTo>
                  <a:lnTo>
                    <a:pt x="4424" y="3220"/>
                  </a:lnTo>
                  <a:cubicBezTo>
                    <a:pt x="4635" y="3491"/>
                    <a:pt x="4424" y="3491"/>
                    <a:pt x="4454" y="4063"/>
                  </a:cubicBezTo>
                  <a:cubicBezTo>
                    <a:pt x="4484" y="4635"/>
                    <a:pt x="4214" y="4364"/>
                    <a:pt x="4003" y="4545"/>
                  </a:cubicBezTo>
                  <a:cubicBezTo>
                    <a:pt x="3762" y="4725"/>
                    <a:pt x="3973" y="5147"/>
                    <a:pt x="3913" y="5297"/>
                  </a:cubicBezTo>
                  <a:cubicBezTo>
                    <a:pt x="3911" y="5308"/>
                    <a:pt x="3905" y="5313"/>
                    <a:pt x="3897" y="5313"/>
                  </a:cubicBezTo>
                  <a:cubicBezTo>
                    <a:pt x="3795" y="5313"/>
                    <a:pt x="3248" y="4474"/>
                    <a:pt x="3221" y="4334"/>
                  </a:cubicBezTo>
                  <a:cubicBezTo>
                    <a:pt x="3160" y="4183"/>
                    <a:pt x="3431" y="3612"/>
                    <a:pt x="3371" y="3311"/>
                  </a:cubicBezTo>
                  <a:cubicBezTo>
                    <a:pt x="3330" y="3174"/>
                    <a:pt x="3221" y="3137"/>
                    <a:pt x="3099" y="3137"/>
                  </a:cubicBezTo>
                  <a:cubicBezTo>
                    <a:pt x="2954" y="3137"/>
                    <a:pt x="2791" y="3190"/>
                    <a:pt x="2709" y="3190"/>
                  </a:cubicBezTo>
                  <a:cubicBezTo>
                    <a:pt x="2558" y="3190"/>
                    <a:pt x="2257" y="2829"/>
                    <a:pt x="2197" y="2829"/>
                  </a:cubicBezTo>
                  <a:lnTo>
                    <a:pt x="0" y="3612"/>
                  </a:lnTo>
                  <a:lnTo>
                    <a:pt x="151" y="4214"/>
                  </a:lnTo>
                  <a:lnTo>
                    <a:pt x="121" y="4214"/>
                  </a:lnTo>
                  <a:lnTo>
                    <a:pt x="241" y="4484"/>
                  </a:lnTo>
                  <a:cubicBezTo>
                    <a:pt x="572" y="4484"/>
                    <a:pt x="933" y="4575"/>
                    <a:pt x="1264" y="4695"/>
                  </a:cubicBezTo>
                  <a:cubicBezTo>
                    <a:pt x="1535" y="4846"/>
                    <a:pt x="1836" y="4966"/>
                    <a:pt x="2167" y="5026"/>
                  </a:cubicBezTo>
                  <a:cubicBezTo>
                    <a:pt x="2257" y="5116"/>
                    <a:pt x="2167" y="5869"/>
                    <a:pt x="2197" y="6230"/>
                  </a:cubicBezTo>
                  <a:cubicBezTo>
                    <a:pt x="2227" y="6621"/>
                    <a:pt x="1776" y="6742"/>
                    <a:pt x="1957" y="6952"/>
                  </a:cubicBezTo>
                  <a:cubicBezTo>
                    <a:pt x="2167" y="7193"/>
                    <a:pt x="2077" y="7524"/>
                    <a:pt x="2227" y="7554"/>
                  </a:cubicBezTo>
                  <a:cubicBezTo>
                    <a:pt x="2378" y="7584"/>
                    <a:pt x="1957" y="8036"/>
                    <a:pt x="1806" y="8156"/>
                  </a:cubicBezTo>
                  <a:cubicBezTo>
                    <a:pt x="1656" y="8276"/>
                    <a:pt x="1806" y="8637"/>
                    <a:pt x="1595" y="8908"/>
                  </a:cubicBezTo>
                  <a:cubicBezTo>
                    <a:pt x="1355" y="9179"/>
                    <a:pt x="1054" y="9450"/>
                    <a:pt x="783" y="9751"/>
                  </a:cubicBezTo>
                  <a:lnTo>
                    <a:pt x="843" y="9751"/>
                  </a:lnTo>
                  <a:cubicBezTo>
                    <a:pt x="903" y="9901"/>
                    <a:pt x="1084" y="11105"/>
                    <a:pt x="1325" y="11196"/>
                  </a:cubicBezTo>
                  <a:cubicBezTo>
                    <a:pt x="1565" y="11316"/>
                    <a:pt x="1385" y="12550"/>
                    <a:pt x="1385" y="12670"/>
                  </a:cubicBezTo>
                  <a:cubicBezTo>
                    <a:pt x="1415" y="12971"/>
                    <a:pt x="1415" y="13272"/>
                    <a:pt x="1475" y="13573"/>
                  </a:cubicBezTo>
                  <a:lnTo>
                    <a:pt x="2077" y="13573"/>
                  </a:lnTo>
                  <a:cubicBezTo>
                    <a:pt x="2077" y="13453"/>
                    <a:pt x="2077" y="13302"/>
                    <a:pt x="2107" y="13152"/>
                  </a:cubicBezTo>
                  <a:cubicBezTo>
                    <a:pt x="2107" y="12971"/>
                    <a:pt x="2047" y="12956"/>
                    <a:pt x="1975" y="12956"/>
                  </a:cubicBezTo>
                  <a:cubicBezTo>
                    <a:pt x="1961" y="12956"/>
                    <a:pt x="1946" y="12957"/>
                    <a:pt x="1931" y="12957"/>
                  </a:cubicBezTo>
                  <a:cubicBezTo>
                    <a:pt x="1872" y="12957"/>
                    <a:pt x="1812" y="12947"/>
                    <a:pt x="1776" y="12851"/>
                  </a:cubicBezTo>
                  <a:cubicBezTo>
                    <a:pt x="1716" y="12640"/>
                    <a:pt x="2348" y="12219"/>
                    <a:pt x="3010" y="11948"/>
                  </a:cubicBezTo>
                  <a:cubicBezTo>
                    <a:pt x="3702" y="11707"/>
                    <a:pt x="3973" y="11587"/>
                    <a:pt x="4033" y="11316"/>
                  </a:cubicBezTo>
                  <a:cubicBezTo>
                    <a:pt x="4033" y="10955"/>
                    <a:pt x="4033" y="10564"/>
                    <a:pt x="4123" y="10202"/>
                  </a:cubicBezTo>
                  <a:cubicBezTo>
                    <a:pt x="4184" y="9932"/>
                    <a:pt x="4033" y="9781"/>
                    <a:pt x="3973" y="9209"/>
                  </a:cubicBezTo>
                  <a:cubicBezTo>
                    <a:pt x="3883" y="8637"/>
                    <a:pt x="3672" y="8487"/>
                    <a:pt x="3582" y="8186"/>
                  </a:cubicBezTo>
                  <a:cubicBezTo>
                    <a:pt x="3521" y="7885"/>
                    <a:pt x="3521" y="7584"/>
                    <a:pt x="3702" y="7584"/>
                  </a:cubicBezTo>
                  <a:cubicBezTo>
                    <a:pt x="3883" y="7584"/>
                    <a:pt x="3883" y="7494"/>
                    <a:pt x="4063" y="7193"/>
                  </a:cubicBezTo>
                  <a:cubicBezTo>
                    <a:pt x="4274" y="6892"/>
                    <a:pt x="4424" y="6982"/>
                    <a:pt x="4755" y="6742"/>
                  </a:cubicBezTo>
                  <a:cubicBezTo>
                    <a:pt x="5086" y="6471"/>
                    <a:pt x="5056" y="6200"/>
                    <a:pt x="5568" y="5839"/>
                  </a:cubicBezTo>
                  <a:cubicBezTo>
                    <a:pt x="6110" y="5447"/>
                    <a:pt x="6621" y="5447"/>
                    <a:pt x="7133" y="5147"/>
                  </a:cubicBezTo>
                  <a:cubicBezTo>
                    <a:pt x="7614" y="4846"/>
                    <a:pt x="8427" y="3642"/>
                    <a:pt x="8367" y="3461"/>
                  </a:cubicBezTo>
                  <a:cubicBezTo>
                    <a:pt x="8246" y="2950"/>
                    <a:pt x="8156" y="2438"/>
                    <a:pt x="8186" y="1926"/>
                  </a:cubicBezTo>
                  <a:cubicBezTo>
                    <a:pt x="8216" y="1505"/>
                    <a:pt x="8096" y="482"/>
                    <a:pt x="8096"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29" name="Google Shape;3023;p123">
              <a:extLst>
                <a:ext uri="{FF2B5EF4-FFF2-40B4-BE49-F238E27FC236}">
                  <a16:creationId xmlns:a16="http://schemas.microsoft.com/office/drawing/2014/main" id="{460C8115-A7CF-E64F-8C21-7626BFAB22AD}"/>
                </a:ext>
              </a:extLst>
            </p:cNvPr>
            <p:cNvSpPr/>
            <p:nvPr/>
          </p:nvSpPr>
          <p:spPr>
            <a:xfrm>
              <a:off x="4971701" y="3295592"/>
              <a:ext cx="267063" cy="270817"/>
            </a:xfrm>
            <a:custGeom>
              <a:avLst/>
              <a:gdLst/>
              <a:ahLst/>
              <a:cxnLst/>
              <a:rect l="l" t="t" r="r" b="b"/>
              <a:pathLst>
                <a:path w="8608" h="8729" extrusionOk="0">
                  <a:moveTo>
                    <a:pt x="1837" y="1"/>
                  </a:moveTo>
                  <a:lnTo>
                    <a:pt x="1144" y="91"/>
                  </a:lnTo>
                  <a:lnTo>
                    <a:pt x="813" y="151"/>
                  </a:lnTo>
                  <a:lnTo>
                    <a:pt x="934" y="513"/>
                  </a:lnTo>
                  <a:cubicBezTo>
                    <a:pt x="1024" y="693"/>
                    <a:pt x="1054" y="874"/>
                    <a:pt x="1054" y="1054"/>
                  </a:cubicBezTo>
                  <a:cubicBezTo>
                    <a:pt x="1054" y="1145"/>
                    <a:pt x="904" y="1175"/>
                    <a:pt x="753" y="1205"/>
                  </a:cubicBezTo>
                  <a:cubicBezTo>
                    <a:pt x="783" y="1355"/>
                    <a:pt x="783" y="1506"/>
                    <a:pt x="783" y="1626"/>
                  </a:cubicBezTo>
                  <a:lnTo>
                    <a:pt x="964" y="1746"/>
                  </a:lnTo>
                  <a:cubicBezTo>
                    <a:pt x="783" y="2077"/>
                    <a:pt x="573" y="2408"/>
                    <a:pt x="332" y="2679"/>
                  </a:cubicBezTo>
                  <a:cubicBezTo>
                    <a:pt x="211" y="2709"/>
                    <a:pt x="91" y="2800"/>
                    <a:pt x="1" y="2860"/>
                  </a:cubicBezTo>
                  <a:cubicBezTo>
                    <a:pt x="121" y="3462"/>
                    <a:pt x="272" y="4184"/>
                    <a:pt x="482" y="4365"/>
                  </a:cubicBezTo>
                  <a:cubicBezTo>
                    <a:pt x="723" y="4666"/>
                    <a:pt x="874" y="5057"/>
                    <a:pt x="904" y="5418"/>
                  </a:cubicBezTo>
                  <a:cubicBezTo>
                    <a:pt x="964" y="5659"/>
                    <a:pt x="1355" y="5960"/>
                    <a:pt x="1084" y="6020"/>
                  </a:cubicBezTo>
                  <a:cubicBezTo>
                    <a:pt x="1030" y="6038"/>
                    <a:pt x="985" y="6046"/>
                    <a:pt x="948" y="6046"/>
                  </a:cubicBezTo>
                  <a:cubicBezTo>
                    <a:pt x="796" y="6046"/>
                    <a:pt x="753" y="5912"/>
                    <a:pt x="633" y="5719"/>
                  </a:cubicBezTo>
                  <a:cubicBezTo>
                    <a:pt x="633" y="5779"/>
                    <a:pt x="633" y="5809"/>
                    <a:pt x="603" y="5839"/>
                  </a:cubicBezTo>
                  <a:lnTo>
                    <a:pt x="573" y="5839"/>
                  </a:lnTo>
                  <a:cubicBezTo>
                    <a:pt x="723" y="5990"/>
                    <a:pt x="934" y="6080"/>
                    <a:pt x="1114" y="6140"/>
                  </a:cubicBezTo>
                  <a:cubicBezTo>
                    <a:pt x="1355" y="6140"/>
                    <a:pt x="1656" y="6411"/>
                    <a:pt x="1867" y="6441"/>
                  </a:cubicBezTo>
                  <a:cubicBezTo>
                    <a:pt x="2228" y="6562"/>
                    <a:pt x="2559" y="6712"/>
                    <a:pt x="2890" y="6893"/>
                  </a:cubicBezTo>
                  <a:cubicBezTo>
                    <a:pt x="2920" y="6923"/>
                    <a:pt x="2920" y="6953"/>
                    <a:pt x="2920" y="6983"/>
                  </a:cubicBezTo>
                  <a:cubicBezTo>
                    <a:pt x="3010" y="6968"/>
                    <a:pt x="3101" y="6960"/>
                    <a:pt x="3191" y="6960"/>
                  </a:cubicBezTo>
                  <a:cubicBezTo>
                    <a:pt x="3281" y="6960"/>
                    <a:pt x="3371" y="6968"/>
                    <a:pt x="3462" y="6983"/>
                  </a:cubicBezTo>
                  <a:lnTo>
                    <a:pt x="3582" y="6983"/>
                  </a:lnTo>
                  <a:cubicBezTo>
                    <a:pt x="3823" y="6983"/>
                    <a:pt x="4184" y="7976"/>
                    <a:pt x="4184" y="8548"/>
                  </a:cubicBezTo>
                  <a:lnTo>
                    <a:pt x="4575" y="8638"/>
                  </a:lnTo>
                  <a:cubicBezTo>
                    <a:pt x="4699" y="8638"/>
                    <a:pt x="4803" y="8495"/>
                    <a:pt x="4970" y="8495"/>
                  </a:cubicBezTo>
                  <a:cubicBezTo>
                    <a:pt x="5006" y="8495"/>
                    <a:pt x="5044" y="8502"/>
                    <a:pt x="5087" y="8518"/>
                  </a:cubicBezTo>
                  <a:cubicBezTo>
                    <a:pt x="5297" y="8578"/>
                    <a:pt x="5147" y="8728"/>
                    <a:pt x="5328" y="8728"/>
                  </a:cubicBezTo>
                  <a:cubicBezTo>
                    <a:pt x="5568" y="8698"/>
                    <a:pt x="5779" y="8668"/>
                    <a:pt x="6020" y="8668"/>
                  </a:cubicBezTo>
                  <a:cubicBezTo>
                    <a:pt x="6088" y="8668"/>
                    <a:pt x="6226" y="8688"/>
                    <a:pt x="6331" y="8688"/>
                  </a:cubicBezTo>
                  <a:cubicBezTo>
                    <a:pt x="6410" y="8688"/>
                    <a:pt x="6471" y="8677"/>
                    <a:pt x="6471" y="8638"/>
                  </a:cubicBezTo>
                  <a:cubicBezTo>
                    <a:pt x="6471" y="8524"/>
                    <a:pt x="6579" y="8275"/>
                    <a:pt x="6719" y="8275"/>
                  </a:cubicBezTo>
                  <a:cubicBezTo>
                    <a:pt x="6726" y="8275"/>
                    <a:pt x="6734" y="8275"/>
                    <a:pt x="6742" y="8277"/>
                  </a:cubicBezTo>
                  <a:cubicBezTo>
                    <a:pt x="6845" y="8318"/>
                    <a:pt x="6948" y="8402"/>
                    <a:pt x="7061" y="8402"/>
                  </a:cubicBezTo>
                  <a:cubicBezTo>
                    <a:pt x="7113" y="8402"/>
                    <a:pt x="7167" y="8384"/>
                    <a:pt x="7224" y="8337"/>
                  </a:cubicBezTo>
                  <a:cubicBezTo>
                    <a:pt x="7314" y="8262"/>
                    <a:pt x="7434" y="8262"/>
                    <a:pt x="7536" y="8262"/>
                  </a:cubicBezTo>
                  <a:cubicBezTo>
                    <a:pt x="7637" y="8262"/>
                    <a:pt x="7720" y="8262"/>
                    <a:pt x="7735" y="8187"/>
                  </a:cubicBezTo>
                  <a:cubicBezTo>
                    <a:pt x="8006" y="8006"/>
                    <a:pt x="8307" y="7856"/>
                    <a:pt x="8608" y="7735"/>
                  </a:cubicBezTo>
                  <a:cubicBezTo>
                    <a:pt x="8578" y="7284"/>
                    <a:pt x="8096" y="7494"/>
                    <a:pt x="8036" y="7013"/>
                  </a:cubicBezTo>
                  <a:cubicBezTo>
                    <a:pt x="8006" y="6531"/>
                    <a:pt x="7735" y="6531"/>
                    <a:pt x="7735" y="6231"/>
                  </a:cubicBezTo>
                  <a:cubicBezTo>
                    <a:pt x="7735" y="5930"/>
                    <a:pt x="7795" y="5599"/>
                    <a:pt x="7675" y="5538"/>
                  </a:cubicBezTo>
                  <a:cubicBezTo>
                    <a:pt x="7555" y="5508"/>
                    <a:pt x="7645" y="5237"/>
                    <a:pt x="7825" y="4936"/>
                  </a:cubicBezTo>
                  <a:cubicBezTo>
                    <a:pt x="8006" y="4635"/>
                    <a:pt x="7494" y="4635"/>
                    <a:pt x="7404" y="4304"/>
                  </a:cubicBezTo>
                  <a:cubicBezTo>
                    <a:pt x="7434" y="3883"/>
                    <a:pt x="7555" y="3462"/>
                    <a:pt x="7735" y="3101"/>
                  </a:cubicBezTo>
                  <a:lnTo>
                    <a:pt x="6381" y="2168"/>
                  </a:lnTo>
                  <a:lnTo>
                    <a:pt x="6471" y="1656"/>
                  </a:lnTo>
                  <a:lnTo>
                    <a:pt x="3462" y="61"/>
                  </a:lnTo>
                  <a:cubicBezTo>
                    <a:pt x="3401" y="422"/>
                    <a:pt x="3311" y="723"/>
                    <a:pt x="3070" y="813"/>
                  </a:cubicBezTo>
                  <a:cubicBezTo>
                    <a:pt x="2860" y="874"/>
                    <a:pt x="3371" y="1265"/>
                    <a:pt x="3101" y="1295"/>
                  </a:cubicBezTo>
                  <a:cubicBezTo>
                    <a:pt x="3088" y="1297"/>
                    <a:pt x="3074" y="1297"/>
                    <a:pt x="3059" y="1297"/>
                  </a:cubicBezTo>
                  <a:cubicBezTo>
                    <a:pt x="2857" y="1297"/>
                    <a:pt x="2480" y="1159"/>
                    <a:pt x="2135" y="1159"/>
                  </a:cubicBezTo>
                  <a:cubicBezTo>
                    <a:pt x="2031" y="1159"/>
                    <a:pt x="1929" y="1172"/>
                    <a:pt x="1837" y="1205"/>
                  </a:cubicBezTo>
                  <a:cubicBezTo>
                    <a:pt x="1797" y="1219"/>
                    <a:pt x="1763" y="1226"/>
                    <a:pt x="1733" y="1226"/>
                  </a:cubicBezTo>
                  <a:cubicBezTo>
                    <a:pt x="1450" y="1226"/>
                    <a:pt x="1618" y="601"/>
                    <a:pt x="1837"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30" name="Google Shape;3024;p123">
              <a:extLst>
                <a:ext uri="{FF2B5EF4-FFF2-40B4-BE49-F238E27FC236}">
                  <a16:creationId xmlns:a16="http://schemas.microsoft.com/office/drawing/2014/main" id="{0A0ADD0E-269E-9449-AE3D-0BC8C10343CA}"/>
                </a:ext>
              </a:extLst>
            </p:cNvPr>
            <p:cNvSpPr/>
            <p:nvPr/>
          </p:nvSpPr>
          <p:spPr>
            <a:xfrm>
              <a:off x="5050132" y="3512457"/>
              <a:ext cx="81254" cy="187794"/>
            </a:xfrm>
            <a:custGeom>
              <a:avLst/>
              <a:gdLst/>
              <a:ahLst/>
              <a:cxnLst/>
              <a:rect l="l" t="t" r="r" b="b"/>
              <a:pathLst>
                <a:path w="2619" h="6053" extrusionOk="0">
                  <a:moveTo>
                    <a:pt x="663" y="0"/>
                  </a:moveTo>
                  <a:cubicBezTo>
                    <a:pt x="573" y="0"/>
                    <a:pt x="482" y="8"/>
                    <a:pt x="392" y="23"/>
                  </a:cubicBezTo>
                  <a:cubicBezTo>
                    <a:pt x="542" y="264"/>
                    <a:pt x="663" y="504"/>
                    <a:pt x="693" y="775"/>
                  </a:cubicBezTo>
                  <a:cubicBezTo>
                    <a:pt x="693" y="845"/>
                    <a:pt x="666" y="856"/>
                    <a:pt x="630" y="856"/>
                  </a:cubicBezTo>
                  <a:cubicBezTo>
                    <a:pt x="612" y="856"/>
                    <a:pt x="591" y="853"/>
                    <a:pt x="570" y="853"/>
                  </a:cubicBezTo>
                  <a:cubicBezTo>
                    <a:pt x="524" y="853"/>
                    <a:pt x="477" y="867"/>
                    <a:pt x="452" y="956"/>
                  </a:cubicBezTo>
                  <a:cubicBezTo>
                    <a:pt x="362" y="1197"/>
                    <a:pt x="332" y="2099"/>
                    <a:pt x="482" y="2250"/>
                  </a:cubicBezTo>
                  <a:cubicBezTo>
                    <a:pt x="633" y="2400"/>
                    <a:pt x="151" y="2280"/>
                    <a:pt x="151" y="2461"/>
                  </a:cubicBezTo>
                  <a:cubicBezTo>
                    <a:pt x="151" y="2731"/>
                    <a:pt x="121" y="2972"/>
                    <a:pt x="31" y="3213"/>
                  </a:cubicBezTo>
                  <a:cubicBezTo>
                    <a:pt x="1" y="3273"/>
                    <a:pt x="61" y="3363"/>
                    <a:pt x="181" y="3544"/>
                  </a:cubicBezTo>
                  <a:cubicBezTo>
                    <a:pt x="239" y="3544"/>
                    <a:pt x="578" y="3937"/>
                    <a:pt x="683" y="3937"/>
                  </a:cubicBezTo>
                  <a:cubicBezTo>
                    <a:pt x="686" y="3937"/>
                    <a:pt x="690" y="3936"/>
                    <a:pt x="693" y="3935"/>
                  </a:cubicBezTo>
                  <a:cubicBezTo>
                    <a:pt x="759" y="3919"/>
                    <a:pt x="927" y="3847"/>
                    <a:pt x="1079" y="3847"/>
                  </a:cubicBezTo>
                  <a:cubicBezTo>
                    <a:pt x="1202" y="3847"/>
                    <a:pt x="1315" y="3894"/>
                    <a:pt x="1355" y="4056"/>
                  </a:cubicBezTo>
                  <a:cubicBezTo>
                    <a:pt x="1415" y="4387"/>
                    <a:pt x="1144" y="4928"/>
                    <a:pt x="1205" y="5049"/>
                  </a:cubicBezTo>
                  <a:cubicBezTo>
                    <a:pt x="1233" y="5190"/>
                    <a:pt x="1795" y="6052"/>
                    <a:pt x="1885" y="6052"/>
                  </a:cubicBezTo>
                  <a:cubicBezTo>
                    <a:pt x="1891" y="6052"/>
                    <a:pt x="1895" y="6049"/>
                    <a:pt x="1897" y="6042"/>
                  </a:cubicBezTo>
                  <a:cubicBezTo>
                    <a:pt x="1957" y="5922"/>
                    <a:pt x="1746" y="5470"/>
                    <a:pt x="1987" y="5290"/>
                  </a:cubicBezTo>
                  <a:cubicBezTo>
                    <a:pt x="2198" y="5109"/>
                    <a:pt x="2438" y="5320"/>
                    <a:pt x="2438" y="4808"/>
                  </a:cubicBezTo>
                  <a:cubicBezTo>
                    <a:pt x="2438" y="4266"/>
                    <a:pt x="2619" y="4236"/>
                    <a:pt x="2408" y="3965"/>
                  </a:cubicBezTo>
                  <a:lnTo>
                    <a:pt x="1897" y="3514"/>
                  </a:lnTo>
                  <a:lnTo>
                    <a:pt x="1897" y="3514"/>
                  </a:lnTo>
                  <a:cubicBezTo>
                    <a:pt x="1957" y="3604"/>
                    <a:pt x="1897" y="3634"/>
                    <a:pt x="1897" y="3664"/>
                  </a:cubicBezTo>
                  <a:cubicBezTo>
                    <a:pt x="1897" y="3665"/>
                    <a:pt x="1896" y="3665"/>
                    <a:pt x="1896" y="3665"/>
                  </a:cubicBezTo>
                  <a:cubicBezTo>
                    <a:pt x="1863" y="3665"/>
                    <a:pt x="1113" y="3019"/>
                    <a:pt x="1054" y="2431"/>
                  </a:cubicBezTo>
                  <a:cubicBezTo>
                    <a:pt x="964" y="1829"/>
                    <a:pt x="1385" y="1618"/>
                    <a:pt x="1114" y="1046"/>
                  </a:cubicBezTo>
                  <a:cubicBezTo>
                    <a:pt x="843" y="474"/>
                    <a:pt x="783" y="143"/>
                    <a:pt x="934" y="23"/>
                  </a:cubicBezTo>
                  <a:cubicBezTo>
                    <a:pt x="843" y="8"/>
                    <a:pt x="753" y="0"/>
                    <a:pt x="663"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31" name="Google Shape;3025;p123">
              <a:extLst>
                <a:ext uri="{FF2B5EF4-FFF2-40B4-BE49-F238E27FC236}">
                  <a16:creationId xmlns:a16="http://schemas.microsoft.com/office/drawing/2014/main" id="{603DE6FB-CCF0-A642-B881-E6502FFEA443}"/>
                </a:ext>
              </a:extLst>
            </p:cNvPr>
            <p:cNvSpPr/>
            <p:nvPr/>
          </p:nvSpPr>
          <p:spPr>
            <a:xfrm>
              <a:off x="8275895" y="3795157"/>
              <a:ext cx="79796" cy="51036"/>
            </a:xfrm>
            <a:custGeom>
              <a:avLst/>
              <a:gdLst/>
              <a:ahLst/>
              <a:cxnLst/>
              <a:rect l="l" t="t" r="r" b="b"/>
              <a:pathLst>
                <a:path w="2572" h="1645" extrusionOk="0">
                  <a:moveTo>
                    <a:pt x="34" y="0"/>
                  </a:moveTo>
                  <a:cubicBezTo>
                    <a:pt x="11" y="0"/>
                    <a:pt x="1" y="10"/>
                    <a:pt x="5" y="30"/>
                  </a:cubicBezTo>
                  <a:cubicBezTo>
                    <a:pt x="33" y="311"/>
                    <a:pt x="1745" y="1645"/>
                    <a:pt x="2214" y="1645"/>
                  </a:cubicBezTo>
                  <a:cubicBezTo>
                    <a:pt x="2246" y="1645"/>
                    <a:pt x="2273" y="1638"/>
                    <a:pt x="2292" y="1625"/>
                  </a:cubicBezTo>
                  <a:cubicBezTo>
                    <a:pt x="2571" y="1457"/>
                    <a:pt x="321" y="0"/>
                    <a:pt x="34"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32" name="Google Shape;3026;p123">
              <a:extLst>
                <a:ext uri="{FF2B5EF4-FFF2-40B4-BE49-F238E27FC236}">
                  <a16:creationId xmlns:a16="http://schemas.microsoft.com/office/drawing/2014/main" id="{3F536269-A2E3-B84A-B50C-CD954B688C40}"/>
                </a:ext>
              </a:extLst>
            </p:cNvPr>
            <p:cNvSpPr/>
            <p:nvPr/>
          </p:nvSpPr>
          <p:spPr>
            <a:xfrm>
              <a:off x="5922214" y="2204691"/>
              <a:ext cx="188632" cy="124783"/>
            </a:xfrm>
            <a:custGeom>
              <a:avLst/>
              <a:gdLst/>
              <a:ahLst/>
              <a:cxnLst/>
              <a:rect l="l" t="t" r="r" b="b"/>
              <a:pathLst>
                <a:path w="6080" h="4022" extrusionOk="0">
                  <a:moveTo>
                    <a:pt x="2445" y="0"/>
                  </a:moveTo>
                  <a:cubicBezTo>
                    <a:pt x="2334" y="0"/>
                    <a:pt x="2169" y="61"/>
                    <a:pt x="2047" y="163"/>
                  </a:cubicBezTo>
                  <a:cubicBezTo>
                    <a:pt x="1996" y="205"/>
                    <a:pt x="1929" y="216"/>
                    <a:pt x="1859" y="216"/>
                  </a:cubicBezTo>
                  <a:cubicBezTo>
                    <a:pt x="1773" y="216"/>
                    <a:pt x="1681" y="200"/>
                    <a:pt x="1606" y="200"/>
                  </a:cubicBezTo>
                  <a:cubicBezTo>
                    <a:pt x="1521" y="200"/>
                    <a:pt x="1456" y="221"/>
                    <a:pt x="1445" y="313"/>
                  </a:cubicBezTo>
                  <a:cubicBezTo>
                    <a:pt x="1415" y="524"/>
                    <a:pt x="1264" y="705"/>
                    <a:pt x="1054" y="705"/>
                  </a:cubicBezTo>
                  <a:cubicBezTo>
                    <a:pt x="873" y="705"/>
                    <a:pt x="993" y="1066"/>
                    <a:pt x="813" y="1156"/>
                  </a:cubicBezTo>
                  <a:cubicBezTo>
                    <a:pt x="602" y="1276"/>
                    <a:pt x="91" y="1246"/>
                    <a:pt x="60" y="1427"/>
                  </a:cubicBezTo>
                  <a:cubicBezTo>
                    <a:pt x="0" y="1607"/>
                    <a:pt x="572" y="1818"/>
                    <a:pt x="542" y="2029"/>
                  </a:cubicBezTo>
                  <a:cubicBezTo>
                    <a:pt x="512" y="2269"/>
                    <a:pt x="843" y="2601"/>
                    <a:pt x="602" y="2751"/>
                  </a:cubicBezTo>
                  <a:cubicBezTo>
                    <a:pt x="391" y="2962"/>
                    <a:pt x="271" y="3263"/>
                    <a:pt x="301" y="3564"/>
                  </a:cubicBezTo>
                  <a:cubicBezTo>
                    <a:pt x="395" y="3639"/>
                    <a:pt x="490" y="3703"/>
                    <a:pt x="569" y="3703"/>
                  </a:cubicBezTo>
                  <a:cubicBezTo>
                    <a:pt x="617" y="3703"/>
                    <a:pt x="659" y="3680"/>
                    <a:pt x="692" y="3624"/>
                  </a:cubicBezTo>
                  <a:cubicBezTo>
                    <a:pt x="753" y="3473"/>
                    <a:pt x="1475" y="3624"/>
                    <a:pt x="1475" y="3383"/>
                  </a:cubicBezTo>
                  <a:cubicBezTo>
                    <a:pt x="1475" y="3172"/>
                    <a:pt x="2227" y="3232"/>
                    <a:pt x="2227" y="3022"/>
                  </a:cubicBezTo>
                  <a:cubicBezTo>
                    <a:pt x="2227" y="2788"/>
                    <a:pt x="2652" y="2328"/>
                    <a:pt x="2925" y="2328"/>
                  </a:cubicBezTo>
                  <a:cubicBezTo>
                    <a:pt x="2933" y="2328"/>
                    <a:pt x="2941" y="2329"/>
                    <a:pt x="2950" y="2330"/>
                  </a:cubicBezTo>
                  <a:cubicBezTo>
                    <a:pt x="3220" y="2360"/>
                    <a:pt x="2919" y="2811"/>
                    <a:pt x="3281" y="2962"/>
                  </a:cubicBezTo>
                  <a:cubicBezTo>
                    <a:pt x="3672" y="3112"/>
                    <a:pt x="3100" y="3714"/>
                    <a:pt x="3281" y="3925"/>
                  </a:cubicBezTo>
                  <a:cubicBezTo>
                    <a:pt x="3354" y="3998"/>
                    <a:pt x="3408" y="4022"/>
                    <a:pt x="3456" y="4022"/>
                  </a:cubicBezTo>
                  <a:cubicBezTo>
                    <a:pt x="3525" y="4022"/>
                    <a:pt x="3583" y="3973"/>
                    <a:pt x="3672" y="3955"/>
                  </a:cubicBezTo>
                  <a:lnTo>
                    <a:pt x="4123" y="3804"/>
                  </a:lnTo>
                  <a:cubicBezTo>
                    <a:pt x="4402" y="3554"/>
                    <a:pt x="4783" y="3226"/>
                    <a:pt x="4958" y="3226"/>
                  </a:cubicBezTo>
                  <a:cubicBezTo>
                    <a:pt x="4972" y="3226"/>
                    <a:pt x="4985" y="3228"/>
                    <a:pt x="4996" y="3232"/>
                  </a:cubicBezTo>
                  <a:cubicBezTo>
                    <a:pt x="5106" y="3342"/>
                    <a:pt x="5090" y="3477"/>
                    <a:pt x="5224" y="3477"/>
                  </a:cubicBezTo>
                  <a:cubicBezTo>
                    <a:pt x="5237" y="3477"/>
                    <a:pt x="5251" y="3476"/>
                    <a:pt x="5267" y="3473"/>
                  </a:cubicBezTo>
                  <a:cubicBezTo>
                    <a:pt x="5302" y="3468"/>
                    <a:pt x="5337" y="3466"/>
                    <a:pt x="5372" y="3466"/>
                  </a:cubicBezTo>
                  <a:cubicBezTo>
                    <a:pt x="5545" y="3466"/>
                    <a:pt x="5708" y="3528"/>
                    <a:pt x="5809" y="3654"/>
                  </a:cubicBezTo>
                  <a:lnTo>
                    <a:pt x="6079" y="3594"/>
                  </a:lnTo>
                  <a:lnTo>
                    <a:pt x="5929" y="2540"/>
                  </a:lnTo>
                  <a:cubicBezTo>
                    <a:pt x="5869" y="2269"/>
                    <a:pt x="5116" y="2029"/>
                    <a:pt x="5116" y="2029"/>
                  </a:cubicBezTo>
                  <a:lnTo>
                    <a:pt x="5026" y="1306"/>
                  </a:lnTo>
                  <a:cubicBezTo>
                    <a:pt x="4778" y="1374"/>
                    <a:pt x="4513" y="1408"/>
                    <a:pt x="4256" y="1408"/>
                  </a:cubicBezTo>
                  <a:cubicBezTo>
                    <a:pt x="4170" y="1408"/>
                    <a:pt x="4086" y="1404"/>
                    <a:pt x="4003" y="1397"/>
                  </a:cubicBezTo>
                  <a:cubicBezTo>
                    <a:pt x="3967" y="1379"/>
                    <a:pt x="3925" y="1373"/>
                    <a:pt x="3879" y="1373"/>
                  </a:cubicBezTo>
                  <a:cubicBezTo>
                    <a:pt x="3787" y="1373"/>
                    <a:pt x="3681" y="1397"/>
                    <a:pt x="3580" y="1397"/>
                  </a:cubicBezTo>
                  <a:cubicBezTo>
                    <a:pt x="3479" y="1397"/>
                    <a:pt x="3383" y="1373"/>
                    <a:pt x="3311" y="1276"/>
                  </a:cubicBezTo>
                  <a:cubicBezTo>
                    <a:pt x="3274" y="1226"/>
                    <a:pt x="3233" y="1208"/>
                    <a:pt x="3187" y="1208"/>
                  </a:cubicBezTo>
                  <a:cubicBezTo>
                    <a:pt x="3082" y="1208"/>
                    <a:pt x="2952" y="1299"/>
                    <a:pt x="2803" y="1299"/>
                  </a:cubicBezTo>
                  <a:cubicBezTo>
                    <a:pt x="2744" y="1299"/>
                    <a:pt x="2683" y="1285"/>
                    <a:pt x="2618" y="1246"/>
                  </a:cubicBezTo>
                  <a:cubicBezTo>
                    <a:pt x="2525" y="1190"/>
                    <a:pt x="2385" y="1175"/>
                    <a:pt x="2234" y="1175"/>
                  </a:cubicBezTo>
                  <a:cubicBezTo>
                    <a:pt x="2051" y="1175"/>
                    <a:pt x="1853" y="1197"/>
                    <a:pt x="1704" y="1197"/>
                  </a:cubicBezTo>
                  <a:cubicBezTo>
                    <a:pt x="1582" y="1197"/>
                    <a:pt x="1494" y="1182"/>
                    <a:pt x="1475" y="1126"/>
                  </a:cubicBezTo>
                  <a:cubicBezTo>
                    <a:pt x="1446" y="954"/>
                    <a:pt x="1773" y="672"/>
                    <a:pt x="2012" y="672"/>
                  </a:cubicBezTo>
                  <a:cubicBezTo>
                    <a:pt x="2024" y="672"/>
                    <a:pt x="2035" y="673"/>
                    <a:pt x="2047" y="674"/>
                  </a:cubicBezTo>
                  <a:lnTo>
                    <a:pt x="2318" y="674"/>
                  </a:lnTo>
                  <a:cubicBezTo>
                    <a:pt x="2378" y="524"/>
                    <a:pt x="2649" y="103"/>
                    <a:pt x="2558" y="42"/>
                  </a:cubicBezTo>
                  <a:cubicBezTo>
                    <a:pt x="2539" y="14"/>
                    <a:pt x="2498" y="0"/>
                    <a:pt x="2445"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33" name="Google Shape;3027;p123">
              <a:extLst>
                <a:ext uri="{FF2B5EF4-FFF2-40B4-BE49-F238E27FC236}">
                  <a16:creationId xmlns:a16="http://schemas.microsoft.com/office/drawing/2014/main" id="{AC1DC0E5-CAD2-614C-A418-DBF3131D4625}"/>
                </a:ext>
              </a:extLst>
            </p:cNvPr>
            <p:cNvSpPr/>
            <p:nvPr/>
          </p:nvSpPr>
          <p:spPr>
            <a:xfrm>
              <a:off x="2321887" y="2636776"/>
              <a:ext cx="21500" cy="39495"/>
            </a:xfrm>
            <a:custGeom>
              <a:avLst/>
              <a:gdLst/>
              <a:ahLst/>
              <a:cxnLst/>
              <a:rect l="l" t="t" r="r" b="b"/>
              <a:pathLst>
                <a:path w="693" h="1273" extrusionOk="0">
                  <a:moveTo>
                    <a:pt x="136" y="1"/>
                  </a:moveTo>
                  <a:cubicBezTo>
                    <a:pt x="51" y="1"/>
                    <a:pt x="1" y="146"/>
                    <a:pt x="1" y="380"/>
                  </a:cubicBezTo>
                  <a:cubicBezTo>
                    <a:pt x="1" y="711"/>
                    <a:pt x="272" y="711"/>
                    <a:pt x="272" y="892"/>
                  </a:cubicBezTo>
                  <a:cubicBezTo>
                    <a:pt x="272" y="1071"/>
                    <a:pt x="468" y="1273"/>
                    <a:pt x="564" y="1273"/>
                  </a:cubicBezTo>
                  <a:cubicBezTo>
                    <a:pt x="580" y="1273"/>
                    <a:pt x="594" y="1266"/>
                    <a:pt x="603" y="1253"/>
                  </a:cubicBezTo>
                  <a:cubicBezTo>
                    <a:pt x="693" y="1042"/>
                    <a:pt x="422" y="892"/>
                    <a:pt x="392" y="741"/>
                  </a:cubicBezTo>
                  <a:cubicBezTo>
                    <a:pt x="362" y="591"/>
                    <a:pt x="512" y="410"/>
                    <a:pt x="302" y="140"/>
                  </a:cubicBezTo>
                  <a:cubicBezTo>
                    <a:pt x="238" y="44"/>
                    <a:pt x="182" y="1"/>
                    <a:pt x="136" y="1"/>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34" name="Google Shape;3028;p123">
              <a:extLst>
                <a:ext uri="{FF2B5EF4-FFF2-40B4-BE49-F238E27FC236}">
                  <a16:creationId xmlns:a16="http://schemas.microsoft.com/office/drawing/2014/main" id="{6954282F-F71D-1846-906E-F3913DDFE8FC}"/>
                </a:ext>
              </a:extLst>
            </p:cNvPr>
            <p:cNvSpPr/>
            <p:nvPr/>
          </p:nvSpPr>
          <p:spPr>
            <a:xfrm>
              <a:off x="2727477" y="3008394"/>
              <a:ext cx="28605" cy="19918"/>
            </a:xfrm>
            <a:custGeom>
              <a:avLst/>
              <a:gdLst/>
              <a:ahLst/>
              <a:cxnLst/>
              <a:rect l="l" t="t" r="r" b="b"/>
              <a:pathLst>
                <a:path w="922" h="642" extrusionOk="0">
                  <a:moveTo>
                    <a:pt x="563" y="0"/>
                  </a:moveTo>
                  <a:cubicBezTo>
                    <a:pt x="324" y="0"/>
                    <a:pt x="1" y="153"/>
                    <a:pt x="139" y="199"/>
                  </a:cubicBezTo>
                  <a:cubicBezTo>
                    <a:pt x="320" y="290"/>
                    <a:pt x="79" y="500"/>
                    <a:pt x="169" y="591"/>
                  </a:cubicBezTo>
                  <a:cubicBezTo>
                    <a:pt x="197" y="627"/>
                    <a:pt x="248" y="641"/>
                    <a:pt x="311" y="641"/>
                  </a:cubicBezTo>
                  <a:cubicBezTo>
                    <a:pt x="458" y="641"/>
                    <a:pt x="666" y="563"/>
                    <a:pt x="771" y="500"/>
                  </a:cubicBezTo>
                  <a:cubicBezTo>
                    <a:pt x="922" y="440"/>
                    <a:pt x="922" y="199"/>
                    <a:pt x="741" y="49"/>
                  </a:cubicBezTo>
                  <a:cubicBezTo>
                    <a:pt x="699" y="14"/>
                    <a:pt x="635" y="0"/>
                    <a:pt x="563"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35" name="Google Shape;3029;p123">
              <a:extLst>
                <a:ext uri="{FF2B5EF4-FFF2-40B4-BE49-F238E27FC236}">
                  <a16:creationId xmlns:a16="http://schemas.microsoft.com/office/drawing/2014/main" id="{FCBCD275-0BAB-6E45-BBCA-A82552C08A18}"/>
                </a:ext>
              </a:extLst>
            </p:cNvPr>
            <p:cNvSpPr/>
            <p:nvPr/>
          </p:nvSpPr>
          <p:spPr>
            <a:xfrm>
              <a:off x="5317165" y="2190109"/>
              <a:ext cx="82216" cy="70054"/>
            </a:xfrm>
            <a:custGeom>
              <a:avLst/>
              <a:gdLst/>
              <a:ahLst/>
              <a:cxnLst/>
              <a:rect l="l" t="t" r="r" b="b"/>
              <a:pathLst>
                <a:path w="2650" h="2258" extrusionOk="0">
                  <a:moveTo>
                    <a:pt x="813" y="1"/>
                  </a:moveTo>
                  <a:lnTo>
                    <a:pt x="1" y="181"/>
                  </a:lnTo>
                  <a:cubicBezTo>
                    <a:pt x="181" y="392"/>
                    <a:pt x="61" y="482"/>
                    <a:pt x="181" y="783"/>
                  </a:cubicBezTo>
                  <a:cubicBezTo>
                    <a:pt x="302" y="1084"/>
                    <a:pt x="663" y="964"/>
                    <a:pt x="783" y="1054"/>
                  </a:cubicBezTo>
                  <a:cubicBezTo>
                    <a:pt x="843" y="1114"/>
                    <a:pt x="904" y="1235"/>
                    <a:pt x="934" y="1355"/>
                  </a:cubicBezTo>
                  <a:lnTo>
                    <a:pt x="994" y="1355"/>
                  </a:lnTo>
                  <a:cubicBezTo>
                    <a:pt x="1144" y="1385"/>
                    <a:pt x="1205" y="1415"/>
                    <a:pt x="1235" y="1536"/>
                  </a:cubicBezTo>
                  <a:lnTo>
                    <a:pt x="1626" y="1686"/>
                  </a:lnTo>
                  <a:cubicBezTo>
                    <a:pt x="1644" y="1698"/>
                    <a:pt x="1660" y="1702"/>
                    <a:pt x="1675" y="1702"/>
                  </a:cubicBezTo>
                  <a:cubicBezTo>
                    <a:pt x="1698" y="1702"/>
                    <a:pt x="1721" y="1694"/>
                    <a:pt x="1750" y="1694"/>
                  </a:cubicBezTo>
                  <a:cubicBezTo>
                    <a:pt x="1799" y="1694"/>
                    <a:pt x="1867" y="1716"/>
                    <a:pt x="1987" y="1837"/>
                  </a:cubicBezTo>
                  <a:cubicBezTo>
                    <a:pt x="2228" y="2047"/>
                    <a:pt x="2168" y="2107"/>
                    <a:pt x="2138" y="2258"/>
                  </a:cubicBezTo>
                  <a:cubicBezTo>
                    <a:pt x="2318" y="2258"/>
                    <a:pt x="2499" y="2198"/>
                    <a:pt x="2649" y="2138"/>
                  </a:cubicBezTo>
                  <a:cubicBezTo>
                    <a:pt x="2589" y="2017"/>
                    <a:pt x="2529" y="1897"/>
                    <a:pt x="2529" y="1746"/>
                  </a:cubicBezTo>
                  <a:cubicBezTo>
                    <a:pt x="2529" y="1566"/>
                    <a:pt x="2017" y="1415"/>
                    <a:pt x="2017" y="1144"/>
                  </a:cubicBezTo>
                  <a:cubicBezTo>
                    <a:pt x="2017" y="904"/>
                    <a:pt x="1686" y="693"/>
                    <a:pt x="1716" y="543"/>
                  </a:cubicBezTo>
                  <a:cubicBezTo>
                    <a:pt x="1746" y="392"/>
                    <a:pt x="1626" y="212"/>
                    <a:pt x="1506" y="61"/>
                  </a:cubicBezTo>
                  <a:lnTo>
                    <a:pt x="813" y="1"/>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36" name="Google Shape;3030;p123">
              <a:extLst>
                <a:ext uri="{FF2B5EF4-FFF2-40B4-BE49-F238E27FC236}">
                  <a16:creationId xmlns:a16="http://schemas.microsoft.com/office/drawing/2014/main" id="{F1ED743F-CA0A-5243-A49D-D6928110A6F2}"/>
                </a:ext>
              </a:extLst>
            </p:cNvPr>
            <p:cNvSpPr/>
            <p:nvPr/>
          </p:nvSpPr>
          <p:spPr>
            <a:xfrm>
              <a:off x="5355449" y="2173325"/>
              <a:ext cx="122363" cy="99932"/>
            </a:xfrm>
            <a:custGeom>
              <a:avLst/>
              <a:gdLst/>
              <a:ahLst/>
              <a:cxnLst/>
              <a:rect l="l" t="t" r="r" b="b"/>
              <a:pathLst>
                <a:path w="3944" h="3221" extrusionOk="0">
                  <a:moveTo>
                    <a:pt x="1" y="2077"/>
                  </a:moveTo>
                  <a:lnTo>
                    <a:pt x="1" y="2077"/>
                  </a:lnTo>
                  <a:cubicBezTo>
                    <a:pt x="31" y="2197"/>
                    <a:pt x="31" y="2378"/>
                    <a:pt x="272" y="2468"/>
                  </a:cubicBezTo>
                  <a:cubicBezTo>
                    <a:pt x="482" y="2588"/>
                    <a:pt x="61" y="2709"/>
                    <a:pt x="783" y="2799"/>
                  </a:cubicBezTo>
                  <a:lnTo>
                    <a:pt x="904" y="2799"/>
                  </a:lnTo>
                  <a:cubicBezTo>
                    <a:pt x="934" y="2618"/>
                    <a:pt x="934" y="2558"/>
                    <a:pt x="753" y="2378"/>
                  </a:cubicBezTo>
                  <a:cubicBezTo>
                    <a:pt x="573" y="2197"/>
                    <a:pt x="482" y="2287"/>
                    <a:pt x="392" y="2227"/>
                  </a:cubicBezTo>
                  <a:lnTo>
                    <a:pt x="1" y="2077"/>
                  </a:lnTo>
                  <a:close/>
                  <a:moveTo>
                    <a:pt x="1295" y="0"/>
                  </a:moveTo>
                  <a:cubicBezTo>
                    <a:pt x="1205" y="121"/>
                    <a:pt x="1084" y="211"/>
                    <a:pt x="1144" y="301"/>
                  </a:cubicBezTo>
                  <a:cubicBezTo>
                    <a:pt x="1174" y="391"/>
                    <a:pt x="1505" y="542"/>
                    <a:pt x="1385" y="632"/>
                  </a:cubicBezTo>
                  <a:cubicBezTo>
                    <a:pt x="1306" y="685"/>
                    <a:pt x="1215" y="709"/>
                    <a:pt x="1123" y="709"/>
                  </a:cubicBezTo>
                  <a:cubicBezTo>
                    <a:pt x="1005" y="709"/>
                    <a:pt x="885" y="670"/>
                    <a:pt x="783" y="602"/>
                  </a:cubicBezTo>
                  <a:cubicBezTo>
                    <a:pt x="717" y="514"/>
                    <a:pt x="491" y="394"/>
                    <a:pt x="350" y="394"/>
                  </a:cubicBezTo>
                  <a:cubicBezTo>
                    <a:pt x="298" y="394"/>
                    <a:pt x="258" y="411"/>
                    <a:pt x="241" y="452"/>
                  </a:cubicBezTo>
                  <a:cubicBezTo>
                    <a:pt x="151" y="602"/>
                    <a:pt x="542" y="903"/>
                    <a:pt x="482" y="1084"/>
                  </a:cubicBezTo>
                  <a:cubicBezTo>
                    <a:pt x="452" y="1294"/>
                    <a:pt x="783" y="1475"/>
                    <a:pt x="783" y="1685"/>
                  </a:cubicBezTo>
                  <a:cubicBezTo>
                    <a:pt x="783" y="1926"/>
                    <a:pt x="1295" y="2107"/>
                    <a:pt x="1295" y="2287"/>
                  </a:cubicBezTo>
                  <a:cubicBezTo>
                    <a:pt x="1295" y="2438"/>
                    <a:pt x="1355" y="2558"/>
                    <a:pt x="1445" y="2679"/>
                  </a:cubicBezTo>
                  <a:cubicBezTo>
                    <a:pt x="1806" y="2528"/>
                    <a:pt x="2107" y="2227"/>
                    <a:pt x="2378" y="2107"/>
                  </a:cubicBezTo>
                  <a:cubicBezTo>
                    <a:pt x="2399" y="2098"/>
                    <a:pt x="2418" y="2093"/>
                    <a:pt x="2435" y="2093"/>
                  </a:cubicBezTo>
                  <a:cubicBezTo>
                    <a:pt x="2640" y="2093"/>
                    <a:pt x="2584" y="2718"/>
                    <a:pt x="2529" y="2829"/>
                  </a:cubicBezTo>
                  <a:cubicBezTo>
                    <a:pt x="2438" y="2949"/>
                    <a:pt x="2769" y="3130"/>
                    <a:pt x="3070" y="3220"/>
                  </a:cubicBezTo>
                  <a:cubicBezTo>
                    <a:pt x="3070" y="3070"/>
                    <a:pt x="3131" y="2889"/>
                    <a:pt x="3221" y="2739"/>
                  </a:cubicBezTo>
                  <a:cubicBezTo>
                    <a:pt x="3642" y="2257"/>
                    <a:pt x="3943" y="1505"/>
                    <a:pt x="3702" y="1084"/>
                  </a:cubicBezTo>
                  <a:cubicBezTo>
                    <a:pt x="3492" y="753"/>
                    <a:pt x="3281" y="452"/>
                    <a:pt x="3010" y="151"/>
                  </a:cubicBezTo>
                  <a:cubicBezTo>
                    <a:pt x="2890" y="452"/>
                    <a:pt x="2559" y="361"/>
                    <a:pt x="2499" y="542"/>
                  </a:cubicBezTo>
                  <a:cubicBezTo>
                    <a:pt x="2474" y="583"/>
                    <a:pt x="2445" y="597"/>
                    <a:pt x="2413" y="597"/>
                  </a:cubicBezTo>
                  <a:cubicBezTo>
                    <a:pt x="2343" y="597"/>
                    <a:pt x="2262" y="531"/>
                    <a:pt x="2186" y="531"/>
                  </a:cubicBezTo>
                  <a:cubicBezTo>
                    <a:pt x="2170" y="531"/>
                    <a:pt x="2153" y="534"/>
                    <a:pt x="2137" y="542"/>
                  </a:cubicBezTo>
                  <a:cubicBezTo>
                    <a:pt x="2134" y="543"/>
                    <a:pt x="2131" y="543"/>
                    <a:pt x="2127" y="543"/>
                  </a:cubicBezTo>
                  <a:cubicBezTo>
                    <a:pt x="2029" y="543"/>
                    <a:pt x="1768" y="150"/>
                    <a:pt x="1536" y="121"/>
                  </a:cubicBezTo>
                  <a:lnTo>
                    <a:pt x="1295" y="0"/>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37" name="Google Shape;3031;p123">
              <a:extLst>
                <a:ext uri="{FF2B5EF4-FFF2-40B4-BE49-F238E27FC236}">
                  <a16:creationId xmlns:a16="http://schemas.microsoft.com/office/drawing/2014/main" id="{F1A6F772-9E07-3149-B626-BFB7F60DE772}"/>
                </a:ext>
              </a:extLst>
            </p:cNvPr>
            <p:cNvSpPr/>
            <p:nvPr/>
          </p:nvSpPr>
          <p:spPr>
            <a:xfrm>
              <a:off x="5745744" y="2276917"/>
              <a:ext cx="352041" cy="249100"/>
            </a:xfrm>
            <a:custGeom>
              <a:avLst/>
              <a:gdLst/>
              <a:ahLst/>
              <a:cxnLst/>
              <a:rect l="l" t="t" r="r" b="b"/>
              <a:pathLst>
                <a:path w="11347" h="8029" extrusionOk="0">
                  <a:moveTo>
                    <a:pt x="8610" y="0"/>
                  </a:moveTo>
                  <a:cubicBezTo>
                    <a:pt x="8312" y="0"/>
                    <a:pt x="7915" y="460"/>
                    <a:pt x="7915" y="694"/>
                  </a:cubicBezTo>
                  <a:cubicBezTo>
                    <a:pt x="7915" y="904"/>
                    <a:pt x="7163" y="844"/>
                    <a:pt x="7163" y="1055"/>
                  </a:cubicBezTo>
                  <a:cubicBezTo>
                    <a:pt x="7163" y="1151"/>
                    <a:pt x="7057" y="1166"/>
                    <a:pt x="6922" y="1166"/>
                  </a:cubicBezTo>
                  <a:cubicBezTo>
                    <a:pt x="6864" y="1166"/>
                    <a:pt x="6801" y="1163"/>
                    <a:pt x="6739" y="1163"/>
                  </a:cubicBezTo>
                  <a:cubicBezTo>
                    <a:pt x="6583" y="1163"/>
                    <a:pt x="6432" y="1180"/>
                    <a:pt x="6380" y="1296"/>
                  </a:cubicBezTo>
                  <a:cubicBezTo>
                    <a:pt x="6353" y="1358"/>
                    <a:pt x="6312" y="1382"/>
                    <a:pt x="6263" y="1382"/>
                  </a:cubicBezTo>
                  <a:cubicBezTo>
                    <a:pt x="6100" y="1382"/>
                    <a:pt x="5843" y="1115"/>
                    <a:pt x="5658" y="1115"/>
                  </a:cubicBezTo>
                  <a:cubicBezTo>
                    <a:pt x="5467" y="1115"/>
                    <a:pt x="5325" y="866"/>
                    <a:pt x="5097" y="866"/>
                  </a:cubicBezTo>
                  <a:cubicBezTo>
                    <a:pt x="5074" y="866"/>
                    <a:pt x="5051" y="869"/>
                    <a:pt x="5026" y="874"/>
                  </a:cubicBezTo>
                  <a:cubicBezTo>
                    <a:pt x="4966" y="894"/>
                    <a:pt x="4911" y="903"/>
                    <a:pt x="4858" y="903"/>
                  </a:cubicBezTo>
                  <a:cubicBezTo>
                    <a:pt x="4674" y="903"/>
                    <a:pt x="4528" y="801"/>
                    <a:pt x="4364" y="754"/>
                  </a:cubicBezTo>
                  <a:cubicBezTo>
                    <a:pt x="4357" y="753"/>
                    <a:pt x="4350" y="753"/>
                    <a:pt x="4342" y="753"/>
                  </a:cubicBezTo>
                  <a:cubicBezTo>
                    <a:pt x="4128" y="753"/>
                    <a:pt x="3985" y="1150"/>
                    <a:pt x="3799" y="1150"/>
                  </a:cubicBezTo>
                  <a:cubicBezTo>
                    <a:pt x="3787" y="1150"/>
                    <a:pt x="3775" y="1149"/>
                    <a:pt x="3762" y="1145"/>
                  </a:cubicBezTo>
                  <a:cubicBezTo>
                    <a:pt x="3744" y="1138"/>
                    <a:pt x="3726" y="1135"/>
                    <a:pt x="3709" y="1135"/>
                  </a:cubicBezTo>
                  <a:cubicBezTo>
                    <a:pt x="3499" y="1135"/>
                    <a:pt x="3362" y="1622"/>
                    <a:pt x="3251" y="1928"/>
                  </a:cubicBezTo>
                  <a:cubicBezTo>
                    <a:pt x="3160" y="2259"/>
                    <a:pt x="2137" y="2229"/>
                    <a:pt x="2137" y="2560"/>
                  </a:cubicBezTo>
                  <a:cubicBezTo>
                    <a:pt x="2137" y="2785"/>
                    <a:pt x="1857" y="2941"/>
                    <a:pt x="1651" y="2941"/>
                  </a:cubicBezTo>
                  <a:cubicBezTo>
                    <a:pt x="1554" y="2941"/>
                    <a:pt x="1474" y="2907"/>
                    <a:pt x="1445" y="2831"/>
                  </a:cubicBezTo>
                  <a:cubicBezTo>
                    <a:pt x="1412" y="2701"/>
                    <a:pt x="1284" y="2676"/>
                    <a:pt x="1158" y="2676"/>
                  </a:cubicBezTo>
                  <a:cubicBezTo>
                    <a:pt x="1080" y="2676"/>
                    <a:pt x="1003" y="2685"/>
                    <a:pt x="951" y="2685"/>
                  </a:cubicBezTo>
                  <a:cubicBezTo>
                    <a:pt x="931" y="2685"/>
                    <a:pt x="915" y="2684"/>
                    <a:pt x="903" y="2680"/>
                  </a:cubicBezTo>
                  <a:cubicBezTo>
                    <a:pt x="886" y="2676"/>
                    <a:pt x="866" y="2673"/>
                    <a:pt x="844" y="2673"/>
                  </a:cubicBezTo>
                  <a:cubicBezTo>
                    <a:pt x="712" y="2673"/>
                    <a:pt x="516" y="2762"/>
                    <a:pt x="542" y="3071"/>
                  </a:cubicBezTo>
                  <a:cubicBezTo>
                    <a:pt x="602" y="3402"/>
                    <a:pt x="241" y="3553"/>
                    <a:pt x="241" y="3673"/>
                  </a:cubicBezTo>
                  <a:cubicBezTo>
                    <a:pt x="241" y="3763"/>
                    <a:pt x="30" y="4185"/>
                    <a:pt x="151" y="4365"/>
                  </a:cubicBezTo>
                  <a:cubicBezTo>
                    <a:pt x="241" y="4576"/>
                    <a:pt x="0" y="4877"/>
                    <a:pt x="151" y="5208"/>
                  </a:cubicBezTo>
                  <a:cubicBezTo>
                    <a:pt x="211" y="5509"/>
                    <a:pt x="241" y="5810"/>
                    <a:pt x="241" y="6111"/>
                  </a:cubicBezTo>
                  <a:cubicBezTo>
                    <a:pt x="331" y="6231"/>
                    <a:pt x="933" y="6171"/>
                    <a:pt x="1054" y="6502"/>
                  </a:cubicBezTo>
                  <a:cubicBezTo>
                    <a:pt x="1144" y="6863"/>
                    <a:pt x="241" y="7465"/>
                    <a:pt x="241" y="7646"/>
                  </a:cubicBezTo>
                  <a:cubicBezTo>
                    <a:pt x="241" y="7826"/>
                    <a:pt x="301" y="7796"/>
                    <a:pt x="392" y="7917"/>
                  </a:cubicBezTo>
                  <a:lnTo>
                    <a:pt x="1595" y="8007"/>
                  </a:lnTo>
                  <a:cubicBezTo>
                    <a:pt x="1662" y="8022"/>
                    <a:pt x="1761" y="8028"/>
                    <a:pt x="1883" y="8028"/>
                  </a:cubicBezTo>
                  <a:cubicBezTo>
                    <a:pt x="2746" y="8028"/>
                    <a:pt x="4759" y="7698"/>
                    <a:pt x="4785" y="7646"/>
                  </a:cubicBezTo>
                  <a:cubicBezTo>
                    <a:pt x="4846" y="7586"/>
                    <a:pt x="4695" y="6954"/>
                    <a:pt x="4725" y="6863"/>
                  </a:cubicBezTo>
                  <a:cubicBezTo>
                    <a:pt x="4846" y="6622"/>
                    <a:pt x="5086" y="6472"/>
                    <a:pt x="5357" y="6472"/>
                  </a:cubicBezTo>
                  <a:cubicBezTo>
                    <a:pt x="5473" y="6472"/>
                    <a:pt x="5589" y="6489"/>
                    <a:pt x="5684" y="6489"/>
                  </a:cubicBezTo>
                  <a:cubicBezTo>
                    <a:pt x="5810" y="6489"/>
                    <a:pt x="5899" y="6459"/>
                    <a:pt x="5899" y="6322"/>
                  </a:cubicBezTo>
                  <a:cubicBezTo>
                    <a:pt x="5899" y="6159"/>
                    <a:pt x="6363" y="5961"/>
                    <a:pt x="6604" y="5961"/>
                  </a:cubicBezTo>
                  <a:cubicBezTo>
                    <a:pt x="6676" y="5961"/>
                    <a:pt x="6728" y="5979"/>
                    <a:pt x="6742" y="6021"/>
                  </a:cubicBezTo>
                  <a:cubicBezTo>
                    <a:pt x="6774" y="6085"/>
                    <a:pt x="6829" y="6122"/>
                    <a:pt x="6888" y="6122"/>
                  </a:cubicBezTo>
                  <a:cubicBezTo>
                    <a:pt x="6994" y="6122"/>
                    <a:pt x="7113" y="6000"/>
                    <a:pt x="7133" y="5690"/>
                  </a:cubicBezTo>
                  <a:cubicBezTo>
                    <a:pt x="7163" y="5208"/>
                    <a:pt x="7103" y="4847"/>
                    <a:pt x="7374" y="4847"/>
                  </a:cubicBezTo>
                  <a:cubicBezTo>
                    <a:pt x="7614" y="4847"/>
                    <a:pt x="7915" y="4666"/>
                    <a:pt x="7915" y="4516"/>
                  </a:cubicBezTo>
                  <a:cubicBezTo>
                    <a:pt x="7915" y="4365"/>
                    <a:pt x="7554" y="4095"/>
                    <a:pt x="7675" y="4004"/>
                  </a:cubicBezTo>
                  <a:cubicBezTo>
                    <a:pt x="7688" y="3986"/>
                    <a:pt x="7715" y="3979"/>
                    <a:pt x="7751" y="3979"/>
                  </a:cubicBezTo>
                  <a:cubicBezTo>
                    <a:pt x="7900" y="3979"/>
                    <a:pt x="8208" y="4102"/>
                    <a:pt x="8386" y="4102"/>
                  </a:cubicBezTo>
                  <a:cubicBezTo>
                    <a:pt x="8454" y="4102"/>
                    <a:pt x="8503" y="4084"/>
                    <a:pt x="8517" y="4034"/>
                  </a:cubicBezTo>
                  <a:cubicBezTo>
                    <a:pt x="8607" y="3794"/>
                    <a:pt x="8487" y="3583"/>
                    <a:pt x="8607" y="3402"/>
                  </a:cubicBezTo>
                  <a:cubicBezTo>
                    <a:pt x="8728" y="3192"/>
                    <a:pt x="9029" y="3011"/>
                    <a:pt x="8969" y="2831"/>
                  </a:cubicBezTo>
                  <a:cubicBezTo>
                    <a:pt x="8938" y="2650"/>
                    <a:pt x="9029" y="2530"/>
                    <a:pt x="8878" y="2379"/>
                  </a:cubicBezTo>
                  <a:cubicBezTo>
                    <a:pt x="8698" y="2229"/>
                    <a:pt x="8758" y="1988"/>
                    <a:pt x="8969" y="1958"/>
                  </a:cubicBezTo>
                  <a:lnTo>
                    <a:pt x="9089" y="1958"/>
                  </a:lnTo>
                  <a:lnTo>
                    <a:pt x="9510" y="1807"/>
                  </a:lnTo>
                  <a:cubicBezTo>
                    <a:pt x="9750" y="1639"/>
                    <a:pt x="10124" y="1471"/>
                    <a:pt x="10388" y="1471"/>
                  </a:cubicBezTo>
                  <a:cubicBezTo>
                    <a:pt x="10455" y="1471"/>
                    <a:pt x="10515" y="1482"/>
                    <a:pt x="10564" y="1506"/>
                  </a:cubicBezTo>
                  <a:cubicBezTo>
                    <a:pt x="10618" y="1518"/>
                    <a:pt x="10673" y="1524"/>
                    <a:pt x="10729" y="1524"/>
                  </a:cubicBezTo>
                  <a:cubicBezTo>
                    <a:pt x="10951" y="1524"/>
                    <a:pt x="11178" y="1428"/>
                    <a:pt x="11346" y="1236"/>
                  </a:cubicBezTo>
                  <a:cubicBezTo>
                    <a:pt x="11226" y="1175"/>
                    <a:pt x="11105" y="1145"/>
                    <a:pt x="10985" y="1145"/>
                  </a:cubicBezTo>
                  <a:cubicBezTo>
                    <a:pt x="10966" y="1148"/>
                    <a:pt x="10950" y="1149"/>
                    <a:pt x="10935" y="1149"/>
                  </a:cubicBezTo>
                  <a:cubicBezTo>
                    <a:pt x="10783" y="1149"/>
                    <a:pt x="10821" y="1014"/>
                    <a:pt x="10684" y="904"/>
                  </a:cubicBezTo>
                  <a:cubicBezTo>
                    <a:pt x="10669" y="895"/>
                    <a:pt x="10651" y="891"/>
                    <a:pt x="10631" y="891"/>
                  </a:cubicBezTo>
                  <a:cubicBezTo>
                    <a:pt x="10450" y="891"/>
                    <a:pt x="10082" y="1233"/>
                    <a:pt x="9811" y="1476"/>
                  </a:cubicBezTo>
                  <a:lnTo>
                    <a:pt x="9390" y="1627"/>
                  </a:lnTo>
                  <a:cubicBezTo>
                    <a:pt x="9291" y="1643"/>
                    <a:pt x="9201" y="1669"/>
                    <a:pt x="9126" y="1669"/>
                  </a:cubicBezTo>
                  <a:cubicBezTo>
                    <a:pt x="9063" y="1669"/>
                    <a:pt x="9009" y="1651"/>
                    <a:pt x="8969" y="1597"/>
                  </a:cubicBezTo>
                  <a:cubicBezTo>
                    <a:pt x="8908" y="1476"/>
                    <a:pt x="9300" y="844"/>
                    <a:pt x="8969" y="664"/>
                  </a:cubicBezTo>
                  <a:cubicBezTo>
                    <a:pt x="8638" y="453"/>
                    <a:pt x="8938" y="62"/>
                    <a:pt x="8638" y="2"/>
                  </a:cubicBezTo>
                  <a:cubicBezTo>
                    <a:pt x="8628" y="1"/>
                    <a:pt x="8619" y="0"/>
                    <a:pt x="8610"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38" name="Google Shape;3032;p123">
              <a:extLst>
                <a:ext uri="{FF2B5EF4-FFF2-40B4-BE49-F238E27FC236}">
                  <a16:creationId xmlns:a16="http://schemas.microsoft.com/office/drawing/2014/main" id="{95755E90-C0D8-0347-9BA0-250ECEFD319C}"/>
                </a:ext>
              </a:extLst>
            </p:cNvPr>
            <p:cNvSpPr/>
            <p:nvPr/>
          </p:nvSpPr>
          <p:spPr>
            <a:xfrm>
              <a:off x="5757875" y="2314302"/>
              <a:ext cx="406179" cy="365102"/>
            </a:xfrm>
            <a:custGeom>
              <a:avLst/>
              <a:gdLst/>
              <a:ahLst/>
              <a:cxnLst/>
              <a:rect l="l" t="t" r="r" b="b"/>
              <a:pathLst>
                <a:path w="13092" h="11768" extrusionOk="0">
                  <a:moveTo>
                    <a:pt x="10955" y="0"/>
                  </a:moveTo>
                  <a:cubicBezTo>
                    <a:pt x="10781" y="174"/>
                    <a:pt x="10546" y="287"/>
                    <a:pt x="10316" y="287"/>
                  </a:cubicBezTo>
                  <a:cubicBezTo>
                    <a:pt x="10268" y="287"/>
                    <a:pt x="10220" y="282"/>
                    <a:pt x="10173" y="271"/>
                  </a:cubicBezTo>
                  <a:cubicBezTo>
                    <a:pt x="10120" y="245"/>
                    <a:pt x="10054" y="233"/>
                    <a:pt x="9980" y="233"/>
                  </a:cubicBezTo>
                  <a:cubicBezTo>
                    <a:pt x="9718" y="233"/>
                    <a:pt x="9354" y="384"/>
                    <a:pt x="9119" y="572"/>
                  </a:cubicBezTo>
                  <a:lnTo>
                    <a:pt x="8698" y="723"/>
                  </a:lnTo>
                  <a:lnTo>
                    <a:pt x="8578" y="723"/>
                  </a:lnTo>
                  <a:cubicBezTo>
                    <a:pt x="8367" y="753"/>
                    <a:pt x="8277" y="933"/>
                    <a:pt x="8457" y="1144"/>
                  </a:cubicBezTo>
                  <a:cubicBezTo>
                    <a:pt x="8668" y="1325"/>
                    <a:pt x="8578" y="1385"/>
                    <a:pt x="8578" y="1595"/>
                  </a:cubicBezTo>
                  <a:cubicBezTo>
                    <a:pt x="8578" y="1776"/>
                    <a:pt x="8307" y="1957"/>
                    <a:pt x="8216" y="2137"/>
                  </a:cubicBezTo>
                  <a:cubicBezTo>
                    <a:pt x="8096" y="2348"/>
                    <a:pt x="8247" y="2558"/>
                    <a:pt x="8126" y="2799"/>
                  </a:cubicBezTo>
                  <a:cubicBezTo>
                    <a:pt x="8096" y="2851"/>
                    <a:pt x="8034" y="2870"/>
                    <a:pt x="7955" y="2870"/>
                  </a:cubicBezTo>
                  <a:cubicBezTo>
                    <a:pt x="7741" y="2870"/>
                    <a:pt x="7409" y="2732"/>
                    <a:pt x="7289" y="2732"/>
                  </a:cubicBezTo>
                  <a:cubicBezTo>
                    <a:pt x="7273" y="2732"/>
                    <a:pt x="7261" y="2734"/>
                    <a:pt x="7253" y="2739"/>
                  </a:cubicBezTo>
                  <a:cubicBezTo>
                    <a:pt x="7193" y="2829"/>
                    <a:pt x="7494" y="3130"/>
                    <a:pt x="7524" y="3281"/>
                  </a:cubicBezTo>
                  <a:cubicBezTo>
                    <a:pt x="7554" y="3431"/>
                    <a:pt x="7253" y="3582"/>
                    <a:pt x="6952" y="3612"/>
                  </a:cubicBezTo>
                  <a:cubicBezTo>
                    <a:pt x="6652" y="3642"/>
                    <a:pt x="6742" y="4003"/>
                    <a:pt x="6742" y="4454"/>
                  </a:cubicBezTo>
                  <a:cubicBezTo>
                    <a:pt x="6742" y="4753"/>
                    <a:pt x="6597" y="4880"/>
                    <a:pt x="6482" y="4880"/>
                  </a:cubicBezTo>
                  <a:cubicBezTo>
                    <a:pt x="6423" y="4880"/>
                    <a:pt x="6371" y="4847"/>
                    <a:pt x="6351" y="4785"/>
                  </a:cubicBezTo>
                  <a:cubicBezTo>
                    <a:pt x="6343" y="4741"/>
                    <a:pt x="6289" y="4722"/>
                    <a:pt x="6212" y="4722"/>
                  </a:cubicBezTo>
                  <a:cubicBezTo>
                    <a:pt x="5972" y="4722"/>
                    <a:pt x="5508" y="4904"/>
                    <a:pt x="5508" y="5086"/>
                  </a:cubicBezTo>
                  <a:cubicBezTo>
                    <a:pt x="5508" y="5224"/>
                    <a:pt x="5419" y="5253"/>
                    <a:pt x="5293" y="5253"/>
                  </a:cubicBezTo>
                  <a:cubicBezTo>
                    <a:pt x="5198" y="5253"/>
                    <a:pt x="5082" y="5237"/>
                    <a:pt x="4966" y="5237"/>
                  </a:cubicBezTo>
                  <a:cubicBezTo>
                    <a:pt x="4695" y="5237"/>
                    <a:pt x="4455" y="5387"/>
                    <a:pt x="4334" y="5628"/>
                  </a:cubicBezTo>
                  <a:cubicBezTo>
                    <a:pt x="4304" y="5718"/>
                    <a:pt x="4455" y="6290"/>
                    <a:pt x="4394" y="6411"/>
                  </a:cubicBezTo>
                  <a:cubicBezTo>
                    <a:pt x="4368" y="6489"/>
                    <a:pt x="2389" y="6795"/>
                    <a:pt x="1515" y="6795"/>
                  </a:cubicBezTo>
                  <a:cubicBezTo>
                    <a:pt x="1382" y="6795"/>
                    <a:pt x="1276" y="6788"/>
                    <a:pt x="1204" y="6772"/>
                  </a:cubicBezTo>
                  <a:lnTo>
                    <a:pt x="1" y="6651"/>
                  </a:lnTo>
                  <a:lnTo>
                    <a:pt x="1" y="6651"/>
                  </a:lnTo>
                  <a:cubicBezTo>
                    <a:pt x="151" y="6772"/>
                    <a:pt x="302" y="6922"/>
                    <a:pt x="392" y="7073"/>
                  </a:cubicBezTo>
                  <a:cubicBezTo>
                    <a:pt x="542" y="7404"/>
                    <a:pt x="843" y="7644"/>
                    <a:pt x="1174" y="7765"/>
                  </a:cubicBezTo>
                  <a:cubicBezTo>
                    <a:pt x="1535" y="7945"/>
                    <a:pt x="1355" y="8577"/>
                    <a:pt x="1535" y="8668"/>
                  </a:cubicBezTo>
                  <a:cubicBezTo>
                    <a:pt x="1746" y="8728"/>
                    <a:pt x="1987" y="9239"/>
                    <a:pt x="1746" y="9239"/>
                  </a:cubicBezTo>
                  <a:lnTo>
                    <a:pt x="1024" y="9450"/>
                  </a:lnTo>
                  <a:cubicBezTo>
                    <a:pt x="723" y="9631"/>
                    <a:pt x="542" y="9932"/>
                    <a:pt x="542" y="10263"/>
                  </a:cubicBezTo>
                  <a:lnTo>
                    <a:pt x="542" y="10473"/>
                  </a:lnTo>
                  <a:cubicBezTo>
                    <a:pt x="691" y="10480"/>
                    <a:pt x="849" y="10484"/>
                    <a:pt x="1004" y="10484"/>
                  </a:cubicBezTo>
                  <a:cubicBezTo>
                    <a:pt x="1505" y="10484"/>
                    <a:pt x="1978" y="10445"/>
                    <a:pt x="2047" y="10353"/>
                  </a:cubicBezTo>
                  <a:cubicBezTo>
                    <a:pt x="2141" y="10259"/>
                    <a:pt x="2270" y="10212"/>
                    <a:pt x="2406" y="10212"/>
                  </a:cubicBezTo>
                  <a:cubicBezTo>
                    <a:pt x="2487" y="10212"/>
                    <a:pt x="2570" y="10229"/>
                    <a:pt x="2649" y="10263"/>
                  </a:cubicBezTo>
                  <a:cubicBezTo>
                    <a:pt x="2850" y="10335"/>
                    <a:pt x="3058" y="10372"/>
                    <a:pt x="3263" y="10372"/>
                  </a:cubicBezTo>
                  <a:cubicBezTo>
                    <a:pt x="3487" y="10372"/>
                    <a:pt x="3708" y="10327"/>
                    <a:pt x="3913" y="10233"/>
                  </a:cubicBezTo>
                  <a:cubicBezTo>
                    <a:pt x="4027" y="10180"/>
                    <a:pt x="4127" y="10158"/>
                    <a:pt x="4210" y="10158"/>
                  </a:cubicBezTo>
                  <a:cubicBezTo>
                    <a:pt x="4412" y="10158"/>
                    <a:pt x="4524" y="10286"/>
                    <a:pt x="4545" y="10413"/>
                  </a:cubicBezTo>
                  <a:cubicBezTo>
                    <a:pt x="4605" y="10624"/>
                    <a:pt x="4756" y="10744"/>
                    <a:pt x="4906" y="10865"/>
                  </a:cubicBezTo>
                  <a:cubicBezTo>
                    <a:pt x="5056" y="11015"/>
                    <a:pt x="4966" y="11226"/>
                    <a:pt x="5087" y="11406"/>
                  </a:cubicBezTo>
                  <a:cubicBezTo>
                    <a:pt x="5207" y="11587"/>
                    <a:pt x="5418" y="11557"/>
                    <a:pt x="5749" y="11707"/>
                  </a:cubicBezTo>
                  <a:lnTo>
                    <a:pt x="5869" y="11767"/>
                  </a:lnTo>
                  <a:lnTo>
                    <a:pt x="5959" y="11767"/>
                  </a:lnTo>
                  <a:cubicBezTo>
                    <a:pt x="6117" y="11584"/>
                    <a:pt x="6160" y="11263"/>
                    <a:pt x="6487" y="11263"/>
                  </a:cubicBezTo>
                  <a:cubicBezTo>
                    <a:pt x="6535" y="11263"/>
                    <a:pt x="6589" y="11270"/>
                    <a:pt x="6652" y="11286"/>
                  </a:cubicBezTo>
                  <a:cubicBezTo>
                    <a:pt x="6758" y="11311"/>
                    <a:pt x="6840" y="11320"/>
                    <a:pt x="6905" y="11320"/>
                  </a:cubicBezTo>
                  <a:cubicBezTo>
                    <a:pt x="7102" y="11320"/>
                    <a:pt x="7150" y="11235"/>
                    <a:pt x="7280" y="11235"/>
                  </a:cubicBezTo>
                  <a:cubicBezTo>
                    <a:pt x="7315" y="11235"/>
                    <a:pt x="7354" y="11241"/>
                    <a:pt x="7404" y="11256"/>
                  </a:cubicBezTo>
                  <a:cubicBezTo>
                    <a:pt x="7495" y="11274"/>
                    <a:pt x="7572" y="11284"/>
                    <a:pt x="7640" y="11284"/>
                  </a:cubicBezTo>
                  <a:cubicBezTo>
                    <a:pt x="7796" y="11284"/>
                    <a:pt x="7901" y="11231"/>
                    <a:pt x="8006" y="11105"/>
                  </a:cubicBezTo>
                  <a:cubicBezTo>
                    <a:pt x="8156" y="10925"/>
                    <a:pt x="7855" y="10534"/>
                    <a:pt x="7705" y="10383"/>
                  </a:cubicBezTo>
                  <a:cubicBezTo>
                    <a:pt x="7524" y="10172"/>
                    <a:pt x="7404" y="9871"/>
                    <a:pt x="7374" y="9571"/>
                  </a:cubicBezTo>
                  <a:cubicBezTo>
                    <a:pt x="7404" y="9270"/>
                    <a:pt x="6892" y="9270"/>
                    <a:pt x="6892" y="8999"/>
                  </a:cubicBezTo>
                  <a:cubicBezTo>
                    <a:pt x="6892" y="8728"/>
                    <a:pt x="7374" y="8367"/>
                    <a:pt x="7464" y="8246"/>
                  </a:cubicBezTo>
                  <a:cubicBezTo>
                    <a:pt x="7472" y="8230"/>
                    <a:pt x="7488" y="8223"/>
                    <a:pt x="7510" y="8223"/>
                  </a:cubicBezTo>
                  <a:cubicBezTo>
                    <a:pt x="7609" y="8223"/>
                    <a:pt x="7826" y="8370"/>
                    <a:pt x="7962" y="8370"/>
                  </a:cubicBezTo>
                  <a:cubicBezTo>
                    <a:pt x="8009" y="8370"/>
                    <a:pt x="8046" y="8353"/>
                    <a:pt x="8066" y="8307"/>
                  </a:cubicBezTo>
                  <a:cubicBezTo>
                    <a:pt x="8091" y="8233"/>
                    <a:pt x="8155" y="8209"/>
                    <a:pt x="8234" y="8209"/>
                  </a:cubicBezTo>
                  <a:cubicBezTo>
                    <a:pt x="8347" y="8209"/>
                    <a:pt x="8489" y="8259"/>
                    <a:pt x="8578" y="8276"/>
                  </a:cubicBezTo>
                  <a:cubicBezTo>
                    <a:pt x="8584" y="8278"/>
                    <a:pt x="8591" y="8278"/>
                    <a:pt x="8597" y="8278"/>
                  </a:cubicBezTo>
                  <a:cubicBezTo>
                    <a:pt x="8751" y="8278"/>
                    <a:pt x="9000" y="7963"/>
                    <a:pt x="9029" y="7675"/>
                  </a:cubicBezTo>
                  <a:cubicBezTo>
                    <a:pt x="9059" y="7374"/>
                    <a:pt x="9601" y="7374"/>
                    <a:pt x="9661" y="7253"/>
                  </a:cubicBezTo>
                  <a:cubicBezTo>
                    <a:pt x="9751" y="7163"/>
                    <a:pt x="9932" y="6561"/>
                    <a:pt x="10022" y="6441"/>
                  </a:cubicBezTo>
                  <a:cubicBezTo>
                    <a:pt x="10082" y="6320"/>
                    <a:pt x="10474" y="6411"/>
                    <a:pt x="10474" y="6049"/>
                  </a:cubicBezTo>
                  <a:cubicBezTo>
                    <a:pt x="10443" y="5839"/>
                    <a:pt x="10624" y="5628"/>
                    <a:pt x="10835" y="5628"/>
                  </a:cubicBezTo>
                  <a:cubicBezTo>
                    <a:pt x="11015" y="5568"/>
                    <a:pt x="10985" y="5267"/>
                    <a:pt x="10985" y="5026"/>
                  </a:cubicBezTo>
                  <a:cubicBezTo>
                    <a:pt x="10985" y="4755"/>
                    <a:pt x="11166" y="4485"/>
                    <a:pt x="11406" y="4454"/>
                  </a:cubicBezTo>
                  <a:cubicBezTo>
                    <a:pt x="11609" y="4425"/>
                    <a:pt x="11338" y="4062"/>
                    <a:pt x="11049" y="4062"/>
                  </a:cubicBezTo>
                  <a:cubicBezTo>
                    <a:pt x="11038" y="4062"/>
                    <a:pt x="11026" y="4062"/>
                    <a:pt x="11015" y="4063"/>
                  </a:cubicBezTo>
                  <a:cubicBezTo>
                    <a:pt x="11004" y="4066"/>
                    <a:pt x="10992" y="4067"/>
                    <a:pt x="10981" y="4067"/>
                  </a:cubicBezTo>
                  <a:cubicBezTo>
                    <a:pt x="10703" y="4067"/>
                    <a:pt x="10564" y="3371"/>
                    <a:pt x="10564" y="3371"/>
                  </a:cubicBezTo>
                  <a:cubicBezTo>
                    <a:pt x="10564" y="3371"/>
                    <a:pt x="10624" y="2679"/>
                    <a:pt x="10413" y="2619"/>
                  </a:cubicBezTo>
                  <a:cubicBezTo>
                    <a:pt x="10233" y="2528"/>
                    <a:pt x="10504" y="2167"/>
                    <a:pt x="10835" y="2167"/>
                  </a:cubicBezTo>
                  <a:cubicBezTo>
                    <a:pt x="11109" y="2167"/>
                    <a:pt x="11609" y="2415"/>
                    <a:pt x="11893" y="2415"/>
                  </a:cubicBezTo>
                  <a:cubicBezTo>
                    <a:pt x="11952" y="2415"/>
                    <a:pt x="12002" y="2404"/>
                    <a:pt x="12038" y="2378"/>
                  </a:cubicBezTo>
                  <a:cubicBezTo>
                    <a:pt x="12309" y="2258"/>
                    <a:pt x="12580" y="2137"/>
                    <a:pt x="12821" y="2047"/>
                  </a:cubicBezTo>
                  <a:cubicBezTo>
                    <a:pt x="12971" y="1896"/>
                    <a:pt x="13062" y="1746"/>
                    <a:pt x="13092" y="1535"/>
                  </a:cubicBezTo>
                  <a:lnTo>
                    <a:pt x="12490" y="1264"/>
                  </a:lnTo>
                  <a:cubicBezTo>
                    <a:pt x="12249" y="1144"/>
                    <a:pt x="12099" y="903"/>
                    <a:pt x="12069" y="663"/>
                  </a:cubicBezTo>
                  <a:cubicBezTo>
                    <a:pt x="12069" y="542"/>
                    <a:pt x="11677" y="301"/>
                    <a:pt x="11376" y="61"/>
                  </a:cubicBezTo>
                  <a:lnTo>
                    <a:pt x="11106" y="121"/>
                  </a:lnTo>
                  <a:lnTo>
                    <a:pt x="10955" y="0"/>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39" name="Google Shape;3033;p123">
              <a:extLst>
                <a:ext uri="{FF2B5EF4-FFF2-40B4-BE49-F238E27FC236}">
                  <a16:creationId xmlns:a16="http://schemas.microsoft.com/office/drawing/2014/main" id="{C33E5B96-7670-F544-B0DE-4ABF893CF61F}"/>
                </a:ext>
              </a:extLst>
            </p:cNvPr>
            <p:cNvSpPr/>
            <p:nvPr/>
          </p:nvSpPr>
          <p:spPr>
            <a:xfrm>
              <a:off x="6572064" y="3139878"/>
              <a:ext cx="1129775" cy="398237"/>
            </a:xfrm>
            <a:custGeom>
              <a:avLst/>
              <a:gdLst/>
              <a:ahLst/>
              <a:cxnLst/>
              <a:rect l="l" t="t" r="r" b="b"/>
              <a:pathLst>
                <a:path w="36415" h="12836" extrusionOk="0">
                  <a:moveTo>
                    <a:pt x="1563" y="3339"/>
                  </a:moveTo>
                  <a:cubicBezTo>
                    <a:pt x="1521" y="3339"/>
                    <a:pt x="1489" y="3356"/>
                    <a:pt x="1475" y="3395"/>
                  </a:cubicBezTo>
                  <a:cubicBezTo>
                    <a:pt x="1450" y="3572"/>
                    <a:pt x="1637" y="4089"/>
                    <a:pt x="1876" y="4089"/>
                  </a:cubicBezTo>
                  <a:cubicBezTo>
                    <a:pt x="1921" y="4089"/>
                    <a:pt x="1968" y="4070"/>
                    <a:pt x="2017" y="4027"/>
                  </a:cubicBezTo>
                  <a:cubicBezTo>
                    <a:pt x="2269" y="3800"/>
                    <a:pt x="1780" y="3339"/>
                    <a:pt x="1563" y="3339"/>
                  </a:cubicBezTo>
                  <a:close/>
                  <a:moveTo>
                    <a:pt x="25907" y="2963"/>
                  </a:moveTo>
                  <a:cubicBezTo>
                    <a:pt x="25835" y="2963"/>
                    <a:pt x="25747" y="3016"/>
                    <a:pt x="25641" y="3154"/>
                  </a:cubicBezTo>
                  <a:cubicBezTo>
                    <a:pt x="25288" y="3654"/>
                    <a:pt x="25740" y="4872"/>
                    <a:pt x="26041" y="4872"/>
                  </a:cubicBezTo>
                  <a:cubicBezTo>
                    <a:pt x="26048" y="4872"/>
                    <a:pt x="26055" y="4871"/>
                    <a:pt x="26062" y="4869"/>
                  </a:cubicBezTo>
                  <a:cubicBezTo>
                    <a:pt x="26356" y="4840"/>
                    <a:pt x="25904" y="4236"/>
                    <a:pt x="26331" y="4236"/>
                  </a:cubicBezTo>
                  <a:cubicBezTo>
                    <a:pt x="26341" y="4236"/>
                    <a:pt x="26352" y="4237"/>
                    <a:pt x="26363" y="4237"/>
                  </a:cubicBezTo>
                  <a:cubicBezTo>
                    <a:pt x="26389" y="4239"/>
                    <a:pt x="26413" y="4240"/>
                    <a:pt x="26436" y="4240"/>
                  </a:cubicBezTo>
                  <a:cubicBezTo>
                    <a:pt x="26854" y="4240"/>
                    <a:pt x="26664" y="3978"/>
                    <a:pt x="26664" y="3636"/>
                  </a:cubicBezTo>
                  <a:cubicBezTo>
                    <a:pt x="26664" y="3504"/>
                    <a:pt x="26588" y="3472"/>
                    <a:pt x="26497" y="3472"/>
                  </a:cubicBezTo>
                  <a:cubicBezTo>
                    <a:pt x="26411" y="3472"/>
                    <a:pt x="26311" y="3500"/>
                    <a:pt x="26248" y="3500"/>
                  </a:cubicBezTo>
                  <a:cubicBezTo>
                    <a:pt x="26208" y="3500"/>
                    <a:pt x="26183" y="3490"/>
                    <a:pt x="26183" y="3455"/>
                  </a:cubicBezTo>
                  <a:cubicBezTo>
                    <a:pt x="26183" y="3345"/>
                    <a:pt x="26103" y="2963"/>
                    <a:pt x="25907" y="2963"/>
                  </a:cubicBezTo>
                  <a:close/>
                  <a:moveTo>
                    <a:pt x="2763" y="5286"/>
                  </a:moveTo>
                  <a:cubicBezTo>
                    <a:pt x="2719" y="5286"/>
                    <a:pt x="2679" y="5314"/>
                    <a:pt x="2649" y="5381"/>
                  </a:cubicBezTo>
                  <a:cubicBezTo>
                    <a:pt x="2623" y="5511"/>
                    <a:pt x="2820" y="5863"/>
                    <a:pt x="2971" y="5863"/>
                  </a:cubicBezTo>
                  <a:cubicBezTo>
                    <a:pt x="2995" y="5863"/>
                    <a:pt x="3019" y="5853"/>
                    <a:pt x="3040" y="5832"/>
                  </a:cubicBezTo>
                  <a:cubicBezTo>
                    <a:pt x="3160" y="5712"/>
                    <a:pt x="2935" y="5286"/>
                    <a:pt x="2763" y="5286"/>
                  </a:cubicBezTo>
                  <a:close/>
                  <a:moveTo>
                    <a:pt x="10148" y="6710"/>
                  </a:moveTo>
                  <a:cubicBezTo>
                    <a:pt x="9983" y="6710"/>
                    <a:pt x="9750" y="6824"/>
                    <a:pt x="9871" y="7006"/>
                  </a:cubicBezTo>
                  <a:cubicBezTo>
                    <a:pt x="9928" y="7081"/>
                    <a:pt x="9990" y="7112"/>
                    <a:pt x="10049" y="7112"/>
                  </a:cubicBezTo>
                  <a:cubicBezTo>
                    <a:pt x="10179" y="7112"/>
                    <a:pt x="10293" y="6961"/>
                    <a:pt x="10293" y="6795"/>
                  </a:cubicBezTo>
                  <a:cubicBezTo>
                    <a:pt x="10293" y="6737"/>
                    <a:pt x="10228" y="6710"/>
                    <a:pt x="10148" y="6710"/>
                  </a:cubicBezTo>
                  <a:close/>
                  <a:moveTo>
                    <a:pt x="24694" y="6983"/>
                  </a:moveTo>
                  <a:cubicBezTo>
                    <a:pt x="24534" y="6983"/>
                    <a:pt x="24418" y="7040"/>
                    <a:pt x="24437" y="7187"/>
                  </a:cubicBezTo>
                  <a:cubicBezTo>
                    <a:pt x="24517" y="7427"/>
                    <a:pt x="24838" y="7601"/>
                    <a:pt x="25106" y="7601"/>
                  </a:cubicBezTo>
                  <a:cubicBezTo>
                    <a:pt x="25240" y="7601"/>
                    <a:pt x="25360" y="7558"/>
                    <a:pt x="25430" y="7458"/>
                  </a:cubicBezTo>
                  <a:cubicBezTo>
                    <a:pt x="25552" y="7234"/>
                    <a:pt x="25028" y="6983"/>
                    <a:pt x="24694" y="6983"/>
                  </a:cubicBezTo>
                  <a:close/>
                  <a:moveTo>
                    <a:pt x="26957" y="6759"/>
                  </a:moveTo>
                  <a:cubicBezTo>
                    <a:pt x="26465" y="6759"/>
                    <a:pt x="26000" y="6908"/>
                    <a:pt x="26062" y="7157"/>
                  </a:cubicBezTo>
                  <a:cubicBezTo>
                    <a:pt x="26091" y="7315"/>
                    <a:pt x="26230" y="7356"/>
                    <a:pt x="26420" y="7356"/>
                  </a:cubicBezTo>
                  <a:cubicBezTo>
                    <a:pt x="26627" y="7356"/>
                    <a:pt x="26894" y="7307"/>
                    <a:pt x="27146" y="7307"/>
                  </a:cubicBezTo>
                  <a:cubicBezTo>
                    <a:pt x="27627" y="7307"/>
                    <a:pt x="27898" y="7638"/>
                    <a:pt x="28169" y="7638"/>
                  </a:cubicBezTo>
                  <a:cubicBezTo>
                    <a:pt x="28440" y="7638"/>
                    <a:pt x="28229" y="7036"/>
                    <a:pt x="27597" y="6856"/>
                  </a:cubicBezTo>
                  <a:cubicBezTo>
                    <a:pt x="27409" y="6790"/>
                    <a:pt x="27181" y="6759"/>
                    <a:pt x="26957" y="6759"/>
                  </a:cubicBezTo>
                  <a:close/>
                  <a:moveTo>
                    <a:pt x="17035" y="1038"/>
                  </a:moveTo>
                  <a:cubicBezTo>
                    <a:pt x="16641" y="1038"/>
                    <a:pt x="16208" y="1099"/>
                    <a:pt x="16251" y="1529"/>
                  </a:cubicBezTo>
                  <a:cubicBezTo>
                    <a:pt x="16281" y="2131"/>
                    <a:pt x="15710" y="1920"/>
                    <a:pt x="15740" y="2251"/>
                  </a:cubicBezTo>
                  <a:cubicBezTo>
                    <a:pt x="15800" y="2582"/>
                    <a:pt x="15499" y="2582"/>
                    <a:pt x="15529" y="3004"/>
                  </a:cubicBezTo>
                  <a:cubicBezTo>
                    <a:pt x="15559" y="3425"/>
                    <a:pt x="15288" y="3244"/>
                    <a:pt x="14837" y="3455"/>
                  </a:cubicBezTo>
                  <a:cubicBezTo>
                    <a:pt x="14724" y="3515"/>
                    <a:pt x="14649" y="3538"/>
                    <a:pt x="14592" y="3538"/>
                  </a:cubicBezTo>
                  <a:cubicBezTo>
                    <a:pt x="14423" y="3538"/>
                    <a:pt x="14423" y="3335"/>
                    <a:pt x="14085" y="3335"/>
                  </a:cubicBezTo>
                  <a:cubicBezTo>
                    <a:pt x="13633" y="3335"/>
                    <a:pt x="13573" y="3575"/>
                    <a:pt x="13272" y="3636"/>
                  </a:cubicBezTo>
                  <a:cubicBezTo>
                    <a:pt x="13159" y="3669"/>
                    <a:pt x="13012" y="3674"/>
                    <a:pt x="12864" y="3674"/>
                  </a:cubicBezTo>
                  <a:cubicBezTo>
                    <a:pt x="12814" y="3674"/>
                    <a:pt x="12764" y="3673"/>
                    <a:pt x="12715" y="3673"/>
                  </a:cubicBezTo>
                  <a:cubicBezTo>
                    <a:pt x="12520" y="3673"/>
                    <a:pt x="12339" y="3681"/>
                    <a:pt x="12249" y="3756"/>
                  </a:cubicBezTo>
                  <a:cubicBezTo>
                    <a:pt x="12224" y="3776"/>
                    <a:pt x="12198" y="3785"/>
                    <a:pt x="12171" y="3785"/>
                  </a:cubicBezTo>
                  <a:cubicBezTo>
                    <a:pt x="11997" y="3785"/>
                    <a:pt x="11773" y="3425"/>
                    <a:pt x="11617" y="3425"/>
                  </a:cubicBezTo>
                  <a:cubicBezTo>
                    <a:pt x="11406" y="3425"/>
                    <a:pt x="11406" y="3154"/>
                    <a:pt x="11346" y="2943"/>
                  </a:cubicBezTo>
                  <a:lnTo>
                    <a:pt x="11256" y="2943"/>
                  </a:lnTo>
                  <a:cubicBezTo>
                    <a:pt x="10955" y="2973"/>
                    <a:pt x="10443" y="3756"/>
                    <a:pt x="10744" y="4057"/>
                  </a:cubicBezTo>
                  <a:cubicBezTo>
                    <a:pt x="11045" y="4358"/>
                    <a:pt x="11015" y="4900"/>
                    <a:pt x="11165" y="5140"/>
                  </a:cubicBezTo>
                  <a:cubicBezTo>
                    <a:pt x="11316" y="5411"/>
                    <a:pt x="11858" y="5441"/>
                    <a:pt x="11858" y="5953"/>
                  </a:cubicBezTo>
                  <a:cubicBezTo>
                    <a:pt x="11858" y="6379"/>
                    <a:pt x="12188" y="7041"/>
                    <a:pt x="12472" y="7041"/>
                  </a:cubicBezTo>
                  <a:cubicBezTo>
                    <a:pt x="12509" y="7041"/>
                    <a:pt x="12545" y="7030"/>
                    <a:pt x="12580" y="7006"/>
                  </a:cubicBezTo>
                  <a:cubicBezTo>
                    <a:pt x="12652" y="6966"/>
                    <a:pt x="12727" y="6947"/>
                    <a:pt x="12799" y="6947"/>
                  </a:cubicBezTo>
                  <a:cubicBezTo>
                    <a:pt x="12995" y="6947"/>
                    <a:pt x="13168" y="7087"/>
                    <a:pt x="13212" y="7307"/>
                  </a:cubicBezTo>
                  <a:cubicBezTo>
                    <a:pt x="13239" y="7355"/>
                    <a:pt x="13298" y="7373"/>
                    <a:pt x="13375" y="7373"/>
                  </a:cubicBezTo>
                  <a:cubicBezTo>
                    <a:pt x="13621" y="7373"/>
                    <a:pt x="14054" y="7185"/>
                    <a:pt x="14237" y="7185"/>
                  </a:cubicBezTo>
                  <a:cubicBezTo>
                    <a:pt x="14247" y="7185"/>
                    <a:pt x="14257" y="7186"/>
                    <a:pt x="14265" y="7187"/>
                  </a:cubicBezTo>
                  <a:cubicBezTo>
                    <a:pt x="14506" y="7217"/>
                    <a:pt x="15258" y="7367"/>
                    <a:pt x="15288" y="7668"/>
                  </a:cubicBezTo>
                  <a:cubicBezTo>
                    <a:pt x="15297" y="7757"/>
                    <a:pt x="15363" y="7790"/>
                    <a:pt x="15463" y="7790"/>
                  </a:cubicBezTo>
                  <a:cubicBezTo>
                    <a:pt x="15704" y="7790"/>
                    <a:pt x="16143" y="7594"/>
                    <a:pt x="16462" y="7488"/>
                  </a:cubicBezTo>
                  <a:cubicBezTo>
                    <a:pt x="16913" y="7337"/>
                    <a:pt x="16643" y="5953"/>
                    <a:pt x="17064" y="5682"/>
                  </a:cubicBezTo>
                  <a:cubicBezTo>
                    <a:pt x="17425" y="5381"/>
                    <a:pt x="17606" y="4930"/>
                    <a:pt x="17515" y="4478"/>
                  </a:cubicBezTo>
                  <a:cubicBezTo>
                    <a:pt x="17485" y="3997"/>
                    <a:pt x="18569" y="3937"/>
                    <a:pt x="18719" y="3756"/>
                  </a:cubicBezTo>
                  <a:cubicBezTo>
                    <a:pt x="18870" y="3575"/>
                    <a:pt x="18509" y="3274"/>
                    <a:pt x="18208" y="3154"/>
                  </a:cubicBezTo>
                  <a:cubicBezTo>
                    <a:pt x="17907" y="3034"/>
                    <a:pt x="18117" y="2703"/>
                    <a:pt x="17937" y="2522"/>
                  </a:cubicBezTo>
                  <a:cubicBezTo>
                    <a:pt x="17756" y="2341"/>
                    <a:pt x="17365" y="1830"/>
                    <a:pt x="17666" y="1800"/>
                  </a:cubicBezTo>
                  <a:cubicBezTo>
                    <a:pt x="17967" y="1770"/>
                    <a:pt x="17455" y="1348"/>
                    <a:pt x="17696" y="1228"/>
                  </a:cubicBezTo>
                  <a:lnTo>
                    <a:pt x="17816" y="1168"/>
                  </a:lnTo>
                  <a:lnTo>
                    <a:pt x="17455" y="1047"/>
                  </a:lnTo>
                  <a:cubicBezTo>
                    <a:pt x="17343" y="1047"/>
                    <a:pt x="17192" y="1038"/>
                    <a:pt x="17035" y="1038"/>
                  </a:cubicBezTo>
                  <a:close/>
                  <a:moveTo>
                    <a:pt x="23694" y="3242"/>
                  </a:moveTo>
                  <a:cubicBezTo>
                    <a:pt x="23560" y="3242"/>
                    <a:pt x="23116" y="3531"/>
                    <a:pt x="22812" y="3726"/>
                  </a:cubicBezTo>
                  <a:cubicBezTo>
                    <a:pt x="22701" y="3803"/>
                    <a:pt x="22540" y="3833"/>
                    <a:pt x="22353" y="3833"/>
                  </a:cubicBezTo>
                  <a:cubicBezTo>
                    <a:pt x="21880" y="3833"/>
                    <a:pt x="21244" y="3636"/>
                    <a:pt x="20856" y="3485"/>
                  </a:cubicBezTo>
                  <a:cubicBezTo>
                    <a:pt x="20783" y="3459"/>
                    <a:pt x="20721" y="3448"/>
                    <a:pt x="20666" y="3448"/>
                  </a:cubicBezTo>
                  <a:cubicBezTo>
                    <a:pt x="20335" y="3448"/>
                    <a:pt x="20280" y="3855"/>
                    <a:pt x="19893" y="3906"/>
                  </a:cubicBezTo>
                  <a:cubicBezTo>
                    <a:pt x="19441" y="3997"/>
                    <a:pt x="19562" y="4960"/>
                    <a:pt x="19321" y="5080"/>
                  </a:cubicBezTo>
                  <a:cubicBezTo>
                    <a:pt x="19110" y="5200"/>
                    <a:pt x="19110" y="5893"/>
                    <a:pt x="18689" y="6585"/>
                  </a:cubicBezTo>
                  <a:cubicBezTo>
                    <a:pt x="18268" y="7247"/>
                    <a:pt x="18840" y="7367"/>
                    <a:pt x="19171" y="7367"/>
                  </a:cubicBezTo>
                  <a:cubicBezTo>
                    <a:pt x="19532" y="7397"/>
                    <a:pt x="19472" y="7939"/>
                    <a:pt x="19441" y="8240"/>
                  </a:cubicBezTo>
                  <a:cubicBezTo>
                    <a:pt x="19414" y="8518"/>
                    <a:pt x="19232" y="9156"/>
                    <a:pt x="19442" y="9156"/>
                  </a:cubicBezTo>
                  <a:cubicBezTo>
                    <a:pt x="19459" y="9156"/>
                    <a:pt x="19479" y="9152"/>
                    <a:pt x="19502" y="9143"/>
                  </a:cubicBezTo>
                  <a:cubicBezTo>
                    <a:pt x="19803" y="9023"/>
                    <a:pt x="20104" y="8541"/>
                    <a:pt x="19923" y="8360"/>
                  </a:cubicBezTo>
                  <a:cubicBezTo>
                    <a:pt x="19742" y="8150"/>
                    <a:pt x="19742" y="7187"/>
                    <a:pt x="19803" y="6916"/>
                  </a:cubicBezTo>
                  <a:cubicBezTo>
                    <a:pt x="19831" y="6831"/>
                    <a:pt x="19911" y="6794"/>
                    <a:pt x="20004" y="6794"/>
                  </a:cubicBezTo>
                  <a:cubicBezTo>
                    <a:pt x="20208" y="6794"/>
                    <a:pt x="20469" y="6978"/>
                    <a:pt x="20344" y="7247"/>
                  </a:cubicBezTo>
                  <a:cubicBezTo>
                    <a:pt x="20164" y="7668"/>
                    <a:pt x="20705" y="7608"/>
                    <a:pt x="20705" y="8059"/>
                  </a:cubicBezTo>
                  <a:cubicBezTo>
                    <a:pt x="20705" y="8248"/>
                    <a:pt x="20774" y="8311"/>
                    <a:pt x="20880" y="8311"/>
                  </a:cubicBezTo>
                  <a:cubicBezTo>
                    <a:pt x="21027" y="8311"/>
                    <a:pt x="21248" y="8190"/>
                    <a:pt x="21458" y="8120"/>
                  </a:cubicBezTo>
                  <a:cubicBezTo>
                    <a:pt x="21849" y="7999"/>
                    <a:pt x="21759" y="7819"/>
                    <a:pt x="21518" y="7518"/>
                  </a:cubicBezTo>
                  <a:cubicBezTo>
                    <a:pt x="21247" y="7217"/>
                    <a:pt x="21699" y="6856"/>
                    <a:pt x="21368" y="6615"/>
                  </a:cubicBezTo>
                  <a:cubicBezTo>
                    <a:pt x="21006" y="6404"/>
                    <a:pt x="20766" y="6013"/>
                    <a:pt x="21097" y="5953"/>
                  </a:cubicBezTo>
                  <a:cubicBezTo>
                    <a:pt x="21428" y="5863"/>
                    <a:pt x="22421" y="5351"/>
                    <a:pt x="22300" y="5080"/>
                  </a:cubicBezTo>
                  <a:cubicBezTo>
                    <a:pt x="22270" y="5012"/>
                    <a:pt x="22160" y="4982"/>
                    <a:pt x="22009" y="4982"/>
                  </a:cubicBezTo>
                  <a:cubicBezTo>
                    <a:pt x="21563" y="4982"/>
                    <a:pt x="20765" y="5246"/>
                    <a:pt x="20675" y="5562"/>
                  </a:cubicBezTo>
                  <a:cubicBezTo>
                    <a:pt x="20644" y="5673"/>
                    <a:pt x="20551" y="5723"/>
                    <a:pt x="20433" y="5723"/>
                  </a:cubicBezTo>
                  <a:cubicBezTo>
                    <a:pt x="20106" y="5723"/>
                    <a:pt x="19586" y="5333"/>
                    <a:pt x="19652" y="4779"/>
                  </a:cubicBezTo>
                  <a:cubicBezTo>
                    <a:pt x="19733" y="4275"/>
                    <a:pt x="20638" y="4068"/>
                    <a:pt x="21399" y="4068"/>
                  </a:cubicBezTo>
                  <a:cubicBezTo>
                    <a:pt x="21773" y="4068"/>
                    <a:pt x="22112" y="4118"/>
                    <a:pt x="22300" y="4207"/>
                  </a:cubicBezTo>
                  <a:cubicBezTo>
                    <a:pt x="22387" y="4249"/>
                    <a:pt x="22475" y="4267"/>
                    <a:pt x="22562" y="4267"/>
                  </a:cubicBezTo>
                  <a:cubicBezTo>
                    <a:pt x="23046" y="4267"/>
                    <a:pt x="23506" y="3701"/>
                    <a:pt x="23685" y="3395"/>
                  </a:cubicBezTo>
                  <a:cubicBezTo>
                    <a:pt x="23752" y="3285"/>
                    <a:pt x="23747" y="3242"/>
                    <a:pt x="23694" y="3242"/>
                  </a:cubicBezTo>
                  <a:close/>
                  <a:moveTo>
                    <a:pt x="254" y="0"/>
                  </a:moveTo>
                  <a:cubicBezTo>
                    <a:pt x="214" y="0"/>
                    <a:pt x="181" y="24"/>
                    <a:pt x="151" y="84"/>
                  </a:cubicBezTo>
                  <a:cubicBezTo>
                    <a:pt x="0" y="355"/>
                    <a:pt x="813" y="1348"/>
                    <a:pt x="1234" y="1619"/>
                  </a:cubicBezTo>
                  <a:cubicBezTo>
                    <a:pt x="1655" y="1860"/>
                    <a:pt x="1836" y="2673"/>
                    <a:pt x="2318" y="2703"/>
                  </a:cubicBezTo>
                  <a:cubicBezTo>
                    <a:pt x="2799" y="2733"/>
                    <a:pt x="2799" y="4237"/>
                    <a:pt x="3190" y="4328"/>
                  </a:cubicBezTo>
                  <a:cubicBezTo>
                    <a:pt x="3551" y="4388"/>
                    <a:pt x="4274" y="5532"/>
                    <a:pt x="4394" y="6133"/>
                  </a:cubicBezTo>
                  <a:cubicBezTo>
                    <a:pt x="4514" y="6735"/>
                    <a:pt x="5297" y="7066"/>
                    <a:pt x="5508" y="7488"/>
                  </a:cubicBezTo>
                  <a:cubicBezTo>
                    <a:pt x="5748" y="7909"/>
                    <a:pt x="6832" y="8541"/>
                    <a:pt x="6952" y="8722"/>
                  </a:cubicBezTo>
                  <a:cubicBezTo>
                    <a:pt x="7026" y="8869"/>
                    <a:pt x="7180" y="9198"/>
                    <a:pt x="7300" y="9198"/>
                  </a:cubicBezTo>
                  <a:cubicBezTo>
                    <a:pt x="7326" y="9198"/>
                    <a:pt x="7351" y="9181"/>
                    <a:pt x="7373" y="9143"/>
                  </a:cubicBezTo>
                  <a:cubicBezTo>
                    <a:pt x="7403" y="9064"/>
                    <a:pt x="7477" y="9037"/>
                    <a:pt x="7572" y="9037"/>
                  </a:cubicBezTo>
                  <a:cubicBezTo>
                    <a:pt x="7766" y="9037"/>
                    <a:pt x="8044" y="9153"/>
                    <a:pt x="8186" y="9173"/>
                  </a:cubicBezTo>
                  <a:cubicBezTo>
                    <a:pt x="8190" y="9173"/>
                    <a:pt x="8194" y="9174"/>
                    <a:pt x="8198" y="9174"/>
                  </a:cubicBezTo>
                  <a:cubicBezTo>
                    <a:pt x="8430" y="9174"/>
                    <a:pt x="8517" y="8295"/>
                    <a:pt x="8487" y="7999"/>
                  </a:cubicBezTo>
                  <a:cubicBezTo>
                    <a:pt x="8487" y="7728"/>
                    <a:pt x="8517" y="7458"/>
                    <a:pt x="8607" y="7187"/>
                  </a:cubicBezTo>
                  <a:cubicBezTo>
                    <a:pt x="8607" y="7051"/>
                    <a:pt x="8658" y="6984"/>
                    <a:pt x="8785" y="6984"/>
                  </a:cubicBezTo>
                  <a:cubicBezTo>
                    <a:pt x="8827" y="6984"/>
                    <a:pt x="8878" y="6991"/>
                    <a:pt x="8938" y="7006"/>
                  </a:cubicBezTo>
                  <a:cubicBezTo>
                    <a:pt x="8945" y="7007"/>
                    <a:pt x="8951" y="7008"/>
                    <a:pt x="8957" y="7008"/>
                  </a:cubicBezTo>
                  <a:cubicBezTo>
                    <a:pt x="9147" y="7008"/>
                    <a:pt x="9113" y="6553"/>
                    <a:pt x="8938" y="6495"/>
                  </a:cubicBezTo>
                  <a:cubicBezTo>
                    <a:pt x="8758" y="6464"/>
                    <a:pt x="8698" y="5863"/>
                    <a:pt x="8306" y="5863"/>
                  </a:cubicBezTo>
                  <a:cubicBezTo>
                    <a:pt x="7885" y="5863"/>
                    <a:pt x="7945" y="6194"/>
                    <a:pt x="8186" y="6194"/>
                  </a:cubicBezTo>
                  <a:cubicBezTo>
                    <a:pt x="8397" y="6194"/>
                    <a:pt x="8547" y="6434"/>
                    <a:pt x="8517" y="6585"/>
                  </a:cubicBezTo>
                  <a:cubicBezTo>
                    <a:pt x="8511" y="6615"/>
                    <a:pt x="8500" y="6627"/>
                    <a:pt x="8484" y="6627"/>
                  </a:cubicBezTo>
                  <a:cubicBezTo>
                    <a:pt x="8420" y="6627"/>
                    <a:pt x="8270" y="6434"/>
                    <a:pt x="8005" y="6434"/>
                  </a:cubicBezTo>
                  <a:cubicBezTo>
                    <a:pt x="7644" y="6434"/>
                    <a:pt x="7885" y="6043"/>
                    <a:pt x="7494" y="6013"/>
                  </a:cubicBezTo>
                  <a:cubicBezTo>
                    <a:pt x="7133" y="5983"/>
                    <a:pt x="7223" y="5351"/>
                    <a:pt x="6832" y="5351"/>
                  </a:cubicBezTo>
                  <a:cubicBezTo>
                    <a:pt x="6471" y="5351"/>
                    <a:pt x="6410" y="4990"/>
                    <a:pt x="6651" y="4779"/>
                  </a:cubicBezTo>
                  <a:cubicBezTo>
                    <a:pt x="6862" y="4538"/>
                    <a:pt x="6260" y="4328"/>
                    <a:pt x="6260" y="4027"/>
                  </a:cubicBezTo>
                  <a:cubicBezTo>
                    <a:pt x="6260" y="3726"/>
                    <a:pt x="5869" y="3906"/>
                    <a:pt x="5869" y="3696"/>
                  </a:cubicBezTo>
                  <a:cubicBezTo>
                    <a:pt x="5869" y="3455"/>
                    <a:pt x="5658" y="3575"/>
                    <a:pt x="5447" y="3274"/>
                  </a:cubicBezTo>
                  <a:cubicBezTo>
                    <a:pt x="5349" y="3151"/>
                    <a:pt x="5281" y="3129"/>
                    <a:pt x="5222" y="3129"/>
                  </a:cubicBezTo>
                  <a:cubicBezTo>
                    <a:pt x="5188" y="3129"/>
                    <a:pt x="5158" y="3136"/>
                    <a:pt x="5127" y="3136"/>
                  </a:cubicBezTo>
                  <a:cubicBezTo>
                    <a:pt x="5079" y="3136"/>
                    <a:pt x="5030" y="3119"/>
                    <a:pt x="4966" y="3034"/>
                  </a:cubicBezTo>
                  <a:cubicBezTo>
                    <a:pt x="4803" y="2871"/>
                    <a:pt x="4605" y="2763"/>
                    <a:pt x="4468" y="2763"/>
                  </a:cubicBezTo>
                  <a:cubicBezTo>
                    <a:pt x="4427" y="2763"/>
                    <a:pt x="4392" y="2772"/>
                    <a:pt x="4364" y="2793"/>
                  </a:cubicBezTo>
                  <a:cubicBezTo>
                    <a:pt x="4353" y="2797"/>
                    <a:pt x="4340" y="2800"/>
                    <a:pt x="4326" y="2800"/>
                  </a:cubicBezTo>
                  <a:cubicBezTo>
                    <a:pt x="4153" y="2800"/>
                    <a:pt x="3783" y="2463"/>
                    <a:pt x="3672" y="2101"/>
                  </a:cubicBezTo>
                  <a:cubicBezTo>
                    <a:pt x="3551" y="1740"/>
                    <a:pt x="2468" y="1318"/>
                    <a:pt x="2318" y="927"/>
                  </a:cubicBezTo>
                  <a:cubicBezTo>
                    <a:pt x="2167" y="566"/>
                    <a:pt x="1836" y="385"/>
                    <a:pt x="1204" y="385"/>
                  </a:cubicBezTo>
                  <a:cubicBezTo>
                    <a:pt x="674" y="385"/>
                    <a:pt x="414" y="0"/>
                    <a:pt x="254" y="0"/>
                  </a:cubicBezTo>
                  <a:close/>
                  <a:moveTo>
                    <a:pt x="9163" y="9220"/>
                  </a:moveTo>
                  <a:cubicBezTo>
                    <a:pt x="8893" y="9220"/>
                    <a:pt x="8664" y="9281"/>
                    <a:pt x="8577" y="9444"/>
                  </a:cubicBezTo>
                  <a:cubicBezTo>
                    <a:pt x="8306" y="9895"/>
                    <a:pt x="8126" y="9474"/>
                    <a:pt x="8186" y="9925"/>
                  </a:cubicBezTo>
                  <a:cubicBezTo>
                    <a:pt x="8223" y="10108"/>
                    <a:pt x="8294" y="10163"/>
                    <a:pt x="8380" y="10163"/>
                  </a:cubicBezTo>
                  <a:cubicBezTo>
                    <a:pt x="8505" y="10163"/>
                    <a:pt x="8663" y="10046"/>
                    <a:pt x="8788" y="10046"/>
                  </a:cubicBezTo>
                  <a:cubicBezTo>
                    <a:pt x="9029" y="10046"/>
                    <a:pt x="8908" y="10407"/>
                    <a:pt x="9209" y="10467"/>
                  </a:cubicBezTo>
                  <a:cubicBezTo>
                    <a:pt x="9442" y="10490"/>
                    <a:pt x="10104" y="10675"/>
                    <a:pt x="10436" y="10675"/>
                  </a:cubicBezTo>
                  <a:cubicBezTo>
                    <a:pt x="10534" y="10675"/>
                    <a:pt x="10603" y="10659"/>
                    <a:pt x="10624" y="10618"/>
                  </a:cubicBezTo>
                  <a:cubicBezTo>
                    <a:pt x="10657" y="10560"/>
                    <a:pt x="10748" y="10534"/>
                    <a:pt x="10874" y="10534"/>
                  </a:cubicBezTo>
                  <a:cubicBezTo>
                    <a:pt x="11205" y="10534"/>
                    <a:pt x="11771" y="10717"/>
                    <a:pt x="12098" y="10979"/>
                  </a:cubicBezTo>
                  <a:cubicBezTo>
                    <a:pt x="12403" y="11243"/>
                    <a:pt x="12997" y="11329"/>
                    <a:pt x="13489" y="11329"/>
                  </a:cubicBezTo>
                  <a:cubicBezTo>
                    <a:pt x="13725" y="11329"/>
                    <a:pt x="13938" y="11309"/>
                    <a:pt x="14085" y="11280"/>
                  </a:cubicBezTo>
                  <a:cubicBezTo>
                    <a:pt x="14120" y="11275"/>
                    <a:pt x="14155" y="11273"/>
                    <a:pt x="14191" y="11273"/>
                  </a:cubicBezTo>
                  <a:cubicBezTo>
                    <a:pt x="14498" y="11273"/>
                    <a:pt x="14784" y="11437"/>
                    <a:pt x="14977" y="11437"/>
                  </a:cubicBezTo>
                  <a:cubicBezTo>
                    <a:pt x="15042" y="11437"/>
                    <a:pt x="15096" y="11418"/>
                    <a:pt x="15138" y="11370"/>
                  </a:cubicBezTo>
                  <a:cubicBezTo>
                    <a:pt x="15171" y="11326"/>
                    <a:pt x="15207" y="11309"/>
                    <a:pt x="15247" y="11309"/>
                  </a:cubicBezTo>
                  <a:cubicBezTo>
                    <a:pt x="15374" y="11309"/>
                    <a:pt x="15538" y="11476"/>
                    <a:pt x="15763" y="11476"/>
                  </a:cubicBezTo>
                  <a:cubicBezTo>
                    <a:pt x="15855" y="11476"/>
                    <a:pt x="15957" y="11448"/>
                    <a:pt x="16071" y="11370"/>
                  </a:cubicBezTo>
                  <a:cubicBezTo>
                    <a:pt x="16582" y="11009"/>
                    <a:pt x="15288" y="11159"/>
                    <a:pt x="15258" y="10858"/>
                  </a:cubicBezTo>
                  <a:cubicBezTo>
                    <a:pt x="15258" y="10738"/>
                    <a:pt x="15033" y="10730"/>
                    <a:pt x="14750" y="10730"/>
                  </a:cubicBezTo>
                  <a:cubicBezTo>
                    <a:pt x="14710" y="10730"/>
                    <a:pt x="14669" y="10731"/>
                    <a:pt x="14627" y="10731"/>
                  </a:cubicBezTo>
                  <a:cubicBezTo>
                    <a:pt x="14374" y="10731"/>
                    <a:pt x="14097" y="10725"/>
                    <a:pt x="13904" y="10648"/>
                  </a:cubicBezTo>
                  <a:cubicBezTo>
                    <a:pt x="13453" y="10467"/>
                    <a:pt x="14386" y="10317"/>
                    <a:pt x="14686" y="10106"/>
                  </a:cubicBezTo>
                  <a:cubicBezTo>
                    <a:pt x="14848" y="10009"/>
                    <a:pt x="14784" y="9947"/>
                    <a:pt x="14576" y="9947"/>
                  </a:cubicBezTo>
                  <a:cubicBezTo>
                    <a:pt x="14394" y="9947"/>
                    <a:pt x="14103" y="9994"/>
                    <a:pt x="13754" y="10106"/>
                  </a:cubicBezTo>
                  <a:cubicBezTo>
                    <a:pt x="13639" y="10147"/>
                    <a:pt x="13521" y="10164"/>
                    <a:pt x="13404" y="10164"/>
                  </a:cubicBezTo>
                  <a:cubicBezTo>
                    <a:pt x="12893" y="10164"/>
                    <a:pt x="12393" y="9842"/>
                    <a:pt x="12191" y="9842"/>
                  </a:cubicBezTo>
                  <a:cubicBezTo>
                    <a:pt x="12137" y="9842"/>
                    <a:pt x="12104" y="9866"/>
                    <a:pt x="12098" y="9925"/>
                  </a:cubicBezTo>
                  <a:cubicBezTo>
                    <a:pt x="12091" y="10006"/>
                    <a:pt x="12007" y="10038"/>
                    <a:pt x="11880" y="10038"/>
                  </a:cubicBezTo>
                  <a:cubicBezTo>
                    <a:pt x="11485" y="10038"/>
                    <a:pt x="10671" y="9724"/>
                    <a:pt x="10443" y="9564"/>
                  </a:cubicBezTo>
                  <a:cubicBezTo>
                    <a:pt x="10251" y="9410"/>
                    <a:pt x="9641" y="9220"/>
                    <a:pt x="9163" y="9220"/>
                  </a:cubicBezTo>
                  <a:close/>
                  <a:moveTo>
                    <a:pt x="22396" y="11110"/>
                  </a:moveTo>
                  <a:cubicBezTo>
                    <a:pt x="21971" y="11110"/>
                    <a:pt x="21651" y="11345"/>
                    <a:pt x="21262" y="11345"/>
                  </a:cubicBezTo>
                  <a:cubicBezTo>
                    <a:pt x="21153" y="11345"/>
                    <a:pt x="21039" y="11327"/>
                    <a:pt x="20916" y="11280"/>
                  </a:cubicBezTo>
                  <a:cubicBezTo>
                    <a:pt x="20717" y="11207"/>
                    <a:pt x="20493" y="11178"/>
                    <a:pt x="20281" y="11178"/>
                  </a:cubicBezTo>
                  <a:cubicBezTo>
                    <a:pt x="19788" y="11178"/>
                    <a:pt x="19357" y="11334"/>
                    <a:pt x="19441" y="11460"/>
                  </a:cubicBezTo>
                  <a:cubicBezTo>
                    <a:pt x="19562" y="11671"/>
                    <a:pt x="20104" y="11701"/>
                    <a:pt x="20705" y="11701"/>
                  </a:cubicBezTo>
                  <a:cubicBezTo>
                    <a:pt x="21307" y="11701"/>
                    <a:pt x="21909" y="11400"/>
                    <a:pt x="22331" y="11370"/>
                  </a:cubicBezTo>
                  <a:cubicBezTo>
                    <a:pt x="22752" y="11310"/>
                    <a:pt x="23233" y="11219"/>
                    <a:pt x="22601" y="11129"/>
                  </a:cubicBezTo>
                  <a:cubicBezTo>
                    <a:pt x="22530" y="11116"/>
                    <a:pt x="22462" y="11110"/>
                    <a:pt x="22396" y="11110"/>
                  </a:cubicBezTo>
                  <a:close/>
                  <a:moveTo>
                    <a:pt x="29523" y="4826"/>
                  </a:moveTo>
                  <a:cubicBezTo>
                    <a:pt x="29297" y="4826"/>
                    <a:pt x="29120" y="4873"/>
                    <a:pt x="29072" y="4990"/>
                  </a:cubicBezTo>
                  <a:cubicBezTo>
                    <a:pt x="28921" y="5381"/>
                    <a:pt x="28440" y="5200"/>
                    <a:pt x="28380" y="5532"/>
                  </a:cubicBezTo>
                  <a:cubicBezTo>
                    <a:pt x="28362" y="5723"/>
                    <a:pt x="28405" y="5764"/>
                    <a:pt x="28503" y="5764"/>
                  </a:cubicBezTo>
                  <a:cubicBezTo>
                    <a:pt x="28574" y="5764"/>
                    <a:pt x="28674" y="5742"/>
                    <a:pt x="28801" y="5742"/>
                  </a:cubicBezTo>
                  <a:cubicBezTo>
                    <a:pt x="29102" y="5742"/>
                    <a:pt x="29102" y="5983"/>
                    <a:pt x="29252" y="6284"/>
                  </a:cubicBezTo>
                  <a:cubicBezTo>
                    <a:pt x="29316" y="6412"/>
                    <a:pt x="29506" y="6453"/>
                    <a:pt x="29726" y="6453"/>
                  </a:cubicBezTo>
                  <a:cubicBezTo>
                    <a:pt x="30022" y="6453"/>
                    <a:pt x="30374" y="6379"/>
                    <a:pt x="30546" y="6344"/>
                  </a:cubicBezTo>
                  <a:cubicBezTo>
                    <a:pt x="30557" y="6343"/>
                    <a:pt x="30567" y="6343"/>
                    <a:pt x="30577" y="6343"/>
                  </a:cubicBezTo>
                  <a:cubicBezTo>
                    <a:pt x="30804" y="6343"/>
                    <a:pt x="30831" y="6617"/>
                    <a:pt x="30608" y="6617"/>
                  </a:cubicBezTo>
                  <a:cubicBezTo>
                    <a:pt x="30566" y="6617"/>
                    <a:pt x="30516" y="6608"/>
                    <a:pt x="30456" y="6585"/>
                  </a:cubicBezTo>
                  <a:cubicBezTo>
                    <a:pt x="30388" y="6556"/>
                    <a:pt x="30331" y="6545"/>
                    <a:pt x="30281" y="6545"/>
                  </a:cubicBezTo>
                  <a:cubicBezTo>
                    <a:pt x="30088" y="6545"/>
                    <a:pt x="30007" y="6713"/>
                    <a:pt x="29852" y="6713"/>
                  </a:cubicBezTo>
                  <a:cubicBezTo>
                    <a:pt x="29834" y="6713"/>
                    <a:pt x="29815" y="6710"/>
                    <a:pt x="29794" y="6705"/>
                  </a:cubicBezTo>
                  <a:cubicBezTo>
                    <a:pt x="29692" y="6671"/>
                    <a:pt x="29570" y="6654"/>
                    <a:pt x="29466" y="6654"/>
                  </a:cubicBezTo>
                  <a:cubicBezTo>
                    <a:pt x="29292" y="6654"/>
                    <a:pt x="29170" y="6701"/>
                    <a:pt x="29282" y="6795"/>
                  </a:cubicBezTo>
                  <a:cubicBezTo>
                    <a:pt x="29493" y="6946"/>
                    <a:pt x="29794" y="7157"/>
                    <a:pt x="29794" y="7518"/>
                  </a:cubicBezTo>
                  <a:cubicBezTo>
                    <a:pt x="29794" y="7701"/>
                    <a:pt x="29913" y="7778"/>
                    <a:pt x="30039" y="7778"/>
                  </a:cubicBezTo>
                  <a:cubicBezTo>
                    <a:pt x="30182" y="7778"/>
                    <a:pt x="30336" y="7678"/>
                    <a:pt x="30336" y="7518"/>
                  </a:cubicBezTo>
                  <a:cubicBezTo>
                    <a:pt x="30336" y="7441"/>
                    <a:pt x="30353" y="7411"/>
                    <a:pt x="30388" y="7411"/>
                  </a:cubicBezTo>
                  <a:cubicBezTo>
                    <a:pt x="30491" y="7411"/>
                    <a:pt x="30744" y="7669"/>
                    <a:pt x="31148" y="7759"/>
                  </a:cubicBezTo>
                  <a:cubicBezTo>
                    <a:pt x="31660" y="7849"/>
                    <a:pt x="31329" y="8120"/>
                    <a:pt x="31841" y="8120"/>
                  </a:cubicBezTo>
                  <a:cubicBezTo>
                    <a:pt x="32623" y="8210"/>
                    <a:pt x="33405" y="8481"/>
                    <a:pt x="34068" y="8902"/>
                  </a:cubicBezTo>
                  <a:cubicBezTo>
                    <a:pt x="34549" y="9263"/>
                    <a:pt x="34218" y="9474"/>
                    <a:pt x="34519" y="9805"/>
                  </a:cubicBezTo>
                  <a:cubicBezTo>
                    <a:pt x="34820" y="10166"/>
                    <a:pt x="34940" y="10527"/>
                    <a:pt x="34489" y="10527"/>
                  </a:cubicBezTo>
                  <a:cubicBezTo>
                    <a:pt x="34037" y="10527"/>
                    <a:pt x="33616" y="10949"/>
                    <a:pt x="33736" y="11159"/>
                  </a:cubicBezTo>
                  <a:cubicBezTo>
                    <a:pt x="33767" y="11219"/>
                    <a:pt x="33876" y="11242"/>
                    <a:pt x="34028" y="11242"/>
                  </a:cubicBezTo>
                  <a:cubicBezTo>
                    <a:pt x="34483" y="11242"/>
                    <a:pt x="35324" y="11039"/>
                    <a:pt x="35572" y="11039"/>
                  </a:cubicBezTo>
                  <a:cubicBezTo>
                    <a:pt x="35903" y="11039"/>
                    <a:pt x="35994" y="11430"/>
                    <a:pt x="36415" y="11731"/>
                  </a:cubicBezTo>
                  <a:lnTo>
                    <a:pt x="36415" y="6735"/>
                  </a:lnTo>
                  <a:cubicBezTo>
                    <a:pt x="35392" y="6404"/>
                    <a:pt x="34007" y="5742"/>
                    <a:pt x="33706" y="5742"/>
                  </a:cubicBezTo>
                  <a:cubicBezTo>
                    <a:pt x="33345" y="5802"/>
                    <a:pt x="33315" y="6404"/>
                    <a:pt x="33014" y="6404"/>
                  </a:cubicBezTo>
                  <a:cubicBezTo>
                    <a:pt x="32713" y="6404"/>
                    <a:pt x="32262" y="7036"/>
                    <a:pt x="31690" y="7217"/>
                  </a:cubicBezTo>
                  <a:cubicBezTo>
                    <a:pt x="31664" y="7225"/>
                    <a:pt x="31640" y="7229"/>
                    <a:pt x="31617" y="7229"/>
                  </a:cubicBezTo>
                  <a:cubicBezTo>
                    <a:pt x="31148" y="7229"/>
                    <a:pt x="31135" y="5576"/>
                    <a:pt x="30877" y="5261"/>
                  </a:cubicBezTo>
                  <a:cubicBezTo>
                    <a:pt x="30694" y="5036"/>
                    <a:pt x="29999" y="4826"/>
                    <a:pt x="29523" y="4826"/>
                  </a:cubicBezTo>
                  <a:close/>
                  <a:moveTo>
                    <a:pt x="17890" y="11012"/>
                  </a:moveTo>
                  <a:cubicBezTo>
                    <a:pt x="17763" y="11012"/>
                    <a:pt x="17666" y="11038"/>
                    <a:pt x="17636" y="11099"/>
                  </a:cubicBezTo>
                  <a:cubicBezTo>
                    <a:pt x="17582" y="11206"/>
                    <a:pt x="17424" y="11281"/>
                    <a:pt x="17253" y="11281"/>
                  </a:cubicBezTo>
                  <a:cubicBezTo>
                    <a:pt x="17135" y="11281"/>
                    <a:pt x="17012" y="11245"/>
                    <a:pt x="16913" y="11159"/>
                  </a:cubicBezTo>
                  <a:cubicBezTo>
                    <a:pt x="16878" y="11128"/>
                    <a:pt x="16839" y="11115"/>
                    <a:pt x="16801" y="11115"/>
                  </a:cubicBezTo>
                  <a:cubicBezTo>
                    <a:pt x="16613" y="11115"/>
                    <a:pt x="16428" y="11431"/>
                    <a:pt x="16552" y="11581"/>
                  </a:cubicBezTo>
                  <a:cubicBezTo>
                    <a:pt x="16736" y="11783"/>
                    <a:pt x="16976" y="11884"/>
                    <a:pt x="17225" y="11884"/>
                  </a:cubicBezTo>
                  <a:cubicBezTo>
                    <a:pt x="17383" y="11884"/>
                    <a:pt x="17544" y="11843"/>
                    <a:pt x="17696" y="11761"/>
                  </a:cubicBezTo>
                  <a:cubicBezTo>
                    <a:pt x="18268" y="11520"/>
                    <a:pt x="18689" y="11761"/>
                    <a:pt x="18809" y="11460"/>
                  </a:cubicBezTo>
                  <a:cubicBezTo>
                    <a:pt x="18877" y="11236"/>
                    <a:pt x="18259" y="11012"/>
                    <a:pt x="17890" y="11012"/>
                  </a:cubicBezTo>
                  <a:close/>
                  <a:moveTo>
                    <a:pt x="23564" y="11701"/>
                  </a:moveTo>
                  <a:lnTo>
                    <a:pt x="23294" y="11821"/>
                  </a:lnTo>
                  <a:cubicBezTo>
                    <a:pt x="23294" y="11881"/>
                    <a:pt x="23233" y="11972"/>
                    <a:pt x="23203" y="12032"/>
                  </a:cubicBezTo>
                  <a:cubicBezTo>
                    <a:pt x="23188" y="12037"/>
                    <a:pt x="23172" y="12040"/>
                    <a:pt x="23157" y="12040"/>
                  </a:cubicBezTo>
                  <a:cubicBezTo>
                    <a:pt x="23082" y="12040"/>
                    <a:pt x="23007" y="11981"/>
                    <a:pt x="22932" y="11881"/>
                  </a:cubicBezTo>
                  <a:cubicBezTo>
                    <a:pt x="22927" y="11874"/>
                    <a:pt x="22919" y="11870"/>
                    <a:pt x="22909" y="11870"/>
                  </a:cubicBezTo>
                  <a:cubicBezTo>
                    <a:pt x="22772" y="11870"/>
                    <a:pt x="22288" y="12644"/>
                    <a:pt x="22541" y="12784"/>
                  </a:cubicBezTo>
                  <a:cubicBezTo>
                    <a:pt x="22585" y="12806"/>
                    <a:pt x="22631" y="12816"/>
                    <a:pt x="22680" y="12816"/>
                  </a:cubicBezTo>
                  <a:cubicBezTo>
                    <a:pt x="22968" y="12816"/>
                    <a:pt x="23328" y="12470"/>
                    <a:pt x="23534" y="12213"/>
                  </a:cubicBezTo>
                  <a:lnTo>
                    <a:pt x="23655" y="12062"/>
                  </a:lnTo>
                  <a:lnTo>
                    <a:pt x="23715" y="12062"/>
                  </a:lnTo>
                  <a:lnTo>
                    <a:pt x="23805" y="12002"/>
                  </a:lnTo>
                  <a:lnTo>
                    <a:pt x="23564" y="11701"/>
                  </a:lnTo>
                  <a:close/>
                  <a:moveTo>
                    <a:pt x="18961" y="12139"/>
                  </a:moveTo>
                  <a:cubicBezTo>
                    <a:pt x="18839" y="12139"/>
                    <a:pt x="18773" y="12161"/>
                    <a:pt x="18809" y="12213"/>
                  </a:cubicBezTo>
                  <a:cubicBezTo>
                    <a:pt x="18960" y="12453"/>
                    <a:pt x="19351" y="12453"/>
                    <a:pt x="19502" y="12604"/>
                  </a:cubicBezTo>
                  <a:cubicBezTo>
                    <a:pt x="19595" y="12697"/>
                    <a:pt x="19861" y="12836"/>
                    <a:pt x="20050" y="12836"/>
                  </a:cubicBezTo>
                  <a:cubicBezTo>
                    <a:pt x="20166" y="12836"/>
                    <a:pt x="20254" y="12783"/>
                    <a:pt x="20254" y="12634"/>
                  </a:cubicBezTo>
                  <a:cubicBezTo>
                    <a:pt x="20254" y="12360"/>
                    <a:pt x="19339" y="12139"/>
                    <a:pt x="18961" y="12139"/>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40" name="Google Shape;3034;p123">
              <a:extLst>
                <a:ext uri="{FF2B5EF4-FFF2-40B4-BE49-F238E27FC236}">
                  <a16:creationId xmlns:a16="http://schemas.microsoft.com/office/drawing/2014/main" id="{670A982F-7BA3-D44C-9E6C-900ECA565D10}"/>
                </a:ext>
              </a:extLst>
            </p:cNvPr>
            <p:cNvSpPr/>
            <p:nvPr/>
          </p:nvSpPr>
          <p:spPr>
            <a:xfrm>
              <a:off x="7283529" y="3484534"/>
              <a:ext cx="80076" cy="27954"/>
            </a:xfrm>
            <a:custGeom>
              <a:avLst/>
              <a:gdLst/>
              <a:ahLst/>
              <a:cxnLst/>
              <a:rect l="l" t="t" r="r" b="b"/>
              <a:pathLst>
                <a:path w="2581" h="901" extrusionOk="0">
                  <a:moveTo>
                    <a:pt x="2484" y="0"/>
                  </a:moveTo>
                  <a:cubicBezTo>
                    <a:pt x="2293" y="0"/>
                    <a:pt x="1812" y="113"/>
                    <a:pt x="1470" y="113"/>
                  </a:cubicBezTo>
                  <a:cubicBezTo>
                    <a:pt x="1440" y="113"/>
                    <a:pt x="1412" y="112"/>
                    <a:pt x="1385" y="110"/>
                  </a:cubicBezTo>
                  <a:cubicBezTo>
                    <a:pt x="1054" y="110"/>
                    <a:pt x="933" y="351"/>
                    <a:pt x="723" y="562"/>
                  </a:cubicBezTo>
                  <a:lnTo>
                    <a:pt x="632" y="562"/>
                  </a:lnTo>
                  <a:lnTo>
                    <a:pt x="873" y="803"/>
                  </a:lnTo>
                  <a:cubicBezTo>
                    <a:pt x="1325" y="562"/>
                    <a:pt x="2498" y="201"/>
                    <a:pt x="2559" y="50"/>
                  </a:cubicBezTo>
                  <a:cubicBezTo>
                    <a:pt x="2580" y="14"/>
                    <a:pt x="2549" y="0"/>
                    <a:pt x="2484" y="0"/>
                  </a:cubicBezTo>
                  <a:close/>
                  <a:moveTo>
                    <a:pt x="362" y="652"/>
                  </a:moveTo>
                  <a:lnTo>
                    <a:pt x="271" y="742"/>
                  </a:lnTo>
                  <a:lnTo>
                    <a:pt x="0" y="742"/>
                  </a:lnTo>
                  <a:cubicBezTo>
                    <a:pt x="75" y="842"/>
                    <a:pt x="150" y="901"/>
                    <a:pt x="225" y="901"/>
                  </a:cubicBezTo>
                  <a:cubicBezTo>
                    <a:pt x="240" y="901"/>
                    <a:pt x="256" y="898"/>
                    <a:pt x="271" y="893"/>
                  </a:cubicBezTo>
                  <a:cubicBezTo>
                    <a:pt x="301" y="803"/>
                    <a:pt x="362" y="742"/>
                    <a:pt x="362" y="652"/>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41" name="Google Shape;3035;p123">
              <a:extLst>
                <a:ext uri="{FF2B5EF4-FFF2-40B4-BE49-F238E27FC236}">
                  <a16:creationId xmlns:a16="http://schemas.microsoft.com/office/drawing/2014/main" id="{78568C2E-ACDF-3942-8F10-97B8A3766954}"/>
                </a:ext>
              </a:extLst>
            </p:cNvPr>
            <p:cNvSpPr/>
            <p:nvPr/>
          </p:nvSpPr>
          <p:spPr>
            <a:xfrm>
              <a:off x="4427368" y="2013639"/>
              <a:ext cx="283879" cy="308171"/>
            </a:xfrm>
            <a:custGeom>
              <a:avLst/>
              <a:gdLst/>
              <a:ahLst/>
              <a:cxnLst/>
              <a:rect l="l" t="t" r="r" b="b"/>
              <a:pathLst>
                <a:path w="9150" h="9933" extrusionOk="0">
                  <a:moveTo>
                    <a:pt x="2163" y="5865"/>
                  </a:moveTo>
                  <a:cubicBezTo>
                    <a:pt x="2036" y="5865"/>
                    <a:pt x="1902" y="5905"/>
                    <a:pt x="1806" y="5990"/>
                  </a:cubicBezTo>
                  <a:cubicBezTo>
                    <a:pt x="1732" y="6055"/>
                    <a:pt x="1658" y="6074"/>
                    <a:pt x="1589" y="6074"/>
                  </a:cubicBezTo>
                  <a:cubicBezTo>
                    <a:pt x="1488" y="6074"/>
                    <a:pt x="1399" y="6032"/>
                    <a:pt x="1337" y="6032"/>
                  </a:cubicBezTo>
                  <a:cubicBezTo>
                    <a:pt x="1304" y="6032"/>
                    <a:pt x="1279" y="6044"/>
                    <a:pt x="1264" y="6080"/>
                  </a:cubicBezTo>
                  <a:cubicBezTo>
                    <a:pt x="1174" y="6231"/>
                    <a:pt x="1626" y="6652"/>
                    <a:pt x="1505" y="7103"/>
                  </a:cubicBezTo>
                  <a:cubicBezTo>
                    <a:pt x="1406" y="7477"/>
                    <a:pt x="1533" y="7953"/>
                    <a:pt x="1716" y="7953"/>
                  </a:cubicBezTo>
                  <a:cubicBezTo>
                    <a:pt x="1754" y="7953"/>
                    <a:pt x="1795" y="7933"/>
                    <a:pt x="1836" y="7886"/>
                  </a:cubicBezTo>
                  <a:cubicBezTo>
                    <a:pt x="2107" y="7615"/>
                    <a:pt x="2258" y="7735"/>
                    <a:pt x="2408" y="7555"/>
                  </a:cubicBezTo>
                  <a:cubicBezTo>
                    <a:pt x="2559" y="7374"/>
                    <a:pt x="2408" y="6622"/>
                    <a:pt x="2528" y="6231"/>
                  </a:cubicBezTo>
                  <a:cubicBezTo>
                    <a:pt x="2606" y="5997"/>
                    <a:pt x="2395" y="5865"/>
                    <a:pt x="2163" y="5865"/>
                  </a:cubicBezTo>
                  <a:close/>
                  <a:moveTo>
                    <a:pt x="4455" y="1"/>
                  </a:moveTo>
                  <a:cubicBezTo>
                    <a:pt x="4364" y="1"/>
                    <a:pt x="3913" y="1"/>
                    <a:pt x="3853" y="121"/>
                  </a:cubicBezTo>
                  <a:cubicBezTo>
                    <a:pt x="3779" y="195"/>
                    <a:pt x="3567" y="288"/>
                    <a:pt x="3425" y="288"/>
                  </a:cubicBezTo>
                  <a:cubicBezTo>
                    <a:pt x="3392" y="288"/>
                    <a:pt x="3364" y="283"/>
                    <a:pt x="3341" y="272"/>
                  </a:cubicBezTo>
                  <a:lnTo>
                    <a:pt x="3251" y="272"/>
                  </a:lnTo>
                  <a:lnTo>
                    <a:pt x="3100" y="362"/>
                  </a:lnTo>
                  <a:cubicBezTo>
                    <a:pt x="3100" y="362"/>
                    <a:pt x="3040" y="573"/>
                    <a:pt x="2980" y="573"/>
                  </a:cubicBezTo>
                  <a:cubicBezTo>
                    <a:pt x="2935" y="573"/>
                    <a:pt x="2875" y="550"/>
                    <a:pt x="2826" y="550"/>
                  </a:cubicBezTo>
                  <a:cubicBezTo>
                    <a:pt x="2777" y="550"/>
                    <a:pt x="2739" y="573"/>
                    <a:pt x="2739" y="663"/>
                  </a:cubicBezTo>
                  <a:cubicBezTo>
                    <a:pt x="2739" y="768"/>
                    <a:pt x="2679" y="798"/>
                    <a:pt x="2604" y="798"/>
                  </a:cubicBezTo>
                  <a:cubicBezTo>
                    <a:pt x="2528" y="798"/>
                    <a:pt x="2438" y="768"/>
                    <a:pt x="2378" y="753"/>
                  </a:cubicBezTo>
                  <a:cubicBezTo>
                    <a:pt x="2358" y="748"/>
                    <a:pt x="2336" y="746"/>
                    <a:pt x="2314" y="746"/>
                  </a:cubicBezTo>
                  <a:cubicBezTo>
                    <a:pt x="2202" y="746"/>
                    <a:pt x="2077" y="809"/>
                    <a:pt x="2077" y="934"/>
                  </a:cubicBezTo>
                  <a:cubicBezTo>
                    <a:pt x="2077" y="1053"/>
                    <a:pt x="2058" y="1249"/>
                    <a:pt x="1945" y="1249"/>
                  </a:cubicBezTo>
                  <a:cubicBezTo>
                    <a:pt x="1915" y="1249"/>
                    <a:pt x="1880" y="1236"/>
                    <a:pt x="1836" y="1205"/>
                  </a:cubicBezTo>
                  <a:cubicBezTo>
                    <a:pt x="1662" y="1059"/>
                    <a:pt x="1516" y="662"/>
                    <a:pt x="1452" y="662"/>
                  </a:cubicBezTo>
                  <a:cubicBezTo>
                    <a:pt x="1449" y="662"/>
                    <a:pt x="1447" y="662"/>
                    <a:pt x="1445" y="663"/>
                  </a:cubicBezTo>
                  <a:cubicBezTo>
                    <a:pt x="1355" y="723"/>
                    <a:pt x="1174" y="1235"/>
                    <a:pt x="1024" y="1235"/>
                  </a:cubicBezTo>
                  <a:lnTo>
                    <a:pt x="362" y="1235"/>
                  </a:lnTo>
                  <a:cubicBezTo>
                    <a:pt x="271" y="1355"/>
                    <a:pt x="301" y="1506"/>
                    <a:pt x="422" y="1626"/>
                  </a:cubicBezTo>
                  <a:cubicBezTo>
                    <a:pt x="542" y="1656"/>
                    <a:pt x="392" y="1867"/>
                    <a:pt x="271" y="1927"/>
                  </a:cubicBezTo>
                  <a:cubicBezTo>
                    <a:pt x="151" y="1957"/>
                    <a:pt x="0" y="1927"/>
                    <a:pt x="121" y="2108"/>
                  </a:cubicBezTo>
                  <a:cubicBezTo>
                    <a:pt x="241" y="2288"/>
                    <a:pt x="452" y="2318"/>
                    <a:pt x="362" y="2529"/>
                  </a:cubicBezTo>
                  <a:cubicBezTo>
                    <a:pt x="220" y="2671"/>
                    <a:pt x="319" y="2893"/>
                    <a:pt x="507" y="2893"/>
                  </a:cubicBezTo>
                  <a:cubicBezTo>
                    <a:pt x="518" y="2893"/>
                    <a:pt x="530" y="2892"/>
                    <a:pt x="542" y="2890"/>
                  </a:cubicBezTo>
                  <a:cubicBezTo>
                    <a:pt x="723" y="2920"/>
                    <a:pt x="964" y="2890"/>
                    <a:pt x="903" y="3041"/>
                  </a:cubicBezTo>
                  <a:lnTo>
                    <a:pt x="813" y="3311"/>
                  </a:lnTo>
                  <a:cubicBezTo>
                    <a:pt x="933" y="3281"/>
                    <a:pt x="1054" y="3251"/>
                    <a:pt x="1174" y="3191"/>
                  </a:cubicBezTo>
                  <a:cubicBezTo>
                    <a:pt x="1445" y="3071"/>
                    <a:pt x="1325" y="2860"/>
                    <a:pt x="1746" y="2709"/>
                  </a:cubicBezTo>
                  <a:cubicBezTo>
                    <a:pt x="1800" y="2702"/>
                    <a:pt x="1854" y="2698"/>
                    <a:pt x="1907" y="2698"/>
                  </a:cubicBezTo>
                  <a:cubicBezTo>
                    <a:pt x="2279" y="2698"/>
                    <a:pt x="2649" y="2876"/>
                    <a:pt x="2859" y="3191"/>
                  </a:cubicBezTo>
                  <a:cubicBezTo>
                    <a:pt x="2980" y="3311"/>
                    <a:pt x="3070" y="3462"/>
                    <a:pt x="3100" y="3642"/>
                  </a:cubicBezTo>
                  <a:cubicBezTo>
                    <a:pt x="3191" y="4064"/>
                    <a:pt x="3461" y="4425"/>
                    <a:pt x="3853" y="4605"/>
                  </a:cubicBezTo>
                  <a:cubicBezTo>
                    <a:pt x="4424" y="4997"/>
                    <a:pt x="4635" y="5358"/>
                    <a:pt x="4936" y="5508"/>
                  </a:cubicBezTo>
                  <a:cubicBezTo>
                    <a:pt x="5237" y="5689"/>
                    <a:pt x="5508" y="5689"/>
                    <a:pt x="5688" y="5869"/>
                  </a:cubicBezTo>
                  <a:cubicBezTo>
                    <a:pt x="5869" y="6080"/>
                    <a:pt x="6110" y="6231"/>
                    <a:pt x="6381" y="6321"/>
                  </a:cubicBezTo>
                  <a:cubicBezTo>
                    <a:pt x="6682" y="6471"/>
                    <a:pt x="6682" y="6772"/>
                    <a:pt x="6922" y="6802"/>
                  </a:cubicBezTo>
                  <a:cubicBezTo>
                    <a:pt x="7193" y="6832"/>
                    <a:pt x="7043" y="7073"/>
                    <a:pt x="7193" y="7254"/>
                  </a:cubicBezTo>
                  <a:cubicBezTo>
                    <a:pt x="7374" y="7495"/>
                    <a:pt x="7404" y="7856"/>
                    <a:pt x="7223" y="8127"/>
                  </a:cubicBezTo>
                  <a:cubicBezTo>
                    <a:pt x="7043" y="8337"/>
                    <a:pt x="7163" y="8759"/>
                    <a:pt x="7283" y="8759"/>
                  </a:cubicBezTo>
                  <a:cubicBezTo>
                    <a:pt x="7374" y="8759"/>
                    <a:pt x="7645" y="8337"/>
                    <a:pt x="7675" y="8066"/>
                  </a:cubicBezTo>
                  <a:cubicBezTo>
                    <a:pt x="7735" y="7826"/>
                    <a:pt x="7946" y="7856"/>
                    <a:pt x="8126" y="7615"/>
                  </a:cubicBezTo>
                  <a:cubicBezTo>
                    <a:pt x="8337" y="7404"/>
                    <a:pt x="7825" y="7314"/>
                    <a:pt x="7765" y="6983"/>
                  </a:cubicBezTo>
                  <a:cubicBezTo>
                    <a:pt x="7701" y="6747"/>
                    <a:pt x="7897" y="6541"/>
                    <a:pt x="8167" y="6541"/>
                  </a:cubicBezTo>
                  <a:cubicBezTo>
                    <a:pt x="8276" y="6541"/>
                    <a:pt x="8397" y="6574"/>
                    <a:pt x="8517" y="6652"/>
                  </a:cubicBezTo>
                  <a:cubicBezTo>
                    <a:pt x="8758" y="6807"/>
                    <a:pt x="8911" y="6932"/>
                    <a:pt x="9003" y="6932"/>
                  </a:cubicBezTo>
                  <a:cubicBezTo>
                    <a:pt x="9071" y="6932"/>
                    <a:pt x="9106" y="6862"/>
                    <a:pt x="9119" y="6682"/>
                  </a:cubicBezTo>
                  <a:cubicBezTo>
                    <a:pt x="9149" y="6261"/>
                    <a:pt x="7825" y="5779"/>
                    <a:pt x="7524" y="5599"/>
                  </a:cubicBezTo>
                  <a:cubicBezTo>
                    <a:pt x="7223" y="5418"/>
                    <a:pt x="7464" y="5117"/>
                    <a:pt x="6982" y="5117"/>
                  </a:cubicBezTo>
                  <a:cubicBezTo>
                    <a:pt x="6471" y="5117"/>
                    <a:pt x="5899" y="4545"/>
                    <a:pt x="5719" y="3853"/>
                  </a:cubicBezTo>
                  <a:cubicBezTo>
                    <a:pt x="5538" y="3191"/>
                    <a:pt x="4816" y="3101"/>
                    <a:pt x="4635" y="2709"/>
                  </a:cubicBezTo>
                  <a:cubicBezTo>
                    <a:pt x="4455" y="2288"/>
                    <a:pt x="4786" y="2258"/>
                    <a:pt x="4635" y="1927"/>
                  </a:cubicBezTo>
                  <a:cubicBezTo>
                    <a:pt x="4485" y="1566"/>
                    <a:pt x="4755" y="1566"/>
                    <a:pt x="4966" y="1476"/>
                  </a:cubicBezTo>
                  <a:cubicBezTo>
                    <a:pt x="5207" y="1355"/>
                    <a:pt x="5026" y="663"/>
                    <a:pt x="5026" y="422"/>
                  </a:cubicBezTo>
                  <a:lnTo>
                    <a:pt x="4635" y="332"/>
                  </a:lnTo>
                  <a:cubicBezTo>
                    <a:pt x="4515" y="302"/>
                    <a:pt x="4515" y="1"/>
                    <a:pt x="4455" y="1"/>
                  </a:cubicBezTo>
                  <a:close/>
                  <a:moveTo>
                    <a:pt x="5216" y="8567"/>
                  </a:moveTo>
                  <a:cubicBezTo>
                    <a:pt x="4955" y="8567"/>
                    <a:pt x="4652" y="8793"/>
                    <a:pt x="4725" y="8939"/>
                  </a:cubicBezTo>
                  <a:cubicBezTo>
                    <a:pt x="4786" y="9150"/>
                    <a:pt x="4936" y="9210"/>
                    <a:pt x="5538" y="9390"/>
                  </a:cubicBezTo>
                  <a:cubicBezTo>
                    <a:pt x="6140" y="9601"/>
                    <a:pt x="6170" y="9932"/>
                    <a:pt x="6441" y="9932"/>
                  </a:cubicBezTo>
                  <a:cubicBezTo>
                    <a:pt x="6712" y="9932"/>
                    <a:pt x="6712" y="9752"/>
                    <a:pt x="6621" y="9390"/>
                  </a:cubicBezTo>
                  <a:cubicBezTo>
                    <a:pt x="6561" y="9059"/>
                    <a:pt x="6922" y="8728"/>
                    <a:pt x="6952" y="8698"/>
                  </a:cubicBezTo>
                  <a:cubicBezTo>
                    <a:pt x="6997" y="8654"/>
                    <a:pt x="6909" y="8576"/>
                    <a:pt x="6650" y="8576"/>
                  </a:cubicBezTo>
                  <a:cubicBezTo>
                    <a:pt x="6561" y="8576"/>
                    <a:pt x="6452" y="8585"/>
                    <a:pt x="6320" y="8608"/>
                  </a:cubicBezTo>
                  <a:cubicBezTo>
                    <a:pt x="6082" y="8672"/>
                    <a:pt x="5911" y="8710"/>
                    <a:pt x="5763" y="8710"/>
                  </a:cubicBezTo>
                  <a:cubicBezTo>
                    <a:pt x="5630" y="8710"/>
                    <a:pt x="5515" y="8679"/>
                    <a:pt x="5387" y="8608"/>
                  </a:cubicBezTo>
                  <a:cubicBezTo>
                    <a:pt x="5336" y="8580"/>
                    <a:pt x="5277" y="8567"/>
                    <a:pt x="5216" y="8567"/>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42" name="Google Shape;3036;p123">
              <a:extLst>
                <a:ext uri="{FF2B5EF4-FFF2-40B4-BE49-F238E27FC236}">
                  <a16:creationId xmlns:a16="http://schemas.microsoft.com/office/drawing/2014/main" id="{AE9433F6-A46E-5742-870F-35B4F3D0CBDE}"/>
                </a:ext>
              </a:extLst>
            </p:cNvPr>
            <p:cNvSpPr/>
            <p:nvPr/>
          </p:nvSpPr>
          <p:spPr>
            <a:xfrm>
              <a:off x="4710284" y="2126632"/>
              <a:ext cx="29908" cy="39247"/>
            </a:xfrm>
            <a:custGeom>
              <a:avLst/>
              <a:gdLst/>
              <a:ahLst/>
              <a:cxnLst/>
              <a:rect l="l" t="t" r="r" b="b"/>
              <a:pathLst>
                <a:path w="964" h="1265" extrusionOk="0">
                  <a:moveTo>
                    <a:pt x="331" y="0"/>
                  </a:moveTo>
                  <a:cubicBezTo>
                    <a:pt x="211" y="181"/>
                    <a:pt x="90" y="392"/>
                    <a:pt x="30" y="602"/>
                  </a:cubicBezTo>
                  <a:cubicBezTo>
                    <a:pt x="60" y="632"/>
                    <a:pt x="30" y="753"/>
                    <a:pt x="0" y="873"/>
                  </a:cubicBezTo>
                  <a:lnTo>
                    <a:pt x="542" y="1264"/>
                  </a:lnTo>
                  <a:lnTo>
                    <a:pt x="602" y="1264"/>
                  </a:lnTo>
                  <a:cubicBezTo>
                    <a:pt x="662" y="1024"/>
                    <a:pt x="813" y="753"/>
                    <a:pt x="963" y="723"/>
                  </a:cubicBezTo>
                  <a:lnTo>
                    <a:pt x="331" y="0"/>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43" name="Google Shape;3037;p123">
              <a:extLst>
                <a:ext uri="{FF2B5EF4-FFF2-40B4-BE49-F238E27FC236}">
                  <a16:creationId xmlns:a16="http://schemas.microsoft.com/office/drawing/2014/main" id="{5B7C6079-37B7-E445-A092-3124DBF5B3E1}"/>
                </a:ext>
              </a:extLst>
            </p:cNvPr>
            <p:cNvSpPr/>
            <p:nvPr/>
          </p:nvSpPr>
          <p:spPr>
            <a:xfrm>
              <a:off x="4718692" y="2041655"/>
              <a:ext cx="100862" cy="122363"/>
            </a:xfrm>
            <a:custGeom>
              <a:avLst/>
              <a:gdLst/>
              <a:ahLst/>
              <a:cxnLst/>
              <a:rect l="l" t="t" r="r" b="b"/>
              <a:pathLst>
                <a:path w="3251" h="3944" extrusionOk="0">
                  <a:moveTo>
                    <a:pt x="813" y="1"/>
                  </a:moveTo>
                  <a:lnTo>
                    <a:pt x="0" y="242"/>
                  </a:lnTo>
                  <a:cubicBezTo>
                    <a:pt x="0" y="482"/>
                    <a:pt x="60" y="693"/>
                    <a:pt x="181" y="753"/>
                  </a:cubicBezTo>
                  <a:cubicBezTo>
                    <a:pt x="301" y="783"/>
                    <a:pt x="331" y="1084"/>
                    <a:pt x="451" y="1295"/>
                  </a:cubicBezTo>
                  <a:cubicBezTo>
                    <a:pt x="542" y="1536"/>
                    <a:pt x="512" y="2559"/>
                    <a:pt x="361" y="2559"/>
                  </a:cubicBezTo>
                  <a:lnTo>
                    <a:pt x="60" y="2800"/>
                  </a:lnTo>
                  <a:lnTo>
                    <a:pt x="692" y="3522"/>
                  </a:lnTo>
                  <a:lnTo>
                    <a:pt x="752" y="3522"/>
                  </a:lnTo>
                  <a:cubicBezTo>
                    <a:pt x="993" y="3642"/>
                    <a:pt x="1234" y="3763"/>
                    <a:pt x="1445" y="3943"/>
                  </a:cubicBezTo>
                  <a:lnTo>
                    <a:pt x="2799" y="3702"/>
                  </a:lnTo>
                  <a:cubicBezTo>
                    <a:pt x="2829" y="3642"/>
                    <a:pt x="2859" y="3552"/>
                    <a:pt x="2859" y="3462"/>
                  </a:cubicBezTo>
                  <a:cubicBezTo>
                    <a:pt x="2799" y="3371"/>
                    <a:pt x="2949" y="3161"/>
                    <a:pt x="3100" y="3161"/>
                  </a:cubicBezTo>
                  <a:cubicBezTo>
                    <a:pt x="3250" y="3161"/>
                    <a:pt x="3040" y="2739"/>
                    <a:pt x="2859" y="2559"/>
                  </a:cubicBezTo>
                  <a:cubicBezTo>
                    <a:pt x="2709" y="2408"/>
                    <a:pt x="2709" y="2168"/>
                    <a:pt x="2859" y="2017"/>
                  </a:cubicBezTo>
                  <a:cubicBezTo>
                    <a:pt x="3010" y="1897"/>
                    <a:pt x="2889" y="1776"/>
                    <a:pt x="2889" y="1596"/>
                  </a:cubicBezTo>
                  <a:cubicBezTo>
                    <a:pt x="2889" y="1445"/>
                    <a:pt x="2137" y="1385"/>
                    <a:pt x="1986" y="1355"/>
                  </a:cubicBezTo>
                  <a:cubicBezTo>
                    <a:pt x="1836" y="1325"/>
                    <a:pt x="2107" y="843"/>
                    <a:pt x="1896" y="843"/>
                  </a:cubicBezTo>
                  <a:cubicBezTo>
                    <a:pt x="1715" y="843"/>
                    <a:pt x="1655" y="693"/>
                    <a:pt x="1655" y="543"/>
                  </a:cubicBezTo>
                  <a:cubicBezTo>
                    <a:pt x="1655" y="392"/>
                    <a:pt x="1354" y="181"/>
                    <a:pt x="1354" y="91"/>
                  </a:cubicBezTo>
                  <a:lnTo>
                    <a:pt x="1144" y="91"/>
                  </a:lnTo>
                  <a:lnTo>
                    <a:pt x="813" y="1"/>
                  </a:ln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144" name="Google Shape;3038;p123">
              <a:extLst>
                <a:ext uri="{FF2B5EF4-FFF2-40B4-BE49-F238E27FC236}">
                  <a16:creationId xmlns:a16="http://schemas.microsoft.com/office/drawing/2014/main" id="{2C9DE454-E984-274A-95DC-EA4983ECF4E1}"/>
                </a:ext>
              </a:extLst>
            </p:cNvPr>
            <p:cNvSpPr/>
            <p:nvPr/>
          </p:nvSpPr>
          <p:spPr>
            <a:xfrm>
              <a:off x="4541291" y="1210402"/>
              <a:ext cx="308140" cy="531272"/>
            </a:xfrm>
            <a:custGeom>
              <a:avLst/>
              <a:gdLst/>
              <a:ahLst/>
              <a:cxnLst/>
              <a:rect l="l" t="t" r="r" b="b"/>
              <a:pathLst>
                <a:path w="9932" h="17124" extrusionOk="0">
                  <a:moveTo>
                    <a:pt x="5869" y="14274"/>
                  </a:moveTo>
                  <a:cubicBezTo>
                    <a:pt x="5417" y="14274"/>
                    <a:pt x="5176" y="15177"/>
                    <a:pt x="5297" y="15268"/>
                  </a:cubicBezTo>
                  <a:cubicBezTo>
                    <a:pt x="5303" y="15274"/>
                    <a:pt x="5311" y="15277"/>
                    <a:pt x="5321" y="15277"/>
                  </a:cubicBezTo>
                  <a:cubicBezTo>
                    <a:pt x="5500" y="15277"/>
                    <a:pt x="6240" y="14274"/>
                    <a:pt x="5869" y="14274"/>
                  </a:cubicBezTo>
                  <a:close/>
                  <a:moveTo>
                    <a:pt x="7268" y="0"/>
                  </a:moveTo>
                  <a:cubicBezTo>
                    <a:pt x="7039" y="0"/>
                    <a:pt x="6952" y="386"/>
                    <a:pt x="6952" y="642"/>
                  </a:cubicBezTo>
                  <a:cubicBezTo>
                    <a:pt x="6952" y="821"/>
                    <a:pt x="6845" y="904"/>
                    <a:pt x="6708" y="904"/>
                  </a:cubicBezTo>
                  <a:cubicBezTo>
                    <a:pt x="6615" y="904"/>
                    <a:pt x="6508" y="865"/>
                    <a:pt x="6410" y="792"/>
                  </a:cubicBezTo>
                  <a:cubicBezTo>
                    <a:pt x="6323" y="717"/>
                    <a:pt x="6225" y="704"/>
                    <a:pt x="6117" y="704"/>
                  </a:cubicBezTo>
                  <a:cubicBezTo>
                    <a:pt x="6061" y="704"/>
                    <a:pt x="6003" y="708"/>
                    <a:pt x="5942" y="708"/>
                  </a:cubicBezTo>
                  <a:cubicBezTo>
                    <a:pt x="5836" y="708"/>
                    <a:pt x="5721" y="697"/>
                    <a:pt x="5598" y="642"/>
                  </a:cubicBezTo>
                  <a:cubicBezTo>
                    <a:pt x="5554" y="622"/>
                    <a:pt x="5519" y="613"/>
                    <a:pt x="5491" y="613"/>
                  </a:cubicBezTo>
                  <a:cubicBezTo>
                    <a:pt x="5303" y="613"/>
                    <a:pt x="5417" y="1004"/>
                    <a:pt x="5417" y="1213"/>
                  </a:cubicBezTo>
                  <a:cubicBezTo>
                    <a:pt x="5417" y="1424"/>
                    <a:pt x="5026" y="1424"/>
                    <a:pt x="4815" y="1424"/>
                  </a:cubicBezTo>
                  <a:cubicBezTo>
                    <a:pt x="4574" y="1424"/>
                    <a:pt x="4213" y="1635"/>
                    <a:pt x="4213" y="1875"/>
                  </a:cubicBezTo>
                  <a:cubicBezTo>
                    <a:pt x="4213" y="2146"/>
                    <a:pt x="3852" y="2297"/>
                    <a:pt x="3973" y="2447"/>
                  </a:cubicBezTo>
                  <a:cubicBezTo>
                    <a:pt x="4093" y="2598"/>
                    <a:pt x="3942" y="2748"/>
                    <a:pt x="3792" y="2869"/>
                  </a:cubicBezTo>
                  <a:cubicBezTo>
                    <a:pt x="3642" y="2959"/>
                    <a:pt x="3491" y="3350"/>
                    <a:pt x="3371" y="3470"/>
                  </a:cubicBezTo>
                  <a:cubicBezTo>
                    <a:pt x="3250" y="3561"/>
                    <a:pt x="3431" y="3771"/>
                    <a:pt x="3220" y="3922"/>
                  </a:cubicBezTo>
                  <a:cubicBezTo>
                    <a:pt x="3010" y="4072"/>
                    <a:pt x="2739" y="3952"/>
                    <a:pt x="2618" y="4072"/>
                  </a:cubicBezTo>
                  <a:cubicBezTo>
                    <a:pt x="2498" y="4193"/>
                    <a:pt x="2618" y="4433"/>
                    <a:pt x="2588" y="4795"/>
                  </a:cubicBezTo>
                  <a:cubicBezTo>
                    <a:pt x="2498" y="5156"/>
                    <a:pt x="2317" y="5517"/>
                    <a:pt x="2047" y="5788"/>
                  </a:cubicBezTo>
                  <a:cubicBezTo>
                    <a:pt x="1836" y="6089"/>
                    <a:pt x="2137" y="6179"/>
                    <a:pt x="2227" y="6209"/>
                  </a:cubicBezTo>
                  <a:cubicBezTo>
                    <a:pt x="2347" y="6239"/>
                    <a:pt x="2347" y="6450"/>
                    <a:pt x="2227" y="6660"/>
                  </a:cubicBezTo>
                  <a:cubicBezTo>
                    <a:pt x="2190" y="6760"/>
                    <a:pt x="2122" y="6793"/>
                    <a:pt x="2044" y="6793"/>
                  </a:cubicBezTo>
                  <a:cubicBezTo>
                    <a:pt x="1934" y="6793"/>
                    <a:pt x="1804" y="6726"/>
                    <a:pt x="1715" y="6691"/>
                  </a:cubicBezTo>
                  <a:cubicBezTo>
                    <a:pt x="1384" y="6721"/>
                    <a:pt x="1083" y="6931"/>
                    <a:pt x="933" y="7232"/>
                  </a:cubicBezTo>
                  <a:cubicBezTo>
                    <a:pt x="752" y="7443"/>
                    <a:pt x="722" y="7744"/>
                    <a:pt x="843" y="8015"/>
                  </a:cubicBezTo>
                  <a:cubicBezTo>
                    <a:pt x="933" y="8195"/>
                    <a:pt x="662" y="8436"/>
                    <a:pt x="843" y="8797"/>
                  </a:cubicBezTo>
                  <a:cubicBezTo>
                    <a:pt x="1053" y="9188"/>
                    <a:pt x="783" y="9249"/>
                    <a:pt x="813" y="9550"/>
                  </a:cubicBezTo>
                  <a:cubicBezTo>
                    <a:pt x="843" y="9851"/>
                    <a:pt x="1294" y="9820"/>
                    <a:pt x="1324" y="10121"/>
                  </a:cubicBezTo>
                  <a:cubicBezTo>
                    <a:pt x="1384" y="10422"/>
                    <a:pt x="1174" y="10543"/>
                    <a:pt x="1023" y="10543"/>
                  </a:cubicBezTo>
                  <a:cubicBezTo>
                    <a:pt x="873" y="10543"/>
                    <a:pt x="933" y="10844"/>
                    <a:pt x="1083" y="10904"/>
                  </a:cubicBezTo>
                  <a:cubicBezTo>
                    <a:pt x="1234" y="10994"/>
                    <a:pt x="1174" y="11506"/>
                    <a:pt x="1114" y="11656"/>
                  </a:cubicBezTo>
                  <a:cubicBezTo>
                    <a:pt x="1053" y="11807"/>
                    <a:pt x="542" y="11656"/>
                    <a:pt x="602" y="11837"/>
                  </a:cubicBezTo>
                  <a:cubicBezTo>
                    <a:pt x="632" y="12047"/>
                    <a:pt x="482" y="12348"/>
                    <a:pt x="482" y="12499"/>
                  </a:cubicBezTo>
                  <a:cubicBezTo>
                    <a:pt x="482" y="12633"/>
                    <a:pt x="434" y="13030"/>
                    <a:pt x="338" y="13030"/>
                  </a:cubicBezTo>
                  <a:cubicBezTo>
                    <a:pt x="327" y="13030"/>
                    <a:pt x="314" y="13024"/>
                    <a:pt x="301" y="13010"/>
                  </a:cubicBezTo>
                  <a:lnTo>
                    <a:pt x="30" y="13010"/>
                  </a:lnTo>
                  <a:lnTo>
                    <a:pt x="30" y="13101"/>
                  </a:lnTo>
                  <a:cubicBezTo>
                    <a:pt x="0" y="13402"/>
                    <a:pt x="151" y="13703"/>
                    <a:pt x="391" y="13883"/>
                  </a:cubicBezTo>
                  <a:cubicBezTo>
                    <a:pt x="662" y="14094"/>
                    <a:pt x="451" y="14425"/>
                    <a:pt x="662" y="14726"/>
                  </a:cubicBezTo>
                  <a:cubicBezTo>
                    <a:pt x="873" y="15027"/>
                    <a:pt x="813" y="15237"/>
                    <a:pt x="1083" y="15418"/>
                  </a:cubicBezTo>
                  <a:cubicBezTo>
                    <a:pt x="1354" y="15629"/>
                    <a:pt x="1354" y="15779"/>
                    <a:pt x="1234" y="16020"/>
                  </a:cubicBezTo>
                  <a:cubicBezTo>
                    <a:pt x="1114" y="16291"/>
                    <a:pt x="1445" y="16231"/>
                    <a:pt x="1445" y="16411"/>
                  </a:cubicBezTo>
                  <a:cubicBezTo>
                    <a:pt x="1415" y="16622"/>
                    <a:pt x="1415" y="16832"/>
                    <a:pt x="1445" y="17043"/>
                  </a:cubicBezTo>
                  <a:cubicBezTo>
                    <a:pt x="1475" y="17103"/>
                    <a:pt x="1515" y="17123"/>
                    <a:pt x="1569" y="17123"/>
                  </a:cubicBezTo>
                  <a:cubicBezTo>
                    <a:pt x="1679" y="17123"/>
                    <a:pt x="1846" y="17043"/>
                    <a:pt x="2107" y="17043"/>
                  </a:cubicBezTo>
                  <a:cubicBezTo>
                    <a:pt x="2468" y="17043"/>
                    <a:pt x="2347" y="16832"/>
                    <a:pt x="2408" y="16592"/>
                  </a:cubicBezTo>
                  <a:cubicBezTo>
                    <a:pt x="2438" y="16351"/>
                    <a:pt x="2588" y="16471"/>
                    <a:pt x="2618" y="16321"/>
                  </a:cubicBezTo>
                  <a:cubicBezTo>
                    <a:pt x="2636" y="16233"/>
                    <a:pt x="2766" y="16186"/>
                    <a:pt x="2931" y="16186"/>
                  </a:cubicBezTo>
                  <a:cubicBezTo>
                    <a:pt x="3049" y="16186"/>
                    <a:pt x="3185" y="16210"/>
                    <a:pt x="3310" y="16261"/>
                  </a:cubicBezTo>
                  <a:cubicBezTo>
                    <a:pt x="3364" y="16277"/>
                    <a:pt x="3410" y="16284"/>
                    <a:pt x="3449" y="16284"/>
                  </a:cubicBezTo>
                  <a:cubicBezTo>
                    <a:pt x="3634" y="16284"/>
                    <a:pt x="3688" y="16122"/>
                    <a:pt x="3762" y="15900"/>
                  </a:cubicBezTo>
                  <a:cubicBezTo>
                    <a:pt x="3779" y="15833"/>
                    <a:pt x="3800" y="15808"/>
                    <a:pt x="3823" y="15808"/>
                  </a:cubicBezTo>
                  <a:cubicBezTo>
                    <a:pt x="3884" y="15808"/>
                    <a:pt x="3959" y="15976"/>
                    <a:pt x="4003" y="16020"/>
                  </a:cubicBezTo>
                  <a:cubicBezTo>
                    <a:pt x="4009" y="16027"/>
                    <a:pt x="4017" y="16030"/>
                    <a:pt x="4026" y="16030"/>
                  </a:cubicBezTo>
                  <a:cubicBezTo>
                    <a:pt x="4133" y="16030"/>
                    <a:pt x="4371" y="15546"/>
                    <a:pt x="4454" y="15268"/>
                  </a:cubicBezTo>
                  <a:cubicBezTo>
                    <a:pt x="4511" y="15125"/>
                    <a:pt x="4514" y="15056"/>
                    <a:pt x="4469" y="15056"/>
                  </a:cubicBezTo>
                  <a:cubicBezTo>
                    <a:pt x="4419" y="15056"/>
                    <a:pt x="4311" y="15140"/>
                    <a:pt x="4153" y="15298"/>
                  </a:cubicBezTo>
                  <a:cubicBezTo>
                    <a:pt x="4095" y="15356"/>
                    <a:pt x="4056" y="15380"/>
                    <a:pt x="4032" y="15380"/>
                  </a:cubicBezTo>
                  <a:cubicBezTo>
                    <a:pt x="3929" y="15380"/>
                    <a:pt x="4080" y="14950"/>
                    <a:pt x="4153" y="14756"/>
                  </a:cubicBezTo>
                  <a:cubicBezTo>
                    <a:pt x="4243" y="14395"/>
                    <a:pt x="4304" y="14034"/>
                    <a:pt x="4304" y="13642"/>
                  </a:cubicBezTo>
                  <a:cubicBezTo>
                    <a:pt x="4304" y="13402"/>
                    <a:pt x="4484" y="13191"/>
                    <a:pt x="4725" y="13161"/>
                  </a:cubicBezTo>
                  <a:cubicBezTo>
                    <a:pt x="5056" y="13101"/>
                    <a:pt x="5507" y="12679"/>
                    <a:pt x="5447" y="12499"/>
                  </a:cubicBezTo>
                  <a:cubicBezTo>
                    <a:pt x="5357" y="12288"/>
                    <a:pt x="5929" y="12047"/>
                    <a:pt x="5929" y="11837"/>
                  </a:cubicBezTo>
                  <a:cubicBezTo>
                    <a:pt x="5929" y="11656"/>
                    <a:pt x="5357" y="11145"/>
                    <a:pt x="5176" y="11024"/>
                  </a:cubicBezTo>
                  <a:cubicBezTo>
                    <a:pt x="4996" y="10904"/>
                    <a:pt x="4574" y="10994"/>
                    <a:pt x="4605" y="10874"/>
                  </a:cubicBezTo>
                  <a:cubicBezTo>
                    <a:pt x="4635" y="10573"/>
                    <a:pt x="4605" y="10272"/>
                    <a:pt x="4544" y="9971"/>
                  </a:cubicBezTo>
                  <a:cubicBezTo>
                    <a:pt x="4454" y="9700"/>
                    <a:pt x="4815" y="9429"/>
                    <a:pt x="4815" y="9219"/>
                  </a:cubicBezTo>
                  <a:cubicBezTo>
                    <a:pt x="4815" y="8978"/>
                    <a:pt x="4815" y="8677"/>
                    <a:pt x="5026" y="8587"/>
                  </a:cubicBezTo>
                  <a:cubicBezTo>
                    <a:pt x="5267" y="8466"/>
                    <a:pt x="5116" y="8316"/>
                    <a:pt x="5417" y="8225"/>
                  </a:cubicBezTo>
                  <a:cubicBezTo>
                    <a:pt x="5718" y="8165"/>
                    <a:pt x="5628" y="7744"/>
                    <a:pt x="5929" y="7593"/>
                  </a:cubicBezTo>
                  <a:cubicBezTo>
                    <a:pt x="6230" y="7443"/>
                    <a:pt x="6260" y="7383"/>
                    <a:pt x="6681" y="7172"/>
                  </a:cubicBezTo>
                  <a:cubicBezTo>
                    <a:pt x="7102" y="6992"/>
                    <a:pt x="7825" y="6510"/>
                    <a:pt x="7915" y="6239"/>
                  </a:cubicBezTo>
                  <a:cubicBezTo>
                    <a:pt x="8035" y="5968"/>
                    <a:pt x="7494" y="5758"/>
                    <a:pt x="7855" y="5487"/>
                  </a:cubicBezTo>
                  <a:cubicBezTo>
                    <a:pt x="8186" y="5216"/>
                    <a:pt x="7885" y="4975"/>
                    <a:pt x="8156" y="4855"/>
                  </a:cubicBezTo>
                  <a:cubicBezTo>
                    <a:pt x="8336" y="4765"/>
                    <a:pt x="8517" y="4614"/>
                    <a:pt x="8637" y="4433"/>
                  </a:cubicBezTo>
                  <a:cubicBezTo>
                    <a:pt x="8701" y="4369"/>
                    <a:pt x="8773" y="4351"/>
                    <a:pt x="8858" y="4351"/>
                  </a:cubicBezTo>
                  <a:cubicBezTo>
                    <a:pt x="8975" y="4351"/>
                    <a:pt x="9116" y="4386"/>
                    <a:pt x="9297" y="4386"/>
                  </a:cubicBezTo>
                  <a:cubicBezTo>
                    <a:pt x="9354" y="4386"/>
                    <a:pt x="9415" y="4383"/>
                    <a:pt x="9480" y="4373"/>
                  </a:cubicBezTo>
                  <a:cubicBezTo>
                    <a:pt x="9542" y="4361"/>
                    <a:pt x="9605" y="4354"/>
                    <a:pt x="9667" y="4354"/>
                  </a:cubicBezTo>
                  <a:cubicBezTo>
                    <a:pt x="9755" y="4354"/>
                    <a:pt x="9843" y="4368"/>
                    <a:pt x="9931" y="4403"/>
                  </a:cubicBezTo>
                  <a:cubicBezTo>
                    <a:pt x="9901" y="4253"/>
                    <a:pt x="9871" y="4102"/>
                    <a:pt x="9811" y="3952"/>
                  </a:cubicBezTo>
                  <a:cubicBezTo>
                    <a:pt x="9691" y="3832"/>
                    <a:pt x="9480" y="3531"/>
                    <a:pt x="9660" y="3531"/>
                  </a:cubicBezTo>
                  <a:cubicBezTo>
                    <a:pt x="9841" y="3531"/>
                    <a:pt x="9931" y="2989"/>
                    <a:pt x="9691" y="2869"/>
                  </a:cubicBezTo>
                  <a:cubicBezTo>
                    <a:pt x="9480" y="2748"/>
                    <a:pt x="9691" y="2267"/>
                    <a:pt x="9510" y="2146"/>
                  </a:cubicBezTo>
                  <a:cubicBezTo>
                    <a:pt x="9329" y="2026"/>
                    <a:pt x="9420" y="1665"/>
                    <a:pt x="9480" y="1394"/>
                  </a:cubicBezTo>
                  <a:cubicBezTo>
                    <a:pt x="9510" y="1123"/>
                    <a:pt x="8758" y="912"/>
                    <a:pt x="8336" y="732"/>
                  </a:cubicBezTo>
                  <a:cubicBezTo>
                    <a:pt x="7915" y="521"/>
                    <a:pt x="7734" y="220"/>
                    <a:pt x="7403" y="40"/>
                  </a:cubicBezTo>
                  <a:cubicBezTo>
                    <a:pt x="7353" y="12"/>
                    <a:pt x="7308" y="0"/>
                    <a:pt x="7268" y="0"/>
                  </a:cubicBezTo>
                  <a:close/>
                </a:path>
              </a:pathLst>
            </a:custGeom>
            <a:solidFill>
              <a:srgbClr val="EDF1F7"/>
            </a:solidFill>
            <a:ln w="2250" cap="flat" cmpd="sng">
              <a:solidFill>
                <a:srgbClr val="FFFFFF"/>
              </a:solidFill>
              <a:prstDash val="solid"/>
              <a:miter lim="30094"/>
              <a:headEnd type="none" w="sm" len="sm"/>
              <a:tailEnd type="none" w="sm" len="sm"/>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grpSp>
      <p:sp>
        <p:nvSpPr>
          <p:cNvPr id="1173" name="Oval 290">
            <a:extLst>
              <a:ext uri="{FF2B5EF4-FFF2-40B4-BE49-F238E27FC236}">
                <a16:creationId xmlns:a16="http://schemas.microsoft.com/office/drawing/2014/main" id="{2D373E2B-0FCB-8442-A3BD-49BA95272256}"/>
              </a:ext>
            </a:extLst>
          </p:cNvPr>
          <p:cNvSpPr>
            <a:spLocks noChangeAspect="1" noChangeArrowheads="1"/>
          </p:cNvSpPr>
          <p:nvPr/>
        </p:nvSpPr>
        <p:spPr bwMode="auto">
          <a:xfrm>
            <a:off x="10252089" y="2876523"/>
            <a:ext cx="145203" cy="144000"/>
          </a:xfrm>
          <a:prstGeom prst="ellipse">
            <a:avLst/>
          </a:prstGeom>
          <a:solidFill>
            <a:schemeClr val="accent5"/>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sp>
        <p:nvSpPr>
          <p:cNvPr id="1170" name="Oval 290">
            <a:extLst>
              <a:ext uri="{FF2B5EF4-FFF2-40B4-BE49-F238E27FC236}">
                <a16:creationId xmlns:a16="http://schemas.microsoft.com/office/drawing/2014/main" id="{58545508-67E5-694E-9CC4-599F2CF41DBB}"/>
              </a:ext>
            </a:extLst>
          </p:cNvPr>
          <p:cNvSpPr>
            <a:spLocks noChangeAspect="1" noChangeArrowheads="1"/>
          </p:cNvSpPr>
          <p:nvPr/>
        </p:nvSpPr>
        <p:spPr bwMode="auto">
          <a:xfrm>
            <a:off x="7968175" y="3492323"/>
            <a:ext cx="121003" cy="120000"/>
          </a:xfrm>
          <a:prstGeom prst="ellipse">
            <a:avLst/>
          </a:prstGeom>
          <a:solidFill>
            <a:schemeClr val="accent2"/>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sp>
        <p:nvSpPr>
          <p:cNvPr id="1161" name="Oval 290">
            <a:extLst>
              <a:ext uri="{FF2B5EF4-FFF2-40B4-BE49-F238E27FC236}">
                <a16:creationId xmlns:a16="http://schemas.microsoft.com/office/drawing/2014/main" id="{85BF14AE-6A50-3D43-93FC-CA6432F7D489}"/>
              </a:ext>
            </a:extLst>
          </p:cNvPr>
          <p:cNvSpPr>
            <a:spLocks noChangeAspect="1" noChangeArrowheads="1"/>
          </p:cNvSpPr>
          <p:nvPr/>
        </p:nvSpPr>
        <p:spPr bwMode="auto">
          <a:xfrm>
            <a:off x="3053005" y="2910359"/>
            <a:ext cx="121003" cy="120000"/>
          </a:xfrm>
          <a:prstGeom prst="ellipse">
            <a:avLst/>
          </a:prstGeom>
          <a:solidFill>
            <a:schemeClr val="accent2"/>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sp>
        <p:nvSpPr>
          <p:cNvPr id="2" name="Text Placeholder 1">
            <a:extLst>
              <a:ext uri="{FF2B5EF4-FFF2-40B4-BE49-F238E27FC236}">
                <a16:creationId xmlns:a16="http://schemas.microsoft.com/office/drawing/2014/main" id="{8E003F72-8E50-6F4F-9A64-F8A684030ACC}"/>
              </a:ext>
            </a:extLst>
          </p:cNvPr>
          <p:cNvSpPr>
            <a:spLocks noGrp="1"/>
          </p:cNvSpPr>
          <p:nvPr>
            <p:ph type="body" idx="1"/>
          </p:nvPr>
        </p:nvSpPr>
        <p:spPr/>
        <p:txBody>
          <a:bodyPr/>
          <a:lstStyle/>
          <a:p>
            <a:r>
              <a:rPr lang="en-US"/>
              <a:t>Cisco Managed Services </a:t>
            </a:r>
            <a:br>
              <a:rPr lang="en-US"/>
            </a:br>
            <a:r>
              <a:rPr lang="en-US"/>
              <a:t>delivers excellence worldwide</a:t>
            </a:r>
          </a:p>
        </p:txBody>
      </p:sp>
      <p:sp>
        <p:nvSpPr>
          <p:cNvPr id="1149" name="Oval 290">
            <a:extLst>
              <a:ext uri="{FF2B5EF4-FFF2-40B4-BE49-F238E27FC236}">
                <a16:creationId xmlns:a16="http://schemas.microsoft.com/office/drawing/2014/main" id="{AF7A47E2-C789-504E-A84E-CBE206551941}"/>
              </a:ext>
            </a:extLst>
          </p:cNvPr>
          <p:cNvSpPr>
            <a:spLocks noChangeAspect="1" noChangeArrowheads="1"/>
          </p:cNvSpPr>
          <p:nvPr/>
        </p:nvSpPr>
        <p:spPr bwMode="auto">
          <a:xfrm>
            <a:off x="1613360" y="2771840"/>
            <a:ext cx="121003" cy="120000"/>
          </a:xfrm>
          <a:prstGeom prst="ellipse">
            <a:avLst/>
          </a:prstGeom>
          <a:solidFill>
            <a:schemeClr val="accent6">
              <a:lumMod val="75000"/>
            </a:schemeClr>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sp>
        <p:nvSpPr>
          <p:cNvPr id="1153" name="Oval 290">
            <a:extLst>
              <a:ext uri="{FF2B5EF4-FFF2-40B4-BE49-F238E27FC236}">
                <a16:creationId xmlns:a16="http://schemas.microsoft.com/office/drawing/2014/main" id="{8AF19E70-05A5-5243-BC57-5784184232E8}"/>
              </a:ext>
            </a:extLst>
          </p:cNvPr>
          <p:cNvSpPr>
            <a:spLocks noChangeAspect="1" noChangeArrowheads="1"/>
          </p:cNvSpPr>
          <p:nvPr/>
        </p:nvSpPr>
        <p:spPr bwMode="auto">
          <a:xfrm>
            <a:off x="5659943" y="2277328"/>
            <a:ext cx="121003" cy="120000"/>
          </a:xfrm>
          <a:prstGeom prst="ellipse">
            <a:avLst/>
          </a:prstGeom>
          <a:solidFill>
            <a:schemeClr val="accent6">
              <a:lumMod val="75000"/>
            </a:schemeClr>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sp>
        <p:nvSpPr>
          <p:cNvPr id="1154" name="Oval 290">
            <a:extLst>
              <a:ext uri="{FF2B5EF4-FFF2-40B4-BE49-F238E27FC236}">
                <a16:creationId xmlns:a16="http://schemas.microsoft.com/office/drawing/2014/main" id="{F5688D42-DB02-1D42-955D-7D1B52587901}"/>
              </a:ext>
            </a:extLst>
          </p:cNvPr>
          <p:cNvSpPr>
            <a:spLocks noChangeAspect="1" noChangeArrowheads="1"/>
          </p:cNvSpPr>
          <p:nvPr/>
        </p:nvSpPr>
        <p:spPr bwMode="auto">
          <a:xfrm>
            <a:off x="5837020" y="2346036"/>
            <a:ext cx="121003" cy="120000"/>
          </a:xfrm>
          <a:prstGeom prst="ellipse">
            <a:avLst/>
          </a:prstGeom>
          <a:solidFill>
            <a:schemeClr val="accent6">
              <a:lumMod val="75000"/>
            </a:schemeClr>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sp>
        <p:nvSpPr>
          <p:cNvPr id="1155" name="Oval 290">
            <a:extLst>
              <a:ext uri="{FF2B5EF4-FFF2-40B4-BE49-F238E27FC236}">
                <a16:creationId xmlns:a16="http://schemas.microsoft.com/office/drawing/2014/main" id="{66A00360-18B7-9A4B-96D6-7646A8EE31A3}"/>
              </a:ext>
            </a:extLst>
          </p:cNvPr>
          <p:cNvSpPr>
            <a:spLocks noChangeAspect="1" noChangeArrowheads="1"/>
          </p:cNvSpPr>
          <p:nvPr/>
        </p:nvSpPr>
        <p:spPr bwMode="auto">
          <a:xfrm>
            <a:off x="8028676" y="3518447"/>
            <a:ext cx="121003" cy="120000"/>
          </a:xfrm>
          <a:prstGeom prst="ellipse">
            <a:avLst/>
          </a:prstGeom>
          <a:solidFill>
            <a:schemeClr val="accent6">
              <a:lumMod val="75000"/>
            </a:schemeClr>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sp>
        <p:nvSpPr>
          <p:cNvPr id="1157" name="Oval 290">
            <a:extLst>
              <a:ext uri="{FF2B5EF4-FFF2-40B4-BE49-F238E27FC236}">
                <a16:creationId xmlns:a16="http://schemas.microsoft.com/office/drawing/2014/main" id="{DD367FCD-83A6-0048-8664-EE3D009AD450}"/>
              </a:ext>
            </a:extLst>
          </p:cNvPr>
          <p:cNvSpPr>
            <a:spLocks noChangeAspect="1" noChangeArrowheads="1"/>
          </p:cNvSpPr>
          <p:nvPr/>
        </p:nvSpPr>
        <p:spPr bwMode="auto">
          <a:xfrm>
            <a:off x="9491715" y="3372323"/>
            <a:ext cx="121003" cy="120000"/>
          </a:xfrm>
          <a:prstGeom prst="ellipse">
            <a:avLst/>
          </a:prstGeom>
          <a:solidFill>
            <a:schemeClr val="accent6">
              <a:lumMod val="75000"/>
            </a:schemeClr>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sp>
        <p:nvSpPr>
          <p:cNvPr id="1158" name="Oval 290">
            <a:extLst>
              <a:ext uri="{FF2B5EF4-FFF2-40B4-BE49-F238E27FC236}">
                <a16:creationId xmlns:a16="http://schemas.microsoft.com/office/drawing/2014/main" id="{C3950958-264A-184E-8C53-833FF4B58429}"/>
              </a:ext>
            </a:extLst>
          </p:cNvPr>
          <p:cNvSpPr>
            <a:spLocks noChangeAspect="1" noChangeArrowheads="1"/>
          </p:cNvSpPr>
          <p:nvPr/>
        </p:nvSpPr>
        <p:spPr bwMode="auto">
          <a:xfrm>
            <a:off x="10330639" y="2833963"/>
            <a:ext cx="121003" cy="120000"/>
          </a:xfrm>
          <a:prstGeom prst="ellipse">
            <a:avLst/>
          </a:prstGeom>
          <a:solidFill>
            <a:schemeClr val="accent6">
              <a:lumMod val="75000"/>
            </a:schemeClr>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sp>
        <p:nvSpPr>
          <p:cNvPr id="1159" name="Oval 290">
            <a:extLst>
              <a:ext uri="{FF2B5EF4-FFF2-40B4-BE49-F238E27FC236}">
                <a16:creationId xmlns:a16="http://schemas.microsoft.com/office/drawing/2014/main" id="{CEAE9A20-2742-0444-AB02-B85222B2213E}"/>
              </a:ext>
            </a:extLst>
          </p:cNvPr>
          <p:cNvSpPr>
            <a:spLocks noChangeAspect="1" noChangeArrowheads="1"/>
          </p:cNvSpPr>
          <p:nvPr/>
        </p:nvSpPr>
        <p:spPr bwMode="auto">
          <a:xfrm>
            <a:off x="2426160" y="3192755"/>
            <a:ext cx="121003" cy="120000"/>
          </a:xfrm>
          <a:prstGeom prst="ellipse">
            <a:avLst/>
          </a:prstGeom>
          <a:solidFill>
            <a:schemeClr val="accent2"/>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sp>
        <p:nvSpPr>
          <p:cNvPr id="1160" name="Oval 290">
            <a:extLst>
              <a:ext uri="{FF2B5EF4-FFF2-40B4-BE49-F238E27FC236}">
                <a16:creationId xmlns:a16="http://schemas.microsoft.com/office/drawing/2014/main" id="{F9141302-84BB-FC47-B255-319C6B8993F8}"/>
              </a:ext>
            </a:extLst>
          </p:cNvPr>
          <p:cNvSpPr>
            <a:spLocks noChangeAspect="1" noChangeArrowheads="1"/>
          </p:cNvSpPr>
          <p:nvPr/>
        </p:nvSpPr>
        <p:spPr bwMode="auto">
          <a:xfrm>
            <a:off x="3113507" y="2972341"/>
            <a:ext cx="121003" cy="120000"/>
          </a:xfrm>
          <a:prstGeom prst="ellipse">
            <a:avLst/>
          </a:prstGeom>
          <a:solidFill>
            <a:schemeClr val="accent5"/>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sp>
        <p:nvSpPr>
          <p:cNvPr id="1162" name="Oval 290">
            <a:extLst>
              <a:ext uri="{FF2B5EF4-FFF2-40B4-BE49-F238E27FC236}">
                <a16:creationId xmlns:a16="http://schemas.microsoft.com/office/drawing/2014/main" id="{DCA447C1-CD07-9445-95FE-2EEC5D8596B5}"/>
              </a:ext>
            </a:extLst>
          </p:cNvPr>
          <p:cNvSpPr>
            <a:spLocks noChangeAspect="1" noChangeArrowheads="1"/>
          </p:cNvSpPr>
          <p:nvPr/>
        </p:nvSpPr>
        <p:spPr bwMode="auto">
          <a:xfrm>
            <a:off x="8151493" y="3201463"/>
            <a:ext cx="121003" cy="120000"/>
          </a:xfrm>
          <a:prstGeom prst="ellipse">
            <a:avLst/>
          </a:prstGeom>
          <a:solidFill>
            <a:schemeClr val="accent2"/>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sp>
        <p:nvSpPr>
          <p:cNvPr id="1152" name="Oval 290">
            <a:extLst>
              <a:ext uri="{FF2B5EF4-FFF2-40B4-BE49-F238E27FC236}">
                <a16:creationId xmlns:a16="http://schemas.microsoft.com/office/drawing/2014/main" id="{A87D9AEA-626C-6D46-A735-0C63568B5A7E}"/>
              </a:ext>
            </a:extLst>
          </p:cNvPr>
          <p:cNvSpPr>
            <a:spLocks noChangeAspect="1" noChangeArrowheads="1"/>
          </p:cNvSpPr>
          <p:nvPr/>
        </p:nvSpPr>
        <p:spPr bwMode="auto">
          <a:xfrm>
            <a:off x="3140263" y="2888523"/>
            <a:ext cx="121003" cy="120000"/>
          </a:xfrm>
          <a:prstGeom prst="ellipse">
            <a:avLst/>
          </a:prstGeom>
          <a:solidFill>
            <a:schemeClr val="accent6">
              <a:lumMod val="75000"/>
            </a:schemeClr>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sp>
        <p:nvSpPr>
          <p:cNvPr id="1163" name="Oval 290">
            <a:extLst>
              <a:ext uri="{FF2B5EF4-FFF2-40B4-BE49-F238E27FC236}">
                <a16:creationId xmlns:a16="http://schemas.microsoft.com/office/drawing/2014/main" id="{97A6B228-7023-4845-9BC7-0303DB53AA16}"/>
              </a:ext>
            </a:extLst>
          </p:cNvPr>
          <p:cNvSpPr>
            <a:spLocks noChangeAspect="1" noChangeArrowheads="1"/>
          </p:cNvSpPr>
          <p:nvPr/>
        </p:nvSpPr>
        <p:spPr bwMode="auto">
          <a:xfrm>
            <a:off x="2881907" y="3874928"/>
            <a:ext cx="121003" cy="120000"/>
          </a:xfrm>
          <a:prstGeom prst="ellipse">
            <a:avLst/>
          </a:prstGeom>
          <a:solidFill>
            <a:schemeClr val="accent2"/>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sp>
        <p:nvSpPr>
          <p:cNvPr id="1164" name="Oval 290">
            <a:extLst>
              <a:ext uri="{FF2B5EF4-FFF2-40B4-BE49-F238E27FC236}">
                <a16:creationId xmlns:a16="http://schemas.microsoft.com/office/drawing/2014/main" id="{6B795499-FABB-9A4B-99D9-F830EF26F321}"/>
              </a:ext>
            </a:extLst>
          </p:cNvPr>
          <p:cNvSpPr>
            <a:spLocks noChangeAspect="1" noChangeArrowheads="1"/>
          </p:cNvSpPr>
          <p:nvPr/>
        </p:nvSpPr>
        <p:spPr bwMode="auto">
          <a:xfrm>
            <a:off x="7105564" y="3369000"/>
            <a:ext cx="121003" cy="120000"/>
          </a:xfrm>
          <a:prstGeom prst="ellipse">
            <a:avLst/>
          </a:prstGeom>
          <a:solidFill>
            <a:schemeClr val="accent2"/>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sp>
        <p:nvSpPr>
          <p:cNvPr id="1168" name="Oval 290">
            <a:extLst>
              <a:ext uri="{FF2B5EF4-FFF2-40B4-BE49-F238E27FC236}">
                <a16:creationId xmlns:a16="http://schemas.microsoft.com/office/drawing/2014/main" id="{046DC57A-EE90-1441-A9AD-791F22102E49}"/>
              </a:ext>
            </a:extLst>
          </p:cNvPr>
          <p:cNvSpPr>
            <a:spLocks noChangeAspect="1" noChangeArrowheads="1"/>
          </p:cNvSpPr>
          <p:nvPr/>
        </p:nvSpPr>
        <p:spPr bwMode="auto">
          <a:xfrm>
            <a:off x="5920577" y="2356951"/>
            <a:ext cx="121003" cy="120000"/>
          </a:xfrm>
          <a:prstGeom prst="ellipse">
            <a:avLst/>
          </a:prstGeom>
          <a:solidFill>
            <a:schemeClr val="accent2"/>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sp>
        <p:nvSpPr>
          <p:cNvPr id="1169" name="Oval 290">
            <a:extLst>
              <a:ext uri="{FF2B5EF4-FFF2-40B4-BE49-F238E27FC236}">
                <a16:creationId xmlns:a16="http://schemas.microsoft.com/office/drawing/2014/main" id="{F3739452-3B07-904F-B453-319D7F2C5129}"/>
              </a:ext>
            </a:extLst>
          </p:cNvPr>
          <p:cNvSpPr>
            <a:spLocks noChangeAspect="1" noChangeArrowheads="1"/>
          </p:cNvSpPr>
          <p:nvPr/>
        </p:nvSpPr>
        <p:spPr bwMode="auto">
          <a:xfrm>
            <a:off x="6133845" y="2263540"/>
            <a:ext cx="121003" cy="120000"/>
          </a:xfrm>
          <a:prstGeom prst="ellipse">
            <a:avLst/>
          </a:prstGeom>
          <a:solidFill>
            <a:schemeClr val="accent5"/>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sp>
        <p:nvSpPr>
          <p:cNvPr id="1171" name="Oval 290">
            <a:extLst>
              <a:ext uri="{FF2B5EF4-FFF2-40B4-BE49-F238E27FC236}">
                <a16:creationId xmlns:a16="http://schemas.microsoft.com/office/drawing/2014/main" id="{AB6C1E9C-6BD9-394F-BE47-DCF6FF484785}"/>
              </a:ext>
            </a:extLst>
          </p:cNvPr>
          <p:cNvSpPr>
            <a:spLocks noChangeAspect="1" noChangeArrowheads="1"/>
          </p:cNvSpPr>
          <p:nvPr/>
        </p:nvSpPr>
        <p:spPr bwMode="auto">
          <a:xfrm>
            <a:off x="8195033" y="3729155"/>
            <a:ext cx="145203" cy="144000"/>
          </a:xfrm>
          <a:prstGeom prst="ellipse">
            <a:avLst/>
          </a:prstGeom>
          <a:solidFill>
            <a:schemeClr val="accent2"/>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sp>
        <p:nvSpPr>
          <p:cNvPr id="1172" name="Oval 290">
            <a:extLst>
              <a:ext uri="{FF2B5EF4-FFF2-40B4-BE49-F238E27FC236}">
                <a16:creationId xmlns:a16="http://schemas.microsoft.com/office/drawing/2014/main" id="{B3FF9C4A-9575-624B-8097-F2FC39A8C269}"/>
              </a:ext>
            </a:extLst>
          </p:cNvPr>
          <p:cNvSpPr>
            <a:spLocks noChangeAspect="1" noChangeArrowheads="1"/>
          </p:cNvSpPr>
          <p:nvPr/>
        </p:nvSpPr>
        <p:spPr bwMode="auto">
          <a:xfrm>
            <a:off x="8307328" y="3711388"/>
            <a:ext cx="121003" cy="120000"/>
          </a:xfrm>
          <a:prstGeom prst="ellipse">
            <a:avLst/>
          </a:prstGeom>
          <a:solidFill>
            <a:schemeClr val="accent5"/>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sp>
        <p:nvSpPr>
          <p:cNvPr id="1156" name="Oval 290">
            <a:extLst>
              <a:ext uri="{FF2B5EF4-FFF2-40B4-BE49-F238E27FC236}">
                <a16:creationId xmlns:a16="http://schemas.microsoft.com/office/drawing/2014/main" id="{BD17FD35-9004-1F42-9123-A7B391A51555}"/>
              </a:ext>
            </a:extLst>
          </p:cNvPr>
          <p:cNvSpPr>
            <a:spLocks noChangeAspect="1" noChangeArrowheads="1"/>
          </p:cNvSpPr>
          <p:nvPr/>
        </p:nvSpPr>
        <p:spPr bwMode="auto">
          <a:xfrm>
            <a:off x="8108408" y="3690695"/>
            <a:ext cx="121003" cy="120000"/>
          </a:xfrm>
          <a:prstGeom prst="ellipse">
            <a:avLst/>
          </a:prstGeom>
          <a:solidFill>
            <a:schemeClr val="accent6">
              <a:lumMod val="75000"/>
            </a:schemeClr>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grpSp>
        <p:nvGrpSpPr>
          <p:cNvPr id="7" name="Group 6">
            <a:extLst>
              <a:ext uri="{FF2B5EF4-FFF2-40B4-BE49-F238E27FC236}">
                <a16:creationId xmlns:a16="http://schemas.microsoft.com/office/drawing/2014/main" id="{AC6EDDB4-CADC-4AC8-BC3D-A8199A832F16}"/>
              </a:ext>
            </a:extLst>
          </p:cNvPr>
          <p:cNvGrpSpPr/>
          <p:nvPr/>
        </p:nvGrpSpPr>
        <p:grpSpPr>
          <a:xfrm>
            <a:off x="7170175" y="4198811"/>
            <a:ext cx="1843612" cy="1873911"/>
            <a:chOff x="5427965" y="3149108"/>
            <a:chExt cx="1382709" cy="1405433"/>
          </a:xfrm>
        </p:grpSpPr>
        <p:pic>
          <p:nvPicPr>
            <p:cNvPr id="1192" name="Google Shape;1672;p251">
              <a:extLst>
                <a:ext uri="{FF2B5EF4-FFF2-40B4-BE49-F238E27FC236}">
                  <a16:creationId xmlns:a16="http://schemas.microsoft.com/office/drawing/2014/main" id="{74CDD79D-E43A-4B40-925F-61BDBE52C90D}"/>
                </a:ext>
              </a:extLst>
            </p:cNvPr>
            <p:cNvPicPr preferRelativeResize="0">
              <a:picLocks noChangeAspect="1"/>
            </p:cNvPicPr>
            <p:nvPr/>
          </p:nvPicPr>
          <p:blipFill rotWithShape="1">
            <a:blip r:embed="rId3">
              <a:alphaModFix/>
            </a:blip>
            <a:srcRect/>
            <a:stretch/>
          </p:blipFill>
          <p:spPr>
            <a:xfrm>
              <a:off x="5719676" y="3149108"/>
              <a:ext cx="810000" cy="810000"/>
            </a:xfrm>
            <a:prstGeom prst="rect">
              <a:avLst/>
            </a:prstGeom>
            <a:noFill/>
            <a:ln>
              <a:noFill/>
            </a:ln>
          </p:spPr>
        </p:pic>
        <p:sp>
          <p:nvSpPr>
            <p:cNvPr id="1179" name="Rectangle 1178">
              <a:extLst>
                <a:ext uri="{FF2B5EF4-FFF2-40B4-BE49-F238E27FC236}">
                  <a16:creationId xmlns:a16="http://schemas.microsoft.com/office/drawing/2014/main" id="{DD672097-610C-5B49-8634-21834C51F5D8}"/>
                </a:ext>
              </a:extLst>
            </p:cNvPr>
            <p:cNvSpPr/>
            <p:nvPr/>
          </p:nvSpPr>
          <p:spPr>
            <a:xfrm>
              <a:off x="5427965" y="4266000"/>
              <a:ext cx="1382709" cy="288541"/>
            </a:xfrm>
            <a:prstGeom prst="rect">
              <a:avLst/>
            </a:prstGeom>
          </p:spPr>
          <p:txBody>
            <a:bodyPr wrap="square" tIns="0" bIns="0">
              <a:spAutoFit/>
            </a:bodyPr>
            <a:lstStyle/>
            <a:p>
              <a:pPr algn="ctr" defTabSz="914332">
                <a:lnSpc>
                  <a:spcPts val="1467"/>
                </a:lnSpc>
                <a:buClr>
                  <a:srgbClr val="000000"/>
                </a:buClr>
                <a:defRPr/>
              </a:pPr>
              <a:r>
                <a:rPr lang="en-US" sz="1467" kern="0">
                  <a:solidFill>
                    <a:srgbClr val="2F446B"/>
                  </a:solidFill>
                  <a:latin typeface="CiscoSansTT ExtraLight" panose="020B0303020201020303" pitchFamily="34" charset="0"/>
                  <a:cs typeface="CiscoSansTT ExtraLight" panose="020B0303020201020303" pitchFamily="34" charset="0"/>
                  <a:sym typeface="Arial"/>
                </a:rPr>
                <a:t>of customers rank </a:t>
              </a:r>
              <a:br>
                <a:rPr lang="en-US" sz="1467" kern="0">
                  <a:solidFill>
                    <a:srgbClr val="2F446B"/>
                  </a:solidFill>
                  <a:latin typeface="CiscoSansTT ExtraLight" panose="020B0303020201020303" pitchFamily="34" charset="0"/>
                  <a:cs typeface="CiscoSansTT ExtraLight" panose="020B0303020201020303" pitchFamily="34" charset="0"/>
                  <a:sym typeface="Arial"/>
                </a:rPr>
              </a:br>
              <a:r>
                <a:rPr lang="en-US" sz="1467" kern="0">
                  <a:solidFill>
                    <a:srgbClr val="2F446B"/>
                  </a:solidFill>
                  <a:latin typeface="CiscoSansTT ExtraLight" panose="020B0303020201020303" pitchFamily="34" charset="0"/>
                  <a:cs typeface="CiscoSansTT ExtraLight" panose="020B0303020201020303" pitchFamily="34" charset="0"/>
                  <a:sym typeface="Arial"/>
                </a:rPr>
                <a:t>in the Fortune 500 </a:t>
              </a:r>
              <a:endParaRPr lang="en-US" sz="1467" kern="0">
                <a:solidFill>
                  <a:srgbClr val="2F446B"/>
                </a:solidFill>
                <a:latin typeface="CiscoSansTT ExtraLight" charset="0"/>
                <a:ea typeface="CiscoSansTT" charset="0"/>
                <a:cs typeface="CiscoSansTT" charset="0"/>
                <a:sym typeface="Arial"/>
              </a:endParaRPr>
            </a:p>
          </p:txBody>
        </p:sp>
        <p:sp>
          <p:nvSpPr>
            <p:cNvPr id="1180" name="Rectangle 1179">
              <a:extLst>
                <a:ext uri="{FF2B5EF4-FFF2-40B4-BE49-F238E27FC236}">
                  <a16:creationId xmlns:a16="http://schemas.microsoft.com/office/drawing/2014/main" id="{009D0360-974C-3444-A1B6-1A3A05B84C31}"/>
                </a:ext>
              </a:extLst>
            </p:cNvPr>
            <p:cNvSpPr/>
            <p:nvPr/>
          </p:nvSpPr>
          <p:spPr>
            <a:xfrm>
              <a:off x="5976216" y="4014000"/>
              <a:ext cx="390732" cy="230833"/>
            </a:xfrm>
            <a:prstGeom prst="rect">
              <a:avLst/>
            </a:prstGeom>
            <a:noFill/>
            <a:effectLst/>
          </p:spPr>
          <p:txBody>
            <a:bodyPr wrap="none" lIns="0" tIns="0" rIns="0" bIns="0" anchor="ctr" anchorCtr="1">
              <a:spAutoFit/>
            </a:bodyPr>
            <a:lstStyle/>
            <a:p>
              <a:pPr algn="ctr" defTabSz="914332">
                <a:buClr>
                  <a:srgbClr val="000000"/>
                </a:buClr>
                <a:defRPr/>
              </a:pPr>
              <a:r>
                <a:rPr lang="en-US" sz="2000" b="1" kern="0">
                  <a:ln w="0"/>
                  <a:solidFill>
                    <a:srgbClr val="2F446B"/>
                  </a:solidFill>
                  <a:latin typeface="CiscoSansTT ExtraLight" panose="020B0303020201020303" pitchFamily="34" charset="0"/>
                  <a:ea typeface="CiscoSansTT" charset="0"/>
                  <a:cs typeface="CiscoSansTT ExtraLight" panose="020B0303020201020303" pitchFamily="34" charset="0"/>
                  <a:sym typeface="Arial"/>
                </a:rPr>
                <a:t>53%</a:t>
              </a:r>
            </a:p>
          </p:txBody>
        </p:sp>
      </p:grpSp>
      <p:grpSp>
        <p:nvGrpSpPr>
          <p:cNvPr id="5" name="Group 4">
            <a:extLst>
              <a:ext uri="{FF2B5EF4-FFF2-40B4-BE49-F238E27FC236}">
                <a16:creationId xmlns:a16="http://schemas.microsoft.com/office/drawing/2014/main" id="{0A291C30-314B-4120-BCAD-325CE2664821}"/>
              </a:ext>
            </a:extLst>
          </p:cNvPr>
          <p:cNvGrpSpPr/>
          <p:nvPr/>
        </p:nvGrpSpPr>
        <p:grpSpPr>
          <a:xfrm>
            <a:off x="5226923" y="4198812"/>
            <a:ext cx="1739925" cy="1872721"/>
            <a:chOff x="3936970" y="3150000"/>
            <a:chExt cx="1304944" cy="1404541"/>
          </a:xfrm>
        </p:grpSpPr>
        <p:pic>
          <p:nvPicPr>
            <p:cNvPr id="1191" name="Google Shape;1671;p251">
              <a:extLst>
                <a:ext uri="{FF2B5EF4-FFF2-40B4-BE49-F238E27FC236}">
                  <a16:creationId xmlns:a16="http://schemas.microsoft.com/office/drawing/2014/main" id="{1507CD95-7FD1-B641-BDD6-1609A439BB7B}"/>
                </a:ext>
              </a:extLst>
            </p:cNvPr>
            <p:cNvPicPr preferRelativeResize="0">
              <a:picLocks noChangeAspect="1"/>
            </p:cNvPicPr>
            <p:nvPr/>
          </p:nvPicPr>
          <p:blipFill rotWithShape="1">
            <a:blip r:embed="rId4">
              <a:alphaModFix/>
            </a:blip>
            <a:srcRect/>
            <a:stretch/>
          </p:blipFill>
          <p:spPr>
            <a:xfrm>
              <a:off x="4188440" y="3150000"/>
              <a:ext cx="810000" cy="810000"/>
            </a:xfrm>
            <a:prstGeom prst="rect">
              <a:avLst/>
            </a:prstGeom>
            <a:noFill/>
            <a:ln>
              <a:noFill/>
            </a:ln>
          </p:spPr>
        </p:pic>
        <p:sp>
          <p:nvSpPr>
            <p:cNvPr id="1183" name="TextBox 1182">
              <a:extLst>
                <a:ext uri="{FF2B5EF4-FFF2-40B4-BE49-F238E27FC236}">
                  <a16:creationId xmlns:a16="http://schemas.microsoft.com/office/drawing/2014/main" id="{01EE2DB4-2325-3D46-82BC-5C8527A2BAE9}"/>
                </a:ext>
              </a:extLst>
            </p:cNvPr>
            <p:cNvSpPr txBox="1"/>
            <p:nvPr/>
          </p:nvSpPr>
          <p:spPr>
            <a:xfrm>
              <a:off x="3936970" y="4266000"/>
              <a:ext cx="1304944" cy="288541"/>
            </a:xfrm>
            <a:prstGeom prst="rect">
              <a:avLst/>
            </a:prstGeom>
            <a:noFill/>
          </p:spPr>
          <p:txBody>
            <a:bodyPr wrap="square" lIns="121920" tIns="0" rIns="121920" bIns="0" rtlCol="0">
              <a:spAutoFit/>
            </a:bodyPr>
            <a:lstStyle/>
            <a:p>
              <a:pPr algn="ctr" defTabSz="914332">
                <a:lnSpc>
                  <a:spcPts val="1467"/>
                </a:lnSpc>
                <a:buClr>
                  <a:srgbClr val="000000"/>
                </a:buClr>
                <a:defRPr/>
              </a:pPr>
              <a:r>
                <a:rPr lang="en-US" sz="1467" kern="0">
                  <a:solidFill>
                    <a:srgbClr val="2F446B"/>
                  </a:solidFill>
                  <a:latin typeface="CiscoSansTT ExtraLight" charset="0"/>
                  <a:ea typeface="CiscoSansTT" charset="0"/>
                  <a:cs typeface="CiscoSansTT" charset="0"/>
                  <a:sym typeface="Arial"/>
                </a:rPr>
                <a:t>managed devices</a:t>
              </a:r>
              <a:br>
                <a:rPr lang="en-US" sz="1467" kern="0">
                  <a:solidFill>
                    <a:srgbClr val="2F446B"/>
                  </a:solidFill>
                  <a:latin typeface="CiscoSansTT ExtraLight" charset="0"/>
                  <a:ea typeface="CiscoSansTT" charset="0"/>
                  <a:cs typeface="CiscoSansTT" charset="0"/>
                  <a:sym typeface="Arial"/>
                </a:rPr>
              </a:br>
              <a:r>
                <a:rPr lang="en-US" sz="1467" kern="0">
                  <a:solidFill>
                    <a:srgbClr val="2F446B"/>
                  </a:solidFill>
                  <a:latin typeface="CiscoSansTT ExtraLight" charset="0"/>
                  <a:ea typeface="CiscoSansTT" charset="0"/>
                  <a:cs typeface="CiscoSansTT" charset="0"/>
                  <a:sym typeface="Arial"/>
                </a:rPr>
                <a:t>and endpoints</a:t>
              </a:r>
            </a:p>
          </p:txBody>
        </p:sp>
        <p:sp>
          <p:nvSpPr>
            <p:cNvPr id="1184" name="Rectangle 1183">
              <a:extLst>
                <a:ext uri="{FF2B5EF4-FFF2-40B4-BE49-F238E27FC236}">
                  <a16:creationId xmlns:a16="http://schemas.microsoft.com/office/drawing/2014/main" id="{1DD1207C-1E5D-EC4E-A927-74B815C320F2}"/>
                </a:ext>
              </a:extLst>
            </p:cNvPr>
            <p:cNvSpPr/>
            <p:nvPr/>
          </p:nvSpPr>
          <p:spPr>
            <a:xfrm>
              <a:off x="4374329" y="4014000"/>
              <a:ext cx="512689" cy="230833"/>
            </a:xfrm>
            <a:prstGeom prst="rect">
              <a:avLst/>
            </a:prstGeom>
            <a:noFill/>
            <a:effectLst/>
          </p:spPr>
          <p:txBody>
            <a:bodyPr wrap="none" lIns="0" tIns="0" rIns="0" bIns="0" anchor="ctr" anchorCtr="1">
              <a:spAutoFit/>
            </a:bodyPr>
            <a:lstStyle/>
            <a:p>
              <a:pPr algn="ctr" defTabSz="914332">
                <a:buClr>
                  <a:srgbClr val="000000"/>
                </a:buClr>
                <a:defRPr/>
              </a:pPr>
              <a:r>
                <a:rPr lang="en-US" sz="2000" b="1" kern="0" spc="-133">
                  <a:ln w="0"/>
                  <a:solidFill>
                    <a:srgbClr val="2F446B"/>
                  </a:solidFill>
                  <a:latin typeface="CiscoSansTT ExtraLight" panose="020B0303020201020303" pitchFamily="34" charset="0"/>
                  <a:ea typeface="CiscoSansTT" charset="0"/>
                  <a:cs typeface="CiscoSansTT ExtraLight" panose="020B0303020201020303" pitchFamily="34" charset="0"/>
                  <a:sym typeface="Arial"/>
                </a:rPr>
                <a:t>2.3M</a:t>
              </a:r>
              <a:r>
                <a:rPr lang="en-US" sz="2000" b="1" kern="0">
                  <a:ln w="0"/>
                  <a:solidFill>
                    <a:srgbClr val="2F446B"/>
                  </a:solidFill>
                  <a:latin typeface="CiscoSansTT ExtraLight" panose="020B0303020201020303" pitchFamily="34" charset="0"/>
                  <a:ea typeface="CiscoSansTT" charset="0"/>
                  <a:cs typeface="CiscoSansTT ExtraLight" panose="020B0303020201020303" pitchFamily="34" charset="0"/>
                  <a:sym typeface="Arial"/>
                </a:rPr>
                <a:t>+</a:t>
              </a:r>
            </a:p>
          </p:txBody>
        </p:sp>
      </p:grpSp>
      <p:grpSp>
        <p:nvGrpSpPr>
          <p:cNvPr id="6" name="Group 5">
            <a:extLst>
              <a:ext uri="{FF2B5EF4-FFF2-40B4-BE49-F238E27FC236}">
                <a16:creationId xmlns:a16="http://schemas.microsoft.com/office/drawing/2014/main" id="{D9C06E16-3163-4615-A8AB-2B0DB5EF038B}"/>
              </a:ext>
            </a:extLst>
          </p:cNvPr>
          <p:cNvGrpSpPr/>
          <p:nvPr/>
        </p:nvGrpSpPr>
        <p:grpSpPr>
          <a:xfrm>
            <a:off x="9087941" y="4198812"/>
            <a:ext cx="1843612" cy="1872721"/>
            <a:chOff x="6866289" y="3150000"/>
            <a:chExt cx="1382709" cy="1404541"/>
          </a:xfrm>
        </p:grpSpPr>
        <p:pic>
          <p:nvPicPr>
            <p:cNvPr id="1193" name="Google Shape;1552;p246">
              <a:extLst>
                <a:ext uri="{FF2B5EF4-FFF2-40B4-BE49-F238E27FC236}">
                  <a16:creationId xmlns:a16="http://schemas.microsoft.com/office/drawing/2014/main" id="{A6712EF2-D78B-9E41-87C7-24F08AAAFBE5}"/>
                </a:ext>
              </a:extLst>
            </p:cNvPr>
            <p:cNvPicPr preferRelativeResize="0">
              <a:picLocks noChangeAspect="1"/>
            </p:cNvPicPr>
            <p:nvPr/>
          </p:nvPicPr>
          <p:blipFill rotWithShape="1">
            <a:blip r:embed="rId5">
              <a:alphaModFix/>
            </a:blip>
            <a:srcRect/>
            <a:stretch/>
          </p:blipFill>
          <p:spPr>
            <a:xfrm>
              <a:off x="7131768" y="3150000"/>
              <a:ext cx="810000" cy="810000"/>
            </a:xfrm>
            <a:prstGeom prst="rect">
              <a:avLst/>
            </a:prstGeom>
            <a:noFill/>
            <a:ln>
              <a:noFill/>
            </a:ln>
          </p:spPr>
        </p:pic>
        <p:sp>
          <p:nvSpPr>
            <p:cNvPr id="1187" name="Rectangle 1186">
              <a:extLst>
                <a:ext uri="{FF2B5EF4-FFF2-40B4-BE49-F238E27FC236}">
                  <a16:creationId xmlns:a16="http://schemas.microsoft.com/office/drawing/2014/main" id="{680C12A7-AA90-F242-9C99-E05FFD91B1A8}"/>
                </a:ext>
              </a:extLst>
            </p:cNvPr>
            <p:cNvSpPr/>
            <p:nvPr/>
          </p:nvSpPr>
          <p:spPr>
            <a:xfrm>
              <a:off x="7364357" y="4014000"/>
              <a:ext cx="390732" cy="230833"/>
            </a:xfrm>
            <a:prstGeom prst="rect">
              <a:avLst/>
            </a:prstGeom>
            <a:noFill/>
            <a:effectLst/>
          </p:spPr>
          <p:txBody>
            <a:bodyPr wrap="none" lIns="0" tIns="0" rIns="0" bIns="0" anchor="ctr" anchorCtr="1">
              <a:spAutoFit/>
            </a:bodyPr>
            <a:lstStyle/>
            <a:p>
              <a:pPr algn="ctr" defTabSz="914332">
                <a:buClr>
                  <a:srgbClr val="000000"/>
                </a:buClr>
                <a:defRPr/>
              </a:pPr>
              <a:r>
                <a:rPr lang="en-US" sz="2000" b="1" kern="0">
                  <a:ln w="0"/>
                  <a:solidFill>
                    <a:srgbClr val="2F446B"/>
                  </a:solidFill>
                  <a:latin typeface="CiscoSansTT ExtraLight" panose="020B0303020201020303" pitchFamily="34" charset="0"/>
                  <a:ea typeface="CiscoSansTT" charset="0"/>
                  <a:cs typeface="CiscoSansTT ExtraLight" panose="020B0303020201020303" pitchFamily="34" charset="0"/>
                  <a:sym typeface="Arial"/>
                </a:rPr>
                <a:t>93%</a:t>
              </a:r>
            </a:p>
          </p:txBody>
        </p:sp>
        <p:sp>
          <p:nvSpPr>
            <p:cNvPr id="1188" name="Rectangle 1187">
              <a:extLst>
                <a:ext uri="{FF2B5EF4-FFF2-40B4-BE49-F238E27FC236}">
                  <a16:creationId xmlns:a16="http://schemas.microsoft.com/office/drawing/2014/main" id="{319EC53E-1B72-F443-8106-F8DDAC1B3CF5}"/>
                </a:ext>
              </a:extLst>
            </p:cNvPr>
            <p:cNvSpPr/>
            <p:nvPr/>
          </p:nvSpPr>
          <p:spPr>
            <a:xfrm>
              <a:off x="6866289" y="4266000"/>
              <a:ext cx="1382709" cy="288541"/>
            </a:xfrm>
            <a:prstGeom prst="rect">
              <a:avLst/>
            </a:prstGeom>
          </p:spPr>
          <p:txBody>
            <a:bodyPr wrap="square" lIns="121920" tIns="0" rIns="121920" bIns="0">
              <a:spAutoFit/>
            </a:bodyPr>
            <a:lstStyle/>
            <a:p>
              <a:pPr algn="ctr" defTabSz="914332">
                <a:lnSpc>
                  <a:spcPts val="1467"/>
                </a:lnSpc>
                <a:buClr>
                  <a:srgbClr val="000000"/>
                </a:buClr>
                <a:defRPr/>
              </a:pPr>
              <a:r>
                <a:rPr lang="en-US" sz="1467" kern="0">
                  <a:solidFill>
                    <a:srgbClr val="2F446B"/>
                  </a:solidFill>
                  <a:latin typeface="CiscoSansTT ExtraLight" charset="0"/>
                  <a:ea typeface="CiscoSansTT" charset="0"/>
                  <a:cs typeface="CiscoSansTT" charset="0"/>
                  <a:sym typeface="Arial"/>
                </a:rPr>
                <a:t>customer renewal </a:t>
              </a:r>
              <a:br>
                <a:rPr lang="en-US" sz="1467" kern="0">
                  <a:solidFill>
                    <a:srgbClr val="2F446B"/>
                  </a:solidFill>
                  <a:latin typeface="CiscoSansTT ExtraLight" charset="0"/>
                  <a:ea typeface="CiscoSansTT" charset="0"/>
                  <a:cs typeface="CiscoSansTT" charset="0"/>
                  <a:sym typeface="Arial"/>
                </a:rPr>
              </a:br>
              <a:r>
                <a:rPr lang="en-US" sz="1467" kern="0">
                  <a:solidFill>
                    <a:srgbClr val="2F446B"/>
                  </a:solidFill>
                  <a:latin typeface="CiscoSansTT ExtraLight" charset="0"/>
                  <a:ea typeface="CiscoSansTT" charset="0"/>
                  <a:cs typeface="CiscoSansTT" charset="0"/>
                  <a:sym typeface="Arial"/>
                </a:rPr>
                <a:t>rate in 2018</a:t>
              </a:r>
            </a:p>
          </p:txBody>
        </p:sp>
      </p:grpSp>
      <p:grpSp>
        <p:nvGrpSpPr>
          <p:cNvPr id="4" name="Group 3">
            <a:extLst>
              <a:ext uri="{FF2B5EF4-FFF2-40B4-BE49-F238E27FC236}">
                <a16:creationId xmlns:a16="http://schemas.microsoft.com/office/drawing/2014/main" id="{3E80B3B1-2CA2-49BD-99AB-BB8EFB2D8E07}"/>
              </a:ext>
            </a:extLst>
          </p:cNvPr>
          <p:cNvGrpSpPr/>
          <p:nvPr/>
        </p:nvGrpSpPr>
        <p:grpSpPr>
          <a:xfrm>
            <a:off x="3307374" y="4198812"/>
            <a:ext cx="1669988" cy="1872721"/>
            <a:chOff x="2648310" y="3150000"/>
            <a:chExt cx="1252491" cy="1404541"/>
          </a:xfrm>
        </p:grpSpPr>
        <p:sp>
          <p:nvSpPr>
            <p:cNvPr id="1175" name="Rectangle 1174">
              <a:extLst>
                <a:ext uri="{FF2B5EF4-FFF2-40B4-BE49-F238E27FC236}">
                  <a16:creationId xmlns:a16="http://schemas.microsoft.com/office/drawing/2014/main" id="{0900C4ED-8B66-1740-81A9-1BE3C2F5E553}"/>
                </a:ext>
              </a:extLst>
            </p:cNvPr>
            <p:cNvSpPr/>
            <p:nvPr/>
          </p:nvSpPr>
          <p:spPr>
            <a:xfrm>
              <a:off x="3108434" y="4014000"/>
              <a:ext cx="346249" cy="230833"/>
            </a:xfrm>
            <a:prstGeom prst="rect">
              <a:avLst/>
            </a:prstGeom>
            <a:noFill/>
            <a:effectLst/>
          </p:spPr>
          <p:txBody>
            <a:bodyPr wrap="none" lIns="0" tIns="0" rIns="0" bIns="0" anchor="ctr" anchorCtr="1">
              <a:spAutoFit/>
            </a:bodyPr>
            <a:lstStyle/>
            <a:p>
              <a:pPr algn="ctr" defTabSz="914332">
                <a:buClr>
                  <a:srgbClr val="000000"/>
                </a:buClr>
                <a:defRPr/>
              </a:pPr>
              <a:r>
                <a:rPr lang="en-US" sz="2000" b="1" kern="0">
                  <a:ln w="0"/>
                  <a:solidFill>
                    <a:srgbClr val="2F446B"/>
                  </a:solidFill>
                  <a:latin typeface="CiscoSansTT ExtraLight" panose="020B0303020201020303" pitchFamily="34" charset="0"/>
                  <a:ea typeface="CiscoSansTT" charset="0"/>
                  <a:cs typeface="CiscoSansTT ExtraLight" panose="020B0303020201020303" pitchFamily="34" charset="0"/>
                  <a:sym typeface="Arial"/>
                </a:rPr>
                <a:t>175</a:t>
              </a:r>
            </a:p>
          </p:txBody>
        </p:sp>
        <p:sp>
          <p:nvSpPr>
            <p:cNvPr id="1176" name="Rectangle 1175">
              <a:extLst>
                <a:ext uri="{FF2B5EF4-FFF2-40B4-BE49-F238E27FC236}">
                  <a16:creationId xmlns:a16="http://schemas.microsoft.com/office/drawing/2014/main" id="{44022694-CEF6-1644-B18D-59B75E6513E3}"/>
                </a:ext>
              </a:extLst>
            </p:cNvPr>
            <p:cNvSpPr/>
            <p:nvPr/>
          </p:nvSpPr>
          <p:spPr>
            <a:xfrm>
              <a:off x="2648310" y="4266000"/>
              <a:ext cx="1252491" cy="288541"/>
            </a:xfrm>
            <a:prstGeom prst="rect">
              <a:avLst/>
            </a:prstGeom>
          </p:spPr>
          <p:txBody>
            <a:bodyPr wrap="square" lIns="121920" tIns="0" rIns="121920" bIns="0">
              <a:spAutoFit/>
            </a:bodyPr>
            <a:lstStyle/>
            <a:p>
              <a:pPr algn="ctr" defTabSz="914332">
                <a:lnSpc>
                  <a:spcPts val="1467"/>
                </a:lnSpc>
                <a:buClr>
                  <a:srgbClr val="000000"/>
                </a:buClr>
                <a:defRPr/>
              </a:pPr>
              <a:r>
                <a:rPr lang="en-US" sz="1467" kern="0">
                  <a:solidFill>
                    <a:srgbClr val="2F446B"/>
                  </a:solidFill>
                  <a:latin typeface="CiscoSansTT ExtraLight" charset="0"/>
                  <a:ea typeface="CiscoSansTT" charset="0"/>
                  <a:cs typeface="CiscoSansTT" charset="0"/>
                  <a:sym typeface="Arial"/>
                </a:rPr>
                <a:t>countries served around the world</a:t>
              </a:r>
            </a:p>
          </p:txBody>
        </p:sp>
        <p:pic>
          <p:nvPicPr>
            <p:cNvPr id="1190" name="Google Shape;1655;p250">
              <a:extLst>
                <a:ext uri="{FF2B5EF4-FFF2-40B4-BE49-F238E27FC236}">
                  <a16:creationId xmlns:a16="http://schemas.microsoft.com/office/drawing/2014/main" id="{56A792E6-5E6C-D846-9C1E-E1C5E8238A82}"/>
                </a:ext>
              </a:extLst>
            </p:cNvPr>
            <p:cNvPicPr preferRelativeResize="0">
              <a:picLocks noChangeAspect="1"/>
            </p:cNvPicPr>
            <p:nvPr/>
          </p:nvPicPr>
          <p:blipFill rotWithShape="1">
            <a:blip r:embed="rId6">
              <a:alphaModFix/>
            </a:blip>
            <a:srcRect/>
            <a:stretch/>
          </p:blipFill>
          <p:spPr>
            <a:xfrm>
              <a:off x="2878840" y="3150000"/>
              <a:ext cx="810000" cy="810000"/>
            </a:xfrm>
            <a:prstGeom prst="rect">
              <a:avLst/>
            </a:prstGeom>
            <a:noFill/>
            <a:ln>
              <a:noFill/>
            </a:ln>
          </p:spPr>
        </p:pic>
      </p:grpSp>
      <p:sp>
        <p:nvSpPr>
          <p:cNvPr id="1194" name="Rectangle 1193">
            <a:extLst>
              <a:ext uri="{FF2B5EF4-FFF2-40B4-BE49-F238E27FC236}">
                <a16:creationId xmlns:a16="http://schemas.microsoft.com/office/drawing/2014/main" id="{F4EDAB35-8505-5E44-839B-9862598A157E}"/>
              </a:ext>
            </a:extLst>
          </p:cNvPr>
          <p:cNvSpPr/>
          <p:nvPr/>
        </p:nvSpPr>
        <p:spPr>
          <a:xfrm>
            <a:off x="4632961" y="6395874"/>
            <a:ext cx="6839372" cy="164212"/>
          </a:xfrm>
          <a:prstGeom prst="rect">
            <a:avLst/>
          </a:prstGeom>
        </p:spPr>
        <p:txBody>
          <a:bodyPr wrap="square" lIns="0" tIns="0" rIns="0" bIns="0">
            <a:spAutoFit/>
          </a:bodyPr>
          <a:lstStyle/>
          <a:p>
            <a:pPr algn="ctr" defTabSz="1219170">
              <a:buClr>
                <a:srgbClr val="000000"/>
              </a:buClr>
              <a:defRPr/>
            </a:pPr>
            <a:r>
              <a:rPr lang="en-US" sz="1067" kern="0">
                <a:solidFill>
                  <a:srgbClr val="2F446B"/>
                </a:solidFill>
                <a:latin typeface="CiscoSansTT Light" panose="020B0503020201020303" pitchFamily="34" charset="0"/>
                <a:cs typeface="CiscoSansTT Light" panose="020B0503020201020303" pitchFamily="34" charset="0"/>
                <a:sym typeface="Arial"/>
              </a:rPr>
              <a:t>NOCs              SOCs               CaaS Data Centers</a:t>
            </a:r>
            <a:endParaRPr lang="en-US" sz="1067" kern="0">
              <a:solidFill>
                <a:srgbClr val="00BCEB"/>
              </a:solidFill>
              <a:latin typeface="CiscoSansTT Light" panose="020B0503020201020303" pitchFamily="34" charset="0"/>
              <a:cs typeface="CiscoSansTT Light" panose="020B0503020201020303" pitchFamily="34" charset="0"/>
              <a:sym typeface="Arial"/>
            </a:endParaRPr>
          </a:p>
        </p:txBody>
      </p:sp>
      <p:sp>
        <p:nvSpPr>
          <p:cNvPr id="1195" name="Oval 290">
            <a:extLst>
              <a:ext uri="{FF2B5EF4-FFF2-40B4-BE49-F238E27FC236}">
                <a16:creationId xmlns:a16="http://schemas.microsoft.com/office/drawing/2014/main" id="{D1F1B98F-E821-F64E-8936-81390DC1D8FE}"/>
              </a:ext>
            </a:extLst>
          </p:cNvPr>
          <p:cNvSpPr>
            <a:spLocks noChangeAspect="1" noChangeArrowheads="1"/>
          </p:cNvSpPr>
          <p:nvPr/>
        </p:nvSpPr>
        <p:spPr bwMode="auto">
          <a:xfrm>
            <a:off x="8215815" y="6423039"/>
            <a:ext cx="121003" cy="120000"/>
          </a:xfrm>
          <a:prstGeom prst="ellipse">
            <a:avLst/>
          </a:prstGeom>
          <a:solidFill>
            <a:schemeClr val="accent6">
              <a:lumMod val="75000"/>
            </a:schemeClr>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sp>
        <p:nvSpPr>
          <p:cNvPr id="1196" name="Oval 290">
            <a:extLst>
              <a:ext uri="{FF2B5EF4-FFF2-40B4-BE49-F238E27FC236}">
                <a16:creationId xmlns:a16="http://schemas.microsoft.com/office/drawing/2014/main" id="{CEA2A24B-A406-8444-B309-6C647CC13B41}"/>
              </a:ext>
            </a:extLst>
          </p:cNvPr>
          <p:cNvSpPr>
            <a:spLocks noChangeAspect="1" noChangeArrowheads="1"/>
          </p:cNvSpPr>
          <p:nvPr/>
        </p:nvSpPr>
        <p:spPr bwMode="auto">
          <a:xfrm>
            <a:off x="6304383" y="6423039"/>
            <a:ext cx="121003" cy="120000"/>
          </a:xfrm>
          <a:prstGeom prst="ellipse">
            <a:avLst/>
          </a:prstGeom>
          <a:solidFill>
            <a:schemeClr val="accent2"/>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sp>
        <p:nvSpPr>
          <p:cNvPr id="1197" name="Oval 290">
            <a:extLst>
              <a:ext uri="{FF2B5EF4-FFF2-40B4-BE49-F238E27FC236}">
                <a16:creationId xmlns:a16="http://schemas.microsoft.com/office/drawing/2014/main" id="{1FC8B84C-B803-CF43-8A0C-2D2318CFD59C}"/>
              </a:ext>
            </a:extLst>
          </p:cNvPr>
          <p:cNvSpPr>
            <a:spLocks noChangeAspect="1" noChangeArrowheads="1"/>
          </p:cNvSpPr>
          <p:nvPr/>
        </p:nvSpPr>
        <p:spPr bwMode="auto">
          <a:xfrm>
            <a:off x="7250976" y="6423039"/>
            <a:ext cx="121003" cy="120000"/>
          </a:xfrm>
          <a:prstGeom prst="ellipse">
            <a:avLst/>
          </a:prstGeom>
          <a:solidFill>
            <a:schemeClr val="accent5"/>
          </a:solidFill>
          <a:ln w="127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1218958">
              <a:buClr>
                <a:srgbClr val="000000"/>
              </a:buClr>
              <a:defRPr/>
            </a:pPr>
            <a:endParaRPr lang="en-US" sz="2133" kern="0">
              <a:solidFill>
                <a:srgbClr val="FFFFFF"/>
              </a:solidFill>
              <a:latin typeface="Arial"/>
              <a:cs typeface="CiscoSans ExtraLight"/>
              <a:sym typeface="Arial"/>
            </a:endParaRPr>
          </a:p>
        </p:txBody>
      </p:sp>
      <p:grpSp>
        <p:nvGrpSpPr>
          <p:cNvPr id="3" name="Group 2">
            <a:extLst>
              <a:ext uri="{FF2B5EF4-FFF2-40B4-BE49-F238E27FC236}">
                <a16:creationId xmlns:a16="http://schemas.microsoft.com/office/drawing/2014/main" id="{DB0B08C0-DA2D-4E5A-9E64-F3468C05B827}"/>
              </a:ext>
            </a:extLst>
          </p:cNvPr>
          <p:cNvGrpSpPr/>
          <p:nvPr/>
        </p:nvGrpSpPr>
        <p:grpSpPr>
          <a:xfrm>
            <a:off x="1329827" y="4198811"/>
            <a:ext cx="1669988" cy="1873916"/>
            <a:chOff x="1190317" y="3183703"/>
            <a:chExt cx="1252491" cy="1405437"/>
          </a:xfrm>
        </p:grpSpPr>
        <p:pic>
          <p:nvPicPr>
            <p:cNvPr id="217" name="Picture 216">
              <a:extLst>
                <a:ext uri="{FF2B5EF4-FFF2-40B4-BE49-F238E27FC236}">
                  <a16:creationId xmlns:a16="http://schemas.microsoft.com/office/drawing/2014/main" id="{53F1B86A-4949-4EED-9197-F45D7C91FFB0}"/>
                </a:ext>
              </a:extLst>
            </p:cNvPr>
            <p:cNvPicPr>
              <a:picLocks noChangeAspect="1"/>
            </p:cNvPicPr>
            <p:nvPr/>
          </p:nvPicPr>
          <p:blipFill>
            <a:blip r:embed="rId7"/>
            <a:stretch>
              <a:fillRect/>
            </a:stretch>
          </p:blipFill>
          <p:spPr>
            <a:xfrm>
              <a:off x="1452251" y="3183703"/>
              <a:ext cx="775405" cy="775405"/>
            </a:xfrm>
            <a:prstGeom prst="rect">
              <a:avLst/>
            </a:prstGeom>
          </p:spPr>
        </p:pic>
        <p:sp>
          <p:nvSpPr>
            <p:cNvPr id="218" name="Rectangle 217">
              <a:extLst>
                <a:ext uri="{FF2B5EF4-FFF2-40B4-BE49-F238E27FC236}">
                  <a16:creationId xmlns:a16="http://schemas.microsoft.com/office/drawing/2014/main" id="{9B933F76-F950-4BCD-BDA9-7E592CF0DDCC}"/>
                </a:ext>
              </a:extLst>
            </p:cNvPr>
            <p:cNvSpPr/>
            <p:nvPr/>
          </p:nvSpPr>
          <p:spPr>
            <a:xfrm>
              <a:off x="1565683" y="4048599"/>
              <a:ext cx="515767" cy="230833"/>
            </a:xfrm>
            <a:prstGeom prst="rect">
              <a:avLst/>
            </a:prstGeom>
            <a:noFill/>
            <a:effectLst/>
          </p:spPr>
          <p:txBody>
            <a:bodyPr wrap="none" lIns="0" tIns="0" rIns="0" bIns="0" anchor="ctr" anchorCtr="1">
              <a:spAutoFit/>
            </a:bodyPr>
            <a:lstStyle/>
            <a:p>
              <a:pPr algn="ctr" defTabSz="914332">
                <a:buClr>
                  <a:srgbClr val="000000"/>
                </a:buClr>
                <a:defRPr/>
              </a:pPr>
              <a:r>
                <a:rPr lang="en-US" sz="2000" b="1" kern="0">
                  <a:ln w="0"/>
                  <a:solidFill>
                    <a:srgbClr val="2F446B"/>
                  </a:solidFill>
                  <a:latin typeface="CiscoSansTT ExtraLight" panose="020B0303020201020303" pitchFamily="34" charset="0"/>
                  <a:ea typeface="CiscoSansTT" charset="0"/>
                  <a:cs typeface="CiscoSansTT ExtraLight" panose="020B0303020201020303" pitchFamily="34" charset="0"/>
                  <a:sym typeface="Arial"/>
                </a:rPr>
                <a:t>2,200</a:t>
              </a:r>
            </a:p>
          </p:txBody>
        </p:sp>
        <p:sp>
          <p:nvSpPr>
            <p:cNvPr id="219" name="Rectangle 218">
              <a:extLst>
                <a:ext uri="{FF2B5EF4-FFF2-40B4-BE49-F238E27FC236}">
                  <a16:creationId xmlns:a16="http://schemas.microsoft.com/office/drawing/2014/main" id="{B8B3EF05-ABB7-419A-AC76-9BBDDF750F9B}"/>
                </a:ext>
              </a:extLst>
            </p:cNvPr>
            <p:cNvSpPr/>
            <p:nvPr/>
          </p:nvSpPr>
          <p:spPr>
            <a:xfrm>
              <a:off x="1190317" y="4300599"/>
              <a:ext cx="1252491" cy="288541"/>
            </a:xfrm>
            <a:prstGeom prst="rect">
              <a:avLst/>
            </a:prstGeom>
          </p:spPr>
          <p:txBody>
            <a:bodyPr wrap="square" lIns="121920" tIns="0" rIns="121920" bIns="0">
              <a:spAutoFit/>
            </a:bodyPr>
            <a:lstStyle/>
            <a:p>
              <a:pPr algn="ctr" defTabSz="914332">
                <a:lnSpc>
                  <a:spcPts val="1467"/>
                </a:lnSpc>
                <a:buClr>
                  <a:srgbClr val="000000"/>
                </a:buClr>
                <a:defRPr/>
              </a:pPr>
              <a:r>
                <a:rPr lang="en-US" sz="1467" kern="0">
                  <a:solidFill>
                    <a:srgbClr val="2F446B"/>
                  </a:solidFill>
                  <a:latin typeface="CiscoSansTT ExtraLight" charset="0"/>
                  <a:ea typeface="CiscoSansTT" charset="0"/>
                  <a:cs typeface="CiscoSansTT" charset="0"/>
                  <a:sym typeface="Arial"/>
                </a:rPr>
                <a:t>world-class</a:t>
              </a:r>
              <a:br>
                <a:rPr lang="en-US" sz="1467" kern="0">
                  <a:solidFill>
                    <a:srgbClr val="2F446B"/>
                  </a:solidFill>
                  <a:latin typeface="CiscoSansTT ExtraLight" charset="0"/>
                  <a:ea typeface="CiscoSansTT" charset="0"/>
                  <a:cs typeface="CiscoSansTT" charset="0"/>
                  <a:sym typeface="Arial"/>
                </a:rPr>
              </a:br>
              <a:r>
                <a:rPr lang="en-US" sz="1467" kern="0">
                  <a:solidFill>
                    <a:srgbClr val="2F446B"/>
                  </a:solidFill>
                  <a:latin typeface="CiscoSansTT ExtraLight" charset="0"/>
                  <a:ea typeface="CiscoSansTT" charset="0"/>
                  <a:cs typeface="CiscoSansTT" charset="0"/>
                  <a:sym typeface="Arial"/>
                </a:rPr>
                <a:t>specialists </a:t>
              </a:r>
            </a:p>
          </p:txBody>
        </p:sp>
      </p:grpSp>
    </p:spTree>
    <p:extLst>
      <p:ext uri="{BB962C8B-B14F-4D97-AF65-F5344CB8AC3E}">
        <p14:creationId xmlns:p14="http://schemas.microsoft.com/office/powerpoint/2010/main" val="32296797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4C0CFF-107C-417D-8958-3A51CE8CC17D}"/>
              </a:ext>
            </a:extLst>
          </p:cNvPr>
          <p:cNvSpPr>
            <a:spLocks noGrp="1"/>
          </p:cNvSpPr>
          <p:nvPr>
            <p:ph type="body" idx="2"/>
          </p:nvPr>
        </p:nvSpPr>
        <p:spPr>
          <a:xfrm>
            <a:off x="719999" y="3381045"/>
            <a:ext cx="8194152" cy="1223999"/>
          </a:xfrm>
        </p:spPr>
        <p:txBody>
          <a:bodyPr/>
          <a:lstStyle/>
          <a:p>
            <a:r>
              <a:rPr lang="en-US" dirty="0"/>
              <a:t>Contract and Terms</a:t>
            </a:r>
          </a:p>
          <a:p>
            <a:endParaRPr lang="en-US" dirty="0"/>
          </a:p>
          <a:p>
            <a:endParaRPr lang="en-US" dirty="0"/>
          </a:p>
        </p:txBody>
      </p:sp>
    </p:spTree>
    <p:extLst>
      <p:ext uri="{BB962C8B-B14F-4D97-AF65-F5344CB8AC3E}">
        <p14:creationId xmlns:p14="http://schemas.microsoft.com/office/powerpoint/2010/main" val="36362249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DB6A95-E304-4E73-85AC-D5FD86892187}"/>
              </a:ext>
            </a:extLst>
          </p:cNvPr>
          <p:cNvSpPr>
            <a:spLocks noGrp="1"/>
          </p:cNvSpPr>
          <p:nvPr>
            <p:ph type="title"/>
          </p:nvPr>
        </p:nvSpPr>
        <p:spPr/>
        <p:txBody>
          <a:bodyPr/>
          <a:lstStyle/>
          <a:p>
            <a:r>
              <a:rPr lang="en-US" dirty="0"/>
              <a:t>MDR Service Description </a:t>
            </a:r>
          </a:p>
        </p:txBody>
      </p:sp>
      <p:graphicFrame>
        <p:nvGraphicFramePr>
          <p:cNvPr id="3" name="Table 3">
            <a:extLst>
              <a:ext uri="{FF2B5EF4-FFF2-40B4-BE49-F238E27FC236}">
                <a16:creationId xmlns:a16="http://schemas.microsoft.com/office/drawing/2014/main" id="{3A1B56EF-F87D-4975-BFEB-BBE73C183102}"/>
              </a:ext>
            </a:extLst>
          </p:cNvPr>
          <p:cNvGraphicFramePr>
            <a:graphicFrameLocks noGrp="1"/>
          </p:cNvGraphicFramePr>
          <p:nvPr>
            <p:extLst>
              <p:ext uri="{D42A27DB-BD31-4B8C-83A1-F6EECF244321}">
                <p14:modId xmlns:p14="http://schemas.microsoft.com/office/powerpoint/2010/main" val="4274060927"/>
              </p:ext>
            </p:extLst>
          </p:nvPr>
        </p:nvGraphicFramePr>
        <p:xfrm>
          <a:off x="639707" y="1204821"/>
          <a:ext cx="11015278" cy="5425440"/>
        </p:xfrm>
        <a:graphic>
          <a:graphicData uri="http://schemas.openxmlformats.org/drawingml/2006/table">
            <a:tbl>
              <a:tblPr firstRow="1" bandRow="1">
                <a:tableStyleId>{5C22544A-7EE6-4342-B048-85BDC9FD1C3A}</a:tableStyleId>
              </a:tblPr>
              <a:tblGrid>
                <a:gridCol w="10240026">
                  <a:extLst>
                    <a:ext uri="{9D8B030D-6E8A-4147-A177-3AD203B41FA5}">
                      <a16:colId xmlns:a16="http://schemas.microsoft.com/office/drawing/2014/main" val="99978197"/>
                    </a:ext>
                  </a:extLst>
                </a:gridCol>
                <a:gridCol w="775252">
                  <a:extLst>
                    <a:ext uri="{9D8B030D-6E8A-4147-A177-3AD203B41FA5}">
                      <a16:colId xmlns:a16="http://schemas.microsoft.com/office/drawing/2014/main" val="382122019"/>
                    </a:ext>
                  </a:extLst>
                </a:gridCol>
              </a:tblGrid>
              <a:tr h="370840">
                <a:tc>
                  <a:txBody>
                    <a:bodyPr/>
                    <a:lstStyle/>
                    <a:p>
                      <a:r>
                        <a:rPr lang="en-US" sz="1400" b="0" dirty="0">
                          <a:solidFill>
                            <a:schemeClr val="bg2"/>
                          </a:solidFill>
                        </a:rPr>
                        <a:t>Service Level</a:t>
                      </a:r>
                    </a:p>
                  </a:txBody>
                  <a:tcPr/>
                </a:tc>
                <a:tc>
                  <a:txBody>
                    <a:bodyPr/>
                    <a:lstStyle/>
                    <a:p>
                      <a:pPr algn="ctr"/>
                      <a:r>
                        <a:rPr lang="en-US" sz="1400" dirty="0">
                          <a:solidFill>
                            <a:schemeClr val="bg2"/>
                          </a:solidFill>
                        </a:rPr>
                        <a:t>Target</a:t>
                      </a:r>
                    </a:p>
                  </a:txBody>
                  <a:tcPr/>
                </a:tc>
                <a:extLst>
                  <a:ext uri="{0D108BD9-81ED-4DB2-BD59-A6C34878D82A}">
                    <a16:rowId xmlns:a16="http://schemas.microsoft.com/office/drawing/2014/main" val="3010193306"/>
                  </a:ext>
                </a:extLst>
              </a:tr>
              <a:tr h="370840">
                <a:tc>
                  <a:txBody>
                    <a:bodyPr/>
                    <a:lstStyle/>
                    <a:p>
                      <a:r>
                        <a:rPr lang="en-US" sz="1200" b="0" dirty="0">
                          <a:solidFill>
                            <a:schemeClr val="tx1"/>
                          </a:solidFill>
                        </a:rPr>
                        <a:t>Service Level Agreement:</a:t>
                      </a:r>
                    </a:p>
                  </a:txBody>
                  <a:tcPr/>
                </a:tc>
                <a:tc>
                  <a:txBody>
                    <a:bodyPr/>
                    <a:lstStyle/>
                    <a:p>
                      <a:pPr algn="ctr"/>
                      <a:endParaRPr lang="en-US" sz="1200" dirty="0"/>
                    </a:p>
                  </a:txBody>
                  <a:tcPr anchor="ctr"/>
                </a:tc>
                <a:extLst>
                  <a:ext uri="{0D108BD9-81ED-4DB2-BD59-A6C34878D82A}">
                    <a16:rowId xmlns:a16="http://schemas.microsoft.com/office/drawing/2014/main" val="1873296564"/>
                  </a:ext>
                </a:extLst>
              </a:tr>
              <a:tr h="370840">
                <a:tc>
                  <a:txBody>
                    <a:bodyPr/>
                    <a:lstStyle/>
                    <a:p>
                      <a:pPr lvl="1"/>
                      <a:r>
                        <a:rPr lang="en-US" sz="1200" b="0" dirty="0">
                          <a:solidFill>
                            <a:schemeClr val="tx1"/>
                          </a:solidFill>
                        </a:rPr>
                        <a:t>Platform Availability</a:t>
                      </a:r>
                    </a:p>
                  </a:txBody>
                  <a:tcPr/>
                </a:tc>
                <a:tc>
                  <a:txBody>
                    <a:bodyPr/>
                    <a:lstStyle/>
                    <a:p>
                      <a:pPr algn="ctr"/>
                      <a:r>
                        <a:rPr lang="en-US" sz="1200" dirty="0"/>
                        <a:t>100%</a:t>
                      </a:r>
                    </a:p>
                  </a:txBody>
                  <a:tcPr anchor="ctr"/>
                </a:tc>
                <a:extLst>
                  <a:ext uri="{0D108BD9-81ED-4DB2-BD59-A6C34878D82A}">
                    <a16:rowId xmlns:a16="http://schemas.microsoft.com/office/drawing/2014/main" val="2458187106"/>
                  </a:ext>
                </a:extLst>
              </a:tr>
              <a:tr h="370840">
                <a:tc>
                  <a:txBody>
                    <a:bodyPr/>
                    <a:lstStyle/>
                    <a:p>
                      <a:pPr lvl="1"/>
                      <a:r>
                        <a:rPr lang="en-US" sz="1200" b="0" dirty="0">
                          <a:solidFill>
                            <a:schemeClr val="tx1"/>
                          </a:solidFill>
                        </a:rPr>
                        <a:t>Portal Availability</a:t>
                      </a:r>
                    </a:p>
                  </a:txBody>
                  <a:tcPr/>
                </a:tc>
                <a:tc>
                  <a:txBody>
                    <a:bodyPr/>
                    <a:lstStyle/>
                    <a:p>
                      <a:pPr algn="ctr"/>
                      <a:r>
                        <a:rPr lang="en-US" sz="1200" dirty="0"/>
                        <a:t>99%</a:t>
                      </a:r>
                    </a:p>
                  </a:txBody>
                  <a:tcPr anchor="ctr"/>
                </a:tc>
                <a:extLst>
                  <a:ext uri="{0D108BD9-81ED-4DB2-BD59-A6C34878D82A}">
                    <a16:rowId xmlns:a16="http://schemas.microsoft.com/office/drawing/2014/main" val="2582302123"/>
                  </a:ext>
                </a:extLst>
              </a:tr>
              <a:tr h="370840">
                <a:tc>
                  <a:txBody>
                    <a:bodyPr/>
                    <a:lstStyle/>
                    <a:p>
                      <a:pPr lvl="1"/>
                      <a:r>
                        <a:rPr lang="en-US" sz="1200" b="0" kern="1200" dirty="0">
                          <a:solidFill>
                            <a:schemeClr val="tx1"/>
                          </a:solidFill>
                          <a:effectLst/>
                          <a:latin typeface="+mn-lt"/>
                          <a:ea typeface="+mn-ea"/>
                          <a:cs typeface="+mn-cs"/>
                        </a:rPr>
                        <a:t>Time to Acknowledge Success</a:t>
                      </a:r>
                    </a:p>
                    <a:p>
                      <a:pPr marL="457170" marR="0" lvl="1" indent="0" algn="l" defTabSz="914346"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Cisco will assign a priority to a Security Incident within 30 minutes of a ticket being opened by Cisco or a Security Incident Reported </a:t>
                      </a:r>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by Customer for P1 for P2 and within 2 hours for a P3 and P4.   </a:t>
                      </a:r>
                    </a:p>
                  </a:txBody>
                  <a:tcPr/>
                </a:tc>
                <a:tc>
                  <a:txBody>
                    <a:bodyPr/>
                    <a:lstStyle/>
                    <a:p>
                      <a:pPr algn="ctr"/>
                      <a:r>
                        <a:rPr lang="en-US" sz="1200" dirty="0"/>
                        <a:t>95%</a:t>
                      </a:r>
                    </a:p>
                  </a:txBody>
                  <a:tcPr anchor="ctr"/>
                </a:tc>
                <a:extLst>
                  <a:ext uri="{0D108BD9-81ED-4DB2-BD59-A6C34878D82A}">
                    <a16:rowId xmlns:a16="http://schemas.microsoft.com/office/drawing/2014/main" val="1848516094"/>
                  </a:ext>
                </a:extLst>
              </a:tr>
              <a:tr h="370840">
                <a:tc>
                  <a:txBody>
                    <a:bodyPr/>
                    <a:lstStyle/>
                    <a:p>
                      <a:pPr marL="457170" marR="0" lvl="1" indent="0" algn="l" defTabSz="914346"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On Time Escalation </a:t>
                      </a:r>
                      <a:br>
                        <a:rPr lang="en-US" sz="1200" b="0" dirty="0">
                          <a:solidFill>
                            <a:schemeClr val="tx1"/>
                          </a:solidFill>
                        </a:rPr>
                      </a:br>
                      <a:r>
                        <a:rPr lang="en-US" sz="1200" b="0" kern="1200" dirty="0">
                          <a:solidFill>
                            <a:schemeClr val="tx1"/>
                          </a:solidFill>
                          <a:effectLst/>
                          <a:latin typeface="+mn-lt"/>
                          <a:ea typeface="+mn-ea"/>
                          <a:cs typeface="+mn-cs"/>
                        </a:rPr>
                        <a:t>Cisco will contact Customer’s designated contact by phone or MSS Chat within 30 minutes of prioritizing a P1 Security Incident </a:t>
                      </a:r>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45 minutes for a P2) if a recommendation to mitigate, stop, research, etc. has already not been provided by this time. </a:t>
                      </a:r>
                    </a:p>
                  </a:txBody>
                  <a:tcPr/>
                </a:tc>
                <a:tc>
                  <a:txBody>
                    <a:bodyPr/>
                    <a:lstStyle/>
                    <a:p>
                      <a:pPr algn="ctr"/>
                      <a:r>
                        <a:rPr lang="en-US" sz="1200" dirty="0"/>
                        <a:t>95%</a:t>
                      </a:r>
                    </a:p>
                  </a:txBody>
                  <a:tcPr anchor="ctr"/>
                </a:tc>
                <a:extLst>
                  <a:ext uri="{0D108BD9-81ED-4DB2-BD59-A6C34878D82A}">
                    <a16:rowId xmlns:a16="http://schemas.microsoft.com/office/drawing/2014/main" val="1887585256"/>
                  </a:ext>
                </a:extLst>
              </a:tr>
              <a:tr h="370840">
                <a:tc>
                  <a:txBody>
                    <a:bodyPr/>
                    <a:lstStyle/>
                    <a:p>
                      <a:r>
                        <a:rPr lang="en-US" sz="1200" b="0" u="none" dirty="0">
                          <a:solidFill>
                            <a:schemeClr val="tx1"/>
                          </a:solidFill>
                        </a:rPr>
                        <a:t>Service Level Objective:</a:t>
                      </a:r>
                    </a:p>
                  </a:txBody>
                  <a:tcPr/>
                </a:tc>
                <a:tc>
                  <a:txBody>
                    <a:bodyPr/>
                    <a:lstStyle/>
                    <a:p>
                      <a:pPr algn="ctr"/>
                      <a:endParaRPr lang="en-US" sz="1200" dirty="0"/>
                    </a:p>
                  </a:txBody>
                  <a:tcPr anchor="ctr"/>
                </a:tc>
                <a:extLst>
                  <a:ext uri="{0D108BD9-81ED-4DB2-BD59-A6C34878D82A}">
                    <a16:rowId xmlns:a16="http://schemas.microsoft.com/office/drawing/2014/main" val="3691364821"/>
                  </a:ext>
                </a:extLst>
              </a:tr>
              <a:tr h="370840">
                <a:tc>
                  <a:txBody>
                    <a:bodyPr/>
                    <a:lstStyle/>
                    <a:p>
                      <a:pPr lvl="1"/>
                      <a:r>
                        <a:rPr lang="x-none" sz="1200" b="0" kern="1200" dirty="0">
                          <a:solidFill>
                            <a:schemeClr val="tx1"/>
                          </a:solidFill>
                          <a:effectLst/>
                          <a:latin typeface="+mn-lt"/>
                          <a:ea typeface="+mn-ea"/>
                          <a:cs typeface="+mn-cs"/>
                        </a:rPr>
                        <a:t>Containment</a:t>
                      </a:r>
                      <a:br>
                        <a:rPr lang="en-US" sz="1200" b="0" kern="1200" dirty="0">
                          <a:solidFill>
                            <a:schemeClr val="tx1"/>
                          </a:solidFill>
                          <a:effectLst/>
                          <a:latin typeface="+mn-lt"/>
                          <a:ea typeface="+mn-ea"/>
                          <a:cs typeface="+mn-cs"/>
                        </a:rPr>
                      </a:br>
                      <a:r>
                        <a:rPr lang="x-none" sz="1200" b="0" kern="1200" dirty="0">
                          <a:solidFill>
                            <a:schemeClr val="tx1"/>
                          </a:solidFill>
                          <a:effectLst/>
                          <a:latin typeface="+mn-lt"/>
                          <a:ea typeface="+mn-ea"/>
                          <a:cs typeface="+mn-cs"/>
                        </a:rPr>
                        <a:t>Provide response</a:t>
                      </a:r>
                      <a:r>
                        <a:rPr lang="en-US" sz="1200" b="0" kern="1200" dirty="0">
                          <a:solidFill>
                            <a:schemeClr val="tx1"/>
                          </a:solidFill>
                          <a:effectLst/>
                          <a:latin typeface="+mn-lt"/>
                          <a:ea typeface="+mn-ea"/>
                          <a:cs typeface="+mn-cs"/>
                        </a:rPr>
                        <a:t> to resolve, stop, prevent or mitigate Security Incident,</a:t>
                      </a:r>
                      <a:r>
                        <a:rPr lang="x-none" sz="1200" b="0" kern="1200" dirty="0">
                          <a:solidFill>
                            <a:schemeClr val="tx1"/>
                          </a:solidFill>
                          <a:effectLst/>
                          <a:latin typeface="+mn-lt"/>
                          <a:ea typeface="+mn-ea"/>
                          <a:cs typeface="+mn-cs"/>
                        </a:rPr>
                        <a:t> if no automatic response is possibl</a:t>
                      </a:r>
                      <a:r>
                        <a:rPr lang="en-US" sz="1200" b="0" kern="1200" dirty="0">
                          <a:solidFill>
                            <a:schemeClr val="tx1"/>
                          </a:solidFill>
                          <a:effectLst/>
                          <a:latin typeface="+mn-lt"/>
                          <a:ea typeface="+mn-ea"/>
                          <a:cs typeface="+mn-cs"/>
                        </a:rPr>
                        <a:t>e: </a:t>
                      </a:r>
                    </a:p>
                    <a:p>
                      <a:pPr lvl="1"/>
                      <a:r>
                        <a:rPr lang="en-US" sz="1200" b="0" kern="1200" dirty="0">
                          <a:solidFill>
                            <a:schemeClr val="tx1"/>
                          </a:solidFill>
                          <a:effectLst/>
                          <a:latin typeface="+mn-lt"/>
                          <a:ea typeface="+mn-ea"/>
                          <a:cs typeface="+mn-cs"/>
                        </a:rPr>
                        <a:t>P1: 4 hours     P2: 8 hours     P3: 1 business day     P4: 3 business days </a:t>
                      </a:r>
                      <a:endParaRPr lang="en-US" sz="1200" b="0" dirty="0">
                        <a:solidFill>
                          <a:schemeClr val="tx1"/>
                        </a:solidFill>
                      </a:endParaRPr>
                    </a:p>
                  </a:txBody>
                  <a:tcPr/>
                </a:tc>
                <a:tc>
                  <a:txBody>
                    <a:bodyPr/>
                    <a:lstStyle/>
                    <a:p>
                      <a:pPr algn="ctr"/>
                      <a:r>
                        <a:rPr lang="en-US" sz="1200" dirty="0"/>
                        <a:t>99%</a:t>
                      </a:r>
                    </a:p>
                  </a:txBody>
                  <a:tcPr anchor="ctr"/>
                </a:tc>
                <a:extLst>
                  <a:ext uri="{0D108BD9-81ED-4DB2-BD59-A6C34878D82A}">
                    <a16:rowId xmlns:a16="http://schemas.microsoft.com/office/drawing/2014/main" val="2196199812"/>
                  </a:ext>
                </a:extLst>
              </a:tr>
              <a:tr h="370840">
                <a:tc>
                  <a:txBody>
                    <a:bodyPr/>
                    <a:lstStyle/>
                    <a:p>
                      <a:r>
                        <a:rPr lang="en-US" sz="1200" b="0" dirty="0">
                          <a:solidFill>
                            <a:schemeClr val="tx1"/>
                          </a:solidFill>
                        </a:rPr>
                        <a:t>Key Performance Indicators:</a:t>
                      </a:r>
                    </a:p>
                  </a:txBody>
                  <a:tcPr/>
                </a:tc>
                <a:tc>
                  <a:txBody>
                    <a:bodyPr/>
                    <a:lstStyle/>
                    <a:p>
                      <a:pPr algn="ctr"/>
                      <a:endParaRPr lang="en-US" sz="1200" dirty="0"/>
                    </a:p>
                  </a:txBody>
                  <a:tcPr/>
                </a:tc>
                <a:extLst>
                  <a:ext uri="{0D108BD9-81ED-4DB2-BD59-A6C34878D82A}">
                    <a16:rowId xmlns:a16="http://schemas.microsoft.com/office/drawing/2014/main" val="1505842875"/>
                  </a:ext>
                </a:extLst>
              </a:tr>
              <a:tr h="0">
                <a:tc>
                  <a:txBody>
                    <a:bodyPr/>
                    <a:lstStyle/>
                    <a:p>
                      <a:pPr lvl="1"/>
                      <a:r>
                        <a:rPr lang="en-US" sz="1200" b="0" kern="1200" dirty="0">
                          <a:solidFill>
                            <a:schemeClr val="tx1"/>
                          </a:solidFill>
                          <a:effectLst/>
                          <a:latin typeface="+mn-lt"/>
                          <a:ea typeface="+mn-ea"/>
                          <a:cs typeface="+mn-cs"/>
                        </a:rPr>
                        <a:t>Containment/Eradication</a:t>
                      </a:r>
                      <a:br>
                        <a:rPr lang="en-US" sz="1200" b="0" kern="1200" dirty="0">
                          <a:solidFill>
                            <a:schemeClr val="tx1"/>
                          </a:solidFill>
                          <a:effectLst/>
                          <a:latin typeface="+mn-lt"/>
                          <a:ea typeface="+mn-ea"/>
                          <a:cs typeface="+mn-cs"/>
                        </a:rPr>
                      </a:br>
                      <a:r>
                        <a:rPr lang="en-US" sz="1200" b="0" kern="1200" dirty="0">
                          <a:solidFill>
                            <a:schemeClr val="tx1"/>
                          </a:solidFill>
                          <a:effectLst/>
                          <a:latin typeface="+mn-lt"/>
                          <a:ea typeface="+mn-ea"/>
                          <a:cs typeface="+mn-cs"/>
                        </a:rPr>
                        <a:t>Cisco will work to create automated responses to resolve, prevent, or mitigate known Security Incident causes and add them to the standard Response Catalogue for faster delivery to customer.</a:t>
                      </a:r>
                      <a:endParaRPr lang="en-US" sz="1200" b="0" dirty="0">
                        <a:solidFill>
                          <a:schemeClr val="tx1"/>
                        </a:solidFill>
                      </a:endParaRPr>
                    </a:p>
                  </a:txBody>
                  <a:tcPr/>
                </a:tc>
                <a:tc>
                  <a:txBody>
                    <a:bodyPr/>
                    <a:lstStyle/>
                    <a:p>
                      <a:pPr algn="ctr"/>
                      <a:endParaRPr lang="en-US" sz="1200" dirty="0"/>
                    </a:p>
                  </a:txBody>
                  <a:tcPr/>
                </a:tc>
                <a:extLst>
                  <a:ext uri="{0D108BD9-81ED-4DB2-BD59-A6C34878D82A}">
                    <a16:rowId xmlns:a16="http://schemas.microsoft.com/office/drawing/2014/main" val="3640782149"/>
                  </a:ext>
                </a:extLst>
              </a:tr>
              <a:tr h="0">
                <a:tc>
                  <a:txBody>
                    <a:bodyPr/>
                    <a:lstStyle/>
                    <a:p>
                      <a:pPr lvl="1"/>
                      <a:r>
                        <a:rPr lang="x-none" sz="1200" b="0" kern="1200" dirty="0">
                          <a:solidFill>
                            <a:schemeClr val="tx1"/>
                          </a:solidFill>
                          <a:effectLst/>
                          <a:latin typeface="+mn-lt"/>
                          <a:ea typeface="+mn-ea"/>
                          <a:cs typeface="+mn-cs"/>
                        </a:rPr>
                        <a:t>Situational </a:t>
                      </a:r>
                      <a:r>
                        <a:rPr lang="en-US" sz="1200" b="0" kern="1200" dirty="0">
                          <a:solidFill>
                            <a:schemeClr val="tx1"/>
                          </a:solidFill>
                          <a:effectLst/>
                          <a:latin typeface="+mn-lt"/>
                          <a:ea typeface="+mn-ea"/>
                          <a:cs typeface="+mn-cs"/>
                        </a:rPr>
                        <a:t>A</a:t>
                      </a:r>
                      <a:r>
                        <a:rPr lang="x-none" sz="1200" b="0" kern="1200" dirty="0">
                          <a:solidFill>
                            <a:schemeClr val="tx1"/>
                          </a:solidFill>
                          <a:effectLst/>
                          <a:latin typeface="+mn-lt"/>
                          <a:ea typeface="+mn-ea"/>
                          <a:cs typeface="+mn-cs"/>
                        </a:rPr>
                        <a:t>wareness</a:t>
                      </a:r>
                      <a:br>
                        <a:rPr lang="en-US" sz="1200" b="0" kern="1200" dirty="0">
                          <a:solidFill>
                            <a:schemeClr val="tx1"/>
                          </a:solidFill>
                          <a:effectLst/>
                          <a:latin typeface="+mn-lt"/>
                          <a:ea typeface="+mn-ea"/>
                          <a:cs typeface="+mn-cs"/>
                        </a:rPr>
                      </a:br>
                      <a:r>
                        <a:rPr lang="x-none" sz="1200" b="0" kern="1200" dirty="0">
                          <a:solidFill>
                            <a:schemeClr val="tx1"/>
                          </a:solidFill>
                          <a:effectLst/>
                          <a:latin typeface="+mn-lt"/>
                          <a:ea typeface="+mn-ea"/>
                          <a:cs typeface="+mn-cs"/>
                        </a:rPr>
                        <a:t>Create or modify existing detection and response playbooks based on new information and threats: </a:t>
                      </a:r>
                      <a:endParaRPr lang="en-US" sz="1200" b="0" kern="1200" dirty="0">
                        <a:solidFill>
                          <a:schemeClr val="tx1"/>
                        </a:solidFill>
                        <a:effectLst/>
                        <a:latin typeface="+mn-lt"/>
                        <a:ea typeface="+mn-ea"/>
                        <a:cs typeface="+mn-cs"/>
                      </a:endParaRPr>
                    </a:p>
                    <a:p>
                      <a:pPr lvl="1"/>
                      <a:r>
                        <a:rPr lang="x-none" sz="1200" b="0" kern="1200" dirty="0">
                          <a:solidFill>
                            <a:schemeClr val="tx1"/>
                          </a:solidFill>
                          <a:effectLst/>
                          <a:latin typeface="+mn-lt"/>
                          <a:ea typeface="+mn-ea"/>
                          <a:cs typeface="+mn-cs"/>
                        </a:rPr>
                        <a:t>P</a:t>
                      </a:r>
                      <a:r>
                        <a:rPr lang="en-US" sz="1200" b="0" kern="1200" dirty="0">
                          <a:solidFill>
                            <a:schemeClr val="tx1"/>
                          </a:solidFill>
                          <a:effectLst/>
                          <a:latin typeface="+mn-lt"/>
                          <a:ea typeface="+mn-ea"/>
                          <a:cs typeface="+mn-cs"/>
                        </a:rPr>
                        <a:t>1: 1 calendar day     P2: 2 calendar days      P3: 5 business days     P4: 1 calendar month</a:t>
                      </a:r>
                      <a:endParaRPr lang="en-US" sz="1200" b="0" dirty="0">
                        <a:solidFill>
                          <a:schemeClr val="tx1"/>
                        </a:solidFill>
                      </a:endParaRPr>
                    </a:p>
                  </a:txBody>
                  <a:tcPr/>
                </a:tc>
                <a:tc>
                  <a:txBody>
                    <a:bodyPr/>
                    <a:lstStyle/>
                    <a:p>
                      <a:pPr algn="ctr"/>
                      <a:endParaRPr lang="en-US" sz="1200" dirty="0"/>
                    </a:p>
                  </a:txBody>
                  <a:tcPr/>
                </a:tc>
                <a:extLst>
                  <a:ext uri="{0D108BD9-81ED-4DB2-BD59-A6C34878D82A}">
                    <a16:rowId xmlns:a16="http://schemas.microsoft.com/office/drawing/2014/main" val="1910616267"/>
                  </a:ext>
                </a:extLst>
              </a:tr>
            </a:tbl>
          </a:graphicData>
        </a:graphic>
      </p:graphicFrame>
    </p:spTree>
    <p:extLst>
      <p:ext uri="{BB962C8B-B14F-4D97-AF65-F5344CB8AC3E}">
        <p14:creationId xmlns:p14="http://schemas.microsoft.com/office/powerpoint/2010/main" val="20274882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DB6A95-E304-4E73-85AC-D5FD86892187}"/>
              </a:ext>
            </a:extLst>
          </p:cNvPr>
          <p:cNvSpPr>
            <a:spLocks noGrp="1"/>
          </p:cNvSpPr>
          <p:nvPr>
            <p:ph type="title"/>
          </p:nvPr>
        </p:nvSpPr>
        <p:spPr/>
        <p:txBody>
          <a:bodyPr/>
          <a:lstStyle/>
          <a:p>
            <a:r>
              <a:rPr lang="en-US" dirty="0"/>
              <a:t>MDR Service Priority Definitions  </a:t>
            </a:r>
          </a:p>
        </p:txBody>
      </p:sp>
      <p:graphicFrame>
        <p:nvGraphicFramePr>
          <p:cNvPr id="4" name="Table 3">
            <a:extLst>
              <a:ext uri="{FF2B5EF4-FFF2-40B4-BE49-F238E27FC236}">
                <a16:creationId xmlns:a16="http://schemas.microsoft.com/office/drawing/2014/main" id="{821B511D-3220-49C3-8984-41BB82CBF25F}"/>
              </a:ext>
            </a:extLst>
          </p:cNvPr>
          <p:cNvGraphicFramePr>
            <a:graphicFrameLocks noGrp="1"/>
          </p:cNvGraphicFramePr>
          <p:nvPr/>
        </p:nvGraphicFramePr>
        <p:xfrm>
          <a:off x="1374884" y="1957969"/>
          <a:ext cx="8771803" cy="2596828"/>
        </p:xfrm>
        <a:graphic>
          <a:graphicData uri="http://schemas.openxmlformats.org/drawingml/2006/table">
            <a:tbl>
              <a:tblPr>
                <a:tableStyleId>{5C22544A-7EE6-4342-B048-85BDC9FD1C3A}</a:tableStyleId>
              </a:tblPr>
              <a:tblGrid>
                <a:gridCol w="1751025">
                  <a:extLst>
                    <a:ext uri="{9D8B030D-6E8A-4147-A177-3AD203B41FA5}">
                      <a16:colId xmlns:a16="http://schemas.microsoft.com/office/drawing/2014/main" val="475647433"/>
                    </a:ext>
                  </a:extLst>
                </a:gridCol>
                <a:gridCol w="1565908">
                  <a:extLst>
                    <a:ext uri="{9D8B030D-6E8A-4147-A177-3AD203B41FA5}">
                      <a16:colId xmlns:a16="http://schemas.microsoft.com/office/drawing/2014/main" val="875548458"/>
                    </a:ext>
                  </a:extLst>
                </a:gridCol>
                <a:gridCol w="1765738">
                  <a:extLst>
                    <a:ext uri="{9D8B030D-6E8A-4147-A177-3AD203B41FA5}">
                      <a16:colId xmlns:a16="http://schemas.microsoft.com/office/drawing/2014/main" val="1187091049"/>
                    </a:ext>
                  </a:extLst>
                </a:gridCol>
                <a:gridCol w="1713186">
                  <a:extLst>
                    <a:ext uri="{9D8B030D-6E8A-4147-A177-3AD203B41FA5}">
                      <a16:colId xmlns:a16="http://schemas.microsoft.com/office/drawing/2014/main" val="1895940561"/>
                    </a:ext>
                  </a:extLst>
                </a:gridCol>
                <a:gridCol w="1975946">
                  <a:extLst>
                    <a:ext uri="{9D8B030D-6E8A-4147-A177-3AD203B41FA5}">
                      <a16:colId xmlns:a16="http://schemas.microsoft.com/office/drawing/2014/main" val="1908086000"/>
                    </a:ext>
                  </a:extLst>
                </a:gridCol>
              </a:tblGrid>
              <a:tr h="599268">
                <a:tc>
                  <a:txBody>
                    <a:bodyPr/>
                    <a:lstStyle/>
                    <a:p>
                      <a:pPr marL="0" marR="0" algn="ctr">
                        <a:lnSpc>
                          <a:spcPct val="107000"/>
                        </a:lnSpc>
                        <a:spcBef>
                          <a:spcPts val="0"/>
                        </a:spcBef>
                        <a:spcAft>
                          <a:spcPts val="0"/>
                        </a:spcAft>
                      </a:pPr>
                      <a:r>
                        <a:rPr lang="en-US" sz="1400" dirty="0">
                          <a:solidFill>
                            <a:schemeClr val="bg2"/>
                          </a:solidFill>
                          <a:effectLst/>
                        </a:rPr>
                        <a:t> </a:t>
                      </a:r>
                      <a:endParaRPr lang="en-US" sz="2000" dirty="0">
                        <a:solidFill>
                          <a:schemeClr val="bg2"/>
                        </a:solidFill>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b">
                    <a:lnL w="12700" cap="flat" cmpd="sng" algn="ctr">
                      <a:noFill/>
                      <a:prstDash val="solid"/>
                      <a:round/>
                      <a:headEnd type="none" w="med" len="med"/>
                      <a:tailEnd type="none" w="med" len="med"/>
                    </a:lnL>
                    <a:lnT w="12700" cap="flat" cmpd="sng" algn="ctr">
                      <a:noFill/>
                      <a:prstDash val="solid"/>
                      <a:round/>
                      <a:headEnd type="none" w="med" len="med"/>
                      <a:tailEnd type="none" w="med" len="med"/>
                    </a:lnT>
                    <a:noFill/>
                  </a:tcPr>
                </a:tc>
                <a:tc>
                  <a:txBody>
                    <a:bodyPr/>
                    <a:lstStyle/>
                    <a:p>
                      <a:pPr marL="0" marR="0" algn="ctr">
                        <a:lnSpc>
                          <a:spcPct val="107000"/>
                        </a:lnSpc>
                        <a:spcBef>
                          <a:spcPts val="0"/>
                        </a:spcBef>
                        <a:spcAft>
                          <a:spcPts val="0"/>
                        </a:spcAft>
                      </a:pPr>
                      <a:r>
                        <a:rPr lang="en-US" sz="1400" dirty="0">
                          <a:solidFill>
                            <a:schemeClr val="bg2"/>
                          </a:solidFill>
                          <a:effectLst/>
                        </a:rPr>
                        <a:t>Widespread</a:t>
                      </a:r>
                    </a:p>
                  </a:txBody>
                  <a:tcPr marL="73025" marR="73025" marT="0" marB="0" anchor="ctr">
                    <a:solidFill>
                      <a:schemeClr val="accent1"/>
                    </a:solidFill>
                  </a:tcPr>
                </a:tc>
                <a:tc>
                  <a:txBody>
                    <a:bodyPr/>
                    <a:lstStyle/>
                    <a:p>
                      <a:pPr marL="0" marR="0" algn="ctr">
                        <a:lnSpc>
                          <a:spcPct val="107000"/>
                        </a:lnSpc>
                        <a:spcBef>
                          <a:spcPts val="0"/>
                        </a:spcBef>
                        <a:spcAft>
                          <a:spcPts val="0"/>
                        </a:spcAft>
                      </a:pPr>
                      <a:r>
                        <a:rPr lang="en-US" sz="1400" dirty="0">
                          <a:solidFill>
                            <a:schemeClr val="bg2"/>
                          </a:solidFill>
                          <a:effectLst/>
                        </a:rPr>
                        <a:t>Large</a:t>
                      </a:r>
                      <a:endParaRPr lang="en-US" sz="2000" dirty="0">
                        <a:solidFill>
                          <a:schemeClr val="bg2"/>
                        </a:solidFill>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solidFill>
                      <a:schemeClr val="accent1"/>
                    </a:solidFill>
                  </a:tcPr>
                </a:tc>
                <a:tc>
                  <a:txBody>
                    <a:bodyPr/>
                    <a:lstStyle/>
                    <a:p>
                      <a:pPr marL="0" marR="0" algn="ctr">
                        <a:lnSpc>
                          <a:spcPct val="107000"/>
                        </a:lnSpc>
                        <a:spcBef>
                          <a:spcPts val="0"/>
                        </a:spcBef>
                        <a:spcAft>
                          <a:spcPts val="0"/>
                        </a:spcAft>
                      </a:pPr>
                      <a:r>
                        <a:rPr lang="en-US" sz="1400">
                          <a:solidFill>
                            <a:schemeClr val="bg2"/>
                          </a:solidFill>
                          <a:effectLst/>
                        </a:rPr>
                        <a:t>Localized</a:t>
                      </a:r>
                      <a:endParaRPr lang="en-US" sz="2000">
                        <a:solidFill>
                          <a:schemeClr val="bg2"/>
                        </a:solidFill>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solidFill>
                      <a:schemeClr val="accent1"/>
                    </a:solidFill>
                  </a:tcPr>
                </a:tc>
                <a:tc>
                  <a:txBody>
                    <a:bodyPr/>
                    <a:lstStyle/>
                    <a:p>
                      <a:pPr marL="0" marR="0" algn="ctr">
                        <a:lnSpc>
                          <a:spcPct val="107000"/>
                        </a:lnSpc>
                        <a:spcBef>
                          <a:spcPts val="0"/>
                        </a:spcBef>
                        <a:spcAft>
                          <a:spcPts val="0"/>
                        </a:spcAft>
                      </a:pPr>
                      <a:r>
                        <a:rPr lang="en-US" sz="1400" dirty="0">
                          <a:solidFill>
                            <a:schemeClr val="bg2"/>
                          </a:solidFill>
                          <a:effectLst/>
                        </a:rPr>
                        <a:t>Individualized</a:t>
                      </a:r>
                      <a:endParaRPr lang="en-US" sz="2000" dirty="0">
                        <a:solidFill>
                          <a:schemeClr val="bg2"/>
                        </a:solidFill>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solidFill>
                      <a:schemeClr val="accent1"/>
                    </a:solidFill>
                  </a:tcPr>
                </a:tc>
                <a:extLst>
                  <a:ext uri="{0D108BD9-81ED-4DB2-BD59-A6C34878D82A}">
                    <a16:rowId xmlns:a16="http://schemas.microsoft.com/office/drawing/2014/main" val="2542860721"/>
                  </a:ext>
                </a:extLst>
              </a:tr>
              <a:tr h="499390">
                <a:tc>
                  <a:txBody>
                    <a:bodyPr/>
                    <a:lstStyle/>
                    <a:p>
                      <a:pPr marL="0" marR="0" algn="ctr">
                        <a:lnSpc>
                          <a:spcPct val="107000"/>
                        </a:lnSpc>
                        <a:spcBef>
                          <a:spcPts val="0"/>
                        </a:spcBef>
                        <a:spcAft>
                          <a:spcPts val="0"/>
                        </a:spcAft>
                      </a:pPr>
                      <a:r>
                        <a:rPr lang="en-US" sz="1400" dirty="0">
                          <a:solidFill>
                            <a:schemeClr val="bg2"/>
                          </a:solidFill>
                          <a:effectLst/>
                        </a:rPr>
                        <a:t>Critical</a:t>
                      </a:r>
                      <a:endParaRPr lang="en-US" sz="2000" dirty="0">
                        <a:solidFill>
                          <a:schemeClr val="bg2"/>
                        </a:solidFill>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solidFill>
                      <a:schemeClr val="accent1"/>
                    </a:solidFill>
                  </a:tcPr>
                </a:tc>
                <a:tc>
                  <a:txBody>
                    <a:bodyPr/>
                    <a:lstStyle/>
                    <a:p>
                      <a:pPr marL="0" marR="0" algn="ctr">
                        <a:lnSpc>
                          <a:spcPct val="107000"/>
                        </a:lnSpc>
                        <a:spcBef>
                          <a:spcPts val="0"/>
                        </a:spcBef>
                        <a:spcAft>
                          <a:spcPts val="0"/>
                        </a:spcAft>
                      </a:pPr>
                      <a:r>
                        <a:rPr lang="en-US" sz="1400" dirty="0">
                          <a:effectLst/>
                        </a:rPr>
                        <a:t>P1</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tc>
                <a:tc>
                  <a:txBody>
                    <a:bodyPr/>
                    <a:lstStyle/>
                    <a:p>
                      <a:pPr marL="0" marR="0" algn="ctr">
                        <a:lnSpc>
                          <a:spcPct val="107000"/>
                        </a:lnSpc>
                        <a:spcBef>
                          <a:spcPts val="0"/>
                        </a:spcBef>
                        <a:spcAft>
                          <a:spcPts val="0"/>
                        </a:spcAft>
                      </a:pPr>
                      <a:r>
                        <a:rPr lang="en-US" sz="1400">
                          <a:effectLst/>
                        </a:rPr>
                        <a:t>P1</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tc>
                <a:tc>
                  <a:txBody>
                    <a:bodyPr/>
                    <a:lstStyle/>
                    <a:p>
                      <a:pPr marL="0" marR="0" algn="ctr">
                        <a:lnSpc>
                          <a:spcPct val="107000"/>
                        </a:lnSpc>
                        <a:spcBef>
                          <a:spcPts val="0"/>
                        </a:spcBef>
                        <a:spcAft>
                          <a:spcPts val="0"/>
                        </a:spcAft>
                      </a:pPr>
                      <a:r>
                        <a:rPr lang="en-US" sz="1400">
                          <a:effectLst/>
                        </a:rPr>
                        <a:t>P2</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tc>
                <a:tc>
                  <a:txBody>
                    <a:bodyPr/>
                    <a:lstStyle/>
                    <a:p>
                      <a:pPr marL="0" marR="0" algn="ctr">
                        <a:lnSpc>
                          <a:spcPct val="107000"/>
                        </a:lnSpc>
                        <a:spcBef>
                          <a:spcPts val="0"/>
                        </a:spcBef>
                        <a:spcAft>
                          <a:spcPts val="0"/>
                        </a:spcAft>
                      </a:pPr>
                      <a:r>
                        <a:rPr lang="en-US" sz="1400">
                          <a:effectLst/>
                        </a:rPr>
                        <a:t>P2</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tc>
                <a:extLst>
                  <a:ext uri="{0D108BD9-81ED-4DB2-BD59-A6C34878D82A}">
                    <a16:rowId xmlns:a16="http://schemas.microsoft.com/office/drawing/2014/main" val="1539046040"/>
                  </a:ext>
                </a:extLst>
              </a:tr>
              <a:tr h="499390">
                <a:tc>
                  <a:txBody>
                    <a:bodyPr/>
                    <a:lstStyle/>
                    <a:p>
                      <a:pPr marL="0" marR="0" algn="ctr">
                        <a:lnSpc>
                          <a:spcPct val="107000"/>
                        </a:lnSpc>
                        <a:spcBef>
                          <a:spcPts val="0"/>
                        </a:spcBef>
                        <a:spcAft>
                          <a:spcPts val="0"/>
                        </a:spcAft>
                      </a:pPr>
                      <a:r>
                        <a:rPr lang="en-US" sz="1400" dirty="0">
                          <a:solidFill>
                            <a:schemeClr val="bg2"/>
                          </a:solidFill>
                          <a:effectLst/>
                        </a:rPr>
                        <a:t>Major</a:t>
                      </a:r>
                      <a:endParaRPr lang="en-US" sz="2000" dirty="0">
                        <a:solidFill>
                          <a:schemeClr val="bg2"/>
                        </a:solidFill>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solidFill>
                      <a:schemeClr val="accent1"/>
                    </a:solidFill>
                  </a:tcPr>
                </a:tc>
                <a:tc>
                  <a:txBody>
                    <a:bodyPr/>
                    <a:lstStyle/>
                    <a:p>
                      <a:pPr marL="0" marR="0" algn="ctr">
                        <a:lnSpc>
                          <a:spcPct val="107000"/>
                        </a:lnSpc>
                        <a:spcBef>
                          <a:spcPts val="0"/>
                        </a:spcBef>
                        <a:spcAft>
                          <a:spcPts val="0"/>
                        </a:spcAft>
                      </a:pPr>
                      <a:r>
                        <a:rPr lang="en-US" sz="1400" dirty="0">
                          <a:effectLst/>
                        </a:rPr>
                        <a:t>P1</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tc>
                <a:tc>
                  <a:txBody>
                    <a:bodyPr/>
                    <a:lstStyle/>
                    <a:p>
                      <a:pPr marL="0" marR="0" algn="ctr">
                        <a:lnSpc>
                          <a:spcPct val="107000"/>
                        </a:lnSpc>
                        <a:spcBef>
                          <a:spcPts val="0"/>
                        </a:spcBef>
                        <a:spcAft>
                          <a:spcPts val="0"/>
                        </a:spcAft>
                      </a:pPr>
                      <a:r>
                        <a:rPr lang="en-US" sz="1400" dirty="0">
                          <a:effectLst/>
                        </a:rPr>
                        <a:t>P2</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tc>
                <a:tc>
                  <a:txBody>
                    <a:bodyPr/>
                    <a:lstStyle/>
                    <a:p>
                      <a:pPr marL="0" marR="0" algn="ctr">
                        <a:lnSpc>
                          <a:spcPct val="107000"/>
                        </a:lnSpc>
                        <a:spcBef>
                          <a:spcPts val="0"/>
                        </a:spcBef>
                        <a:spcAft>
                          <a:spcPts val="0"/>
                        </a:spcAft>
                      </a:pPr>
                      <a:r>
                        <a:rPr lang="en-US" sz="1400" dirty="0">
                          <a:effectLst/>
                        </a:rPr>
                        <a:t>P2</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tc>
                <a:tc>
                  <a:txBody>
                    <a:bodyPr/>
                    <a:lstStyle/>
                    <a:p>
                      <a:pPr marL="0" marR="0" algn="ctr">
                        <a:lnSpc>
                          <a:spcPct val="107000"/>
                        </a:lnSpc>
                        <a:spcBef>
                          <a:spcPts val="0"/>
                        </a:spcBef>
                        <a:spcAft>
                          <a:spcPts val="0"/>
                        </a:spcAft>
                      </a:pPr>
                      <a:r>
                        <a:rPr lang="en-US" sz="1400" dirty="0">
                          <a:effectLst/>
                        </a:rPr>
                        <a:t>P3</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tc>
                <a:extLst>
                  <a:ext uri="{0D108BD9-81ED-4DB2-BD59-A6C34878D82A}">
                    <a16:rowId xmlns:a16="http://schemas.microsoft.com/office/drawing/2014/main" val="2963790033"/>
                  </a:ext>
                </a:extLst>
              </a:tr>
              <a:tr h="499390">
                <a:tc>
                  <a:txBody>
                    <a:bodyPr/>
                    <a:lstStyle/>
                    <a:p>
                      <a:pPr marL="0" marR="0" algn="ctr">
                        <a:lnSpc>
                          <a:spcPct val="107000"/>
                        </a:lnSpc>
                        <a:spcBef>
                          <a:spcPts val="0"/>
                        </a:spcBef>
                        <a:spcAft>
                          <a:spcPts val="0"/>
                        </a:spcAft>
                      </a:pPr>
                      <a:r>
                        <a:rPr lang="en-US" sz="1400" dirty="0">
                          <a:solidFill>
                            <a:schemeClr val="bg2"/>
                          </a:solidFill>
                          <a:effectLst/>
                        </a:rPr>
                        <a:t>Minor</a:t>
                      </a:r>
                      <a:endParaRPr lang="en-US" sz="2000" dirty="0">
                        <a:solidFill>
                          <a:schemeClr val="bg2"/>
                        </a:solidFill>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solidFill>
                      <a:schemeClr val="accent1"/>
                    </a:solidFill>
                  </a:tcPr>
                </a:tc>
                <a:tc>
                  <a:txBody>
                    <a:bodyPr/>
                    <a:lstStyle/>
                    <a:p>
                      <a:pPr marL="0" marR="0" algn="ctr">
                        <a:lnSpc>
                          <a:spcPct val="107000"/>
                        </a:lnSpc>
                        <a:spcBef>
                          <a:spcPts val="0"/>
                        </a:spcBef>
                        <a:spcAft>
                          <a:spcPts val="0"/>
                        </a:spcAft>
                      </a:pPr>
                      <a:r>
                        <a:rPr lang="en-US" sz="1400" dirty="0">
                          <a:effectLst/>
                        </a:rPr>
                        <a:t>P2</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tc>
                <a:tc>
                  <a:txBody>
                    <a:bodyPr/>
                    <a:lstStyle/>
                    <a:p>
                      <a:pPr marL="0" marR="0" algn="ctr">
                        <a:lnSpc>
                          <a:spcPct val="107000"/>
                        </a:lnSpc>
                        <a:spcBef>
                          <a:spcPts val="0"/>
                        </a:spcBef>
                        <a:spcAft>
                          <a:spcPts val="0"/>
                        </a:spcAft>
                      </a:pPr>
                      <a:r>
                        <a:rPr lang="en-US" sz="1400" dirty="0">
                          <a:effectLst/>
                        </a:rPr>
                        <a:t>P3</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tc>
                <a:tc>
                  <a:txBody>
                    <a:bodyPr/>
                    <a:lstStyle/>
                    <a:p>
                      <a:pPr marL="0" marR="0" algn="ctr">
                        <a:lnSpc>
                          <a:spcPct val="107000"/>
                        </a:lnSpc>
                        <a:spcBef>
                          <a:spcPts val="0"/>
                        </a:spcBef>
                        <a:spcAft>
                          <a:spcPts val="0"/>
                        </a:spcAft>
                      </a:pPr>
                      <a:r>
                        <a:rPr lang="en-US" sz="1400" dirty="0">
                          <a:effectLst/>
                        </a:rPr>
                        <a:t>P3</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tc>
                <a:tc>
                  <a:txBody>
                    <a:bodyPr/>
                    <a:lstStyle/>
                    <a:p>
                      <a:pPr marL="0" marR="0" algn="ctr">
                        <a:lnSpc>
                          <a:spcPct val="107000"/>
                        </a:lnSpc>
                        <a:spcBef>
                          <a:spcPts val="0"/>
                        </a:spcBef>
                        <a:spcAft>
                          <a:spcPts val="0"/>
                        </a:spcAft>
                      </a:pPr>
                      <a:r>
                        <a:rPr lang="en-US" sz="1400">
                          <a:effectLst/>
                        </a:rPr>
                        <a:t>P3</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tc>
                <a:extLst>
                  <a:ext uri="{0D108BD9-81ED-4DB2-BD59-A6C34878D82A}">
                    <a16:rowId xmlns:a16="http://schemas.microsoft.com/office/drawing/2014/main" val="1431370748"/>
                  </a:ext>
                </a:extLst>
              </a:tr>
              <a:tr h="499390">
                <a:tc>
                  <a:txBody>
                    <a:bodyPr/>
                    <a:lstStyle/>
                    <a:p>
                      <a:pPr marL="0" marR="0" algn="ctr">
                        <a:lnSpc>
                          <a:spcPct val="107000"/>
                        </a:lnSpc>
                        <a:spcBef>
                          <a:spcPts val="0"/>
                        </a:spcBef>
                        <a:spcAft>
                          <a:spcPts val="0"/>
                        </a:spcAft>
                      </a:pPr>
                      <a:r>
                        <a:rPr lang="en-US" sz="1400" dirty="0">
                          <a:solidFill>
                            <a:schemeClr val="bg2"/>
                          </a:solidFill>
                          <a:effectLst/>
                        </a:rPr>
                        <a:t>Low/Notice</a:t>
                      </a:r>
                      <a:endParaRPr lang="en-US" sz="2000" dirty="0">
                        <a:solidFill>
                          <a:schemeClr val="bg2"/>
                        </a:solidFill>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solidFill>
                      <a:schemeClr val="accent1"/>
                    </a:solidFill>
                  </a:tcPr>
                </a:tc>
                <a:tc>
                  <a:txBody>
                    <a:bodyPr/>
                    <a:lstStyle/>
                    <a:p>
                      <a:pPr marL="0" marR="0" algn="ctr">
                        <a:lnSpc>
                          <a:spcPct val="107000"/>
                        </a:lnSpc>
                        <a:spcBef>
                          <a:spcPts val="0"/>
                        </a:spcBef>
                        <a:spcAft>
                          <a:spcPts val="0"/>
                        </a:spcAft>
                      </a:pPr>
                      <a:r>
                        <a:rPr lang="en-US" sz="1400">
                          <a:effectLst/>
                        </a:rPr>
                        <a:t>P4</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tc>
                <a:tc>
                  <a:txBody>
                    <a:bodyPr/>
                    <a:lstStyle/>
                    <a:p>
                      <a:pPr marL="0" marR="0" algn="ctr">
                        <a:lnSpc>
                          <a:spcPct val="107000"/>
                        </a:lnSpc>
                        <a:spcBef>
                          <a:spcPts val="0"/>
                        </a:spcBef>
                        <a:spcAft>
                          <a:spcPts val="0"/>
                        </a:spcAft>
                      </a:pPr>
                      <a:r>
                        <a:rPr lang="en-US" sz="1400">
                          <a:effectLst/>
                        </a:rPr>
                        <a:t>P4</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tc>
                <a:tc>
                  <a:txBody>
                    <a:bodyPr/>
                    <a:lstStyle/>
                    <a:p>
                      <a:pPr marL="0" marR="0" algn="ctr">
                        <a:lnSpc>
                          <a:spcPct val="107000"/>
                        </a:lnSpc>
                        <a:spcBef>
                          <a:spcPts val="0"/>
                        </a:spcBef>
                        <a:spcAft>
                          <a:spcPts val="0"/>
                        </a:spcAft>
                      </a:pPr>
                      <a:r>
                        <a:rPr lang="en-US" sz="1400" dirty="0">
                          <a:effectLst/>
                        </a:rPr>
                        <a:t>P4</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tc>
                <a:tc>
                  <a:txBody>
                    <a:bodyPr/>
                    <a:lstStyle/>
                    <a:p>
                      <a:pPr marL="0" marR="0" algn="ctr">
                        <a:lnSpc>
                          <a:spcPct val="107000"/>
                        </a:lnSpc>
                        <a:spcBef>
                          <a:spcPts val="0"/>
                        </a:spcBef>
                        <a:spcAft>
                          <a:spcPts val="0"/>
                        </a:spcAft>
                      </a:pPr>
                      <a:r>
                        <a:rPr lang="en-US" sz="1400" dirty="0">
                          <a:effectLst/>
                        </a:rPr>
                        <a:t>P4</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3025" marR="73025" marT="0" marB="0" anchor="ctr"/>
                </a:tc>
                <a:extLst>
                  <a:ext uri="{0D108BD9-81ED-4DB2-BD59-A6C34878D82A}">
                    <a16:rowId xmlns:a16="http://schemas.microsoft.com/office/drawing/2014/main" val="2097736587"/>
                  </a:ext>
                </a:extLst>
              </a:tr>
            </a:tbl>
          </a:graphicData>
        </a:graphic>
      </p:graphicFrame>
      <p:sp>
        <p:nvSpPr>
          <p:cNvPr id="6" name="TextBox 5">
            <a:extLst>
              <a:ext uri="{FF2B5EF4-FFF2-40B4-BE49-F238E27FC236}">
                <a16:creationId xmlns:a16="http://schemas.microsoft.com/office/drawing/2014/main" id="{313F1004-3027-44D2-BACD-7995BF15E3E3}"/>
              </a:ext>
            </a:extLst>
          </p:cNvPr>
          <p:cNvSpPr txBox="1"/>
          <p:nvPr/>
        </p:nvSpPr>
        <p:spPr>
          <a:xfrm flipH="1">
            <a:off x="830315" y="2501462"/>
            <a:ext cx="461665" cy="2053335"/>
          </a:xfrm>
          <a:prstGeom prst="rect">
            <a:avLst/>
          </a:prstGeom>
          <a:noFill/>
        </p:spPr>
        <p:txBody>
          <a:bodyPr vert="vert270"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5073"/>
                </a:solidFill>
                <a:effectLst/>
                <a:uLnTx/>
                <a:uFillTx/>
                <a:latin typeface="CiscoSansTT ExtraLight"/>
                <a:ea typeface="+mn-ea"/>
                <a:cs typeface="+mn-cs"/>
              </a:rPr>
              <a:t>Urgency </a:t>
            </a:r>
          </a:p>
        </p:txBody>
      </p:sp>
      <p:sp>
        <p:nvSpPr>
          <p:cNvPr id="7" name="TextBox 6">
            <a:extLst>
              <a:ext uri="{FF2B5EF4-FFF2-40B4-BE49-F238E27FC236}">
                <a16:creationId xmlns:a16="http://schemas.microsoft.com/office/drawing/2014/main" id="{89C8962C-B7BB-41A7-BDA0-86C1E22FBAB7}"/>
              </a:ext>
            </a:extLst>
          </p:cNvPr>
          <p:cNvSpPr txBox="1"/>
          <p:nvPr/>
        </p:nvSpPr>
        <p:spPr>
          <a:xfrm>
            <a:off x="3415863" y="1545022"/>
            <a:ext cx="649539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5073"/>
                </a:solidFill>
                <a:effectLst/>
                <a:uLnTx/>
                <a:uFillTx/>
                <a:latin typeface="CiscoSansTT ExtraLight"/>
                <a:ea typeface="+mn-ea"/>
                <a:cs typeface="+mn-cs"/>
              </a:rPr>
              <a:t>Impact</a:t>
            </a:r>
          </a:p>
        </p:txBody>
      </p:sp>
      <p:sp>
        <p:nvSpPr>
          <p:cNvPr id="8" name="Rectangle 7">
            <a:extLst>
              <a:ext uri="{FF2B5EF4-FFF2-40B4-BE49-F238E27FC236}">
                <a16:creationId xmlns:a16="http://schemas.microsoft.com/office/drawing/2014/main" id="{7F698533-B420-482C-8A4F-57A6C4FDB617}"/>
              </a:ext>
            </a:extLst>
          </p:cNvPr>
          <p:cNvSpPr/>
          <p:nvPr/>
        </p:nvSpPr>
        <p:spPr>
          <a:xfrm>
            <a:off x="1008596" y="4916181"/>
            <a:ext cx="10826053" cy="1184940"/>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kumimoji="0" lang="en-US" sz="1400" b="0" i="0" u="none" strike="noStrike" kern="1200" cap="none" spc="0" normalizeH="0" baseline="0" noProof="0" dirty="0">
                <a:ln>
                  <a:noFill/>
                </a:ln>
                <a:solidFill>
                  <a:srgbClr val="005073"/>
                </a:solidFill>
                <a:effectLst/>
                <a:uLnTx/>
                <a:uFillTx/>
                <a:latin typeface="CiscoSansTT ExtraLight"/>
                <a:ea typeface="CiscoSansTT" panose="020B0503020201020303" pitchFamily="34" charset="0"/>
                <a:cs typeface="Times New Roman" panose="02020603050405020304" pitchFamily="18" charset="0"/>
              </a:rPr>
              <a:t>P1: Cisco and Customer will commit any necessary resources 24x7 to assist in resolving the Incident.</a:t>
            </a:r>
            <a:endParaRPr kumimoji="0" lang="en-US" sz="1400" b="0" i="0" u="none" strike="noStrike" kern="1200" cap="none" spc="0" normalizeH="0" baseline="0" noProof="0" dirty="0">
              <a:ln>
                <a:noFill/>
              </a:ln>
              <a:solidFill>
                <a:srgbClr val="005073"/>
              </a:solidFill>
              <a:effectLst/>
              <a:uLnTx/>
              <a:uFillTx/>
              <a:latin typeface="CiscoSansTT ExtraLight"/>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kumimoji="0" lang="en-US" sz="1400" b="0" i="0" u="none" strike="noStrike" kern="1200" cap="none" spc="0" normalizeH="0" baseline="0" noProof="0" dirty="0">
                <a:ln>
                  <a:noFill/>
                </a:ln>
                <a:solidFill>
                  <a:srgbClr val="005073"/>
                </a:solidFill>
                <a:effectLst/>
                <a:uLnTx/>
                <a:uFillTx/>
                <a:latin typeface="CiscoSansTT ExtraLight"/>
                <a:ea typeface="CiscoSansTT" panose="020B0503020201020303" pitchFamily="34" charset="0"/>
                <a:cs typeface="Times New Roman" panose="02020603050405020304" pitchFamily="18" charset="0"/>
              </a:rPr>
              <a:t>P2: Cisco and Customer will commit full-time resources during standard business hours to resolve the Incident.</a:t>
            </a:r>
            <a:endParaRPr kumimoji="0" lang="en-US" sz="1400" b="0" i="0" u="none" strike="noStrike" kern="1200" cap="none" spc="0" normalizeH="0" baseline="0" noProof="0" dirty="0">
              <a:ln>
                <a:noFill/>
              </a:ln>
              <a:solidFill>
                <a:srgbClr val="005073"/>
              </a:solidFill>
              <a:effectLst/>
              <a:uLnTx/>
              <a:uFillTx/>
              <a:latin typeface="CiscoSansTT ExtraLight"/>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kumimoji="0" lang="en-US" sz="1400" b="0" i="0" u="none" strike="noStrike" kern="1200" cap="none" spc="0" normalizeH="0" baseline="0" noProof="0" dirty="0">
                <a:ln>
                  <a:noFill/>
                </a:ln>
                <a:solidFill>
                  <a:srgbClr val="005073"/>
                </a:solidFill>
                <a:effectLst/>
                <a:uLnTx/>
                <a:uFillTx/>
                <a:latin typeface="CiscoSansTT ExtraLight"/>
                <a:ea typeface="CiscoSansTT" panose="020B0503020201020303" pitchFamily="34" charset="0"/>
                <a:cs typeface="Times New Roman" panose="02020603050405020304" pitchFamily="18" charset="0"/>
              </a:rPr>
              <a:t>P3: Cisco and Customer are willing to commit resources during standard business hours to restore service to satisfactory levels.</a:t>
            </a:r>
            <a:endParaRPr kumimoji="0" lang="en-US" sz="1400" b="0" i="0" u="none" strike="noStrike" kern="1200" cap="none" spc="0" normalizeH="0" baseline="0" noProof="0" dirty="0">
              <a:ln>
                <a:noFill/>
              </a:ln>
              <a:solidFill>
                <a:srgbClr val="005073"/>
              </a:solidFill>
              <a:effectLst/>
              <a:uLnTx/>
              <a:uFillTx/>
              <a:latin typeface="CiscoSansTT ExtraLight"/>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400" b="0" i="0" u="none" strike="noStrike" kern="1200" cap="none" spc="0" normalizeH="0" baseline="0" noProof="0" dirty="0">
                <a:ln>
                  <a:noFill/>
                </a:ln>
                <a:solidFill>
                  <a:srgbClr val="005073"/>
                </a:solidFill>
                <a:effectLst/>
                <a:uLnTx/>
                <a:uFillTx/>
                <a:latin typeface="CiscoSansTT ExtraLight"/>
                <a:ea typeface="CiscoSansTT" panose="020B0503020201020303" pitchFamily="34" charset="0"/>
                <a:cs typeface="Times New Roman" panose="02020603050405020304" pitchFamily="18" charset="0"/>
              </a:rPr>
              <a:t>P4: Cisco and Customer are willing to commit resources during standard business hours to provide information or assistance.</a:t>
            </a:r>
            <a:endParaRPr kumimoji="0" lang="en-US" sz="1400" b="0" i="0" u="none" strike="noStrike" kern="1200" cap="none" spc="0" normalizeH="0" baseline="0" noProof="0" dirty="0">
              <a:ln>
                <a:noFill/>
              </a:ln>
              <a:solidFill>
                <a:srgbClr val="005073"/>
              </a:solidFill>
              <a:effectLst/>
              <a:uLnTx/>
              <a:uFillTx/>
              <a:latin typeface="CiscoSansTT ExtraLigh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8366429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4" name="Straight Connector 283">
            <a:extLst>
              <a:ext uri="{FF2B5EF4-FFF2-40B4-BE49-F238E27FC236}">
                <a16:creationId xmlns:a16="http://schemas.microsoft.com/office/drawing/2014/main" id="{1267351A-1BEF-8844-9A1C-65D10531C032}"/>
              </a:ext>
            </a:extLst>
          </p:cNvPr>
          <p:cNvCxnSpPr>
            <a:cxnSpLocks/>
          </p:cNvCxnSpPr>
          <p:nvPr/>
        </p:nvCxnSpPr>
        <p:spPr>
          <a:xfrm flipV="1">
            <a:off x="4131497" y="3387563"/>
            <a:ext cx="1" cy="853440"/>
          </a:xfrm>
          <a:prstGeom prst="line">
            <a:avLst/>
          </a:prstGeom>
          <a:ln w="15875" cap="rnd">
            <a:solidFill>
              <a:srgbClr val="BBCDDF"/>
            </a:solidFill>
            <a:tailEnd type="triangle"/>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4DE84064-1F98-7748-98C8-0C5FD8FCAA42}"/>
              </a:ext>
            </a:extLst>
          </p:cNvPr>
          <p:cNvSpPr>
            <a:spLocks noGrp="1"/>
          </p:cNvSpPr>
          <p:nvPr>
            <p:ph type="body" idx="1"/>
          </p:nvPr>
        </p:nvSpPr>
        <p:spPr>
          <a:xfrm>
            <a:off x="203866" y="720000"/>
            <a:ext cx="11268469" cy="480000"/>
          </a:xfrm>
        </p:spPr>
        <p:txBody>
          <a:bodyPr/>
          <a:lstStyle/>
          <a:p>
            <a:r>
              <a:rPr lang="en-US"/>
              <a:t>Cisco Managed </a:t>
            </a:r>
            <a:r>
              <a:rPr lang="en-US">
                <a:solidFill>
                  <a:schemeClr val="accent1"/>
                </a:solidFill>
              </a:rPr>
              <a:t>Detection</a:t>
            </a:r>
            <a:r>
              <a:rPr lang="en-US"/>
              <a:t> and Response Service</a:t>
            </a:r>
          </a:p>
        </p:txBody>
      </p:sp>
      <p:grpSp>
        <p:nvGrpSpPr>
          <p:cNvPr id="3" name="Group 2">
            <a:extLst>
              <a:ext uri="{FF2B5EF4-FFF2-40B4-BE49-F238E27FC236}">
                <a16:creationId xmlns:a16="http://schemas.microsoft.com/office/drawing/2014/main" id="{D9894799-0729-6B41-B4F9-4DBFCB6C46FF}"/>
              </a:ext>
            </a:extLst>
          </p:cNvPr>
          <p:cNvGrpSpPr>
            <a:grpSpLocks noChangeAspect="1"/>
          </p:cNvGrpSpPr>
          <p:nvPr/>
        </p:nvGrpSpPr>
        <p:grpSpPr>
          <a:xfrm>
            <a:off x="10464924" y="2778550"/>
            <a:ext cx="444457" cy="551999"/>
            <a:chOff x="4938600" y="1353154"/>
            <a:chExt cx="425315" cy="528295"/>
          </a:xfrm>
        </p:grpSpPr>
        <p:sp>
          <p:nvSpPr>
            <p:cNvPr id="4" name="Rounded Rectangle 150">
              <a:extLst>
                <a:ext uri="{FF2B5EF4-FFF2-40B4-BE49-F238E27FC236}">
                  <a16:creationId xmlns:a16="http://schemas.microsoft.com/office/drawing/2014/main" id="{A789C71B-114A-7844-90A6-C7FE4F1BD9DE}"/>
                </a:ext>
              </a:extLst>
            </p:cNvPr>
            <p:cNvSpPr/>
            <p:nvPr/>
          </p:nvSpPr>
          <p:spPr>
            <a:xfrm>
              <a:off x="4938600" y="1353154"/>
              <a:ext cx="425315" cy="528295"/>
            </a:xfrm>
            <a:prstGeom prst="roundRect">
              <a:avLst>
                <a:gd name="adj" fmla="val 6873"/>
              </a:avLst>
            </a:prstGeom>
            <a:solidFill>
              <a:srgbClr val="EDF1F7"/>
            </a:solidFill>
            <a:ln>
              <a:solidFill>
                <a:schemeClr val="accent1"/>
              </a:solidFill>
            </a:ln>
          </p:spPr>
          <p:txBody>
            <a:bodyPr vert="horz" wrap="square" lIns="0" tIns="81280" rIns="162560" bIns="81280" numCol="1" anchor="b" anchorCtr="0" compatLnSpc="1">
              <a:prstTxWarp prst="textNoShape">
                <a:avLst/>
              </a:prstTxWarp>
              <a:noAutofit/>
            </a:bodyPr>
            <a:lstStyle/>
            <a:p>
              <a:pPr algn="ctr" defTabSz="812760" fontAlgn="base">
                <a:spcBef>
                  <a:spcPct val="0"/>
                </a:spcBef>
                <a:spcAft>
                  <a:spcPct val="0"/>
                </a:spcAft>
                <a:buClr>
                  <a:srgbClr val="000000"/>
                </a:buClr>
                <a:defRPr/>
              </a:pPr>
              <a:endParaRPr lang="en-US" sz="1956" kern="0">
                <a:solidFill>
                  <a:srgbClr val="676767"/>
                </a:solidFill>
                <a:latin typeface="Arial"/>
                <a:ea typeface="ＭＳ Ｐゴシック" charset="0"/>
                <a:cs typeface="Arial"/>
                <a:sym typeface="Arial"/>
              </a:endParaRPr>
            </a:p>
          </p:txBody>
        </p:sp>
        <p:sp>
          <p:nvSpPr>
            <p:cNvPr id="5" name="Rounded Rectangle 151">
              <a:extLst>
                <a:ext uri="{FF2B5EF4-FFF2-40B4-BE49-F238E27FC236}">
                  <a16:creationId xmlns:a16="http://schemas.microsoft.com/office/drawing/2014/main" id="{194A293C-AEA8-7844-B5FD-CA84EF928926}"/>
                </a:ext>
              </a:extLst>
            </p:cNvPr>
            <p:cNvSpPr/>
            <p:nvPr/>
          </p:nvSpPr>
          <p:spPr>
            <a:xfrm>
              <a:off x="4982138" y="1426414"/>
              <a:ext cx="80017" cy="80017"/>
            </a:xfrm>
            <a:prstGeom prst="round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fontAlgn="base">
                <a:spcBef>
                  <a:spcPct val="0"/>
                </a:spcBef>
                <a:spcAft>
                  <a:spcPct val="0"/>
                </a:spcAft>
                <a:buClr>
                  <a:srgbClr val="000000"/>
                </a:buClr>
                <a:defRPr/>
              </a:pPr>
              <a:endParaRPr lang="en-US" sz="3200" kern="0">
                <a:solidFill>
                  <a:srgbClr val="005073"/>
                </a:solidFill>
                <a:latin typeface="Arial"/>
                <a:sym typeface="Arial"/>
              </a:endParaRPr>
            </a:p>
          </p:txBody>
        </p:sp>
        <p:sp>
          <p:nvSpPr>
            <p:cNvPr id="6" name="Rounded Rectangle 160">
              <a:extLst>
                <a:ext uri="{FF2B5EF4-FFF2-40B4-BE49-F238E27FC236}">
                  <a16:creationId xmlns:a16="http://schemas.microsoft.com/office/drawing/2014/main" id="{C1105FA0-8EB2-5049-A5AE-FD56D84FEFDC}"/>
                </a:ext>
              </a:extLst>
            </p:cNvPr>
            <p:cNvSpPr/>
            <p:nvPr/>
          </p:nvSpPr>
          <p:spPr>
            <a:xfrm>
              <a:off x="4982138" y="1575879"/>
              <a:ext cx="80017" cy="80017"/>
            </a:xfrm>
            <a:prstGeom prst="round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fontAlgn="base">
                <a:spcBef>
                  <a:spcPct val="0"/>
                </a:spcBef>
                <a:spcAft>
                  <a:spcPct val="0"/>
                </a:spcAft>
                <a:buClr>
                  <a:srgbClr val="000000"/>
                </a:buClr>
                <a:defRPr/>
              </a:pPr>
              <a:endParaRPr lang="en-US" sz="3200" kern="0">
                <a:solidFill>
                  <a:srgbClr val="005073"/>
                </a:solidFill>
                <a:latin typeface="Arial"/>
                <a:sym typeface="Arial"/>
              </a:endParaRPr>
            </a:p>
          </p:txBody>
        </p:sp>
        <p:sp>
          <p:nvSpPr>
            <p:cNvPr id="7" name="Rounded Rectangle 163">
              <a:extLst>
                <a:ext uri="{FF2B5EF4-FFF2-40B4-BE49-F238E27FC236}">
                  <a16:creationId xmlns:a16="http://schemas.microsoft.com/office/drawing/2014/main" id="{15689D55-1E98-BF44-9ADC-4DE910140B8F}"/>
                </a:ext>
              </a:extLst>
            </p:cNvPr>
            <p:cNvSpPr/>
            <p:nvPr/>
          </p:nvSpPr>
          <p:spPr>
            <a:xfrm>
              <a:off x="4982138" y="1727022"/>
              <a:ext cx="80017" cy="80017"/>
            </a:xfrm>
            <a:prstGeom prst="round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fontAlgn="base">
                <a:spcBef>
                  <a:spcPct val="0"/>
                </a:spcBef>
                <a:spcAft>
                  <a:spcPct val="0"/>
                </a:spcAft>
                <a:buClr>
                  <a:srgbClr val="000000"/>
                </a:buClr>
                <a:defRPr/>
              </a:pPr>
              <a:endParaRPr lang="en-US" sz="3200" kern="0">
                <a:solidFill>
                  <a:srgbClr val="005073"/>
                </a:solidFill>
                <a:latin typeface="Arial"/>
                <a:sym typeface="Arial"/>
              </a:endParaRPr>
            </a:p>
          </p:txBody>
        </p:sp>
        <p:cxnSp>
          <p:nvCxnSpPr>
            <p:cNvPr id="8" name="Straight Connector 7">
              <a:extLst>
                <a:ext uri="{FF2B5EF4-FFF2-40B4-BE49-F238E27FC236}">
                  <a16:creationId xmlns:a16="http://schemas.microsoft.com/office/drawing/2014/main" id="{47B061CD-8203-8A4D-BA91-3F26D0DBD112}"/>
                </a:ext>
              </a:extLst>
            </p:cNvPr>
            <p:cNvCxnSpPr/>
            <p:nvPr/>
          </p:nvCxnSpPr>
          <p:spPr>
            <a:xfrm>
              <a:off x="5093956" y="1443191"/>
              <a:ext cx="2286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0B5CE39-E9D9-004A-8399-C8B2B9141EAB}"/>
                </a:ext>
              </a:extLst>
            </p:cNvPr>
            <p:cNvCxnSpPr/>
            <p:nvPr/>
          </p:nvCxnSpPr>
          <p:spPr>
            <a:xfrm>
              <a:off x="5093956" y="1601941"/>
              <a:ext cx="2286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82DF49F-E07E-384E-8828-36A94145C930}"/>
                </a:ext>
              </a:extLst>
            </p:cNvPr>
            <p:cNvCxnSpPr/>
            <p:nvPr/>
          </p:nvCxnSpPr>
          <p:spPr>
            <a:xfrm>
              <a:off x="5093956" y="1751166"/>
              <a:ext cx="2286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DEAB095-FD82-8B46-AA79-7FBE12CA9139}"/>
                </a:ext>
              </a:extLst>
            </p:cNvPr>
            <p:cNvCxnSpPr/>
            <p:nvPr/>
          </p:nvCxnSpPr>
          <p:spPr>
            <a:xfrm>
              <a:off x="5093956" y="1474941"/>
              <a:ext cx="18288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A79F101-AB93-3F40-BB20-C1A29493AFBD}"/>
                </a:ext>
              </a:extLst>
            </p:cNvPr>
            <p:cNvCxnSpPr/>
            <p:nvPr/>
          </p:nvCxnSpPr>
          <p:spPr>
            <a:xfrm>
              <a:off x="5093956" y="1633691"/>
              <a:ext cx="18288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CF215A5-F671-B74B-865F-589727FEAA4C}"/>
                </a:ext>
              </a:extLst>
            </p:cNvPr>
            <p:cNvCxnSpPr/>
            <p:nvPr/>
          </p:nvCxnSpPr>
          <p:spPr>
            <a:xfrm>
              <a:off x="5093956" y="1782916"/>
              <a:ext cx="18288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Freeform 113">
            <a:extLst>
              <a:ext uri="{FF2B5EF4-FFF2-40B4-BE49-F238E27FC236}">
                <a16:creationId xmlns:a16="http://schemas.microsoft.com/office/drawing/2014/main" id="{8E30F0C3-DAF1-8E48-BAF3-2C6C73B069A5}"/>
              </a:ext>
            </a:extLst>
          </p:cNvPr>
          <p:cNvSpPr>
            <a:spLocks noEditPoints="1"/>
          </p:cNvSpPr>
          <p:nvPr/>
        </p:nvSpPr>
        <p:spPr bwMode="auto">
          <a:xfrm>
            <a:off x="9014616" y="2445068"/>
            <a:ext cx="879072" cy="230797"/>
          </a:xfrm>
          <a:custGeom>
            <a:avLst/>
            <a:gdLst/>
            <a:ahLst/>
            <a:cxnLst>
              <a:cxn ang="0">
                <a:pos x="131" y="20"/>
              </a:cxn>
              <a:cxn ang="0">
                <a:pos x="107" y="0"/>
              </a:cxn>
              <a:cxn ang="0">
                <a:pos x="79" y="0"/>
              </a:cxn>
              <a:cxn ang="0">
                <a:pos x="85" y="11"/>
              </a:cxn>
              <a:cxn ang="0">
                <a:pos x="114" y="13"/>
              </a:cxn>
              <a:cxn ang="0">
                <a:pos x="121" y="69"/>
              </a:cxn>
              <a:cxn ang="0">
                <a:pos x="111" y="82"/>
              </a:cxn>
              <a:cxn ang="0">
                <a:pos x="81" y="74"/>
              </a:cxn>
              <a:cxn ang="0">
                <a:pos x="96" y="50"/>
              </a:cxn>
              <a:cxn ang="0">
                <a:pos x="119" y="38"/>
              </a:cxn>
              <a:cxn ang="0">
                <a:pos x="83" y="42"/>
              </a:cxn>
              <a:cxn ang="0">
                <a:pos x="74" y="87"/>
              </a:cxn>
              <a:cxn ang="0">
                <a:pos x="114" y="94"/>
              </a:cxn>
              <a:cxn ang="0">
                <a:pos x="131" y="93"/>
              </a:cxn>
              <a:cxn ang="0">
                <a:pos x="333" y="73"/>
              </a:cxn>
              <a:cxn ang="0">
                <a:pos x="320" y="40"/>
              </a:cxn>
              <a:cxn ang="0">
                <a:pos x="292" y="38"/>
              </a:cxn>
              <a:cxn ang="0">
                <a:pos x="294" y="13"/>
              </a:cxn>
              <a:cxn ang="0">
                <a:pos x="329" y="10"/>
              </a:cxn>
              <a:cxn ang="0">
                <a:pos x="332" y="1"/>
              </a:cxn>
              <a:cxn ang="0">
                <a:pos x="294" y="1"/>
              </a:cxn>
              <a:cxn ang="0">
                <a:pos x="281" y="34"/>
              </a:cxn>
              <a:cxn ang="0">
                <a:pos x="318" y="52"/>
              </a:cxn>
              <a:cxn ang="0">
                <a:pos x="323" y="69"/>
              </a:cxn>
              <a:cxn ang="0">
                <a:pos x="303" y="80"/>
              </a:cxn>
              <a:cxn ang="0">
                <a:pos x="275" y="92"/>
              </a:cxn>
              <a:cxn ang="0">
                <a:pos x="322" y="94"/>
              </a:cxn>
              <a:cxn ang="0">
                <a:pos x="0" y="1"/>
              </a:cxn>
              <a:cxn ang="0">
                <a:pos x="25" y="12"/>
              </a:cxn>
              <a:cxn ang="0">
                <a:pos x="28" y="80"/>
              </a:cxn>
              <a:cxn ang="0">
                <a:pos x="39" y="94"/>
              </a:cxn>
              <a:cxn ang="0">
                <a:pos x="40" y="16"/>
              </a:cxn>
              <a:cxn ang="0">
                <a:pos x="58" y="12"/>
              </a:cxn>
              <a:cxn ang="0">
                <a:pos x="0" y="0"/>
              </a:cxn>
              <a:cxn ang="0">
                <a:pos x="161" y="80"/>
              </a:cxn>
              <a:cxn ang="0">
                <a:pos x="157" y="14"/>
              </a:cxn>
              <a:cxn ang="0">
                <a:pos x="146" y="2"/>
              </a:cxn>
              <a:cxn ang="0">
                <a:pos x="155" y="94"/>
              </a:cxn>
              <a:cxn ang="0">
                <a:pos x="200" y="88"/>
              </a:cxn>
              <a:cxn ang="0">
                <a:pos x="257" y="23"/>
              </a:cxn>
              <a:cxn ang="0">
                <a:pos x="255" y="75"/>
              </a:cxn>
              <a:cxn ang="0">
                <a:pos x="218" y="77"/>
              </a:cxn>
              <a:cxn ang="0">
                <a:pos x="213" y="84"/>
              </a:cxn>
              <a:cxn ang="0">
                <a:pos x="242" y="93"/>
              </a:cxn>
              <a:cxn ang="0">
                <a:pos x="264" y="20"/>
              </a:cxn>
              <a:cxn ang="0">
                <a:pos x="212" y="63"/>
              </a:cxn>
              <a:cxn ang="0">
                <a:pos x="250" y="17"/>
              </a:cxn>
              <a:cxn ang="0">
                <a:pos x="256" y="10"/>
              </a:cxn>
              <a:cxn ang="0">
                <a:pos x="221" y="4"/>
              </a:cxn>
              <a:cxn ang="0">
                <a:pos x="206" y="75"/>
              </a:cxn>
              <a:cxn ang="0">
                <a:pos x="212" y="69"/>
              </a:cxn>
              <a:cxn ang="0">
                <a:pos x="257" y="20"/>
              </a:cxn>
              <a:cxn ang="0">
                <a:pos x="254" y="17"/>
              </a:cxn>
              <a:cxn ang="0">
                <a:pos x="213" y="73"/>
              </a:cxn>
              <a:cxn ang="0">
                <a:pos x="215" y="77"/>
              </a:cxn>
              <a:cxn ang="0">
                <a:pos x="331" y="91"/>
              </a:cxn>
              <a:cxn ang="0">
                <a:pos x="331" y="91"/>
              </a:cxn>
              <a:cxn ang="0">
                <a:pos x="330" y="90"/>
              </a:cxn>
              <a:cxn ang="0">
                <a:pos x="334" y="93"/>
              </a:cxn>
              <a:cxn ang="0">
                <a:pos x="333" y="94"/>
              </a:cxn>
              <a:cxn ang="0">
                <a:pos x="333" y="91"/>
              </a:cxn>
              <a:cxn ang="0">
                <a:pos x="335" y="91"/>
              </a:cxn>
              <a:cxn ang="0">
                <a:pos x="336" y="94"/>
              </a:cxn>
            </a:cxnLst>
            <a:rect l="0" t="0" r="r" b="b"/>
            <a:pathLst>
              <a:path w="336" h="95">
                <a:moveTo>
                  <a:pt x="131" y="59"/>
                </a:moveTo>
                <a:cubicBezTo>
                  <a:pt x="131" y="48"/>
                  <a:pt x="131" y="37"/>
                  <a:pt x="131" y="26"/>
                </a:cubicBezTo>
                <a:cubicBezTo>
                  <a:pt x="131" y="24"/>
                  <a:pt x="131" y="22"/>
                  <a:pt x="131" y="20"/>
                </a:cubicBezTo>
                <a:cubicBezTo>
                  <a:pt x="130" y="16"/>
                  <a:pt x="129" y="12"/>
                  <a:pt x="127" y="8"/>
                </a:cubicBezTo>
                <a:cubicBezTo>
                  <a:pt x="124" y="5"/>
                  <a:pt x="121" y="3"/>
                  <a:pt x="118" y="2"/>
                </a:cubicBezTo>
                <a:cubicBezTo>
                  <a:pt x="114" y="1"/>
                  <a:pt x="111" y="0"/>
                  <a:pt x="107" y="0"/>
                </a:cubicBezTo>
                <a:cubicBezTo>
                  <a:pt x="104" y="0"/>
                  <a:pt x="100" y="0"/>
                  <a:pt x="96" y="0"/>
                </a:cubicBezTo>
                <a:cubicBezTo>
                  <a:pt x="91" y="0"/>
                  <a:pt x="85" y="0"/>
                  <a:pt x="79" y="0"/>
                </a:cubicBezTo>
                <a:cubicBezTo>
                  <a:pt x="79" y="0"/>
                  <a:pt x="79" y="0"/>
                  <a:pt x="79" y="0"/>
                </a:cubicBezTo>
                <a:cubicBezTo>
                  <a:pt x="79" y="0"/>
                  <a:pt x="79" y="1"/>
                  <a:pt x="79" y="1"/>
                </a:cubicBezTo>
                <a:cubicBezTo>
                  <a:pt x="79" y="5"/>
                  <a:pt x="81" y="9"/>
                  <a:pt x="84" y="11"/>
                </a:cubicBezTo>
                <a:cubicBezTo>
                  <a:pt x="85" y="11"/>
                  <a:pt x="85" y="11"/>
                  <a:pt x="85" y="11"/>
                </a:cubicBezTo>
                <a:cubicBezTo>
                  <a:pt x="87" y="11"/>
                  <a:pt x="88" y="11"/>
                  <a:pt x="90" y="11"/>
                </a:cubicBezTo>
                <a:cubicBezTo>
                  <a:pt x="96" y="11"/>
                  <a:pt x="102" y="11"/>
                  <a:pt x="109" y="11"/>
                </a:cubicBezTo>
                <a:cubicBezTo>
                  <a:pt x="111" y="11"/>
                  <a:pt x="113" y="12"/>
                  <a:pt x="114" y="13"/>
                </a:cubicBezTo>
                <a:cubicBezTo>
                  <a:pt x="119" y="15"/>
                  <a:pt x="121" y="19"/>
                  <a:pt x="121" y="25"/>
                </a:cubicBezTo>
                <a:cubicBezTo>
                  <a:pt x="121" y="31"/>
                  <a:pt x="121" y="38"/>
                  <a:pt x="121" y="44"/>
                </a:cubicBezTo>
                <a:cubicBezTo>
                  <a:pt x="121" y="52"/>
                  <a:pt x="121" y="60"/>
                  <a:pt x="121" y="69"/>
                </a:cubicBezTo>
                <a:cubicBezTo>
                  <a:pt x="121" y="70"/>
                  <a:pt x="121" y="72"/>
                  <a:pt x="121" y="73"/>
                </a:cubicBezTo>
                <a:cubicBezTo>
                  <a:pt x="120" y="77"/>
                  <a:pt x="118" y="80"/>
                  <a:pt x="115" y="81"/>
                </a:cubicBezTo>
                <a:cubicBezTo>
                  <a:pt x="114" y="81"/>
                  <a:pt x="112" y="82"/>
                  <a:pt x="111" y="82"/>
                </a:cubicBezTo>
                <a:cubicBezTo>
                  <a:pt x="105" y="82"/>
                  <a:pt x="98" y="82"/>
                  <a:pt x="91" y="82"/>
                </a:cubicBezTo>
                <a:cubicBezTo>
                  <a:pt x="91" y="82"/>
                  <a:pt x="90" y="82"/>
                  <a:pt x="90" y="82"/>
                </a:cubicBezTo>
                <a:cubicBezTo>
                  <a:pt x="85" y="82"/>
                  <a:pt x="82" y="79"/>
                  <a:pt x="81" y="74"/>
                </a:cubicBezTo>
                <a:cubicBezTo>
                  <a:pt x="80" y="70"/>
                  <a:pt x="81" y="66"/>
                  <a:pt x="82" y="62"/>
                </a:cubicBezTo>
                <a:cubicBezTo>
                  <a:pt x="84" y="57"/>
                  <a:pt x="86" y="53"/>
                  <a:pt x="90" y="51"/>
                </a:cubicBezTo>
                <a:cubicBezTo>
                  <a:pt x="92" y="50"/>
                  <a:pt x="94" y="50"/>
                  <a:pt x="96" y="50"/>
                </a:cubicBezTo>
                <a:cubicBezTo>
                  <a:pt x="103" y="50"/>
                  <a:pt x="111" y="50"/>
                  <a:pt x="119" y="50"/>
                </a:cubicBezTo>
                <a:cubicBezTo>
                  <a:pt x="119" y="50"/>
                  <a:pt x="119" y="50"/>
                  <a:pt x="119" y="50"/>
                </a:cubicBezTo>
                <a:cubicBezTo>
                  <a:pt x="119" y="38"/>
                  <a:pt x="119" y="38"/>
                  <a:pt x="119" y="38"/>
                </a:cubicBezTo>
                <a:cubicBezTo>
                  <a:pt x="118" y="38"/>
                  <a:pt x="118" y="38"/>
                  <a:pt x="118" y="38"/>
                </a:cubicBezTo>
                <a:cubicBezTo>
                  <a:pt x="110" y="38"/>
                  <a:pt x="101" y="38"/>
                  <a:pt x="93" y="38"/>
                </a:cubicBezTo>
                <a:cubicBezTo>
                  <a:pt x="90" y="38"/>
                  <a:pt x="86" y="39"/>
                  <a:pt x="83" y="42"/>
                </a:cubicBezTo>
                <a:cubicBezTo>
                  <a:pt x="78" y="46"/>
                  <a:pt x="74" y="53"/>
                  <a:pt x="72" y="60"/>
                </a:cubicBezTo>
                <a:cubicBezTo>
                  <a:pt x="70" y="66"/>
                  <a:pt x="70" y="72"/>
                  <a:pt x="71" y="78"/>
                </a:cubicBezTo>
                <a:cubicBezTo>
                  <a:pt x="72" y="81"/>
                  <a:pt x="73" y="84"/>
                  <a:pt x="74" y="87"/>
                </a:cubicBezTo>
                <a:cubicBezTo>
                  <a:pt x="77" y="91"/>
                  <a:pt x="81" y="93"/>
                  <a:pt x="85" y="94"/>
                </a:cubicBezTo>
                <a:cubicBezTo>
                  <a:pt x="88" y="94"/>
                  <a:pt x="92" y="94"/>
                  <a:pt x="95" y="94"/>
                </a:cubicBezTo>
                <a:cubicBezTo>
                  <a:pt x="101" y="94"/>
                  <a:pt x="107" y="94"/>
                  <a:pt x="114" y="94"/>
                </a:cubicBezTo>
                <a:cubicBezTo>
                  <a:pt x="117" y="94"/>
                  <a:pt x="121" y="92"/>
                  <a:pt x="123" y="89"/>
                </a:cubicBezTo>
                <a:cubicBezTo>
                  <a:pt x="126" y="91"/>
                  <a:pt x="128" y="93"/>
                  <a:pt x="131" y="94"/>
                </a:cubicBezTo>
                <a:cubicBezTo>
                  <a:pt x="131" y="93"/>
                  <a:pt x="131" y="93"/>
                  <a:pt x="131" y="93"/>
                </a:cubicBezTo>
                <a:cubicBezTo>
                  <a:pt x="131" y="90"/>
                  <a:pt x="131" y="87"/>
                  <a:pt x="131" y="85"/>
                </a:cubicBezTo>
                <a:cubicBezTo>
                  <a:pt x="131" y="76"/>
                  <a:pt x="131" y="68"/>
                  <a:pt x="131" y="59"/>
                </a:cubicBezTo>
                <a:close/>
                <a:moveTo>
                  <a:pt x="333" y="73"/>
                </a:moveTo>
                <a:cubicBezTo>
                  <a:pt x="333" y="67"/>
                  <a:pt x="333" y="62"/>
                  <a:pt x="333" y="56"/>
                </a:cubicBezTo>
                <a:cubicBezTo>
                  <a:pt x="333" y="54"/>
                  <a:pt x="333" y="52"/>
                  <a:pt x="332" y="50"/>
                </a:cubicBezTo>
                <a:cubicBezTo>
                  <a:pt x="330" y="43"/>
                  <a:pt x="326" y="40"/>
                  <a:pt x="320" y="40"/>
                </a:cubicBezTo>
                <a:cubicBezTo>
                  <a:pt x="313" y="40"/>
                  <a:pt x="306" y="40"/>
                  <a:pt x="299" y="40"/>
                </a:cubicBezTo>
                <a:cubicBezTo>
                  <a:pt x="297" y="40"/>
                  <a:pt x="296" y="40"/>
                  <a:pt x="295" y="40"/>
                </a:cubicBezTo>
                <a:cubicBezTo>
                  <a:pt x="293" y="40"/>
                  <a:pt x="292" y="39"/>
                  <a:pt x="292" y="38"/>
                </a:cubicBezTo>
                <a:cubicBezTo>
                  <a:pt x="291" y="37"/>
                  <a:pt x="291" y="36"/>
                  <a:pt x="291" y="34"/>
                </a:cubicBezTo>
                <a:cubicBezTo>
                  <a:pt x="291" y="29"/>
                  <a:pt x="291" y="23"/>
                  <a:pt x="292" y="18"/>
                </a:cubicBezTo>
                <a:cubicBezTo>
                  <a:pt x="292" y="16"/>
                  <a:pt x="292" y="14"/>
                  <a:pt x="294" y="13"/>
                </a:cubicBezTo>
                <a:cubicBezTo>
                  <a:pt x="295" y="12"/>
                  <a:pt x="296" y="11"/>
                  <a:pt x="298" y="11"/>
                </a:cubicBezTo>
                <a:cubicBezTo>
                  <a:pt x="307" y="11"/>
                  <a:pt x="316" y="11"/>
                  <a:pt x="325" y="11"/>
                </a:cubicBezTo>
                <a:cubicBezTo>
                  <a:pt x="327" y="11"/>
                  <a:pt x="328" y="11"/>
                  <a:pt x="329" y="10"/>
                </a:cubicBezTo>
                <a:cubicBezTo>
                  <a:pt x="329" y="10"/>
                  <a:pt x="329" y="10"/>
                  <a:pt x="329" y="9"/>
                </a:cubicBezTo>
                <a:cubicBezTo>
                  <a:pt x="332" y="7"/>
                  <a:pt x="333" y="4"/>
                  <a:pt x="333" y="1"/>
                </a:cubicBezTo>
                <a:cubicBezTo>
                  <a:pt x="332" y="1"/>
                  <a:pt x="332" y="1"/>
                  <a:pt x="332" y="1"/>
                </a:cubicBezTo>
                <a:cubicBezTo>
                  <a:pt x="326" y="1"/>
                  <a:pt x="320" y="0"/>
                  <a:pt x="313" y="0"/>
                </a:cubicBezTo>
                <a:cubicBezTo>
                  <a:pt x="309" y="0"/>
                  <a:pt x="304" y="0"/>
                  <a:pt x="300" y="0"/>
                </a:cubicBezTo>
                <a:cubicBezTo>
                  <a:pt x="298" y="0"/>
                  <a:pt x="296" y="0"/>
                  <a:pt x="294" y="1"/>
                </a:cubicBezTo>
                <a:cubicBezTo>
                  <a:pt x="290" y="1"/>
                  <a:pt x="286" y="4"/>
                  <a:pt x="284" y="8"/>
                </a:cubicBezTo>
                <a:cubicBezTo>
                  <a:pt x="283" y="11"/>
                  <a:pt x="282" y="13"/>
                  <a:pt x="282" y="16"/>
                </a:cubicBezTo>
                <a:cubicBezTo>
                  <a:pt x="282" y="22"/>
                  <a:pt x="281" y="28"/>
                  <a:pt x="281" y="34"/>
                </a:cubicBezTo>
                <a:cubicBezTo>
                  <a:pt x="281" y="38"/>
                  <a:pt x="282" y="42"/>
                  <a:pt x="284" y="46"/>
                </a:cubicBezTo>
                <a:cubicBezTo>
                  <a:pt x="286" y="50"/>
                  <a:pt x="290" y="52"/>
                  <a:pt x="294" y="52"/>
                </a:cubicBezTo>
                <a:cubicBezTo>
                  <a:pt x="302" y="52"/>
                  <a:pt x="310" y="52"/>
                  <a:pt x="318" y="52"/>
                </a:cubicBezTo>
                <a:cubicBezTo>
                  <a:pt x="318" y="52"/>
                  <a:pt x="319" y="52"/>
                  <a:pt x="319" y="52"/>
                </a:cubicBezTo>
                <a:cubicBezTo>
                  <a:pt x="322" y="53"/>
                  <a:pt x="323" y="55"/>
                  <a:pt x="323" y="58"/>
                </a:cubicBezTo>
                <a:cubicBezTo>
                  <a:pt x="323" y="62"/>
                  <a:pt x="323" y="66"/>
                  <a:pt x="323" y="69"/>
                </a:cubicBezTo>
                <a:cubicBezTo>
                  <a:pt x="323" y="71"/>
                  <a:pt x="324" y="73"/>
                  <a:pt x="323" y="75"/>
                </a:cubicBezTo>
                <a:cubicBezTo>
                  <a:pt x="323" y="78"/>
                  <a:pt x="321" y="80"/>
                  <a:pt x="318" y="80"/>
                </a:cubicBezTo>
                <a:cubicBezTo>
                  <a:pt x="313" y="80"/>
                  <a:pt x="308" y="80"/>
                  <a:pt x="303" y="80"/>
                </a:cubicBezTo>
                <a:cubicBezTo>
                  <a:pt x="297" y="80"/>
                  <a:pt x="291" y="80"/>
                  <a:pt x="286" y="80"/>
                </a:cubicBezTo>
                <a:cubicBezTo>
                  <a:pt x="285" y="80"/>
                  <a:pt x="284" y="81"/>
                  <a:pt x="283" y="81"/>
                </a:cubicBezTo>
                <a:cubicBezTo>
                  <a:pt x="280" y="84"/>
                  <a:pt x="277" y="87"/>
                  <a:pt x="275" y="92"/>
                </a:cubicBezTo>
                <a:cubicBezTo>
                  <a:pt x="275" y="93"/>
                  <a:pt x="275" y="93"/>
                  <a:pt x="275" y="94"/>
                </a:cubicBezTo>
                <a:cubicBezTo>
                  <a:pt x="319" y="94"/>
                  <a:pt x="319" y="94"/>
                  <a:pt x="319" y="94"/>
                </a:cubicBezTo>
                <a:cubicBezTo>
                  <a:pt x="320" y="94"/>
                  <a:pt x="321" y="94"/>
                  <a:pt x="322" y="94"/>
                </a:cubicBezTo>
                <a:cubicBezTo>
                  <a:pt x="329" y="92"/>
                  <a:pt x="333" y="84"/>
                  <a:pt x="333" y="78"/>
                </a:cubicBezTo>
                <a:cubicBezTo>
                  <a:pt x="333" y="76"/>
                  <a:pt x="333" y="74"/>
                  <a:pt x="333" y="73"/>
                </a:cubicBezTo>
                <a:close/>
                <a:moveTo>
                  <a:pt x="0" y="1"/>
                </a:moveTo>
                <a:cubicBezTo>
                  <a:pt x="1" y="7"/>
                  <a:pt x="5" y="11"/>
                  <a:pt x="10" y="12"/>
                </a:cubicBezTo>
                <a:cubicBezTo>
                  <a:pt x="12" y="12"/>
                  <a:pt x="14" y="12"/>
                  <a:pt x="16" y="12"/>
                </a:cubicBezTo>
                <a:cubicBezTo>
                  <a:pt x="19" y="12"/>
                  <a:pt x="22" y="12"/>
                  <a:pt x="25" y="12"/>
                </a:cubicBezTo>
                <a:cubicBezTo>
                  <a:pt x="26" y="12"/>
                  <a:pt x="27" y="12"/>
                  <a:pt x="27" y="13"/>
                </a:cubicBezTo>
                <a:cubicBezTo>
                  <a:pt x="28" y="15"/>
                  <a:pt x="28" y="16"/>
                  <a:pt x="28" y="17"/>
                </a:cubicBezTo>
                <a:cubicBezTo>
                  <a:pt x="28" y="38"/>
                  <a:pt x="28" y="59"/>
                  <a:pt x="28" y="80"/>
                </a:cubicBezTo>
                <a:cubicBezTo>
                  <a:pt x="28" y="84"/>
                  <a:pt x="29" y="87"/>
                  <a:pt x="31" y="89"/>
                </a:cubicBezTo>
                <a:cubicBezTo>
                  <a:pt x="33" y="91"/>
                  <a:pt x="35" y="93"/>
                  <a:pt x="37" y="93"/>
                </a:cubicBezTo>
                <a:cubicBezTo>
                  <a:pt x="38" y="94"/>
                  <a:pt x="39" y="94"/>
                  <a:pt x="39" y="94"/>
                </a:cubicBezTo>
                <a:cubicBezTo>
                  <a:pt x="39" y="93"/>
                  <a:pt x="39" y="93"/>
                  <a:pt x="39" y="93"/>
                </a:cubicBezTo>
                <a:cubicBezTo>
                  <a:pt x="39" y="68"/>
                  <a:pt x="39" y="43"/>
                  <a:pt x="39" y="18"/>
                </a:cubicBezTo>
                <a:cubicBezTo>
                  <a:pt x="39" y="17"/>
                  <a:pt x="40" y="17"/>
                  <a:pt x="40" y="16"/>
                </a:cubicBezTo>
                <a:cubicBezTo>
                  <a:pt x="40" y="14"/>
                  <a:pt x="41" y="12"/>
                  <a:pt x="43" y="12"/>
                </a:cubicBezTo>
                <a:cubicBezTo>
                  <a:pt x="46" y="12"/>
                  <a:pt x="48" y="12"/>
                  <a:pt x="51" y="12"/>
                </a:cubicBezTo>
                <a:cubicBezTo>
                  <a:pt x="53" y="12"/>
                  <a:pt x="56" y="12"/>
                  <a:pt x="58" y="12"/>
                </a:cubicBezTo>
                <a:cubicBezTo>
                  <a:pt x="63" y="12"/>
                  <a:pt x="66" y="8"/>
                  <a:pt x="67" y="3"/>
                </a:cubicBezTo>
                <a:cubicBezTo>
                  <a:pt x="68" y="2"/>
                  <a:pt x="68" y="1"/>
                  <a:pt x="68" y="0"/>
                </a:cubicBezTo>
                <a:cubicBezTo>
                  <a:pt x="0" y="0"/>
                  <a:pt x="0" y="0"/>
                  <a:pt x="0" y="0"/>
                </a:cubicBezTo>
                <a:cubicBezTo>
                  <a:pt x="0" y="1"/>
                  <a:pt x="0" y="1"/>
                  <a:pt x="0" y="1"/>
                </a:cubicBezTo>
                <a:close/>
                <a:moveTo>
                  <a:pt x="191" y="80"/>
                </a:moveTo>
                <a:cubicBezTo>
                  <a:pt x="181" y="80"/>
                  <a:pt x="171" y="80"/>
                  <a:pt x="161" y="80"/>
                </a:cubicBezTo>
                <a:cubicBezTo>
                  <a:pt x="159" y="80"/>
                  <a:pt x="158" y="79"/>
                  <a:pt x="157" y="76"/>
                </a:cubicBezTo>
                <a:cubicBezTo>
                  <a:pt x="157" y="73"/>
                  <a:pt x="157" y="71"/>
                  <a:pt x="157" y="68"/>
                </a:cubicBezTo>
                <a:cubicBezTo>
                  <a:pt x="157" y="50"/>
                  <a:pt x="157" y="32"/>
                  <a:pt x="157" y="14"/>
                </a:cubicBezTo>
                <a:cubicBezTo>
                  <a:pt x="157" y="11"/>
                  <a:pt x="156" y="8"/>
                  <a:pt x="154" y="5"/>
                </a:cubicBezTo>
                <a:cubicBezTo>
                  <a:pt x="152" y="2"/>
                  <a:pt x="149" y="1"/>
                  <a:pt x="146" y="1"/>
                </a:cubicBezTo>
                <a:cubicBezTo>
                  <a:pt x="146" y="2"/>
                  <a:pt x="146" y="2"/>
                  <a:pt x="146" y="2"/>
                </a:cubicBezTo>
                <a:cubicBezTo>
                  <a:pt x="146" y="28"/>
                  <a:pt x="146" y="54"/>
                  <a:pt x="146" y="80"/>
                </a:cubicBezTo>
                <a:cubicBezTo>
                  <a:pt x="146" y="81"/>
                  <a:pt x="146" y="82"/>
                  <a:pt x="146" y="83"/>
                </a:cubicBezTo>
                <a:cubicBezTo>
                  <a:pt x="146" y="89"/>
                  <a:pt x="150" y="94"/>
                  <a:pt x="155" y="94"/>
                </a:cubicBezTo>
                <a:cubicBezTo>
                  <a:pt x="170" y="94"/>
                  <a:pt x="185" y="94"/>
                  <a:pt x="200" y="94"/>
                </a:cubicBezTo>
                <a:cubicBezTo>
                  <a:pt x="201" y="94"/>
                  <a:pt x="201" y="94"/>
                  <a:pt x="201" y="94"/>
                </a:cubicBezTo>
                <a:cubicBezTo>
                  <a:pt x="201" y="92"/>
                  <a:pt x="201" y="90"/>
                  <a:pt x="200" y="88"/>
                </a:cubicBezTo>
                <a:cubicBezTo>
                  <a:pt x="199" y="83"/>
                  <a:pt x="196" y="80"/>
                  <a:pt x="191" y="80"/>
                </a:cubicBezTo>
                <a:close/>
                <a:moveTo>
                  <a:pt x="262" y="17"/>
                </a:moveTo>
                <a:cubicBezTo>
                  <a:pt x="261" y="19"/>
                  <a:pt x="259" y="21"/>
                  <a:pt x="257" y="23"/>
                </a:cubicBezTo>
                <a:cubicBezTo>
                  <a:pt x="257" y="24"/>
                  <a:pt x="257" y="24"/>
                  <a:pt x="257" y="25"/>
                </a:cubicBezTo>
                <a:cubicBezTo>
                  <a:pt x="257" y="40"/>
                  <a:pt x="257" y="55"/>
                  <a:pt x="257" y="70"/>
                </a:cubicBezTo>
                <a:cubicBezTo>
                  <a:pt x="257" y="72"/>
                  <a:pt x="256" y="74"/>
                  <a:pt x="255" y="75"/>
                </a:cubicBezTo>
                <a:cubicBezTo>
                  <a:pt x="254" y="77"/>
                  <a:pt x="253" y="77"/>
                  <a:pt x="251" y="77"/>
                </a:cubicBezTo>
                <a:cubicBezTo>
                  <a:pt x="246" y="77"/>
                  <a:pt x="240" y="77"/>
                  <a:pt x="235" y="77"/>
                </a:cubicBezTo>
                <a:cubicBezTo>
                  <a:pt x="229" y="77"/>
                  <a:pt x="224" y="77"/>
                  <a:pt x="218" y="77"/>
                </a:cubicBezTo>
                <a:cubicBezTo>
                  <a:pt x="218" y="77"/>
                  <a:pt x="217" y="77"/>
                  <a:pt x="217" y="78"/>
                </a:cubicBezTo>
                <a:cubicBezTo>
                  <a:pt x="216" y="79"/>
                  <a:pt x="215" y="81"/>
                  <a:pt x="213" y="83"/>
                </a:cubicBezTo>
                <a:cubicBezTo>
                  <a:pt x="213" y="84"/>
                  <a:pt x="213" y="84"/>
                  <a:pt x="213" y="84"/>
                </a:cubicBezTo>
                <a:cubicBezTo>
                  <a:pt x="213" y="84"/>
                  <a:pt x="213" y="84"/>
                  <a:pt x="213" y="85"/>
                </a:cubicBezTo>
                <a:cubicBezTo>
                  <a:pt x="214" y="85"/>
                  <a:pt x="214" y="86"/>
                  <a:pt x="215" y="86"/>
                </a:cubicBezTo>
                <a:cubicBezTo>
                  <a:pt x="224" y="93"/>
                  <a:pt x="233" y="95"/>
                  <a:pt x="242" y="93"/>
                </a:cubicBezTo>
                <a:cubicBezTo>
                  <a:pt x="251" y="90"/>
                  <a:pt x="257" y="85"/>
                  <a:pt x="263" y="77"/>
                </a:cubicBezTo>
                <a:cubicBezTo>
                  <a:pt x="268" y="68"/>
                  <a:pt x="271" y="59"/>
                  <a:pt x="271" y="48"/>
                </a:cubicBezTo>
                <a:cubicBezTo>
                  <a:pt x="271" y="37"/>
                  <a:pt x="268" y="28"/>
                  <a:pt x="264" y="20"/>
                </a:cubicBezTo>
                <a:cubicBezTo>
                  <a:pt x="263" y="19"/>
                  <a:pt x="263" y="18"/>
                  <a:pt x="262" y="17"/>
                </a:cubicBezTo>
                <a:close/>
                <a:moveTo>
                  <a:pt x="212" y="69"/>
                </a:moveTo>
                <a:cubicBezTo>
                  <a:pt x="212" y="67"/>
                  <a:pt x="212" y="65"/>
                  <a:pt x="212" y="63"/>
                </a:cubicBezTo>
                <a:cubicBezTo>
                  <a:pt x="212" y="24"/>
                  <a:pt x="212" y="24"/>
                  <a:pt x="212" y="24"/>
                </a:cubicBezTo>
                <a:cubicBezTo>
                  <a:pt x="212" y="20"/>
                  <a:pt x="215" y="17"/>
                  <a:pt x="218" y="17"/>
                </a:cubicBezTo>
                <a:cubicBezTo>
                  <a:pt x="229" y="17"/>
                  <a:pt x="239" y="17"/>
                  <a:pt x="250" y="17"/>
                </a:cubicBezTo>
                <a:cubicBezTo>
                  <a:pt x="251" y="17"/>
                  <a:pt x="251" y="17"/>
                  <a:pt x="252" y="16"/>
                </a:cubicBezTo>
                <a:cubicBezTo>
                  <a:pt x="253" y="14"/>
                  <a:pt x="255" y="12"/>
                  <a:pt x="256" y="10"/>
                </a:cubicBezTo>
                <a:cubicBezTo>
                  <a:pt x="256" y="10"/>
                  <a:pt x="256" y="10"/>
                  <a:pt x="256" y="10"/>
                </a:cubicBezTo>
                <a:cubicBezTo>
                  <a:pt x="256" y="9"/>
                  <a:pt x="256" y="9"/>
                  <a:pt x="256" y="9"/>
                </a:cubicBezTo>
                <a:cubicBezTo>
                  <a:pt x="250" y="4"/>
                  <a:pt x="244" y="1"/>
                  <a:pt x="237" y="0"/>
                </a:cubicBezTo>
                <a:cubicBezTo>
                  <a:pt x="232" y="0"/>
                  <a:pt x="226" y="1"/>
                  <a:pt x="221" y="4"/>
                </a:cubicBezTo>
                <a:cubicBezTo>
                  <a:pt x="214" y="8"/>
                  <a:pt x="208" y="14"/>
                  <a:pt x="204" y="23"/>
                </a:cubicBezTo>
                <a:cubicBezTo>
                  <a:pt x="199" y="32"/>
                  <a:pt x="198" y="42"/>
                  <a:pt x="199" y="53"/>
                </a:cubicBezTo>
                <a:cubicBezTo>
                  <a:pt x="200" y="61"/>
                  <a:pt x="202" y="69"/>
                  <a:pt x="206" y="75"/>
                </a:cubicBezTo>
                <a:cubicBezTo>
                  <a:pt x="206" y="76"/>
                  <a:pt x="207" y="76"/>
                  <a:pt x="207" y="77"/>
                </a:cubicBezTo>
                <a:cubicBezTo>
                  <a:pt x="207" y="76"/>
                  <a:pt x="207" y="76"/>
                  <a:pt x="207" y="76"/>
                </a:cubicBezTo>
                <a:cubicBezTo>
                  <a:pt x="209" y="74"/>
                  <a:pt x="211" y="72"/>
                  <a:pt x="212" y="69"/>
                </a:cubicBezTo>
                <a:cubicBezTo>
                  <a:pt x="212" y="69"/>
                  <a:pt x="212" y="69"/>
                  <a:pt x="212" y="69"/>
                </a:cubicBezTo>
                <a:close/>
                <a:moveTo>
                  <a:pt x="255" y="19"/>
                </a:moveTo>
                <a:cubicBezTo>
                  <a:pt x="256" y="19"/>
                  <a:pt x="256" y="20"/>
                  <a:pt x="257" y="20"/>
                </a:cubicBezTo>
                <a:cubicBezTo>
                  <a:pt x="258" y="19"/>
                  <a:pt x="259" y="17"/>
                  <a:pt x="261" y="15"/>
                </a:cubicBezTo>
                <a:cubicBezTo>
                  <a:pt x="260" y="14"/>
                  <a:pt x="259" y="13"/>
                  <a:pt x="258" y="11"/>
                </a:cubicBezTo>
                <a:cubicBezTo>
                  <a:pt x="257" y="13"/>
                  <a:pt x="255" y="15"/>
                  <a:pt x="254" y="17"/>
                </a:cubicBezTo>
                <a:cubicBezTo>
                  <a:pt x="254" y="18"/>
                  <a:pt x="255" y="18"/>
                  <a:pt x="255" y="19"/>
                </a:cubicBezTo>
                <a:close/>
                <a:moveTo>
                  <a:pt x="214" y="75"/>
                </a:moveTo>
                <a:cubicBezTo>
                  <a:pt x="213" y="74"/>
                  <a:pt x="213" y="74"/>
                  <a:pt x="213" y="73"/>
                </a:cubicBezTo>
                <a:cubicBezTo>
                  <a:pt x="211" y="75"/>
                  <a:pt x="210" y="77"/>
                  <a:pt x="208" y="79"/>
                </a:cubicBezTo>
                <a:cubicBezTo>
                  <a:pt x="209" y="80"/>
                  <a:pt x="210" y="81"/>
                  <a:pt x="211" y="82"/>
                </a:cubicBezTo>
                <a:cubicBezTo>
                  <a:pt x="212" y="80"/>
                  <a:pt x="214" y="79"/>
                  <a:pt x="215" y="77"/>
                </a:cubicBezTo>
                <a:cubicBezTo>
                  <a:pt x="215" y="76"/>
                  <a:pt x="214" y="76"/>
                  <a:pt x="214" y="75"/>
                </a:cubicBezTo>
                <a:close/>
                <a:moveTo>
                  <a:pt x="330" y="91"/>
                </a:moveTo>
                <a:cubicBezTo>
                  <a:pt x="331" y="91"/>
                  <a:pt x="331" y="91"/>
                  <a:pt x="331" y="91"/>
                </a:cubicBezTo>
                <a:cubicBezTo>
                  <a:pt x="331" y="94"/>
                  <a:pt x="331" y="94"/>
                  <a:pt x="331" y="94"/>
                </a:cubicBezTo>
                <a:cubicBezTo>
                  <a:pt x="331" y="94"/>
                  <a:pt x="331" y="94"/>
                  <a:pt x="331" y="94"/>
                </a:cubicBezTo>
                <a:cubicBezTo>
                  <a:pt x="331" y="91"/>
                  <a:pt x="331" y="91"/>
                  <a:pt x="331" y="91"/>
                </a:cubicBezTo>
                <a:cubicBezTo>
                  <a:pt x="332" y="91"/>
                  <a:pt x="332" y="91"/>
                  <a:pt x="332" y="91"/>
                </a:cubicBezTo>
                <a:cubicBezTo>
                  <a:pt x="332" y="90"/>
                  <a:pt x="332" y="90"/>
                  <a:pt x="332" y="90"/>
                </a:cubicBezTo>
                <a:cubicBezTo>
                  <a:pt x="330" y="90"/>
                  <a:pt x="330" y="90"/>
                  <a:pt x="330" y="90"/>
                </a:cubicBezTo>
                <a:lnTo>
                  <a:pt x="330" y="91"/>
                </a:lnTo>
                <a:close/>
                <a:moveTo>
                  <a:pt x="335" y="90"/>
                </a:moveTo>
                <a:cubicBezTo>
                  <a:pt x="334" y="93"/>
                  <a:pt x="334" y="93"/>
                  <a:pt x="334" y="93"/>
                </a:cubicBezTo>
                <a:cubicBezTo>
                  <a:pt x="334" y="90"/>
                  <a:pt x="334" y="90"/>
                  <a:pt x="334" y="90"/>
                </a:cubicBezTo>
                <a:cubicBezTo>
                  <a:pt x="333" y="90"/>
                  <a:pt x="333" y="90"/>
                  <a:pt x="333" y="90"/>
                </a:cubicBezTo>
                <a:cubicBezTo>
                  <a:pt x="333" y="94"/>
                  <a:pt x="333" y="94"/>
                  <a:pt x="333" y="94"/>
                </a:cubicBezTo>
                <a:cubicBezTo>
                  <a:pt x="333" y="94"/>
                  <a:pt x="333" y="94"/>
                  <a:pt x="333" y="94"/>
                </a:cubicBezTo>
                <a:cubicBezTo>
                  <a:pt x="333" y="93"/>
                  <a:pt x="333" y="93"/>
                  <a:pt x="333" y="93"/>
                </a:cubicBezTo>
                <a:cubicBezTo>
                  <a:pt x="333" y="91"/>
                  <a:pt x="333" y="91"/>
                  <a:pt x="333" y="91"/>
                </a:cubicBezTo>
                <a:cubicBezTo>
                  <a:pt x="334" y="94"/>
                  <a:pt x="334" y="94"/>
                  <a:pt x="334" y="94"/>
                </a:cubicBezTo>
                <a:cubicBezTo>
                  <a:pt x="334" y="94"/>
                  <a:pt x="334" y="94"/>
                  <a:pt x="334" y="94"/>
                </a:cubicBezTo>
                <a:cubicBezTo>
                  <a:pt x="335" y="91"/>
                  <a:pt x="335" y="91"/>
                  <a:pt x="335" y="91"/>
                </a:cubicBezTo>
                <a:cubicBezTo>
                  <a:pt x="335" y="93"/>
                  <a:pt x="335" y="93"/>
                  <a:pt x="335" y="93"/>
                </a:cubicBezTo>
                <a:cubicBezTo>
                  <a:pt x="335" y="94"/>
                  <a:pt x="335" y="94"/>
                  <a:pt x="335" y="94"/>
                </a:cubicBezTo>
                <a:cubicBezTo>
                  <a:pt x="336" y="94"/>
                  <a:pt x="336" y="94"/>
                  <a:pt x="336" y="94"/>
                </a:cubicBezTo>
                <a:cubicBezTo>
                  <a:pt x="336" y="90"/>
                  <a:pt x="336" y="90"/>
                  <a:pt x="336" y="90"/>
                </a:cubicBezTo>
                <a:lnTo>
                  <a:pt x="335" y="90"/>
                </a:lnTo>
                <a:close/>
              </a:path>
            </a:pathLst>
          </a:custGeom>
          <a:solidFill>
            <a:schemeClr val="tx2"/>
          </a:solidFill>
          <a:ln w="9525">
            <a:no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ＭＳ Ｐゴシック" charset="0"/>
              <a:sym typeface="Arial"/>
            </a:endParaRPr>
          </a:p>
        </p:txBody>
      </p:sp>
      <p:sp>
        <p:nvSpPr>
          <p:cNvPr id="15" name="Freeform 60">
            <a:extLst>
              <a:ext uri="{FF2B5EF4-FFF2-40B4-BE49-F238E27FC236}">
                <a16:creationId xmlns:a16="http://schemas.microsoft.com/office/drawing/2014/main" id="{2757B371-948C-E747-9280-9C1372B8E82E}"/>
              </a:ext>
            </a:extLst>
          </p:cNvPr>
          <p:cNvSpPr>
            <a:spLocks/>
          </p:cNvSpPr>
          <p:nvPr/>
        </p:nvSpPr>
        <p:spPr bwMode="auto">
          <a:xfrm flipH="1">
            <a:off x="9959474" y="1763836"/>
            <a:ext cx="2002983" cy="936525"/>
          </a:xfrm>
          <a:custGeom>
            <a:avLst/>
            <a:gdLst>
              <a:gd name="connsiteX0" fmla="*/ 733902 w 1210718"/>
              <a:gd name="connsiteY0" fmla="*/ 0 h 599742"/>
              <a:gd name="connsiteX1" fmla="*/ 882562 w 1210718"/>
              <a:gd name="connsiteY1" fmla="*/ 0 h 599742"/>
              <a:gd name="connsiteX2" fmla="*/ 1015293 w 1210718"/>
              <a:gd name="connsiteY2" fmla="*/ 127622 h 599742"/>
              <a:gd name="connsiteX3" fmla="*/ 1006776 w 1210718"/>
              <a:gd name="connsiteY3" fmla="*/ 170827 h 599742"/>
              <a:gd name="connsiteX4" fmla="*/ 1046952 w 1210718"/>
              <a:gd name="connsiteY4" fmla="*/ 178771 h 599742"/>
              <a:gd name="connsiteX5" fmla="*/ 1127605 w 1210718"/>
              <a:gd name="connsiteY5" fmla="*/ 301408 h 599742"/>
              <a:gd name="connsiteX6" fmla="*/ 1118155 w 1210718"/>
              <a:gd name="connsiteY6" fmla="*/ 346509 h 599742"/>
              <a:gd name="connsiteX7" fmla="*/ 1132310 w 1210718"/>
              <a:gd name="connsiteY7" fmla="*/ 349483 h 599742"/>
              <a:gd name="connsiteX8" fmla="*/ 1210718 w 1210718"/>
              <a:gd name="connsiteY8" fmla="*/ 472120 h 599742"/>
              <a:gd name="connsiteX9" fmla="*/ 1083274 w 1210718"/>
              <a:gd name="connsiteY9" fmla="*/ 599742 h 599742"/>
              <a:gd name="connsiteX10" fmla="*/ 127444 w 1210718"/>
              <a:gd name="connsiteY10" fmla="*/ 599742 h 599742"/>
              <a:gd name="connsiteX11" fmla="*/ 0 w 1210718"/>
              <a:gd name="connsiteY11" fmla="*/ 472120 h 599742"/>
              <a:gd name="connsiteX12" fmla="*/ 127444 w 1210718"/>
              <a:gd name="connsiteY12" fmla="*/ 339180 h 599742"/>
              <a:gd name="connsiteX13" fmla="*/ 275151 w 1210718"/>
              <a:gd name="connsiteY13" fmla="*/ 339180 h 599742"/>
              <a:gd name="connsiteX14" fmla="*/ 267300 w 1210718"/>
              <a:gd name="connsiteY14" fmla="*/ 301408 h 599742"/>
              <a:gd name="connsiteX15" fmla="*/ 394753 w 1210718"/>
              <a:gd name="connsiteY15" fmla="*/ 168468 h 599742"/>
              <a:gd name="connsiteX16" fmla="*/ 592829 w 1210718"/>
              <a:gd name="connsiteY16" fmla="*/ 168468 h 599742"/>
              <a:gd name="connsiteX17" fmla="*/ 614468 w 1210718"/>
              <a:gd name="connsiteY17" fmla="*/ 168468 h 599742"/>
              <a:gd name="connsiteX18" fmla="*/ 606480 w 1210718"/>
              <a:gd name="connsiteY18" fmla="*/ 127622 h 599742"/>
              <a:gd name="connsiteX19" fmla="*/ 733902 w 1210718"/>
              <a:gd name="connsiteY19" fmla="*/ 0 h 59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0718" h="599742">
                <a:moveTo>
                  <a:pt x="733902" y="0"/>
                </a:moveTo>
                <a:cubicBezTo>
                  <a:pt x="882562" y="0"/>
                  <a:pt x="882562" y="0"/>
                  <a:pt x="882562" y="0"/>
                </a:cubicBezTo>
                <a:cubicBezTo>
                  <a:pt x="956891" y="0"/>
                  <a:pt x="1015293" y="58493"/>
                  <a:pt x="1015293" y="127622"/>
                </a:cubicBezTo>
                <a:lnTo>
                  <a:pt x="1006776" y="170827"/>
                </a:lnTo>
                <a:lnTo>
                  <a:pt x="1046952" y="178771"/>
                </a:lnTo>
                <a:cubicBezTo>
                  <a:pt x="1094746" y="198712"/>
                  <a:pt x="1127605" y="245573"/>
                  <a:pt x="1127605" y="301408"/>
                </a:cubicBezTo>
                <a:lnTo>
                  <a:pt x="1118155" y="346509"/>
                </a:lnTo>
                <a:lnTo>
                  <a:pt x="1132310" y="349483"/>
                </a:lnTo>
                <a:cubicBezTo>
                  <a:pt x="1177862" y="369424"/>
                  <a:pt x="1210718" y="416285"/>
                  <a:pt x="1210718" y="472120"/>
                </a:cubicBezTo>
                <a:cubicBezTo>
                  <a:pt x="1210718" y="541249"/>
                  <a:pt x="1152306" y="599742"/>
                  <a:pt x="1083274" y="599742"/>
                </a:cubicBezTo>
                <a:cubicBezTo>
                  <a:pt x="127444" y="599742"/>
                  <a:pt x="127444" y="599742"/>
                  <a:pt x="127444" y="599742"/>
                </a:cubicBezTo>
                <a:cubicBezTo>
                  <a:pt x="58412" y="599742"/>
                  <a:pt x="0" y="541249"/>
                  <a:pt x="0" y="472120"/>
                </a:cubicBezTo>
                <a:cubicBezTo>
                  <a:pt x="0" y="397674"/>
                  <a:pt x="58412" y="339180"/>
                  <a:pt x="127444" y="339180"/>
                </a:cubicBezTo>
                <a:lnTo>
                  <a:pt x="275151" y="339180"/>
                </a:lnTo>
                <a:lnTo>
                  <a:pt x="267300" y="301408"/>
                </a:lnTo>
                <a:cubicBezTo>
                  <a:pt x="267300" y="226961"/>
                  <a:pt x="325716" y="168468"/>
                  <a:pt x="394753" y="168468"/>
                </a:cubicBezTo>
                <a:cubicBezTo>
                  <a:pt x="469764" y="168468"/>
                  <a:pt x="535399" y="168468"/>
                  <a:pt x="592829" y="168468"/>
                </a:cubicBezTo>
                <a:lnTo>
                  <a:pt x="614468" y="168468"/>
                </a:lnTo>
                <a:lnTo>
                  <a:pt x="606480" y="127622"/>
                </a:lnTo>
                <a:cubicBezTo>
                  <a:pt x="606480" y="58493"/>
                  <a:pt x="664882" y="0"/>
                  <a:pt x="733902" y="0"/>
                </a:cubicBezTo>
                <a:close/>
              </a:path>
            </a:pathLst>
          </a:custGeom>
          <a:solidFill>
            <a:srgbClr val="EDF1F7"/>
          </a:solidFill>
          <a:ln>
            <a:solidFill>
              <a:schemeClr val="bg1"/>
            </a:solidFill>
          </a:ln>
        </p:spPr>
        <p:txBody>
          <a:bodyPr vert="horz" wrap="square" lIns="121920" tIns="60960" rIns="243840" bIns="60960" numCol="1" anchor="b" anchorCtr="0" compatLnSpc="1">
            <a:prstTxWarp prst="textNoShape">
              <a:avLst/>
            </a:prstTxWarp>
            <a:noAutofit/>
          </a:bodyPr>
          <a:lstStyle/>
          <a:p>
            <a:pPr defTabSz="609585" fontAlgn="base">
              <a:spcBef>
                <a:spcPct val="0"/>
              </a:spcBef>
              <a:spcAft>
                <a:spcPct val="0"/>
              </a:spcAft>
              <a:defRPr/>
            </a:pPr>
            <a:r>
              <a:rPr lang="en-US" sz="1600">
                <a:solidFill>
                  <a:srgbClr val="14284A"/>
                </a:solidFill>
                <a:latin typeface="CiscoSansTT ExtraLight" panose="020B0303020201020303" pitchFamily="34" charset="0"/>
                <a:ea typeface="ＭＳ Ｐゴシック" charset="0"/>
                <a:cs typeface="CiscoSansTT ExtraLight" panose="020B0303020201020303" pitchFamily="34" charset="0"/>
                <a:sym typeface="Arial"/>
              </a:rPr>
              <a:t>    Cisco </a:t>
            </a:r>
            <a:br>
              <a:rPr lang="en-US" sz="1600">
                <a:solidFill>
                  <a:srgbClr val="14284A"/>
                </a:solidFill>
                <a:latin typeface="CiscoSansTT ExtraLight" panose="020B0303020201020303" pitchFamily="34" charset="0"/>
                <a:ea typeface="ＭＳ Ｐゴシック" charset="0"/>
                <a:cs typeface="CiscoSansTT ExtraLight" panose="020B0303020201020303" pitchFamily="34" charset="0"/>
                <a:sym typeface="Arial"/>
              </a:rPr>
            </a:br>
            <a:r>
              <a:rPr lang="en-US" sz="1600">
                <a:solidFill>
                  <a:srgbClr val="14284A"/>
                </a:solidFill>
                <a:latin typeface="CiscoSansTT ExtraLight" panose="020B0303020201020303" pitchFamily="34" charset="0"/>
                <a:ea typeface="ＭＳ Ｐゴシック" charset="0"/>
                <a:cs typeface="CiscoSansTT ExtraLight" panose="020B0303020201020303" pitchFamily="34" charset="0"/>
                <a:sym typeface="Arial"/>
              </a:rPr>
              <a:t>    SOAR</a:t>
            </a:r>
            <a:r>
              <a:rPr lang="en-US" sz="1600" kern="0">
                <a:solidFill>
                  <a:srgbClr val="14284A"/>
                </a:solidFill>
                <a:latin typeface="CiscoSansTT ExtraLight" panose="020B0303020201020303" pitchFamily="34" charset="0"/>
                <a:cs typeface="CiscoSansTT ExtraLight" panose="020B0303020201020303" pitchFamily="34" charset="0"/>
                <a:sym typeface="Arial"/>
              </a:rPr>
              <a:t> </a:t>
            </a:r>
            <a:r>
              <a:rPr lang="en-US" sz="1600">
                <a:solidFill>
                  <a:srgbClr val="14284A"/>
                </a:solidFill>
                <a:latin typeface="CiscoSansTT ExtraLight" panose="020B0303020201020303" pitchFamily="34" charset="0"/>
                <a:ea typeface="ＭＳ Ｐゴシック" charset="0"/>
                <a:cs typeface="CiscoSansTT ExtraLight" panose="020B0303020201020303" pitchFamily="34" charset="0"/>
                <a:sym typeface="Arial"/>
              </a:rPr>
              <a:t>Platform</a:t>
            </a:r>
          </a:p>
        </p:txBody>
      </p:sp>
      <p:sp>
        <p:nvSpPr>
          <p:cNvPr id="16" name="Rounded Rectangle 46">
            <a:extLst>
              <a:ext uri="{FF2B5EF4-FFF2-40B4-BE49-F238E27FC236}">
                <a16:creationId xmlns:a16="http://schemas.microsoft.com/office/drawing/2014/main" id="{60F17F03-894C-7045-A3E2-4FC7961B14EF}"/>
              </a:ext>
            </a:extLst>
          </p:cNvPr>
          <p:cNvSpPr/>
          <p:nvPr/>
        </p:nvSpPr>
        <p:spPr>
          <a:xfrm>
            <a:off x="8712435" y="2987767"/>
            <a:ext cx="1275053" cy="230797"/>
          </a:xfrm>
          <a:prstGeom prst="roundRect">
            <a:avLst>
              <a:gd name="adj" fmla="val 5000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55" fontAlgn="base">
              <a:spcBef>
                <a:spcPct val="0"/>
              </a:spcBef>
              <a:spcAft>
                <a:spcPct val="0"/>
              </a:spcAft>
              <a:defRPr/>
            </a:pPr>
            <a:r>
              <a:rPr lang="en-US" sz="1200">
                <a:solidFill>
                  <a:srgbClr val="FFFFFF"/>
                </a:solidFill>
                <a:latin typeface="CiscoSansTT ExtraLight" panose="020B0303020201020303" pitchFamily="34" charset="0"/>
                <a:cs typeface="CiscoSansTT ExtraLight" panose="020B0303020201020303" pitchFamily="34" charset="0"/>
                <a:sym typeface="Arial"/>
              </a:rPr>
              <a:t>Threat Grid</a:t>
            </a:r>
          </a:p>
        </p:txBody>
      </p:sp>
      <p:pic>
        <p:nvPicPr>
          <p:cNvPr id="17" name="Picture 16">
            <a:extLst>
              <a:ext uri="{FF2B5EF4-FFF2-40B4-BE49-F238E27FC236}">
                <a16:creationId xmlns:a16="http://schemas.microsoft.com/office/drawing/2014/main" id="{36D239C0-A355-4441-8C00-79567A0C584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570844" y="2934844"/>
            <a:ext cx="360000" cy="360000"/>
          </a:xfrm>
          <a:prstGeom prst="rect">
            <a:avLst/>
          </a:prstGeom>
        </p:spPr>
      </p:pic>
      <p:sp>
        <p:nvSpPr>
          <p:cNvPr id="18" name="Freeform 193">
            <a:extLst>
              <a:ext uri="{FF2B5EF4-FFF2-40B4-BE49-F238E27FC236}">
                <a16:creationId xmlns:a16="http://schemas.microsoft.com/office/drawing/2014/main" id="{554EC59A-28E9-FB45-9ECA-61D605736029}"/>
              </a:ext>
            </a:extLst>
          </p:cNvPr>
          <p:cNvSpPr>
            <a:spLocks/>
          </p:cNvSpPr>
          <p:nvPr/>
        </p:nvSpPr>
        <p:spPr bwMode="auto">
          <a:xfrm flipH="1">
            <a:off x="6859968" y="1563221"/>
            <a:ext cx="2090573" cy="1201703"/>
          </a:xfrm>
          <a:custGeom>
            <a:avLst/>
            <a:gdLst>
              <a:gd name="connsiteX0" fmla="*/ 733902 w 1210718"/>
              <a:gd name="connsiteY0" fmla="*/ 0 h 599742"/>
              <a:gd name="connsiteX1" fmla="*/ 882562 w 1210718"/>
              <a:gd name="connsiteY1" fmla="*/ 0 h 599742"/>
              <a:gd name="connsiteX2" fmla="*/ 1015293 w 1210718"/>
              <a:gd name="connsiteY2" fmla="*/ 127622 h 599742"/>
              <a:gd name="connsiteX3" fmla="*/ 1006776 w 1210718"/>
              <a:gd name="connsiteY3" fmla="*/ 170827 h 599742"/>
              <a:gd name="connsiteX4" fmla="*/ 1046952 w 1210718"/>
              <a:gd name="connsiteY4" fmla="*/ 178771 h 599742"/>
              <a:gd name="connsiteX5" fmla="*/ 1127605 w 1210718"/>
              <a:gd name="connsiteY5" fmla="*/ 301408 h 599742"/>
              <a:gd name="connsiteX6" fmla="*/ 1118155 w 1210718"/>
              <a:gd name="connsiteY6" fmla="*/ 346509 h 599742"/>
              <a:gd name="connsiteX7" fmla="*/ 1132310 w 1210718"/>
              <a:gd name="connsiteY7" fmla="*/ 349483 h 599742"/>
              <a:gd name="connsiteX8" fmla="*/ 1210718 w 1210718"/>
              <a:gd name="connsiteY8" fmla="*/ 472120 h 599742"/>
              <a:gd name="connsiteX9" fmla="*/ 1083274 w 1210718"/>
              <a:gd name="connsiteY9" fmla="*/ 599742 h 599742"/>
              <a:gd name="connsiteX10" fmla="*/ 127444 w 1210718"/>
              <a:gd name="connsiteY10" fmla="*/ 599742 h 599742"/>
              <a:gd name="connsiteX11" fmla="*/ 0 w 1210718"/>
              <a:gd name="connsiteY11" fmla="*/ 472120 h 599742"/>
              <a:gd name="connsiteX12" fmla="*/ 127444 w 1210718"/>
              <a:gd name="connsiteY12" fmla="*/ 339180 h 599742"/>
              <a:gd name="connsiteX13" fmla="*/ 275151 w 1210718"/>
              <a:gd name="connsiteY13" fmla="*/ 339180 h 599742"/>
              <a:gd name="connsiteX14" fmla="*/ 267300 w 1210718"/>
              <a:gd name="connsiteY14" fmla="*/ 301408 h 599742"/>
              <a:gd name="connsiteX15" fmla="*/ 394753 w 1210718"/>
              <a:gd name="connsiteY15" fmla="*/ 168468 h 599742"/>
              <a:gd name="connsiteX16" fmla="*/ 592829 w 1210718"/>
              <a:gd name="connsiteY16" fmla="*/ 168468 h 599742"/>
              <a:gd name="connsiteX17" fmla="*/ 614468 w 1210718"/>
              <a:gd name="connsiteY17" fmla="*/ 168468 h 599742"/>
              <a:gd name="connsiteX18" fmla="*/ 606480 w 1210718"/>
              <a:gd name="connsiteY18" fmla="*/ 127622 h 599742"/>
              <a:gd name="connsiteX19" fmla="*/ 733902 w 1210718"/>
              <a:gd name="connsiteY19" fmla="*/ 0 h 59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0718" h="599742">
                <a:moveTo>
                  <a:pt x="733902" y="0"/>
                </a:moveTo>
                <a:cubicBezTo>
                  <a:pt x="882562" y="0"/>
                  <a:pt x="882562" y="0"/>
                  <a:pt x="882562" y="0"/>
                </a:cubicBezTo>
                <a:cubicBezTo>
                  <a:pt x="956891" y="0"/>
                  <a:pt x="1015293" y="58493"/>
                  <a:pt x="1015293" y="127622"/>
                </a:cubicBezTo>
                <a:lnTo>
                  <a:pt x="1006776" y="170827"/>
                </a:lnTo>
                <a:lnTo>
                  <a:pt x="1046952" y="178771"/>
                </a:lnTo>
                <a:cubicBezTo>
                  <a:pt x="1094746" y="198712"/>
                  <a:pt x="1127605" y="245573"/>
                  <a:pt x="1127605" y="301408"/>
                </a:cubicBezTo>
                <a:lnTo>
                  <a:pt x="1118155" y="346509"/>
                </a:lnTo>
                <a:lnTo>
                  <a:pt x="1132310" y="349483"/>
                </a:lnTo>
                <a:cubicBezTo>
                  <a:pt x="1177862" y="369424"/>
                  <a:pt x="1210718" y="416285"/>
                  <a:pt x="1210718" y="472120"/>
                </a:cubicBezTo>
                <a:cubicBezTo>
                  <a:pt x="1210718" y="541249"/>
                  <a:pt x="1152306" y="599742"/>
                  <a:pt x="1083274" y="599742"/>
                </a:cubicBezTo>
                <a:cubicBezTo>
                  <a:pt x="127444" y="599742"/>
                  <a:pt x="127444" y="599742"/>
                  <a:pt x="127444" y="599742"/>
                </a:cubicBezTo>
                <a:cubicBezTo>
                  <a:pt x="58412" y="599742"/>
                  <a:pt x="0" y="541249"/>
                  <a:pt x="0" y="472120"/>
                </a:cubicBezTo>
                <a:cubicBezTo>
                  <a:pt x="0" y="397674"/>
                  <a:pt x="58412" y="339180"/>
                  <a:pt x="127444" y="339180"/>
                </a:cubicBezTo>
                <a:lnTo>
                  <a:pt x="275151" y="339180"/>
                </a:lnTo>
                <a:lnTo>
                  <a:pt x="267300" y="301408"/>
                </a:lnTo>
                <a:cubicBezTo>
                  <a:pt x="267300" y="226961"/>
                  <a:pt x="325716" y="168468"/>
                  <a:pt x="394753" y="168468"/>
                </a:cubicBezTo>
                <a:cubicBezTo>
                  <a:pt x="469764" y="168468"/>
                  <a:pt x="535399" y="168468"/>
                  <a:pt x="592829" y="168468"/>
                </a:cubicBezTo>
                <a:lnTo>
                  <a:pt x="614468" y="168468"/>
                </a:lnTo>
                <a:lnTo>
                  <a:pt x="606480" y="127622"/>
                </a:lnTo>
                <a:cubicBezTo>
                  <a:pt x="606480" y="58493"/>
                  <a:pt x="664882" y="0"/>
                  <a:pt x="733902" y="0"/>
                </a:cubicBezTo>
                <a:close/>
              </a:path>
            </a:pathLst>
          </a:custGeom>
          <a:solidFill>
            <a:srgbClr val="EDF1F7"/>
          </a:solidFill>
          <a:ln>
            <a:solidFill>
              <a:schemeClr val="bg1"/>
            </a:solidFill>
          </a:ln>
        </p:spPr>
        <p:txBody>
          <a:bodyPr vert="horz" wrap="square" lIns="0" tIns="60960" rIns="60960" bIns="12192" numCol="1" anchor="ctr" anchorCtr="0" compatLnSpc="1">
            <a:prstTxWarp prst="textNoShape">
              <a:avLst/>
            </a:prstTxWarp>
            <a:noAutofit/>
          </a:bodyPr>
          <a:lstStyle/>
          <a:p>
            <a:pPr algn="ctr" defTabSz="1219170">
              <a:buClr>
                <a:srgbClr val="000000"/>
              </a:buClr>
              <a:defRPr/>
            </a:pPr>
            <a:endParaRPr lang="en-US" sz="1600" kern="0">
              <a:solidFill>
                <a:srgbClr val="14284A"/>
              </a:solidFill>
              <a:latin typeface="CiscoSansTT ExtraLight" panose="020B0303020201020303" pitchFamily="34" charset="0"/>
              <a:cs typeface="CiscoSansTT ExtraLight" panose="020B0303020201020303" pitchFamily="34" charset="0"/>
              <a:sym typeface="Arial"/>
            </a:endParaRPr>
          </a:p>
          <a:p>
            <a:pPr algn="ctr" defTabSz="1219170">
              <a:buClr>
                <a:srgbClr val="000000"/>
              </a:buClr>
              <a:defRPr/>
            </a:pPr>
            <a:r>
              <a:rPr lang="en-US" sz="1600" kern="0">
                <a:solidFill>
                  <a:srgbClr val="14284A"/>
                </a:solidFill>
                <a:latin typeface="CiscoSansTT ExtraLight" panose="020B0303020201020303" pitchFamily="34" charset="0"/>
                <a:cs typeface="CiscoSansTT ExtraLight" panose="020B0303020201020303" pitchFamily="34" charset="0"/>
                <a:sym typeface="Arial"/>
              </a:rPr>
              <a:t>Cisco® MDR</a:t>
            </a:r>
          </a:p>
          <a:p>
            <a:pPr algn="ctr" defTabSz="1219170">
              <a:buClr>
                <a:srgbClr val="000000"/>
              </a:buClr>
              <a:defRPr/>
            </a:pPr>
            <a:r>
              <a:rPr lang="en-US" sz="1600" kern="0">
                <a:solidFill>
                  <a:srgbClr val="14284A"/>
                </a:solidFill>
                <a:latin typeface="CiscoSansTT ExtraLight" panose="020B0303020201020303" pitchFamily="34" charset="0"/>
                <a:cs typeface="CiscoSansTT ExtraLight" panose="020B0303020201020303" pitchFamily="34" charset="0"/>
                <a:sym typeface="Arial"/>
              </a:rPr>
              <a:t>Platform</a:t>
            </a:r>
          </a:p>
        </p:txBody>
      </p:sp>
      <p:sp>
        <p:nvSpPr>
          <p:cNvPr id="19" name="TextBox 18">
            <a:extLst>
              <a:ext uri="{FF2B5EF4-FFF2-40B4-BE49-F238E27FC236}">
                <a16:creationId xmlns:a16="http://schemas.microsoft.com/office/drawing/2014/main" id="{A3A46ED0-66F5-AA49-BBCE-848D76E3FFE2}"/>
              </a:ext>
            </a:extLst>
          </p:cNvPr>
          <p:cNvSpPr txBox="1"/>
          <p:nvPr/>
        </p:nvSpPr>
        <p:spPr>
          <a:xfrm>
            <a:off x="10975940" y="2803928"/>
            <a:ext cx="876816" cy="553997"/>
          </a:xfrm>
          <a:prstGeom prst="rect">
            <a:avLst/>
          </a:prstGeom>
          <a:noFill/>
        </p:spPr>
        <p:txBody>
          <a:bodyPr wrap="square" lIns="0" tIns="0" rIns="0" bIns="0" rtlCol="0">
            <a:noAutofit/>
          </a:bodyPr>
          <a:lstStyle/>
          <a:p>
            <a:pPr defTabSz="609585" fontAlgn="base">
              <a:spcBef>
                <a:spcPct val="0"/>
              </a:spcBef>
              <a:spcAft>
                <a:spcPct val="0"/>
              </a:spcAft>
              <a:defRPr/>
            </a:pPr>
            <a:r>
              <a:rPr lang="en-US" sz="1067">
                <a:solidFill>
                  <a:srgbClr val="005073"/>
                </a:solidFill>
                <a:latin typeface="CiscoSansTT ExtraLight" panose="020B0303020201020303" pitchFamily="34" charset="0"/>
                <a:ea typeface="ＭＳ Ｐゴシック" charset="0"/>
                <a:cs typeface="CiscoSansTT ExtraLight" panose="020B0303020201020303" pitchFamily="34" charset="0"/>
                <a:sym typeface="Arial"/>
              </a:rPr>
              <a:t>Response Action Catalog</a:t>
            </a:r>
          </a:p>
        </p:txBody>
      </p:sp>
      <p:sp>
        <p:nvSpPr>
          <p:cNvPr id="32" name="Arc 128">
            <a:extLst>
              <a:ext uri="{FF2B5EF4-FFF2-40B4-BE49-F238E27FC236}">
                <a16:creationId xmlns:a16="http://schemas.microsoft.com/office/drawing/2014/main" id="{A98DEE51-310B-5141-9FF8-3728CECA66B1}"/>
              </a:ext>
            </a:extLst>
          </p:cNvPr>
          <p:cNvSpPr/>
          <p:nvPr/>
        </p:nvSpPr>
        <p:spPr>
          <a:xfrm rot="18292575" flipH="1">
            <a:off x="8056169" y="2950970"/>
            <a:ext cx="552127" cy="806165"/>
          </a:xfrm>
          <a:custGeom>
            <a:avLst/>
            <a:gdLst>
              <a:gd name="connsiteX0" fmla="*/ 379259 w 758519"/>
              <a:gd name="connsiteY0" fmla="*/ 0 h 758519"/>
              <a:gd name="connsiteX1" fmla="*/ 758519 w 758519"/>
              <a:gd name="connsiteY1" fmla="*/ 379260 h 758519"/>
              <a:gd name="connsiteX2" fmla="*/ 379260 w 758519"/>
              <a:gd name="connsiteY2" fmla="*/ 379260 h 758519"/>
              <a:gd name="connsiteX3" fmla="*/ 379259 w 758519"/>
              <a:gd name="connsiteY3" fmla="*/ 0 h 758519"/>
              <a:gd name="connsiteX0" fmla="*/ 379259 w 758519"/>
              <a:gd name="connsiteY0" fmla="*/ 0 h 758519"/>
              <a:gd name="connsiteX1" fmla="*/ 758519 w 758519"/>
              <a:gd name="connsiteY1" fmla="*/ 379260 h 758519"/>
              <a:gd name="connsiteX0" fmla="*/ 0 w 414781"/>
              <a:gd name="connsiteY0" fmla="*/ 0 h 379260"/>
              <a:gd name="connsiteX1" fmla="*/ 379260 w 414781"/>
              <a:gd name="connsiteY1" fmla="*/ 379260 h 379260"/>
              <a:gd name="connsiteX2" fmla="*/ 1 w 414781"/>
              <a:gd name="connsiteY2" fmla="*/ 379260 h 379260"/>
              <a:gd name="connsiteX3" fmla="*/ 0 w 414781"/>
              <a:gd name="connsiteY3" fmla="*/ 0 h 379260"/>
              <a:gd name="connsiteX0" fmla="*/ 0 w 414781"/>
              <a:gd name="connsiteY0" fmla="*/ 0 h 379260"/>
              <a:gd name="connsiteX1" fmla="*/ 414781 w 414781"/>
              <a:gd name="connsiteY1" fmla="*/ 322746 h 379260"/>
              <a:gd name="connsiteX0" fmla="*/ 0 w 414781"/>
              <a:gd name="connsiteY0" fmla="*/ 0 h 379260"/>
              <a:gd name="connsiteX1" fmla="*/ 379260 w 414781"/>
              <a:gd name="connsiteY1" fmla="*/ 379260 h 379260"/>
              <a:gd name="connsiteX2" fmla="*/ 1 w 414781"/>
              <a:gd name="connsiteY2" fmla="*/ 379260 h 379260"/>
              <a:gd name="connsiteX3" fmla="*/ 0 w 414781"/>
              <a:gd name="connsiteY3" fmla="*/ 0 h 379260"/>
              <a:gd name="connsiteX0" fmla="*/ 0 w 414781"/>
              <a:gd name="connsiteY0" fmla="*/ 0 h 379260"/>
              <a:gd name="connsiteX1" fmla="*/ 414781 w 414781"/>
              <a:gd name="connsiteY1" fmla="*/ 322746 h 379260"/>
              <a:gd name="connsiteX0" fmla="*/ 12472 w 427253"/>
              <a:gd name="connsiteY0" fmla="*/ 0 h 379260"/>
              <a:gd name="connsiteX1" fmla="*/ 391732 w 427253"/>
              <a:gd name="connsiteY1" fmla="*/ 379260 h 379260"/>
              <a:gd name="connsiteX2" fmla="*/ 12473 w 427253"/>
              <a:gd name="connsiteY2" fmla="*/ 379260 h 379260"/>
              <a:gd name="connsiteX3" fmla="*/ 12472 w 427253"/>
              <a:gd name="connsiteY3" fmla="*/ 0 h 379260"/>
              <a:gd name="connsiteX0" fmla="*/ 0 w 427253"/>
              <a:gd name="connsiteY0" fmla="*/ 6788 h 379260"/>
              <a:gd name="connsiteX1" fmla="*/ 427253 w 427253"/>
              <a:gd name="connsiteY1" fmla="*/ 322746 h 379260"/>
              <a:gd name="connsiteX0" fmla="*/ 12472 w 427253"/>
              <a:gd name="connsiteY0" fmla="*/ 0 h 379260"/>
              <a:gd name="connsiteX1" fmla="*/ 391732 w 427253"/>
              <a:gd name="connsiteY1" fmla="*/ 379260 h 379260"/>
              <a:gd name="connsiteX2" fmla="*/ 12473 w 427253"/>
              <a:gd name="connsiteY2" fmla="*/ 379260 h 379260"/>
              <a:gd name="connsiteX3" fmla="*/ 12472 w 427253"/>
              <a:gd name="connsiteY3" fmla="*/ 0 h 379260"/>
              <a:gd name="connsiteX0" fmla="*/ 0 w 427253"/>
              <a:gd name="connsiteY0" fmla="*/ 6788 h 379260"/>
              <a:gd name="connsiteX1" fmla="*/ 427253 w 427253"/>
              <a:gd name="connsiteY1" fmla="*/ 322746 h 379260"/>
            </a:gdLst>
            <a:ahLst/>
            <a:cxnLst>
              <a:cxn ang="0">
                <a:pos x="connsiteX0" y="connsiteY0"/>
              </a:cxn>
              <a:cxn ang="0">
                <a:pos x="connsiteX1" y="connsiteY1"/>
              </a:cxn>
            </a:cxnLst>
            <a:rect l="l" t="t" r="r" b="b"/>
            <a:pathLst>
              <a:path w="427253" h="379260" stroke="0" extrusionOk="0">
                <a:moveTo>
                  <a:pt x="12472" y="0"/>
                </a:moveTo>
                <a:cubicBezTo>
                  <a:pt x="221932" y="0"/>
                  <a:pt x="391732" y="169800"/>
                  <a:pt x="391732" y="379260"/>
                </a:cubicBezTo>
                <a:lnTo>
                  <a:pt x="12473" y="379260"/>
                </a:lnTo>
                <a:cubicBezTo>
                  <a:pt x="12473" y="252840"/>
                  <a:pt x="12472" y="126420"/>
                  <a:pt x="12472" y="0"/>
                </a:cubicBezTo>
                <a:close/>
              </a:path>
              <a:path w="427253" h="379260" fill="none">
                <a:moveTo>
                  <a:pt x="0" y="6788"/>
                </a:moveTo>
                <a:cubicBezTo>
                  <a:pt x="129896" y="20995"/>
                  <a:pt x="358662" y="150620"/>
                  <a:pt x="427253" y="322746"/>
                </a:cubicBezTo>
              </a:path>
            </a:pathLst>
          </a:custGeom>
          <a:ln w="158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fontAlgn="base">
              <a:spcBef>
                <a:spcPct val="0"/>
              </a:spcBef>
              <a:spcAft>
                <a:spcPct val="0"/>
              </a:spcAft>
              <a:defRPr/>
            </a:pPr>
            <a:endParaRPr lang="en-US" sz="2400">
              <a:solidFill>
                <a:srgbClr val="282828"/>
              </a:solidFill>
              <a:latin typeface="Arial"/>
              <a:sym typeface="Arial"/>
            </a:endParaRPr>
          </a:p>
        </p:txBody>
      </p:sp>
      <p:sp>
        <p:nvSpPr>
          <p:cNvPr id="33" name="Arc 128">
            <a:extLst>
              <a:ext uri="{FF2B5EF4-FFF2-40B4-BE49-F238E27FC236}">
                <a16:creationId xmlns:a16="http://schemas.microsoft.com/office/drawing/2014/main" id="{9BB569A4-96CC-3140-A0B4-5F60D2064E70}"/>
              </a:ext>
            </a:extLst>
          </p:cNvPr>
          <p:cNvSpPr/>
          <p:nvPr/>
        </p:nvSpPr>
        <p:spPr>
          <a:xfrm rot="3307425">
            <a:off x="9865581" y="2959675"/>
            <a:ext cx="626707" cy="790323"/>
          </a:xfrm>
          <a:custGeom>
            <a:avLst/>
            <a:gdLst>
              <a:gd name="connsiteX0" fmla="*/ 379259 w 758519"/>
              <a:gd name="connsiteY0" fmla="*/ 0 h 758519"/>
              <a:gd name="connsiteX1" fmla="*/ 758519 w 758519"/>
              <a:gd name="connsiteY1" fmla="*/ 379260 h 758519"/>
              <a:gd name="connsiteX2" fmla="*/ 379260 w 758519"/>
              <a:gd name="connsiteY2" fmla="*/ 379260 h 758519"/>
              <a:gd name="connsiteX3" fmla="*/ 379259 w 758519"/>
              <a:gd name="connsiteY3" fmla="*/ 0 h 758519"/>
              <a:gd name="connsiteX0" fmla="*/ 379259 w 758519"/>
              <a:gd name="connsiteY0" fmla="*/ 0 h 758519"/>
              <a:gd name="connsiteX1" fmla="*/ 758519 w 758519"/>
              <a:gd name="connsiteY1" fmla="*/ 379260 h 758519"/>
              <a:gd name="connsiteX0" fmla="*/ 0 w 414781"/>
              <a:gd name="connsiteY0" fmla="*/ 0 h 379260"/>
              <a:gd name="connsiteX1" fmla="*/ 379260 w 414781"/>
              <a:gd name="connsiteY1" fmla="*/ 379260 h 379260"/>
              <a:gd name="connsiteX2" fmla="*/ 1 w 414781"/>
              <a:gd name="connsiteY2" fmla="*/ 379260 h 379260"/>
              <a:gd name="connsiteX3" fmla="*/ 0 w 414781"/>
              <a:gd name="connsiteY3" fmla="*/ 0 h 379260"/>
              <a:gd name="connsiteX0" fmla="*/ 0 w 414781"/>
              <a:gd name="connsiteY0" fmla="*/ 0 h 379260"/>
              <a:gd name="connsiteX1" fmla="*/ 414781 w 414781"/>
              <a:gd name="connsiteY1" fmla="*/ 322746 h 379260"/>
              <a:gd name="connsiteX0" fmla="*/ 0 w 414781"/>
              <a:gd name="connsiteY0" fmla="*/ 0 h 379260"/>
              <a:gd name="connsiteX1" fmla="*/ 379260 w 414781"/>
              <a:gd name="connsiteY1" fmla="*/ 379260 h 379260"/>
              <a:gd name="connsiteX2" fmla="*/ 1 w 414781"/>
              <a:gd name="connsiteY2" fmla="*/ 379260 h 379260"/>
              <a:gd name="connsiteX3" fmla="*/ 0 w 414781"/>
              <a:gd name="connsiteY3" fmla="*/ 0 h 379260"/>
              <a:gd name="connsiteX0" fmla="*/ 0 w 414781"/>
              <a:gd name="connsiteY0" fmla="*/ 0 h 379260"/>
              <a:gd name="connsiteX1" fmla="*/ 414781 w 414781"/>
              <a:gd name="connsiteY1" fmla="*/ 322746 h 379260"/>
              <a:gd name="connsiteX0" fmla="*/ 12472 w 427253"/>
              <a:gd name="connsiteY0" fmla="*/ 0 h 379260"/>
              <a:gd name="connsiteX1" fmla="*/ 391732 w 427253"/>
              <a:gd name="connsiteY1" fmla="*/ 379260 h 379260"/>
              <a:gd name="connsiteX2" fmla="*/ 12473 w 427253"/>
              <a:gd name="connsiteY2" fmla="*/ 379260 h 379260"/>
              <a:gd name="connsiteX3" fmla="*/ 12472 w 427253"/>
              <a:gd name="connsiteY3" fmla="*/ 0 h 379260"/>
              <a:gd name="connsiteX0" fmla="*/ 0 w 427253"/>
              <a:gd name="connsiteY0" fmla="*/ 6788 h 379260"/>
              <a:gd name="connsiteX1" fmla="*/ 427253 w 427253"/>
              <a:gd name="connsiteY1" fmla="*/ 322746 h 379260"/>
              <a:gd name="connsiteX0" fmla="*/ 12472 w 427253"/>
              <a:gd name="connsiteY0" fmla="*/ 0 h 379260"/>
              <a:gd name="connsiteX1" fmla="*/ 391732 w 427253"/>
              <a:gd name="connsiteY1" fmla="*/ 379260 h 379260"/>
              <a:gd name="connsiteX2" fmla="*/ 12473 w 427253"/>
              <a:gd name="connsiteY2" fmla="*/ 379260 h 379260"/>
              <a:gd name="connsiteX3" fmla="*/ 12472 w 427253"/>
              <a:gd name="connsiteY3" fmla="*/ 0 h 379260"/>
              <a:gd name="connsiteX0" fmla="*/ 0 w 427253"/>
              <a:gd name="connsiteY0" fmla="*/ 6788 h 379260"/>
              <a:gd name="connsiteX1" fmla="*/ 427253 w 427253"/>
              <a:gd name="connsiteY1" fmla="*/ 322746 h 379260"/>
            </a:gdLst>
            <a:ahLst/>
            <a:cxnLst>
              <a:cxn ang="0">
                <a:pos x="connsiteX0" y="connsiteY0"/>
              </a:cxn>
              <a:cxn ang="0">
                <a:pos x="connsiteX1" y="connsiteY1"/>
              </a:cxn>
            </a:cxnLst>
            <a:rect l="l" t="t" r="r" b="b"/>
            <a:pathLst>
              <a:path w="427253" h="379260" stroke="0" extrusionOk="0">
                <a:moveTo>
                  <a:pt x="12472" y="0"/>
                </a:moveTo>
                <a:cubicBezTo>
                  <a:pt x="221932" y="0"/>
                  <a:pt x="391732" y="169800"/>
                  <a:pt x="391732" y="379260"/>
                </a:cubicBezTo>
                <a:lnTo>
                  <a:pt x="12473" y="379260"/>
                </a:lnTo>
                <a:cubicBezTo>
                  <a:pt x="12473" y="252840"/>
                  <a:pt x="12472" y="126420"/>
                  <a:pt x="12472" y="0"/>
                </a:cubicBezTo>
                <a:close/>
              </a:path>
              <a:path w="427253" h="379260" fill="none">
                <a:moveTo>
                  <a:pt x="0" y="6788"/>
                </a:moveTo>
                <a:cubicBezTo>
                  <a:pt x="129896" y="20995"/>
                  <a:pt x="358662" y="150620"/>
                  <a:pt x="427253" y="322746"/>
                </a:cubicBezTo>
              </a:path>
            </a:pathLst>
          </a:custGeom>
          <a:ln w="158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fontAlgn="base">
              <a:spcBef>
                <a:spcPct val="0"/>
              </a:spcBef>
              <a:spcAft>
                <a:spcPct val="0"/>
              </a:spcAft>
              <a:defRPr/>
            </a:pPr>
            <a:endParaRPr lang="en-US" sz="2400">
              <a:solidFill>
                <a:srgbClr val="282828"/>
              </a:solidFill>
              <a:latin typeface="Arial"/>
              <a:sym typeface="Arial"/>
            </a:endParaRPr>
          </a:p>
        </p:txBody>
      </p:sp>
      <p:grpSp>
        <p:nvGrpSpPr>
          <p:cNvPr id="34" name="Group 33">
            <a:extLst>
              <a:ext uri="{FF2B5EF4-FFF2-40B4-BE49-F238E27FC236}">
                <a16:creationId xmlns:a16="http://schemas.microsoft.com/office/drawing/2014/main" id="{64267B9E-BCEE-A643-92F5-3ED585C8DCB3}"/>
              </a:ext>
            </a:extLst>
          </p:cNvPr>
          <p:cNvGrpSpPr>
            <a:grpSpLocks noChangeAspect="1"/>
          </p:cNvGrpSpPr>
          <p:nvPr/>
        </p:nvGrpSpPr>
        <p:grpSpPr>
          <a:xfrm>
            <a:off x="9075856" y="3658436"/>
            <a:ext cx="528000" cy="528000"/>
            <a:chOff x="350664" y="415781"/>
            <a:chExt cx="806188" cy="822960"/>
          </a:xfrm>
        </p:grpSpPr>
        <p:sp>
          <p:nvSpPr>
            <p:cNvPr id="35" name="Oval 34">
              <a:extLst>
                <a:ext uri="{FF2B5EF4-FFF2-40B4-BE49-F238E27FC236}">
                  <a16:creationId xmlns:a16="http://schemas.microsoft.com/office/drawing/2014/main" id="{A28083A6-FFE6-5F4F-B68F-EF316F5106A9}"/>
                </a:ext>
              </a:extLst>
            </p:cNvPr>
            <p:cNvSpPr/>
            <p:nvPr/>
          </p:nvSpPr>
          <p:spPr>
            <a:xfrm>
              <a:off x="350664" y="415781"/>
              <a:ext cx="806188" cy="82296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600">
                <a:solidFill>
                  <a:srgbClr val="005073"/>
                </a:solidFill>
                <a:latin typeface="Arial"/>
                <a:sym typeface="Arial"/>
              </a:endParaRPr>
            </a:p>
          </p:txBody>
        </p:sp>
        <p:grpSp>
          <p:nvGrpSpPr>
            <p:cNvPr id="36" name="Group 35">
              <a:extLst>
                <a:ext uri="{FF2B5EF4-FFF2-40B4-BE49-F238E27FC236}">
                  <a16:creationId xmlns:a16="http://schemas.microsoft.com/office/drawing/2014/main" id="{A768EFE3-26F5-DB46-BB70-3DFAB347FF62}"/>
                </a:ext>
              </a:extLst>
            </p:cNvPr>
            <p:cNvGrpSpPr>
              <a:grpSpLocks noChangeAspect="1"/>
            </p:cNvGrpSpPr>
            <p:nvPr/>
          </p:nvGrpSpPr>
          <p:grpSpPr>
            <a:xfrm>
              <a:off x="514272" y="552941"/>
              <a:ext cx="478972" cy="548640"/>
              <a:chOff x="4138958" y="2537288"/>
              <a:chExt cx="516653" cy="600220"/>
            </a:xfrm>
          </p:grpSpPr>
          <p:sp>
            <p:nvSpPr>
              <p:cNvPr id="37" name="Freeform 191">
                <a:extLst>
                  <a:ext uri="{FF2B5EF4-FFF2-40B4-BE49-F238E27FC236}">
                    <a16:creationId xmlns:a16="http://schemas.microsoft.com/office/drawing/2014/main" id="{0CD11E72-7FAF-EF4C-B35D-11B57AF42CD3}"/>
                  </a:ext>
                </a:extLst>
              </p:cNvPr>
              <p:cNvSpPr/>
              <p:nvPr/>
            </p:nvSpPr>
            <p:spPr>
              <a:xfrm>
                <a:off x="4138958" y="2537288"/>
                <a:ext cx="259634" cy="600220"/>
              </a:xfrm>
              <a:custGeom>
                <a:avLst/>
                <a:gdLst>
                  <a:gd name="connsiteX0" fmla="*/ 1163290 w 1163290"/>
                  <a:gd name="connsiteY0" fmla="*/ 0 h 2705326"/>
                  <a:gd name="connsiteX1" fmla="*/ 822419 w 1163290"/>
                  <a:gd name="connsiteY1" fmla="*/ 119035 h 2705326"/>
                  <a:gd name="connsiteX2" fmla="*/ 422031 w 1163290"/>
                  <a:gd name="connsiteY2" fmla="*/ 394978 h 2705326"/>
                  <a:gd name="connsiteX3" fmla="*/ 216426 w 1163290"/>
                  <a:gd name="connsiteY3" fmla="*/ 427442 h 2705326"/>
                  <a:gd name="connsiteX4" fmla="*/ 0 w 1163290"/>
                  <a:gd name="connsiteY4" fmla="*/ 638457 h 2705326"/>
                  <a:gd name="connsiteX5" fmla="*/ 0 w 1163290"/>
                  <a:gd name="connsiteY5" fmla="*/ 1471697 h 2705326"/>
                  <a:gd name="connsiteX6" fmla="*/ 1163290 w 1163290"/>
                  <a:gd name="connsiteY6" fmla="*/ 2705326 h 2705326"/>
                  <a:gd name="connsiteX0" fmla="*/ 1163290 w 1163290"/>
                  <a:gd name="connsiteY0" fmla="*/ 0 h 2705326"/>
                  <a:gd name="connsiteX1" fmla="*/ 850994 w 1163290"/>
                  <a:gd name="connsiteY1" fmla="*/ 96810 h 2705326"/>
                  <a:gd name="connsiteX2" fmla="*/ 422031 w 1163290"/>
                  <a:gd name="connsiteY2" fmla="*/ 394978 h 2705326"/>
                  <a:gd name="connsiteX3" fmla="*/ 216426 w 1163290"/>
                  <a:gd name="connsiteY3" fmla="*/ 427442 h 2705326"/>
                  <a:gd name="connsiteX4" fmla="*/ 0 w 1163290"/>
                  <a:gd name="connsiteY4" fmla="*/ 638457 h 2705326"/>
                  <a:gd name="connsiteX5" fmla="*/ 0 w 1163290"/>
                  <a:gd name="connsiteY5" fmla="*/ 1471697 h 2705326"/>
                  <a:gd name="connsiteX6" fmla="*/ 1163290 w 1163290"/>
                  <a:gd name="connsiteY6" fmla="*/ 2705326 h 2705326"/>
                  <a:gd name="connsiteX0" fmla="*/ 1163290 w 1163290"/>
                  <a:gd name="connsiteY0" fmla="*/ 0 h 2705326"/>
                  <a:gd name="connsiteX1" fmla="*/ 850994 w 1163290"/>
                  <a:gd name="connsiteY1" fmla="*/ 96810 h 2705326"/>
                  <a:gd name="connsiteX2" fmla="*/ 422031 w 1163290"/>
                  <a:gd name="connsiteY2" fmla="*/ 394978 h 2705326"/>
                  <a:gd name="connsiteX3" fmla="*/ 216426 w 1163290"/>
                  <a:gd name="connsiteY3" fmla="*/ 427442 h 2705326"/>
                  <a:gd name="connsiteX4" fmla="*/ 0 w 1163290"/>
                  <a:gd name="connsiteY4" fmla="*/ 638457 h 2705326"/>
                  <a:gd name="connsiteX5" fmla="*/ 0 w 1163290"/>
                  <a:gd name="connsiteY5" fmla="*/ 1471697 h 2705326"/>
                  <a:gd name="connsiteX6" fmla="*/ 1163290 w 1163290"/>
                  <a:gd name="connsiteY6" fmla="*/ 2705326 h 2705326"/>
                  <a:gd name="connsiteX0" fmla="*/ 1153765 w 1163290"/>
                  <a:gd name="connsiteY0" fmla="*/ 0 h 2679926"/>
                  <a:gd name="connsiteX1" fmla="*/ 850994 w 1163290"/>
                  <a:gd name="connsiteY1" fmla="*/ 71410 h 2679926"/>
                  <a:gd name="connsiteX2" fmla="*/ 422031 w 1163290"/>
                  <a:gd name="connsiteY2" fmla="*/ 369578 h 2679926"/>
                  <a:gd name="connsiteX3" fmla="*/ 216426 w 1163290"/>
                  <a:gd name="connsiteY3" fmla="*/ 402042 h 2679926"/>
                  <a:gd name="connsiteX4" fmla="*/ 0 w 1163290"/>
                  <a:gd name="connsiteY4" fmla="*/ 613057 h 2679926"/>
                  <a:gd name="connsiteX5" fmla="*/ 0 w 1163290"/>
                  <a:gd name="connsiteY5" fmla="*/ 1446297 h 2679926"/>
                  <a:gd name="connsiteX6" fmla="*/ 1163290 w 1163290"/>
                  <a:gd name="connsiteY6" fmla="*/ 2679926 h 2679926"/>
                  <a:gd name="connsiteX0" fmla="*/ 1153765 w 1163290"/>
                  <a:gd name="connsiteY0" fmla="*/ 2649 h 2682575"/>
                  <a:gd name="connsiteX1" fmla="*/ 850994 w 1163290"/>
                  <a:gd name="connsiteY1" fmla="*/ 74059 h 2682575"/>
                  <a:gd name="connsiteX2" fmla="*/ 422031 w 1163290"/>
                  <a:gd name="connsiteY2" fmla="*/ 372227 h 2682575"/>
                  <a:gd name="connsiteX3" fmla="*/ 216426 w 1163290"/>
                  <a:gd name="connsiteY3" fmla="*/ 404691 h 2682575"/>
                  <a:gd name="connsiteX4" fmla="*/ 0 w 1163290"/>
                  <a:gd name="connsiteY4" fmla="*/ 615706 h 2682575"/>
                  <a:gd name="connsiteX5" fmla="*/ 0 w 1163290"/>
                  <a:gd name="connsiteY5" fmla="*/ 1448946 h 2682575"/>
                  <a:gd name="connsiteX6" fmla="*/ 1163290 w 1163290"/>
                  <a:gd name="connsiteY6" fmla="*/ 2682575 h 2682575"/>
                  <a:gd name="connsiteX0" fmla="*/ 1156940 w 1163290"/>
                  <a:gd name="connsiteY0" fmla="*/ 1186 h 2690637"/>
                  <a:gd name="connsiteX1" fmla="*/ 850994 w 1163290"/>
                  <a:gd name="connsiteY1" fmla="*/ 82121 h 2690637"/>
                  <a:gd name="connsiteX2" fmla="*/ 422031 w 1163290"/>
                  <a:gd name="connsiteY2" fmla="*/ 380289 h 2690637"/>
                  <a:gd name="connsiteX3" fmla="*/ 216426 w 1163290"/>
                  <a:gd name="connsiteY3" fmla="*/ 412753 h 2690637"/>
                  <a:gd name="connsiteX4" fmla="*/ 0 w 1163290"/>
                  <a:gd name="connsiteY4" fmla="*/ 623768 h 2690637"/>
                  <a:gd name="connsiteX5" fmla="*/ 0 w 1163290"/>
                  <a:gd name="connsiteY5" fmla="*/ 1457008 h 2690637"/>
                  <a:gd name="connsiteX6" fmla="*/ 1163290 w 1163290"/>
                  <a:gd name="connsiteY6" fmla="*/ 2690637 h 2690637"/>
                  <a:gd name="connsiteX0" fmla="*/ 1156940 w 1163290"/>
                  <a:gd name="connsiteY0" fmla="*/ 0 h 2689451"/>
                  <a:gd name="connsiteX1" fmla="*/ 850994 w 1163290"/>
                  <a:gd name="connsiteY1" fmla="*/ 80935 h 2689451"/>
                  <a:gd name="connsiteX2" fmla="*/ 422031 w 1163290"/>
                  <a:gd name="connsiteY2" fmla="*/ 379103 h 2689451"/>
                  <a:gd name="connsiteX3" fmla="*/ 216426 w 1163290"/>
                  <a:gd name="connsiteY3" fmla="*/ 411567 h 2689451"/>
                  <a:gd name="connsiteX4" fmla="*/ 0 w 1163290"/>
                  <a:gd name="connsiteY4" fmla="*/ 622582 h 2689451"/>
                  <a:gd name="connsiteX5" fmla="*/ 0 w 1163290"/>
                  <a:gd name="connsiteY5" fmla="*/ 1455822 h 2689451"/>
                  <a:gd name="connsiteX6" fmla="*/ 1163290 w 1163290"/>
                  <a:gd name="connsiteY6" fmla="*/ 2689451 h 2689451"/>
                  <a:gd name="connsiteX0" fmla="*/ 1156940 w 1163290"/>
                  <a:gd name="connsiteY0" fmla="*/ 0 h 2689451"/>
                  <a:gd name="connsiteX1" fmla="*/ 850994 w 1163290"/>
                  <a:gd name="connsiteY1" fmla="*/ 80935 h 2689451"/>
                  <a:gd name="connsiteX2" fmla="*/ 422031 w 1163290"/>
                  <a:gd name="connsiteY2" fmla="*/ 379103 h 2689451"/>
                  <a:gd name="connsiteX3" fmla="*/ 216426 w 1163290"/>
                  <a:gd name="connsiteY3" fmla="*/ 411567 h 2689451"/>
                  <a:gd name="connsiteX4" fmla="*/ 0 w 1163290"/>
                  <a:gd name="connsiteY4" fmla="*/ 622582 h 2689451"/>
                  <a:gd name="connsiteX5" fmla="*/ 0 w 1163290"/>
                  <a:gd name="connsiteY5" fmla="*/ 1455822 h 2689451"/>
                  <a:gd name="connsiteX6" fmla="*/ 1163290 w 1163290"/>
                  <a:gd name="connsiteY6" fmla="*/ 2689451 h 2689451"/>
                  <a:gd name="connsiteX0" fmla="*/ 1156940 w 1163290"/>
                  <a:gd name="connsiteY0" fmla="*/ 0 h 2689451"/>
                  <a:gd name="connsiteX1" fmla="*/ 850994 w 1163290"/>
                  <a:gd name="connsiteY1" fmla="*/ 80935 h 2689451"/>
                  <a:gd name="connsiteX2" fmla="*/ 422031 w 1163290"/>
                  <a:gd name="connsiteY2" fmla="*/ 379103 h 2689451"/>
                  <a:gd name="connsiteX3" fmla="*/ 216426 w 1163290"/>
                  <a:gd name="connsiteY3" fmla="*/ 411567 h 2689451"/>
                  <a:gd name="connsiteX4" fmla="*/ 0 w 1163290"/>
                  <a:gd name="connsiteY4" fmla="*/ 622582 h 2689451"/>
                  <a:gd name="connsiteX5" fmla="*/ 0 w 1163290"/>
                  <a:gd name="connsiteY5" fmla="*/ 1455822 h 2689451"/>
                  <a:gd name="connsiteX6" fmla="*/ 1163290 w 1163290"/>
                  <a:gd name="connsiteY6" fmla="*/ 2689451 h 2689451"/>
                  <a:gd name="connsiteX0" fmla="*/ 1157958 w 1164308"/>
                  <a:gd name="connsiteY0" fmla="*/ 0 h 2689451"/>
                  <a:gd name="connsiteX1" fmla="*/ 852012 w 1164308"/>
                  <a:gd name="connsiteY1" fmla="*/ 80935 h 2689451"/>
                  <a:gd name="connsiteX2" fmla="*/ 423049 w 1164308"/>
                  <a:gd name="connsiteY2" fmla="*/ 379103 h 2689451"/>
                  <a:gd name="connsiteX3" fmla="*/ 217444 w 1164308"/>
                  <a:gd name="connsiteY3" fmla="*/ 411567 h 2689451"/>
                  <a:gd name="connsiteX4" fmla="*/ 1018 w 1164308"/>
                  <a:gd name="connsiteY4" fmla="*/ 622582 h 2689451"/>
                  <a:gd name="connsiteX5" fmla="*/ 1018 w 1164308"/>
                  <a:gd name="connsiteY5" fmla="*/ 1455822 h 2689451"/>
                  <a:gd name="connsiteX6" fmla="*/ 1164308 w 1164308"/>
                  <a:gd name="connsiteY6" fmla="*/ 2689451 h 2689451"/>
                  <a:gd name="connsiteX0" fmla="*/ 1157958 w 1164308"/>
                  <a:gd name="connsiteY0" fmla="*/ 0 h 2689451"/>
                  <a:gd name="connsiteX1" fmla="*/ 852012 w 1164308"/>
                  <a:gd name="connsiteY1" fmla="*/ 80935 h 2689451"/>
                  <a:gd name="connsiteX2" fmla="*/ 423049 w 1164308"/>
                  <a:gd name="connsiteY2" fmla="*/ 379103 h 2689451"/>
                  <a:gd name="connsiteX3" fmla="*/ 217444 w 1164308"/>
                  <a:gd name="connsiteY3" fmla="*/ 411567 h 2689451"/>
                  <a:gd name="connsiteX4" fmla="*/ 1018 w 1164308"/>
                  <a:gd name="connsiteY4" fmla="*/ 622582 h 2689451"/>
                  <a:gd name="connsiteX5" fmla="*/ 1018 w 1164308"/>
                  <a:gd name="connsiteY5" fmla="*/ 1455822 h 2689451"/>
                  <a:gd name="connsiteX6" fmla="*/ 1164308 w 1164308"/>
                  <a:gd name="connsiteY6" fmla="*/ 2689451 h 2689451"/>
                  <a:gd name="connsiteX0" fmla="*/ 1157958 w 1164308"/>
                  <a:gd name="connsiteY0" fmla="*/ 0 h 2689451"/>
                  <a:gd name="connsiteX1" fmla="*/ 852012 w 1164308"/>
                  <a:gd name="connsiteY1" fmla="*/ 80935 h 2689451"/>
                  <a:gd name="connsiteX2" fmla="*/ 423049 w 1164308"/>
                  <a:gd name="connsiteY2" fmla="*/ 379103 h 2689451"/>
                  <a:gd name="connsiteX3" fmla="*/ 217444 w 1164308"/>
                  <a:gd name="connsiteY3" fmla="*/ 411567 h 2689451"/>
                  <a:gd name="connsiteX4" fmla="*/ 1018 w 1164308"/>
                  <a:gd name="connsiteY4" fmla="*/ 622582 h 2689451"/>
                  <a:gd name="connsiteX5" fmla="*/ 1018 w 1164308"/>
                  <a:gd name="connsiteY5" fmla="*/ 1455822 h 2689451"/>
                  <a:gd name="connsiteX6" fmla="*/ 1164308 w 1164308"/>
                  <a:gd name="connsiteY6" fmla="*/ 2689451 h 2689451"/>
                  <a:gd name="connsiteX0" fmla="*/ 1157958 w 1164308"/>
                  <a:gd name="connsiteY0" fmla="*/ 0 h 2689451"/>
                  <a:gd name="connsiteX1" fmla="*/ 852012 w 1164308"/>
                  <a:gd name="connsiteY1" fmla="*/ 80935 h 2689451"/>
                  <a:gd name="connsiteX2" fmla="*/ 423049 w 1164308"/>
                  <a:gd name="connsiteY2" fmla="*/ 379103 h 2689451"/>
                  <a:gd name="connsiteX3" fmla="*/ 217444 w 1164308"/>
                  <a:gd name="connsiteY3" fmla="*/ 411567 h 2689451"/>
                  <a:gd name="connsiteX4" fmla="*/ 1018 w 1164308"/>
                  <a:gd name="connsiteY4" fmla="*/ 622582 h 2689451"/>
                  <a:gd name="connsiteX5" fmla="*/ 1018 w 1164308"/>
                  <a:gd name="connsiteY5" fmla="*/ 1455822 h 2689451"/>
                  <a:gd name="connsiteX6" fmla="*/ 1164308 w 1164308"/>
                  <a:gd name="connsiteY6" fmla="*/ 2689451 h 2689451"/>
                  <a:gd name="connsiteX0" fmla="*/ 1157958 w 1164308"/>
                  <a:gd name="connsiteY0" fmla="*/ 0 h 2689451"/>
                  <a:gd name="connsiteX1" fmla="*/ 852012 w 1164308"/>
                  <a:gd name="connsiteY1" fmla="*/ 80935 h 2689451"/>
                  <a:gd name="connsiteX2" fmla="*/ 423049 w 1164308"/>
                  <a:gd name="connsiteY2" fmla="*/ 379103 h 2689451"/>
                  <a:gd name="connsiteX3" fmla="*/ 217444 w 1164308"/>
                  <a:gd name="connsiteY3" fmla="*/ 411567 h 2689451"/>
                  <a:gd name="connsiteX4" fmla="*/ 1018 w 1164308"/>
                  <a:gd name="connsiteY4" fmla="*/ 622582 h 2689451"/>
                  <a:gd name="connsiteX5" fmla="*/ 1018 w 1164308"/>
                  <a:gd name="connsiteY5" fmla="*/ 1455822 h 2689451"/>
                  <a:gd name="connsiteX6" fmla="*/ 1164308 w 1164308"/>
                  <a:gd name="connsiteY6" fmla="*/ 2689451 h 2689451"/>
                  <a:gd name="connsiteX0" fmla="*/ 1157958 w 1164308"/>
                  <a:gd name="connsiteY0" fmla="*/ 0 h 2698976"/>
                  <a:gd name="connsiteX1" fmla="*/ 852012 w 1164308"/>
                  <a:gd name="connsiteY1" fmla="*/ 90460 h 2698976"/>
                  <a:gd name="connsiteX2" fmla="*/ 423049 w 1164308"/>
                  <a:gd name="connsiteY2" fmla="*/ 388628 h 2698976"/>
                  <a:gd name="connsiteX3" fmla="*/ 217444 w 1164308"/>
                  <a:gd name="connsiteY3" fmla="*/ 421092 h 2698976"/>
                  <a:gd name="connsiteX4" fmla="*/ 1018 w 1164308"/>
                  <a:gd name="connsiteY4" fmla="*/ 632107 h 2698976"/>
                  <a:gd name="connsiteX5" fmla="*/ 1018 w 1164308"/>
                  <a:gd name="connsiteY5" fmla="*/ 1465347 h 2698976"/>
                  <a:gd name="connsiteX6" fmla="*/ 1164308 w 1164308"/>
                  <a:gd name="connsiteY6" fmla="*/ 2698976 h 2698976"/>
                  <a:gd name="connsiteX0" fmla="*/ 1167483 w 1167483"/>
                  <a:gd name="connsiteY0" fmla="*/ 0 h 2698976"/>
                  <a:gd name="connsiteX1" fmla="*/ 852012 w 1167483"/>
                  <a:gd name="connsiteY1" fmla="*/ 90460 h 2698976"/>
                  <a:gd name="connsiteX2" fmla="*/ 423049 w 1167483"/>
                  <a:gd name="connsiteY2" fmla="*/ 388628 h 2698976"/>
                  <a:gd name="connsiteX3" fmla="*/ 217444 w 1167483"/>
                  <a:gd name="connsiteY3" fmla="*/ 421092 h 2698976"/>
                  <a:gd name="connsiteX4" fmla="*/ 1018 w 1167483"/>
                  <a:gd name="connsiteY4" fmla="*/ 632107 h 2698976"/>
                  <a:gd name="connsiteX5" fmla="*/ 1018 w 1167483"/>
                  <a:gd name="connsiteY5" fmla="*/ 1465347 h 2698976"/>
                  <a:gd name="connsiteX6" fmla="*/ 1164308 w 1167483"/>
                  <a:gd name="connsiteY6" fmla="*/ 2698976 h 269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7483" h="2698976">
                    <a:moveTo>
                      <a:pt x="1167483" y="0"/>
                    </a:moveTo>
                    <a:cubicBezTo>
                      <a:pt x="1060209" y="6870"/>
                      <a:pt x="952936" y="1040"/>
                      <a:pt x="852012" y="90460"/>
                    </a:cubicBezTo>
                    <a:cubicBezTo>
                      <a:pt x="709024" y="189849"/>
                      <a:pt x="597787" y="320989"/>
                      <a:pt x="423049" y="388628"/>
                    </a:cubicBezTo>
                    <a:cubicBezTo>
                      <a:pt x="348164" y="421674"/>
                      <a:pt x="285979" y="410271"/>
                      <a:pt x="217444" y="421092"/>
                    </a:cubicBezTo>
                    <a:cubicBezTo>
                      <a:pt x="18302" y="440630"/>
                      <a:pt x="3310" y="590344"/>
                      <a:pt x="1018" y="632107"/>
                    </a:cubicBezTo>
                    <a:cubicBezTo>
                      <a:pt x="-1274" y="673870"/>
                      <a:pt x="1018" y="1187600"/>
                      <a:pt x="1018" y="1465347"/>
                    </a:cubicBezTo>
                    <a:cubicBezTo>
                      <a:pt x="61756" y="2073407"/>
                      <a:pt x="601920" y="2510016"/>
                      <a:pt x="1164308" y="2698976"/>
                    </a:cubicBezTo>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600">
                  <a:solidFill>
                    <a:srgbClr val="005073"/>
                  </a:solidFill>
                  <a:latin typeface="Arial"/>
                  <a:sym typeface="Arial"/>
                </a:endParaRPr>
              </a:p>
            </p:txBody>
          </p:sp>
          <p:sp>
            <p:nvSpPr>
              <p:cNvPr id="38" name="Freeform 192">
                <a:extLst>
                  <a:ext uri="{FF2B5EF4-FFF2-40B4-BE49-F238E27FC236}">
                    <a16:creationId xmlns:a16="http://schemas.microsoft.com/office/drawing/2014/main" id="{82302292-CEF9-EE49-A894-BE6BE6227DF7}"/>
                  </a:ext>
                </a:extLst>
              </p:cNvPr>
              <p:cNvSpPr/>
              <p:nvPr/>
            </p:nvSpPr>
            <p:spPr>
              <a:xfrm flipH="1">
                <a:off x="4395977" y="2537288"/>
                <a:ext cx="259634" cy="600220"/>
              </a:xfrm>
              <a:custGeom>
                <a:avLst/>
                <a:gdLst>
                  <a:gd name="connsiteX0" fmla="*/ 1163290 w 1163290"/>
                  <a:gd name="connsiteY0" fmla="*/ 0 h 2705326"/>
                  <a:gd name="connsiteX1" fmla="*/ 822419 w 1163290"/>
                  <a:gd name="connsiteY1" fmla="*/ 119035 h 2705326"/>
                  <a:gd name="connsiteX2" fmla="*/ 422031 w 1163290"/>
                  <a:gd name="connsiteY2" fmla="*/ 394978 h 2705326"/>
                  <a:gd name="connsiteX3" fmla="*/ 216426 w 1163290"/>
                  <a:gd name="connsiteY3" fmla="*/ 427442 h 2705326"/>
                  <a:gd name="connsiteX4" fmla="*/ 0 w 1163290"/>
                  <a:gd name="connsiteY4" fmla="*/ 638457 h 2705326"/>
                  <a:gd name="connsiteX5" fmla="*/ 0 w 1163290"/>
                  <a:gd name="connsiteY5" fmla="*/ 1471697 h 2705326"/>
                  <a:gd name="connsiteX6" fmla="*/ 1163290 w 1163290"/>
                  <a:gd name="connsiteY6" fmla="*/ 2705326 h 2705326"/>
                  <a:gd name="connsiteX0" fmla="*/ 1163290 w 1163290"/>
                  <a:gd name="connsiteY0" fmla="*/ 0 h 2705326"/>
                  <a:gd name="connsiteX1" fmla="*/ 850994 w 1163290"/>
                  <a:gd name="connsiteY1" fmla="*/ 96810 h 2705326"/>
                  <a:gd name="connsiteX2" fmla="*/ 422031 w 1163290"/>
                  <a:gd name="connsiteY2" fmla="*/ 394978 h 2705326"/>
                  <a:gd name="connsiteX3" fmla="*/ 216426 w 1163290"/>
                  <a:gd name="connsiteY3" fmla="*/ 427442 h 2705326"/>
                  <a:gd name="connsiteX4" fmla="*/ 0 w 1163290"/>
                  <a:gd name="connsiteY4" fmla="*/ 638457 h 2705326"/>
                  <a:gd name="connsiteX5" fmla="*/ 0 w 1163290"/>
                  <a:gd name="connsiteY5" fmla="*/ 1471697 h 2705326"/>
                  <a:gd name="connsiteX6" fmla="*/ 1163290 w 1163290"/>
                  <a:gd name="connsiteY6" fmla="*/ 2705326 h 2705326"/>
                  <a:gd name="connsiteX0" fmla="*/ 1163290 w 1163290"/>
                  <a:gd name="connsiteY0" fmla="*/ 0 h 2705326"/>
                  <a:gd name="connsiteX1" fmla="*/ 850994 w 1163290"/>
                  <a:gd name="connsiteY1" fmla="*/ 96810 h 2705326"/>
                  <a:gd name="connsiteX2" fmla="*/ 422031 w 1163290"/>
                  <a:gd name="connsiteY2" fmla="*/ 394978 h 2705326"/>
                  <a:gd name="connsiteX3" fmla="*/ 216426 w 1163290"/>
                  <a:gd name="connsiteY3" fmla="*/ 427442 h 2705326"/>
                  <a:gd name="connsiteX4" fmla="*/ 0 w 1163290"/>
                  <a:gd name="connsiteY4" fmla="*/ 638457 h 2705326"/>
                  <a:gd name="connsiteX5" fmla="*/ 0 w 1163290"/>
                  <a:gd name="connsiteY5" fmla="*/ 1471697 h 2705326"/>
                  <a:gd name="connsiteX6" fmla="*/ 1163290 w 1163290"/>
                  <a:gd name="connsiteY6" fmla="*/ 2705326 h 2705326"/>
                  <a:gd name="connsiteX0" fmla="*/ 1153765 w 1163290"/>
                  <a:gd name="connsiteY0" fmla="*/ 0 h 2679926"/>
                  <a:gd name="connsiteX1" fmla="*/ 850994 w 1163290"/>
                  <a:gd name="connsiteY1" fmla="*/ 71410 h 2679926"/>
                  <a:gd name="connsiteX2" fmla="*/ 422031 w 1163290"/>
                  <a:gd name="connsiteY2" fmla="*/ 369578 h 2679926"/>
                  <a:gd name="connsiteX3" fmla="*/ 216426 w 1163290"/>
                  <a:gd name="connsiteY3" fmla="*/ 402042 h 2679926"/>
                  <a:gd name="connsiteX4" fmla="*/ 0 w 1163290"/>
                  <a:gd name="connsiteY4" fmla="*/ 613057 h 2679926"/>
                  <a:gd name="connsiteX5" fmla="*/ 0 w 1163290"/>
                  <a:gd name="connsiteY5" fmla="*/ 1446297 h 2679926"/>
                  <a:gd name="connsiteX6" fmla="*/ 1163290 w 1163290"/>
                  <a:gd name="connsiteY6" fmla="*/ 2679926 h 2679926"/>
                  <a:gd name="connsiteX0" fmla="*/ 1153765 w 1163290"/>
                  <a:gd name="connsiteY0" fmla="*/ 2649 h 2682575"/>
                  <a:gd name="connsiteX1" fmla="*/ 850994 w 1163290"/>
                  <a:gd name="connsiteY1" fmla="*/ 74059 h 2682575"/>
                  <a:gd name="connsiteX2" fmla="*/ 422031 w 1163290"/>
                  <a:gd name="connsiteY2" fmla="*/ 372227 h 2682575"/>
                  <a:gd name="connsiteX3" fmla="*/ 216426 w 1163290"/>
                  <a:gd name="connsiteY3" fmla="*/ 404691 h 2682575"/>
                  <a:gd name="connsiteX4" fmla="*/ 0 w 1163290"/>
                  <a:gd name="connsiteY4" fmla="*/ 615706 h 2682575"/>
                  <a:gd name="connsiteX5" fmla="*/ 0 w 1163290"/>
                  <a:gd name="connsiteY5" fmla="*/ 1448946 h 2682575"/>
                  <a:gd name="connsiteX6" fmla="*/ 1163290 w 1163290"/>
                  <a:gd name="connsiteY6" fmla="*/ 2682575 h 2682575"/>
                  <a:gd name="connsiteX0" fmla="*/ 1156940 w 1163290"/>
                  <a:gd name="connsiteY0" fmla="*/ 1186 h 2690637"/>
                  <a:gd name="connsiteX1" fmla="*/ 850994 w 1163290"/>
                  <a:gd name="connsiteY1" fmla="*/ 82121 h 2690637"/>
                  <a:gd name="connsiteX2" fmla="*/ 422031 w 1163290"/>
                  <a:gd name="connsiteY2" fmla="*/ 380289 h 2690637"/>
                  <a:gd name="connsiteX3" fmla="*/ 216426 w 1163290"/>
                  <a:gd name="connsiteY3" fmla="*/ 412753 h 2690637"/>
                  <a:gd name="connsiteX4" fmla="*/ 0 w 1163290"/>
                  <a:gd name="connsiteY4" fmla="*/ 623768 h 2690637"/>
                  <a:gd name="connsiteX5" fmla="*/ 0 w 1163290"/>
                  <a:gd name="connsiteY5" fmla="*/ 1457008 h 2690637"/>
                  <a:gd name="connsiteX6" fmla="*/ 1163290 w 1163290"/>
                  <a:gd name="connsiteY6" fmla="*/ 2690637 h 2690637"/>
                  <a:gd name="connsiteX0" fmla="*/ 1156940 w 1163290"/>
                  <a:gd name="connsiteY0" fmla="*/ 0 h 2689451"/>
                  <a:gd name="connsiteX1" fmla="*/ 850994 w 1163290"/>
                  <a:gd name="connsiteY1" fmla="*/ 80935 h 2689451"/>
                  <a:gd name="connsiteX2" fmla="*/ 422031 w 1163290"/>
                  <a:gd name="connsiteY2" fmla="*/ 379103 h 2689451"/>
                  <a:gd name="connsiteX3" fmla="*/ 216426 w 1163290"/>
                  <a:gd name="connsiteY3" fmla="*/ 411567 h 2689451"/>
                  <a:gd name="connsiteX4" fmla="*/ 0 w 1163290"/>
                  <a:gd name="connsiteY4" fmla="*/ 622582 h 2689451"/>
                  <a:gd name="connsiteX5" fmla="*/ 0 w 1163290"/>
                  <a:gd name="connsiteY5" fmla="*/ 1455822 h 2689451"/>
                  <a:gd name="connsiteX6" fmla="*/ 1163290 w 1163290"/>
                  <a:gd name="connsiteY6" fmla="*/ 2689451 h 2689451"/>
                  <a:gd name="connsiteX0" fmla="*/ 1156940 w 1163290"/>
                  <a:gd name="connsiteY0" fmla="*/ 0 h 2689451"/>
                  <a:gd name="connsiteX1" fmla="*/ 850994 w 1163290"/>
                  <a:gd name="connsiteY1" fmla="*/ 80935 h 2689451"/>
                  <a:gd name="connsiteX2" fmla="*/ 422031 w 1163290"/>
                  <a:gd name="connsiteY2" fmla="*/ 379103 h 2689451"/>
                  <a:gd name="connsiteX3" fmla="*/ 216426 w 1163290"/>
                  <a:gd name="connsiteY3" fmla="*/ 411567 h 2689451"/>
                  <a:gd name="connsiteX4" fmla="*/ 0 w 1163290"/>
                  <a:gd name="connsiteY4" fmla="*/ 622582 h 2689451"/>
                  <a:gd name="connsiteX5" fmla="*/ 0 w 1163290"/>
                  <a:gd name="connsiteY5" fmla="*/ 1455822 h 2689451"/>
                  <a:gd name="connsiteX6" fmla="*/ 1163290 w 1163290"/>
                  <a:gd name="connsiteY6" fmla="*/ 2689451 h 2689451"/>
                  <a:gd name="connsiteX0" fmla="*/ 1156940 w 1163290"/>
                  <a:gd name="connsiteY0" fmla="*/ 0 h 2689451"/>
                  <a:gd name="connsiteX1" fmla="*/ 850994 w 1163290"/>
                  <a:gd name="connsiteY1" fmla="*/ 80935 h 2689451"/>
                  <a:gd name="connsiteX2" fmla="*/ 422031 w 1163290"/>
                  <a:gd name="connsiteY2" fmla="*/ 379103 h 2689451"/>
                  <a:gd name="connsiteX3" fmla="*/ 216426 w 1163290"/>
                  <a:gd name="connsiteY3" fmla="*/ 411567 h 2689451"/>
                  <a:gd name="connsiteX4" fmla="*/ 0 w 1163290"/>
                  <a:gd name="connsiteY4" fmla="*/ 622582 h 2689451"/>
                  <a:gd name="connsiteX5" fmla="*/ 0 w 1163290"/>
                  <a:gd name="connsiteY5" fmla="*/ 1455822 h 2689451"/>
                  <a:gd name="connsiteX6" fmla="*/ 1163290 w 1163290"/>
                  <a:gd name="connsiteY6" fmla="*/ 2689451 h 2689451"/>
                  <a:gd name="connsiteX0" fmla="*/ 1157958 w 1164308"/>
                  <a:gd name="connsiteY0" fmla="*/ 0 h 2689451"/>
                  <a:gd name="connsiteX1" fmla="*/ 852012 w 1164308"/>
                  <a:gd name="connsiteY1" fmla="*/ 80935 h 2689451"/>
                  <a:gd name="connsiteX2" fmla="*/ 423049 w 1164308"/>
                  <a:gd name="connsiteY2" fmla="*/ 379103 h 2689451"/>
                  <a:gd name="connsiteX3" fmla="*/ 217444 w 1164308"/>
                  <a:gd name="connsiteY3" fmla="*/ 411567 h 2689451"/>
                  <a:gd name="connsiteX4" fmla="*/ 1018 w 1164308"/>
                  <a:gd name="connsiteY4" fmla="*/ 622582 h 2689451"/>
                  <a:gd name="connsiteX5" fmla="*/ 1018 w 1164308"/>
                  <a:gd name="connsiteY5" fmla="*/ 1455822 h 2689451"/>
                  <a:gd name="connsiteX6" fmla="*/ 1164308 w 1164308"/>
                  <a:gd name="connsiteY6" fmla="*/ 2689451 h 2689451"/>
                  <a:gd name="connsiteX0" fmla="*/ 1157958 w 1164308"/>
                  <a:gd name="connsiteY0" fmla="*/ 0 h 2689451"/>
                  <a:gd name="connsiteX1" fmla="*/ 852012 w 1164308"/>
                  <a:gd name="connsiteY1" fmla="*/ 80935 h 2689451"/>
                  <a:gd name="connsiteX2" fmla="*/ 423049 w 1164308"/>
                  <a:gd name="connsiteY2" fmla="*/ 379103 h 2689451"/>
                  <a:gd name="connsiteX3" fmla="*/ 217444 w 1164308"/>
                  <a:gd name="connsiteY3" fmla="*/ 411567 h 2689451"/>
                  <a:gd name="connsiteX4" fmla="*/ 1018 w 1164308"/>
                  <a:gd name="connsiteY4" fmla="*/ 622582 h 2689451"/>
                  <a:gd name="connsiteX5" fmla="*/ 1018 w 1164308"/>
                  <a:gd name="connsiteY5" fmla="*/ 1455822 h 2689451"/>
                  <a:gd name="connsiteX6" fmla="*/ 1164308 w 1164308"/>
                  <a:gd name="connsiteY6" fmla="*/ 2689451 h 2689451"/>
                  <a:gd name="connsiteX0" fmla="*/ 1157958 w 1164308"/>
                  <a:gd name="connsiteY0" fmla="*/ 0 h 2689451"/>
                  <a:gd name="connsiteX1" fmla="*/ 852012 w 1164308"/>
                  <a:gd name="connsiteY1" fmla="*/ 80935 h 2689451"/>
                  <a:gd name="connsiteX2" fmla="*/ 423049 w 1164308"/>
                  <a:gd name="connsiteY2" fmla="*/ 379103 h 2689451"/>
                  <a:gd name="connsiteX3" fmla="*/ 217444 w 1164308"/>
                  <a:gd name="connsiteY3" fmla="*/ 411567 h 2689451"/>
                  <a:gd name="connsiteX4" fmla="*/ 1018 w 1164308"/>
                  <a:gd name="connsiteY4" fmla="*/ 622582 h 2689451"/>
                  <a:gd name="connsiteX5" fmla="*/ 1018 w 1164308"/>
                  <a:gd name="connsiteY5" fmla="*/ 1455822 h 2689451"/>
                  <a:gd name="connsiteX6" fmla="*/ 1164308 w 1164308"/>
                  <a:gd name="connsiteY6" fmla="*/ 2689451 h 2689451"/>
                  <a:gd name="connsiteX0" fmla="*/ 1157958 w 1164308"/>
                  <a:gd name="connsiteY0" fmla="*/ 0 h 2689451"/>
                  <a:gd name="connsiteX1" fmla="*/ 852012 w 1164308"/>
                  <a:gd name="connsiteY1" fmla="*/ 80935 h 2689451"/>
                  <a:gd name="connsiteX2" fmla="*/ 423049 w 1164308"/>
                  <a:gd name="connsiteY2" fmla="*/ 379103 h 2689451"/>
                  <a:gd name="connsiteX3" fmla="*/ 217444 w 1164308"/>
                  <a:gd name="connsiteY3" fmla="*/ 411567 h 2689451"/>
                  <a:gd name="connsiteX4" fmla="*/ 1018 w 1164308"/>
                  <a:gd name="connsiteY4" fmla="*/ 622582 h 2689451"/>
                  <a:gd name="connsiteX5" fmla="*/ 1018 w 1164308"/>
                  <a:gd name="connsiteY5" fmla="*/ 1455822 h 2689451"/>
                  <a:gd name="connsiteX6" fmla="*/ 1164308 w 1164308"/>
                  <a:gd name="connsiteY6" fmla="*/ 2689451 h 2689451"/>
                  <a:gd name="connsiteX0" fmla="*/ 1157958 w 1164308"/>
                  <a:gd name="connsiteY0" fmla="*/ 0 h 2689451"/>
                  <a:gd name="connsiteX1" fmla="*/ 852012 w 1164308"/>
                  <a:gd name="connsiteY1" fmla="*/ 80935 h 2689451"/>
                  <a:gd name="connsiteX2" fmla="*/ 423049 w 1164308"/>
                  <a:gd name="connsiteY2" fmla="*/ 379103 h 2689451"/>
                  <a:gd name="connsiteX3" fmla="*/ 217444 w 1164308"/>
                  <a:gd name="connsiteY3" fmla="*/ 411567 h 2689451"/>
                  <a:gd name="connsiteX4" fmla="*/ 1018 w 1164308"/>
                  <a:gd name="connsiteY4" fmla="*/ 622582 h 2689451"/>
                  <a:gd name="connsiteX5" fmla="*/ 1018 w 1164308"/>
                  <a:gd name="connsiteY5" fmla="*/ 1455822 h 2689451"/>
                  <a:gd name="connsiteX6" fmla="*/ 1164308 w 1164308"/>
                  <a:gd name="connsiteY6" fmla="*/ 2689451 h 2689451"/>
                  <a:gd name="connsiteX0" fmla="*/ 1157958 w 1164308"/>
                  <a:gd name="connsiteY0" fmla="*/ 0 h 2698976"/>
                  <a:gd name="connsiteX1" fmla="*/ 852012 w 1164308"/>
                  <a:gd name="connsiteY1" fmla="*/ 90460 h 2698976"/>
                  <a:gd name="connsiteX2" fmla="*/ 423049 w 1164308"/>
                  <a:gd name="connsiteY2" fmla="*/ 388628 h 2698976"/>
                  <a:gd name="connsiteX3" fmla="*/ 217444 w 1164308"/>
                  <a:gd name="connsiteY3" fmla="*/ 421092 h 2698976"/>
                  <a:gd name="connsiteX4" fmla="*/ 1018 w 1164308"/>
                  <a:gd name="connsiteY4" fmla="*/ 632107 h 2698976"/>
                  <a:gd name="connsiteX5" fmla="*/ 1018 w 1164308"/>
                  <a:gd name="connsiteY5" fmla="*/ 1465347 h 2698976"/>
                  <a:gd name="connsiteX6" fmla="*/ 1164308 w 1164308"/>
                  <a:gd name="connsiteY6" fmla="*/ 2698976 h 2698976"/>
                  <a:gd name="connsiteX0" fmla="*/ 1167483 w 1167483"/>
                  <a:gd name="connsiteY0" fmla="*/ 0 h 2698976"/>
                  <a:gd name="connsiteX1" fmla="*/ 852012 w 1167483"/>
                  <a:gd name="connsiteY1" fmla="*/ 90460 h 2698976"/>
                  <a:gd name="connsiteX2" fmla="*/ 423049 w 1167483"/>
                  <a:gd name="connsiteY2" fmla="*/ 388628 h 2698976"/>
                  <a:gd name="connsiteX3" fmla="*/ 217444 w 1167483"/>
                  <a:gd name="connsiteY3" fmla="*/ 421092 h 2698976"/>
                  <a:gd name="connsiteX4" fmla="*/ 1018 w 1167483"/>
                  <a:gd name="connsiteY4" fmla="*/ 632107 h 2698976"/>
                  <a:gd name="connsiteX5" fmla="*/ 1018 w 1167483"/>
                  <a:gd name="connsiteY5" fmla="*/ 1465347 h 2698976"/>
                  <a:gd name="connsiteX6" fmla="*/ 1164308 w 1167483"/>
                  <a:gd name="connsiteY6" fmla="*/ 2698976 h 269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7483" h="2698976">
                    <a:moveTo>
                      <a:pt x="1167483" y="0"/>
                    </a:moveTo>
                    <a:cubicBezTo>
                      <a:pt x="1060209" y="6870"/>
                      <a:pt x="952936" y="1040"/>
                      <a:pt x="852012" y="90460"/>
                    </a:cubicBezTo>
                    <a:cubicBezTo>
                      <a:pt x="709024" y="189849"/>
                      <a:pt x="597787" y="320989"/>
                      <a:pt x="423049" y="388628"/>
                    </a:cubicBezTo>
                    <a:cubicBezTo>
                      <a:pt x="348164" y="421674"/>
                      <a:pt x="285979" y="410271"/>
                      <a:pt x="217444" y="421092"/>
                    </a:cubicBezTo>
                    <a:cubicBezTo>
                      <a:pt x="18302" y="440630"/>
                      <a:pt x="3310" y="590344"/>
                      <a:pt x="1018" y="632107"/>
                    </a:cubicBezTo>
                    <a:cubicBezTo>
                      <a:pt x="-1274" y="673870"/>
                      <a:pt x="1018" y="1187600"/>
                      <a:pt x="1018" y="1465347"/>
                    </a:cubicBezTo>
                    <a:cubicBezTo>
                      <a:pt x="61756" y="2073407"/>
                      <a:pt x="601920" y="2510016"/>
                      <a:pt x="1164308" y="2698976"/>
                    </a:cubicBezTo>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600">
                  <a:solidFill>
                    <a:srgbClr val="005073"/>
                  </a:solidFill>
                  <a:latin typeface="Arial"/>
                  <a:sym typeface="Arial"/>
                </a:endParaRPr>
              </a:p>
            </p:txBody>
          </p:sp>
        </p:grpSp>
      </p:grpSp>
      <p:grpSp>
        <p:nvGrpSpPr>
          <p:cNvPr id="39" name="Group 38">
            <a:extLst>
              <a:ext uri="{FF2B5EF4-FFF2-40B4-BE49-F238E27FC236}">
                <a16:creationId xmlns:a16="http://schemas.microsoft.com/office/drawing/2014/main" id="{EFF3AC0C-1A82-974D-830D-3F66856D1EEA}"/>
              </a:ext>
            </a:extLst>
          </p:cNvPr>
          <p:cNvGrpSpPr/>
          <p:nvPr/>
        </p:nvGrpSpPr>
        <p:grpSpPr>
          <a:xfrm>
            <a:off x="7913848" y="4585075"/>
            <a:ext cx="3167665" cy="1827351"/>
            <a:chOff x="5983848" y="3432276"/>
            <a:chExt cx="2375749" cy="1370513"/>
          </a:xfrm>
        </p:grpSpPr>
        <p:grpSp>
          <p:nvGrpSpPr>
            <p:cNvPr id="40" name="Group 39">
              <a:extLst>
                <a:ext uri="{FF2B5EF4-FFF2-40B4-BE49-F238E27FC236}">
                  <a16:creationId xmlns:a16="http://schemas.microsoft.com/office/drawing/2014/main" id="{23434A71-6129-E841-A19A-F829FC04B8F6}"/>
                </a:ext>
              </a:extLst>
            </p:cNvPr>
            <p:cNvGrpSpPr/>
            <p:nvPr/>
          </p:nvGrpSpPr>
          <p:grpSpPr>
            <a:xfrm>
              <a:off x="7420266" y="3657746"/>
              <a:ext cx="423650" cy="1140179"/>
              <a:chOff x="4294987" y="765753"/>
              <a:chExt cx="619348" cy="1666865"/>
            </a:xfrm>
          </p:grpSpPr>
          <p:sp>
            <p:nvSpPr>
              <p:cNvPr id="170" name="Rectangle 6">
                <a:extLst>
                  <a:ext uri="{FF2B5EF4-FFF2-40B4-BE49-F238E27FC236}">
                    <a16:creationId xmlns:a16="http://schemas.microsoft.com/office/drawing/2014/main" id="{2FE8795A-D595-064C-BE64-30B7493F87B1}"/>
                  </a:ext>
                </a:extLst>
              </p:cNvPr>
              <p:cNvSpPr>
                <a:spLocks noChangeArrowheads="1"/>
              </p:cNvSpPr>
              <p:nvPr/>
            </p:nvSpPr>
            <p:spPr bwMode="auto">
              <a:xfrm>
                <a:off x="4502100" y="1886953"/>
                <a:ext cx="1992" cy="25889"/>
              </a:xfrm>
              <a:prstGeom prst="rect">
                <a:avLst/>
              </a:prstGeom>
              <a:solidFill>
                <a:schemeClr val="bg2"/>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71" name="Rectangle 7">
                <a:extLst>
                  <a:ext uri="{FF2B5EF4-FFF2-40B4-BE49-F238E27FC236}">
                    <a16:creationId xmlns:a16="http://schemas.microsoft.com/office/drawing/2014/main" id="{B7D6E2A5-64DE-5447-B6F5-18951E5029CE}"/>
                  </a:ext>
                </a:extLst>
              </p:cNvPr>
              <p:cNvSpPr>
                <a:spLocks noChangeArrowheads="1"/>
              </p:cNvSpPr>
              <p:nvPr/>
            </p:nvSpPr>
            <p:spPr bwMode="auto">
              <a:xfrm>
                <a:off x="4502100" y="1751533"/>
                <a:ext cx="1992" cy="25889"/>
              </a:xfrm>
              <a:prstGeom prst="rect">
                <a:avLst/>
              </a:prstGeom>
              <a:solidFill>
                <a:schemeClr val="bg2"/>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72" name="Rectangle 8">
                <a:extLst>
                  <a:ext uri="{FF2B5EF4-FFF2-40B4-BE49-F238E27FC236}">
                    <a16:creationId xmlns:a16="http://schemas.microsoft.com/office/drawing/2014/main" id="{FE54CDB9-0EF7-384B-B8DE-2FDB5E153BD1}"/>
                  </a:ext>
                </a:extLst>
              </p:cNvPr>
              <p:cNvSpPr>
                <a:spLocks noChangeArrowheads="1"/>
              </p:cNvSpPr>
              <p:nvPr/>
            </p:nvSpPr>
            <p:spPr bwMode="auto">
              <a:xfrm>
                <a:off x="4502100" y="1612131"/>
                <a:ext cx="1992" cy="27881"/>
              </a:xfrm>
              <a:prstGeom prst="rect">
                <a:avLst/>
              </a:prstGeom>
              <a:solidFill>
                <a:schemeClr val="bg2"/>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73" name="Freeform 117">
                <a:extLst>
                  <a:ext uri="{FF2B5EF4-FFF2-40B4-BE49-F238E27FC236}">
                    <a16:creationId xmlns:a16="http://schemas.microsoft.com/office/drawing/2014/main" id="{136D4404-60AC-8843-BCE4-6BC59945C4C9}"/>
                  </a:ext>
                </a:extLst>
              </p:cNvPr>
              <p:cNvSpPr>
                <a:spLocks/>
              </p:cNvSpPr>
              <p:nvPr/>
            </p:nvSpPr>
            <p:spPr bwMode="auto">
              <a:xfrm>
                <a:off x="4294987" y="765753"/>
                <a:ext cx="619348" cy="1666865"/>
              </a:xfrm>
              <a:custGeom>
                <a:avLst/>
                <a:gdLst>
                  <a:gd name="T0" fmla="*/ 311 w 311"/>
                  <a:gd name="T1" fmla="*/ 837 h 837"/>
                  <a:gd name="T2" fmla="*/ 0 w 311"/>
                  <a:gd name="T3" fmla="*/ 837 h 837"/>
                  <a:gd name="T4" fmla="*/ 0 w 311"/>
                  <a:gd name="T5" fmla="*/ 48 h 837"/>
                  <a:gd name="T6" fmla="*/ 311 w 311"/>
                  <a:gd name="T7" fmla="*/ 0 h 837"/>
                  <a:gd name="T8" fmla="*/ 311 w 311"/>
                  <a:gd name="T9" fmla="*/ 837 h 837"/>
                </a:gdLst>
                <a:ahLst/>
                <a:cxnLst>
                  <a:cxn ang="0">
                    <a:pos x="T0" y="T1"/>
                  </a:cxn>
                  <a:cxn ang="0">
                    <a:pos x="T2" y="T3"/>
                  </a:cxn>
                  <a:cxn ang="0">
                    <a:pos x="T4" y="T5"/>
                  </a:cxn>
                  <a:cxn ang="0">
                    <a:pos x="T6" y="T7"/>
                  </a:cxn>
                  <a:cxn ang="0">
                    <a:pos x="T8" y="T9"/>
                  </a:cxn>
                </a:cxnLst>
                <a:rect l="0" t="0" r="r" b="b"/>
                <a:pathLst>
                  <a:path w="311" h="837">
                    <a:moveTo>
                      <a:pt x="311" y="837"/>
                    </a:moveTo>
                    <a:lnTo>
                      <a:pt x="0" y="837"/>
                    </a:lnTo>
                    <a:lnTo>
                      <a:pt x="0" y="48"/>
                    </a:lnTo>
                    <a:lnTo>
                      <a:pt x="311" y="0"/>
                    </a:lnTo>
                    <a:lnTo>
                      <a:pt x="311" y="837"/>
                    </a:lnTo>
                    <a:close/>
                  </a:path>
                </a:pathLst>
              </a:custGeom>
              <a:solidFill>
                <a:schemeClr val="tx1">
                  <a:lumMod val="10000"/>
                  <a:lumOff val="90000"/>
                </a:schemeClr>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74" name="Rectangle 118">
                <a:extLst>
                  <a:ext uri="{FF2B5EF4-FFF2-40B4-BE49-F238E27FC236}">
                    <a16:creationId xmlns:a16="http://schemas.microsoft.com/office/drawing/2014/main" id="{81F0F914-FCAE-7440-B2E8-C9D8A9F9EB2A}"/>
                  </a:ext>
                </a:extLst>
              </p:cNvPr>
              <p:cNvSpPr>
                <a:spLocks noChangeArrowheads="1"/>
              </p:cNvSpPr>
              <p:nvPr/>
            </p:nvSpPr>
            <p:spPr bwMode="auto">
              <a:xfrm>
                <a:off x="4340791" y="899181"/>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75" name="Rectangle 119">
                <a:extLst>
                  <a:ext uri="{FF2B5EF4-FFF2-40B4-BE49-F238E27FC236}">
                    <a16:creationId xmlns:a16="http://schemas.microsoft.com/office/drawing/2014/main" id="{8F1765D3-7F8C-6E48-ACDA-5B46EC124273}"/>
                  </a:ext>
                </a:extLst>
              </p:cNvPr>
              <p:cNvSpPr>
                <a:spLocks noChangeArrowheads="1"/>
              </p:cNvSpPr>
              <p:nvPr/>
            </p:nvSpPr>
            <p:spPr bwMode="auto">
              <a:xfrm>
                <a:off x="4340791" y="1004730"/>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76" name="Rectangle 120">
                <a:extLst>
                  <a:ext uri="{FF2B5EF4-FFF2-40B4-BE49-F238E27FC236}">
                    <a16:creationId xmlns:a16="http://schemas.microsoft.com/office/drawing/2014/main" id="{203DBD46-8A60-8740-9490-CDD49CCB5635}"/>
                  </a:ext>
                </a:extLst>
              </p:cNvPr>
              <p:cNvSpPr>
                <a:spLocks noChangeArrowheads="1"/>
              </p:cNvSpPr>
              <p:nvPr/>
            </p:nvSpPr>
            <p:spPr bwMode="auto">
              <a:xfrm>
                <a:off x="4340791" y="1104303"/>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77" name="Rectangle 121">
                <a:extLst>
                  <a:ext uri="{FF2B5EF4-FFF2-40B4-BE49-F238E27FC236}">
                    <a16:creationId xmlns:a16="http://schemas.microsoft.com/office/drawing/2014/main" id="{9BCCAE99-0EBD-0A44-B552-805AC706F17C}"/>
                  </a:ext>
                </a:extLst>
              </p:cNvPr>
              <p:cNvSpPr>
                <a:spLocks noChangeArrowheads="1"/>
              </p:cNvSpPr>
              <p:nvPr/>
            </p:nvSpPr>
            <p:spPr bwMode="auto">
              <a:xfrm>
                <a:off x="4340791" y="1207860"/>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78" name="Rectangle 122">
                <a:extLst>
                  <a:ext uri="{FF2B5EF4-FFF2-40B4-BE49-F238E27FC236}">
                    <a16:creationId xmlns:a16="http://schemas.microsoft.com/office/drawing/2014/main" id="{03DDE9B1-7359-0C4F-9E88-065E2FF3FCF2}"/>
                  </a:ext>
                </a:extLst>
              </p:cNvPr>
              <p:cNvSpPr>
                <a:spLocks noChangeArrowheads="1"/>
              </p:cNvSpPr>
              <p:nvPr/>
            </p:nvSpPr>
            <p:spPr bwMode="auto">
              <a:xfrm>
                <a:off x="4340791" y="1311417"/>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79" name="Rectangle 123">
                <a:extLst>
                  <a:ext uri="{FF2B5EF4-FFF2-40B4-BE49-F238E27FC236}">
                    <a16:creationId xmlns:a16="http://schemas.microsoft.com/office/drawing/2014/main" id="{08730904-339A-C847-A67B-1B034AE0B528}"/>
                  </a:ext>
                </a:extLst>
              </p:cNvPr>
              <p:cNvSpPr>
                <a:spLocks noChangeArrowheads="1"/>
              </p:cNvSpPr>
              <p:nvPr/>
            </p:nvSpPr>
            <p:spPr bwMode="auto">
              <a:xfrm>
                <a:off x="4340791" y="1412982"/>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80" name="Rectangle 124">
                <a:extLst>
                  <a:ext uri="{FF2B5EF4-FFF2-40B4-BE49-F238E27FC236}">
                    <a16:creationId xmlns:a16="http://schemas.microsoft.com/office/drawing/2014/main" id="{4EE07700-A1F6-6740-8659-D7C48004E884}"/>
                  </a:ext>
                </a:extLst>
              </p:cNvPr>
              <p:cNvSpPr>
                <a:spLocks noChangeArrowheads="1"/>
              </p:cNvSpPr>
              <p:nvPr/>
            </p:nvSpPr>
            <p:spPr bwMode="auto">
              <a:xfrm>
                <a:off x="4340791" y="1516540"/>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81" name="Rectangle 125">
                <a:extLst>
                  <a:ext uri="{FF2B5EF4-FFF2-40B4-BE49-F238E27FC236}">
                    <a16:creationId xmlns:a16="http://schemas.microsoft.com/office/drawing/2014/main" id="{0AFEFF17-88E1-B44C-8E24-61CD35EBCFB6}"/>
                  </a:ext>
                </a:extLst>
              </p:cNvPr>
              <p:cNvSpPr>
                <a:spLocks noChangeArrowheads="1"/>
              </p:cNvSpPr>
              <p:nvPr/>
            </p:nvSpPr>
            <p:spPr bwMode="auto">
              <a:xfrm>
                <a:off x="4340791" y="1620096"/>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82" name="Rectangle 126">
                <a:extLst>
                  <a:ext uri="{FF2B5EF4-FFF2-40B4-BE49-F238E27FC236}">
                    <a16:creationId xmlns:a16="http://schemas.microsoft.com/office/drawing/2014/main" id="{8384B6D3-C1FD-4C48-B37A-B6EE490E2017}"/>
                  </a:ext>
                </a:extLst>
              </p:cNvPr>
              <p:cNvSpPr>
                <a:spLocks noChangeArrowheads="1"/>
              </p:cNvSpPr>
              <p:nvPr/>
            </p:nvSpPr>
            <p:spPr bwMode="auto">
              <a:xfrm>
                <a:off x="4340791" y="1719670"/>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83" name="Rectangle 127">
                <a:extLst>
                  <a:ext uri="{FF2B5EF4-FFF2-40B4-BE49-F238E27FC236}">
                    <a16:creationId xmlns:a16="http://schemas.microsoft.com/office/drawing/2014/main" id="{908158E7-C5DD-C44B-94E0-A5EC328F6C73}"/>
                  </a:ext>
                </a:extLst>
              </p:cNvPr>
              <p:cNvSpPr>
                <a:spLocks noChangeArrowheads="1"/>
              </p:cNvSpPr>
              <p:nvPr/>
            </p:nvSpPr>
            <p:spPr bwMode="auto">
              <a:xfrm>
                <a:off x="4340791" y="1825218"/>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84" name="Rectangle 128">
                <a:extLst>
                  <a:ext uri="{FF2B5EF4-FFF2-40B4-BE49-F238E27FC236}">
                    <a16:creationId xmlns:a16="http://schemas.microsoft.com/office/drawing/2014/main" id="{2DC117DB-B23D-184F-B9E2-2148E2DA4031}"/>
                  </a:ext>
                </a:extLst>
              </p:cNvPr>
              <p:cNvSpPr>
                <a:spLocks noChangeArrowheads="1"/>
              </p:cNvSpPr>
              <p:nvPr/>
            </p:nvSpPr>
            <p:spPr bwMode="auto">
              <a:xfrm>
                <a:off x="4340791" y="1928775"/>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85" name="Rectangle 129">
                <a:extLst>
                  <a:ext uri="{FF2B5EF4-FFF2-40B4-BE49-F238E27FC236}">
                    <a16:creationId xmlns:a16="http://schemas.microsoft.com/office/drawing/2014/main" id="{E7ED4EA5-41C0-AA46-A9E3-3BE1E00EF359}"/>
                  </a:ext>
                </a:extLst>
              </p:cNvPr>
              <p:cNvSpPr>
                <a:spLocks noChangeArrowheads="1"/>
              </p:cNvSpPr>
              <p:nvPr/>
            </p:nvSpPr>
            <p:spPr bwMode="auto">
              <a:xfrm>
                <a:off x="4340791" y="2028348"/>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86" name="Rectangle 130">
                <a:extLst>
                  <a:ext uri="{FF2B5EF4-FFF2-40B4-BE49-F238E27FC236}">
                    <a16:creationId xmlns:a16="http://schemas.microsoft.com/office/drawing/2014/main" id="{DB288A24-3061-3A43-B3D7-7A3B01EDDB1B}"/>
                  </a:ext>
                </a:extLst>
              </p:cNvPr>
              <p:cNvSpPr>
                <a:spLocks noChangeArrowheads="1"/>
              </p:cNvSpPr>
              <p:nvPr/>
            </p:nvSpPr>
            <p:spPr bwMode="auto">
              <a:xfrm>
                <a:off x="4340791" y="2131905"/>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87" name="Rectangle 131">
                <a:extLst>
                  <a:ext uri="{FF2B5EF4-FFF2-40B4-BE49-F238E27FC236}">
                    <a16:creationId xmlns:a16="http://schemas.microsoft.com/office/drawing/2014/main" id="{ADA416AE-9282-2140-9F3F-14D5F6FCFBE2}"/>
                  </a:ext>
                </a:extLst>
              </p:cNvPr>
              <p:cNvSpPr>
                <a:spLocks noChangeArrowheads="1"/>
              </p:cNvSpPr>
              <p:nvPr/>
            </p:nvSpPr>
            <p:spPr bwMode="auto">
              <a:xfrm>
                <a:off x="4452313" y="2225505"/>
                <a:ext cx="304696" cy="20711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88" name="Rectangle 132">
                <a:extLst>
                  <a:ext uri="{FF2B5EF4-FFF2-40B4-BE49-F238E27FC236}">
                    <a16:creationId xmlns:a16="http://schemas.microsoft.com/office/drawing/2014/main" id="{670B2758-B9D3-4F40-9658-63B3F811F540}"/>
                  </a:ext>
                </a:extLst>
              </p:cNvPr>
              <p:cNvSpPr>
                <a:spLocks noChangeArrowheads="1"/>
              </p:cNvSpPr>
              <p:nvPr/>
            </p:nvSpPr>
            <p:spPr bwMode="auto">
              <a:xfrm>
                <a:off x="4599681" y="869309"/>
                <a:ext cx="9958" cy="1563309"/>
              </a:xfrm>
              <a:prstGeom prst="rect">
                <a:avLst/>
              </a:prstGeom>
              <a:solidFill>
                <a:schemeClr val="tx1">
                  <a:lumMod val="10000"/>
                  <a:lumOff val="90000"/>
                </a:schemeClr>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grpSp>
        <p:grpSp>
          <p:nvGrpSpPr>
            <p:cNvPr id="41" name="Group 40">
              <a:extLst>
                <a:ext uri="{FF2B5EF4-FFF2-40B4-BE49-F238E27FC236}">
                  <a16:creationId xmlns:a16="http://schemas.microsoft.com/office/drawing/2014/main" id="{288C442C-55E4-9F4D-AAEA-B5368B784A30}"/>
                </a:ext>
              </a:extLst>
            </p:cNvPr>
            <p:cNvGrpSpPr/>
            <p:nvPr/>
          </p:nvGrpSpPr>
          <p:grpSpPr>
            <a:xfrm>
              <a:off x="6693065" y="3432276"/>
              <a:ext cx="682824" cy="1365649"/>
              <a:chOff x="9668891" y="2918534"/>
              <a:chExt cx="998242" cy="1996486"/>
            </a:xfrm>
          </p:grpSpPr>
          <p:sp>
            <p:nvSpPr>
              <p:cNvPr id="71" name="Rectangle 152">
                <a:extLst>
                  <a:ext uri="{FF2B5EF4-FFF2-40B4-BE49-F238E27FC236}">
                    <a16:creationId xmlns:a16="http://schemas.microsoft.com/office/drawing/2014/main" id="{D3879E59-CE7E-5E48-BAA6-EE92468FBD13}"/>
                  </a:ext>
                </a:extLst>
              </p:cNvPr>
              <p:cNvSpPr>
                <a:spLocks noChangeArrowheads="1"/>
              </p:cNvSpPr>
              <p:nvPr/>
            </p:nvSpPr>
            <p:spPr bwMode="auto">
              <a:xfrm flipH="1">
                <a:off x="9993319" y="2918534"/>
                <a:ext cx="349384" cy="155975"/>
              </a:xfrm>
              <a:prstGeom prst="rect">
                <a:avLst/>
              </a:prstGeom>
              <a:solidFill>
                <a:srgbClr val="E6EBF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72" name="Rectangle 154">
                <a:extLst>
                  <a:ext uri="{FF2B5EF4-FFF2-40B4-BE49-F238E27FC236}">
                    <a16:creationId xmlns:a16="http://schemas.microsoft.com/office/drawing/2014/main" id="{AC5CB712-4446-144E-84D1-35D145AE9D3D}"/>
                  </a:ext>
                </a:extLst>
              </p:cNvPr>
              <p:cNvSpPr>
                <a:spLocks noChangeArrowheads="1"/>
              </p:cNvSpPr>
              <p:nvPr/>
            </p:nvSpPr>
            <p:spPr bwMode="auto">
              <a:xfrm flipH="1">
                <a:off x="9743759" y="3034995"/>
                <a:ext cx="848506" cy="214207"/>
              </a:xfrm>
              <a:prstGeom prst="rect">
                <a:avLst/>
              </a:prstGeom>
              <a:solidFill>
                <a:srgbClr val="E6EBF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73" name="Rectangle 155">
                <a:extLst>
                  <a:ext uri="{FF2B5EF4-FFF2-40B4-BE49-F238E27FC236}">
                    <a16:creationId xmlns:a16="http://schemas.microsoft.com/office/drawing/2014/main" id="{3893CE5A-9F54-C94B-94D4-00B5547A819E}"/>
                  </a:ext>
                </a:extLst>
              </p:cNvPr>
              <p:cNvSpPr>
                <a:spLocks noChangeArrowheads="1"/>
              </p:cNvSpPr>
              <p:nvPr/>
            </p:nvSpPr>
            <p:spPr bwMode="auto">
              <a:xfrm flipH="1">
                <a:off x="9668891" y="3224245"/>
                <a:ext cx="998242" cy="1690775"/>
              </a:xfrm>
              <a:prstGeom prst="rect">
                <a:avLst/>
              </a:prstGeom>
              <a:solidFill>
                <a:srgbClr val="E6EBF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74" name="Rectangle 156">
                <a:extLst>
                  <a:ext uri="{FF2B5EF4-FFF2-40B4-BE49-F238E27FC236}">
                    <a16:creationId xmlns:a16="http://schemas.microsoft.com/office/drawing/2014/main" id="{4F7E1B93-7B5E-2142-B7B0-B6C1E16E1BCF}"/>
                  </a:ext>
                </a:extLst>
              </p:cNvPr>
              <p:cNvSpPr>
                <a:spLocks noChangeArrowheads="1"/>
              </p:cNvSpPr>
              <p:nvPr/>
            </p:nvSpPr>
            <p:spPr bwMode="auto">
              <a:xfrm flipH="1">
                <a:off x="10446688"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75" name="Rectangle 157">
                <a:extLst>
                  <a:ext uri="{FF2B5EF4-FFF2-40B4-BE49-F238E27FC236}">
                    <a16:creationId xmlns:a16="http://schemas.microsoft.com/office/drawing/2014/main" id="{A14B96D6-CE6E-4744-B225-D95C026E47A4}"/>
                  </a:ext>
                </a:extLst>
              </p:cNvPr>
              <p:cNvSpPr>
                <a:spLocks noChangeArrowheads="1"/>
              </p:cNvSpPr>
              <p:nvPr/>
            </p:nvSpPr>
            <p:spPr bwMode="auto">
              <a:xfrm flipH="1">
                <a:off x="10342705"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76" name="Rectangle 158">
                <a:extLst>
                  <a:ext uri="{FF2B5EF4-FFF2-40B4-BE49-F238E27FC236}">
                    <a16:creationId xmlns:a16="http://schemas.microsoft.com/office/drawing/2014/main" id="{935E2A24-9D8D-7144-836E-04D3F1654F88}"/>
                  </a:ext>
                </a:extLst>
              </p:cNvPr>
              <p:cNvSpPr>
                <a:spLocks noChangeArrowheads="1"/>
              </p:cNvSpPr>
              <p:nvPr/>
            </p:nvSpPr>
            <p:spPr bwMode="auto">
              <a:xfrm flipH="1">
                <a:off x="10234561"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77" name="Rectangle 159">
                <a:extLst>
                  <a:ext uri="{FF2B5EF4-FFF2-40B4-BE49-F238E27FC236}">
                    <a16:creationId xmlns:a16="http://schemas.microsoft.com/office/drawing/2014/main" id="{EFF03339-904D-7249-A5BE-4C2F4A58AB62}"/>
                  </a:ext>
                </a:extLst>
              </p:cNvPr>
              <p:cNvSpPr>
                <a:spLocks noChangeArrowheads="1"/>
              </p:cNvSpPr>
              <p:nvPr/>
            </p:nvSpPr>
            <p:spPr bwMode="auto">
              <a:xfrm flipH="1">
                <a:off x="10130577"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78" name="Rectangle 160">
                <a:extLst>
                  <a:ext uri="{FF2B5EF4-FFF2-40B4-BE49-F238E27FC236}">
                    <a16:creationId xmlns:a16="http://schemas.microsoft.com/office/drawing/2014/main" id="{F8DB0063-AFC4-4841-9551-522836B239AC}"/>
                  </a:ext>
                </a:extLst>
              </p:cNvPr>
              <p:cNvSpPr>
                <a:spLocks noChangeArrowheads="1"/>
              </p:cNvSpPr>
              <p:nvPr/>
            </p:nvSpPr>
            <p:spPr bwMode="auto">
              <a:xfrm flipH="1">
                <a:off x="10026594"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79" name="Rectangle 161">
                <a:extLst>
                  <a:ext uri="{FF2B5EF4-FFF2-40B4-BE49-F238E27FC236}">
                    <a16:creationId xmlns:a16="http://schemas.microsoft.com/office/drawing/2014/main" id="{2243FBCF-94B9-3743-B22A-E52057F88FCB}"/>
                  </a:ext>
                </a:extLst>
              </p:cNvPr>
              <p:cNvSpPr>
                <a:spLocks noChangeArrowheads="1"/>
              </p:cNvSpPr>
              <p:nvPr/>
            </p:nvSpPr>
            <p:spPr bwMode="auto">
              <a:xfrm flipH="1">
                <a:off x="9920531"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80" name="Rectangle 162">
                <a:extLst>
                  <a:ext uri="{FF2B5EF4-FFF2-40B4-BE49-F238E27FC236}">
                    <a16:creationId xmlns:a16="http://schemas.microsoft.com/office/drawing/2014/main" id="{1DA75733-8B57-8B47-82CE-4AF41AD5939B}"/>
                  </a:ext>
                </a:extLst>
              </p:cNvPr>
              <p:cNvSpPr>
                <a:spLocks noChangeArrowheads="1"/>
              </p:cNvSpPr>
              <p:nvPr/>
            </p:nvSpPr>
            <p:spPr bwMode="auto">
              <a:xfrm flipH="1">
                <a:off x="9816548"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81" name="Rectangle 163">
                <a:extLst>
                  <a:ext uri="{FF2B5EF4-FFF2-40B4-BE49-F238E27FC236}">
                    <a16:creationId xmlns:a16="http://schemas.microsoft.com/office/drawing/2014/main" id="{B08C8D94-6CA8-AA41-8255-13396BA43391}"/>
                  </a:ext>
                </a:extLst>
              </p:cNvPr>
              <p:cNvSpPr>
                <a:spLocks noChangeArrowheads="1"/>
              </p:cNvSpPr>
              <p:nvPr/>
            </p:nvSpPr>
            <p:spPr bwMode="auto">
              <a:xfrm flipH="1">
                <a:off x="10550672"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82" name="Rectangle 164">
                <a:extLst>
                  <a:ext uri="{FF2B5EF4-FFF2-40B4-BE49-F238E27FC236}">
                    <a16:creationId xmlns:a16="http://schemas.microsoft.com/office/drawing/2014/main" id="{048FCAEF-6DD1-6E45-8853-9105DF31A115}"/>
                  </a:ext>
                </a:extLst>
              </p:cNvPr>
              <p:cNvSpPr>
                <a:spLocks noChangeArrowheads="1"/>
              </p:cNvSpPr>
              <p:nvPr/>
            </p:nvSpPr>
            <p:spPr bwMode="auto">
              <a:xfrm flipH="1">
                <a:off x="10446688"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83" name="Rectangle 165">
                <a:extLst>
                  <a:ext uri="{FF2B5EF4-FFF2-40B4-BE49-F238E27FC236}">
                    <a16:creationId xmlns:a16="http://schemas.microsoft.com/office/drawing/2014/main" id="{FB27B6CE-4F6E-B842-BEED-F0D707294F3F}"/>
                  </a:ext>
                </a:extLst>
              </p:cNvPr>
              <p:cNvSpPr>
                <a:spLocks noChangeArrowheads="1"/>
              </p:cNvSpPr>
              <p:nvPr/>
            </p:nvSpPr>
            <p:spPr bwMode="auto">
              <a:xfrm flipH="1">
                <a:off x="10342705"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84" name="Rectangle 166">
                <a:extLst>
                  <a:ext uri="{FF2B5EF4-FFF2-40B4-BE49-F238E27FC236}">
                    <a16:creationId xmlns:a16="http://schemas.microsoft.com/office/drawing/2014/main" id="{E67C5442-7AAB-5B43-85A2-B4F8F7F96ADE}"/>
                  </a:ext>
                </a:extLst>
              </p:cNvPr>
              <p:cNvSpPr>
                <a:spLocks noChangeArrowheads="1"/>
              </p:cNvSpPr>
              <p:nvPr/>
            </p:nvSpPr>
            <p:spPr bwMode="auto">
              <a:xfrm flipH="1">
                <a:off x="10234561"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85" name="Rectangle 167">
                <a:extLst>
                  <a:ext uri="{FF2B5EF4-FFF2-40B4-BE49-F238E27FC236}">
                    <a16:creationId xmlns:a16="http://schemas.microsoft.com/office/drawing/2014/main" id="{324172A0-2548-8C47-9715-B405D6909D2E}"/>
                  </a:ext>
                </a:extLst>
              </p:cNvPr>
              <p:cNvSpPr>
                <a:spLocks noChangeArrowheads="1"/>
              </p:cNvSpPr>
              <p:nvPr/>
            </p:nvSpPr>
            <p:spPr bwMode="auto">
              <a:xfrm flipH="1">
                <a:off x="10130577"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86" name="Rectangle 168">
                <a:extLst>
                  <a:ext uri="{FF2B5EF4-FFF2-40B4-BE49-F238E27FC236}">
                    <a16:creationId xmlns:a16="http://schemas.microsoft.com/office/drawing/2014/main" id="{FFD9E760-42BA-C14D-8040-F53182CF9A3A}"/>
                  </a:ext>
                </a:extLst>
              </p:cNvPr>
              <p:cNvSpPr>
                <a:spLocks noChangeArrowheads="1"/>
              </p:cNvSpPr>
              <p:nvPr/>
            </p:nvSpPr>
            <p:spPr bwMode="auto">
              <a:xfrm flipH="1">
                <a:off x="10026594"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87" name="Rectangle 169">
                <a:extLst>
                  <a:ext uri="{FF2B5EF4-FFF2-40B4-BE49-F238E27FC236}">
                    <a16:creationId xmlns:a16="http://schemas.microsoft.com/office/drawing/2014/main" id="{A7033D9B-49E1-C44F-9853-ADF58C406ECB}"/>
                  </a:ext>
                </a:extLst>
              </p:cNvPr>
              <p:cNvSpPr>
                <a:spLocks noChangeArrowheads="1"/>
              </p:cNvSpPr>
              <p:nvPr/>
            </p:nvSpPr>
            <p:spPr bwMode="auto">
              <a:xfrm flipH="1">
                <a:off x="9920531"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88" name="Rectangle 170">
                <a:extLst>
                  <a:ext uri="{FF2B5EF4-FFF2-40B4-BE49-F238E27FC236}">
                    <a16:creationId xmlns:a16="http://schemas.microsoft.com/office/drawing/2014/main" id="{7A3E55B9-455E-D14D-8289-F3AC18E1C35C}"/>
                  </a:ext>
                </a:extLst>
              </p:cNvPr>
              <p:cNvSpPr>
                <a:spLocks noChangeArrowheads="1"/>
              </p:cNvSpPr>
              <p:nvPr/>
            </p:nvSpPr>
            <p:spPr bwMode="auto">
              <a:xfrm flipH="1">
                <a:off x="9816548"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89" name="Rectangle 171">
                <a:extLst>
                  <a:ext uri="{FF2B5EF4-FFF2-40B4-BE49-F238E27FC236}">
                    <a16:creationId xmlns:a16="http://schemas.microsoft.com/office/drawing/2014/main" id="{3014F8E5-9B6C-C243-B01A-628964218EB3}"/>
                  </a:ext>
                </a:extLst>
              </p:cNvPr>
              <p:cNvSpPr>
                <a:spLocks noChangeArrowheads="1"/>
              </p:cNvSpPr>
              <p:nvPr/>
            </p:nvSpPr>
            <p:spPr bwMode="auto">
              <a:xfrm flipH="1">
                <a:off x="9712564"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90" name="Rectangle 172">
                <a:extLst>
                  <a:ext uri="{FF2B5EF4-FFF2-40B4-BE49-F238E27FC236}">
                    <a16:creationId xmlns:a16="http://schemas.microsoft.com/office/drawing/2014/main" id="{C8E33CD7-9675-2540-9FAE-C89F398478FE}"/>
                  </a:ext>
                </a:extLst>
              </p:cNvPr>
              <p:cNvSpPr>
                <a:spLocks noChangeArrowheads="1"/>
              </p:cNvSpPr>
              <p:nvPr/>
            </p:nvSpPr>
            <p:spPr bwMode="auto">
              <a:xfrm flipH="1">
                <a:off x="10550672"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91" name="Rectangle 173">
                <a:extLst>
                  <a:ext uri="{FF2B5EF4-FFF2-40B4-BE49-F238E27FC236}">
                    <a16:creationId xmlns:a16="http://schemas.microsoft.com/office/drawing/2014/main" id="{58B9138F-EBCF-9741-8072-8467A949F223}"/>
                  </a:ext>
                </a:extLst>
              </p:cNvPr>
              <p:cNvSpPr>
                <a:spLocks noChangeArrowheads="1"/>
              </p:cNvSpPr>
              <p:nvPr/>
            </p:nvSpPr>
            <p:spPr bwMode="auto">
              <a:xfrm flipH="1">
                <a:off x="10446688"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92" name="Rectangle 174">
                <a:extLst>
                  <a:ext uri="{FF2B5EF4-FFF2-40B4-BE49-F238E27FC236}">
                    <a16:creationId xmlns:a16="http://schemas.microsoft.com/office/drawing/2014/main" id="{4F9B938D-2675-D847-8E96-315F1E840504}"/>
                  </a:ext>
                </a:extLst>
              </p:cNvPr>
              <p:cNvSpPr>
                <a:spLocks noChangeArrowheads="1"/>
              </p:cNvSpPr>
              <p:nvPr/>
            </p:nvSpPr>
            <p:spPr bwMode="auto">
              <a:xfrm flipH="1">
                <a:off x="10342705"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93" name="Rectangle 175">
                <a:extLst>
                  <a:ext uri="{FF2B5EF4-FFF2-40B4-BE49-F238E27FC236}">
                    <a16:creationId xmlns:a16="http://schemas.microsoft.com/office/drawing/2014/main" id="{520063A7-528B-314D-82A2-CFA37D81101F}"/>
                  </a:ext>
                </a:extLst>
              </p:cNvPr>
              <p:cNvSpPr>
                <a:spLocks noChangeArrowheads="1"/>
              </p:cNvSpPr>
              <p:nvPr/>
            </p:nvSpPr>
            <p:spPr bwMode="auto">
              <a:xfrm flipH="1">
                <a:off x="10234561"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94" name="Rectangle 176">
                <a:extLst>
                  <a:ext uri="{FF2B5EF4-FFF2-40B4-BE49-F238E27FC236}">
                    <a16:creationId xmlns:a16="http://schemas.microsoft.com/office/drawing/2014/main" id="{B5938452-FCD6-9A40-8DC9-06E595F59EFF}"/>
                  </a:ext>
                </a:extLst>
              </p:cNvPr>
              <p:cNvSpPr>
                <a:spLocks noChangeArrowheads="1"/>
              </p:cNvSpPr>
              <p:nvPr/>
            </p:nvSpPr>
            <p:spPr bwMode="auto">
              <a:xfrm flipH="1">
                <a:off x="10130577"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95" name="Rectangle 177">
                <a:extLst>
                  <a:ext uri="{FF2B5EF4-FFF2-40B4-BE49-F238E27FC236}">
                    <a16:creationId xmlns:a16="http://schemas.microsoft.com/office/drawing/2014/main" id="{456714F4-DAEB-8C45-A640-55DD1C20A812}"/>
                  </a:ext>
                </a:extLst>
              </p:cNvPr>
              <p:cNvSpPr>
                <a:spLocks noChangeArrowheads="1"/>
              </p:cNvSpPr>
              <p:nvPr/>
            </p:nvSpPr>
            <p:spPr bwMode="auto">
              <a:xfrm flipH="1">
                <a:off x="10026594"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96" name="Rectangle 178">
                <a:extLst>
                  <a:ext uri="{FF2B5EF4-FFF2-40B4-BE49-F238E27FC236}">
                    <a16:creationId xmlns:a16="http://schemas.microsoft.com/office/drawing/2014/main" id="{FEB2CEB9-CBC6-FB4D-8209-C805D9ABADE4}"/>
                  </a:ext>
                </a:extLst>
              </p:cNvPr>
              <p:cNvSpPr>
                <a:spLocks noChangeArrowheads="1"/>
              </p:cNvSpPr>
              <p:nvPr/>
            </p:nvSpPr>
            <p:spPr bwMode="auto">
              <a:xfrm flipH="1">
                <a:off x="9920531"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97" name="Rectangle 179">
                <a:extLst>
                  <a:ext uri="{FF2B5EF4-FFF2-40B4-BE49-F238E27FC236}">
                    <a16:creationId xmlns:a16="http://schemas.microsoft.com/office/drawing/2014/main" id="{473343AF-9D95-BD40-8AFD-AC54D3E0AB0C}"/>
                  </a:ext>
                </a:extLst>
              </p:cNvPr>
              <p:cNvSpPr>
                <a:spLocks noChangeArrowheads="1"/>
              </p:cNvSpPr>
              <p:nvPr/>
            </p:nvSpPr>
            <p:spPr bwMode="auto">
              <a:xfrm flipH="1">
                <a:off x="9816548"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98" name="Rectangle 180">
                <a:extLst>
                  <a:ext uri="{FF2B5EF4-FFF2-40B4-BE49-F238E27FC236}">
                    <a16:creationId xmlns:a16="http://schemas.microsoft.com/office/drawing/2014/main" id="{93A569BA-A48B-6D42-92BE-7204B5487BBB}"/>
                  </a:ext>
                </a:extLst>
              </p:cNvPr>
              <p:cNvSpPr>
                <a:spLocks noChangeArrowheads="1"/>
              </p:cNvSpPr>
              <p:nvPr/>
            </p:nvSpPr>
            <p:spPr bwMode="auto">
              <a:xfrm flipH="1">
                <a:off x="9712564"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99" name="Rectangle 181">
                <a:extLst>
                  <a:ext uri="{FF2B5EF4-FFF2-40B4-BE49-F238E27FC236}">
                    <a16:creationId xmlns:a16="http://schemas.microsoft.com/office/drawing/2014/main" id="{6DC0ADFD-B027-2642-9EF7-0F6017993C34}"/>
                  </a:ext>
                </a:extLst>
              </p:cNvPr>
              <p:cNvSpPr>
                <a:spLocks noChangeArrowheads="1"/>
              </p:cNvSpPr>
              <p:nvPr/>
            </p:nvSpPr>
            <p:spPr bwMode="auto">
              <a:xfrm flipH="1">
                <a:off x="10550672"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00" name="Rectangle 182">
                <a:extLst>
                  <a:ext uri="{FF2B5EF4-FFF2-40B4-BE49-F238E27FC236}">
                    <a16:creationId xmlns:a16="http://schemas.microsoft.com/office/drawing/2014/main" id="{ACC9EAE2-BF63-A647-876A-B03758506C40}"/>
                  </a:ext>
                </a:extLst>
              </p:cNvPr>
              <p:cNvSpPr>
                <a:spLocks noChangeArrowheads="1"/>
              </p:cNvSpPr>
              <p:nvPr/>
            </p:nvSpPr>
            <p:spPr bwMode="auto">
              <a:xfrm flipH="1">
                <a:off x="10446688"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01" name="Rectangle 183">
                <a:extLst>
                  <a:ext uri="{FF2B5EF4-FFF2-40B4-BE49-F238E27FC236}">
                    <a16:creationId xmlns:a16="http://schemas.microsoft.com/office/drawing/2014/main" id="{F78E8C72-AC34-C241-B3B7-3CED0B35942A}"/>
                  </a:ext>
                </a:extLst>
              </p:cNvPr>
              <p:cNvSpPr>
                <a:spLocks noChangeArrowheads="1"/>
              </p:cNvSpPr>
              <p:nvPr/>
            </p:nvSpPr>
            <p:spPr bwMode="auto">
              <a:xfrm flipH="1">
                <a:off x="10342705"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02" name="Rectangle 184">
                <a:extLst>
                  <a:ext uri="{FF2B5EF4-FFF2-40B4-BE49-F238E27FC236}">
                    <a16:creationId xmlns:a16="http://schemas.microsoft.com/office/drawing/2014/main" id="{D69B01D8-F15C-F944-83BB-CE76A7DB0356}"/>
                  </a:ext>
                </a:extLst>
              </p:cNvPr>
              <p:cNvSpPr>
                <a:spLocks noChangeArrowheads="1"/>
              </p:cNvSpPr>
              <p:nvPr/>
            </p:nvSpPr>
            <p:spPr bwMode="auto">
              <a:xfrm flipH="1">
                <a:off x="10234561"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03" name="Rectangle 185">
                <a:extLst>
                  <a:ext uri="{FF2B5EF4-FFF2-40B4-BE49-F238E27FC236}">
                    <a16:creationId xmlns:a16="http://schemas.microsoft.com/office/drawing/2014/main" id="{B893817E-8B42-E440-BD0D-6D938923CBD4}"/>
                  </a:ext>
                </a:extLst>
              </p:cNvPr>
              <p:cNvSpPr>
                <a:spLocks noChangeArrowheads="1"/>
              </p:cNvSpPr>
              <p:nvPr/>
            </p:nvSpPr>
            <p:spPr bwMode="auto">
              <a:xfrm flipH="1">
                <a:off x="10130577"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04" name="Rectangle 186">
                <a:extLst>
                  <a:ext uri="{FF2B5EF4-FFF2-40B4-BE49-F238E27FC236}">
                    <a16:creationId xmlns:a16="http://schemas.microsoft.com/office/drawing/2014/main" id="{C0480ADE-9516-3043-9001-8C0314BE9470}"/>
                  </a:ext>
                </a:extLst>
              </p:cNvPr>
              <p:cNvSpPr>
                <a:spLocks noChangeArrowheads="1"/>
              </p:cNvSpPr>
              <p:nvPr/>
            </p:nvSpPr>
            <p:spPr bwMode="auto">
              <a:xfrm flipH="1">
                <a:off x="10026594"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05" name="Rectangle 187">
                <a:extLst>
                  <a:ext uri="{FF2B5EF4-FFF2-40B4-BE49-F238E27FC236}">
                    <a16:creationId xmlns:a16="http://schemas.microsoft.com/office/drawing/2014/main" id="{C9C84986-1ECD-4549-BDE9-A31055E64668}"/>
                  </a:ext>
                </a:extLst>
              </p:cNvPr>
              <p:cNvSpPr>
                <a:spLocks noChangeArrowheads="1"/>
              </p:cNvSpPr>
              <p:nvPr/>
            </p:nvSpPr>
            <p:spPr bwMode="auto">
              <a:xfrm flipH="1">
                <a:off x="9920531"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06" name="Rectangle 188">
                <a:extLst>
                  <a:ext uri="{FF2B5EF4-FFF2-40B4-BE49-F238E27FC236}">
                    <a16:creationId xmlns:a16="http://schemas.microsoft.com/office/drawing/2014/main" id="{68B7E6A1-A85F-3A4B-AAEE-DC83534969AB}"/>
                  </a:ext>
                </a:extLst>
              </p:cNvPr>
              <p:cNvSpPr>
                <a:spLocks noChangeArrowheads="1"/>
              </p:cNvSpPr>
              <p:nvPr/>
            </p:nvSpPr>
            <p:spPr bwMode="auto">
              <a:xfrm flipH="1">
                <a:off x="9816548"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07" name="Rectangle 189">
                <a:extLst>
                  <a:ext uri="{FF2B5EF4-FFF2-40B4-BE49-F238E27FC236}">
                    <a16:creationId xmlns:a16="http://schemas.microsoft.com/office/drawing/2014/main" id="{87DF9CF7-666C-E248-8BA5-23211C25EB24}"/>
                  </a:ext>
                </a:extLst>
              </p:cNvPr>
              <p:cNvSpPr>
                <a:spLocks noChangeArrowheads="1"/>
              </p:cNvSpPr>
              <p:nvPr/>
            </p:nvSpPr>
            <p:spPr bwMode="auto">
              <a:xfrm flipH="1">
                <a:off x="9712564"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08" name="Rectangle 190">
                <a:extLst>
                  <a:ext uri="{FF2B5EF4-FFF2-40B4-BE49-F238E27FC236}">
                    <a16:creationId xmlns:a16="http://schemas.microsoft.com/office/drawing/2014/main" id="{1489CB2D-EE73-764F-B4FB-1DC83F5650C9}"/>
                  </a:ext>
                </a:extLst>
              </p:cNvPr>
              <p:cNvSpPr>
                <a:spLocks noChangeArrowheads="1"/>
              </p:cNvSpPr>
              <p:nvPr/>
            </p:nvSpPr>
            <p:spPr bwMode="auto">
              <a:xfrm flipH="1">
                <a:off x="10550672"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09" name="Rectangle 191">
                <a:extLst>
                  <a:ext uri="{FF2B5EF4-FFF2-40B4-BE49-F238E27FC236}">
                    <a16:creationId xmlns:a16="http://schemas.microsoft.com/office/drawing/2014/main" id="{188A85D1-B151-4F45-B455-8A7671007C81}"/>
                  </a:ext>
                </a:extLst>
              </p:cNvPr>
              <p:cNvSpPr>
                <a:spLocks noChangeArrowheads="1"/>
              </p:cNvSpPr>
              <p:nvPr/>
            </p:nvSpPr>
            <p:spPr bwMode="auto">
              <a:xfrm flipH="1">
                <a:off x="10446688"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10" name="Rectangle 192">
                <a:extLst>
                  <a:ext uri="{FF2B5EF4-FFF2-40B4-BE49-F238E27FC236}">
                    <a16:creationId xmlns:a16="http://schemas.microsoft.com/office/drawing/2014/main" id="{9AD0396E-D7EE-4944-983C-1479E064059A}"/>
                  </a:ext>
                </a:extLst>
              </p:cNvPr>
              <p:cNvSpPr>
                <a:spLocks noChangeArrowheads="1"/>
              </p:cNvSpPr>
              <p:nvPr/>
            </p:nvSpPr>
            <p:spPr bwMode="auto">
              <a:xfrm flipH="1">
                <a:off x="10342705"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11" name="Rectangle 193">
                <a:extLst>
                  <a:ext uri="{FF2B5EF4-FFF2-40B4-BE49-F238E27FC236}">
                    <a16:creationId xmlns:a16="http://schemas.microsoft.com/office/drawing/2014/main" id="{F40731E0-B26B-EB42-B837-78EA339EBA8E}"/>
                  </a:ext>
                </a:extLst>
              </p:cNvPr>
              <p:cNvSpPr>
                <a:spLocks noChangeArrowheads="1"/>
              </p:cNvSpPr>
              <p:nvPr/>
            </p:nvSpPr>
            <p:spPr bwMode="auto">
              <a:xfrm flipH="1">
                <a:off x="10234561"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12" name="Rectangle 194">
                <a:extLst>
                  <a:ext uri="{FF2B5EF4-FFF2-40B4-BE49-F238E27FC236}">
                    <a16:creationId xmlns:a16="http://schemas.microsoft.com/office/drawing/2014/main" id="{45774EC5-47DA-7E41-B711-78893891CF0D}"/>
                  </a:ext>
                </a:extLst>
              </p:cNvPr>
              <p:cNvSpPr>
                <a:spLocks noChangeArrowheads="1"/>
              </p:cNvSpPr>
              <p:nvPr/>
            </p:nvSpPr>
            <p:spPr bwMode="auto">
              <a:xfrm flipH="1">
                <a:off x="10130577"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13" name="Rectangle 195">
                <a:extLst>
                  <a:ext uri="{FF2B5EF4-FFF2-40B4-BE49-F238E27FC236}">
                    <a16:creationId xmlns:a16="http://schemas.microsoft.com/office/drawing/2014/main" id="{39DFF2D9-2F12-E440-AB19-6A9B1C683DA5}"/>
                  </a:ext>
                </a:extLst>
              </p:cNvPr>
              <p:cNvSpPr>
                <a:spLocks noChangeArrowheads="1"/>
              </p:cNvSpPr>
              <p:nvPr/>
            </p:nvSpPr>
            <p:spPr bwMode="auto">
              <a:xfrm flipH="1">
                <a:off x="10026594"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14" name="Rectangle 196">
                <a:extLst>
                  <a:ext uri="{FF2B5EF4-FFF2-40B4-BE49-F238E27FC236}">
                    <a16:creationId xmlns:a16="http://schemas.microsoft.com/office/drawing/2014/main" id="{04EC0017-9BF8-3E49-A5C6-C6F86DF9C368}"/>
                  </a:ext>
                </a:extLst>
              </p:cNvPr>
              <p:cNvSpPr>
                <a:spLocks noChangeArrowheads="1"/>
              </p:cNvSpPr>
              <p:nvPr/>
            </p:nvSpPr>
            <p:spPr bwMode="auto">
              <a:xfrm flipH="1">
                <a:off x="9920531"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15" name="Rectangle 197">
                <a:extLst>
                  <a:ext uri="{FF2B5EF4-FFF2-40B4-BE49-F238E27FC236}">
                    <a16:creationId xmlns:a16="http://schemas.microsoft.com/office/drawing/2014/main" id="{EF00D241-0CA8-044A-9987-790214B7B43A}"/>
                  </a:ext>
                </a:extLst>
              </p:cNvPr>
              <p:cNvSpPr>
                <a:spLocks noChangeArrowheads="1"/>
              </p:cNvSpPr>
              <p:nvPr/>
            </p:nvSpPr>
            <p:spPr bwMode="auto">
              <a:xfrm flipH="1">
                <a:off x="9816548"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16" name="Rectangle 198">
                <a:extLst>
                  <a:ext uri="{FF2B5EF4-FFF2-40B4-BE49-F238E27FC236}">
                    <a16:creationId xmlns:a16="http://schemas.microsoft.com/office/drawing/2014/main" id="{1A019EB5-B1BE-6448-90C7-449849F501D8}"/>
                  </a:ext>
                </a:extLst>
              </p:cNvPr>
              <p:cNvSpPr>
                <a:spLocks noChangeArrowheads="1"/>
              </p:cNvSpPr>
              <p:nvPr/>
            </p:nvSpPr>
            <p:spPr bwMode="auto">
              <a:xfrm flipH="1">
                <a:off x="9712564"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17" name="Rectangle 199">
                <a:extLst>
                  <a:ext uri="{FF2B5EF4-FFF2-40B4-BE49-F238E27FC236}">
                    <a16:creationId xmlns:a16="http://schemas.microsoft.com/office/drawing/2014/main" id="{C4366FFC-D9E6-1147-846E-2C6B7DD0B722}"/>
                  </a:ext>
                </a:extLst>
              </p:cNvPr>
              <p:cNvSpPr>
                <a:spLocks noChangeArrowheads="1"/>
              </p:cNvSpPr>
              <p:nvPr/>
            </p:nvSpPr>
            <p:spPr bwMode="auto">
              <a:xfrm flipH="1">
                <a:off x="10550672"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18" name="Rectangle 200">
                <a:extLst>
                  <a:ext uri="{FF2B5EF4-FFF2-40B4-BE49-F238E27FC236}">
                    <a16:creationId xmlns:a16="http://schemas.microsoft.com/office/drawing/2014/main" id="{F6585132-86C6-D749-BD06-B187C3FB8041}"/>
                  </a:ext>
                </a:extLst>
              </p:cNvPr>
              <p:cNvSpPr>
                <a:spLocks noChangeArrowheads="1"/>
              </p:cNvSpPr>
              <p:nvPr/>
            </p:nvSpPr>
            <p:spPr bwMode="auto">
              <a:xfrm flipH="1">
                <a:off x="10446688"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19" name="Rectangle 201">
                <a:extLst>
                  <a:ext uri="{FF2B5EF4-FFF2-40B4-BE49-F238E27FC236}">
                    <a16:creationId xmlns:a16="http://schemas.microsoft.com/office/drawing/2014/main" id="{F0144B44-1106-C044-960E-EB544D088400}"/>
                  </a:ext>
                </a:extLst>
              </p:cNvPr>
              <p:cNvSpPr>
                <a:spLocks noChangeArrowheads="1"/>
              </p:cNvSpPr>
              <p:nvPr/>
            </p:nvSpPr>
            <p:spPr bwMode="auto">
              <a:xfrm flipH="1">
                <a:off x="10342705"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20" name="Rectangle 202">
                <a:extLst>
                  <a:ext uri="{FF2B5EF4-FFF2-40B4-BE49-F238E27FC236}">
                    <a16:creationId xmlns:a16="http://schemas.microsoft.com/office/drawing/2014/main" id="{C446314E-906A-504C-B494-513CAF166544}"/>
                  </a:ext>
                </a:extLst>
              </p:cNvPr>
              <p:cNvSpPr>
                <a:spLocks noChangeArrowheads="1"/>
              </p:cNvSpPr>
              <p:nvPr/>
            </p:nvSpPr>
            <p:spPr bwMode="auto">
              <a:xfrm flipH="1">
                <a:off x="10234561"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21" name="Rectangle 203">
                <a:extLst>
                  <a:ext uri="{FF2B5EF4-FFF2-40B4-BE49-F238E27FC236}">
                    <a16:creationId xmlns:a16="http://schemas.microsoft.com/office/drawing/2014/main" id="{B0CCD7E3-EAEE-2D4C-B59D-EB746C7CA2D8}"/>
                  </a:ext>
                </a:extLst>
              </p:cNvPr>
              <p:cNvSpPr>
                <a:spLocks noChangeArrowheads="1"/>
              </p:cNvSpPr>
              <p:nvPr/>
            </p:nvSpPr>
            <p:spPr bwMode="auto">
              <a:xfrm flipH="1">
                <a:off x="10130577"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22" name="Rectangle 204">
                <a:extLst>
                  <a:ext uri="{FF2B5EF4-FFF2-40B4-BE49-F238E27FC236}">
                    <a16:creationId xmlns:a16="http://schemas.microsoft.com/office/drawing/2014/main" id="{6A7120BE-2AFB-6941-84A4-5A357F991455}"/>
                  </a:ext>
                </a:extLst>
              </p:cNvPr>
              <p:cNvSpPr>
                <a:spLocks noChangeArrowheads="1"/>
              </p:cNvSpPr>
              <p:nvPr/>
            </p:nvSpPr>
            <p:spPr bwMode="auto">
              <a:xfrm flipH="1">
                <a:off x="10026594"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23" name="Rectangle 206">
                <a:extLst>
                  <a:ext uri="{FF2B5EF4-FFF2-40B4-BE49-F238E27FC236}">
                    <a16:creationId xmlns:a16="http://schemas.microsoft.com/office/drawing/2014/main" id="{F2A7A146-A770-6F4F-8731-D2DA39268978}"/>
                  </a:ext>
                </a:extLst>
              </p:cNvPr>
              <p:cNvSpPr>
                <a:spLocks noChangeArrowheads="1"/>
              </p:cNvSpPr>
              <p:nvPr/>
            </p:nvSpPr>
            <p:spPr bwMode="auto">
              <a:xfrm flipH="1">
                <a:off x="9920531" y="392093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24" name="Rectangle 207">
                <a:extLst>
                  <a:ext uri="{FF2B5EF4-FFF2-40B4-BE49-F238E27FC236}">
                    <a16:creationId xmlns:a16="http://schemas.microsoft.com/office/drawing/2014/main" id="{DC031941-8CA4-8D4D-B3D0-C3FACB1EBFB5}"/>
                  </a:ext>
                </a:extLst>
              </p:cNvPr>
              <p:cNvSpPr>
                <a:spLocks noChangeArrowheads="1"/>
              </p:cNvSpPr>
              <p:nvPr/>
            </p:nvSpPr>
            <p:spPr bwMode="auto">
              <a:xfrm flipH="1">
                <a:off x="9816548" y="392093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25" name="Rectangle 208">
                <a:extLst>
                  <a:ext uri="{FF2B5EF4-FFF2-40B4-BE49-F238E27FC236}">
                    <a16:creationId xmlns:a16="http://schemas.microsoft.com/office/drawing/2014/main" id="{3A8307E4-238A-5943-ABF6-CE595F19848D}"/>
                  </a:ext>
                </a:extLst>
              </p:cNvPr>
              <p:cNvSpPr>
                <a:spLocks noChangeArrowheads="1"/>
              </p:cNvSpPr>
              <p:nvPr/>
            </p:nvSpPr>
            <p:spPr bwMode="auto">
              <a:xfrm flipH="1">
                <a:off x="9712564" y="392093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26" name="Rectangle 209">
                <a:extLst>
                  <a:ext uri="{FF2B5EF4-FFF2-40B4-BE49-F238E27FC236}">
                    <a16:creationId xmlns:a16="http://schemas.microsoft.com/office/drawing/2014/main" id="{96F0F786-C234-264E-98AC-A5D19D760529}"/>
                  </a:ext>
                </a:extLst>
              </p:cNvPr>
              <p:cNvSpPr>
                <a:spLocks noChangeArrowheads="1"/>
              </p:cNvSpPr>
              <p:nvPr/>
            </p:nvSpPr>
            <p:spPr bwMode="auto">
              <a:xfrm flipH="1">
                <a:off x="10550672"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27" name="Rectangle 210">
                <a:extLst>
                  <a:ext uri="{FF2B5EF4-FFF2-40B4-BE49-F238E27FC236}">
                    <a16:creationId xmlns:a16="http://schemas.microsoft.com/office/drawing/2014/main" id="{746B423A-3FD4-B743-BA29-31CC5041F692}"/>
                  </a:ext>
                </a:extLst>
              </p:cNvPr>
              <p:cNvSpPr>
                <a:spLocks noChangeArrowheads="1"/>
              </p:cNvSpPr>
              <p:nvPr/>
            </p:nvSpPr>
            <p:spPr bwMode="auto">
              <a:xfrm flipH="1">
                <a:off x="10446688"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28" name="Rectangle 211">
                <a:extLst>
                  <a:ext uri="{FF2B5EF4-FFF2-40B4-BE49-F238E27FC236}">
                    <a16:creationId xmlns:a16="http://schemas.microsoft.com/office/drawing/2014/main" id="{BD303CD4-2D6A-434E-BCD5-AEA40145F7C0}"/>
                  </a:ext>
                </a:extLst>
              </p:cNvPr>
              <p:cNvSpPr>
                <a:spLocks noChangeArrowheads="1"/>
              </p:cNvSpPr>
              <p:nvPr/>
            </p:nvSpPr>
            <p:spPr bwMode="auto">
              <a:xfrm flipH="1">
                <a:off x="10342705"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29" name="Rectangle 212">
                <a:extLst>
                  <a:ext uri="{FF2B5EF4-FFF2-40B4-BE49-F238E27FC236}">
                    <a16:creationId xmlns:a16="http://schemas.microsoft.com/office/drawing/2014/main" id="{4F706A99-89D1-1E42-968B-FDA3294ABEC7}"/>
                  </a:ext>
                </a:extLst>
              </p:cNvPr>
              <p:cNvSpPr>
                <a:spLocks noChangeArrowheads="1"/>
              </p:cNvSpPr>
              <p:nvPr/>
            </p:nvSpPr>
            <p:spPr bwMode="auto">
              <a:xfrm flipH="1">
                <a:off x="10234562"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30" name="Rectangle 213">
                <a:extLst>
                  <a:ext uri="{FF2B5EF4-FFF2-40B4-BE49-F238E27FC236}">
                    <a16:creationId xmlns:a16="http://schemas.microsoft.com/office/drawing/2014/main" id="{71B36C45-3B65-7547-B65E-D4D28F7C5B02}"/>
                  </a:ext>
                </a:extLst>
              </p:cNvPr>
              <p:cNvSpPr>
                <a:spLocks noChangeArrowheads="1"/>
              </p:cNvSpPr>
              <p:nvPr/>
            </p:nvSpPr>
            <p:spPr bwMode="auto">
              <a:xfrm flipH="1">
                <a:off x="10130579"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31" name="Rectangle 214">
                <a:extLst>
                  <a:ext uri="{FF2B5EF4-FFF2-40B4-BE49-F238E27FC236}">
                    <a16:creationId xmlns:a16="http://schemas.microsoft.com/office/drawing/2014/main" id="{9218FB5D-FBEE-B144-B3A6-3913A7E8A6BF}"/>
                  </a:ext>
                </a:extLst>
              </p:cNvPr>
              <p:cNvSpPr>
                <a:spLocks noChangeArrowheads="1"/>
              </p:cNvSpPr>
              <p:nvPr/>
            </p:nvSpPr>
            <p:spPr bwMode="auto">
              <a:xfrm flipH="1">
                <a:off x="10026594"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32" name="Rectangle 215">
                <a:extLst>
                  <a:ext uri="{FF2B5EF4-FFF2-40B4-BE49-F238E27FC236}">
                    <a16:creationId xmlns:a16="http://schemas.microsoft.com/office/drawing/2014/main" id="{89C766D5-D39A-9D46-88B4-DE92FA0D1064}"/>
                  </a:ext>
                </a:extLst>
              </p:cNvPr>
              <p:cNvSpPr>
                <a:spLocks noChangeArrowheads="1"/>
              </p:cNvSpPr>
              <p:nvPr/>
            </p:nvSpPr>
            <p:spPr bwMode="auto">
              <a:xfrm flipH="1">
                <a:off x="9920531"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33" name="Rectangle 216">
                <a:extLst>
                  <a:ext uri="{FF2B5EF4-FFF2-40B4-BE49-F238E27FC236}">
                    <a16:creationId xmlns:a16="http://schemas.microsoft.com/office/drawing/2014/main" id="{730D527F-BE88-8E4A-8851-4C75D2705BB0}"/>
                  </a:ext>
                </a:extLst>
              </p:cNvPr>
              <p:cNvSpPr>
                <a:spLocks noChangeArrowheads="1"/>
              </p:cNvSpPr>
              <p:nvPr/>
            </p:nvSpPr>
            <p:spPr bwMode="auto">
              <a:xfrm flipH="1">
                <a:off x="9816548"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34" name="Rectangle 217">
                <a:extLst>
                  <a:ext uri="{FF2B5EF4-FFF2-40B4-BE49-F238E27FC236}">
                    <a16:creationId xmlns:a16="http://schemas.microsoft.com/office/drawing/2014/main" id="{0E22144E-C3AC-B541-A850-4DCB940AB505}"/>
                  </a:ext>
                </a:extLst>
              </p:cNvPr>
              <p:cNvSpPr>
                <a:spLocks noChangeArrowheads="1"/>
              </p:cNvSpPr>
              <p:nvPr/>
            </p:nvSpPr>
            <p:spPr bwMode="auto">
              <a:xfrm flipH="1">
                <a:off x="9712564"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35" name="Rectangle 218">
                <a:extLst>
                  <a:ext uri="{FF2B5EF4-FFF2-40B4-BE49-F238E27FC236}">
                    <a16:creationId xmlns:a16="http://schemas.microsoft.com/office/drawing/2014/main" id="{40BE4873-C82F-BE47-83E1-29BC3037BFF5}"/>
                  </a:ext>
                </a:extLst>
              </p:cNvPr>
              <p:cNvSpPr>
                <a:spLocks noChangeArrowheads="1"/>
              </p:cNvSpPr>
              <p:nvPr/>
            </p:nvSpPr>
            <p:spPr bwMode="auto">
              <a:xfrm flipH="1">
                <a:off x="10550672"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36" name="Rectangle 219">
                <a:extLst>
                  <a:ext uri="{FF2B5EF4-FFF2-40B4-BE49-F238E27FC236}">
                    <a16:creationId xmlns:a16="http://schemas.microsoft.com/office/drawing/2014/main" id="{DD8FEF36-014A-CB45-8A6C-B6024C47C902}"/>
                  </a:ext>
                </a:extLst>
              </p:cNvPr>
              <p:cNvSpPr>
                <a:spLocks noChangeArrowheads="1"/>
              </p:cNvSpPr>
              <p:nvPr/>
            </p:nvSpPr>
            <p:spPr bwMode="auto">
              <a:xfrm flipH="1">
                <a:off x="10446688"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37" name="Rectangle 220">
                <a:extLst>
                  <a:ext uri="{FF2B5EF4-FFF2-40B4-BE49-F238E27FC236}">
                    <a16:creationId xmlns:a16="http://schemas.microsoft.com/office/drawing/2014/main" id="{4EB084AC-451B-DA4E-B493-7550C079252E}"/>
                  </a:ext>
                </a:extLst>
              </p:cNvPr>
              <p:cNvSpPr>
                <a:spLocks noChangeArrowheads="1"/>
              </p:cNvSpPr>
              <p:nvPr/>
            </p:nvSpPr>
            <p:spPr bwMode="auto">
              <a:xfrm flipH="1">
                <a:off x="10342705"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38" name="Rectangle 221">
                <a:extLst>
                  <a:ext uri="{FF2B5EF4-FFF2-40B4-BE49-F238E27FC236}">
                    <a16:creationId xmlns:a16="http://schemas.microsoft.com/office/drawing/2014/main" id="{3625052F-29B2-1049-A07A-F6E4BD1988CD}"/>
                  </a:ext>
                </a:extLst>
              </p:cNvPr>
              <p:cNvSpPr>
                <a:spLocks noChangeArrowheads="1"/>
              </p:cNvSpPr>
              <p:nvPr/>
            </p:nvSpPr>
            <p:spPr bwMode="auto">
              <a:xfrm flipH="1">
                <a:off x="10234562"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39" name="Rectangle 222">
                <a:extLst>
                  <a:ext uri="{FF2B5EF4-FFF2-40B4-BE49-F238E27FC236}">
                    <a16:creationId xmlns:a16="http://schemas.microsoft.com/office/drawing/2014/main" id="{29CE2CFA-58F8-9647-A6D0-E479CC41B2D0}"/>
                  </a:ext>
                </a:extLst>
              </p:cNvPr>
              <p:cNvSpPr>
                <a:spLocks noChangeArrowheads="1"/>
              </p:cNvSpPr>
              <p:nvPr/>
            </p:nvSpPr>
            <p:spPr bwMode="auto">
              <a:xfrm flipH="1">
                <a:off x="10130579"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40" name="Rectangle 223">
                <a:extLst>
                  <a:ext uri="{FF2B5EF4-FFF2-40B4-BE49-F238E27FC236}">
                    <a16:creationId xmlns:a16="http://schemas.microsoft.com/office/drawing/2014/main" id="{E47AF278-11C0-504B-BD76-5308BD6905E1}"/>
                  </a:ext>
                </a:extLst>
              </p:cNvPr>
              <p:cNvSpPr>
                <a:spLocks noChangeArrowheads="1"/>
              </p:cNvSpPr>
              <p:nvPr/>
            </p:nvSpPr>
            <p:spPr bwMode="auto">
              <a:xfrm flipH="1">
                <a:off x="10026594"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41" name="Rectangle 224">
                <a:extLst>
                  <a:ext uri="{FF2B5EF4-FFF2-40B4-BE49-F238E27FC236}">
                    <a16:creationId xmlns:a16="http://schemas.microsoft.com/office/drawing/2014/main" id="{7C51CDEC-258A-1B40-89D1-E529F13462E3}"/>
                  </a:ext>
                </a:extLst>
              </p:cNvPr>
              <p:cNvSpPr>
                <a:spLocks noChangeArrowheads="1"/>
              </p:cNvSpPr>
              <p:nvPr/>
            </p:nvSpPr>
            <p:spPr bwMode="auto">
              <a:xfrm flipH="1">
                <a:off x="9920531"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42" name="Rectangle 225">
                <a:extLst>
                  <a:ext uri="{FF2B5EF4-FFF2-40B4-BE49-F238E27FC236}">
                    <a16:creationId xmlns:a16="http://schemas.microsoft.com/office/drawing/2014/main" id="{B3D18144-2BD6-D448-911B-1673FA4B3D5E}"/>
                  </a:ext>
                </a:extLst>
              </p:cNvPr>
              <p:cNvSpPr>
                <a:spLocks noChangeArrowheads="1"/>
              </p:cNvSpPr>
              <p:nvPr/>
            </p:nvSpPr>
            <p:spPr bwMode="auto">
              <a:xfrm flipH="1">
                <a:off x="9816548"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43" name="Rectangle 226">
                <a:extLst>
                  <a:ext uri="{FF2B5EF4-FFF2-40B4-BE49-F238E27FC236}">
                    <a16:creationId xmlns:a16="http://schemas.microsoft.com/office/drawing/2014/main" id="{FBD8CDEE-2BF3-8542-B9BB-FB2FAF0E8997}"/>
                  </a:ext>
                </a:extLst>
              </p:cNvPr>
              <p:cNvSpPr>
                <a:spLocks noChangeArrowheads="1"/>
              </p:cNvSpPr>
              <p:nvPr/>
            </p:nvSpPr>
            <p:spPr bwMode="auto">
              <a:xfrm flipH="1">
                <a:off x="9712564"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44" name="Rectangle 227">
                <a:extLst>
                  <a:ext uri="{FF2B5EF4-FFF2-40B4-BE49-F238E27FC236}">
                    <a16:creationId xmlns:a16="http://schemas.microsoft.com/office/drawing/2014/main" id="{F18DAA1D-FB10-E249-A06E-E4CE2EB60835}"/>
                  </a:ext>
                </a:extLst>
              </p:cNvPr>
              <p:cNvSpPr>
                <a:spLocks noChangeArrowheads="1"/>
              </p:cNvSpPr>
              <p:nvPr/>
            </p:nvSpPr>
            <p:spPr bwMode="auto">
              <a:xfrm flipH="1">
                <a:off x="10550672"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45" name="Rectangle 228">
                <a:extLst>
                  <a:ext uri="{FF2B5EF4-FFF2-40B4-BE49-F238E27FC236}">
                    <a16:creationId xmlns:a16="http://schemas.microsoft.com/office/drawing/2014/main" id="{6C6BE746-7D68-FC41-9B7E-0E0636C7DF52}"/>
                  </a:ext>
                </a:extLst>
              </p:cNvPr>
              <p:cNvSpPr>
                <a:spLocks noChangeArrowheads="1"/>
              </p:cNvSpPr>
              <p:nvPr/>
            </p:nvSpPr>
            <p:spPr bwMode="auto">
              <a:xfrm flipH="1">
                <a:off x="10446688"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46" name="Rectangle 229">
                <a:extLst>
                  <a:ext uri="{FF2B5EF4-FFF2-40B4-BE49-F238E27FC236}">
                    <a16:creationId xmlns:a16="http://schemas.microsoft.com/office/drawing/2014/main" id="{A752050C-64D9-EA4B-B68E-A2233FA37F7C}"/>
                  </a:ext>
                </a:extLst>
              </p:cNvPr>
              <p:cNvSpPr>
                <a:spLocks noChangeArrowheads="1"/>
              </p:cNvSpPr>
              <p:nvPr/>
            </p:nvSpPr>
            <p:spPr bwMode="auto">
              <a:xfrm flipH="1">
                <a:off x="10342705"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47" name="Rectangle 230">
                <a:extLst>
                  <a:ext uri="{FF2B5EF4-FFF2-40B4-BE49-F238E27FC236}">
                    <a16:creationId xmlns:a16="http://schemas.microsoft.com/office/drawing/2014/main" id="{9907E455-2463-B648-80CA-3CC2FFC8C099}"/>
                  </a:ext>
                </a:extLst>
              </p:cNvPr>
              <p:cNvSpPr>
                <a:spLocks noChangeArrowheads="1"/>
              </p:cNvSpPr>
              <p:nvPr/>
            </p:nvSpPr>
            <p:spPr bwMode="auto">
              <a:xfrm flipH="1">
                <a:off x="10234562"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48" name="Rectangle 231">
                <a:extLst>
                  <a:ext uri="{FF2B5EF4-FFF2-40B4-BE49-F238E27FC236}">
                    <a16:creationId xmlns:a16="http://schemas.microsoft.com/office/drawing/2014/main" id="{9C443535-449D-CB41-B8A0-38AF30CDA292}"/>
                  </a:ext>
                </a:extLst>
              </p:cNvPr>
              <p:cNvSpPr>
                <a:spLocks noChangeArrowheads="1"/>
              </p:cNvSpPr>
              <p:nvPr/>
            </p:nvSpPr>
            <p:spPr bwMode="auto">
              <a:xfrm flipH="1">
                <a:off x="10130579"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49" name="Rectangle 232">
                <a:extLst>
                  <a:ext uri="{FF2B5EF4-FFF2-40B4-BE49-F238E27FC236}">
                    <a16:creationId xmlns:a16="http://schemas.microsoft.com/office/drawing/2014/main" id="{65E166BB-AACE-A848-AF7E-56FDD6EA2F40}"/>
                  </a:ext>
                </a:extLst>
              </p:cNvPr>
              <p:cNvSpPr>
                <a:spLocks noChangeArrowheads="1"/>
              </p:cNvSpPr>
              <p:nvPr/>
            </p:nvSpPr>
            <p:spPr bwMode="auto">
              <a:xfrm flipH="1">
                <a:off x="10026594"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50" name="Rectangle 233">
                <a:extLst>
                  <a:ext uri="{FF2B5EF4-FFF2-40B4-BE49-F238E27FC236}">
                    <a16:creationId xmlns:a16="http://schemas.microsoft.com/office/drawing/2014/main" id="{EB0890C3-8B97-8D4A-9903-F48F7DA1740A}"/>
                  </a:ext>
                </a:extLst>
              </p:cNvPr>
              <p:cNvSpPr>
                <a:spLocks noChangeArrowheads="1"/>
              </p:cNvSpPr>
              <p:nvPr/>
            </p:nvSpPr>
            <p:spPr bwMode="auto">
              <a:xfrm flipH="1">
                <a:off x="9920531"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51" name="Rectangle 234">
                <a:extLst>
                  <a:ext uri="{FF2B5EF4-FFF2-40B4-BE49-F238E27FC236}">
                    <a16:creationId xmlns:a16="http://schemas.microsoft.com/office/drawing/2014/main" id="{021D2D5D-A588-F242-9DC5-10FD6D1C283A}"/>
                  </a:ext>
                </a:extLst>
              </p:cNvPr>
              <p:cNvSpPr>
                <a:spLocks noChangeArrowheads="1"/>
              </p:cNvSpPr>
              <p:nvPr/>
            </p:nvSpPr>
            <p:spPr bwMode="auto">
              <a:xfrm flipH="1">
                <a:off x="9816548"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52" name="Rectangle 235">
                <a:extLst>
                  <a:ext uri="{FF2B5EF4-FFF2-40B4-BE49-F238E27FC236}">
                    <a16:creationId xmlns:a16="http://schemas.microsoft.com/office/drawing/2014/main" id="{AF7DDD23-91AE-E24C-BE0D-5E5EFACF0314}"/>
                  </a:ext>
                </a:extLst>
              </p:cNvPr>
              <p:cNvSpPr>
                <a:spLocks noChangeArrowheads="1"/>
              </p:cNvSpPr>
              <p:nvPr/>
            </p:nvSpPr>
            <p:spPr bwMode="auto">
              <a:xfrm flipH="1">
                <a:off x="9712564"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53" name="Rectangle 236">
                <a:extLst>
                  <a:ext uri="{FF2B5EF4-FFF2-40B4-BE49-F238E27FC236}">
                    <a16:creationId xmlns:a16="http://schemas.microsoft.com/office/drawing/2014/main" id="{1A245818-93BA-7A47-9C8C-D08FE2C47524}"/>
                  </a:ext>
                </a:extLst>
              </p:cNvPr>
              <p:cNvSpPr>
                <a:spLocks noChangeArrowheads="1"/>
              </p:cNvSpPr>
              <p:nvPr/>
            </p:nvSpPr>
            <p:spPr bwMode="auto">
              <a:xfrm flipH="1">
                <a:off x="10550672"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54" name="Rectangle 237">
                <a:extLst>
                  <a:ext uri="{FF2B5EF4-FFF2-40B4-BE49-F238E27FC236}">
                    <a16:creationId xmlns:a16="http://schemas.microsoft.com/office/drawing/2014/main" id="{18A42C5B-C5E2-8F46-889A-2AC33E4079DA}"/>
                  </a:ext>
                </a:extLst>
              </p:cNvPr>
              <p:cNvSpPr>
                <a:spLocks noChangeArrowheads="1"/>
              </p:cNvSpPr>
              <p:nvPr/>
            </p:nvSpPr>
            <p:spPr bwMode="auto">
              <a:xfrm flipH="1">
                <a:off x="10446688"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55" name="Rectangle 238">
                <a:extLst>
                  <a:ext uri="{FF2B5EF4-FFF2-40B4-BE49-F238E27FC236}">
                    <a16:creationId xmlns:a16="http://schemas.microsoft.com/office/drawing/2014/main" id="{EAB95C8E-EBFE-EA48-A1EA-7BA28EA6DFAC}"/>
                  </a:ext>
                </a:extLst>
              </p:cNvPr>
              <p:cNvSpPr>
                <a:spLocks noChangeArrowheads="1"/>
              </p:cNvSpPr>
              <p:nvPr/>
            </p:nvSpPr>
            <p:spPr bwMode="auto">
              <a:xfrm flipH="1">
                <a:off x="10342705"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56" name="Rectangle 239">
                <a:extLst>
                  <a:ext uri="{FF2B5EF4-FFF2-40B4-BE49-F238E27FC236}">
                    <a16:creationId xmlns:a16="http://schemas.microsoft.com/office/drawing/2014/main" id="{A4B45560-EB46-4846-8F62-28C656B17548}"/>
                  </a:ext>
                </a:extLst>
              </p:cNvPr>
              <p:cNvSpPr>
                <a:spLocks noChangeArrowheads="1"/>
              </p:cNvSpPr>
              <p:nvPr/>
            </p:nvSpPr>
            <p:spPr bwMode="auto">
              <a:xfrm flipH="1">
                <a:off x="10234562"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57" name="Rectangle 240">
                <a:extLst>
                  <a:ext uri="{FF2B5EF4-FFF2-40B4-BE49-F238E27FC236}">
                    <a16:creationId xmlns:a16="http://schemas.microsoft.com/office/drawing/2014/main" id="{2EBAC28C-29A5-104B-AE23-96C3A0475268}"/>
                  </a:ext>
                </a:extLst>
              </p:cNvPr>
              <p:cNvSpPr>
                <a:spLocks noChangeArrowheads="1"/>
              </p:cNvSpPr>
              <p:nvPr/>
            </p:nvSpPr>
            <p:spPr bwMode="auto">
              <a:xfrm flipH="1">
                <a:off x="10130579"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58" name="Rectangle 241">
                <a:extLst>
                  <a:ext uri="{FF2B5EF4-FFF2-40B4-BE49-F238E27FC236}">
                    <a16:creationId xmlns:a16="http://schemas.microsoft.com/office/drawing/2014/main" id="{48DA4B90-65ED-F341-A01E-ACDC196D8E2C}"/>
                  </a:ext>
                </a:extLst>
              </p:cNvPr>
              <p:cNvSpPr>
                <a:spLocks noChangeArrowheads="1"/>
              </p:cNvSpPr>
              <p:nvPr/>
            </p:nvSpPr>
            <p:spPr bwMode="auto">
              <a:xfrm flipH="1">
                <a:off x="10026594"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59" name="Rectangle 242">
                <a:extLst>
                  <a:ext uri="{FF2B5EF4-FFF2-40B4-BE49-F238E27FC236}">
                    <a16:creationId xmlns:a16="http://schemas.microsoft.com/office/drawing/2014/main" id="{4B839752-E18A-5E40-A989-BAD55ADE3671}"/>
                  </a:ext>
                </a:extLst>
              </p:cNvPr>
              <p:cNvSpPr>
                <a:spLocks noChangeArrowheads="1"/>
              </p:cNvSpPr>
              <p:nvPr/>
            </p:nvSpPr>
            <p:spPr bwMode="auto">
              <a:xfrm flipH="1">
                <a:off x="9920531"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60" name="Rectangle 243">
                <a:extLst>
                  <a:ext uri="{FF2B5EF4-FFF2-40B4-BE49-F238E27FC236}">
                    <a16:creationId xmlns:a16="http://schemas.microsoft.com/office/drawing/2014/main" id="{93E9D0CE-DE11-C04B-B9DC-E3FB89115976}"/>
                  </a:ext>
                </a:extLst>
              </p:cNvPr>
              <p:cNvSpPr>
                <a:spLocks noChangeArrowheads="1"/>
              </p:cNvSpPr>
              <p:nvPr/>
            </p:nvSpPr>
            <p:spPr bwMode="auto">
              <a:xfrm flipH="1">
                <a:off x="9816548"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61" name="Rectangle 244">
                <a:extLst>
                  <a:ext uri="{FF2B5EF4-FFF2-40B4-BE49-F238E27FC236}">
                    <a16:creationId xmlns:a16="http://schemas.microsoft.com/office/drawing/2014/main" id="{C2696FE7-D460-E643-A016-B5442ADB7841}"/>
                  </a:ext>
                </a:extLst>
              </p:cNvPr>
              <p:cNvSpPr>
                <a:spLocks noChangeArrowheads="1"/>
              </p:cNvSpPr>
              <p:nvPr/>
            </p:nvSpPr>
            <p:spPr bwMode="auto">
              <a:xfrm flipH="1">
                <a:off x="9712564"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62" name="Rectangle 245">
                <a:extLst>
                  <a:ext uri="{FF2B5EF4-FFF2-40B4-BE49-F238E27FC236}">
                    <a16:creationId xmlns:a16="http://schemas.microsoft.com/office/drawing/2014/main" id="{C703B09E-126E-9847-B307-60CF8CF695A0}"/>
                  </a:ext>
                </a:extLst>
              </p:cNvPr>
              <p:cNvSpPr>
                <a:spLocks noChangeArrowheads="1"/>
              </p:cNvSpPr>
              <p:nvPr/>
            </p:nvSpPr>
            <p:spPr bwMode="auto">
              <a:xfrm flipH="1">
                <a:off x="10550672"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63" name="Rectangle 246">
                <a:extLst>
                  <a:ext uri="{FF2B5EF4-FFF2-40B4-BE49-F238E27FC236}">
                    <a16:creationId xmlns:a16="http://schemas.microsoft.com/office/drawing/2014/main" id="{09239A1D-6F88-6642-B634-AABF69B3E4BD}"/>
                  </a:ext>
                </a:extLst>
              </p:cNvPr>
              <p:cNvSpPr>
                <a:spLocks noChangeArrowheads="1"/>
              </p:cNvSpPr>
              <p:nvPr/>
            </p:nvSpPr>
            <p:spPr bwMode="auto">
              <a:xfrm flipH="1">
                <a:off x="10446688"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64" name="Rectangle 247">
                <a:extLst>
                  <a:ext uri="{FF2B5EF4-FFF2-40B4-BE49-F238E27FC236}">
                    <a16:creationId xmlns:a16="http://schemas.microsoft.com/office/drawing/2014/main" id="{A17EB4E6-A39F-C146-B45C-D466AAF1A8F9}"/>
                  </a:ext>
                </a:extLst>
              </p:cNvPr>
              <p:cNvSpPr>
                <a:spLocks noChangeArrowheads="1"/>
              </p:cNvSpPr>
              <p:nvPr/>
            </p:nvSpPr>
            <p:spPr bwMode="auto">
              <a:xfrm flipH="1">
                <a:off x="10342705"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65" name="Rectangle 248">
                <a:extLst>
                  <a:ext uri="{FF2B5EF4-FFF2-40B4-BE49-F238E27FC236}">
                    <a16:creationId xmlns:a16="http://schemas.microsoft.com/office/drawing/2014/main" id="{DEB1A96A-0657-504E-9B22-DAC8E6DA111B}"/>
                  </a:ext>
                </a:extLst>
              </p:cNvPr>
              <p:cNvSpPr>
                <a:spLocks noChangeArrowheads="1"/>
              </p:cNvSpPr>
              <p:nvPr/>
            </p:nvSpPr>
            <p:spPr bwMode="auto">
              <a:xfrm flipH="1">
                <a:off x="10234562"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66" name="Rectangle 249">
                <a:extLst>
                  <a:ext uri="{FF2B5EF4-FFF2-40B4-BE49-F238E27FC236}">
                    <a16:creationId xmlns:a16="http://schemas.microsoft.com/office/drawing/2014/main" id="{3C0B69B1-3993-E842-B27C-151C7BC4370D}"/>
                  </a:ext>
                </a:extLst>
              </p:cNvPr>
              <p:cNvSpPr>
                <a:spLocks noChangeArrowheads="1"/>
              </p:cNvSpPr>
              <p:nvPr/>
            </p:nvSpPr>
            <p:spPr bwMode="auto">
              <a:xfrm flipH="1">
                <a:off x="10130579"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67" name="Rectangle 250">
                <a:extLst>
                  <a:ext uri="{FF2B5EF4-FFF2-40B4-BE49-F238E27FC236}">
                    <a16:creationId xmlns:a16="http://schemas.microsoft.com/office/drawing/2014/main" id="{A4A26190-935B-F643-8157-D3CC74394735}"/>
                  </a:ext>
                </a:extLst>
              </p:cNvPr>
              <p:cNvSpPr>
                <a:spLocks noChangeArrowheads="1"/>
              </p:cNvSpPr>
              <p:nvPr/>
            </p:nvSpPr>
            <p:spPr bwMode="auto">
              <a:xfrm flipH="1">
                <a:off x="10026594"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68" name="Rectangle 251">
                <a:extLst>
                  <a:ext uri="{FF2B5EF4-FFF2-40B4-BE49-F238E27FC236}">
                    <a16:creationId xmlns:a16="http://schemas.microsoft.com/office/drawing/2014/main" id="{16223756-3ED7-8849-9FA0-98E67B1529F7}"/>
                  </a:ext>
                </a:extLst>
              </p:cNvPr>
              <p:cNvSpPr>
                <a:spLocks noChangeArrowheads="1"/>
              </p:cNvSpPr>
              <p:nvPr/>
            </p:nvSpPr>
            <p:spPr bwMode="auto">
              <a:xfrm flipH="1">
                <a:off x="9920531"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69" name="Rectangle 252">
                <a:extLst>
                  <a:ext uri="{FF2B5EF4-FFF2-40B4-BE49-F238E27FC236}">
                    <a16:creationId xmlns:a16="http://schemas.microsoft.com/office/drawing/2014/main" id="{C43F5A98-C542-974D-A2A0-BB0572CCB454}"/>
                  </a:ext>
                </a:extLst>
              </p:cNvPr>
              <p:cNvSpPr>
                <a:spLocks noChangeArrowheads="1"/>
              </p:cNvSpPr>
              <p:nvPr/>
            </p:nvSpPr>
            <p:spPr bwMode="auto">
              <a:xfrm flipH="1">
                <a:off x="9712564" y="4752805"/>
                <a:ext cx="164294" cy="1622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grpSp>
        <p:grpSp>
          <p:nvGrpSpPr>
            <p:cNvPr id="42" name="Group 41">
              <a:extLst>
                <a:ext uri="{FF2B5EF4-FFF2-40B4-BE49-F238E27FC236}">
                  <a16:creationId xmlns:a16="http://schemas.microsoft.com/office/drawing/2014/main" id="{AF379A2F-505F-4C4F-8B55-3FEEA86A9F59}"/>
                </a:ext>
              </a:extLst>
            </p:cNvPr>
            <p:cNvGrpSpPr/>
            <p:nvPr/>
          </p:nvGrpSpPr>
          <p:grpSpPr>
            <a:xfrm>
              <a:off x="5983848" y="4031345"/>
              <a:ext cx="693157" cy="771444"/>
              <a:chOff x="1933777" y="3819517"/>
              <a:chExt cx="597788" cy="665351"/>
            </a:xfrm>
          </p:grpSpPr>
          <p:sp>
            <p:nvSpPr>
              <p:cNvPr id="47" name="Rectangle 274">
                <a:extLst>
                  <a:ext uri="{FF2B5EF4-FFF2-40B4-BE49-F238E27FC236}">
                    <a16:creationId xmlns:a16="http://schemas.microsoft.com/office/drawing/2014/main" id="{1B98E1AF-00B6-F84B-8210-594BE35DCD07}"/>
                  </a:ext>
                </a:extLst>
              </p:cNvPr>
              <p:cNvSpPr>
                <a:spLocks noChangeArrowheads="1"/>
              </p:cNvSpPr>
              <p:nvPr/>
            </p:nvSpPr>
            <p:spPr bwMode="auto">
              <a:xfrm>
                <a:off x="1963315" y="3874375"/>
                <a:ext cx="537306" cy="610492"/>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8" name="Rectangle 275">
                <a:extLst>
                  <a:ext uri="{FF2B5EF4-FFF2-40B4-BE49-F238E27FC236}">
                    <a16:creationId xmlns:a16="http://schemas.microsoft.com/office/drawing/2014/main" id="{1633BD74-C37D-FF42-BF07-4B851B9F2E9C}"/>
                  </a:ext>
                </a:extLst>
              </p:cNvPr>
              <p:cNvSpPr>
                <a:spLocks noChangeArrowheads="1"/>
              </p:cNvSpPr>
              <p:nvPr/>
            </p:nvSpPr>
            <p:spPr bwMode="auto">
              <a:xfrm>
                <a:off x="2015358" y="395596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9" name="Rectangle 276">
                <a:extLst>
                  <a:ext uri="{FF2B5EF4-FFF2-40B4-BE49-F238E27FC236}">
                    <a16:creationId xmlns:a16="http://schemas.microsoft.com/office/drawing/2014/main" id="{ED28E45C-16B3-0A41-BF0E-06ECD2E8EA30}"/>
                  </a:ext>
                </a:extLst>
              </p:cNvPr>
              <p:cNvSpPr>
                <a:spLocks noChangeArrowheads="1"/>
              </p:cNvSpPr>
              <p:nvPr/>
            </p:nvSpPr>
            <p:spPr bwMode="auto">
              <a:xfrm>
                <a:off x="2129289" y="395596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0" name="Rectangle 277">
                <a:extLst>
                  <a:ext uri="{FF2B5EF4-FFF2-40B4-BE49-F238E27FC236}">
                    <a16:creationId xmlns:a16="http://schemas.microsoft.com/office/drawing/2014/main" id="{E2F281B3-F9D5-8C4E-BD28-2C69E208349A}"/>
                  </a:ext>
                </a:extLst>
              </p:cNvPr>
              <p:cNvSpPr>
                <a:spLocks noChangeArrowheads="1"/>
              </p:cNvSpPr>
              <p:nvPr/>
            </p:nvSpPr>
            <p:spPr bwMode="auto">
              <a:xfrm>
                <a:off x="2246034" y="395596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1" name="Rectangle 278">
                <a:extLst>
                  <a:ext uri="{FF2B5EF4-FFF2-40B4-BE49-F238E27FC236}">
                    <a16:creationId xmlns:a16="http://schemas.microsoft.com/office/drawing/2014/main" id="{A83DAFCE-5AC3-4847-8321-F393DFE14C5E}"/>
                  </a:ext>
                </a:extLst>
              </p:cNvPr>
              <p:cNvSpPr>
                <a:spLocks noChangeArrowheads="1"/>
              </p:cNvSpPr>
              <p:nvPr/>
            </p:nvSpPr>
            <p:spPr bwMode="auto">
              <a:xfrm>
                <a:off x="2362778" y="395596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2" name="Rectangle 279">
                <a:extLst>
                  <a:ext uri="{FF2B5EF4-FFF2-40B4-BE49-F238E27FC236}">
                    <a16:creationId xmlns:a16="http://schemas.microsoft.com/office/drawing/2014/main" id="{F64F4FDA-0D25-154D-9519-A4E141E214CC}"/>
                  </a:ext>
                </a:extLst>
              </p:cNvPr>
              <p:cNvSpPr>
                <a:spLocks noChangeArrowheads="1"/>
              </p:cNvSpPr>
              <p:nvPr/>
            </p:nvSpPr>
            <p:spPr bwMode="auto">
              <a:xfrm>
                <a:off x="2015358" y="408678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3" name="Rectangle 280">
                <a:extLst>
                  <a:ext uri="{FF2B5EF4-FFF2-40B4-BE49-F238E27FC236}">
                    <a16:creationId xmlns:a16="http://schemas.microsoft.com/office/drawing/2014/main" id="{32BD392E-4F1F-9C4A-B5DE-8CFD294B168C}"/>
                  </a:ext>
                </a:extLst>
              </p:cNvPr>
              <p:cNvSpPr>
                <a:spLocks noChangeArrowheads="1"/>
              </p:cNvSpPr>
              <p:nvPr/>
            </p:nvSpPr>
            <p:spPr bwMode="auto">
              <a:xfrm>
                <a:off x="2129289" y="408678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4" name="Rectangle 281">
                <a:extLst>
                  <a:ext uri="{FF2B5EF4-FFF2-40B4-BE49-F238E27FC236}">
                    <a16:creationId xmlns:a16="http://schemas.microsoft.com/office/drawing/2014/main" id="{9CA555E8-CEE9-294E-9ACF-66E82ABEEFCE}"/>
                  </a:ext>
                </a:extLst>
              </p:cNvPr>
              <p:cNvSpPr>
                <a:spLocks noChangeArrowheads="1"/>
              </p:cNvSpPr>
              <p:nvPr/>
            </p:nvSpPr>
            <p:spPr bwMode="auto">
              <a:xfrm>
                <a:off x="2246034" y="408678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5" name="Rectangle 282">
                <a:extLst>
                  <a:ext uri="{FF2B5EF4-FFF2-40B4-BE49-F238E27FC236}">
                    <a16:creationId xmlns:a16="http://schemas.microsoft.com/office/drawing/2014/main" id="{AF8989AE-9B12-E141-8250-2A9F48FBEA4C}"/>
                  </a:ext>
                </a:extLst>
              </p:cNvPr>
              <p:cNvSpPr>
                <a:spLocks noChangeArrowheads="1"/>
              </p:cNvSpPr>
              <p:nvPr/>
            </p:nvSpPr>
            <p:spPr bwMode="auto">
              <a:xfrm>
                <a:off x="2362778" y="408678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6" name="Rectangle 283">
                <a:extLst>
                  <a:ext uri="{FF2B5EF4-FFF2-40B4-BE49-F238E27FC236}">
                    <a16:creationId xmlns:a16="http://schemas.microsoft.com/office/drawing/2014/main" id="{6CCAFFD3-5440-1E4B-9A9D-F1CFE5747FB2}"/>
                  </a:ext>
                </a:extLst>
              </p:cNvPr>
              <p:cNvSpPr>
                <a:spLocks noChangeArrowheads="1"/>
              </p:cNvSpPr>
              <p:nvPr/>
            </p:nvSpPr>
            <p:spPr bwMode="auto">
              <a:xfrm>
                <a:off x="2015358" y="4217600"/>
                <a:ext cx="87207" cy="464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7" name="Rectangle 284">
                <a:extLst>
                  <a:ext uri="{FF2B5EF4-FFF2-40B4-BE49-F238E27FC236}">
                    <a16:creationId xmlns:a16="http://schemas.microsoft.com/office/drawing/2014/main" id="{CA80F9F8-0378-F44E-8ACF-3725BA1C65F7}"/>
                  </a:ext>
                </a:extLst>
              </p:cNvPr>
              <p:cNvSpPr>
                <a:spLocks noChangeArrowheads="1"/>
              </p:cNvSpPr>
              <p:nvPr/>
            </p:nvSpPr>
            <p:spPr bwMode="auto">
              <a:xfrm>
                <a:off x="2129289" y="4217600"/>
                <a:ext cx="87207" cy="464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8" name="Rectangle 285">
                <a:extLst>
                  <a:ext uri="{FF2B5EF4-FFF2-40B4-BE49-F238E27FC236}">
                    <a16:creationId xmlns:a16="http://schemas.microsoft.com/office/drawing/2014/main" id="{4995D931-8343-5D47-8744-A31DA419D63D}"/>
                  </a:ext>
                </a:extLst>
              </p:cNvPr>
              <p:cNvSpPr>
                <a:spLocks noChangeArrowheads="1"/>
              </p:cNvSpPr>
              <p:nvPr/>
            </p:nvSpPr>
            <p:spPr bwMode="auto">
              <a:xfrm>
                <a:off x="2246034" y="4217600"/>
                <a:ext cx="87207" cy="464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9" name="Rectangle 286">
                <a:extLst>
                  <a:ext uri="{FF2B5EF4-FFF2-40B4-BE49-F238E27FC236}">
                    <a16:creationId xmlns:a16="http://schemas.microsoft.com/office/drawing/2014/main" id="{02D45521-EBDF-8A41-AA64-8B154B50AB64}"/>
                  </a:ext>
                </a:extLst>
              </p:cNvPr>
              <p:cNvSpPr>
                <a:spLocks noChangeArrowheads="1"/>
              </p:cNvSpPr>
              <p:nvPr/>
            </p:nvSpPr>
            <p:spPr bwMode="auto">
              <a:xfrm>
                <a:off x="2362778" y="4217600"/>
                <a:ext cx="87207" cy="464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60" name="Rectangle 287">
                <a:extLst>
                  <a:ext uri="{FF2B5EF4-FFF2-40B4-BE49-F238E27FC236}">
                    <a16:creationId xmlns:a16="http://schemas.microsoft.com/office/drawing/2014/main" id="{9EF83769-DB5E-E348-BEE2-5DA5F561A225}"/>
                  </a:ext>
                </a:extLst>
              </p:cNvPr>
              <p:cNvSpPr>
                <a:spLocks noChangeArrowheads="1"/>
              </p:cNvSpPr>
              <p:nvPr/>
            </p:nvSpPr>
            <p:spPr bwMode="auto">
              <a:xfrm>
                <a:off x="2064587" y="3819517"/>
                <a:ext cx="333355" cy="71740"/>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61" name="Rectangle 288">
                <a:extLst>
                  <a:ext uri="{FF2B5EF4-FFF2-40B4-BE49-F238E27FC236}">
                    <a16:creationId xmlns:a16="http://schemas.microsoft.com/office/drawing/2014/main" id="{6DAD7A7F-541A-8542-91E8-11B5B421542E}"/>
                  </a:ext>
                </a:extLst>
              </p:cNvPr>
              <p:cNvSpPr>
                <a:spLocks noChangeArrowheads="1"/>
              </p:cNvSpPr>
              <p:nvPr/>
            </p:nvSpPr>
            <p:spPr bwMode="auto">
              <a:xfrm>
                <a:off x="2015358" y="4345608"/>
                <a:ext cx="125184" cy="1392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62" name="Rectangle 289">
                <a:extLst>
                  <a:ext uri="{FF2B5EF4-FFF2-40B4-BE49-F238E27FC236}">
                    <a16:creationId xmlns:a16="http://schemas.microsoft.com/office/drawing/2014/main" id="{CEDE1A3C-52B0-E541-882F-80361588F22F}"/>
                  </a:ext>
                </a:extLst>
              </p:cNvPr>
              <p:cNvSpPr>
                <a:spLocks noChangeArrowheads="1"/>
              </p:cNvSpPr>
              <p:nvPr/>
            </p:nvSpPr>
            <p:spPr bwMode="auto">
              <a:xfrm>
                <a:off x="2170080" y="4345608"/>
                <a:ext cx="125184" cy="1392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63" name="Rectangle 290">
                <a:extLst>
                  <a:ext uri="{FF2B5EF4-FFF2-40B4-BE49-F238E27FC236}">
                    <a16:creationId xmlns:a16="http://schemas.microsoft.com/office/drawing/2014/main" id="{152A8B67-28C4-8F47-AD1E-99D055959A8F}"/>
                  </a:ext>
                </a:extLst>
              </p:cNvPr>
              <p:cNvSpPr>
                <a:spLocks noChangeArrowheads="1"/>
              </p:cNvSpPr>
              <p:nvPr/>
            </p:nvSpPr>
            <p:spPr bwMode="auto">
              <a:xfrm>
                <a:off x="2324801" y="4345608"/>
                <a:ext cx="125184" cy="1392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64" name="Freeform 291">
                <a:extLst>
                  <a:ext uri="{FF2B5EF4-FFF2-40B4-BE49-F238E27FC236}">
                    <a16:creationId xmlns:a16="http://schemas.microsoft.com/office/drawing/2014/main" id="{BD45B9F6-858D-2941-8034-FD9C3989EFC9}"/>
                  </a:ext>
                </a:extLst>
              </p:cNvPr>
              <p:cNvSpPr>
                <a:spLocks noEditPoints="1"/>
              </p:cNvSpPr>
              <p:nvPr/>
            </p:nvSpPr>
            <p:spPr bwMode="auto">
              <a:xfrm>
                <a:off x="1933777" y="3880002"/>
                <a:ext cx="597788" cy="331973"/>
              </a:xfrm>
              <a:custGeom>
                <a:avLst/>
                <a:gdLst>
                  <a:gd name="T0" fmla="*/ 0 w 425"/>
                  <a:gd name="T1" fmla="*/ 0 h 236"/>
                  <a:gd name="T2" fmla="*/ 0 w 425"/>
                  <a:gd name="T3" fmla="*/ 50 h 236"/>
                  <a:gd name="T4" fmla="*/ 425 w 425"/>
                  <a:gd name="T5" fmla="*/ 50 h 236"/>
                  <a:gd name="T6" fmla="*/ 425 w 425"/>
                  <a:gd name="T7" fmla="*/ 0 h 236"/>
                  <a:gd name="T8" fmla="*/ 0 w 425"/>
                  <a:gd name="T9" fmla="*/ 0 h 236"/>
                  <a:gd name="T10" fmla="*/ 0 w 425"/>
                  <a:gd name="T11" fmla="*/ 143 h 236"/>
                  <a:gd name="T12" fmla="*/ 425 w 425"/>
                  <a:gd name="T13" fmla="*/ 143 h 236"/>
                  <a:gd name="T14" fmla="*/ 425 w 425"/>
                  <a:gd name="T15" fmla="*/ 93 h 236"/>
                  <a:gd name="T16" fmla="*/ 0 w 425"/>
                  <a:gd name="T17" fmla="*/ 93 h 236"/>
                  <a:gd name="T18" fmla="*/ 0 w 425"/>
                  <a:gd name="T19" fmla="*/ 143 h 236"/>
                  <a:gd name="T20" fmla="*/ 0 w 425"/>
                  <a:gd name="T21" fmla="*/ 236 h 236"/>
                  <a:gd name="T22" fmla="*/ 425 w 425"/>
                  <a:gd name="T23" fmla="*/ 236 h 236"/>
                  <a:gd name="T24" fmla="*/ 425 w 425"/>
                  <a:gd name="T25" fmla="*/ 186 h 236"/>
                  <a:gd name="T26" fmla="*/ 0 w 425"/>
                  <a:gd name="T27" fmla="*/ 186 h 236"/>
                  <a:gd name="T28" fmla="*/ 0 w 425"/>
                  <a:gd name="T29"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5" h="236">
                    <a:moveTo>
                      <a:pt x="0" y="0"/>
                    </a:moveTo>
                    <a:lnTo>
                      <a:pt x="0" y="50"/>
                    </a:lnTo>
                    <a:lnTo>
                      <a:pt x="425" y="50"/>
                    </a:lnTo>
                    <a:lnTo>
                      <a:pt x="425" y="0"/>
                    </a:lnTo>
                    <a:lnTo>
                      <a:pt x="0" y="0"/>
                    </a:lnTo>
                    <a:close/>
                    <a:moveTo>
                      <a:pt x="0" y="143"/>
                    </a:moveTo>
                    <a:lnTo>
                      <a:pt x="425" y="143"/>
                    </a:lnTo>
                    <a:lnTo>
                      <a:pt x="425" y="93"/>
                    </a:lnTo>
                    <a:lnTo>
                      <a:pt x="0" y="93"/>
                    </a:lnTo>
                    <a:lnTo>
                      <a:pt x="0" y="143"/>
                    </a:lnTo>
                    <a:close/>
                    <a:moveTo>
                      <a:pt x="0" y="236"/>
                    </a:moveTo>
                    <a:lnTo>
                      <a:pt x="425" y="236"/>
                    </a:lnTo>
                    <a:lnTo>
                      <a:pt x="425" y="186"/>
                    </a:lnTo>
                    <a:lnTo>
                      <a:pt x="0" y="186"/>
                    </a:lnTo>
                    <a:lnTo>
                      <a:pt x="0" y="236"/>
                    </a:lnTo>
                    <a:close/>
                  </a:path>
                </a:pathLst>
              </a:custGeom>
              <a:solidFill>
                <a:schemeClr val="tx1">
                  <a:lumMod val="10000"/>
                  <a:lumOff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65" name="Rectangle 292">
                <a:extLst>
                  <a:ext uri="{FF2B5EF4-FFF2-40B4-BE49-F238E27FC236}">
                    <a16:creationId xmlns:a16="http://schemas.microsoft.com/office/drawing/2014/main" id="{BA4D24EA-F0EE-504B-9149-C0C2FDCF1060}"/>
                  </a:ext>
                </a:extLst>
              </p:cNvPr>
              <p:cNvSpPr>
                <a:spLocks noChangeArrowheads="1"/>
              </p:cNvSpPr>
              <p:nvPr/>
            </p:nvSpPr>
            <p:spPr bwMode="auto">
              <a:xfrm>
                <a:off x="1933777" y="3874377"/>
                <a:ext cx="597788" cy="70333"/>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66" name="Rectangle 293">
                <a:extLst>
                  <a:ext uri="{FF2B5EF4-FFF2-40B4-BE49-F238E27FC236}">
                    <a16:creationId xmlns:a16="http://schemas.microsoft.com/office/drawing/2014/main" id="{2E0AC79A-AD4C-AE4D-87A7-461E85DFFDBA}"/>
                  </a:ext>
                </a:extLst>
              </p:cNvPr>
              <p:cNvSpPr>
                <a:spLocks noChangeArrowheads="1"/>
              </p:cNvSpPr>
              <p:nvPr/>
            </p:nvSpPr>
            <p:spPr bwMode="auto">
              <a:xfrm>
                <a:off x="1933777" y="4005192"/>
                <a:ext cx="597788" cy="70333"/>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67" name="Rectangle 294">
                <a:extLst>
                  <a:ext uri="{FF2B5EF4-FFF2-40B4-BE49-F238E27FC236}">
                    <a16:creationId xmlns:a16="http://schemas.microsoft.com/office/drawing/2014/main" id="{D67D9882-3DD8-C74A-BA48-38CB1FF0ECDC}"/>
                  </a:ext>
                </a:extLst>
              </p:cNvPr>
              <p:cNvSpPr>
                <a:spLocks noChangeArrowheads="1"/>
              </p:cNvSpPr>
              <p:nvPr/>
            </p:nvSpPr>
            <p:spPr bwMode="auto">
              <a:xfrm>
                <a:off x="1933777" y="4136015"/>
                <a:ext cx="597788" cy="70333"/>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68" name="Rectangle 295">
                <a:extLst>
                  <a:ext uri="{FF2B5EF4-FFF2-40B4-BE49-F238E27FC236}">
                    <a16:creationId xmlns:a16="http://schemas.microsoft.com/office/drawing/2014/main" id="{2FC36ACE-DA7E-494A-A201-B4ACB9AA5061}"/>
                  </a:ext>
                </a:extLst>
              </p:cNvPr>
              <p:cNvSpPr>
                <a:spLocks noChangeArrowheads="1"/>
              </p:cNvSpPr>
              <p:nvPr/>
            </p:nvSpPr>
            <p:spPr bwMode="auto">
              <a:xfrm>
                <a:off x="2015358" y="4290717"/>
                <a:ext cx="434627" cy="28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69" name="Rectangle 296">
                <a:extLst>
                  <a:ext uri="{FF2B5EF4-FFF2-40B4-BE49-F238E27FC236}">
                    <a16:creationId xmlns:a16="http://schemas.microsoft.com/office/drawing/2014/main" id="{266C40B2-3A7F-3545-82E3-E2D197A74122}"/>
                  </a:ext>
                </a:extLst>
              </p:cNvPr>
              <p:cNvSpPr>
                <a:spLocks noChangeArrowheads="1"/>
              </p:cNvSpPr>
              <p:nvPr/>
            </p:nvSpPr>
            <p:spPr bwMode="auto">
              <a:xfrm>
                <a:off x="2015357" y="4304722"/>
                <a:ext cx="434627" cy="28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70" name="Rectangle 297">
                <a:extLst>
                  <a:ext uri="{FF2B5EF4-FFF2-40B4-BE49-F238E27FC236}">
                    <a16:creationId xmlns:a16="http://schemas.microsoft.com/office/drawing/2014/main" id="{D894A3C3-DFC9-9D47-95EE-E32318095D6D}"/>
                  </a:ext>
                </a:extLst>
              </p:cNvPr>
              <p:cNvSpPr>
                <a:spLocks noChangeArrowheads="1"/>
              </p:cNvSpPr>
              <p:nvPr/>
            </p:nvSpPr>
            <p:spPr bwMode="auto">
              <a:xfrm>
                <a:off x="2015358" y="4318569"/>
                <a:ext cx="434627" cy="42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grpSp>
        <p:grpSp>
          <p:nvGrpSpPr>
            <p:cNvPr id="43" name="Group 42">
              <a:extLst>
                <a:ext uri="{FF2B5EF4-FFF2-40B4-BE49-F238E27FC236}">
                  <a16:creationId xmlns:a16="http://schemas.microsoft.com/office/drawing/2014/main" id="{3294A15E-D545-0B45-A6CD-63E4957EBAE1}"/>
                </a:ext>
              </a:extLst>
            </p:cNvPr>
            <p:cNvGrpSpPr/>
            <p:nvPr/>
          </p:nvGrpSpPr>
          <p:grpSpPr>
            <a:xfrm>
              <a:off x="7867464" y="3855344"/>
              <a:ext cx="492133" cy="942581"/>
              <a:chOff x="5374366" y="803590"/>
              <a:chExt cx="846376" cy="1621062"/>
            </a:xfrm>
          </p:grpSpPr>
          <p:sp>
            <p:nvSpPr>
              <p:cNvPr id="44" name="Rectangle 15">
                <a:extLst>
                  <a:ext uri="{FF2B5EF4-FFF2-40B4-BE49-F238E27FC236}">
                    <a16:creationId xmlns:a16="http://schemas.microsoft.com/office/drawing/2014/main" id="{0642885D-400F-1246-AE97-364E1A486220}"/>
                  </a:ext>
                </a:extLst>
              </p:cNvPr>
              <p:cNvSpPr>
                <a:spLocks noChangeArrowheads="1"/>
              </p:cNvSpPr>
              <p:nvPr/>
            </p:nvSpPr>
            <p:spPr bwMode="auto">
              <a:xfrm>
                <a:off x="5398263" y="907148"/>
                <a:ext cx="798581" cy="151750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5" name="Rectangle 17">
                <a:extLst>
                  <a:ext uri="{FF2B5EF4-FFF2-40B4-BE49-F238E27FC236}">
                    <a16:creationId xmlns:a16="http://schemas.microsoft.com/office/drawing/2014/main" id="{FF0BE298-60C0-E749-9C6B-2B9E61FAFA79}"/>
                  </a:ext>
                </a:extLst>
              </p:cNvPr>
              <p:cNvSpPr>
                <a:spLocks noChangeArrowheads="1"/>
              </p:cNvSpPr>
              <p:nvPr/>
            </p:nvSpPr>
            <p:spPr bwMode="auto">
              <a:xfrm>
                <a:off x="5374366" y="803590"/>
                <a:ext cx="846376" cy="77668"/>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6" name="Freeform 16">
                <a:extLst>
                  <a:ext uri="{FF2B5EF4-FFF2-40B4-BE49-F238E27FC236}">
                    <a16:creationId xmlns:a16="http://schemas.microsoft.com/office/drawing/2014/main" id="{FC5BF795-A8D3-514C-B480-9DBC57DA8D05}"/>
                  </a:ext>
                </a:extLst>
              </p:cNvPr>
              <p:cNvSpPr>
                <a:spLocks noEditPoints="1"/>
              </p:cNvSpPr>
              <p:nvPr/>
            </p:nvSpPr>
            <p:spPr bwMode="auto">
              <a:xfrm>
                <a:off x="5398263" y="907148"/>
                <a:ext cx="798581" cy="1517504"/>
              </a:xfrm>
              <a:custGeom>
                <a:avLst/>
                <a:gdLst>
                  <a:gd name="T0" fmla="*/ 214 w 401"/>
                  <a:gd name="T1" fmla="*/ 517 h 762"/>
                  <a:gd name="T2" fmla="*/ 214 w 401"/>
                  <a:gd name="T3" fmla="*/ 615 h 762"/>
                  <a:gd name="T4" fmla="*/ 363 w 401"/>
                  <a:gd name="T5" fmla="*/ 615 h 762"/>
                  <a:gd name="T6" fmla="*/ 363 w 401"/>
                  <a:gd name="T7" fmla="*/ 517 h 762"/>
                  <a:gd name="T8" fmla="*/ 214 w 401"/>
                  <a:gd name="T9" fmla="*/ 517 h 762"/>
                  <a:gd name="T10" fmla="*/ 39 w 401"/>
                  <a:gd name="T11" fmla="*/ 517 h 762"/>
                  <a:gd name="T12" fmla="*/ 39 w 401"/>
                  <a:gd name="T13" fmla="*/ 615 h 762"/>
                  <a:gd name="T14" fmla="*/ 187 w 401"/>
                  <a:gd name="T15" fmla="*/ 615 h 762"/>
                  <a:gd name="T16" fmla="*/ 187 w 401"/>
                  <a:gd name="T17" fmla="*/ 517 h 762"/>
                  <a:gd name="T18" fmla="*/ 39 w 401"/>
                  <a:gd name="T19" fmla="*/ 517 h 762"/>
                  <a:gd name="T20" fmla="*/ 214 w 401"/>
                  <a:gd name="T21" fmla="*/ 368 h 762"/>
                  <a:gd name="T22" fmla="*/ 214 w 401"/>
                  <a:gd name="T23" fmla="*/ 466 h 762"/>
                  <a:gd name="T24" fmla="*/ 363 w 401"/>
                  <a:gd name="T25" fmla="*/ 466 h 762"/>
                  <a:gd name="T26" fmla="*/ 363 w 401"/>
                  <a:gd name="T27" fmla="*/ 368 h 762"/>
                  <a:gd name="T28" fmla="*/ 214 w 401"/>
                  <a:gd name="T29" fmla="*/ 368 h 762"/>
                  <a:gd name="T30" fmla="*/ 39 w 401"/>
                  <a:gd name="T31" fmla="*/ 368 h 762"/>
                  <a:gd name="T32" fmla="*/ 39 w 401"/>
                  <a:gd name="T33" fmla="*/ 466 h 762"/>
                  <a:gd name="T34" fmla="*/ 187 w 401"/>
                  <a:gd name="T35" fmla="*/ 466 h 762"/>
                  <a:gd name="T36" fmla="*/ 187 w 401"/>
                  <a:gd name="T37" fmla="*/ 368 h 762"/>
                  <a:gd name="T38" fmla="*/ 39 w 401"/>
                  <a:gd name="T39" fmla="*/ 368 h 762"/>
                  <a:gd name="T40" fmla="*/ 214 w 401"/>
                  <a:gd name="T41" fmla="*/ 219 h 762"/>
                  <a:gd name="T42" fmla="*/ 214 w 401"/>
                  <a:gd name="T43" fmla="*/ 317 h 762"/>
                  <a:gd name="T44" fmla="*/ 363 w 401"/>
                  <a:gd name="T45" fmla="*/ 317 h 762"/>
                  <a:gd name="T46" fmla="*/ 363 w 401"/>
                  <a:gd name="T47" fmla="*/ 219 h 762"/>
                  <a:gd name="T48" fmla="*/ 214 w 401"/>
                  <a:gd name="T49" fmla="*/ 219 h 762"/>
                  <a:gd name="T50" fmla="*/ 39 w 401"/>
                  <a:gd name="T51" fmla="*/ 219 h 762"/>
                  <a:gd name="T52" fmla="*/ 39 w 401"/>
                  <a:gd name="T53" fmla="*/ 317 h 762"/>
                  <a:gd name="T54" fmla="*/ 187 w 401"/>
                  <a:gd name="T55" fmla="*/ 317 h 762"/>
                  <a:gd name="T56" fmla="*/ 187 w 401"/>
                  <a:gd name="T57" fmla="*/ 219 h 762"/>
                  <a:gd name="T58" fmla="*/ 39 w 401"/>
                  <a:gd name="T59" fmla="*/ 219 h 762"/>
                  <a:gd name="T60" fmla="*/ 214 w 401"/>
                  <a:gd name="T61" fmla="*/ 72 h 762"/>
                  <a:gd name="T62" fmla="*/ 214 w 401"/>
                  <a:gd name="T63" fmla="*/ 169 h 762"/>
                  <a:gd name="T64" fmla="*/ 363 w 401"/>
                  <a:gd name="T65" fmla="*/ 169 h 762"/>
                  <a:gd name="T66" fmla="*/ 363 w 401"/>
                  <a:gd name="T67" fmla="*/ 72 h 762"/>
                  <a:gd name="T68" fmla="*/ 214 w 401"/>
                  <a:gd name="T69" fmla="*/ 72 h 762"/>
                  <a:gd name="T70" fmla="*/ 39 w 401"/>
                  <a:gd name="T71" fmla="*/ 72 h 762"/>
                  <a:gd name="T72" fmla="*/ 39 w 401"/>
                  <a:gd name="T73" fmla="*/ 169 h 762"/>
                  <a:gd name="T74" fmla="*/ 187 w 401"/>
                  <a:gd name="T75" fmla="*/ 169 h 762"/>
                  <a:gd name="T76" fmla="*/ 187 w 401"/>
                  <a:gd name="T77" fmla="*/ 72 h 762"/>
                  <a:gd name="T78" fmla="*/ 39 w 401"/>
                  <a:gd name="T79" fmla="*/ 72 h 762"/>
                  <a:gd name="T80" fmla="*/ 0 w 401"/>
                  <a:gd name="T81" fmla="*/ 0 h 762"/>
                  <a:gd name="T82" fmla="*/ 401 w 401"/>
                  <a:gd name="T83" fmla="*/ 0 h 762"/>
                  <a:gd name="T84" fmla="*/ 401 w 401"/>
                  <a:gd name="T85" fmla="*/ 762 h 762"/>
                  <a:gd name="T86" fmla="*/ 0 w 401"/>
                  <a:gd name="T87" fmla="*/ 762 h 762"/>
                  <a:gd name="T88" fmla="*/ 0 w 401"/>
                  <a:gd name="T8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1" h="762">
                    <a:moveTo>
                      <a:pt x="214" y="517"/>
                    </a:moveTo>
                    <a:lnTo>
                      <a:pt x="214" y="615"/>
                    </a:lnTo>
                    <a:lnTo>
                      <a:pt x="363" y="615"/>
                    </a:lnTo>
                    <a:lnTo>
                      <a:pt x="363" y="517"/>
                    </a:lnTo>
                    <a:lnTo>
                      <a:pt x="214" y="517"/>
                    </a:lnTo>
                    <a:close/>
                    <a:moveTo>
                      <a:pt x="39" y="517"/>
                    </a:moveTo>
                    <a:lnTo>
                      <a:pt x="39" y="615"/>
                    </a:lnTo>
                    <a:lnTo>
                      <a:pt x="187" y="615"/>
                    </a:lnTo>
                    <a:lnTo>
                      <a:pt x="187" y="517"/>
                    </a:lnTo>
                    <a:lnTo>
                      <a:pt x="39" y="517"/>
                    </a:lnTo>
                    <a:close/>
                    <a:moveTo>
                      <a:pt x="214" y="368"/>
                    </a:moveTo>
                    <a:lnTo>
                      <a:pt x="214" y="466"/>
                    </a:lnTo>
                    <a:lnTo>
                      <a:pt x="363" y="466"/>
                    </a:lnTo>
                    <a:lnTo>
                      <a:pt x="363" y="368"/>
                    </a:lnTo>
                    <a:lnTo>
                      <a:pt x="214" y="368"/>
                    </a:lnTo>
                    <a:close/>
                    <a:moveTo>
                      <a:pt x="39" y="368"/>
                    </a:moveTo>
                    <a:lnTo>
                      <a:pt x="39" y="466"/>
                    </a:lnTo>
                    <a:lnTo>
                      <a:pt x="187" y="466"/>
                    </a:lnTo>
                    <a:lnTo>
                      <a:pt x="187" y="368"/>
                    </a:lnTo>
                    <a:lnTo>
                      <a:pt x="39" y="368"/>
                    </a:lnTo>
                    <a:close/>
                    <a:moveTo>
                      <a:pt x="214" y="219"/>
                    </a:moveTo>
                    <a:lnTo>
                      <a:pt x="214" y="317"/>
                    </a:lnTo>
                    <a:lnTo>
                      <a:pt x="363" y="317"/>
                    </a:lnTo>
                    <a:lnTo>
                      <a:pt x="363" y="219"/>
                    </a:lnTo>
                    <a:lnTo>
                      <a:pt x="214" y="219"/>
                    </a:lnTo>
                    <a:close/>
                    <a:moveTo>
                      <a:pt x="39" y="219"/>
                    </a:moveTo>
                    <a:lnTo>
                      <a:pt x="39" y="317"/>
                    </a:lnTo>
                    <a:lnTo>
                      <a:pt x="187" y="317"/>
                    </a:lnTo>
                    <a:lnTo>
                      <a:pt x="187" y="219"/>
                    </a:lnTo>
                    <a:lnTo>
                      <a:pt x="39" y="219"/>
                    </a:lnTo>
                    <a:close/>
                    <a:moveTo>
                      <a:pt x="214" y="72"/>
                    </a:moveTo>
                    <a:lnTo>
                      <a:pt x="214" y="169"/>
                    </a:lnTo>
                    <a:lnTo>
                      <a:pt x="363" y="169"/>
                    </a:lnTo>
                    <a:lnTo>
                      <a:pt x="363" y="72"/>
                    </a:lnTo>
                    <a:lnTo>
                      <a:pt x="214" y="72"/>
                    </a:lnTo>
                    <a:close/>
                    <a:moveTo>
                      <a:pt x="39" y="72"/>
                    </a:moveTo>
                    <a:lnTo>
                      <a:pt x="39" y="169"/>
                    </a:lnTo>
                    <a:lnTo>
                      <a:pt x="187" y="169"/>
                    </a:lnTo>
                    <a:lnTo>
                      <a:pt x="187" y="72"/>
                    </a:lnTo>
                    <a:lnTo>
                      <a:pt x="39" y="72"/>
                    </a:lnTo>
                    <a:close/>
                    <a:moveTo>
                      <a:pt x="0" y="0"/>
                    </a:moveTo>
                    <a:lnTo>
                      <a:pt x="401" y="0"/>
                    </a:lnTo>
                    <a:lnTo>
                      <a:pt x="401" y="762"/>
                    </a:lnTo>
                    <a:lnTo>
                      <a:pt x="0" y="762"/>
                    </a:lnTo>
                    <a:lnTo>
                      <a:pt x="0" y="0"/>
                    </a:lnTo>
                    <a:close/>
                  </a:path>
                </a:pathLst>
              </a:custGeom>
              <a:solidFill>
                <a:schemeClr val="tx1">
                  <a:lumMod val="10000"/>
                  <a:lumOff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grpSp>
      </p:grpSp>
      <p:sp>
        <p:nvSpPr>
          <p:cNvPr id="189" name="Rounded Rectangle 188">
            <a:extLst>
              <a:ext uri="{FF2B5EF4-FFF2-40B4-BE49-F238E27FC236}">
                <a16:creationId xmlns:a16="http://schemas.microsoft.com/office/drawing/2014/main" id="{B50A7E65-DC5E-7D42-8B61-0B1024F3B868}"/>
              </a:ext>
            </a:extLst>
          </p:cNvPr>
          <p:cNvSpPr>
            <a:spLocks noChangeAspect="1"/>
          </p:cNvSpPr>
          <p:nvPr/>
        </p:nvSpPr>
        <p:spPr>
          <a:xfrm>
            <a:off x="6380267" y="6405307"/>
            <a:ext cx="6199500" cy="472783"/>
          </a:xfrm>
          <a:prstGeom prst="roundRect">
            <a:avLst>
              <a:gd name="adj" fmla="val 50000"/>
            </a:avLst>
          </a:prstGeom>
          <a:solidFill>
            <a:srgbClr val="EDF1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r>
              <a:rPr lang="en-US" sz="1733">
                <a:solidFill>
                  <a:srgbClr val="14284A"/>
                </a:solidFill>
                <a:latin typeface="CiscoSansTT ExtraLight" panose="020B0303020201020303" pitchFamily="34" charset="0"/>
                <a:ea typeface="ＭＳ Ｐゴシック" charset="0"/>
                <a:cs typeface="CiscoSansTT ExtraLight" panose="020B0303020201020303" pitchFamily="34" charset="0"/>
                <a:sym typeface="Arial"/>
              </a:rPr>
              <a:t>Cisco security operations centers</a:t>
            </a:r>
          </a:p>
        </p:txBody>
      </p:sp>
      <p:sp>
        <p:nvSpPr>
          <p:cNvPr id="190" name="Arc 189">
            <a:extLst>
              <a:ext uri="{FF2B5EF4-FFF2-40B4-BE49-F238E27FC236}">
                <a16:creationId xmlns:a16="http://schemas.microsoft.com/office/drawing/2014/main" id="{3A285393-41CC-BC4D-AD36-C3F0C3448795}"/>
              </a:ext>
            </a:extLst>
          </p:cNvPr>
          <p:cNvSpPr/>
          <p:nvPr/>
        </p:nvSpPr>
        <p:spPr>
          <a:xfrm rot="2700000" flipH="1">
            <a:off x="8117768" y="1953976"/>
            <a:ext cx="2293147" cy="2293147"/>
          </a:xfrm>
          <a:prstGeom prst="arc">
            <a:avLst/>
          </a:prstGeom>
          <a:ln w="158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fontAlgn="base">
              <a:spcBef>
                <a:spcPct val="0"/>
              </a:spcBef>
              <a:spcAft>
                <a:spcPct val="0"/>
              </a:spcAft>
              <a:defRPr/>
            </a:pPr>
            <a:endParaRPr lang="en-US" sz="2400">
              <a:solidFill>
                <a:srgbClr val="282828"/>
              </a:solidFill>
              <a:latin typeface="Arial"/>
              <a:sym typeface="Arial"/>
            </a:endParaRPr>
          </a:p>
        </p:txBody>
      </p:sp>
      <p:sp>
        <p:nvSpPr>
          <p:cNvPr id="191" name="Rectangle 190">
            <a:extLst>
              <a:ext uri="{FF2B5EF4-FFF2-40B4-BE49-F238E27FC236}">
                <a16:creationId xmlns:a16="http://schemas.microsoft.com/office/drawing/2014/main" id="{920D879A-A937-FD42-893C-C52EEEE70BE4}"/>
              </a:ext>
            </a:extLst>
          </p:cNvPr>
          <p:cNvSpPr/>
          <p:nvPr/>
        </p:nvSpPr>
        <p:spPr>
          <a:xfrm>
            <a:off x="292813" y="1739631"/>
            <a:ext cx="6383295" cy="4737703"/>
          </a:xfrm>
          <a:prstGeom prst="rect">
            <a:avLst/>
          </a:prstGeom>
          <a:noFill/>
          <a:ln w="15875" cap="rnd">
            <a:solidFill>
              <a:srgbClr val="BBCDDF"/>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Arial"/>
              <a:sym typeface="Arial"/>
            </a:endParaRPr>
          </a:p>
        </p:txBody>
      </p:sp>
      <p:sp>
        <p:nvSpPr>
          <p:cNvPr id="192" name="Freeform 57">
            <a:extLst>
              <a:ext uri="{FF2B5EF4-FFF2-40B4-BE49-F238E27FC236}">
                <a16:creationId xmlns:a16="http://schemas.microsoft.com/office/drawing/2014/main" id="{B916EB8E-FBE5-A04D-91DE-E2F9EF164B8D}"/>
              </a:ext>
            </a:extLst>
          </p:cNvPr>
          <p:cNvSpPr>
            <a:spLocks/>
          </p:cNvSpPr>
          <p:nvPr/>
        </p:nvSpPr>
        <p:spPr bwMode="auto">
          <a:xfrm flipH="1">
            <a:off x="3411475" y="1673243"/>
            <a:ext cx="1416835" cy="778307"/>
          </a:xfrm>
          <a:custGeom>
            <a:avLst/>
            <a:gdLst>
              <a:gd name="connsiteX0" fmla="*/ 733902 w 1210718"/>
              <a:gd name="connsiteY0" fmla="*/ 0 h 599742"/>
              <a:gd name="connsiteX1" fmla="*/ 882562 w 1210718"/>
              <a:gd name="connsiteY1" fmla="*/ 0 h 599742"/>
              <a:gd name="connsiteX2" fmla="*/ 1015293 w 1210718"/>
              <a:gd name="connsiteY2" fmla="*/ 127622 h 599742"/>
              <a:gd name="connsiteX3" fmla="*/ 1006776 w 1210718"/>
              <a:gd name="connsiteY3" fmla="*/ 170827 h 599742"/>
              <a:gd name="connsiteX4" fmla="*/ 1046952 w 1210718"/>
              <a:gd name="connsiteY4" fmla="*/ 178771 h 599742"/>
              <a:gd name="connsiteX5" fmla="*/ 1127605 w 1210718"/>
              <a:gd name="connsiteY5" fmla="*/ 301408 h 599742"/>
              <a:gd name="connsiteX6" fmla="*/ 1118155 w 1210718"/>
              <a:gd name="connsiteY6" fmla="*/ 346509 h 599742"/>
              <a:gd name="connsiteX7" fmla="*/ 1132310 w 1210718"/>
              <a:gd name="connsiteY7" fmla="*/ 349483 h 599742"/>
              <a:gd name="connsiteX8" fmla="*/ 1210718 w 1210718"/>
              <a:gd name="connsiteY8" fmla="*/ 472120 h 599742"/>
              <a:gd name="connsiteX9" fmla="*/ 1083274 w 1210718"/>
              <a:gd name="connsiteY9" fmla="*/ 599742 h 599742"/>
              <a:gd name="connsiteX10" fmla="*/ 127444 w 1210718"/>
              <a:gd name="connsiteY10" fmla="*/ 599742 h 599742"/>
              <a:gd name="connsiteX11" fmla="*/ 0 w 1210718"/>
              <a:gd name="connsiteY11" fmla="*/ 472120 h 599742"/>
              <a:gd name="connsiteX12" fmla="*/ 127444 w 1210718"/>
              <a:gd name="connsiteY12" fmla="*/ 339180 h 599742"/>
              <a:gd name="connsiteX13" fmla="*/ 275151 w 1210718"/>
              <a:gd name="connsiteY13" fmla="*/ 339180 h 599742"/>
              <a:gd name="connsiteX14" fmla="*/ 267300 w 1210718"/>
              <a:gd name="connsiteY14" fmla="*/ 301408 h 599742"/>
              <a:gd name="connsiteX15" fmla="*/ 394753 w 1210718"/>
              <a:gd name="connsiteY15" fmla="*/ 168468 h 599742"/>
              <a:gd name="connsiteX16" fmla="*/ 592829 w 1210718"/>
              <a:gd name="connsiteY16" fmla="*/ 168468 h 599742"/>
              <a:gd name="connsiteX17" fmla="*/ 614468 w 1210718"/>
              <a:gd name="connsiteY17" fmla="*/ 168468 h 599742"/>
              <a:gd name="connsiteX18" fmla="*/ 606480 w 1210718"/>
              <a:gd name="connsiteY18" fmla="*/ 127622 h 599742"/>
              <a:gd name="connsiteX19" fmla="*/ 733902 w 1210718"/>
              <a:gd name="connsiteY19" fmla="*/ 0 h 59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0718" h="599742">
                <a:moveTo>
                  <a:pt x="733902" y="0"/>
                </a:moveTo>
                <a:cubicBezTo>
                  <a:pt x="882562" y="0"/>
                  <a:pt x="882562" y="0"/>
                  <a:pt x="882562" y="0"/>
                </a:cubicBezTo>
                <a:cubicBezTo>
                  <a:pt x="956891" y="0"/>
                  <a:pt x="1015293" y="58493"/>
                  <a:pt x="1015293" y="127622"/>
                </a:cubicBezTo>
                <a:lnTo>
                  <a:pt x="1006776" y="170827"/>
                </a:lnTo>
                <a:lnTo>
                  <a:pt x="1046952" y="178771"/>
                </a:lnTo>
                <a:cubicBezTo>
                  <a:pt x="1094746" y="198712"/>
                  <a:pt x="1127605" y="245573"/>
                  <a:pt x="1127605" y="301408"/>
                </a:cubicBezTo>
                <a:lnTo>
                  <a:pt x="1118155" y="346509"/>
                </a:lnTo>
                <a:lnTo>
                  <a:pt x="1132310" y="349483"/>
                </a:lnTo>
                <a:cubicBezTo>
                  <a:pt x="1177862" y="369424"/>
                  <a:pt x="1210718" y="416285"/>
                  <a:pt x="1210718" y="472120"/>
                </a:cubicBezTo>
                <a:cubicBezTo>
                  <a:pt x="1210718" y="541249"/>
                  <a:pt x="1152306" y="599742"/>
                  <a:pt x="1083274" y="599742"/>
                </a:cubicBezTo>
                <a:cubicBezTo>
                  <a:pt x="127444" y="599742"/>
                  <a:pt x="127444" y="599742"/>
                  <a:pt x="127444" y="599742"/>
                </a:cubicBezTo>
                <a:cubicBezTo>
                  <a:pt x="58412" y="599742"/>
                  <a:pt x="0" y="541249"/>
                  <a:pt x="0" y="472120"/>
                </a:cubicBezTo>
                <a:cubicBezTo>
                  <a:pt x="0" y="397674"/>
                  <a:pt x="58412" y="339180"/>
                  <a:pt x="127444" y="339180"/>
                </a:cubicBezTo>
                <a:lnTo>
                  <a:pt x="275151" y="339180"/>
                </a:lnTo>
                <a:lnTo>
                  <a:pt x="267300" y="301408"/>
                </a:lnTo>
                <a:cubicBezTo>
                  <a:pt x="267300" y="226961"/>
                  <a:pt x="325716" y="168468"/>
                  <a:pt x="394753" y="168468"/>
                </a:cubicBezTo>
                <a:cubicBezTo>
                  <a:pt x="469764" y="168468"/>
                  <a:pt x="535399" y="168468"/>
                  <a:pt x="592829" y="168468"/>
                </a:cubicBezTo>
                <a:lnTo>
                  <a:pt x="614468" y="168468"/>
                </a:lnTo>
                <a:lnTo>
                  <a:pt x="606480" y="127622"/>
                </a:lnTo>
                <a:cubicBezTo>
                  <a:pt x="606480" y="58493"/>
                  <a:pt x="664882" y="0"/>
                  <a:pt x="733902" y="0"/>
                </a:cubicBezTo>
                <a:close/>
              </a:path>
            </a:pathLst>
          </a:custGeom>
          <a:solidFill>
            <a:srgbClr val="EDF1F7"/>
          </a:solidFill>
          <a:ln>
            <a:noFill/>
          </a:ln>
        </p:spPr>
        <p:txBody>
          <a:bodyPr vert="horz" wrap="square" lIns="0" tIns="45720" rIns="91440" bIns="45720" numCol="1" anchor="b" anchorCtr="0" compatLnSpc="1">
            <a:prstTxWarp prst="textNoShape">
              <a:avLst/>
            </a:prstTxWarp>
            <a:noAutofit/>
          </a:bodyPr>
          <a:lstStyle/>
          <a:p>
            <a:pPr algn="ctr" defTabSz="457189" fontAlgn="base">
              <a:spcBef>
                <a:spcPct val="0"/>
              </a:spcBef>
              <a:spcAft>
                <a:spcPct val="0"/>
              </a:spcAft>
              <a:defRPr/>
            </a:pPr>
            <a:endParaRPr lang="en-US" sz="1100">
              <a:solidFill>
                <a:srgbClr val="676767"/>
              </a:solidFill>
              <a:latin typeface="Arial"/>
              <a:ea typeface="ＭＳ Ｐゴシック" charset="0"/>
              <a:cs typeface="Arial"/>
              <a:sym typeface="Arial"/>
            </a:endParaRPr>
          </a:p>
        </p:txBody>
      </p:sp>
      <p:sp>
        <p:nvSpPr>
          <p:cNvPr id="194" name="Freeform 56">
            <a:extLst>
              <a:ext uri="{FF2B5EF4-FFF2-40B4-BE49-F238E27FC236}">
                <a16:creationId xmlns:a16="http://schemas.microsoft.com/office/drawing/2014/main" id="{EDC20099-870E-7541-BEB3-8E8C10CB54CB}"/>
              </a:ext>
            </a:extLst>
          </p:cNvPr>
          <p:cNvSpPr>
            <a:spLocks/>
          </p:cNvSpPr>
          <p:nvPr/>
        </p:nvSpPr>
        <p:spPr bwMode="auto">
          <a:xfrm flipH="1">
            <a:off x="153131" y="1467570"/>
            <a:ext cx="1446551" cy="778308"/>
          </a:xfrm>
          <a:custGeom>
            <a:avLst/>
            <a:gdLst>
              <a:gd name="connsiteX0" fmla="*/ 733902 w 1210718"/>
              <a:gd name="connsiteY0" fmla="*/ 0 h 599742"/>
              <a:gd name="connsiteX1" fmla="*/ 882562 w 1210718"/>
              <a:gd name="connsiteY1" fmla="*/ 0 h 599742"/>
              <a:gd name="connsiteX2" fmla="*/ 1015293 w 1210718"/>
              <a:gd name="connsiteY2" fmla="*/ 127622 h 599742"/>
              <a:gd name="connsiteX3" fmla="*/ 1006776 w 1210718"/>
              <a:gd name="connsiteY3" fmla="*/ 170827 h 599742"/>
              <a:gd name="connsiteX4" fmla="*/ 1046952 w 1210718"/>
              <a:gd name="connsiteY4" fmla="*/ 178771 h 599742"/>
              <a:gd name="connsiteX5" fmla="*/ 1127605 w 1210718"/>
              <a:gd name="connsiteY5" fmla="*/ 301408 h 599742"/>
              <a:gd name="connsiteX6" fmla="*/ 1118155 w 1210718"/>
              <a:gd name="connsiteY6" fmla="*/ 346509 h 599742"/>
              <a:gd name="connsiteX7" fmla="*/ 1132310 w 1210718"/>
              <a:gd name="connsiteY7" fmla="*/ 349483 h 599742"/>
              <a:gd name="connsiteX8" fmla="*/ 1210718 w 1210718"/>
              <a:gd name="connsiteY8" fmla="*/ 472120 h 599742"/>
              <a:gd name="connsiteX9" fmla="*/ 1083274 w 1210718"/>
              <a:gd name="connsiteY9" fmla="*/ 599742 h 599742"/>
              <a:gd name="connsiteX10" fmla="*/ 127444 w 1210718"/>
              <a:gd name="connsiteY10" fmla="*/ 599742 h 599742"/>
              <a:gd name="connsiteX11" fmla="*/ 0 w 1210718"/>
              <a:gd name="connsiteY11" fmla="*/ 472120 h 599742"/>
              <a:gd name="connsiteX12" fmla="*/ 127444 w 1210718"/>
              <a:gd name="connsiteY12" fmla="*/ 339180 h 599742"/>
              <a:gd name="connsiteX13" fmla="*/ 275151 w 1210718"/>
              <a:gd name="connsiteY13" fmla="*/ 339180 h 599742"/>
              <a:gd name="connsiteX14" fmla="*/ 267300 w 1210718"/>
              <a:gd name="connsiteY14" fmla="*/ 301408 h 599742"/>
              <a:gd name="connsiteX15" fmla="*/ 394753 w 1210718"/>
              <a:gd name="connsiteY15" fmla="*/ 168468 h 599742"/>
              <a:gd name="connsiteX16" fmla="*/ 592829 w 1210718"/>
              <a:gd name="connsiteY16" fmla="*/ 168468 h 599742"/>
              <a:gd name="connsiteX17" fmla="*/ 614468 w 1210718"/>
              <a:gd name="connsiteY17" fmla="*/ 168468 h 599742"/>
              <a:gd name="connsiteX18" fmla="*/ 606480 w 1210718"/>
              <a:gd name="connsiteY18" fmla="*/ 127622 h 599742"/>
              <a:gd name="connsiteX19" fmla="*/ 733902 w 1210718"/>
              <a:gd name="connsiteY19" fmla="*/ 0 h 59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0718" h="599742">
                <a:moveTo>
                  <a:pt x="733902" y="0"/>
                </a:moveTo>
                <a:cubicBezTo>
                  <a:pt x="882562" y="0"/>
                  <a:pt x="882562" y="0"/>
                  <a:pt x="882562" y="0"/>
                </a:cubicBezTo>
                <a:cubicBezTo>
                  <a:pt x="956891" y="0"/>
                  <a:pt x="1015293" y="58493"/>
                  <a:pt x="1015293" y="127622"/>
                </a:cubicBezTo>
                <a:lnTo>
                  <a:pt x="1006776" y="170827"/>
                </a:lnTo>
                <a:lnTo>
                  <a:pt x="1046952" y="178771"/>
                </a:lnTo>
                <a:cubicBezTo>
                  <a:pt x="1094746" y="198712"/>
                  <a:pt x="1127605" y="245573"/>
                  <a:pt x="1127605" y="301408"/>
                </a:cubicBezTo>
                <a:lnTo>
                  <a:pt x="1118155" y="346509"/>
                </a:lnTo>
                <a:lnTo>
                  <a:pt x="1132310" y="349483"/>
                </a:lnTo>
                <a:cubicBezTo>
                  <a:pt x="1177862" y="369424"/>
                  <a:pt x="1210718" y="416285"/>
                  <a:pt x="1210718" y="472120"/>
                </a:cubicBezTo>
                <a:cubicBezTo>
                  <a:pt x="1210718" y="541249"/>
                  <a:pt x="1152306" y="599742"/>
                  <a:pt x="1083274" y="599742"/>
                </a:cubicBezTo>
                <a:cubicBezTo>
                  <a:pt x="127444" y="599742"/>
                  <a:pt x="127444" y="599742"/>
                  <a:pt x="127444" y="599742"/>
                </a:cubicBezTo>
                <a:cubicBezTo>
                  <a:pt x="58412" y="599742"/>
                  <a:pt x="0" y="541249"/>
                  <a:pt x="0" y="472120"/>
                </a:cubicBezTo>
                <a:cubicBezTo>
                  <a:pt x="0" y="397674"/>
                  <a:pt x="58412" y="339180"/>
                  <a:pt x="127444" y="339180"/>
                </a:cubicBezTo>
                <a:lnTo>
                  <a:pt x="275151" y="339180"/>
                </a:lnTo>
                <a:lnTo>
                  <a:pt x="267300" y="301408"/>
                </a:lnTo>
                <a:cubicBezTo>
                  <a:pt x="267300" y="226961"/>
                  <a:pt x="325716" y="168468"/>
                  <a:pt x="394753" y="168468"/>
                </a:cubicBezTo>
                <a:cubicBezTo>
                  <a:pt x="469764" y="168468"/>
                  <a:pt x="535399" y="168468"/>
                  <a:pt x="592829" y="168468"/>
                </a:cubicBezTo>
                <a:lnTo>
                  <a:pt x="614468" y="168468"/>
                </a:lnTo>
                <a:lnTo>
                  <a:pt x="606480" y="127622"/>
                </a:lnTo>
                <a:cubicBezTo>
                  <a:pt x="606480" y="58493"/>
                  <a:pt x="664882" y="0"/>
                  <a:pt x="733902" y="0"/>
                </a:cubicBezTo>
                <a:close/>
              </a:path>
            </a:pathLst>
          </a:custGeom>
          <a:solidFill>
            <a:srgbClr val="EDF1F7"/>
          </a:solidFill>
          <a:ln>
            <a:noFill/>
          </a:ln>
        </p:spPr>
        <p:txBody>
          <a:bodyPr vert="horz" wrap="square" lIns="0" tIns="45720" rIns="91440" bIns="45720" numCol="1" anchor="b" anchorCtr="0" compatLnSpc="1">
            <a:prstTxWarp prst="textNoShape">
              <a:avLst/>
            </a:prstTxWarp>
            <a:noAutofit/>
          </a:bodyPr>
          <a:lstStyle/>
          <a:p>
            <a:pPr algn="ctr" defTabSz="457189" fontAlgn="base">
              <a:spcBef>
                <a:spcPct val="0"/>
              </a:spcBef>
              <a:spcAft>
                <a:spcPct val="0"/>
              </a:spcAft>
              <a:defRPr/>
            </a:pPr>
            <a:endParaRPr lang="en-US" sz="1100">
              <a:solidFill>
                <a:srgbClr val="676767"/>
              </a:solidFill>
              <a:latin typeface="Arial"/>
              <a:ea typeface="ＭＳ Ｐゴシック" charset="0"/>
              <a:cs typeface="Arial"/>
              <a:sym typeface="Arial"/>
            </a:endParaRPr>
          </a:p>
        </p:txBody>
      </p:sp>
      <p:pic>
        <p:nvPicPr>
          <p:cNvPr id="195" name="Picture 194">
            <a:extLst>
              <a:ext uri="{FF2B5EF4-FFF2-40B4-BE49-F238E27FC236}">
                <a16:creationId xmlns:a16="http://schemas.microsoft.com/office/drawing/2014/main" id="{74922525-5318-C745-AA3B-6F17E7E3DB3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18218"/>
          <a:stretch/>
        </p:blipFill>
        <p:spPr>
          <a:xfrm>
            <a:off x="738664" y="1807067"/>
            <a:ext cx="227317" cy="320396"/>
          </a:xfrm>
          <a:prstGeom prst="rect">
            <a:avLst/>
          </a:prstGeom>
        </p:spPr>
      </p:pic>
      <p:sp>
        <p:nvSpPr>
          <p:cNvPr id="196" name="TextBox 195">
            <a:extLst>
              <a:ext uri="{FF2B5EF4-FFF2-40B4-BE49-F238E27FC236}">
                <a16:creationId xmlns:a16="http://schemas.microsoft.com/office/drawing/2014/main" id="{7F7AC7AD-8FAD-AD4C-AC59-931917FEB59F}"/>
              </a:ext>
            </a:extLst>
          </p:cNvPr>
          <p:cNvSpPr txBox="1"/>
          <p:nvPr/>
        </p:nvSpPr>
        <p:spPr>
          <a:xfrm>
            <a:off x="203864" y="2208689"/>
            <a:ext cx="1345085" cy="246221"/>
          </a:xfrm>
          <a:prstGeom prst="rect">
            <a:avLst/>
          </a:prstGeom>
          <a:noFill/>
        </p:spPr>
        <p:txBody>
          <a:bodyPr wrap="square" rtlCol="0">
            <a:spAutoFit/>
          </a:bodyPr>
          <a:lstStyle/>
          <a:p>
            <a:pPr algn="ctr" defTabSz="457189" fontAlgn="base">
              <a:spcBef>
                <a:spcPct val="0"/>
              </a:spcBef>
              <a:spcAft>
                <a:spcPct val="0"/>
              </a:spcAft>
              <a:defRPr/>
            </a:pPr>
            <a:r>
              <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Private cloud</a:t>
            </a:r>
          </a:p>
        </p:txBody>
      </p:sp>
      <p:grpSp>
        <p:nvGrpSpPr>
          <p:cNvPr id="197" name="Group 164">
            <a:extLst>
              <a:ext uri="{FF2B5EF4-FFF2-40B4-BE49-F238E27FC236}">
                <a16:creationId xmlns:a16="http://schemas.microsoft.com/office/drawing/2014/main" id="{ABE36EF7-2531-CE44-8C7A-05FDADB5C5D6}"/>
              </a:ext>
            </a:extLst>
          </p:cNvPr>
          <p:cNvGrpSpPr>
            <a:grpSpLocks noChangeAspect="1"/>
          </p:cNvGrpSpPr>
          <p:nvPr/>
        </p:nvGrpSpPr>
        <p:grpSpPr bwMode="auto">
          <a:xfrm>
            <a:off x="3981484" y="1996908"/>
            <a:ext cx="317523" cy="355995"/>
            <a:chOff x="2701" y="1447"/>
            <a:chExt cx="356" cy="347"/>
          </a:xfrm>
        </p:grpSpPr>
        <p:sp>
          <p:nvSpPr>
            <p:cNvPr id="198" name="Freeform 165">
              <a:extLst>
                <a:ext uri="{FF2B5EF4-FFF2-40B4-BE49-F238E27FC236}">
                  <a16:creationId xmlns:a16="http://schemas.microsoft.com/office/drawing/2014/main" id="{18C27D8A-43F9-5445-B66E-E45D4E01D554}"/>
                </a:ext>
              </a:extLst>
            </p:cNvPr>
            <p:cNvSpPr>
              <a:spLocks/>
            </p:cNvSpPr>
            <p:nvPr/>
          </p:nvSpPr>
          <p:spPr bwMode="auto">
            <a:xfrm>
              <a:off x="2824" y="1605"/>
              <a:ext cx="55" cy="189"/>
            </a:xfrm>
            <a:custGeom>
              <a:avLst/>
              <a:gdLst>
                <a:gd name="T0" fmla="*/ 0 w 44"/>
                <a:gd name="T1" fmla="*/ 135 h 157"/>
                <a:gd name="T2" fmla="*/ 22 w 44"/>
                <a:gd name="T3" fmla="*/ 157 h 157"/>
                <a:gd name="T4" fmla="*/ 44 w 44"/>
                <a:gd name="T5" fmla="*/ 135 h 157"/>
                <a:gd name="T6" fmla="*/ 44 w 44"/>
                <a:gd name="T7" fmla="*/ 0 h 157"/>
              </a:gdLst>
              <a:ahLst/>
              <a:cxnLst>
                <a:cxn ang="0">
                  <a:pos x="T0" y="T1"/>
                </a:cxn>
                <a:cxn ang="0">
                  <a:pos x="T2" y="T3"/>
                </a:cxn>
                <a:cxn ang="0">
                  <a:pos x="T4" y="T5"/>
                </a:cxn>
                <a:cxn ang="0">
                  <a:pos x="T6" y="T7"/>
                </a:cxn>
              </a:cxnLst>
              <a:rect l="0" t="0" r="r" b="b"/>
              <a:pathLst>
                <a:path w="44" h="157">
                  <a:moveTo>
                    <a:pt x="0" y="135"/>
                  </a:moveTo>
                  <a:cubicBezTo>
                    <a:pt x="0" y="147"/>
                    <a:pt x="10" y="157"/>
                    <a:pt x="22" y="157"/>
                  </a:cubicBezTo>
                  <a:cubicBezTo>
                    <a:pt x="34" y="157"/>
                    <a:pt x="44" y="147"/>
                    <a:pt x="44" y="135"/>
                  </a:cubicBezTo>
                  <a:cubicBezTo>
                    <a:pt x="44" y="0"/>
                    <a:pt x="44" y="0"/>
                    <a:pt x="44" y="0"/>
                  </a:cubicBezTo>
                </a:path>
              </a:pathLst>
            </a:custGeom>
            <a:noFill/>
            <a:ln w="381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a:solidFill>
                  <a:srgbClr val="282828"/>
                </a:solidFill>
                <a:latin typeface="Arial"/>
                <a:ea typeface="ＭＳ Ｐゴシック" charset="0"/>
                <a:cs typeface="Arial"/>
                <a:sym typeface="Arial"/>
              </a:endParaRPr>
            </a:p>
          </p:txBody>
        </p:sp>
        <p:sp>
          <p:nvSpPr>
            <p:cNvPr id="199" name="Line 166">
              <a:extLst>
                <a:ext uri="{FF2B5EF4-FFF2-40B4-BE49-F238E27FC236}">
                  <a16:creationId xmlns:a16="http://schemas.microsoft.com/office/drawing/2014/main" id="{4D56F7BF-D780-2E4C-8896-F6129F45DAA3}"/>
                </a:ext>
              </a:extLst>
            </p:cNvPr>
            <p:cNvSpPr>
              <a:spLocks noChangeShapeType="1"/>
            </p:cNvSpPr>
            <p:nvPr/>
          </p:nvSpPr>
          <p:spPr bwMode="auto">
            <a:xfrm flipV="1">
              <a:off x="2879" y="1447"/>
              <a:ext cx="0" cy="270"/>
            </a:xfrm>
            <a:prstGeom prst="line">
              <a:avLst/>
            </a:prstGeom>
            <a:noFill/>
            <a:ln w="38100" cap="rnd">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a:solidFill>
                  <a:srgbClr val="282828"/>
                </a:solidFill>
                <a:latin typeface="Arial"/>
                <a:ea typeface="ＭＳ Ｐゴシック" charset="0"/>
                <a:cs typeface="Arial"/>
                <a:sym typeface="Arial"/>
              </a:endParaRPr>
            </a:p>
          </p:txBody>
        </p:sp>
        <p:sp>
          <p:nvSpPr>
            <p:cNvPr id="200" name="Freeform 167">
              <a:extLst>
                <a:ext uri="{FF2B5EF4-FFF2-40B4-BE49-F238E27FC236}">
                  <a16:creationId xmlns:a16="http://schemas.microsoft.com/office/drawing/2014/main" id="{102478C3-E7BC-924E-A6AF-CA90678FA995}"/>
                </a:ext>
              </a:extLst>
            </p:cNvPr>
            <p:cNvSpPr>
              <a:spLocks/>
            </p:cNvSpPr>
            <p:nvPr/>
          </p:nvSpPr>
          <p:spPr bwMode="auto">
            <a:xfrm>
              <a:off x="2701" y="1470"/>
              <a:ext cx="356" cy="173"/>
            </a:xfrm>
            <a:custGeom>
              <a:avLst/>
              <a:gdLst>
                <a:gd name="T0" fmla="*/ 0 w 288"/>
                <a:gd name="T1" fmla="*/ 144 h 144"/>
                <a:gd name="T2" fmla="*/ 144 w 288"/>
                <a:gd name="T3" fmla="*/ 0 h 144"/>
                <a:gd name="T4" fmla="*/ 288 w 288"/>
                <a:gd name="T5" fmla="*/ 144 h 144"/>
                <a:gd name="T6" fmla="*/ 0 w 288"/>
                <a:gd name="T7" fmla="*/ 144 h 144"/>
              </a:gdLst>
              <a:ahLst/>
              <a:cxnLst>
                <a:cxn ang="0">
                  <a:pos x="T0" y="T1"/>
                </a:cxn>
                <a:cxn ang="0">
                  <a:pos x="T2" y="T3"/>
                </a:cxn>
                <a:cxn ang="0">
                  <a:pos x="T4" y="T5"/>
                </a:cxn>
                <a:cxn ang="0">
                  <a:pos x="T6" y="T7"/>
                </a:cxn>
              </a:cxnLst>
              <a:rect l="0" t="0" r="r" b="b"/>
              <a:pathLst>
                <a:path w="288" h="144">
                  <a:moveTo>
                    <a:pt x="0" y="144"/>
                  </a:moveTo>
                  <a:cubicBezTo>
                    <a:pt x="0" y="64"/>
                    <a:pt x="65" y="0"/>
                    <a:pt x="144" y="0"/>
                  </a:cubicBezTo>
                  <a:cubicBezTo>
                    <a:pt x="224" y="0"/>
                    <a:pt x="288" y="64"/>
                    <a:pt x="288" y="144"/>
                  </a:cubicBezTo>
                  <a:lnTo>
                    <a:pt x="0" y="14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a:solidFill>
                  <a:srgbClr val="282828"/>
                </a:solidFill>
                <a:latin typeface="Arial"/>
                <a:ea typeface="ＭＳ Ｐゴシック" charset="0"/>
                <a:cs typeface="Arial"/>
                <a:sym typeface="Arial"/>
              </a:endParaRPr>
            </a:p>
          </p:txBody>
        </p:sp>
      </p:grpSp>
      <p:sp>
        <p:nvSpPr>
          <p:cNvPr id="201" name="Rectangle 32">
            <a:extLst>
              <a:ext uri="{FF2B5EF4-FFF2-40B4-BE49-F238E27FC236}">
                <a16:creationId xmlns:a16="http://schemas.microsoft.com/office/drawing/2014/main" id="{DE620CDC-6329-984D-BE57-A3DE2D0F73FC}"/>
              </a:ext>
            </a:extLst>
          </p:cNvPr>
          <p:cNvSpPr/>
          <p:nvPr/>
        </p:nvSpPr>
        <p:spPr>
          <a:xfrm rot="5400000">
            <a:off x="1441836" y="1173061"/>
            <a:ext cx="411477" cy="2578339"/>
          </a:xfrm>
          <a:custGeom>
            <a:avLst/>
            <a:gdLst>
              <a:gd name="connsiteX0" fmla="*/ 0 w 713716"/>
              <a:gd name="connsiteY0" fmla="*/ 0 h 1302683"/>
              <a:gd name="connsiteX1" fmla="*/ 713716 w 713716"/>
              <a:gd name="connsiteY1" fmla="*/ 0 h 1302683"/>
              <a:gd name="connsiteX2" fmla="*/ 713716 w 713716"/>
              <a:gd name="connsiteY2" fmla="*/ 1302683 h 1302683"/>
              <a:gd name="connsiteX3" fmla="*/ 0 w 713716"/>
              <a:gd name="connsiteY3" fmla="*/ 1302683 h 1302683"/>
              <a:gd name="connsiteX4" fmla="*/ 0 w 713716"/>
              <a:gd name="connsiteY4" fmla="*/ 0 h 1302683"/>
              <a:gd name="connsiteX0" fmla="*/ 0 w 713716"/>
              <a:gd name="connsiteY0" fmla="*/ 0 h 1302683"/>
              <a:gd name="connsiteX1" fmla="*/ 713716 w 713716"/>
              <a:gd name="connsiteY1" fmla="*/ 0 h 1302683"/>
              <a:gd name="connsiteX2" fmla="*/ 713716 w 713716"/>
              <a:gd name="connsiteY2" fmla="*/ 1302683 h 1302683"/>
              <a:gd name="connsiteX3" fmla="*/ 0 w 713716"/>
              <a:gd name="connsiteY3" fmla="*/ 1302683 h 1302683"/>
              <a:gd name="connsiteX4" fmla="*/ 91440 w 713716"/>
              <a:gd name="connsiteY4" fmla="*/ 91440 h 1302683"/>
              <a:gd name="connsiteX0" fmla="*/ 0 w 713716"/>
              <a:gd name="connsiteY0" fmla="*/ 0 h 1302683"/>
              <a:gd name="connsiteX1" fmla="*/ 713716 w 713716"/>
              <a:gd name="connsiteY1" fmla="*/ 0 h 1302683"/>
              <a:gd name="connsiteX2" fmla="*/ 713716 w 713716"/>
              <a:gd name="connsiteY2" fmla="*/ 1302683 h 1302683"/>
              <a:gd name="connsiteX3" fmla="*/ 0 w 713716"/>
              <a:gd name="connsiteY3" fmla="*/ 1302683 h 1302683"/>
            </a:gdLst>
            <a:ahLst/>
            <a:cxnLst>
              <a:cxn ang="0">
                <a:pos x="connsiteX0" y="connsiteY0"/>
              </a:cxn>
              <a:cxn ang="0">
                <a:pos x="connsiteX1" y="connsiteY1"/>
              </a:cxn>
              <a:cxn ang="0">
                <a:pos x="connsiteX2" y="connsiteY2"/>
              </a:cxn>
              <a:cxn ang="0">
                <a:pos x="connsiteX3" y="connsiteY3"/>
              </a:cxn>
            </a:cxnLst>
            <a:rect l="l" t="t" r="r" b="b"/>
            <a:pathLst>
              <a:path w="713716" h="1302683">
                <a:moveTo>
                  <a:pt x="0" y="0"/>
                </a:moveTo>
                <a:lnTo>
                  <a:pt x="713716" y="0"/>
                </a:lnTo>
                <a:lnTo>
                  <a:pt x="713716" y="1302683"/>
                </a:lnTo>
                <a:lnTo>
                  <a:pt x="0" y="1302683"/>
                </a:lnTo>
              </a:path>
            </a:pathLst>
          </a:custGeom>
          <a:noFill/>
          <a:ln w="127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base">
              <a:spcBef>
                <a:spcPct val="0"/>
              </a:spcBef>
              <a:spcAft>
                <a:spcPct val="0"/>
              </a:spcAft>
              <a:defRPr/>
            </a:pPr>
            <a:endParaRPr lang="en-US" sz="2000">
              <a:solidFill>
                <a:srgbClr val="005073"/>
              </a:solidFill>
              <a:latin typeface="Arial"/>
              <a:sym typeface="Arial"/>
            </a:endParaRPr>
          </a:p>
        </p:txBody>
      </p:sp>
      <p:sp>
        <p:nvSpPr>
          <p:cNvPr id="203" name="TextBox 202">
            <a:extLst>
              <a:ext uri="{FF2B5EF4-FFF2-40B4-BE49-F238E27FC236}">
                <a16:creationId xmlns:a16="http://schemas.microsoft.com/office/drawing/2014/main" id="{572D91B5-27FE-2946-8E61-59FF1CD2F266}"/>
              </a:ext>
            </a:extLst>
          </p:cNvPr>
          <p:cNvSpPr txBox="1"/>
          <p:nvPr/>
        </p:nvSpPr>
        <p:spPr>
          <a:xfrm>
            <a:off x="1704778" y="2208689"/>
            <a:ext cx="1345085" cy="246221"/>
          </a:xfrm>
          <a:prstGeom prst="rect">
            <a:avLst/>
          </a:prstGeom>
          <a:noFill/>
        </p:spPr>
        <p:txBody>
          <a:bodyPr wrap="square" rtlCol="0">
            <a:spAutoFit/>
          </a:bodyPr>
          <a:lstStyle/>
          <a:p>
            <a:pPr algn="ctr" defTabSz="457189" fontAlgn="base">
              <a:spcBef>
                <a:spcPct val="0"/>
              </a:spcBef>
              <a:spcAft>
                <a:spcPct val="0"/>
              </a:spcAft>
              <a:defRPr/>
            </a:pPr>
            <a:r>
              <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Public cloud</a:t>
            </a:r>
          </a:p>
        </p:txBody>
      </p:sp>
      <p:sp>
        <p:nvSpPr>
          <p:cNvPr id="205" name="Freeform 56">
            <a:extLst>
              <a:ext uri="{FF2B5EF4-FFF2-40B4-BE49-F238E27FC236}">
                <a16:creationId xmlns:a16="http://schemas.microsoft.com/office/drawing/2014/main" id="{95704BC2-76B3-3C42-B63B-70E779BD6756}"/>
              </a:ext>
            </a:extLst>
          </p:cNvPr>
          <p:cNvSpPr>
            <a:spLocks/>
          </p:cNvSpPr>
          <p:nvPr/>
        </p:nvSpPr>
        <p:spPr bwMode="auto">
          <a:xfrm flipH="1">
            <a:off x="1654045" y="1467570"/>
            <a:ext cx="1446551" cy="778308"/>
          </a:xfrm>
          <a:custGeom>
            <a:avLst/>
            <a:gdLst>
              <a:gd name="connsiteX0" fmla="*/ 733902 w 1210718"/>
              <a:gd name="connsiteY0" fmla="*/ 0 h 599742"/>
              <a:gd name="connsiteX1" fmla="*/ 882562 w 1210718"/>
              <a:gd name="connsiteY1" fmla="*/ 0 h 599742"/>
              <a:gd name="connsiteX2" fmla="*/ 1015293 w 1210718"/>
              <a:gd name="connsiteY2" fmla="*/ 127622 h 599742"/>
              <a:gd name="connsiteX3" fmla="*/ 1006776 w 1210718"/>
              <a:gd name="connsiteY3" fmla="*/ 170827 h 599742"/>
              <a:gd name="connsiteX4" fmla="*/ 1046952 w 1210718"/>
              <a:gd name="connsiteY4" fmla="*/ 178771 h 599742"/>
              <a:gd name="connsiteX5" fmla="*/ 1127605 w 1210718"/>
              <a:gd name="connsiteY5" fmla="*/ 301408 h 599742"/>
              <a:gd name="connsiteX6" fmla="*/ 1118155 w 1210718"/>
              <a:gd name="connsiteY6" fmla="*/ 346509 h 599742"/>
              <a:gd name="connsiteX7" fmla="*/ 1132310 w 1210718"/>
              <a:gd name="connsiteY7" fmla="*/ 349483 h 599742"/>
              <a:gd name="connsiteX8" fmla="*/ 1210718 w 1210718"/>
              <a:gd name="connsiteY8" fmla="*/ 472120 h 599742"/>
              <a:gd name="connsiteX9" fmla="*/ 1083274 w 1210718"/>
              <a:gd name="connsiteY9" fmla="*/ 599742 h 599742"/>
              <a:gd name="connsiteX10" fmla="*/ 127444 w 1210718"/>
              <a:gd name="connsiteY10" fmla="*/ 599742 h 599742"/>
              <a:gd name="connsiteX11" fmla="*/ 0 w 1210718"/>
              <a:gd name="connsiteY11" fmla="*/ 472120 h 599742"/>
              <a:gd name="connsiteX12" fmla="*/ 127444 w 1210718"/>
              <a:gd name="connsiteY12" fmla="*/ 339180 h 599742"/>
              <a:gd name="connsiteX13" fmla="*/ 275151 w 1210718"/>
              <a:gd name="connsiteY13" fmla="*/ 339180 h 599742"/>
              <a:gd name="connsiteX14" fmla="*/ 267300 w 1210718"/>
              <a:gd name="connsiteY14" fmla="*/ 301408 h 599742"/>
              <a:gd name="connsiteX15" fmla="*/ 394753 w 1210718"/>
              <a:gd name="connsiteY15" fmla="*/ 168468 h 599742"/>
              <a:gd name="connsiteX16" fmla="*/ 592829 w 1210718"/>
              <a:gd name="connsiteY16" fmla="*/ 168468 h 599742"/>
              <a:gd name="connsiteX17" fmla="*/ 614468 w 1210718"/>
              <a:gd name="connsiteY17" fmla="*/ 168468 h 599742"/>
              <a:gd name="connsiteX18" fmla="*/ 606480 w 1210718"/>
              <a:gd name="connsiteY18" fmla="*/ 127622 h 599742"/>
              <a:gd name="connsiteX19" fmla="*/ 733902 w 1210718"/>
              <a:gd name="connsiteY19" fmla="*/ 0 h 59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0718" h="599742">
                <a:moveTo>
                  <a:pt x="733902" y="0"/>
                </a:moveTo>
                <a:cubicBezTo>
                  <a:pt x="882562" y="0"/>
                  <a:pt x="882562" y="0"/>
                  <a:pt x="882562" y="0"/>
                </a:cubicBezTo>
                <a:cubicBezTo>
                  <a:pt x="956891" y="0"/>
                  <a:pt x="1015293" y="58493"/>
                  <a:pt x="1015293" y="127622"/>
                </a:cubicBezTo>
                <a:lnTo>
                  <a:pt x="1006776" y="170827"/>
                </a:lnTo>
                <a:lnTo>
                  <a:pt x="1046952" y="178771"/>
                </a:lnTo>
                <a:cubicBezTo>
                  <a:pt x="1094746" y="198712"/>
                  <a:pt x="1127605" y="245573"/>
                  <a:pt x="1127605" y="301408"/>
                </a:cubicBezTo>
                <a:lnTo>
                  <a:pt x="1118155" y="346509"/>
                </a:lnTo>
                <a:lnTo>
                  <a:pt x="1132310" y="349483"/>
                </a:lnTo>
                <a:cubicBezTo>
                  <a:pt x="1177862" y="369424"/>
                  <a:pt x="1210718" y="416285"/>
                  <a:pt x="1210718" y="472120"/>
                </a:cubicBezTo>
                <a:cubicBezTo>
                  <a:pt x="1210718" y="541249"/>
                  <a:pt x="1152306" y="599742"/>
                  <a:pt x="1083274" y="599742"/>
                </a:cubicBezTo>
                <a:cubicBezTo>
                  <a:pt x="127444" y="599742"/>
                  <a:pt x="127444" y="599742"/>
                  <a:pt x="127444" y="599742"/>
                </a:cubicBezTo>
                <a:cubicBezTo>
                  <a:pt x="58412" y="599742"/>
                  <a:pt x="0" y="541249"/>
                  <a:pt x="0" y="472120"/>
                </a:cubicBezTo>
                <a:cubicBezTo>
                  <a:pt x="0" y="397674"/>
                  <a:pt x="58412" y="339180"/>
                  <a:pt x="127444" y="339180"/>
                </a:cubicBezTo>
                <a:lnTo>
                  <a:pt x="275151" y="339180"/>
                </a:lnTo>
                <a:lnTo>
                  <a:pt x="267300" y="301408"/>
                </a:lnTo>
                <a:cubicBezTo>
                  <a:pt x="267300" y="226961"/>
                  <a:pt x="325716" y="168468"/>
                  <a:pt x="394753" y="168468"/>
                </a:cubicBezTo>
                <a:cubicBezTo>
                  <a:pt x="469764" y="168468"/>
                  <a:pt x="535399" y="168468"/>
                  <a:pt x="592829" y="168468"/>
                </a:cubicBezTo>
                <a:lnTo>
                  <a:pt x="614468" y="168468"/>
                </a:lnTo>
                <a:lnTo>
                  <a:pt x="606480" y="127622"/>
                </a:lnTo>
                <a:cubicBezTo>
                  <a:pt x="606480" y="58493"/>
                  <a:pt x="664882" y="0"/>
                  <a:pt x="733902" y="0"/>
                </a:cubicBezTo>
                <a:close/>
              </a:path>
            </a:pathLst>
          </a:custGeom>
          <a:solidFill>
            <a:srgbClr val="EDF1F7"/>
          </a:solidFill>
          <a:ln>
            <a:noFill/>
          </a:ln>
        </p:spPr>
        <p:txBody>
          <a:bodyPr vert="horz" wrap="square" lIns="0" tIns="45720" rIns="91440" bIns="45720" numCol="1" anchor="b" anchorCtr="0" compatLnSpc="1">
            <a:prstTxWarp prst="textNoShape">
              <a:avLst/>
            </a:prstTxWarp>
            <a:noAutofit/>
          </a:bodyPr>
          <a:lstStyle/>
          <a:p>
            <a:pPr algn="ctr" defTabSz="457189" fontAlgn="base">
              <a:spcBef>
                <a:spcPct val="0"/>
              </a:spcBef>
              <a:spcAft>
                <a:spcPct val="0"/>
              </a:spcAft>
              <a:defRPr/>
            </a:pPr>
            <a:endParaRPr lang="en-US" sz="1100">
              <a:solidFill>
                <a:srgbClr val="676767"/>
              </a:solidFill>
              <a:latin typeface="Arial"/>
              <a:ea typeface="ＭＳ Ｐゴシック" charset="0"/>
              <a:cs typeface="Arial"/>
              <a:sym typeface="Arial"/>
            </a:endParaRPr>
          </a:p>
        </p:txBody>
      </p:sp>
      <p:pic>
        <p:nvPicPr>
          <p:cNvPr id="206" name="Picture 205">
            <a:extLst>
              <a:ext uri="{FF2B5EF4-FFF2-40B4-BE49-F238E27FC236}">
                <a16:creationId xmlns:a16="http://schemas.microsoft.com/office/drawing/2014/main" id="{2DEA9712-DE9A-B14A-8B7E-767D7DEA269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6026" t="36991" r="60437" b="36277"/>
          <a:stretch/>
        </p:blipFill>
        <p:spPr>
          <a:xfrm>
            <a:off x="2320106" y="1850186"/>
            <a:ext cx="388439" cy="309621"/>
          </a:xfrm>
          <a:prstGeom prst="rect">
            <a:avLst/>
          </a:prstGeom>
        </p:spPr>
      </p:pic>
      <p:pic>
        <p:nvPicPr>
          <p:cNvPr id="208" name="Picture 207">
            <a:extLst>
              <a:ext uri="{FF2B5EF4-FFF2-40B4-BE49-F238E27FC236}">
                <a16:creationId xmlns:a16="http://schemas.microsoft.com/office/drawing/2014/main" id="{823D6DEB-EAA4-C644-985F-82DD84CA364B}"/>
              </a:ext>
            </a:extLst>
          </p:cNvPr>
          <p:cNvPicPr>
            <a:picLocks/>
          </p:cNvPicPr>
          <p:nvPr/>
        </p:nvPicPr>
        <p:blipFill>
          <a:blip r:embed="rId6" cstate="print">
            <a:extLst>
              <a:ext uri="{28A0092B-C50C-407E-A947-70E740481C1C}">
                <a14:useLocalDpi xmlns:a14="http://schemas.microsoft.com/office/drawing/2010/main"/>
              </a:ext>
            </a:extLst>
          </a:blip>
          <a:stretch>
            <a:fillRect/>
          </a:stretch>
        </p:blipFill>
        <p:spPr>
          <a:xfrm>
            <a:off x="1838686" y="1904890"/>
            <a:ext cx="317500" cy="320396"/>
          </a:xfrm>
          <a:prstGeom prst="rect">
            <a:avLst/>
          </a:prstGeom>
        </p:spPr>
      </p:pic>
      <p:sp>
        <p:nvSpPr>
          <p:cNvPr id="210" name="Rounded Rectangle 55">
            <a:extLst>
              <a:ext uri="{FF2B5EF4-FFF2-40B4-BE49-F238E27FC236}">
                <a16:creationId xmlns:a16="http://schemas.microsoft.com/office/drawing/2014/main" id="{A19E42A3-70FB-5246-A4D4-04FFCCDB64EB}"/>
              </a:ext>
            </a:extLst>
          </p:cNvPr>
          <p:cNvSpPr/>
          <p:nvPr/>
        </p:nvSpPr>
        <p:spPr>
          <a:xfrm>
            <a:off x="2874680" y="4939285"/>
            <a:ext cx="1754320" cy="1376312"/>
          </a:xfrm>
          <a:prstGeom prst="roundRect">
            <a:avLst>
              <a:gd name="adj" fmla="val 7925"/>
            </a:avLst>
          </a:prstGeom>
          <a:no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algn="ctr" defTabSz="609539" fontAlgn="base">
              <a:spcBef>
                <a:spcPct val="0"/>
              </a:spcBef>
              <a:spcAft>
                <a:spcPct val="0"/>
              </a:spcAft>
              <a:defRPr/>
            </a:pPr>
            <a:endParaRPr lang="en-US" sz="1200">
              <a:solidFill>
                <a:srgbClr val="00BCEB"/>
              </a:solidFill>
              <a:latin typeface="Arial"/>
              <a:cs typeface="CiscoSansTT Light" panose="020B0503020201020303" pitchFamily="34" charset="0"/>
              <a:sym typeface="Arial"/>
            </a:endParaRPr>
          </a:p>
        </p:txBody>
      </p:sp>
      <p:sp>
        <p:nvSpPr>
          <p:cNvPr id="212" name="Oval 211">
            <a:extLst>
              <a:ext uri="{FF2B5EF4-FFF2-40B4-BE49-F238E27FC236}">
                <a16:creationId xmlns:a16="http://schemas.microsoft.com/office/drawing/2014/main" id="{1CB61443-6BE2-504E-8EDF-BC19C60CB6F4}"/>
              </a:ext>
            </a:extLst>
          </p:cNvPr>
          <p:cNvSpPr/>
          <p:nvPr/>
        </p:nvSpPr>
        <p:spPr>
          <a:xfrm>
            <a:off x="4516392" y="3951167"/>
            <a:ext cx="1009169" cy="789432"/>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Arial"/>
              <a:sym typeface="Arial"/>
            </a:endParaRPr>
          </a:p>
        </p:txBody>
      </p:sp>
      <p:sp>
        <p:nvSpPr>
          <p:cNvPr id="217" name="Rectangle 216">
            <a:extLst>
              <a:ext uri="{FF2B5EF4-FFF2-40B4-BE49-F238E27FC236}">
                <a16:creationId xmlns:a16="http://schemas.microsoft.com/office/drawing/2014/main" id="{B9B3F1A7-49A0-6A4A-B1B4-1B24641F3059}"/>
              </a:ext>
            </a:extLst>
          </p:cNvPr>
          <p:cNvSpPr/>
          <p:nvPr/>
        </p:nvSpPr>
        <p:spPr>
          <a:xfrm>
            <a:off x="4064122" y="4242272"/>
            <a:ext cx="1913709" cy="2398632"/>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Arial"/>
              <a:sym typeface="Arial"/>
            </a:endParaRPr>
          </a:p>
        </p:txBody>
      </p:sp>
      <p:sp>
        <p:nvSpPr>
          <p:cNvPr id="218" name="Rectangle 217">
            <a:extLst>
              <a:ext uri="{FF2B5EF4-FFF2-40B4-BE49-F238E27FC236}">
                <a16:creationId xmlns:a16="http://schemas.microsoft.com/office/drawing/2014/main" id="{5D4ED9A7-4D02-AA46-B210-574042E8272D}"/>
              </a:ext>
            </a:extLst>
          </p:cNvPr>
          <p:cNvSpPr/>
          <p:nvPr/>
        </p:nvSpPr>
        <p:spPr>
          <a:xfrm>
            <a:off x="4240118" y="4461525"/>
            <a:ext cx="1557396" cy="2179380"/>
          </a:xfrm>
          <a:prstGeom prst="rect">
            <a:avLst/>
          </a:prstGeom>
          <a:solidFill>
            <a:srgbClr val="BBCD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Arial"/>
              <a:sym typeface="Arial"/>
            </a:endParaRPr>
          </a:p>
        </p:txBody>
      </p:sp>
      <p:sp>
        <p:nvSpPr>
          <p:cNvPr id="214" name="Parallelogram 213">
            <a:extLst>
              <a:ext uri="{FF2B5EF4-FFF2-40B4-BE49-F238E27FC236}">
                <a16:creationId xmlns:a16="http://schemas.microsoft.com/office/drawing/2014/main" id="{7A2DD4AD-BDFB-F44E-8334-53DC7627D9A9}"/>
              </a:ext>
            </a:extLst>
          </p:cNvPr>
          <p:cNvSpPr/>
          <p:nvPr/>
        </p:nvSpPr>
        <p:spPr>
          <a:xfrm rot="20700000">
            <a:off x="4212165" y="5346588"/>
            <a:ext cx="521199" cy="154848"/>
          </a:xfrm>
          <a:prstGeom prst="parallelogram">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Arial"/>
              <a:sym typeface="Arial"/>
            </a:endParaRPr>
          </a:p>
        </p:txBody>
      </p:sp>
      <p:sp>
        <p:nvSpPr>
          <p:cNvPr id="215" name="Parallelogram 214">
            <a:extLst>
              <a:ext uri="{FF2B5EF4-FFF2-40B4-BE49-F238E27FC236}">
                <a16:creationId xmlns:a16="http://schemas.microsoft.com/office/drawing/2014/main" id="{C236DB07-97CD-B541-B46D-C8933BAA62E6}"/>
              </a:ext>
            </a:extLst>
          </p:cNvPr>
          <p:cNvSpPr/>
          <p:nvPr/>
        </p:nvSpPr>
        <p:spPr>
          <a:xfrm rot="20700000">
            <a:off x="4755937" y="4955427"/>
            <a:ext cx="521199" cy="154848"/>
          </a:xfrm>
          <a:prstGeom prst="parallelogram">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Arial"/>
              <a:sym typeface="Arial"/>
            </a:endParaRPr>
          </a:p>
        </p:txBody>
      </p:sp>
      <p:sp>
        <p:nvSpPr>
          <p:cNvPr id="216" name="Parallelogram 215">
            <a:extLst>
              <a:ext uri="{FF2B5EF4-FFF2-40B4-BE49-F238E27FC236}">
                <a16:creationId xmlns:a16="http://schemas.microsoft.com/office/drawing/2014/main" id="{CC20CCBE-9A66-7748-9B1C-D57DFEA57AC9}"/>
              </a:ext>
            </a:extLst>
          </p:cNvPr>
          <p:cNvSpPr/>
          <p:nvPr/>
        </p:nvSpPr>
        <p:spPr>
          <a:xfrm rot="20700000">
            <a:off x="5302666" y="5338125"/>
            <a:ext cx="521199" cy="154848"/>
          </a:xfrm>
          <a:prstGeom prst="parallelogram">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Arial"/>
              <a:sym typeface="Arial"/>
            </a:endParaRPr>
          </a:p>
        </p:txBody>
      </p:sp>
      <p:sp>
        <p:nvSpPr>
          <p:cNvPr id="220" name="Freeform 195">
            <a:extLst>
              <a:ext uri="{FF2B5EF4-FFF2-40B4-BE49-F238E27FC236}">
                <a16:creationId xmlns:a16="http://schemas.microsoft.com/office/drawing/2014/main" id="{B62F1F55-8B4E-A346-9F28-197139604FA8}"/>
              </a:ext>
            </a:extLst>
          </p:cNvPr>
          <p:cNvSpPr>
            <a:spLocks/>
          </p:cNvSpPr>
          <p:nvPr/>
        </p:nvSpPr>
        <p:spPr bwMode="auto">
          <a:xfrm>
            <a:off x="4637027" y="5448220"/>
            <a:ext cx="255607" cy="458737"/>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21" name="Line 196">
            <a:extLst>
              <a:ext uri="{FF2B5EF4-FFF2-40B4-BE49-F238E27FC236}">
                <a16:creationId xmlns:a16="http://schemas.microsoft.com/office/drawing/2014/main" id="{DE79E825-9F4C-7B47-A402-18D33A5A3D2C}"/>
              </a:ext>
            </a:extLst>
          </p:cNvPr>
          <p:cNvSpPr>
            <a:spLocks noChangeShapeType="1"/>
          </p:cNvSpPr>
          <p:nvPr/>
        </p:nvSpPr>
        <p:spPr bwMode="auto">
          <a:xfrm>
            <a:off x="4701352" y="5522700"/>
            <a:ext cx="126957"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22" name="Line 197">
            <a:extLst>
              <a:ext uri="{FF2B5EF4-FFF2-40B4-BE49-F238E27FC236}">
                <a16:creationId xmlns:a16="http://schemas.microsoft.com/office/drawing/2014/main" id="{57642E08-D5DC-D34A-A2A2-2FFF7C4EA1C6}"/>
              </a:ext>
            </a:extLst>
          </p:cNvPr>
          <p:cNvSpPr>
            <a:spLocks noChangeShapeType="1"/>
          </p:cNvSpPr>
          <p:nvPr/>
        </p:nvSpPr>
        <p:spPr bwMode="auto">
          <a:xfrm>
            <a:off x="4701352" y="5595488"/>
            <a:ext cx="126957"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23" name="Line 198">
            <a:extLst>
              <a:ext uri="{FF2B5EF4-FFF2-40B4-BE49-F238E27FC236}">
                <a16:creationId xmlns:a16="http://schemas.microsoft.com/office/drawing/2014/main" id="{C88F2B89-685B-A04A-A716-8693B6A76FFB}"/>
              </a:ext>
            </a:extLst>
          </p:cNvPr>
          <p:cNvSpPr>
            <a:spLocks noChangeShapeType="1"/>
          </p:cNvSpPr>
          <p:nvPr/>
        </p:nvSpPr>
        <p:spPr bwMode="auto">
          <a:xfrm>
            <a:off x="4701352" y="5671663"/>
            <a:ext cx="126957"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24" name="Line 199">
            <a:extLst>
              <a:ext uri="{FF2B5EF4-FFF2-40B4-BE49-F238E27FC236}">
                <a16:creationId xmlns:a16="http://schemas.microsoft.com/office/drawing/2014/main" id="{D06ABCEE-FB22-F544-95E9-C151A7736A10}"/>
              </a:ext>
            </a:extLst>
          </p:cNvPr>
          <p:cNvSpPr>
            <a:spLocks noChangeShapeType="1"/>
          </p:cNvSpPr>
          <p:nvPr/>
        </p:nvSpPr>
        <p:spPr bwMode="auto">
          <a:xfrm>
            <a:off x="4701352" y="5746144"/>
            <a:ext cx="126957"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25" name="Line 200">
            <a:extLst>
              <a:ext uri="{FF2B5EF4-FFF2-40B4-BE49-F238E27FC236}">
                <a16:creationId xmlns:a16="http://schemas.microsoft.com/office/drawing/2014/main" id="{EF344B1F-769F-B045-802F-7357AE4AB50F}"/>
              </a:ext>
            </a:extLst>
          </p:cNvPr>
          <p:cNvSpPr>
            <a:spLocks noChangeShapeType="1"/>
          </p:cNvSpPr>
          <p:nvPr/>
        </p:nvSpPr>
        <p:spPr bwMode="auto">
          <a:xfrm>
            <a:off x="4701352" y="5820624"/>
            <a:ext cx="126957"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26" name="Freeform 201">
            <a:extLst>
              <a:ext uri="{FF2B5EF4-FFF2-40B4-BE49-F238E27FC236}">
                <a16:creationId xmlns:a16="http://schemas.microsoft.com/office/drawing/2014/main" id="{80E3A87F-5136-2F48-AED8-DCE3A0F5D0EC}"/>
              </a:ext>
            </a:extLst>
          </p:cNvPr>
          <p:cNvSpPr>
            <a:spLocks/>
          </p:cNvSpPr>
          <p:nvPr/>
        </p:nvSpPr>
        <p:spPr bwMode="auto">
          <a:xfrm>
            <a:off x="4924797" y="5356810"/>
            <a:ext cx="253913" cy="614471"/>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27" name="Line 202">
            <a:extLst>
              <a:ext uri="{FF2B5EF4-FFF2-40B4-BE49-F238E27FC236}">
                <a16:creationId xmlns:a16="http://schemas.microsoft.com/office/drawing/2014/main" id="{E37C5CE4-BC44-4F45-B380-6E2D0D5135D5}"/>
              </a:ext>
            </a:extLst>
          </p:cNvPr>
          <p:cNvSpPr>
            <a:spLocks noChangeShapeType="1"/>
          </p:cNvSpPr>
          <p:nvPr/>
        </p:nvSpPr>
        <p:spPr bwMode="auto">
          <a:xfrm>
            <a:off x="4987429" y="5431291"/>
            <a:ext cx="128649"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28" name="Line 203">
            <a:extLst>
              <a:ext uri="{FF2B5EF4-FFF2-40B4-BE49-F238E27FC236}">
                <a16:creationId xmlns:a16="http://schemas.microsoft.com/office/drawing/2014/main" id="{8D34C8E6-66AF-5345-94E0-7B289816FF2A}"/>
              </a:ext>
            </a:extLst>
          </p:cNvPr>
          <p:cNvSpPr>
            <a:spLocks noChangeShapeType="1"/>
          </p:cNvSpPr>
          <p:nvPr/>
        </p:nvSpPr>
        <p:spPr bwMode="auto">
          <a:xfrm>
            <a:off x="4987429" y="5507465"/>
            <a:ext cx="128649"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29" name="Line 204">
            <a:extLst>
              <a:ext uri="{FF2B5EF4-FFF2-40B4-BE49-F238E27FC236}">
                <a16:creationId xmlns:a16="http://schemas.microsoft.com/office/drawing/2014/main" id="{8BCEB574-FE2B-3F45-80B9-1A8803204974}"/>
              </a:ext>
            </a:extLst>
          </p:cNvPr>
          <p:cNvSpPr>
            <a:spLocks noChangeShapeType="1"/>
          </p:cNvSpPr>
          <p:nvPr/>
        </p:nvSpPr>
        <p:spPr bwMode="auto">
          <a:xfrm>
            <a:off x="4987429" y="5581945"/>
            <a:ext cx="128649"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30" name="Line 205">
            <a:extLst>
              <a:ext uri="{FF2B5EF4-FFF2-40B4-BE49-F238E27FC236}">
                <a16:creationId xmlns:a16="http://schemas.microsoft.com/office/drawing/2014/main" id="{12FE1E52-0006-DF47-88D9-F0F3B6F16C17}"/>
              </a:ext>
            </a:extLst>
          </p:cNvPr>
          <p:cNvSpPr>
            <a:spLocks noChangeShapeType="1"/>
          </p:cNvSpPr>
          <p:nvPr/>
        </p:nvSpPr>
        <p:spPr bwMode="auto">
          <a:xfrm>
            <a:off x="4987429" y="5656427"/>
            <a:ext cx="128649"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31" name="Line 206">
            <a:extLst>
              <a:ext uri="{FF2B5EF4-FFF2-40B4-BE49-F238E27FC236}">
                <a16:creationId xmlns:a16="http://schemas.microsoft.com/office/drawing/2014/main" id="{395E3DB1-7328-D149-A866-DE7016A95F06}"/>
              </a:ext>
            </a:extLst>
          </p:cNvPr>
          <p:cNvSpPr>
            <a:spLocks noChangeShapeType="1"/>
          </p:cNvSpPr>
          <p:nvPr/>
        </p:nvSpPr>
        <p:spPr bwMode="auto">
          <a:xfrm>
            <a:off x="4987429" y="5732601"/>
            <a:ext cx="128649"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32" name="Freeform 213">
            <a:extLst>
              <a:ext uri="{FF2B5EF4-FFF2-40B4-BE49-F238E27FC236}">
                <a16:creationId xmlns:a16="http://schemas.microsoft.com/office/drawing/2014/main" id="{BC81987A-19D8-3B44-83A0-3B2EFF36DEF7}"/>
              </a:ext>
            </a:extLst>
          </p:cNvPr>
          <p:cNvSpPr>
            <a:spLocks/>
          </p:cNvSpPr>
          <p:nvPr/>
        </p:nvSpPr>
        <p:spPr bwMode="auto">
          <a:xfrm>
            <a:off x="4350951" y="5448220"/>
            <a:ext cx="252221" cy="458737"/>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33" name="Line 214">
            <a:extLst>
              <a:ext uri="{FF2B5EF4-FFF2-40B4-BE49-F238E27FC236}">
                <a16:creationId xmlns:a16="http://schemas.microsoft.com/office/drawing/2014/main" id="{86F5BB67-5FCA-D643-9724-D2EC12F9104B}"/>
              </a:ext>
            </a:extLst>
          </p:cNvPr>
          <p:cNvSpPr>
            <a:spLocks noChangeShapeType="1"/>
          </p:cNvSpPr>
          <p:nvPr/>
        </p:nvSpPr>
        <p:spPr bwMode="auto">
          <a:xfrm>
            <a:off x="4413583" y="5522700"/>
            <a:ext cx="125264"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34" name="Line 215">
            <a:extLst>
              <a:ext uri="{FF2B5EF4-FFF2-40B4-BE49-F238E27FC236}">
                <a16:creationId xmlns:a16="http://schemas.microsoft.com/office/drawing/2014/main" id="{0DBEB3CB-C809-6041-B8A7-DE5C87BC40FB}"/>
              </a:ext>
            </a:extLst>
          </p:cNvPr>
          <p:cNvSpPr>
            <a:spLocks noChangeShapeType="1"/>
          </p:cNvSpPr>
          <p:nvPr/>
        </p:nvSpPr>
        <p:spPr bwMode="auto">
          <a:xfrm>
            <a:off x="4413583" y="5595488"/>
            <a:ext cx="125264"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35" name="Line 216">
            <a:extLst>
              <a:ext uri="{FF2B5EF4-FFF2-40B4-BE49-F238E27FC236}">
                <a16:creationId xmlns:a16="http://schemas.microsoft.com/office/drawing/2014/main" id="{0CE52A83-E3D6-7F41-8E5B-CACEBE3D05C8}"/>
              </a:ext>
            </a:extLst>
          </p:cNvPr>
          <p:cNvSpPr>
            <a:spLocks noChangeShapeType="1"/>
          </p:cNvSpPr>
          <p:nvPr/>
        </p:nvSpPr>
        <p:spPr bwMode="auto">
          <a:xfrm>
            <a:off x="4413583" y="5671663"/>
            <a:ext cx="125264"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36" name="Line 217">
            <a:extLst>
              <a:ext uri="{FF2B5EF4-FFF2-40B4-BE49-F238E27FC236}">
                <a16:creationId xmlns:a16="http://schemas.microsoft.com/office/drawing/2014/main" id="{86144645-C2FB-6D4B-81C5-755625A71188}"/>
              </a:ext>
            </a:extLst>
          </p:cNvPr>
          <p:cNvSpPr>
            <a:spLocks noChangeShapeType="1"/>
          </p:cNvSpPr>
          <p:nvPr/>
        </p:nvSpPr>
        <p:spPr bwMode="auto">
          <a:xfrm>
            <a:off x="4413583" y="5746144"/>
            <a:ext cx="125264"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37" name="Line 218">
            <a:extLst>
              <a:ext uri="{FF2B5EF4-FFF2-40B4-BE49-F238E27FC236}">
                <a16:creationId xmlns:a16="http://schemas.microsoft.com/office/drawing/2014/main" id="{EBE1D6B6-019E-CB40-A297-1D104A22296A}"/>
              </a:ext>
            </a:extLst>
          </p:cNvPr>
          <p:cNvSpPr>
            <a:spLocks noChangeShapeType="1"/>
          </p:cNvSpPr>
          <p:nvPr/>
        </p:nvSpPr>
        <p:spPr bwMode="auto">
          <a:xfrm>
            <a:off x="4413583" y="5820624"/>
            <a:ext cx="125264"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38" name="Rounded Rectangle 55">
            <a:extLst>
              <a:ext uri="{FF2B5EF4-FFF2-40B4-BE49-F238E27FC236}">
                <a16:creationId xmlns:a16="http://schemas.microsoft.com/office/drawing/2014/main" id="{169D38B0-9403-194F-8D0A-91DA3E26C67D}"/>
              </a:ext>
            </a:extLst>
          </p:cNvPr>
          <p:cNvSpPr/>
          <p:nvPr/>
        </p:nvSpPr>
        <p:spPr>
          <a:xfrm>
            <a:off x="2866653" y="5002828"/>
            <a:ext cx="1273592" cy="231648"/>
          </a:xfrm>
          <a:prstGeom prst="roundRect">
            <a:avLst>
              <a:gd name="adj" fmla="val 5000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45720" tIns="0" rIns="45720" bIns="0" rtlCol="0" anchor="ctr">
            <a:noAutofit/>
          </a:bodyPr>
          <a:lstStyle/>
          <a:p>
            <a:pPr algn="ctr" defTabSz="609539" fontAlgn="base">
              <a:spcBef>
                <a:spcPct val="0"/>
              </a:spcBef>
              <a:spcAft>
                <a:spcPct val="0"/>
              </a:spcAft>
              <a:defRPr/>
            </a:pPr>
            <a:r>
              <a:rPr lang="en-US" sz="1200">
                <a:solidFill>
                  <a:srgbClr val="FFFFFF"/>
                </a:solidFill>
                <a:latin typeface="CiscoSansTT ExtraLight" panose="020B0303020201020303" pitchFamily="34" charset="0"/>
                <a:cs typeface="CiscoSansTT ExtraLight" panose="020B0303020201020303" pitchFamily="34" charset="0"/>
                <a:sym typeface="Arial"/>
              </a:rPr>
              <a:t>AMP add-on</a:t>
            </a:r>
          </a:p>
        </p:txBody>
      </p:sp>
      <p:sp>
        <p:nvSpPr>
          <p:cNvPr id="239" name="TextBox 238">
            <a:extLst>
              <a:ext uri="{FF2B5EF4-FFF2-40B4-BE49-F238E27FC236}">
                <a16:creationId xmlns:a16="http://schemas.microsoft.com/office/drawing/2014/main" id="{7B581119-46CA-8F4D-9A4B-191D17823799}"/>
              </a:ext>
            </a:extLst>
          </p:cNvPr>
          <p:cNvSpPr txBox="1"/>
          <p:nvPr/>
        </p:nvSpPr>
        <p:spPr>
          <a:xfrm>
            <a:off x="3186362" y="6126851"/>
            <a:ext cx="592517" cy="153888"/>
          </a:xfrm>
          <a:prstGeom prst="rect">
            <a:avLst/>
          </a:prstGeom>
        </p:spPr>
        <p:txBody>
          <a:bodyPr vert="horz" wrap="square" lIns="0" tIns="0" rIns="0" bIns="0" rtlCol="0" anchor="b">
            <a:spAutoFit/>
          </a:bodyPr>
          <a:lstStyle>
            <a:lvl1pPr marL="0" lvl="0" indent="0" defTabSz="913542" eaLnBrk="1" latinLnBrk="0" hangingPunct="1">
              <a:buClr>
                <a:schemeClr val="tx2"/>
              </a:buClr>
              <a:buSzPct val="100000"/>
              <a:defRPr lang="x-none" sz="1600" baseline="0">
                <a:latin typeface="+mn-lt"/>
              </a:defRPr>
            </a:lvl1pPr>
            <a:lvl2pPr marL="192024" lvl="1" indent="-192024" defTabSz="913542" eaLnBrk="1" latinLnBrk="0" hangingPunct="1">
              <a:buClr>
                <a:schemeClr val="tx2"/>
              </a:buClr>
              <a:buSzPct val="125000"/>
              <a:buFont typeface="Arial" charset="0"/>
              <a:buChar char="▪"/>
              <a:defRPr lang="x-none" sz="1600" baseline="0">
                <a:latin typeface="+mn-lt"/>
              </a:defRPr>
            </a:lvl2pPr>
            <a:lvl3pPr marL="457200" lvl="2" indent="-265176" defTabSz="913542" eaLnBrk="1" latinLnBrk="0" hangingPunct="1">
              <a:buClr>
                <a:schemeClr val="tx2"/>
              </a:buClr>
              <a:buSzPct val="120000"/>
              <a:buFont typeface="Arial" charset="0"/>
              <a:buChar char="–"/>
              <a:defRPr lang="x-none" sz="1600" baseline="0">
                <a:latin typeface="+mn-lt"/>
              </a:defRPr>
            </a:lvl3pPr>
            <a:lvl4pPr marL="626846" lvl="3" indent="-155448" defTabSz="913542" eaLnBrk="1" latinLnBrk="0" hangingPunct="1">
              <a:buClr>
                <a:schemeClr val="tx2"/>
              </a:buClr>
              <a:buSzPct val="120000"/>
              <a:buFont typeface="Arial" charset="0"/>
              <a:buChar char="▫"/>
              <a:defRPr lang="x-none" sz="1600" baseline="0">
                <a:latin typeface="+mn-lt"/>
              </a:defRPr>
            </a:lvl4pPr>
            <a:lvl5pPr marL="749808" lvl="4" indent="-128016" defTabSz="913542" eaLnBrk="1" latinLnBrk="0" hangingPunct="1">
              <a:buClr>
                <a:schemeClr val="tx2"/>
              </a:buClr>
              <a:buSzPct val="89000"/>
              <a:buFont typeface="Arial" charset="0"/>
              <a:buChar char="-"/>
              <a:defRPr lang="x-none" sz="1600" baseline="0">
                <a:latin typeface="+mn-lt"/>
              </a:defRPr>
            </a:lvl5pPr>
            <a:lvl6pPr marL="765042" indent="-132820" defTabSz="913542" fontAlgn="base">
              <a:spcBef>
                <a:spcPct val="0"/>
              </a:spcBef>
              <a:spcAft>
                <a:spcPct val="0"/>
              </a:spcAft>
              <a:buClr>
                <a:schemeClr val="tx2"/>
              </a:buClr>
              <a:buSzPct val="89000"/>
              <a:buFont typeface="Arial" charset="0"/>
              <a:buChar char="-"/>
              <a:defRPr lang="x-none" sz="1632" baseline="0">
                <a:latin typeface="+mn-lt"/>
              </a:defRPr>
            </a:lvl6pPr>
            <a:lvl7pPr marL="765042" indent="-132820" defTabSz="913542" fontAlgn="base">
              <a:spcBef>
                <a:spcPct val="0"/>
              </a:spcBef>
              <a:spcAft>
                <a:spcPct val="0"/>
              </a:spcAft>
              <a:buClr>
                <a:schemeClr val="tx2"/>
              </a:buClr>
              <a:buSzPct val="89000"/>
              <a:buFont typeface="Arial" charset="0"/>
              <a:buChar char="-"/>
              <a:defRPr lang="x-none" sz="1632" baseline="0">
                <a:latin typeface="+mn-lt"/>
              </a:defRPr>
            </a:lvl7pPr>
            <a:lvl8pPr marL="765042" indent="-132820" defTabSz="913542" fontAlgn="base">
              <a:spcBef>
                <a:spcPct val="0"/>
              </a:spcBef>
              <a:spcAft>
                <a:spcPct val="0"/>
              </a:spcAft>
              <a:buClr>
                <a:schemeClr val="tx2"/>
              </a:buClr>
              <a:buSzPct val="89000"/>
              <a:buFont typeface="Arial" charset="0"/>
              <a:buChar char="-"/>
              <a:defRPr lang="x-none" sz="1632" baseline="0">
                <a:latin typeface="+mn-lt"/>
              </a:defRPr>
            </a:lvl8pPr>
            <a:lvl9pPr marL="765042" indent="-132820" defTabSz="913542" fontAlgn="base">
              <a:spcBef>
                <a:spcPct val="0"/>
              </a:spcBef>
              <a:spcAft>
                <a:spcPct val="0"/>
              </a:spcAft>
              <a:buClr>
                <a:schemeClr val="tx2"/>
              </a:buClr>
              <a:buSzPct val="89000"/>
              <a:buFont typeface="Arial" charset="0"/>
              <a:buChar char="-"/>
              <a:defRPr lang="x-none" sz="1632" baseline="0">
                <a:latin typeface="+mn-lt"/>
              </a:defRPr>
            </a:lvl9pPr>
          </a:lstStyle>
          <a:p>
            <a:pPr algn="ctr" defTabSz="1217936" fontAlgn="base">
              <a:spcBef>
                <a:spcPct val="0"/>
              </a:spcBef>
              <a:spcAft>
                <a:spcPct val="0"/>
              </a:spcAft>
              <a:buClr>
                <a:srgbClr val="005073"/>
              </a:buClr>
              <a:defRPr/>
            </a:pPr>
            <a:r>
              <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Branch</a:t>
            </a:r>
          </a:p>
        </p:txBody>
      </p:sp>
      <p:grpSp>
        <p:nvGrpSpPr>
          <p:cNvPr id="396" name="Group 395">
            <a:extLst>
              <a:ext uri="{FF2B5EF4-FFF2-40B4-BE49-F238E27FC236}">
                <a16:creationId xmlns:a16="http://schemas.microsoft.com/office/drawing/2014/main" id="{53EF5840-E7F6-AB4E-949A-A2C1AF2BF75C}"/>
              </a:ext>
            </a:extLst>
          </p:cNvPr>
          <p:cNvGrpSpPr/>
          <p:nvPr/>
        </p:nvGrpSpPr>
        <p:grpSpPr>
          <a:xfrm>
            <a:off x="3285871" y="5429869"/>
            <a:ext cx="393503" cy="654467"/>
            <a:chOff x="2431748" y="4026685"/>
            <a:chExt cx="295127" cy="490850"/>
          </a:xfrm>
        </p:grpSpPr>
        <p:sp>
          <p:nvSpPr>
            <p:cNvPr id="241" name="Freeform 106">
              <a:extLst>
                <a:ext uri="{FF2B5EF4-FFF2-40B4-BE49-F238E27FC236}">
                  <a16:creationId xmlns:a16="http://schemas.microsoft.com/office/drawing/2014/main" id="{FF923350-CE0C-4942-81BE-6DA2E4077AD5}"/>
                </a:ext>
              </a:extLst>
            </p:cNvPr>
            <p:cNvSpPr>
              <a:spLocks/>
            </p:cNvSpPr>
            <p:nvPr/>
          </p:nvSpPr>
          <p:spPr bwMode="auto">
            <a:xfrm>
              <a:off x="2431748" y="4026685"/>
              <a:ext cx="295127" cy="490850"/>
            </a:xfrm>
            <a:custGeom>
              <a:avLst/>
              <a:gdLst>
                <a:gd name="T0" fmla="*/ 5 w 70"/>
                <a:gd name="T1" fmla="*/ 0 h 111"/>
                <a:gd name="T2" fmla="*/ 0 w 70"/>
                <a:gd name="T3" fmla="*/ 5 h 111"/>
                <a:gd name="T4" fmla="*/ 0 w 70"/>
                <a:gd name="T5" fmla="*/ 111 h 111"/>
                <a:gd name="T6" fmla="*/ 70 w 70"/>
                <a:gd name="T7" fmla="*/ 111 h 111"/>
                <a:gd name="T8" fmla="*/ 70 w 70"/>
                <a:gd name="T9" fmla="*/ 5 h 111"/>
                <a:gd name="T10" fmla="*/ 65 w 70"/>
                <a:gd name="T11" fmla="*/ 0 h 111"/>
                <a:gd name="T12" fmla="*/ 5 w 70"/>
                <a:gd name="T13" fmla="*/ 0 h 111"/>
              </a:gdLst>
              <a:ahLst/>
              <a:cxnLst>
                <a:cxn ang="0">
                  <a:pos x="T0" y="T1"/>
                </a:cxn>
                <a:cxn ang="0">
                  <a:pos x="T2" y="T3"/>
                </a:cxn>
                <a:cxn ang="0">
                  <a:pos x="T4" y="T5"/>
                </a:cxn>
                <a:cxn ang="0">
                  <a:pos x="T6" y="T7"/>
                </a:cxn>
                <a:cxn ang="0">
                  <a:pos x="T8" y="T9"/>
                </a:cxn>
                <a:cxn ang="0">
                  <a:pos x="T10" y="T11"/>
                </a:cxn>
                <a:cxn ang="0">
                  <a:pos x="T12" y="T13"/>
                </a:cxn>
              </a:cxnLst>
              <a:rect l="0" t="0" r="r" b="b"/>
              <a:pathLst>
                <a:path w="70" h="111">
                  <a:moveTo>
                    <a:pt x="5" y="0"/>
                  </a:moveTo>
                  <a:cubicBezTo>
                    <a:pt x="2" y="0"/>
                    <a:pt x="0" y="3"/>
                    <a:pt x="0" y="5"/>
                  </a:cubicBezTo>
                  <a:cubicBezTo>
                    <a:pt x="0" y="111"/>
                    <a:pt x="0" y="111"/>
                    <a:pt x="0" y="111"/>
                  </a:cubicBezTo>
                  <a:cubicBezTo>
                    <a:pt x="70" y="111"/>
                    <a:pt x="70" y="111"/>
                    <a:pt x="70" y="111"/>
                  </a:cubicBezTo>
                  <a:cubicBezTo>
                    <a:pt x="70" y="5"/>
                    <a:pt x="70" y="5"/>
                    <a:pt x="70" y="5"/>
                  </a:cubicBezTo>
                  <a:cubicBezTo>
                    <a:pt x="70" y="3"/>
                    <a:pt x="67" y="0"/>
                    <a:pt x="65" y="0"/>
                  </a:cubicBezTo>
                  <a:lnTo>
                    <a:pt x="5" y="0"/>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609539"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42" name="Rectangle 107">
              <a:extLst>
                <a:ext uri="{FF2B5EF4-FFF2-40B4-BE49-F238E27FC236}">
                  <a16:creationId xmlns:a16="http://schemas.microsoft.com/office/drawing/2014/main" id="{CB3DF213-DDA1-7441-965D-1EDD37307A29}"/>
                </a:ext>
              </a:extLst>
            </p:cNvPr>
            <p:cNvSpPr>
              <a:spLocks noChangeArrowheads="1"/>
            </p:cNvSpPr>
            <p:nvPr/>
          </p:nvSpPr>
          <p:spPr bwMode="auto">
            <a:xfrm>
              <a:off x="2486233" y="4084113"/>
              <a:ext cx="42377" cy="43884"/>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39"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43" name="Rectangle 108">
              <a:extLst>
                <a:ext uri="{FF2B5EF4-FFF2-40B4-BE49-F238E27FC236}">
                  <a16:creationId xmlns:a16="http://schemas.microsoft.com/office/drawing/2014/main" id="{E8E75FB9-E1BC-124F-891F-9DC5C187D46F}"/>
                </a:ext>
              </a:extLst>
            </p:cNvPr>
            <p:cNvSpPr>
              <a:spLocks noChangeArrowheads="1"/>
            </p:cNvSpPr>
            <p:nvPr/>
          </p:nvSpPr>
          <p:spPr bwMode="auto">
            <a:xfrm>
              <a:off x="2557870" y="4084113"/>
              <a:ext cx="42377" cy="43884"/>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39"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44" name="Rectangle 109">
              <a:extLst>
                <a:ext uri="{FF2B5EF4-FFF2-40B4-BE49-F238E27FC236}">
                  <a16:creationId xmlns:a16="http://schemas.microsoft.com/office/drawing/2014/main" id="{11CC0FF0-B40E-FF4F-B4EF-A4D614A77E29}"/>
                </a:ext>
              </a:extLst>
            </p:cNvPr>
            <p:cNvSpPr>
              <a:spLocks noChangeArrowheads="1"/>
            </p:cNvSpPr>
            <p:nvPr/>
          </p:nvSpPr>
          <p:spPr bwMode="auto">
            <a:xfrm>
              <a:off x="2629508" y="4084113"/>
              <a:ext cx="42377" cy="43884"/>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39"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45" name="Rectangle 110">
              <a:extLst>
                <a:ext uri="{FF2B5EF4-FFF2-40B4-BE49-F238E27FC236}">
                  <a16:creationId xmlns:a16="http://schemas.microsoft.com/office/drawing/2014/main" id="{63A7B419-165F-8141-A0D0-312D11738A73}"/>
                </a:ext>
              </a:extLst>
            </p:cNvPr>
            <p:cNvSpPr>
              <a:spLocks noChangeArrowheads="1"/>
            </p:cNvSpPr>
            <p:nvPr/>
          </p:nvSpPr>
          <p:spPr bwMode="auto">
            <a:xfrm>
              <a:off x="2486233" y="4269943"/>
              <a:ext cx="42377" cy="48219"/>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39"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46" name="Rectangle 111">
              <a:extLst>
                <a:ext uri="{FF2B5EF4-FFF2-40B4-BE49-F238E27FC236}">
                  <a16:creationId xmlns:a16="http://schemas.microsoft.com/office/drawing/2014/main" id="{6958FBE2-123E-2D4A-9A03-91B8623EA670}"/>
                </a:ext>
              </a:extLst>
            </p:cNvPr>
            <p:cNvSpPr>
              <a:spLocks noChangeArrowheads="1"/>
            </p:cNvSpPr>
            <p:nvPr/>
          </p:nvSpPr>
          <p:spPr bwMode="auto">
            <a:xfrm>
              <a:off x="2557870" y="4269943"/>
              <a:ext cx="42377" cy="48219"/>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39"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47" name="Rectangle 112">
              <a:extLst>
                <a:ext uri="{FF2B5EF4-FFF2-40B4-BE49-F238E27FC236}">
                  <a16:creationId xmlns:a16="http://schemas.microsoft.com/office/drawing/2014/main" id="{16385A9B-ACF6-5843-81FB-42CD5A06EF08}"/>
                </a:ext>
              </a:extLst>
            </p:cNvPr>
            <p:cNvSpPr>
              <a:spLocks noChangeArrowheads="1"/>
            </p:cNvSpPr>
            <p:nvPr/>
          </p:nvSpPr>
          <p:spPr bwMode="auto">
            <a:xfrm>
              <a:off x="2629508" y="4269943"/>
              <a:ext cx="42377" cy="48219"/>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39"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48" name="Rectangle 113">
              <a:extLst>
                <a:ext uri="{FF2B5EF4-FFF2-40B4-BE49-F238E27FC236}">
                  <a16:creationId xmlns:a16="http://schemas.microsoft.com/office/drawing/2014/main" id="{5C1A7825-334F-5744-B5D7-84EDA9BDCCA6}"/>
                </a:ext>
              </a:extLst>
            </p:cNvPr>
            <p:cNvSpPr>
              <a:spLocks noChangeArrowheads="1"/>
            </p:cNvSpPr>
            <p:nvPr/>
          </p:nvSpPr>
          <p:spPr bwMode="auto">
            <a:xfrm>
              <a:off x="2486233" y="4176757"/>
              <a:ext cx="42377" cy="48760"/>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39"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49" name="Rectangle 114">
              <a:extLst>
                <a:ext uri="{FF2B5EF4-FFF2-40B4-BE49-F238E27FC236}">
                  <a16:creationId xmlns:a16="http://schemas.microsoft.com/office/drawing/2014/main" id="{B720DD85-5CE5-A141-B840-DFF16DE41A12}"/>
                </a:ext>
              </a:extLst>
            </p:cNvPr>
            <p:cNvSpPr>
              <a:spLocks noChangeArrowheads="1"/>
            </p:cNvSpPr>
            <p:nvPr/>
          </p:nvSpPr>
          <p:spPr bwMode="auto">
            <a:xfrm>
              <a:off x="2557870" y="4176757"/>
              <a:ext cx="42377" cy="48760"/>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39"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50" name="Rectangle 115">
              <a:extLst>
                <a:ext uri="{FF2B5EF4-FFF2-40B4-BE49-F238E27FC236}">
                  <a16:creationId xmlns:a16="http://schemas.microsoft.com/office/drawing/2014/main" id="{26409AC8-6869-2E46-983C-23145CC09654}"/>
                </a:ext>
              </a:extLst>
            </p:cNvPr>
            <p:cNvSpPr>
              <a:spLocks noChangeArrowheads="1"/>
            </p:cNvSpPr>
            <p:nvPr/>
          </p:nvSpPr>
          <p:spPr bwMode="auto">
            <a:xfrm>
              <a:off x="2629508" y="4176757"/>
              <a:ext cx="42377" cy="48760"/>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39"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grpSp>
      <p:sp>
        <p:nvSpPr>
          <p:cNvPr id="251" name="TextBox 250">
            <a:extLst>
              <a:ext uri="{FF2B5EF4-FFF2-40B4-BE49-F238E27FC236}">
                <a16:creationId xmlns:a16="http://schemas.microsoft.com/office/drawing/2014/main" id="{37897A0E-CB60-DB4C-A223-8A61EE52744C}"/>
              </a:ext>
            </a:extLst>
          </p:cNvPr>
          <p:cNvSpPr txBox="1"/>
          <p:nvPr/>
        </p:nvSpPr>
        <p:spPr>
          <a:xfrm>
            <a:off x="4334424" y="6016089"/>
            <a:ext cx="717697" cy="153888"/>
          </a:xfrm>
          <a:prstGeom prst="rect">
            <a:avLst/>
          </a:prstGeom>
        </p:spPr>
        <p:txBody>
          <a:bodyPr vert="horz" wrap="none" lIns="24384" tIns="0" rIns="24384" bIns="0" rtlCol="0" anchor="b">
            <a:spAutoFit/>
          </a:bodyPr>
          <a:lstStyle>
            <a:lvl1pPr marL="0" lvl="0" indent="0" defTabSz="913542" eaLnBrk="1" latinLnBrk="0" hangingPunct="1">
              <a:buClr>
                <a:schemeClr val="tx2"/>
              </a:buClr>
              <a:buSzPct val="100000"/>
              <a:defRPr lang="x-none" sz="1600" baseline="0">
                <a:latin typeface="+mn-lt"/>
              </a:defRPr>
            </a:lvl1pPr>
            <a:lvl2pPr marL="192024" lvl="1" indent="-192024" defTabSz="913542" eaLnBrk="1" latinLnBrk="0" hangingPunct="1">
              <a:buClr>
                <a:schemeClr val="tx2"/>
              </a:buClr>
              <a:buSzPct val="125000"/>
              <a:buFont typeface="Arial" charset="0"/>
              <a:buChar char="▪"/>
              <a:defRPr lang="x-none" sz="1600" baseline="0">
                <a:latin typeface="+mn-lt"/>
              </a:defRPr>
            </a:lvl2pPr>
            <a:lvl3pPr marL="457200" lvl="2" indent="-265176" defTabSz="913542" eaLnBrk="1" latinLnBrk="0" hangingPunct="1">
              <a:buClr>
                <a:schemeClr val="tx2"/>
              </a:buClr>
              <a:buSzPct val="120000"/>
              <a:buFont typeface="Arial" charset="0"/>
              <a:buChar char="–"/>
              <a:defRPr lang="x-none" sz="1600" baseline="0">
                <a:latin typeface="+mn-lt"/>
              </a:defRPr>
            </a:lvl3pPr>
            <a:lvl4pPr marL="626846" lvl="3" indent="-155448" defTabSz="913542" eaLnBrk="1" latinLnBrk="0" hangingPunct="1">
              <a:buClr>
                <a:schemeClr val="tx2"/>
              </a:buClr>
              <a:buSzPct val="120000"/>
              <a:buFont typeface="Arial" charset="0"/>
              <a:buChar char="▫"/>
              <a:defRPr lang="x-none" sz="1600" baseline="0">
                <a:latin typeface="+mn-lt"/>
              </a:defRPr>
            </a:lvl4pPr>
            <a:lvl5pPr marL="749808" lvl="4" indent="-128016" defTabSz="913542" eaLnBrk="1" latinLnBrk="0" hangingPunct="1">
              <a:buClr>
                <a:schemeClr val="tx2"/>
              </a:buClr>
              <a:buSzPct val="89000"/>
              <a:buFont typeface="Arial" charset="0"/>
              <a:buChar char="-"/>
              <a:defRPr lang="x-none" sz="1600" baseline="0">
                <a:latin typeface="+mn-lt"/>
              </a:defRPr>
            </a:lvl5pPr>
            <a:lvl6pPr marL="765042" indent="-132820" defTabSz="913542" fontAlgn="base">
              <a:spcBef>
                <a:spcPct val="0"/>
              </a:spcBef>
              <a:spcAft>
                <a:spcPct val="0"/>
              </a:spcAft>
              <a:buClr>
                <a:schemeClr val="tx2"/>
              </a:buClr>
              <a:buSzPct val="89000"/>
              <a:buFont typeface="Arial" charset="0"/>
              <a:buChar char="-"/>
              <a:defRPr lang="x-none" sz="1632" baseline="0">
                <a:latin typeface="+mn-lt"/>
              </a:defRPr>
            </a:lvl6pPr>
            <a:lvl7pPr marL="765042" indent="-132820" defTabSz="913542" fontAlgn="base">
              <a:spcBef>
                <a:spcPct val="0"/>
              </a:spcBef>
              <a:spcAft>
                <a:spcPct val="0"/>
              </a:spcAft>
              <a:buClr>
                <a:schemeClr val="tx2"/>
              </a:buClr>
              <a:buSzPct val="89000"/>
              <a:buFont typeface="Arial" charset="0"/>
              <a:buChar char="-"/>
              <a:defRPr lang="x-none" sz="1632" baseline="0">
                <a:latin typeface="+mn-lt"/>
              </a:defRPr>
            </a:lvl7pPr>
            <a:lvl8pPr marL="765042" indent="-132820" defTabSz="913542" fontAlgn="base">
              <a:spcBef>
                <a:spcPct val="0"/>
              </a:spcBef>
              <a:spcAft>
                <a:spcPct val="0"/>
              </a:spcAft>
              <a:buClr>
                <a:schemeClr val="tx2"/>
              </a:buClr>
              <a:buSzPct val="89000"/>
              <a:buFont typeface="Arial" charset="0"/>
              <a:buChar char="-"/>
              <a:defRPr lang="x-none" sz="1632" baseline="0">
                <a:latin typeface="+mn-lt"/>
              </a:defRPr>
            </a:lvl8pPr>
            <a:lvl9pPr marL="765042" indent="-132820" defTabSz="913542" fontAlgn="base">
              <a:spcBef>
                <a:spcPct val="0"/>
              </a:spcBef>
              <a:spcAft>
                <a:spcPct val="0"/>
              </a:spcAft>
              <a:buClr>
                <a:schemeClr val="tx2"/>
              </a:buClr>
              <a:buSzPct val="89000"/>
              <a:buFont typeface="Arial" charset="0"/>
              <a:buChar char="-"/>
              <a:defRPr lang="x-none" sz="1632" baseline="0">
                <a:latin typeface="+mn-lt"/>
              </a:defRPr>
            </a:lvl9pPr>
          </a:lstStyle>
          <a:p>
            <a:pPr defTabSz="1218026" fontAlgn="base">
              <a:spcBef>
                <a:spcPct val="0"/>
              </a:spcBef>
              <a:spcAft>
                <a:spcPct val="0"/>
              </a:spcAft>
              <a:buClr>
                <a:srgbClr val="005073"/>
              </a:buClr>
              <a:defRPr/>
            </a:pPr>
            <a:r>
              <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Data center</a:t>
            </a:r>
          </a:p>
        </p:txBody>
      </p:sp>
      <p:cxnSp>
        <p:nvCxnSpPr>
          <p:cNvPr id="252" name="Straight Connector 251">
            <a:extLst>
              <a:ext uri="{FF2B5EF4-FFF2-40B4-BE49-F238E27FC236}">
                <a16:creationId xmlns:a16="http://schemas.microsoft.com/office/drawing/2014/main" id="{A73D51D9-138D-E945-9DB8-A6136F7AEBFB}"/>
              </a:ext>
            </a:extLst>
          </p:cNvPr>
          <p:cNvCxnSpPr>
            <a:cxnSpLocks/>
          </p:cNvCxnSpPr>
          <p:nvPr/>
        </p:nvCxnSpPr>
        <p:spPr>
          <a:xfrm flipH="1">
            <a:off x="4742931" y="4155923"/>
            <a:ext cx="1591" cy="1152035"/>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8199054E-96DA-8049-9CF0-7FF134527CE6}"/>
              </a:ext>
            </a:extLst>
          </p:cNvPr>
          <p:cNvCxnSpPr>
            <a:cxnSpLocks/>
          </p:cNvCxnSpPr>
          <p:nvPr/>
        </p:nvCxnSpPr>
        <p:spPr>
          <a:xfrm>
            <a:off x="5335829" y="4212920"/>
            <a:ext cx="0" cy="1095037"/>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55" name="Oval 5">
            <a:extLst>
              <a:ext uri="{FF2B5EF4-FFF2-40B4-BE49-F238E27FC236}">
                <a16:creationId xmlns:a16="http://schemas.microsoft.com/office/drawing/2014/main" id="{699A3D5A-DC6E-CE4D-A3BF-1D5F3EE53579}"/>
              </a:ext>
            </a:extLst>
          </p:cNvPr>
          <p:cNvSpPr>
            <a:spLocks noChangeArrowheads="1"/>
          </p:cNvSpPr>
          <p:nvPr/>
        </p:nvSpPr>
        <p:spPr bwMode="auto">
          <a:xfrm>
            <a:off x="5461034" y="5195436"/>
            <a:ext cx="190284" cy="190893"/>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Arial"/>
              <a:ea typeface="ＭＳ Ｐゴシック" charset="0"/>
              <a:cs typeface="Arial"/>
              <a:sym typeface="Arial"/>
            </a:endParaRPr>
          </a:p>
        </p:txBody>
      </p:sp>
      <p:sp>
        <p:nvSpPr>
          <p:cNvPr id="256" name="Freeform 6">
            <a:extLst>
              <a:ext uri="{FF2B5EF4-FFF2-40B4-BE49-F238E27FC236}">
                <a16:creationId xmlns:a16="http://schemas.microsoft.com/office/drawing/2014/main" id="{4ABFF223-1D14-F145-9F08-07DD12088F9C}"/>
              </a:ext>
            </a:extLst>
          </p:cNvPr>
          <p:cNvSpPr>
            <a:spLocks/>
          </p:cNvSpPr>
          <p:nvPr/>
        </p:nvSpPr>
        <p:spPr bwMode="auto">
          <a:xfrm>
            <a:off x="5350669" y="5388549"/>
            <a:ext cx="534424" cy="545952"/>
          </a:xfrm>
          <a:custGeom>
            <a:avLst/>
            <a:gdLst>
              <a:gd name="T0" fmla="*/ 60 w 514"/>
              <a:gd name="T1" fmla="*/ 344 h 523"/>
              <a:gd name="T2" fmla="*/ 99 w 514"/>
              <a:gd name="T3" fmla="*/ 123 h 523"/>
              <a:gd name="T4" fmla="*/ 92 w 514"/>
              <a:gd name="T5" fmla="*/ 324 h 523"/>
              <a:gd name="T6" fmla="*/ 58 w 514"/>
              <a:gd name="T7" fmla="*/ 523 h 523"/>
              <a:gd name="T8" fmla="*/ 347 w 514"/>
              <a:gd name="T9" fmla="*/ 523 h 523"/>
              <a:gd name="T10" fmla="*/ 289 w 514"/>
              <a:gd name="T11" fmla="*/ 248 h 523"/>
              <a:gd name="T12" fmla="*/ 295 w 514"/>
              <a:gd name="T13" fmla="*/ 119 h 523"/>
              <a:gd name="T14" fmla="*/ 514 w 514"/>
              <a:gd name="T15" fmla="*/ 183 h 523"/>
              <a:gd name="T16" fmla="*/ 514 w 514"/>
              <a:gd name="T17" fmla="*/ 135 h 523"/>
              <a:gd name="T18" fmla="*/ 356 w 514"/>
              <a:gd name="T19" fmla="*/ 89 h 523"/>
              <a:gd name="T20" fmla="*/ 230 w 514"/>
              <a:gd name="T21" fmla="*/ 14 h 523"/>
              <a:gd name="T22" fmla="*/ 170 w 514"/>
              <a:gd name="T23" fmla="*/ 14 h 523"/>
              <a:gd name="T24" fmla="*/ 11 w 514"/>
              <a:gd name="T25" fmla="*/ 344 h 523"/>
              <a:gd name="T26" fmla="*/ 60 w 514"/>
              <a:gd name="T27" fmla="*/ 344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4" h="523">
                <a:moveTo>
                  <a:pt x="60" y="344"/>
                </a:moveTo>
                <a:cubicBezTo>
                  <a:pt x="58" y="212"/>
                  <a:pt x="99" y="123"/>
                  <a:pt x="99" y="123"/>
                </a:cubicBezTo>
                <a:cubicBezTo>
                  <a:pt x="156" y="233"/>
                  <a:pt x="119" y="259"/>
                  <a:pt x="92" y="324"/>
                </a:cubicBezTo>
                <a:cubicBezTo>
                  <a:pt x="65" y="389"/>
                  <a:pt x="58" y="523"/>
                  <a:pt x="58" y="523"/>
                </a:cubicBezTo>
                <a:cubicBezTo>
                  <a:pt x="347" y="523"/>
                  <a:pt x="347" y="523"/>
                  <a:pt x="347" y="523"/>
                </a:cubicBezTo>
                <a:cubicBezTo>
                  <a:pt x="345" y="327"/>
                  <a:pt x="302" y="295"/>
                  <a:pt x="289" y="248"/>
                </a:cubicBezTo>
                <a:cubicBezTo>
                  <a:pt x="277" y="201"/>
                  <a:pt x="295" y="119"/>
                  <a:pt x="295" y="119"/>
                </a:cubicBezTo>
                <a:cubicBezTo>
                  <a:pt x="381" y="225"/>
                  <a:pt x="514" y="183"/>
                  <a:pt x="514" y="183"/>
                </a:cubicBezTo>
                <a:cubicBezTo>
                  <a:pt x="514" y="135"/>
                  <a:pt x="514" y="135"/>
                  <a:pt x="514" y="135"/>
                </a:cubicBezTo>
                <a:cubicBezTo>
                  <a:pt x="514" y="135"/>
                  <a:pt x="402" y="177"/>
                  <a:pt x="356" y="89"/>
                </a:cubicBezTo>
                <a:cubicBezTo>
                  <a:pt x="311" y="0"/>
                  <a:pt x="230" y="14"/>
                  <a:pt x="230" y="14"/>
                </a:cubicBezTo>
                <a:cubicBezTo>
                  <a:pt x="206" y="57"/>
                  <a:pt x="170" y="14"/>
                  <a:pt x="170" y="14"/>
                </a:cubicBezTo>
                <a:cubicBezTo>
                  <a:pt x="0" y="4"/>
                  <a:pt x="11" y="344"/>
                  <a:pt x="11" y="344"/>
                </a:cubicBezTo>
                <a:lnTo>
                  <a:pt x="60" y="344"/>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Arial"/>
              <a:ea typeface="ＭＳ Ｐゴシック" charset="0"/>
              <a:cs typeface="Arial"/>
              <a:sym typeface="Arial"/>
            </a:endParaRPr>
          </a:p>
        </p:txBody>
      </p:sp>
      <p:sp>
        <p:nvSpPr>
          <p:cNvPr id="257" name="Freeform 7">
            <a:extLst>
              <a:ext uri="{FF2B5EF4-FFF2-40B4-BE49-F238E27FC236}">
                <a16:creationId xmlns:a16="http://schemas.microsoft.com/office/drawing/2014/main" id="{D0FC2084-AA99-A942-AD81-28A954496DD6}"/>
              </a:ext>
            </a:extLst>
          </p:cNvPr>
          <p:cNvSpPr>
            <a:spLocks/>
          </p:cNvSpPr>
          <p:nvPr/>
        </p:nvSpPr>
        <p:spPr bwMode="auto">
          <a:xfrm>
            <a:off x="5362087" y="5744700"/>
            <a:ext cx="52736" cy="35451"/>
          </a:xfrm>
          <a:custGeom>
            <a:avLst/>
            <a:gdLst>
              <a:gd name="T0" fmla="*/ 0 w 51"/>
              <a:gd name="T1" fmla="*/ 0 h 34"/>
              <a:gd name="T2" fmla="*/ 26 w 51"/>
              <a:gd name="T3" fmla="*/ 30 h 34"/>
              <a:gd name="T4" fmla="*/ 48 w 51"/>
              <a:gd name="T5" fmla="*/ 0 h 34"/>
              <a:gd name="T6" fmla="*/ 0 w 51"/>
              <a:gd name="T7" fmla="*/ 0 h 34"/>
            </a:gdLst>
            <a:ahLst/>
            <a:cxnLst>
              <a:cxn ang="0">
                <a:pos x="T0" y="T1"/>
              </a:cxn>
              <a:cxn ang="0">
                <a:pos x="T2" y="T3"/>
              </a:cxn>
              <a:cxn ang="0">
                <a:pos x="T4" y="T5"/>
              </a:cxn>
              <a:cxn ang="0">
                <a:pos x="T6" y="T7"/>
              </a:cxn>
            </a:cxnLst>
            <a:rect l="0" t="0" r="r" b="b"/>
            <a:pathLst>
              <a:path w="51" h="34">
                <a:moveTo>
                  <a:pt x="0" y="0"/>
                </a:moveTo>
                <a:cubicBezTo>
                  <a:pt x="0" y="0"/>
                  <a:pt x="0" y="34"/>
                  <a:pt x="26" y="30"/>
                </a:cubicBezTo>
                <a:cubicBezTo>
                  <a:pt x="51" y="27"/>
                  <a:pt x="48" y="0"/>
                  <a:pt x="48" y="0"/>
                </a:cubicBezTo>
                <a:lnTo>
                  <a:pt x="0" y="0"/>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Arial"/>
              <a:ea typeface="ＭＳ Ｐゴシック" charset="0"/>
              <a:cs typeface="Arial"/>
              <a:sym typeface="Arial"/>
            </a:endParaRPr>
          </a:p>
        </p:txBody>
      </p:sp>
      <p:sp>
        <p:nvSpPr>
          <p:cNvPr id="258" name="Freeform 8">
            <a:extLst>
              <a:ext uri="{FF2B5EF4-FFF2-40B4-BE49-F238E27FC236}">
                <a16:creationId xmlns:a16="http://schemas.microsoft.com/office/drawing/2014/main" id="{CC2B64F1-27BF-704F-8195-6D86D35F047A}"/>
              </a:ext>
            </a:extLst>
          </p:cNvPr>
          <p:cNvSpPr>
            <a:spLocks/>
          </p:cNvSpPr>
          <p:nvPr/>
        </p:nvSpPr>
        <p:spPr bwMode="auto">
          <a:xfrm>
            <a:off x="5467014" y="5926865"/>
            <a:ext cx="85356" cy="340880"/>
          </a:xfrm>
          <a:custGeom>
            <a:avLst/>
            <a:gdLst>
              <a:gd name="T0" fmla="*/ 82 w 82"/>
              <a:gd name="T1" fmla="*/ 277 h 326"/>
              <a:gd name="T2" fmla="*/ 82 w 82"/>
              <a:gd name="T3" fmla="*/ 0 h 326"/>
              <a:gd name="T4" fmla="*/ 6 w 82"/>
              <a:gd name="T5" fmla="*/ 0 h 326"/>
              <a:gd name="T6" fmla="*/ 0 w 82"/>
              <a:gd name="T7" fmla="*/ 277 h 326"/>
              <a:gd name="T8" fmla="*/ 82 w 82"/>
              <a:gd name="T9" fmla="*/ 277 h 326"/>
            </a:gdLst>
            <a:ahLst/>
            <a:cxnLst>
              <a:cxn ang="0">
                <a:pos x="T0" y="T1"/>
              </a:cxn>
              <a:cxn ang="0">
                <a:pos x="T2" y="T3"/>
              </a:cxn>
              <a:cxn ang="0">
                <a:pos x="T4" y="T5"/>
              </a:cxn>
              <a:cxn ang="0">
                <a:pos x="T6" y="T7"/>
              </a:cxn>
              <a:cxn ang="0">
                <a:pos x="T8" y="T9"/>
              </a:cxn>
            </a:cxnLst>
            <a:rect l="0" t="0" r="r" b="b"/>
            <a:pathLst>
              <a:path w="82" h="326">
                <a:moveTo>
                  <a:pt x="82" y="277"/>
                </a:moveTo>
                <a:cubicBezTo>
                  <a:pt x="82" y="228"/>
                  <a:pt x="82" y="0"/>
                  <a:pt x="82" y="0"/>
                </a:cubicBezTo>
                <a:cubicBezTo>
                  <a:pt x="6" y="0"/>
                  <a:pt x="6" y="0"/>
                  <a:pt x="6" y="0"/>
                </a:cubicBezTo>
                <a:cubicBezTo>
                  <a:pt x="6" y="0"/>
                  <a:pt x="0" y="237"/>
                  <a:pt x="0" y="277"/>
                </a:cubicBezTo>
                <a:cubicBezTo>
                  <a:pt x="0" y="317"/>
                  <a:pt x="82" y="326"/>
                  <a:pt x="82" y="277"/>
                </a:cubicBez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Arial"/>
              <a:ea typeface="ＭＳ Ｐゴシック" charset="0"/>
              <a:cs typeface="Arial"/>
              <a:sym typeface="Arial"/>
            </a:endParaRPr>
          </a:p>
        </p:txBody>
      </p:sp>
      <p:sp>
        <p:nvSpPr>
          <p:cNvPr id="259" name="Freeform 9">
            <a:extLst>
              <a:ext uri="{FF2B5EF4-FFF2-40B4-BE49-F238E27FC236}">
                <a16:creationId xmlns:a16="http://schemas.microsoft.com/office/drawing/2014/main" id="{75B3E196-541A-964D-874E-D4A48455C728}"/>
              </a:ext>
            </a:extLst>
          </p:cNvPr>
          <p:cNvSpPr>
            <a:spLocks/>
          </p:cNvSpPr>
          <p:nvPr/>
        </p:nvSpPr>
        <p:spPr bwMode="auto">
          <a:xfrm>
            <a:off x="5571942" y="5926865"/>
            <a:ext cx="85356" cy="340880"/>
          </a:xfrm>
          <a:custGeom>
            <a:avLst/>
            <a:gdLst>
              <a:gd name="T0" fmla="*/ 82 w 82"/>
              <a:gd name="T1" fmla="*/ 277 h 326"/>
              <a:gd name="T2" fmla="*/ 76 w 82"/>
              <a:gd name="T3" fmla="*/ 0 h 326"/>
              <a:gd name="T4" fmla="*/ 0 w 82"/>
              <a:gd name="T5" fmla="*/ 0 h 326"/>
              <a:gd name="T6" fmla="*/ 0 w 82"/>
              <a:gd name="T7" fmla="*/ 277 h 326"/>
              <a:gd name="T8" fmla="*/ 82 w 82"/>
              <a:gd name="T9" fmla="*/ 277 h 326"/>
            </a:gdLst>
            <a:ahLst/>
            <a:cxnLst>
              <a:cxn ang="0">
                <a:pos x="T0" y="T1"/>
              </a:cxn>
              <a:cxn ang="0">
                <a:pos x="T2" y="T3"/>
              </a:cxn>
              <a:cxn ang="0">
                <a:pos x="T4" y="T5"/>
              </a:cxn>
              <a:cxn ang="0">
                <a:pos x="T6" y="T7"/>
              </a:cxn>
              <a:cxn ang="0">
                <a:pos x="T8" y="T9"/>
              </a:cxn>
            </a:cxnLst>
            <a:rect l="0" t="0" r="r" b="b"/>
            <a:pathLst>
              <a:path w="82" h="326">
                <a:moveTo>
                  <a:pt x="82" y="277"/>
                </a:moveTo>
                <a:cubicBezTo>
                  <a:pt x="82" y="237"/>
                  <a:pt x="76" y="0"/>
                  <a:pt x="76" y="0"/>
                </a:cubicBezTo>
                <a:cubicBezTo>
                  <a:pt x="0" y="0"/>
                  <a:pt x="0" y="0"/>
                  <a:pt x="0" y="0"/>
                </a:cubicBezTo>
                <a:cubicBezTo>
                  <a:pt x="0" y="0"/>
                  <a:pt x="0" y="228"/>
                  <a:pt x="0" y="277"/>
                </a:cubicBezTo>
                <a:cubicBezTo>
                  <a:pt x="0" y="326"/>
                  <a:pt x="82" y="317"/>
                  <a:pt x="82" y="277"/>
                </a:cubicBez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Arial"/>
              <a:ea typeface="ＭＳ Ｐゴシック" charset="0"/>
              <a:cs typeface="Arial"/>
              <a:sym typeface="Arial"/>
            </a:endParaRPr>
          </a:p>
        </p:txBody>
      </p:sp>
      <p:sp>
        <p:nvSpPr>
          <p:cNvPr id="260" name="Freeform 10">
            <a:extLst>
              <a:ext uri="{FF2B5EF4-FFF2-40B4-BE49-F238E27FC236}">
                <a16:creationId xmlns:a16="http://schemas.microsoft.com/office/drawing/2014/main" id="{D48D461B-F7BF-9444-B364-18F89B2FA3C6}"/>
              </a:ext>
            </a:extLst>
          </p:cNvPr>
          <p:cNvSpPr>
            <a:spLocks/>
          </p:cNvSpPr>
          <p:nvPr/>
        </p:nvSpPr>
        <p:spPr bwMode="auto">
          <a:xfrm>
            <a:off x="5882376" y="5460544"/>
            <a:ext cx="102753" cy="167985"/>
          </a:xfrm>
          <a:custGeom>
            <a:avLst/>
            <a:gdLst>
              <a:gd name="T0" fmla="*/ 80 w 99"/>
              <a:gd name="T1" fmla="*/ 161 h 161"/>
              <a:gd name="T2" fmla="*/ 19 w 99"/>
              <a:gd name="T3" fmla="*/ 161 h 161"/>
              <a:gd name="T4" fmla="*/ 0 w 99"/>
              <a:gd name="T5" fmla="*/ 143 h 161"/>
              <a:gd name="T6" fmla="*/ 0 w 99"/>
              <a:gd name="T7" fmla="*/ 19 h 161"/>
              <a:gd name="T8" fmla="*/ 19 w 99"/>
              <a:gd name="T9" fmla="*/ 0 h 161"/>
              <a:gd name="T10" fmla="*/ 80 w 99"/>
              <a:gd name="T11" fmla="*/ 0 h 161"/>
              <a:gd name="T12" fmla="*/ 99 w 99"/>
              <a:gd name="T13" fmla="*/ 19 h 161"/>
              <a:gd name="T14" fmla="*/ 99 w 99"/>
              <a:gd name="T15" fmla="*/ 143 h 161"/>
              <a:gd name="T16" fmla="*/ 80 w 99"/>
              <a:gd name="T17"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61">
                <a:moveTo>
                  <a:pt x="80" y="161"/>
                </a:moveTo>
                <a:cubicBezTo>
                  <a:pt x="19" y="161"/>
                  <a:pt x="19" y="161"/>
                  <a:pt x="19" y="161"/>
                </a:cubicBezTo>
                <a:cubicBezTo>
                  <a:pt x="9" y="161"/>
                  <a:pt x="0" y="153"/>
                  <a:pt x="0" y="143"/>
                </a:cubicBezTo>
                <a:cubicBezTo>
                  <a:pt x="0" y="19"/>
                  <a:pt x="0" y="19"/>
                  <a:pt x="0" y="19"/>
                </a:cubicBezTo>
                <a:cubicBezTo>
                  <a:pt x="0" y="8"/>
                  <a:pt x="9" y="0"/>
                  <a:pt x="19" y="0"/>
                </a:cubicBezTo>
                <a:cubicBezTo>
                  <a:pt x="80" y="0"/>
                  <a:pt x="80" y="0"/>
                  <a:pt x="80" y="0"/>
                </a:cubicBezTo>
                <a:cubicBezTo>
                  <a:pt x="91" y="0"/>
                  <a:pt x="99" y="8"/>
                  <a:pt x="99" y="19"/>
                </a:cubicBezTo>
                <a:cubicBezTo>
                  <a:pt x="99" y="143"/>
                  <a:pt x="99" y="143"/>
                  <a:pt x="99" y="143"/>
                </a:cubicBezTo>
                <a:cubicBezTo>
                  <a:pt x="99" y="153"/>
                  <a:pt x="91" y="161"/>
                  <a:pt x="80" y="161"/>
                </a:cubicBezTo>
                <a:close/>
              </a:path>
            </a:pathLst>
          </a:custGeom>
          <a:solidFill>
            <a:schemeClr val="tx1"/>
          </a:solidFill>
          <a:ln w="15875">
            <a:solidFill>
              <a:schemeClr val="bg1"/>
            </a:solidFill>
            <a:round/>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Arial"/>
              <a:ea typeface="ＭＳ Ｐゴシック" charset="0"/>
              <a:cs typeface="Arial"/>
              <a:sym typeface="Arial"/>
            </a:endParaRPr>
          </a:p>
        </p:txBody>
      </p:sp>
      <p:sp>
        <p:nvSpPr>
          <p:cNvPr id="261" name="Freeform: Shape 286">
            <a:extLst>
              <a:ext uri="{FF2B5EF4-FFF2-40B4-BE49-F238E27FC236}">
                <a16:creationId xmlns:a16="http://schemas.microsoft.com/office/drawing/2014/main" id="{821CF859-C004-D748-947D-3AF496030E69}"/>
              </a:ext>
            </a:extLst>
          </p:cNvPr>
          <p:cNvSpPr/>
          <p:nvPr/>
        </p:nvSpPr>
        <p:spPr>
          <a:xfrm>
            <a:off x="5418628" y="5173911"/>
            <a:ext cx="266397" cy="185420"/>
          </a:xfrm>
          <a:custGeom>
            <a:avLst/>
            <a:gdLst>
              <a:gd name="connsiteX0" fmla="*/ 1651820 w 3097162"/>
              <a:gd name="connsiteY0" fmla="*/ 0 h 1651820"/>
              <a:gd name="connsiteX1" fmla="*/ 0 w 3097162"/>
              <a:gd name="connsiteY1" fmla="*/ 1651820 h 1651820"/>
              <a:gd name="connsiteX2" fmla="*/ 3097162 w 3097162"/>
              <a:gd name="connsiteY2" fmla="*/ 1651820 h 1651820"/>
              <a:gd name="connsiteX3" fmla="*/ 1651820 w 3097162"/>
              <a:gd name="connsiteY3" fmla="*/ 0 h 1651820"/>
              <a:gd name="connsiteX0" fmla="*/ 1651820 w 3097162"/>
              <a:gd name="connsiteY0" fmla="*/ 0 h 1651820"/>
              <a:gd name="connsiteX1" fmla="*/ 0 w 3097162"/>
              <a:gd name="connsiteY1" fmla="*/ 1651820 h 1651820"/>
              <a:gd name="connsiteX2" fmla="*/ 3097162 w 3097162"/>
              <a:gd name="connsiteY2" fmla="*/ 1651820 h 1651820"/>
              <a:gd name="connsiteX3" fmla="*/ 1651820 w 3097162"/>
              <a:gd name="connsiteY3" fmla="*/ 0 h 1651820"/>
              <a:gd name="connsiteX0" fmla="*/ 1651820 w 3097162"/>
              <a:gd name="connsiteY0" fmla="*/ 196 h 1652016"/>
              <a:gd name="connsiteX1" fmla="*/ 0 w 3097162"/>
              <a:gd name="connsiteY1" fmla="*/ 1652016 h 1652016"/>
              <a:gd name="connsiteX2" fmla="*/ 3097162 w 3097162"/>
              <a:gd name="connsiteY2" fmla="*/ 1652016 h 1652016"/>
              <a:gd name="connsiteX3" fmla="*/ 1651820 w 3097162"/>
              <a:gd name="connsiteY3" fmla="*/ 196 h 1652016"/>
              <a:gd name="connsiteX0" fmla="*/ 1651820 w 3097162"/>
              <a:gd name="connsiteY0" fmla="*/ 25 h 1651845"/>
              <a:gd name="connsiteX1" fmla="*/ 0 w 3097162"/>
              <a:gd name="connsiteY1" fmla="*/ 1651845 h 1651845"/>
              <a:gd name="connsiteX2" fmla="*/ 3097162 w 3097162"/>
              <a:gd name="connsiteY2" fmla="*/ 1651845 h 1651845"/>
              <a:gd name="connsiteX3" fmla="*/ 1651820 w 3097162"/>
              <a:gd name="connsiteY3" fmla="*/ 25 h 1651845"/>
              <a:gd name="connsiteX0" fmla="*/ 1651820 w 3097162"/>
              <a:gd name="connsiteY0" fmla="*/ 10 h 1651830"/>
              <a:gd name="connsiteX1" fmla="*/ 0 w 3097162"/>
              <a:gd name="connsiteY1" fmla="*/ 1651830 h 1651830"/>
              <a:gd name="connsiteX2" fmla="*/ 3097162 w 3097162"/>
              <a:gd name="connsiteY2" fmla="*/ 1651830 h 1651830"/>
              <a:gd name="connsiteX3" fmla="*/ 1651820 w 3097162"/>
              <a:gd name="connsiteY3" fmla="*/ 10 h 1651830"/>
              <a:gd name="connsiteX0" fmla="*/ 1601253 w 3097162"/>
              <a:gd name="connsiteY0" fmla="*/ 9 h 1651830"/>
              <a:gd name="connsiteX1" fmla="*/ 0 w 3097162"/>
              <a:gd name="connsiteY1" fmla="*/ 1651830 h 1651830"/>
              <a:gd name="connsiteX2" fmla="*/ 3097162 w 3097162"/>
              <a:gd name="connsiteY2" fmla="*/ 1651830 h 1651830"/>
              <a:gd name="connsiteX3" fmla="*/ 1601253 w 3097162"/>
              <a:gd name="connsiteY3" fmla="*/ 9 h 1651830"/>
              <a:gd name="connsiteX0" fmla="*/ 1601253 w 3097162"/>
              <a:gd name="connsiteY0" fmla="*/ 9 h 1651830"/>
              <a:gd name="connsiteX1" fmla="*/ 0 w 3097162"/>
              <a:gd name="connsiteY1" fmla="*/ 1651830 h 1651830"/>
              <a:gd name="connsiteX2" fmla="*/ 3097162 w 3097162"/>
              <a:gd name="connsiteY2" fmla="*/ 1651830 h 1651830"/>
              <a:gd name="connsiteX3" fmla="*/ 1601253 w 3097162"/>
              <a:gd name="connsiteY3" fmla="*/ 9 h 1651830"/>
            </a:gdLst>
            <a:ahLst/>
            <a:cxnLst>
              <a:cxn ang="0">
                <a:pos x="connsiteX0" y="connsiteY0"/>
              </a:cxn>
              <a:cxn ang="0">
                <a:pos x="connsiteX1" y="connsiteY1"/>
              </a:cxn>
              <a:cxn ang="0">
                <a:pos x="connsiteX2" y="connsiteY2"/>
              </a:cxn>
              <a:cxn ang="0">
                <a:pos x="connsiteX3" y="connsiteY3"/>
              </a:cxn>
            </a:cxnLst>
            <a:rect l="l" t="t" r="r" b="b"/>
            <a:pathLst>
              <a:path w="3097162" h="1651830">
                <a:moveTo>
                  <a:pt x="1601253" y="9"/>
                </a:moveTo>
                <a:cubicBezTo>
                  <a:pt x="182423" y="3829"/>
                  <a:pt x="550607" y="1101223"/>
                  <a:pt x="0" y="1651830"/>
                </a:cubicBezTo>
                <a:lnTo>
                  <a:pt x="3097162" y="1651830"/>
                </a:lnTo>
                <a:cubicBezTo>
                  <a:pt x="2615381" y="1101223"/>
                  <a:pt x="3020083" y="-3811"/>
                  <a:pt x="1601253" y="9"/>
                </a:cubicBez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Arial"/>
              <a:ea typeface="ＭＳ Ｐゴシック" charset="0"/>
              <a:cs typeface="Arial"/>
              <a:sym typeface="Arial"/>
            </a:endParaRPr>
          </a:p>
        </p:txBody>
      </p:sp>
      <p:sp>
        <p:nvSpPr>
          <p:cNvPr id="262" name="Rounded Rectangle 53">
            <a:extLst>
              <a:ext uri="{FF2B5EF4-FFF2-40B4-BE49-F238E27FC236}">
                <a16:creationId xmlns:a16="http://schemas.microsoft.com/office/drawing/2014/main" id="{75199169-0CC1-8640-B585-ED9AFED16084}"/>
              </a:ext>
            </a:extLst>
          </p:cNvPr>
          <p:cNvSpPr/>
          <p:nvPr/>
        </p:nvSpPr>
        <p:spPr>
          <a:xfrm>
            <a:off x="4629178" y="5005608"/>
            <a:ext cx="762463" cy="226088"/>
          </a:xfrm>
          <a:prstGeom prst="roundRect">
            <a:avLst>
              <a:gd name="adj" fmla="val 5000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55" fontAlgn="base">
              <a:spcBef>
                <a:spcPct val="0"/>
              </a:spcBef>
              <a:spcAft>
                <a:spcPct val="0"/>
              </a:spcAft>
              <a:defRPr/>
            </a:pPr>
            <a:r>
              <a:rPr lang="en-US" sz="1200">
                <a:solidFill>
                  <a:srgbClr val="FFFFFF"/>
                </a:solidFill>
                <a:latin typeface="CiscoSansTT ExtraLight" panose="020B0303020201020303" pitchFamily="34" charset="0"/>
                <a:cs typeface="CiscoSansTT ExtraLight" panose="020B0303020201020303" pitchFamily="34" charset="0"/>
                <a:sym typeface="Arial"/>
              </a:rPr>
              <a:t>AMP</a:t>
            </a:r>
          </a:p>
        </p:txBody>
      </p:sp>
      <p:sp>
        <p:nvSpPr>
          <p:cNvPr id="263" name="Rounded Rectangle 82">
            <a:extLst>
              <a:ext uri="{FF2B5EF4-FFF2-40B4-BE49-F238E27FC236}">
                <a16:creationId xmlns:a16="http://schemas.microsoft.com/office/drawing/2014/main" id="{8F1FF81F-18F9-2941-9D3A-553281786032}"/>
              </a:ext>
            </a:extLst>
          </p:cNvPr>
          <p:cNvSpPr/>
          <p:nvPr/>
        </p:nvSpPr>
        <p:spPr>
          <a:xfrm>
            <a:off x="4263684" y="4502585"/>
            <a:ext cx="1649571" cy="226088"/>
          </a:xfrm>
          <a:prstGeom prst="roundRect">
            <a:avLst>
              <a:gd name="adj" fmla="val 5000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55" fontAlgn="base">
              <a:spcBef>
                <a:spcPct val="0"/>
              </a:spcBef>
              <a:spcAft>
                <a:spcPct val="0"/>
              </a:spcAft>
              <a:defRPr/>
            </a:pPr>
            <a:r>
              <a:rPr lang="en-US" sz="1200">
                <a:solidFill>
                  <a:srgbClr val="FFFFFF"/>
                </a:solidFill>
                <a:latin typeface="CiscoSansTT ExtraLight" panose="020B0303020201020303" pitchFamily="34" charset="0"/>
                <a:cs typeface="CiscoSansTT ExtraLight" panose="020B0303020201020303" pitchFamily="34" charset="0"/>
                <a:sym typeface="Arial"/>
              </a:rPr>
              <a:t>Stealthwatch Cloud</a:t>
            </a:r>
          </a:p>
        </p:txBody>
      </p:sp>
      <p:sp>
        <p:nvSpPr>
          <p:cNvPr id="264" name="Rounded Rectangle 263">
            <a:extLst>
              <a:ext uri="{FF2B5EF4-FFF2-40B4-BE49-F238E27FC236}">
                <a16:creationId xmlns:a16="http://schemas.microsoft.com/office/drawing/2014/main" id="{6BDD4238-35BC-EB45-BB6E-984010BDD4F7}"/>
              </a:ext>
            </a:extLst>
          </p:cNvPr>
          <p:cNvSpPr/>
          <p:nvPr/>
        </p:nvSpPr>
        <p:spPr>
          <a:xfrm>
            <a:off x="-322217" y="6403200"/>
            <a:ext cx="7182185" cy="470400"/>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r>
              <a:rPr lang="en-US" sz="1733">
                <a:solidFill>
                  <a:srgbClr val="FFFFFF"/>
                </a:solidFill>
                <a:latin typeface="CiscoSansTT ExtraLight" panose="020B0303020201020303" pitchFamily="34" charset="0"/>
                <a:ea typeface="ＭＳ Ｐゴシック" charset="0"/>
                <a:cs typeface="CiscoSansTT ExtraLight" panose="020B0303020201020303" pitchFamily="34" charset="0"/>
                <a:sym typeface="Arial"/>
              </a:rPr>
              <a:t>Cisco integrated security architecture</a:t>
            </a:r>
          </a:p>
        </p:txBody>
      </p:sp>
      <p:sp>
        <p:nvSpPr>
          <p:cNvPr id="265" name="Rounded Rectangle 55">
            <a:extLst>
              <a:ext uri="{FF2B5EF4-FFF2-40B4-BE49-F238E27FC236}">
                <a16:creationId xmlns:a16="http://schemas.microsoft.com/office/drawing/2014/main" id="{9D1724A6-BCD4-E946-838A-F1862356B479}"/>
              </a:ext>
            </a:extLst>
          </p:cNvPr>
          <p:cNvSpPr/>
          <p:nvPr/>
        </p:nvSpPr>
        <p:spPr>
          <a:xfrm>
            <a:off x="4298035" y="6226967"/>
            <a:ext cx="1440000" cy="211122"/>
          </a:xfrm>
          <a:prstGeom prst="round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ctr">
            <a:spAutoFit/>
          </a:bodyPr>
          <a:lstStyle/>
          <a:p>
            <a:pPr algn="ctr" defTabSz="609539" fontAlgn="base">
              <a:spcBef>
                <a:spcPct val="0"/>
              </a:spcBef>
              <a:spcAft>
                <a:spcPct val="0"/>
              </a:spcAft>
              <a:defRPr/>
            </a:pPr>
            <a:r>
              <a:rPr lang="en-US" sz="1000">
                <a:solidFill>
                  <a:srgbClr val="EDF1F6"/>
                </a:solidFill>
                <a:latin typeface="CiscoSansTT ExtraLight" panose="020B0303020201020303" pitchFamily="34" charset="0"/>
                <a:cs typeface="CiscoSansTT ExtraLight" panose="020B0303020201020303" pitchFamily="34" charset="0"/>
                <a:sym typeface="Arial"/>
              </a:rPr>
              <a:t>On-premises users</a:t>
            </a:r>
          </a:p>
        </p:txBody>
      </p:sp>
      <p:sp>
        <p:nvSpPr>
          <p:cNvPr id="267" name="Rounded Rectangle 55">
            <a:extLst>
              <a:ext uri="{FF2B5EF4-FFF2-40B4-BE49-F238E27FC236}">
                <a16:creationId xmlns:a16="http://schemas.microsoft.com/office/drawing/2014/main" id="{37A5C1D8-0394-CE4D-B36A-457ACDAC730C}"/>
              </a:ext>
            </a:extLst>
          </p:cNvPr>
          <p:cNvSpPr/>
          <p:nvPr/>
        </p:nvSpPr>
        <p:spPr>
          <a:xfrm>
            <a:off x="410654" y="3660217"/>
            <a:ext cx="1607401" cy="226088"/>
          </a:xfrm>
          <a:prstGeom prst="roundRect">
            <a:avLst>
              <a:gd name="adj" fmla="val 5000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55" fontAlgn="base">
              <a:spcBef>
                <a:spcPct val="0"/>
              </a:spcBef>
              <a:spcAft>
                <a:spcPct val="0"/>
              </a:spcAft>
              <a:defRPr/>
            </a:pPr>
            <a:r>
              <a:rPr lang="en-US" sz="1200">
                <a:solidFill>
                  <a:srgbClr val="FFFFFF"/>
                </a:solidFill>
                <a:latin typeface="CiscoSansTT ExtraLight" panose="020B0303020201020303" pitchFamily="34" charset="0"/>
                <a:cs typeface="CiscoSansTT ExtraLight" panose="020B0303020201020303" pitchFamily="34" charset="0"/>
                <a:sym typeface="Arial"/>
              </a:rPr>
              <a:t>AMP for Endpoints</a:t>
            </a:r>
          </a:p>
        </p:txBody>
      </p:sp>
      <p:grpSp>
        <p:nvGrpSpPr>
          <p:cNvPr id="268" name="Group 267">
            <a:extLst>
              <a:ext uri="{FF2B5EF4-FFF2-40B4-BE49-F238E27FC236}">
                <a16:creationId xmlns:a16="http://schemas.microsoft.com/office/drawing/2014/main" id="{76D3E214-17C8-F741-84FB-6479FEC5FCD0}"/>
              </a:ext>
            </a:extLst>
          </p:cNvPr>
          <p:cNvGrpSpPr>
            <a:grpSpLocks noChangeAspect="1"/>
          </p:cNvGrpSpPr>
          <p:nvPr/>
        </p:nvGrpSpPr>
        <p:grpSpPr>
          <a:xfrm>
            <a:off x="823947" y="3956703"/>
            <a:ext cx="654027" cy="428287"/>
            <a:chOff x="3538483" y="2508949"/>
            <a:chExt cx="490371" cy="296384"/>
          </a:xfrm>
          <a:solidFill>
            <a:schemeClr val="bg1"/>
          </a:solidFill>
        </p:grpSpPr>
        <p:sp>
          <p:nvSpPr>
            <p:cNvPr id="269" name="Freeform 2">
              <a:extLst>
                <a:ext uri="{FF2B5EF4-FFF2-40B4-BE49-F238E27FC236}">
                  <a16:creationId xmlns:a16="http://schemas.microsoft.com/office/drawing/2014/main" id="{E0C96273-E773-104A-8EFC-276535FB929B}"/>
                </a:ext>
              </a:extLst>
            </p:cNvPr>
            <p:cNvSpPr>
              <a:spLocks noChangeArrowheads="1"/>
            </p:cNvSpPr>
            <p:nvPr/>
          </p:nvSpPr>
          <p:spPr bwMode="auto">
            <a:xfrm>
              <a:off x="3873030" y="2598815"/>
              <a:ext cx="155824" cy="206518"/>
            </a:xfrm>
            <a:custGeom>
              <a:avLst/>
              <a:gdLst>
                <a:gd name="T0" fmla="*/ 1578706 w 4771"/>
                <a:gd name="T1" fmla="*/ 0 h 6323"/>
                <a:gd name="T2" fmla="*/ 1578706 w 4771"/>
                <a:gd name="T3" fmla="*/ 0 h 6323"/>
                <a:gd name="T4" fmla="*/ 138609 w 4771"/>
                <a:gd name="T5" fmla="*/ 0 h 6323"/>
                <a:gd name="T6" fmla="*/ 0 w 4771"/>
                <a:gd name="T7" fmla="*/ 138612 h 6323"/>
                <a:gd name="T8" fmla="*/ 0 w 4771"/>
                <a:gd name="T9" fmla="*/ 2137503 h 6323"/>
                <a:gd name="T10" fmla="*/ 138609 w 4771"/>
                <a:gd name="T11" fmla="*/ 2276115 h 6323"/>
                <a:gd name="T12" fmla="*/ 1578706 w 4771"/>
                <a:gd name="T13" fmla="*/ 2276115 h 6323"/>
                <a:gd name="T14" fmla="*/ 1717315 w 4771"/>
                <a:gd name="T15" fmla="*/ 2137503 h 6323"/>
                <a:gd name="T16" fmla="*/ 1717315 w 4771"/>
                <a:gd name="T17" fmla="*/ 138612 h 6323"/>
                <a:gd name="T18" fmla="*/ 1578706 w 4771"/>
                <a:gd name="T19" fmla="*/ 0 h 6323"/>
                <a:gd name="T20" fmla="*/ 864058 w 4771"/>
                <a:gd name="T21" fmla="*/ 2215270 h 6323"/>
                <a:gd name="T22" fmla="*/ 864058 w 4771"/>
                <a:gd name="T23" fmla="*/ 2215270 h 6323"/>
                <a:gd name="T24" fmla="*/ 775492 w 4771"/>
                <a:gd name="T25" fmla="*/ 2126702 h 6323"/>
                <a:gd name="T26" fmla="*/ 864058 w 4771"/>
                <a:gd name="T27" fmla="*/ 2043535 h 6323"/>
                <a:gd name="T28" fmla="*/ 947223 w 4771"/>
                <a:gd name="T29" fmla="*/ 2126702 h 6323"/>
                <a:gd name="T30" fmla="*/ 864058 w 4771"/>
                <a:gd name="T31" fmla="*/ 2215270 h 6323"/>
                <a:gd name="T32" fmla="*/ 1589866 w 4771"/>
                <a:gd name="T33" fmla="*/ 1976929 h 6323"/>
                <a:gd name="T34" fmla="*/ 1589866 w 4771"/>
                <a:gd name="T35" fmla="*/ 1976929 h 6323"/>
                <a:gd name="T36" fmla="*/ 138609 w 4771"/>
                <a:gd name="T37" fmla="*/ 1976929 h 6323"/>
                <a:gd name="T38" fmla="*/ 138609 w 4771"/>
                <a:gd name="T39" fmla="*/ 304586 h 6323"/>
                <a:gd name="T40" fmla="*/ 1589866 w 4771"/>
                <a:gd name="T41" fmla="*/ 304586 h 6323"/>
                <a:gd name="T42" fmla="*/ 1589866 w 4771"/>
                <a:gd name="T43" fmla="*/ 1976929 h 63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771" h="6323">
                  <a:moveTo>
                    <a:pt x="4385" y="0"/>
                  </a:moveTo>
                  <a:lnTo>
                    <a:pt x="4385" y="0"/>
                  </a:lnTo>
                  <a:cubicBezTo>
                    <a:pt x="385" y="0"/>
                    <a:pt x="385" y="0"/>
                    <a:pt x="385" y="0"/>
                  </a:cubicBezTo>
                  <a:cubicBezTo>
                    <a:pt x="185" y="0"/>
                    <a:pt x="0" y="169"/>
                    <a:pt x="0" y="385"/>
                  </a:cubicBezTo>
                  <a:cubicBezTo>
                    <a:pt x="0" y="5937"/>
                    <a:pt x="0" y="5937"/>
                    <a:pt x="0" y="5937"/>
                  </a:cubicBezTo>
                  <a:cubicBezTo>
                    <a:pt x="0" y="6153"/>
                    <a:pt x="185" y="6322"/>
                    <a:pt x="385" y="6322"/>
                  </a:cubicBezTo>
                  <a:cubicBezTo>
                    <a:pt x="4385" y="6322"/>
                    <a:pt x="4385" y="6322"/>
                    <a:pt x="4385" y="6322"/>
                  </a:cubicBezTo>
                  <a:cubicBezTo>
                    <a:pt x="4600" y="6322"/>
                    <a:pt x="4770" y="6153"/>
                    <a:pt x="4770" y="5937"/>
                  </a:cubicBezTo>
                  <a:cubicBezTo>
                    <a:pt x="4770" y="385"/>
                    <a:pt x="4770" y="385"/>
                    <a:pt x="4770" y="385"/>
                  </a:cubicBezTo>
                  <a:cubicBezTo>
                    <a:pt x="4770" y="169"/>
                    <a:pt x="4600" y="0"/>
                    <a:pt x="4385" y="0"/>
                  </a:cubicBezTo>
                  <a:close/>
                  <a:moveTo>
                    <a:pt x="2400" y="6153"/>
                  </a:moveTo>
                  <a:lnTo>
                    <a:pt x="2400" y="6153"/>
                  </a:lnTo>
                  <a:cubicBezTo>
                    <a:pt x="2262" y="6153"/>
                    <a:pt x="2154" y="6045"/>
                    <a:pt x="2154" y="5907"/>
                  </a:cubicBezTo>
                  <a:cubicBezTo>
                    <a:pt x="2154" y="5784"/>
                    <a:pt x="2262" y="5676"/>
                    <a:pt x="2400" y="5676"/>
                  </a:cubicBezTo>
                  <a:cubicBezTo>
                    <a:pt x="2523" y="5676"/>
                    <a:pt x="2631" y="5784"/>
                    <a:pt x="2631" y="5907"/>
                  </a:cubicBezTo>
                  <a:cubicBezTo>
                    <a:pt x="2631" y="6045"/>
                    <a:pt x="2523" y="6153"/>
                    <a:pt x="2400" y="6153"/>
                  </a:cubicBezTo>
                  <a:close/>
                  <a:moveTo>
                    <a:pt x="4416" y="5491"/>
                  </a:moveTo>
                  <a:lnTo>
                    <a:pt x="4416" y="5491"/>
                  </a:lnTo>
                  <a:cubicBezTo>
                    <a:pt x="385" y="5491"/>
                    <a:pt x="385" y="5491"/>
                    <a:pt x="385" y="5491"/>
                  </a:cubicBezTo>
                  <a:cubicBezTo>
                    <a:pt x="385" y="846"/>
                    <a:pt x="385" y="846"/>
                    <a:pt x="385" y="846"/>
                  </a:cubicBezTo>
                  <a:cubicBezTo>
                    <a:pt x="4416" y="846"/>
                    <a:pt x="4416" y="846"/>
                    <a:pt x="4416" y="846"/>
                  </a:cubicBezTo>
                  <a:lnTo>
                    <a:pt x="4416" y="5491"/>
                  </a:lnTo>
                  <a:close/>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609555"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70" name="Freeform 3">
              <a:extLst>
                <a:ext uri="{FF2B5EF4-FFF2-40B4-BE49-F238E27FC236}">
                  <a16:creationId xmlns:a16="http://schemas.microsoft.com/office/drawing/2014/main" id="{59F209BA-1AFB-0747-A866-633CB9F51230}"/>
                </a:ext>
              </a:extLst>
            </p:cNvPr>
            <p:cNvSpPr>
              <a:spLocks noChangeArrowheads="1"/>
            </p:cNvSpPr>
            <p:nvPr/>
          </p:nvSpPr>
          <p:spPr bwMode="auto">
            <a:xfrm>
              <a:off x="3540067" y="2561227"/>
              <a:ext cx="89433" cy="157841"/>
            </a:xfrm>
            <a:custGeom>
              <a:avLst/>
              <a:gdLst>
                <a:gd name="T0" fmla="*/ 852714 w 2740"/>
                <a:gd name="T1" fmla="*/ 0 h 4831"/>
                <a:gd name="T2" fmla="*/ 852714 w 2740"/>
                <a:gd name="T3" fmla="*/ 0 h 4831"/>
                <a:gd name="T4" fmla="*/ 133124 w 2740"/>
                <a:gd name="T5" fmla="*/ 0 h 4831"/>
                <a:gd name="T6" fmla="*/ 0 w 2740"/>
                <a:gd name="T7" fmla="*/ 132897 h 4831"/>
                <a:gd name="T8" fmla="*/ 0 w 2740"/>
                <a:gd name="T9" fmla="*/ 1606643 h 4831"/>
                <a:gd name="T10" fmla="*/ 133124 w 2740"/>
                <a:gd name="T11" fmla="*/ 1739540 h 4831"/>
                <a:gd name="T12" fmla="*/ 852714 w 2740"/>
                <a:gd name="T13" fmla="*/ 1739540 h 4831"/>
                <a:gd name="T14" fmla="*/ 985478 w 2740"/>
                <a:gd name="T15" fmla="*/ 1606643 h 4831"/>
                <a:gd name="T16" fmla="*/ 985478 w 2740"/>
                <a:gd name="T17" fmla="*/ 132897 h 4831"/>
                <a:gd name="T18" fmla="*/ 852714 w 2740"/>
                <a:gd name="T19" fmla="*/ 0 h 4831"/>
                <a:gd name="T20" fmla="*/ 387499 w 2740"/>
                <a:gd name="T21" fmla="*/ 99762 h 4831"/>
                <a:gd name="T22" fmla="*/ 387499 w 2740"/>
                <a:gd name="T23" fmla="*/ 99762 h 4831"/>
                <a:gd name="T24" fmla="*/ 597979 w 2740"/>
                <a:gd name="T25" fmla="*/ 99762 h 4831"/>
                <a:gd name="T26" fmla="*/ 597979 w 2740"/>
                <a:gd name="T27" fmla="*/ 122092 h 4831"/>
                <a:gd name="T28" fmla="*/ 387499 w 2740"/>
                <a:gd name="T29" fmla="*/ 122092 h 4831"/>
                <a:gd name="T30" fmla="*/ 387499 w 2740"/>
                <a:gd name="T31" fmla="*/ 99762 h 4831"/>
                <a:gd name="T32" fmla="*/ 492919 w 2740"/>
                <a:gd name="T33" fmla="*/ 1667509 h 4831"/>
                <a:gd name="T34" fmla="*/ 492919 w 2740"/>
                <a:gd name="T35" fmla="*/ 1667509 h 4831"/>
                <a:gd name="T36" fmla="*/ 437511 w 2740"/>
                <a:gd name="T37" fmla="*/ 1612046 h 4831"/>
                <a:gd name="T38" fmla="*/ 492919 w 2740"/>
                <a:gd name="T39" fmla="*/ 1556582 h 4831"/>
                <a:gd name="T40" fmla="*/ 547968 w 2740"/>
                <a:gd name="T41" fmla="*/ 1612046 h 4831"/>
                <a:gd name="T42" fmla="*/ 492919 w 2740"/>
                <a:gd name="T43" fmla="*/ 1667509 h 4831"/>
                <a:gd name="T44" fmla="*/ 874661 w 2740"/>
                <a:gd name="T45" fmla="*/ 1462582 h 4831"/>
                <a:gd name="T46" fmla="*/ 874661 w 2740"/>
                <a:gd name="T47" fmla="*/ 1462582 h 4831"/>
                <a:gd name="T48" fmla="*/ 110817 w 2740"/>
                <a:gd name="T49" fmla="*/ 1462582 h 4831"/>
                <a:gd name="T50" fmla="*/ 110817 w 2740"/>
                <a:gd name="T51" fmla="*/ 254988 h 4831"/>
                <a:gd name="T52" fmla="*/ 874661 w 2740"/>
                <a:gd name="T53" fmla="*/ 254988 h 4831"/>
                <a:gd name="T54" fmla="*/ 874661 w 2740"/>
                <a:gd name="T55" fmla="*/ 1462582 h 483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740" h="4831">
                  <a:moveTo>
                    <a:pt x="2370" y="0"/>
                  </a:moveTo>
                  <a:lnTo>
                    <a:pt x="2370" y="0"/>
                  </a:lnTo>
                  <a:cubicBezTo>
                    <a:pt x="370" y="0"/>
                    <a:pt x="370" y="0"/>
                    <a:pt x="370" y="0"/>
                  </a:cubicBezTo>
                  <a:cubicBezTo>
                    <a:pt x="170" y="0"/>
                    <a:pt x="0" y="169"/>
                    <a:pt x="0" y="369"/>
                  </a:cubicBezTo>
                  <a:cubicBezTo>
                    <a:pt x="0" y="4461"/>
                    <a:pt x="0" y="4461"/>
                    <a:pt x="0" y="4461"/>
                  </a:cubicBezTo>
                  <a:cubicBezTo>
                    <a:pt x="0" y="4661"/>
                    <a:pt x="170" y="4830"/>
                    <a:pt x="370" y="4830"/>
                  </a:cubicBezTo>
                  <a:cubicBezTo>
                    <a:pt x="2370" y="4830"/>
                    <a:pt x="2370" y="4830"/>
                    <a:pt x="2370" y="4830"/>
                  </a:cubicBezTo>
                  <a:cubicBezTo>
                    <a:pt x="2570" y="4830"/>
                    <a:pt x="2739" y="4661"/>
                    <a:pt x="2739" y="4461"/>
                  </a:cubicBezTo>
                  <a:cubicBezTo>
                    <a:pt x="2739" y="369"/>
                    <a:pt x="2739" y="369"/>
                    <a:pt x="2739" y="369"/>
                  </a:cubicBezTo>
                  <a:cubicBezTo>
                    <a:pt x="2739" y="169"/>
                    <a:pt x="2570" y="0"/>
                    <a:pt x="2370" y="0"/>
                  </a:cubicBezTo>
                  <a:close/>
                  <a:moveTo>
                    <a:pt x="1077" y="277"/>
                  </a:moveTo>
                  <a:lnTo>
                    <a:pt x="1077" y="277"/>
                  </a:lnTo>
                  <a:cubicBezTo>
                    <a:pt x="1662" y="277"/>
                    <a:pt x="1662" y="277"/>
                    <a:pt x="1662" y="277"/>
                  </a:cubicBezTo>
                  <a:cubicBezTo>
                    <a:pt x="1662" y="339"/>
                    <a:pt x="1662" y="339"/>
                    <a:pt x="1662" y="339"/>
                  </a:cubicBezTo>
                  <a:cubicBezTo>
                    <a:pt x="1077" y="339"/>
                    <a:pt x="1077" y="339"/>
                    <a:pt x="1077" y="339"/>
                  </a:cubicBezTo>
                  <a:lnTo>
                    <a:pt x="1077" y="277"/>
                  </a:lnTo>
                  <a:close/>
                  <a:moveTo>
                    <a:pt x="1370" y="4630"/>
                  </a:moveTo>
                  <a:lnTo>
                    <a:pt x="1370" y="4630"/>
                  </a:lnTo>
                  <a:cubicBezTo>
                    <a:pt x="1277" y="4630"/>
                    <a:pt x="1216" y="4568"/>
                    <a:pt x="1216" y="4476"/>
                  </a:cubicBezTo>
                  <a:cubicBezTo>
                    <a:pt x="1216" y="4399"/>
                    <a:pt x="1277" y="4322"/>
                    <a:pt x="1370" y="4322"/>
                  </a:cubicBezTo>
                  <a:cubicBezTo>
                    <a:pt x="1462" y="4322"/>
                    <a:pt x="1523" y="4399"/>
                    <a:pt x="1523" y="4476"/>
                  </a:cubicBezTo>
                  <a:cubicBezTo>
                    <a:pt x="1523" y="4568"/>
                    <a:pt x="1462" y="4630"/>
                    <a:pt x="1370" y="4630"/>
                  </a:cubicBezTo>
                  <a:close/>
                  <a:moveTo>
                    <a:pt x="2431" y="4061"/>
                  </a:moveTo>
                  <a:lnTo>
                    <a:pt x="2431" y="4061"/>
                  </a:lnTo>
                  <a:cubicBezTo>
                    <a:pt x="308" y="4061"/>
                    <a:pt x="308" y="4061"/>
                    <a:pt x="308" y="4061"/>
                  </a:cubicBezTo>
                  <a:cubicBezTo>
                    <a:pt x="308" y="708"/>
                    <a:pt x="308" y="708"/>
                    <a:pt x="308" y="708"/>
                  </a:cubicBezTo>
                  <a:cubicBezTo>
                    <a:pt x="2431" y="708"/>
                    <a:pt x="2431" y="708"/>
                    <a:pt x="2431" y="708"/>
                  </a:cubicBezTo>
                  <a:lnTo>
                    <a:pt x="2431" y="4061"/>
                  </a:lnTo>
                  <a:close/>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609555"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71" name="Freeform 4">
              <a:extLst>
                <a:ext uri="{FF2B5EF4-FFF2-40B4-BE49-F238E27FC236}">
                  <a16:creationId xmlns:a16="http://schemas.microsoft.com/office/drawing/2014/main" id="{9088AAA4-34F9-F349-B53E-034E76C1AE51}"/>
                </a:ext>
              </a:extLst>
            </p:cNvPr>
            <p:cNvSpPr>
              <a:spLocks noChangeArrowheads="1"/>
            </p:cNvSpPr>
            <p:nvPr/>
          </p:nvSpPr>
          <p:spPr bwMode="auto">
            <a:xfrm>
              <a:off x="3648511" y="2694873"/>
              <a:ext cx="207094" cy="17138"/>
            </a:xfrm>
            <a:custGeom>
              <a:avLst/>
              <a:gdLst>
                <a:gd name="T0" fmla="*/ 0 w 6339"/>
                <a:gd name="T1" fmla="*/ 0 h 523"/>
                <a:gd name="T2" fmla="*/ 0 w 6339"/>
                <a:gd name="T3" fmla="*/ 188551 h 523"/>
                <a:gd name="T4" fmla="*/ 2282465 w 6339"/>
                <a:gd name="T5" fmla="*/ 188551 h 523"/>
                <a:gd name="T6" fmla="*/ 2282465 w 6339"/>
                <a:gd name="T7" fmla="*/ 0 h 523"/>
                <a:gd name="T8" fmla="*/ 0 w 6339"/>
                <a:gd name="T9" fmla="*/ 0 h 5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9" h="523">
                  <a:moveTo>
                    <a:pt x="0" y="0"/>
                  </a:moveTo>
                  <a:lnTo>
                    <a:pt x="0" y="522"/>
                  </a:lnTo>
                  <a:lnTo>
                    <a:pt x="6338" y="522"/>
                  </a:lnTo>
                  <a:lnTo>
                    <a:pt x="6338" y="0"/>
                  </a:lnTo>
                  <a:lnTo>
                    <a:pt x="0" y="0"/>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609555"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72" name="Freeform 5">
              <a:extLst>
                <a:ext uri="{FF2B5EF4-FFF2-40B4-BE49-F238E27FC236}">
                  <a16:creationId xmlns:a16="http://schemas.microsoft.com/office/drawing/2014/main" id="{DE80C2DF-E976-A848-BA78-70592FC8CE20}"/>
                </a:ext>
              </a:extLst>
            </p:cNvPr>
            <p:cNvSpPr>
              <a:spLocks noChangeArrowheads="1"/>
            </p:cNvSpPr>
            <p:nvPr/>
          </p:nvSpPr>
          <p:spPr bwMode="auto">
            <a:xfrm>
              <a:off x="3589321" y="2508949"/>
              <a:ext cx="359750" cy="69847"/>
            </a:xfrm>
            <a:custGeom>
              <a:avLst/>
              <a:gdLst>
                <a:gd name="T0" fmla="*/ 182888 w 11015"/>
                <a:gd name="T1" fmla="*/ 277034 h 2140"/>
                <a:gd name="T2" fmla="*/ 182888 w 11015"/>
                <a:gd name="T3" fmla="*/ 277034 h 2140"/>
                <a:gd name="T4" fmla="*/ 271452 w 11015"/>
                <a:gd name="T5" fmla="*/ 188167 h 2140"/>
                <a:gd name="T6" fmla="*/ 3688363 w 11015"/>
                <a:gd name="T7" fmla="*/ 188167 h 2140"/>
                <a:gd name="T8" fmla="*/ 3776927 w 11015"/>
                <a:gd name="T9" fmla="*/ 277034 h 2140"/>
                <a:gd name="T10" fmla="*/ 3776927 w 11015"/>
                <a:gd name="T11" fmla="*/ 769578 h 2140"/>
                <a:gd name="T12" fmla="*/ 3965215 w 11015"/>
                <a:gd name="T13" fmla="*/ 769578 h 2140"/>
                <a:gd name="T14" fmla="*/ 3965215 w 11015"/>
                <a:gd name="T15" fmla="*/ 277034 h 2140"/>
                <a:gd name="T16" fmla="*/ 3688363 w 11015"/>
                <a:gd name="T17" fmla="*/ 0 h 2140"/>
                <a:gd name="T18" fmla="*/ 271452 w 11015"/>
                <a:gd name="T19" fmla="*/ 0 h 2140"/>
                <a:gd name="T20" fmla="*/ 0 w 11015"/>
                <a:gd name="T21" fmla="*/ 277034 h 2140"/>
                <a:gd name="T22" fmla="*/ 0 w 11015"/>
                <a:gd name="T23" fmla="*/ 382091 h 2140"/>
                <a:gd name="T24" fmla="*/ 182888 w 11015"/>
                <a:gd name="T25" fmla="*/ 382091 h 2140"/>
                <a:gd name="T26" fmla="*/ 182888 w 11015"/>
                <a:gd name="T27" fmla="*/ 277034 h 21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1015" h="2140">
                  <a:moveTo>
                    <a:pt x="508" y="770"/>
                  </a:moveTo>
                  <a:lnTo>
                    <a:pt x="508" y="770"/>
                  </a:lnTo>
                  <a:cubicBezTo>
                    <a:pt x="508" y="631"/>
                    <a:pt x="616" y="523"/>
                    <a:pt x="754" y="523"/>
                  </a:cubicBezTo>
                  <a:cubicBezTo>
                    <a:pt x="10245" y="523"/>
                    <a:pt x="10245" y="523"/>
                    <a:pt x="10245" y="523"/>
                  </a:cubicBezTo>
                  <a:cubicBezTo>
                    <a:pt x="10384" y="523"/>
                    <a:pt x="10491" y="631"/>
                    <a:pt x="10491" y="770"/>
                  </a:cubicBezTo>
                  <a:cubicBezTo>
                    <a:pt x="10491" y="2139"/>
                    <a:pt x="10491" y="2139"/>
                    <a:pt x="10491" y="2139"/>
                  </a:cubicBezTo>
                  <a:cubicBezTo>
                    <a:pt x="11014" y="2139"/>
                    <a:pt x="11014" y="2139"/>
                    <a:pt x="11014" y="2139"/>
                  </a:cubicBezTo>
                  <a:cubicBezTo>
                    <a:pt x="11014" y="770"/>
                    <a:pt x="11014" y="770"/>
                    <a:pt x="11014" y="770"/>
                  </a:cubicBezTo>
                  <a:cubicBezTo>
                    <a:pt x="11014" y="339"/>
                    <a:pt x="10676" y="0"/>
                    <a:pt x="10245" y="0"/>
                  </a:cubicBezTo>
                  <a:cubicBezTo>
                    <a:pt x="754" y="0"/>
                    <a:pt x="754" y="0"/>
                    <a:pt x="754" y="0"/>
                  </a:cubicBezTo>
                  <a:cubicBezTo>
                    <a:pt x="338" y="0"/>
                    <a:pt x="0" y="339"/>
                    <a:pt x="0" y="770"/>
                  </a:cubicBezTo>
                  <a:cubicBezTo>
                    <a:pt x="0" y="1062"/>
                    <a:pt x="0" y="1062"/>
                    <a:pt x="0" y="1062"/>
                  </a:cubicBezTo>
                  <a:cubicBezTo>
                    <a:pt x="508" y="1062"/>
                    <a:pt x="508" y="1062"/>
                    <a:pt x="508" y="1062"/>
                  </a:cubicBezTo>
                  <a:lnTo>
                    <a:pt x="508" y="770"/>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609555"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73" name="Freeform 6">
              <a:extLst>
                <a:ext uri="{FF2B5EF4-FFF2-40B4-BE49-F238E27FC236}">
                  <a16:creationId xmlns:a16="http://schemas.microsoft.com/office/drawing/2014/main" id="{276CC00F-FC39-7D4C-AE8D-A7EA02563CA4}"/>
                </a:ext>
              </a:extLst>
            </p:cNvPr>
            <p:cNvSpPr>
              <a:spLocks noChangeArrowheads="1"/>
            </p:cNvSpPr>
            <p:nvPr/>
          </p:nvSpPr>
          <p:spPr bwMode="auto">
            <a:xfrm>
              <a:off x="3538483" y="2734477"/>
              <a:ext cx="316977" cy="29235"/>
            </a:xfrm>
            <a:custGeom>
              <a:avLst/>
              <a:gdLst>
                <a:gd name="T0" fmla="*/ 155125 w 9708"/>
                <a:gd name="T1" fmla="*/ 0 h 893"/>
                <a:gd name="T2" fmla="*/ 155125 w 9708"/>
                <a:gd name="T3" fmla="*/ 0 h 893"/>
                <a:gd name="T4" fmla="*/ 0 w 9708"/>
                <a:gd name="T5" fmla="*/ 160951 h 893"/>
                <a:gd name="T6" fmla="*/ 155125 w 9708"/>
                <a:gd name="T7" fmla="*/ 321902 h 893"/>
                <a:gd name="T8" fmla="*/ 3493727 w 9708"/>
                <a:gd name="T9" fmla="*/ 321902 h 893"/>
                <a:gd name="T10" fmla="*/ 3493727 w 9708"/>
                <a:gd name="T11" fmla="*/ 0 h 893"/>
                <a:gd name="T12" fmla="*/ 155125 w 9708"/>
                <a:gd name="T13" fmla="*/ 0 h 89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708" h="893">
                  <a:moveTo>
                    <a:pt x="431" y="0"/>
                  </a:moveTo>
                  <a:lnTo>
                    <a:pt x="431" y="0"/>
                  </a:lnTo>
                  <a:cubicBezTo>
                    <a:pt x="185" y="0"/>
                    <a:pt x="0" y="200"/>
                    <a:pt x="0" y="446"/>
                  </a:cubicBezTo>
                  <a:cubicBezTo>
                    <a:pt x="0" y="692"/>
                    <a:pt x="185" y="892"/>
                    <a:pt x="431" y="892"/>
                  </a:cubicBezTo>
                  <a:cubicBezTo>
                    <a:pt x="9707" y="892"/>
                    <a:pt x="9707" y="892"/>
                    <a:pt x="9707" y="892"/>
                  </a:cubicBezTo>
                  <a:cubicBezTo>
                    <a:pt x="9707" y="0"/>
                    <a:pt x="9707" y="0"/>
                    <a:pt x="9707" y="0"/>
                  </a:cubicBezTo>
                  <a:lnTo>
                    <a:pt x="431" y="0"/>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609555"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grpSp>
      <p:sp>
        <p:nvSpPr>
          <p:cNvPr id="274" name="TextBox 273">
            <a:extLst>
              <a:ext uri="{FF2B5EF4-FFF2-40B4-BE49-F238E27FC236}">
                <a16:creationId xmlns:a16="http://schemas.microsoft.com/office/drawing/2014/main" id="{C38BEA75-41A0-0141-94FB-526C65B6D94B}"/>
              </a:ext>
            </a:extLst>
          </p:cNvPr>
          <p:cNvSpPr txBox="1"/>
          <p:nvPr/>
        </p:nvSpPr>
        <p:spPr>
          <a:xfrm>
            <a:off x="531826" y="4353687"/>
            <a:ext cx="1263789" cy="246221"/>
          </a:xfrm>
          <a:prstGeom prst="rect">
            <a:avLst/>
          </a:prstGeom>
          <a:noFill/>
        </p:spPr>
        <p:txBody>
          <a:bodyPr wrap="square" rtlCol="0">
            <a:spAutoFit/>
          </a:bodyPr>
          <a:lstStyle/>
          <a:p>
            <a:pPr algn="ctr" defTabSz="457189" fontAlgn="base">
              <a:spcBef>
                <a:spcPct val="0"/>
              </a:spcBef>
              <a:spcAft>
                <a:spcPct val="0"/>
              </a:spcAft>
              <a:defRPr/>
            </a:pPr>
            <a:r>
              <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Remote users</a:t>
            </a:r>
          </a:p>
        </p:txBody>
      </p:sp>
      <p:pic>
        <p:nvPicPr>
          <p:cNvPr id="276" name="Picture 275">
            <a:extLst>
              <a:ext uri="{FF2B5EF4-FFF2-40B4-BE49-F238E27FC236}">
                <a16:creationId xmlns:a16="http://schemas.microsoft.com/office/drawing/2014/main" id="{40D3D29C-ED3C-A144-ADA7-3507E6BAED6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76427" y="3597156"/>
            <a:ext cx="360000" cy="360000"/>
          </a:xfrm>
          <a:prstGeom prst="rect">
            <a:avLst/>
          </a:prstGeom>
        </p:spPr>
      </p:pic>
      <p:pic>
        <p:nvPicPr>
          <p:cNvPr id="277" name="Picture 276">
            <a:extLst>
              <a:ext uri="{FF2B5EF4-FFF2-40B4-BE49-F238E27FC236}">
                <a16:creationId xmlns:a16="http://schemas.microsoft.com/office/drawing/2014/main" id="{CF2073E6-A324-604A-A947-30A51120438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658573" y="4935772"/>
            <a:ext cx="360000" cy="360000"/>
          </a:xfrm>
          <a:prstGeom prst="rect">
            <a:avLst/>
          </a:prstGeom>
        </p:spPr>
      </p:pic>
      <p:pic>
        <p:nvPicPr>
          <p:cNvPr id="278" name="Picture 277">
            <a:extLst>
              <a:ext uri="{FF2B5EF4-FFF2-40B4-BE49-F238E27FC236}">
                <a16:creationId xmlns:a16="http://schemas.microsoft.com/office/drawing/2014/main" id="{62D502F6-F70A-8C47-9792-DA907222812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028781" y="4432749"/>
            <a:ext cx="360000" cy="360000"/>
          </a:xfrm>
          <a:prstGeom prst="rect">
            <a:avLst/>
          </a:prstGeom>
        </p:spPr>
      </p:pic>
      <p:pic>
        <p:nvPicPr>
          <p:cNvPr id="279" name="Picture 278">
            <a:extLst>
              <a:ext uri="{FF2B5EF4-FFF2-40B4-BE49-F238E27FC236}">
                <a16:creationId xmlns:a16="http://schemas.microsoft.com/office/drawing/2014/main" id="{CEA8C776-7FE1-AE4B-8967-CDC99749172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398819" y="4935772"/>
            <a:ext cx="360000" cy="360000"/>
          </a:xfrm>
          <a:prstGeom prst="rect">
            <a:avLst/>
          </a:prstGeom>
        </p:spPr>
      </p:pic>
      <p:sp>
        <p:nvSpPr>
          <p:cNvPr id="280" name="Freeform 279">
            <a:extLst>
              <a:ext uri="{FF2B5EF4-FFF2-40B4-BE49-F238E27FC236}">
                <a16:creationId xmlns:a16="http://schemas.microsoft.com/office/drawing/2014/main" id="{3C51CF81-A461-F946-90D3-228A8363E116}"/>
              </a:ext>
            </a:extLst>
          </p:cNvPr>
          <p:cNvSpPr>
            <a:spLocks/>
          </p:cNvSpPr>
          <p:nvPr/>
        </p:nvSpPr>
        <p:spPr bwMode="auto">
          <a:xfrm flipH="1">
            <a:off x="5127539" y="2397238"/>
            <a:ext cx="1252728" cy="668599"/>
          </a:xfrm>
          <a:custGeom>
            <a:avLst/>
            <a:gdLst>
              <a:gd name="connsiteX0" fmla="*/ 733902 w 1210718"/>
              <a:gd name="connsiteY0" fmla="*/ 0 h 599742"/>
              <a:gd name="connsiteX1" fmla="*/ 882562 w 1210718"/>
              <a:gd name="connsiteY1" fmla="*/ 0 h 599742"/>
              <a:gd name="connsiteX2" fmla="*/ 1015293 w 1210718"/>
              <a:gd name="connsiteY2" fmla="*/ 127622 h 599742"/>
              <a:gd name="connsiteX3" fmla="*/ 1006776 w 1210718"/>
              <a:gd name="connsiteY3" fmla="*/ 170827 h 599742"/>
              <a:gd name="connsiteX4" fmla="*/ 1046952 w 1210718"/>
              <a:gd name="connsiteY4" fmla="*/ 178771 h 599742"/>
              <a:gd name="connsiteX5" fmla="*/ 1127605 w 1210718"/>
              <a:gd name="connsiteY5" fmla="*/ 301408 h 599742"/>
              <a:gd name="connsiteX6" fmla="*/ 1118155 w 1210718"/>
              <a:gd name="connsiteY6" fmla="*/ 346509 h 599742"/>
              <a:gd name="connsiteX7" fmla="*/ 1132310 w 1210718"/>
              <a:gd name="connsiteY7" fmla="*/ 349483 h 599742"/>
              <a:gd name="connsiteX8" fmla="*/ 1210718 w 1210718"/>
              <a:gd name="connsiteY8" fmla="*/ 472120 h 599742"/>
              <a:gd name="connsiteX9" fmla="*/ 1083274 w 1210718"/>
              <a:gd name="connsiteY9" fmla="*/ 599742 h 599742"/>
              <a:gd name="connsiteX10" fmla="*/ 127444 w 1210718"/>
              <a:gd name="connsiteY10" fmla="*/ 599742 h 599742"/>
              <a:gd name="connsiteX11" fmla="*/ 0 w 1210718"/>
              <a:gd name="connsiteY11" fmla="*/ 472120 h 599742"/>
              <a:gd name="connsiteX12" fmla="*/ 127444 w 1210718"/>
              <a:gd name="connsiteY12" fmla="*/ 339180 h 599742"/>
              <a:gd name="connsiteX13" fmla="*/ 275151 w 1210718"/>
              <a:gd name="connsiteY13" fmla="*/ 339180 h 599742"/>
              <a:gd name="connsiteX14" fmla="*/ 267300 w 1210718"/>
              <a:gd name="connsiteY14" fmla="*/ 301408 h 599742"/>
              <a:gd name="connsiteX15" fmla="*/ 394753 w 1210718"/>
              <a:gd name="connsiteY15" fmla="*/ 168468 h 599742"/>
              <a:gd name="connsiteX16" fmla="*/ 592829 w 1210718"/>
              <a:gd name="connsiteY16" fmla="*/ 168468 h 599742"/>
              <a:gd name="connsiteX17" fmla="*/ 614468 w 1210718"/>
              <a:gd name="connsiteY17" fmla="*/ 168468 h 599742"/>
              <a:gd name="connsiteX18" fmla="*/ 606480 w 1210718"/>
              <a:gd name="connsiteY18" fmla="*/ 127622 h 599742"/>
              <a:gd name="connsiteX19" fmla="*/ 733902 w 1210718"/>
              <a:gd name="connsiteY19" fmla="*/ 0 h 59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0718" h="599742">
                <a:moveTo>
                  <a:pt x="733902" y="0"/>
                </a:moveTo>
                <a:cubicBezTo>
                  <a:pt x="882562" y="0"/>
                  <a:pt x="882562" y="0"/>
                  <a:pt x="882562" y="0"/>
                </a:cubicBezTo>
                <a:cubicBezTo>
                  <a:pt x="956891" y="0"/>
                  <a:pt x="1015293" y="58493"/>
                  <a:pt x="1015293" y="127622"/>
                </a:cubicBezTo>
                <a:lnTo>
                  <a:pt x="1006776" y="170827"/>
                </a:lnTo>
                <a:lnTo>
                  <a:pt x="1046952" y="178771"/>
                </a:lnTo>
                <a:cubicBezTo>
                  <a:pt x="1094746" y="198712"/>
                  <a:pt x="1127605" y="245573"/>
                  <a:pt x="1127605" y="301408"/>
                </a:cubicBezTo>
                <a:lnTo>
                  <a:pt x="1118155" y="346509"/>
                </a:lnTo>
                <a:lnTo>
                  <a:pt x="1132310" y="349483"/>
                </a:lnTo>
                <a:cubicBezTo>
                  <a:pt x="1177862" y="369424"/>
                  <a:pt x="1210718" y="416285"/>
                  <a:pt x="1210718" y="472120"/>
                </a:cubicBezTo>
                <a:cubicBezTo>
                  <a:pt x="1210718" y="541249"/>
                  <a:pt x="1152306" y="599742"/>
                  <a:pt x="1083274" y="599742"/>
                </a:cubicBezTo>
                <a:cubicBezTo>
                  <a:pt x="127444" y="599742"/>
                  <a:pt x="127444" y="599742"/>
                  <a:pt x="127444" y="599742"/>
                </a:cubicBezTo>
                <a:cubicBezTo>
                  <a:pt x="58412" y="599742"/>
                  <a:pt x="0" y="541249"/>
                  <a:pt x="0" y="472120"/>
                </a:cubicBezTo>
                <a:cubicBezTo>
                  <a:pt x="0" y="397674"/>
                  <a:pt x="58412" y="339180"/>
                  <a:pt x="127444" y="339180"/>
                </a:cubicBezTo>
                <a:lnTo>
                  <a:pt x="275151" y="339180"/>
                </a:lnTo>
                <a:lnTo>
                  <a:pt x="267300" y="301408"/>
                </a:lnTo>
                <a:cubicBezTo>
                  <a:pt x="267300" y="226961"/>
                  <a:pt x="325716" y="168468"/>
                  <a:pt x="394753" y="168468"/>
                </a:cubicBezTo>
                <a:cubicBezTo>
                  <a:pt x="469764" y="168468"/>
                  <a:pt x="535399" y="168468"/>
                  <a:pt x="592829" y="168468"/>
                </a:cubicBezTo>
                <a:lnTo>
                  <a:pt x="614468" y="168468"/>
                </a:lnTo>
                <a:lnTo>
                  <a:pt x="606480" y="127622"/>
                </a:lnTo>
                <a:cubicBezTo>
                  <a:pt x="606480" y="58493"/>
                  <a:pt x="664882" y="0"/>
                  <a:pt x="733902" y="0"/>
                </a:cubicBezTo>
                <a:close/>
              </a:path>
            </a:pathLst>
          </a:custGeom>
          <a:solidFill>
            <a:srgbClr val="EDF1F7"/>
          </a:solidFill>
          <a:ln>
            <a:noFill/>
          </a:ln>
        </p:spPr>
        <p:txBody>
          <a:bodyPr vert="horz" wrap="square" lIns="121920" tIns="60960" rIns="243840" bIns="60960" numCol="1" anchor="t" anchorCtr="0" compatLnSpc="1">
            <a:prstTxWarp prst="textNoShape">
              <a:avLst/>
            </a:prstTxWarp>
            <a:noAutofit/>
          </a:bodyPr>
          <a:lstStyle/>
          <a:p>
            <a:pPr algn="ctr" defTabSz="609585" fontAlgn="base">
              <a:spcBef>
                <a:spcPct val="0"/>
              </a:spcBef>
              <a:spcAft>
                <a:spcPct val="0"/>
              </a:spcAft>
              <a:defRPr/>
            </a:pPr>
            <a:endPar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endParaRPr>
          </a:p>
          <a:p>
            <a:pPr algn="ctr" defTabSz="609585" fontAlgn="base">
              <a:spcBef>
                <a:spcPct val="0"/>
              </a:spcBef>
              <a:spcAft>
                <a:spcPct val="0"/>
              </a:spcAft>
              <a:defRPr/>
            </a:pPr>
            <a:endParaRPr lang="en-US" sz="4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endParaRPr>
          </a:p>
          <a:p>
            <a:pPr algn="ctr" defTabSz="609585" fontAlgn="base">
              <a:spcBef>
                <a:spcPct val="0"/>
              </a:spcBef>
              <a:spcAft>
                <a:spcPct val="0"/>
              </a:spcAft>
              <a:defRPr/>
            </a:pPr>
            <a:r>
              <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Stealthwatch Cloud</a:t>
            </a:r>
          </a:p>
        </p:txBody>
      </p:sp>
      <p:sp>
        <p:nvSpPr>
          <p:cNvPr id="281" name="Freeform 280">
            <a:extLst>
              <a:ext uri="{FF2B5EF4-FFF2-40B4-BE49-F238E27FC236}">
                <a16:creationId xmlns:a16="http://schemas.microsoft.com/office/drawing/2014/main" id="{E47CFD5D-2A68-5348-AF7B-96634AD9AA36}"/>
              </a:ext>
            </a:extLst>
          </p:cNvPr>
          <p:cNvSpPr>
            <a:spLocks/>
          </p:cNvSpPr>
          <p:nvPr/>
        </p:nvSpPr>
        <p:spPr bwMode="auto">
          <a:xfrm flipH="1">
            <a:off x="5134698" y="3119979"/>
            <a:ext cx="1251653" cy="615783"/>
          </a:xfrm>
          <a:custGeom>
            <a:avLst/>
            <a:gdLst>
              <a:gd name="connsiteX0" fmla="*/ 733902 w 1210718"/>
              <a:gd name="connsiteY0" fmla="*/ 0 h 599742"/>
              <a:gd name="connsiteX1" fmla="*/ 882562 w 1210718"/>
              <a:gd name="connsiteY1" fmla="*/ 0 h 599742"/>
              <a:gd name="connsiteX2" fmla="*/ 1015293 w 1210718"/>
              <a:gd name="connsiteY2" fmla="*/ 127622 h 599742"/>
              <a:gd name="connsiteX3" fmla="*/ 1006776 w 1210718"/>
              <a:gd name="connsiteY3" fmla="*/ 170827 h 599742"/>
              <a:gd name="connsiteX4" fmla="*/ 1046952 w 1210718"/>
              <a:gd name="connsiteY4" fmla="*/ 178771 h 599742"/>
              <a:gd name="connsiteX5" fmla="*/ 1127605 w 1210718"/>
              <a:gd name="connsiteY5" fmla="*/ 301408 h 599742"/>
              <a:gd name="connsiteX6" fmla="*/ 1118155 w 1210718"/>
              <a:gd name="connsiteY6" fmla="*/ 346509 h 599742"/>
              <a:gd name="connsiteX7" fmla="*/ 1132310 w 1210718"/>
              <a:gd name="connsiteY7" fmla="*/ 349483 h 599742"/>
              <a:gd name="connsiteX8" fmla="*/ 1210718 w 1210718"/>
              <a:gd name="connsiteY8" fmla="*/ 472120 h 599742"/>
              <a:gd name="connsiteX9" fmla="*/ 1083274 w 1210718"/>
              <a:gd name="connsiteY9" fmla="*/ 599742 h 599742"/>
              <a:gd name="connsiteX10" fmla="*/ 127444 w 1210718"/>
              <a:gd name="connsiteY10" fmla="*/ 599742 h 599742"/>
              <a:gd name="connsiteX11" fmla="*/ 0 w 1210718"/>
              <a:gd name="connsiteY11" fmla="*/ 472120 h 599742"/>
              <a:gd name="connsiteX12" fmla="*/ 127444 w 1210718"/>
              <a:gd name="connsiteY12" fmla="*/ 339180 h 599742"/>
              <a:gd name="connsiteX13" fmla="*/ 275151 w 1210718"/>
              <a:gd name="connsiteY13" fmla="*/ 339180 h 599742"/>
              <a:gd name="connsiteX14" fmla="*/ 267300 w 1210718"/>
              <a:gd name="connsiteY14" fmla="*/ 301408 h 599742"/>
              <a:gd name="connsiteX15" fmla="*/ 394753 w 1210718"/>
              <a:gd name="connsiteY15" fmla="*/ 168468 h 599742"/>
              <a:gd name="connsiteX16" fmla="*/ 592829 w 1210718"/>
              <a:gd name="connsiteY16" fmla="*/ 168468 h 599742"/>
              <a:gd name="connsiteX17" fmla="*/ 614468 w 1210718"/>
              <a:gd name="connsiteY17" fmla="*/ 168468 h 599742"/>
              <a:gd name="connsiteX18" fmla="*/ 606480 w 1210718"/>
              <a:gd name="connsiteY18" fmla="*/ 127622 h 599742"/>
              <a:gd name="connsiteX19" fmla="*/ 733902 w 1210718"/>
              <a:gd name="connsiteY19" fmla="*/ 0 h 59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0718" h="599742">
                <a:moveTo>
                  <a:pt x="733902" y="0"/>
                </a:moveTo>
                <a:cubicBezTo>
                  <a:pt x="882562" y="0"/>
                  <a:pt x="882562" y="0"/>
                  <a:pt x="882562" y="0"/>
                </a:cubicBezTo>
                <a:cubicBezTo>
                  <a:pt x="956891" y="0"/>
                  <a:pt x="1015293" y="58493"/>
                  <a:pt x="1015293" y="127622"/>
                </a:cubicBezTo>
                <a:lnTo>
                  <a:pt x="1006776" y="170827"/>
                </a:lnTo>
                <a:lnTo>
                  <a:pt x="1046952" y="178771"/>
                </a:lnTo>
                <a:cubicBezTo>
                  <a:pt x="1094746" y="198712"/>
                  <a:pt x="1127605" y="245573"/>
                  <a:pt x="1127605" y="301408"/>
                </a:cubicBezTo>
                <a:lnTo>
                  <a:pt x="1118155" y="346509"/>
                </a:lnTo>
                <a:lnTo>
                  <a:pt x="1132310" y="349483"/>
                </a:lnTo>
                <a:cubicBezTo>
                  <a:pt x="1177862" y="369424"/>
                  <a:pt x="1210718" y="416285"/>
                  <a:pt x="1210718" y="472120"/>
                </a:cubicBezTo>
                <a:cubicBezTo>
                  <a:pt x="1210718" y="541249"/>
                  <a:pt x="1152306" y="599742"/>
                  <a:pt x="1083274" y="599742"/>
                </a:cubicBezTo>
                <a:cubicBezTo>
                  <a:pt x="127444" y="599742"/>
                  <a:pt x="127444" y="599742"/>
                  <a:pt x="127444" y="599742"/>
                </a:cubicBezTo>
                <a:cubicBezTo>
                  <a:pt x="58412" y="599742"/>
                  <a:pt x="0" y="541249"/>
                  <a:pt x="0" y="472120"/>
                </a:cubicBezTo>
                <a:cubicBezTo>
                  <a:pt x="0" y="397674"/>
                  <a:pt x="58412" y="339180"/>
                  <a:pt x="127444" y="339180"/>
                </a:cubicBezTo>
                <a:lnTo>
                  <a:pt x="275151" y="339180"/>
                </a:lnTo>
                <a:lnTo>
                  <a:pt x="267300" y="301408"/>
                </a:lnTo>
                <a:cubicBezTo>
                  <a:pt x="267300" y="226961"/>
                  <a:pt x="325716" y="168468"/>
                  <a:pt x="394753" y="168468"/>
                </a:cubicBezTo>
                <a:cubicBezTo>
                  <a:pt x="469764" y="168468"/>
                  <a:pt x="535399" y="168468"/>
                  <a:pt x="592829" y="168468"/>
                </a:cubicBezTo>
                <a:lnTo>
                  <a:pt x="614468" y="168468"/>
                </a:lnTo>
                <a:lnTo>
                  <a:pt x="606480" y="127622"/>
                </a:lnTo>
                <a:cubicBezTo>
                  <a:pt x="606480" y="58493"/>
                  <a:pt x="664882" y="0"/>
                  <a:pt x="733902" y="0"/>
                </a:cubicBezTo>
                <a:close/>
              </a:path>
            </a:pathLst>
          </a:custGeom>
          <a:solidFill>
            <a:srgbClr val="EDF1F7"/>
          </a:solidFill>
          <a:ln>
            <a:noFill/>
          </a:ln>
        </p:spPr>
        <p:txBody>
          <a:bodyPr vert="horz" wrap="square" lIns="121920" tIns="60960" rIns="243840" bIns="60960" numCol="1" anchor="t" anchorCtr="0" compatLnSpc="1">
            <a:prstTxWarp prst="textNoShape">
              <a:avLst/>
            </a:prstTxWarp>
            <a:noAutofit/>
          </a:bodyPr>
          <a:lstStyle/>
          <a:p>
            <a:pPr algn="ctr" defTabSz="609585" fontAlgn="base">
              <a:spcBef>
                <a:spcPct val="0"/>
              </a:spcBef>
              <a:spcAft>
                <a:spcPct val="0"/>
              </a:spcAft>
              <a:defRPr/>
            </a:pPr>
            <a:endPar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endParaRPr>
          </a:p>
          <a:p>
            <a:pPr algn="ctr" defTabSz="609585" fontAlgn="base">
              <a:spcBef>
                <a:spcPct val="0"/>
              </a:spcBef>
              <a:spcAft>
                <a:spcPct val="0"/>
              </a:spcAft>
              <a:defRPr/>
            </a:pPr>
            <a:r>
              <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AMP</a:t>
            </a:r>
            <a:br>
              <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br>
            <a:r>
              <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Cloud</a:t>
            </a:r>
          </a:p>
        </p:txBody>
      </p:sp>
      <p:pic>
        <p:nvPicPr>
          <p:cNvPr id="282" name="Picture 281">
            <a:extLst>
              <a:ext uri="{FF2B5EF4-FFF2-40B4-BE49-F238E27FC236}">
                <a16:creationId xmlns:a16="http://schemas.microsoft.com/office/drawing/2014/main" id="{2C270850-9CE7-274C-A7C7-58A13E853A48}"/>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906163" y="2730835"/>
            <a:ext cx="360000" cy="360000"/>
          </a:xfrm>
          <a:prstGeom prst="rect">
            <a:avLst/>
          </a:prstGeom>
        </p:spPr>
      </p:pic>
      <p:pic>
        <p:nvPicPr>
          <p:cNvPr id="283" name="Picture 282">
            <a:extLst>
              <a:ext uri="{FF2B5EF4-FFF2-40B4-BE49-F238E27FC236}">
                <a16:creationId xmlns:a16="http://schemas.microsoft.com/office/drawing/2014/main" id="{BB4C9984-053C-8947-80A3-CA0D1A3E6B1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906163" y="3208871"/>
            <a:ext cx="360000" cy="360000"/>
          </a:xfrm>
          <a:prstGeom prst="rect">
            <a:avLst/>
          </a:prstGeom>
        </p:spPr>
      </p:pic>
      <p:cxnSp>
        <p:nvCxnSpPr>
          <p:cNvPr id="285" name="Straight Connector 284">
            <a:extLst>
              <a:ext uri="{FF2B5EF4-FFF2-40B4-BE49-F238E27FC236}">
                <a16:creationId xmlns:a16="http://schemas.microsoft.com/office/drawing/2014/main" id="{5DCD2B92-A3F7-514E-911E-D2CD739737D4}"/>
              </a:ext>
            </a:extLst>
          </p:cNvPr>
          <p:cNvCxnSpPr>
            <a:cxnSpLocks/>
          </p:cNvCxnSpPr>
          <p:nvPr/>
        </p:nvCxnSpPr>
        <p:spPr>
          <a:xfrm>
            <a:off x="4131496" y="2774815"/>
            <a:ext cx="0" cy="609600"/>
          </a:xfrm>
          <a:prstGeom prst="line">
            <a:avLst/>
          </a:prstGeom>
          <a:ln w="15875" cap="rnd">
            <a:solidFill>
              <a:srgbClr val="BBCDDF"/>
            </a:solidFill>
            <a:tailEnd type="triangle"/>
          </a:ln>
        </p:spPr>
        <p:style>
          <a:lnRef idx="1">
            <a:schemeClr val="accent1"/>
          </a:lnRef>
          <a:fillRef idx="0">
            <a:schemeClr val="accent1"/>
          </a:fillRef>
          <a:effectRef idx="0">
            <a:schemeClr val="accent1"/>
          </a:effectRef>
          <a:fontRef idx="minor">
            <a:schemeClr val="tx1"/>
          </a:fontRef>
        </p:style>
      </p:cxnSp>
      <p:cxnSp>
        <p:nvCxnSpPr>
          <p:cNvPr id="286" name="Elbow Connector 285">
            <a:extLst>
              <a:ext uri="{FF2B5EF4-FFF2-40B4-BE49-F238E27FC236}">
                <a16:creationId xmlns:a16="http://schemas.microsoft.com/office/drawing/2014/main" id="{9BF38698-ED6E-B343-890D-12CEEC67A629}"/>
              </a:ext>
            </a:extLst>
          </p:cNvPr>
          <p:cNvCxnSpPr>
            <a:cxnSpLocks/>
          </p:cNvCxnSpPr>
          <p:nvPr/>
        </p:nvCxnSpPr>
        <p:spPr>
          <a:xfrm rot="5400000" flipH="1" flipV="1">
            <a:off x="2897793" y="1685923"/>
            <a:ext cx="268224" cy="3657600"/>
          </a:xfrm>
          <a:prstGeom prst="bentConnector2">
            <a:avLst/>
          </a:prstGeom>
          <a:ln w="15875" cap="rnd">
            <a:solidFill>
              <a:srgbClr val="BBCDDF"/>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7" name="Elbow Connector 286">
            <a:extLst>
              <a:ext uri="{FF2B5EF4-FFF2-40B4-BE49-F238E27FC236}">
                <a16:creationId xmlns:a16="http://schemas.microsoft.com/office/drawing/2014/main" id="{772A22FF-DF26-0943-B1F9-CF1DA976B49B}"/>
              </a:ext>
            </a:extLst>
          </p:cNvPr>
          <p:cNvCxnSpPr>
            <a:cxnSpLocks/>
          </p:cNvCxnSpPr>
          <p:nvPr/>
        </p:nvCxnSpPr>
        <p:spPr>
          <a:xfrm rot="5400000" flipH="1" flipV="1">
            <a:off x="4318161" y="2830908"/>
            <a:ext cx="475488" cy="609600"/>
          </a:xfrm>
          <a:prstGeom prst="bentConnector2">
            <a:avLst/>
          </a:prstGeom>
          <a:ln w="15875" cap="rnd">
            <a:solidFill>
              <a:srgbClr val="BBCDDF"/>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BA3C3774-0055-8E49-84D9-52B77FD01ED3}"/>
              </a:ext>
            </a:extLst>
          </p:cNvPr>
          <p:cNvCxnSpPr>
            <a:cxnSpLocks/>
          </p:cNvCxnSpPr>
          <p:nvPr/>
        </p:nvCxnSpPr>
        <p:spPr>
          <a:xfrm>
            <a:off x="1685329" y="2757399"/>
            <a:ext cx="0" cy="609600"/>
          </a:xfrm>
          <a:prstGeom prst="line">
            <a:avLst/>
          </a:prstGeom>
          <a:ln w="15875" cap="rnd">
            <a:solidFill>
              <a:srgbClr val="BBCDDF"/>
            </a:solidFill>
            <a:tailEnd type="triangle"/>
          </a:ln>
        </p:spPr>
        <p:style>
          <a:lnRef idx="1">
            <a:schemeClr val="accent1"/>
          </a:lnRef>
          <a:fillRef idx="0">
            <a:schemeClr val="accent1"/>
          </a:fillRef>
          <a:effectRef idx="0">
            <a:schemeClr val="accent1"/>
          </a:effectRef>
          <a:fontRef idx="minor">
            <a:schemeClr val="tx1"/>
          </a:fontRef>
        </p:style>
      </p:cxnSp>
      <p:sp>
        <p:nvSpPr>
          <p:cNvPr id="289" name="Rectangle 4">
            <a:extLst>
              <a:ext uri="{FF2B5EF4-FFF2-40B4-BE49-F238E27FC236}">
                <a16:creationId xmlns:a16="http://schemas.microsoft.com/office/drawing/2014/main" id="{EA948D60-C904-234B-AB9D-D0D5149FE15F}"/>
              </a:ext>
            </a:extLst>
          </p:cNvPr>
          <p:cNvSpPr/>
          <p:nvPr/>
        </p:nvSpPr>
        <p:spPr>
          <a:xfrm>
            <a:off x="6380267" y="2906671"/>
            <a:ext cx="224917" cy="686973"/>
          </a:xfrm>
          <a:custGeom>
            <a:avLst/>
            <a:gdLst>
              <a:gd name="connsiteX0" fmla="*/ 0 w 168688"/>
              <a:gd name="connsiteY0" fmla="*/ 0 h 512205"/>
              <a:gd name="connsiteX1" fmla="*/ 168688 w 168688"/>
              <a:gd name="connsiteY1" fmla="*/ 0 h 512205"/>
              <a:gd name="connsiteX2" fmla="*/ 168688 w 168688"/>
              <a:gd name="connsiteY2" fmla="*/ 512205 h 512205"/>
              <a:gd name="connsiteX3" fmla="*/ 0 w 168688"/>
              <a:gd name="connsiteY3" fmla="*/ 512205 h 512205"/>
              <a:gd name="connsiteX4" fmla="*/ 0 w 168688"/>
              <a:gd name="connsiteY4" fmla="*/ 0 h 512205"/>
              <a:gd name="connsiteX0" fmla="*/ 0 w 168688"/>
              <a:gd name="connsiteY0" fmla="*/ 0 h 603645"/>
              <a:gd name="connsiteX1" fmla="*/ 168688 w 168688"/>
              <a:gd name="connsiteY1" fmla="*/ 0 h 603645"/>
              <a:gd name="connsiteX2" fmla="*/ 168688 w 168688"/>
              <a:gd name="connsiteY2" fmla="*/ 512205 h 603645"/>
              <a:gd name="connsiteX3" fmla="*/ 91440 w 168688"/>
              <a:gd name="connsiteY3" fmla="*/ 603645 h 603645"/>
              <a:gd name="connsiteX0" fmla="*/ 0 w 168688"/>
              <a:gd name="connsiteY0" fmla="*/ 0 h 527930"/>
              <a:gd name="connsiteX1" fmla="*/ 168688 w 168688"/>
              <a:gd name="connsiteY1" fmla="*/ 0 h 527930"/>
              <a:gd name="connsiteX2" fmla="*/ 168688 w 168688"/>
              <a:gd name="connsiteY2" fmla="*/ 512205 h 527930"/>
              <a:gd name="connsiteX3" fmla="*/ 56495 w 168688"/>
              <a:gd name="connsiteY3" fmla="*/ 527930 h 527930"/>
              <a:gd name="connsiteX0" fmla="*/ 0 w 168688"/>
              <a:gd name="connsiteY0" fmla="*/ 0 h 518405"/>
              <a:gd name="connsiteX1" fmla="*/ 168688 w 168688"/>
              <a:gd name="connsiteY1" fmla="*/ 0 h 518405"/>
              <a:gd name="connsiteX2" fmla="*/ 168688 w 168688"/>
              <a:gd name="connsiteY2" fmla="*/ 512205 h 518405"/>
              <a:gd name="connsiteX3" fmla="*/ 21570 w 168688"/>
              <a:gd name="connsiteY3" fmla="*/ 518405 h 518405"/>
              <a:gd name="connsiteX0" fmla="*/ 0 w 168688"/>
              <a:gd name="connsiteY0" fmla="*/ 0 h 512205"/>
              <a:gd name="connsiteX1" fmla="*/ 168688 w 168688"/>
              <a:gd name="connsiteY1" fmla="*/ 0 h 512205"/>
              <a:gd name="connsiteX2" fmla="*/ 168688 w 168688"/>
              <a:gd name="connsiteY2" fmla="*/ 512205 h 512205"/>
              <a:gd name="connsiteX3" fmla="*/ 21570 w 168688"/>
              <a:gd name="connsiteY3" fmla="*/ 508880 h 512205"/>
              <a:gd name="connsiteX0" fmla="*/ 0 w 168688"/>
              <a:gd name="connsiteY0" fmla="*/ 0 h 518405"/>
              <a:gd name="connsiteX1" fmla="*/ 168688 w 168688"/>
              <a:gd name="connsiteY1" fmla="*/ 0 h 518405"/>
              <a:gd name="connsiteX2" fmla="*/ 168688 w 168688"/>
              <a:gd name="connsiteY2" fmla="*/ 512205 h 518405"/>
              <a:gd name="connsiteX3" fmla="*/ 21570 w 168688"/>
              <a:gd name="connsiteY3" fmla="*/ 518405 h 518405"/>
              <a:gd name="connsiteX0" fmla="*/ 0 w 168688"/>
              <a:gd name="connsiteY0" fmla="*/ 0 h 515230"/>
              <a:gd name="connsiteX1" fmla="*/ 168688 w 168688"/>
              <a:gd name="connsiteY1" fmla="*/ 0 h 515230"/>
              <a:gd name="connsiteX2" fmla="*/ 168688 w 168688"/>
              <a:gd name="connsiteY2" fmla="*/ 512205 h 515230"/>
              <a:gd name="connsiteX3" fmla="*/ 12045 w 168688"/>
              <a:gd name="connsiteY3" fmla="*/ 515230 h 515230"/>
            </a:gdLst>
            <a:ahLst/>
            <a:cxnLst>
              <a:cxn ang="0">
                <a:pos x="connsiteX0" y="connsiteY0"/>
              </a:cxn>
              <a:cxn ang="0">
                <a:pos x="connsiteX1" y="connsiteY1"/>
              </a:cxn>
              <a:cxn ang="0">
                <a:pos x="connsiteX2" y="connsiteY2"/>
              </a:cxn>
              <a:cxn ang="0">
                <a:pos x="connsiteX3" y="connsiteY3"/>
              </a:cxn>
            </a:cxnLst>
            <a:rect l="l" t="t" r="r" b="b"/>
            <a:pathLst>
              <a:path w="168688" h="515230">
                <a:moveTo>
                  <a:pt x="0" y="0"/>
                </a:moveTo>
                <a:lnTo>
                  <a:pt x="168688" y="0"/>
                </a:lnTo>
                <a:lnTo>
                  <a:pt x="168688" y="512205"/>
                </a:lnTo>
                <a:cubicBezTo>
                  <a:pt x="112459" y="512205"/>
                  <a:pt x="12045" y="515230"/>
                  <a:pt x="12045" y="515230"/>
                </a:cubicBezTo>
              </a:path>
            </a:pathLst>
          </a:custGeom>
          <a:ln w="15875" cap="rnd">
            <a:solidFill>
              <a:srgbClr val="BBCDDF"/>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1219170">
              <a:buClr>
                <a:srgbClr val="000000"/>
              </a:buClr>
            </a:pPr>
            <a:endParaRPr lang="en-US" sz="1867" kern="0">
              <a:solidFill>
                <a:srgbClr val="2F446B"/>
              </a:solidFill>
              <a:latin typeface="Arial"/>
              <a:sym typeface="Arial"/>
            </a:endParaRPr>
          </a:p>
        </p:txBody>
      </p:sp>
      <p:cxnSp>
        <p:nvCxnSpPr>
          <p:cNvPr id="290" name="Straight Connector 289">
            <a:extLst>
              <a:ext uri="{FF2B5EF4-FFF2-40B4-BE49-F238E27FC236}">
                <a16:creationId xmlns:a16="http://schemas.microsoft.com/office/drawing/2014/main" id="{C68748E7-B170-044E-AC68-EFC541B8B7EB}"/>
              </a:ext>
            </a:extLst>
          </p:cNvPr>
          <p:cNvCxnSpPr>
            <a:cxnSpLocks/>
          </p:cNvCxnSpPr>
          <p:nvPr/>
        </p:nvCxnSpPr>
        <p:spPr>
          <a:xfrm>
            <a:off x="6605184" y="3017292"/>
            <a:ext cx="366227" cy="0"/>
          </a:xfrm>
          <a:prstGeom prst="line">
            <a:avLst/>
          </a:prstGeom>
          <a:ln w="15875" cap="rnd">
            <a:solidFill>
              <a:srgbClr val="BBCDDF"/>
            </a:solidFill>
            <a:tailEnd type="triangle"/>
          </a:ln>
        </p:spPr>
        <p:style>
          <a:lnRef idx="1">
            <a:schemeClr val="accent1"/>
          </a:lnRef>
          <a:fillRef idx="0">
            <a:schemeClr val="accent1"/>
          </a:fillRef>
          <a:effectRef idx="0">
            <a:schemeClr val="accent1"/>
          </a:effectRef>
          <a:fontRef idx="minor">
            <a:schemeClr val="tx1"/>
          </a:fontRef>
        </p:style>
      </p:cxnSp>
      <p:sp>
        <p:nvSpPr>
          <p:cNvPr id="291" name="Rounded Rectangle 55">
            <a:extLst>
              <a:ext uri="{FF2B5EF4-FFF2-40B4-BE49-F238E27FC236}">
                <a16:creationId xmlns:a16="http://schemas.microsoft.com/office/drawing/2014/main" id="{502BF66B-2658-9D4B-A5D4-CF1B5AD08D0B}"/>
              </a:ext>
            </a:extLst>
          </p:cNvPr>
          <p:cNvSpPr/>
          <p:nvPr/>
        </p:nvSpPr>
        <p:spPr>
          <a:xfrm>
            <a:off x="3724734" y="2542673"/>
            <a:ext cx="959036" cy="252399"/>
          </a:xfrm>
          <a:prstGeom prst="roundRect">
            <a:avLst>
              <a:gd name="adj" fmla="val 5000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60960" rtlCol="0" anchor="ctr"/>
          <a:lstStyle/>
          <a:p>
            <a:pPr algn="r" defTabSz="609555">
              <a:buClr>
                <a:srgbClr val="000000"/>
              </a:buClr>
            </a:pPr>
            <a:r>
              <a:rPr lang="en-US" sz="1200" kern="0">
                <a:solidFill>
                  <a:srgbClr val="FFFFFF"/>
                </a:solidFill>
                <a:latin typeface="CiscoSansTT ExtraLight" panose="020B0303020201020303" pitchFamily="34" charset="0"/>
                <a:cs typeface="CiscoSansTT ExtraLight" panose="020B0303020201020303" pitchFamily="34" charset="0"/>
                <a:sym typeface="Arial"/>
              </a:rPr>
              <a:t>Umbrella™ </a:t>
            </a:r>
          </a:p>
        </p:txBody>
      </p:sp>
      <p:pic>
        <p:nvPicPr>
          <p:cNvPr id="292" name="Picture 291">
            <a:extLst>
              <a:ext uri="{FF2B5EF4-FFF2-40B4-BE49-F238E27FC236}">
                <a16:creationId xmlns:a16="http://schemas.microsoft.com/office/drawing/2014/main" id="{5DC6A1C2-95FD-6540-8778-3666E7ADF156}"/>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3555253" y="2489397"/>
            <a:ext cx="360000" cy="360000"/>
          </a:xfrm>
          <a:prstGeom prst="rect">
            <a:avLst/>
          </a:prstGeom>
        </p:spPr>
      </p:pic>
      <p:pic>
        <p:nvPicPr>
          <p:cNvPr id="397" name="Google Shape;1445;p49">
            <a:extLst>
              <a:ext uri="{FF2B5EF4-FFF2-40B4-BE49-F238E27FC236}">
                <a16:creationId xmlns:a16="http://schemas.microsoft.com/office/drawing/2014/main" id="{21224409-D7F3-7B4C-874F-90ECA6286F15}"/>
              </a:ext>
            </a:extLst>
          </p:cNvPr>
          <p:cNvPicPr preferRelativeResize="0">
            <a:picLocks noChangeAspect="1"/>
          </p:cNvPicPr>
          <p:nvPr/>
        </p:nvPicPr>
        <p:blipFill rotWithShape="1">
          <a:blip r:embed="rId10">
            <a:alphaModFix/>
          </a:blip>
          <a:srcRect/>
          <a:stretch/>
        </p:blipFill>
        <p:spPr>
          <a:xfrm>
            <a:off x="1965856" y="1563553"/>
            <a:ext cx="360000" cy="360000"/>
          </a:xfrm>
          <a:prstGeom prst="rect">
            <a:avLst/>
          </a:prstGeom>
          <a:noFill/>
          <a:ln>
            <a:noFill/>
          </a:ln>
        </p:spPr>
      </p:pic>
      <p:sp>
        <p:nvSpPr>
          <p:cNvPr id="209" name="Rounded Rectangle 46">
            <a:extLst>
              <a:ext uri="{FF2B5EF4-FFF2-40B4-BE49-F238E27FC236}">
                <a16:creationId xmlns:a16="http://schemas.microsoft.com/office/drawing/2014/main" id="{1617BA72-4F9A-4749-8635-DE1221BEAE6E}"/>
              </a:ext>
            </a:extLst>
          </p:cNvPr>
          <p:cNvSpPr/>
          <p:nvPr/>
        </p:nvSpPr>
        <p:spPr>
          <a:xfrm>
            <a:off x="719665" y="2535372"/>
            <a:ext cx="1869339" cy="230797"/>
          </a:xfrm>
          <a:prstGeom prst="roundRect">
            <a:avLst>
              <a:gd name="adj" fmla="val 5000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55" fontAlgn="base">
              <a:spcBef>
                <a:spcPct val="0"/>
              </a:spcBef>
              <a:spcAft>
                <a:spcPct val="0"/>
              </a:spcAft>
              <a:defRPr/>
            </a:pPr>
            <a:r>
              <a:rPr lang="en-US" sz="1200">
                <a:solidFill>
                  <a:srgbClr val="FFFFFF"/>
                </a:solidFill>
                <a:latin typeface="CiscoSansTT ExtraLight" panose="020B0303020201020303" pitchFamily="34" charset="0"/>
                <a:cs typeface="CiscoSansTT ExtraLight" panose="020B0303020201020303" pitchFamily="34" charset="0"/>
                <a:sym typeface="Arial"/>
              </a:rPr>
              <a:t>Stealthwatch® Cloud</a:t>
            </a:r>
          </a:p>
        </p:txBody>
      </p:sp>
      <p:pic>
        <p:nvPicPr>
          <p:cNvPr id="275" name="Picture 274">
            <a:extLst>
              <a:ext uri="{FF2B5EF4-FFF2-40B4-BE49-F238E27FC236}">
                <a16:creationId xmlns:a16="http://schemas.microsoft.com/office/drawing/2014/main" id="{BC6013FE-7ED0-F945-82B1-F7E5DD058E0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28497" y="2467891"/>
            <a:ext cx="360000" cy="360000"/>
          </a:xfrm>
          <a:prstGeom prst="rect">
            <a:avLst/>
          </a:prstGeom>
        </p:spPr>
      </p:pic>
    </p:spTree>
    <p:extLst>
      <p:ext uri="{BB962C8B-B14F-4D97-AF65-F5344CB8AC3E}">
        <p14:creationId xmlns:p14="http://schemas.microsoft.com/office/powerpoint/2010/main" val="148543650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4" name="Elbow Connector 323">
            <a:extLst>
              <a:ext uri="{FF2B5EF4-FFF2-40B4-BE49-F238E27FC236}">
                <a16:creationId xmlns:a16="http://schemas.microsoft.com/office/drawing/2014/main" id="{886BE058-D276-FD48-9E84-03546705E979}"/>
              </a:ext>
            </a:extLst>
          </p:cNvPr>
          <p:cNvCxnSpPr>
            <a:cxnSpLocks/>
          </p:cNvCxnSpPr>
          <p:nvPr/>
        </p:nvCxnSpPr>
        <p:spPr>
          <a:xfrm rot="5400000" flipH="1" flipV="1">
            <a:off x="2897864" y="1681921"/>
            <a:ext cx="268224" cy="3657600"/>
          </a:xfrm>
          <a:prstGeom prst="bentConnector2">
            <a:avLst/>
          </a:prstGeom>
          <a:ln w="15875" cap="rnd">
            <a:solidFill>
              <a:srgbClr val="BBCDDF"/>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23" name="Elbow Connector 322">
            <a:extLst>
              <a:ext uri="{FF2B5EF4-FFF2-40B4-BE49-F238E27FC236}">
                <a16:creationId xmlns:a16="http://schemas.microsoft.com/office/drawing/2014/main" id="{4CD625DE-B751-434F-BD2F-5D44CBED0F0C}"/>
              </a:ext>
            </a:extLst>
          </p:cNvPr>
          <p:cNvCxnSpPr>
            <a:cxnSpLocks/>
          </p:cNvCxnSpPr>
          <p:nvPr/>
        </p:nvCxnSpPr>
        <p:spPr>
          <a:xfrm rot="5400000" flipH="1" flipV="1">
            <a:off x="4318232" y="2835615"/>
            <a:ext cx="475488" cy="609600"/>
          </a:xfrm>
          <a:prstGeom prst="bentConnector2">
            <a:avLst/>
          </a:prstGeom>
          <a:ln w="15875" cap="rnd">
            <a:solidFill>
              <a:srgbClr val="BBCDDF"/>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11" name="Rounded Rectangle 46">
            <a:extLst>
              <a:ext uri="{FF2B5EF4-FFF2-40B4-BE49-F238E27FC236}">
                <a16:creationId xmlns:a16="http://schemas.microsoft.com/office/drawing/2014/main" id="{F596431A-E53C-574F-B798-602E122FB42D}"/>
              </a:ext>
            </a:extLst>
          </p:cNvPr>
          <p:cNvSpPr/>
          <p:nvPr/>
        </p:nvSpPr>
        <p:spPr>
          <a:xfrm>
            <a:off x="8549481" y="3002244"/>
            <a:ext cx="1558351" cy="230797"/>
          </a:xfrm>
          <a:prstGeom prst="roundRect">
            <a:avLst>
              <a:gd name="adj" fmla="val 5000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55" fontAlgn="base">
              <a:spcBef>
                <a:spcPct val="0"/>
              </a:spcBef>
              <a:spcAft>
                <a:spcPct val="0"/>
              </a:spcAft>
              <a:defRPr/>
            </a:pPr>
            <a:r>
              <a:rPr lang="en-US" sz="1200">
                <a:solidFill>
                  <a:srgbClr val="FFFFFF"/>
                </a:solidFill>
                <a:latin typeface="CiscoSansTT ExtraLight" panose="020B0303020201020303" pitchFamily="34" charset="0"/>
                <a:cs typeface="CiscoSansTT ExtraLight" panose="020B0303020201020303" pitchFamily="34" charset="0"/>
                <a:sym typeface="Arial"/>
              </a:rPr>
              <a:t>Threat Response</a:t>
            </a:r>
          </a:p>
        </p:txBody>
      </p:sp>
      <p:grpSp>
        <p:nvGrpSpPr>
          <p:cNvPr id="312" name="Group 311">
            <a:extLst>
              <a:ext uri="{FF2B5EF4-FFF2-40B4-BE49-F238E27FC236}">
                <a16:creationId xmlns:a16="http://schemas.microsoft.com/office/drawing/2014/main" id="{CFFCC8F8-013E-A74D-8734-331BCC48574C}"/>
              </a:ext>
            </a:extLst>
          </p:cNvPr>
          <p:cNvGrpSpPr>
            <a:grpSpLocks noChangeAspect="1"/>
          </p:cNvGrpSpPr>
          <p:nvPr/>
        </p:nvGrpSpPr>
        <p:grpSpPr>
          <a:xfrm>
            <a:off x="8362745" y="2943800"/>
            <a:ext cx="360000" cy="360000"/>
            <a:chOff x="6298183" y="2358067"/>
            <a:chExt cx="237908" cy="237908"/>
          </a:xfrm>
        </p:grpSpPr>
        <p:sp>
          <p:nvSpPr>
            <p:cNvPr id="313" name="Oval 312">
              <a:extLst>
                <a:ext uri="{FF2B5EF4-FFF2-40B4-BE49-F238E27FC236}">
                  <a16:creationId xmlns:a16="http://schemas.microsoft.com/office/drawing/2014/main" id="{FF66F281-B090-234D-A58E-A3037D4C11AE}"/>
                </a:ext>
              </a:extLst>
            </p:cNvPr>
            <p:cNvSpPr/>
            <p:nvPr/>
          </p:nvSpPr>
          <p:spPr>
            <a:xfrm>
              <a:off x="6298183" y="2358067"/>
              <a:ext cx="237908" cy="237908"/>
            </a:xfrm>
            <a:prstGeom prst="ellipse">
              <a:avLst/>
            </a:prstGeom>
            <a:solidFill>
              <a:srgbClr val="005073"/>
            </a:solidFill>
            <a:ln w="9525" cap="flat" cmpd="sng" algn="ctr">
              <a:noFill/>
              <a:prstDash val="solid"/>
            </a:ln>
            <a:effectLst/>
          </p:spPr>
          <p:txBody>
            <a:bodyPr rtlCol="0" anchor="ctr"/>
            <a:lstStyle/>
            <a:p>
              <a:pPr algn="ctr" defTabSz="1625519">
                <a:defRPr/>
              </a:pPr>
              <a:endParaRPr lang="en-US" sz="4267" kern="0">
                <a:solidFill>
                  <a:prstClr val="white"/>
                </a:solidFill>
                <a:latin typeface="CiscoSansTT ExtraLight" panose="020B0303020201020303" pitchFamily="34" charset="0"/>
                <a:cs typeface="CiscoSansTT ExtraLight" panose="020B0303020201020303" pitchFamily="34" charset="0"/>
                <a:sym typeface="Arial"/>
              </a:endParaRPr>
            </a:p>
          </p:txBody>
        </p:sp>
        <p:grpSp>
          <p:nvGrpSpPr>
            <p:cNvPr id="314" name="Group 313">
              <a:extLst>
                <a:ext uri="{FF2B5EF4-FFF2-40B4-BE49-F238E27FC236}">
                  <a16:creationId xmlns:a16="http://schemas.microsoft.com/office/drawing/2014/main" id="{9FCDADE1-8A3A-8B40-A9EB-C977F996865C}"/>
                </a:ext>
              </a:extLst>
            </p:cNvPr>
            <p:cNvGrpSpPr/>
            <p:nvPr/>
          </p:nvGrpSpPr>
          <p:grpSpPr>
            <a:xfrm>
              <a:off x="6344826" y="2396360"/>
              <a:ext cx="144622" cy="161323"/>
              <a:chOff x="6344826" y="2396359"/>
              <a:chExt cx="144622" cy="161323"/>
            </a:xfrm>
          </p:grpSpPr>
          <p:sp>
            <p:nvSpPr>
              <p:cNvPr id="315" name="Freeform 100">
                <a:extLst>
                  <a:ext uri="{FF2B5EF4-FFF2-40B4-BE49-F238E27FC236}">
                    <a16:creationId xmlns:a16="http://schemas.microsoft.com/office/drawing/2014/main" id="{1BB40172-4F3D-834F-BB34-F640BBCB7D81}"/>
                  </a:ext>
                </a:extLst>
              </p:cNvPr>
              <p:cNvSpPr>
                <a:spLocks noEditPoints="1"/>
              </p:cNvSpPr>
              <p:nvPr/>
            </p:nvSpPr>
            <p:spPr bwMode="auto">
              <a:xfrm>
                <a:off x="6344826" y="2415997"/>
                <a:ext cx="144622" cy="141685"/>
              </a:xfrm>
              <a:custGeom>
                <a:avLst/>
                <a:gdLst>
                  <a:gd name="T0" fmla="*/ 324 w 715"/>
                  <a:gd name="T1" fmla="*/ 33 h 701"/>
                  <a:gd name="T2" fmla="*/ 330 w 715"/>
                  <a:gd name="T3" fmla="*/ 44 h 701"/>
                  <a:gd name="T4" fmla="*/ 328 w 715"/>
                  <a:gd name="T5" fmla="*/ 41 h 701"/>
                  <a:gd name="T6" fmla="*/ 324 w 715"/>
                  <a:gd name="T7" fmla="*/ 33 h 701"/>
                  <a:gd name="T8" fmla="*/ 453 w 715"/>
                  <a:gd name="T9" fmla="*/ 0 h 701"/>
                  <a:gd name="T10" fmla="*/ 406 w 715"/>
                  <a:gd name="T11" fmla="*/ 31 h 701"/>
                  <a:gd name="T12" fmla="*/ 429 w 715"/>
                  <a:gd name="T13" fmla="*/ 67 h 701"/>
                  <a:gd name="T14" fmla="*/ 469 w 715"/>
                  <a:gd name="T15" fmla="*/ 80 h 701"/>
                  <a:gd name="T16" fmla="*/ 595 w 715"/>
                  <a:gd name="T17" fmla="*/ 184 h 701"/>
                  <a:gd name="T18" fmla="*/ 644 w 715"/>
                  <a:gd name="T19" fmla="*/ 344 h 701"/>
                  <a:gd name="T20" fmla="*/ 621 w 715"/>
                  <a:gd name="T21" fmla="*/ 456 h 701"/>
                  <a:gd name="T22" fmla="*/ 518 w 715"/>
                  <a:gd name="T23" fmla="*/ 582 h 701"/>
                  <a:gd name="T24" fmla="*/ 357 w 715"/>
                  <a:gd name="T25" fmla="*/ 631 h 701"/>
                  <a:gd name="T26" fmla="*/ 246 w 715"/>
                  <a:gd name="T27" fmla="*/ 608 h 701"/>
                  <a:gd name="T28" fmla="*/ 120 w 715"/>
                  <a:gd name="T29" fmla="*/ 504 h 701"/>
                  <a:gd name="T30" fmla="*/ 71 w 715"/>
                  <a:gd name="T31" fmla="*/ 344 h 701"/>
                  <a:gd name="T32" fmla="*/ 35 w 715"/>
                  <a:gd name="T33" fmla="*/ 309 h 701"/>
                  <a:gd name="T34" fmla="*/ 0 w 715"/>
                  <a:gd name="T35" fmla="*/ 344 h 701"/>
                  <a:gd name="T36" fmla="*/ 28 w 715"/>
                  <a:gd name="T37" fmla="*/ 483 h 701"/>
                  <a:gd name="T38" fmla="*/ 157 w 715"/>
                  <a:gd name="T39" fmla="*/ 640 h 701"/>
                  <a:gd name="T40" fmla="*/ 357 w 715"/>
                  <a:gd name="T41" fmla="*/ 701 h 701"/>
                  <a:gd name="T42" fmla="*/ 357 w 715"/>
                  <a:gd name="T43" fmla="*/ 701 h 701"/>
                  <a:gd name="T44" fmla="*/ 496 w 715"/>
                  <a:gd name="T45" fmla="*/ 673 h 701"/>
                  <a:gd name="T46" fmla="*/ 654 w 715"/>
                  <a:gd name="T47" fmla="*/ 544 h 701"/>
                  <a:gd name="T48" fmla="*/ 715 w 715"/>
                  <a:gd name="T49" fmla="*/ 344 h 701"/>
                  <a:gd name="T50" fmla="*/ 686 w 715"/>
                  <a:gd name="T51" fmla="*/ 205 h 701"/>
                  <a:gd name="T52" fmla="*/ 557 w 715"/>
                  <a:gd name="T53" fmla="*/ 48 h 701"/>
                  <a:gd name="T54" fmla="*/ 453 w 715"/>
                  <a:gd name="T55"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5" h="701">
                    <a:moveTo>
                      <a:pt x="324" y="33"/>
                    </a:moveTo>
                    <a:cubicBezTo>
                      <a:pt x="325" y="37"/>
                      <a:pt x="327" y="41"/>
                      <a:pt x="330" y="44"/>
                    </a:cubicBezTo>
                    <a:cubicBezTo>
                      <a:pt x="328" y="41"/>
                      <a:pt x="328" y="41"/>
                      <a:pt x="328" y="41"/>
                    </a:cubicBezTo>
                    <a:cubicBezTo>
                      <a:pt x="326" y="38"/>
                      <a:pt x="325" y="36"/>
                      <a:pt x="324" y="33"/>
                    </a:cubicBezTo>
                    <a:moveTo>
                      <a:pt x="453" y="0"/>
                    </a:moveTo>
                    <a:cubicBezTo>
                      <a:pt x="406" y="31"/>
                      <a:pt x="406" y="31"/>
                      <a:pt x="406" y="31"/>
                    </a:cubicBezTo>
                    <a:cubicBezTo>
                      <a:pt x="429" y="67"/>
                      <a:pt x="429" y="67"/>
                      <a:pt x="429" y="67"/>
                    </a:cubicBezTo>
                    <a:cubicBezTo>
                      <a:pt x="443" y="70"/>
                      <a:pt x="456" y="75"/>
                      <a:pt x="469" y="80"/>
                    </a:cubicBezTo>
                    <a:cubicBezTo>
                      <a:pt x="520" y="102"/>
                      <a:pt x="564" y="138"/>
                      <a:pt x="595" y="184"/>
                    </a:cubicBezTo>
                    <a:cubicBezTo>
                      <a:pt x="626" y="230"/>
                      <a:pt x="644" y="285"/>
                      <a:pt x="644" y="344"/>
                    </a:cubicBezTo>
                    <a:cubicBezTo>
                      <a:pt x="644" y="384"/>
                      <a:pt x="636" y="421"/>
                      <a:pt x="621" y="456"/>
                    </a:cubicBezTo>
                    <a:cubicBezTo>
                      <a:pt x="600" y="507"/>
                      <a:pt x="563" y="551"/>
                      <a:pt x="518" y="582"/>
                    </a:cubicBezTo>
                    <a:cubicBezTo>
                      <a:pt x="472" y="613"/>
                      <a:pt x="417" y="631"/>
                      <a:pt x="357" y="631"/>
                    </a:cubicBezTo>
                    <a:cubicBezTo>
                      <a:pt x="318" y="631"/>
                      <a:pt x="280" y="623"/>
                      <a:pt x="246" y="608"/>
                    </a:cubicBezTo>
                    <a:cubicBezTo>
                      <a:pt x="194" y="586"/>
                      <a:pt x="150" y="550"/>
                      <a:pt x="120" y="504"/>
                    </a:cubicBezTo>
                    <a:cubicBezTo>
                      <a:pt x="89" y="458"/>
                      <a:pt x="71" y="404"/>
                      <a:pt x="71" y="344"/>
                    </a:cubicBezTo>
                    <a:cubicBezTo>
                      <a:pt x="71" y="325"/>
                      <a:pt x="55" y="309"/>
                      <a:pt x="35" y="309"/>
                    </a:cubicBezTo>
                    <a:cubicBezTo>
                      <a:pt x="16" y="309"/>
                      <a:pt x="0" y="325"/>
                      <a:pt x="0" y="344"/>
                    </a:cubicBezTo>
                    <a:cubicBezTo>
                      <a:pt x="0" y="393"/>
                      <a:pt x="10" y="440"/>
                      <a:pt x="28" y="483"/>
                    </a:cubicBezTo>
                    <a:cubicBezTo>
                      <a:pt x="55" y="547"/>
                      <a:pt x="100" y="602"/>
                      <a:pt x="157" y="640"/>
                    </a:cubicBezTo>
                    <a:cubicBezTo>
                      <a:pt x="214" y="679"/>
                      <a:pt x="283" y="701"/>
                      <a:pt x="357" y="701"/>
                    </a:cubicBezTo>
                    <a:cubicBezTo>
                      <a:pt x="357" y="701"/>
                      <a:pt x="357" y="701"/>
                      <a:pt x="357" y="701"/>
                    </a:cubicBezTo>
                    <a:cubicBezTo>
                      <a:pt x="406" y="701"/>
                      <a:pt x="454" y="691"/>
                      <a:pt x="496" y="673"/>
                    </a:cubicBezTo>
                    <a:cubicBezTo>
                      <a:pt x="561" y="646"/>
                      <a:pt x="615" y="601"/>
                      <a:pt x="654" y="544"/>
                    </a:cubicBezTo>
                    <a:cubicBezTo>
                      <a:pt x="692" y="487"/>
                      <a:pt x="715" y="418"/>
                      <a:pt x="715" y="344"/>
                    </a:cubicBezTo>
                    <a:cubicBezTo>
                      <a:pt x="715" y="295"/>
                      <a:pt x="705" y="248"/>
                      <a:pt x="686" y="205"/>
                    </a:cubicBezTo>
                    <a:cubicBezTo>
                      <a:pt x="659" y="141"/>
                      <a:pt x="614" y="86"/>
                      <a:pt x="557" y="48"/>
                    </a:cubicBezTo>
                    <a:cubicBezTo>
                      <a:pt x="526" y="27"/>
                      <a:pt x="491" y="10"/>
                      <a:pt x="453"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85">
                  <a:buClr>
                    <a:srgbClr val="000000"/>
                  </a:buClr>
                </a:pPr>
                <a:endParaRPr lang="en-US" sz="1867">
                  <a:solidFill>
                    <a:srgbClr val="2F446B"/>
                  </a:solidFill>
                  <a:latin typeface="CiscoSansTT ExtraLight" panose="020B0303020201020303" pitchFamily="34" charset="0"/>
                  <a:cs typeface="CiscoSansTT ExtraLight" panose="020B0303020201020303" pitchFamily="34" charset="0"/>
                  <a:sym typeface="Arial"/>
                </a:endParaRPr>
              </a:p>
            </p:txBody>
          </p:sp>
          <p:grpSp>
            <p:nvGrpSpPr>
              <p:cNvPr id="316" name="Group 315">
                <a:extLst>
                  <a:ext uri="{FF2B5EF4-FFF2-40B4-BE49-F238E27FC236}">
                    <a16:creationId xmlns:a16="http://schemas.microsoft.com/office/drawing/2014/main" id="{06650B17-F1DA-7F4C-BA69-514AD8F1B723}"/>
                  </a:ext>
                </a:extLst>
              </p:cNvPr>
              <p:cNvGrpSpPr/>
              <p:nvPr/>
            </p:nvGrpSpPr>
            <p:grpSpPr>
              <a:xfrm>
                <a:off x="6409704" y="2396359"/>
                <a:ext cx="40652" cy="56160"/>
                <a:chOff x="8210727" y="912911"/>
                <a:chExt cx="99997" cy="138146"/>
              </a:xfrm>
            </p:grpSpPr>
            <p:sp>
              <p:nvSpPr>
                <p:cNvPr id="317" name="Freeform 97">
                  <a:extLst>
                    <a:ext uri="{FF2B5EF4-FFF2-40B4-BE49-F238E27FC236}">
                      <a16:creationId xmlns:a16="http://schemas.microsoft.com/office/drawing/2014/main" id="{43963319-9062-2A4F-BBB9-7A538DC9F924}"/>
                    </a:ext>
                  </a:extLst>
                </p:cNvPr>
                <p:cNvSpPr>
                  <a:spLocks/>
                </p:cNvSpPr>
                <p:nvPr/>
              </p:nvSpPr>
              <p:spPr bwMode="auto">
                <a:xfrm>
                  <a:off x="8215015" y="982887"/>
                  <a:ext cx="74942" cy="68170"/>
                </a:xfrm>
                <a:custGeom>
                  <a:avLst/>
                  <a:gdLst>
                    <a:gd name="T0" fmla="*/ 0 w 150"/>
                    <a:gd name="T1" fmla="*/ 0 h 137"/>
                    <a:gd name="T2" fmla="*/ 81 w 150"/>
                    <a:gd name="T3" fmla="*/ 122 h 137"/>
                    <a:gd name="T4" fmla="*/ 110 w 150"/>
                    <a:gd name="T5" fmla="*/ 137 h 137"/>
                    <a:gd name="T6" fmla="*/ 130 w 150"/>
                    <a:gd name="T7" fmla="*/ 131 h 137"/>
                    <a:gd name="T8" fmla="*/ 139 w 150"/>
                    <a:gd name="T9" fmla="*/ 82 h 137"/>
                    <a:gd name="T10" fmla="*/ 99 w 150"/>
                    <a:gd name="T11" fmla="*/ 23 h 137"/>
                    <a:gd name="T12" fmla="*/ 27 w 150"/>
                    <a:gd name="T13" fmla="*/ 13 h 137"/>
                    <a:gd name="T14" fmla="*/ 0 w 150"/>
                    <a:gd name="T15" fmla="*/ 0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37">
                      <a:moveTo>
                        <a:pt x="0" y="0"/>
                      </a:moveTo>
                      <a:cubicBezTo>
                        <a:pt x="81" y="122"/>
                        <a:pt x="81" y="122"/>
                        <a:pt x="81" y="122"/>
                      </a:cubicBezTo>
                      <a:cubicBezTo>
                        <a:pt x="87" y="132"/>
                        <a:pt x="99" y="137"/>
                        <a:pt x="110" y="137"/>
                      </a:cubicBezTo>
                      <a:cubicBezTo>
                        <a:pt x="117" y="137"/>
                        <a:pt x="124" y="135"/>
                        <a:pt x="130" y="131"/>
                      </a:cubicBezTo>
                      <a:cubicBezTo>
                        <a:pt x="146" y="121"/>
                        <a:pt x="150" y="99"/>
                        <a:pt x="139" y="82"/>
                      </a:cubicBezTo>
                      <a:cubicBezTo>
                        <a:pt x="99" y="23"/>
                        <a:pt x="99" y="23"/>
                        <a:pt x="99" y="23"/>
                      </a:cubicBezTo>
                      <a:cubicBezTo>
                        <a:pt x="76" y="17"/>
                        <a:pt x="52" y="13"/>
                        <a:pt x="27" y="13"/>
                      </a:cubicBezTo>
                      <a:cubicBezTo>
                        <a:pt x="16" y="13"/>
                        <a:pt x="6" y="8"/>
                        <a:pt x="0" y="0"/>
                      </a:cubicBezTo>
                    </a:path>
                  </a:pathLst>
                </a:custGeom>
                <a:solidFill>
                  <a:schemeClr val="accent5"/>
                </a:solidFill>
                <a:ln>
                  <a:solidFill>
                    <a:schemeClr val="accent5"/>
                  </a:solidFill>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85">
                    <a:buClr>
                      <a:srgbClr val="000000"/>
                    </a:buClr>
                  </a:pPr>
                  <a:endParaRPr lang="en-US" sz="1867">
                    <a:solidFill>
                      <a:srgbClr val="2F446B"/>
                    </a:solidFill>
                    <a:latin typeface="CiscoSansTT ExtraLight" panose="020B0303020201020303" pitchFamily="34" charset="0"/>
                    <a:cs typeface="CiscoSansTT ExtraLight" panose="020B0303020201020303" pitchFamily="34" charset="0"/>
                    <a:sym typeface="Arial"/>
                  </a:endParaRPr>
                </a:p>
              </p:txBody>
            </p:sp>
            <p:sp>
              <p:nvSpPr>
                <p:cNvPr id="318" name="Freeform 98">
                  <a:extLst>
                    <a:ext uri="{FF2B5EF4-FFF2-40B4-BE49-F238E27FC236}">
                      <a16:creationId xmlns:a16="http://schemas.microsoft.com/office/drawing/2014/main" id="{0CAB3950-FCE4-B348-8C74-FB84148D4DE8}"/>
                    </a:ext>
                  </a:extLst>
                </p:cNvPr>
                <p:cNvSpPr>
                  <a:spLocks/>
                </p:cNvSpPr>
                <p:nvPr/>
              </p:nvSpPr>
              <p:spPr bwMode="auto">
                <a:xfrm>
                  <a:off x="8211404" y="912911"/>
                  <a:ext cx="99320" cy="58689"/>
                </a:xfrm>
                <a:custGeom>
                  <a:avLst/>
                  <a:gdLst>
                    <a:gd name="T0" fmla="*/ 160 w 200"/>
                    <a:gd name="T1" fmla="*/ 0 h 118"/>
                    <a:gd name="T2" fmla="*/ 140 w 200"/>
                    <a:gd name="T3" fmla="*/ 6 h 118"/>
                    <a:gd name="T4" fmla="*/ 15 w 200"/>
                    <a:gd name="T5" fmla="*/ 89 h 118"/>
                    <a:gd name="T6" fmla="*/ 0 w 200"/>
                    <a:gd name="T7" fmla="*/ 118 h 118"/>
                    <a:gd name="T8" fmla="*/ 15 w 200"/>
                    <a:gd name="T9" fmla="*/ 89 h 118"/>
                    <a:gd name="T10" fmla="*/ 35 w 200"/>
                    <a:gd name="T11" fmla="*/ 83 h 118"/>
                    <a:gd name="T12" fmla="*/ 42 w 200"/>
                    <a:gd name="T13" fmla="*/ 84 h 118"/>
                    <a:gd name="T14" fmla="*/ 131 w 200"/>
                    <a:gd name="T15" fmla="*/ 97 h 118"/>
                    <a:gd name="T16" fmla="*/ 179 w 200"/>
                    <a:gd name="T17" fmla="*/ 65 h 118"/>
                    <a:gd name="T18" fmla="*/ 189 w 200"/>
                    <a:gd name="T19" fmla="*/ 16 h 118"/>
                    <a:gd name="T20" fmla="*/ 160 w 200"/>
                    <a:gd name="T21"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118">
                      <a:moveTo>
                        <a:pt x="160" y="0"/>
                      </a:moveTo>
                      <a:cubicBezTo>
                        <a:pt x="153" y="0"/>
                        <a:pt x="146" y="2"/>
                        <a:pt x="140" y="6"/>
                      </a:cubicBezTo>
                      <a:cubicBezTo>
                        <a:pt x="15" y="89"/>
                        <a:pt x="15" y="89"/>
                        <a:pt x="15" y="89"/>
                      </a:cubicBezTo>
                      <a:cubicBezTo>
                        <a:pt x="5" y="96"/>
                        <a:pt x="0" y="107"/>
                        <a:pt x="0" y="118"/>
                      </a:cubicBezTo>
                      <a:cubicBezTo>
                        <a:pt x="0" y="107"/>
                        <a:pt x="5" y="96"/>
                        <a:pt x="15" y="89"/>
                      </a:cubicBezTo>
                      <a:cubicBezTo>
                        <a:pt x="21" y="85"/>
                        <a:pt x="28" y="83"/>
                        <a:pt x="35" y="83"/>
                      </a:cubicBezTo>
                      <a:cubicBezTo>
                        <a:pt x="37" y="83"/>
                        <a:pt x="40" y="83"/>
                        <a:pt x="42" y="84"/>
                      </a:cubicBezTo>
                      <a:cubicBezTo>
                        <a:pt x="73" y="84"/>
                        <a:pt x="103" y="89"/>
                        <a:pt x="131" y="97"/>
                      </a:cubicBezTo>
                      <a:cubicBezTo>
                        <a:pt x="179" y="65"/>
                        <a:pt x="179" y="65"/>
                        <a:pt x="179" y="65"/>
                      </a:cubicBezTo>
                      <a:cubicBezTo>
                        <a:pt x="196" y="54"/>
                        <a:pt x="200" y="32"/>
                        <a:pt x="189" y="16"/>
                      </a:cubicBezTo>
                      <a:cubicBezTo>
                        <a:pt x="182" y="6"/>
                        <a:pt x="171" y="0"/>
                        <a:pt x="160" y="0"/>
                      </a:cubicBezTo>
                    </a:path>
                  </a:pathLst>
                </a:custGeom>
                <a:solidFill>
                  <a:schemeClr val="accent5"/>
                </a:solidFill>
                <a:ln>
                  <a:solidFill>
                    <a:schemeClr val="accent5"/>
                  </a:solidFill>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85">
                    <a:buClr>
                      <a:srgbClr val="000000"/>
                    </a:buClr>
                  </a:pPr>
                  <a:endParaRPr lang="en-US" sz="1867">
                    <a:solidFill>
                      <a:srgbClr val="2F446B"/>
                    </a:solidFill>
                    <a:latin typeface="CiscoSansTT ExtraLight" panose="020B0303020201020303" pitchFamily="34" charset="0"/>
                    <a:cs typeface="CiscoSansTT ExtraLight" panose="020B0303020201020303" pitchFamily="34" charset="0"/>
                    <a:sym typeface="Arial"/>
                  </a:endParaRPr>
                </a:p>
              </p:txBody>
            </p:sp>
            <p:sp>
              <p:nvSpPr>
                <p:cNvPr id="319" name="Freeform 99">
                  <a:extLst>
                    <a:ext uri="{FF2B5EF4-FFF2-40B4-BE49-F238E27FC236}">
                      <a16:creationId xmlns:a16="http://schemas.microsoft.com/office/drawing/2014/main" id="{DE5F00C1-1007-2A40-837B-097F1DE3D53A}"/>
                    </a:ext>
                  </a:extLst>
                </p:cNvPr>
                <p:cNvSpPr>
                  <a:spLocks/>
                </p:cNvSpPr>
                <p:nvPr/>
              </p:nvSpPr>
              <p:spPr bwMode="auto">
                <a:xfrm>
                  <a:off x="8211404" y="953993"/>
                  <a:ext cx="20767" cy="23476"/>
                </a:xfrm>
                <a:custGeom>
                  <a:avLst/>
                  <a:gdLst>
                    <a:gd name="T0" fmla="*/ 35 w 42"/>
                    <a:gd name="T1" fmla="*/ 0 h 47"/>
                    <a:gd name="T2" fmla="*/ 15 w 42"/>
                    <a:gd name="T3" fmla="*/ 6 h 47"/>
                    <a:gd name="T4" fmla="*/ 0 w 42"/>
                    <a:gd name="T5" fmla="*/ 35 h 47"/>
                    <a:gd name="T6" fmla="*/ 2 w 42"/>
                    <a:gd name="T7" fmla="*/ 47 h 47"/>
                    <a:gd name="T8" fmla="*/ 0 w 42"/>
                    <a:gd name="T9" fmla="*/ 36 h 47"/>
                    <a:gd name="T10" fmla="*/ 35 w 42"/>
                    <a:gd name="T11" fmla="*/ 1 h 47"/>
                    <a:gd name="T12" fmla="*/ 35 w 42"/>
                    <a:gd name="T13" fmla="*/ 1 h 47"/>
                    <a:gd name="T14" fmla="*/ 42 w 42"/>
                    <a:gd name="T15" fmla="*/ 1 h 47"/>
                    <a:gd name="T16" fmla="*/ 35 w 42"/>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7">
                      <a:moveTo>
                        <a:pt x="35" y="0"/>
                      </a:moveTo>
                      <a:cubicBezTo>
                        <a:pt x="28" y="0"/>
                        <a:pt x="21" y="2"/>
                        <a:pt x="15" y="6"/>
                      </a:cubicBezTo>
                      <a:cubicBezTo>
                        <a:pt x="5" y="13"/>
                        <a:pt x="0" y="24"/>
                        <a:pt x="0" y="35"/>
                      </a:cubicBezTo>
                      <a:cubicBezTo>
                        <a:pt x="0" y="39"/>
                        <a:pt x="0" y="43"/>
                        <a:pt x="2" y="47"/>
                      </a:cubicBezTo>
                      <a:cubicBezTo>
                        <a:pt x="1" y="44"/>
                        <a:pt x="0" y="40"/>
                        <a:pt x="0" y="36"/>
                      </a:cubicBezTo>
                      <a:cubicBezTo>
                        <a:pt x="0" y="17"/>
                        <a:pt x="16" y="1"/>
                        <a:pt x="35" y="1"/>
                      </a:cubicBezTo>
                      <a:cubicBezTo>
                        <a:pt x="35" y="1"/>
                        <a:pt x="35" y="1"/>
                        <a:pt x="35" y="1"/>
                      </a:cubicBezTo>
                      <a:cubicBezTo>
                        <a:pt x="38" y="1"/>
                        <a:pt x="40" y="1"/>
                        <a:pt x="42" y="1"/>
                      </a:cubicBezTo>
                      <a:cubicBezTo>
                        <a:pt x="40" y="0"/>
                        <a:pt x="37" y="0"/>
                        <a:pt x="35" y="0"/>
                      </a:cubicBezTo>
                    </a:path>
                  </a:pathLst>
                </a:custGeom>
                <a:solidFill>
                  <a:schemeClr val="accent5"/>
                </a:solidFill>
                <a:ln w="9525">
                  <a:solidFill>
                    <a:schemeClr val="accent5"/>
                  </a:solidFill>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85">
                    <a:buClr>
                      <a:srgbClr val="000000"/>
                    </a:buClr>
                  </a:pPr>
                  <a:endParaRPr lang="en-US" sz="1867">
                    <a:solidFill>
                      <a:srgbClr val="2F446B"/>
                    </a:solidFill>
                    <a:latin typeface="CiscoSansTT ExtraLight" panose="020B0303020201020303" pitchFamily="34" charset="0"/>
                    <a:cs typeface="CiscoSansTT ExtraLight" panose="020B0303020201020303" pitchFamily="34" charset="0"/>
                    <a:sym typeface="Arial"/>
                  </a:endParaRPr>
                </a:p>
              </p:txBody>
            </p:sp>
            <p:sp>
              <p:nvSpPr>
                <p:cNvPr id="320" name="Freeform 101">
                  <a:extLst>
                    <a:ext uri="{FF2B5EF4-FFF2-40B4-BE49-F238E27FC236}">
                      <a16:creationId xmlns:a16="http://schemas.microsoft.com/office/drawing/2014/main" id="{3BA95BAD-0639-5640-8230-15239B5A3518}"/>
                    </a:ext>
                  </a:extLst>
                </p:cNvPr>
                <p:cNvSpPr>
                  <a:spLocks/>
                </p:cNvSpPr>
                <p:nvPr/>
              </p:nvSpPr>
              <p:spPr bwMode="auto">
                <a:xfrm>
                  <a:off x="8212307" y="976566"/>
                  <a:ext cx="52369" cy="17607"/>
                </a:xfrm>
                <a:custGeom>
                  <a:avLst/>
                  <a:gdLst>
                    <a:gd name="T0" fmla="*/ 82 w 105"/>
                    <a:gd name="T1" fmla="*/ 0 h 36"/>
                    <a:gd name="T2" fmla="*/ 53 w 105"/>
                    <a:gd name="T3" fmla="*/ 20 h 36"/>
                    <a:gd name="T4" fmla="*/ 33 w 105"/>
                    <a:gd name="T5" fmla="*/ 26 h 36"/>
                    <a:gd name="T6" fmla="*/ 4 w 105"/>
                    <a:gd name="T7" fmla="*/ 10 h 36"/>
                    <a:gd name="T8" fmla="*/ 0 w 105"/>
                    <a:gd name="T9" fmla="*/ 2 h 36"/>
                    <a:gd name="T10" fmla="*/ 0 w 105"/>
                    <a:gd name="T11" fmla="*/ 2 h 36"/>
                    <a:gd name="T12" fmla="*/ 4 w 105"/>
                    <a:gd name="T13" fmla="*/ 10 h 36"/>
                    <a:gd name="T14" fmla="*/ 6 w 105"/>
                    <a:gd name="T15" fmla="*/ 13 h 36"/>
                    <a:gd name="T16" fmla="*/ 33 w 105"/>
                    <a:gd name="T17" fmla="*/ 26 h 36"/>
                    <a:gd name="T18" fmla="*/ 105 w 105"/>
                    <a:gd name="T19" fmla="*/ 36 h 36"/>
                    <a:gd name="T20" fmla="*/ 82 w 105"/>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36">
                      <a:moveTo>
                        <a:pt x="82" y="0"/>
                      </a:moveTo>
                      <a:cubicBezTo>
                        <a:pt x="53" y="20"/>
                        <a:pt x="53" y="20"/>
                        <a:pt x="53" y="20"/>
                      </a:cubicBezTo>
                      <a:cubicBezTo>
                        <a:pt x="47" y="24"/>
                        <a:pt x="40" y="26"/>
                        <a:pt x="33" y="26"/>
                      </a:cubicBezTo>
                      <a:cubicBezTo>
                        <a:pt x="22" y="26"/>
                        <a:pt x="10" y="20"/>
                        <a:pt x="4" y="10"/>
                      </a:cubicBezTo>
                      <a:cubicBezTo>
                        <a:pt x="2" y="7"/>
                        <a:pt x="1" y="5"/>
                        <a:pt x="0" y="2"/>
                      </a:cubicBezTo>
                      <a:cubicBezTo>
                        <a:pt x="0" y="2"/>
                        <a:pt x="0" y="2"/>
                        <a:pt x="0" y="2"/>
                      </a:cubicBezTo>
                      <a:cubicBezTo>
                        <a:pt x="1" y="5"/>
                        <a:pt x="2" y="7"/>
                        <a:pt x="4" y="10"/>
                      </a:cubicBezTo>
                      <a:cubicBezTo>
                        <a:pt x="6" y="13"/>
                        <a:pt x="6" y="13"/>
                        <a:pt x="6" y="13"/>
                      </a:cubicBezTo>
                      <a:cubicBezTo>
                        <a:pt x="12" y="21"/>
                        <a:pt x="22" y="26"/>
                        <a:pt x="33" y="26"/>
                      </a:cubicBezTo>
                      <a:cubicBezTo>
                        <a:pt x="58" y="26"/>
                        <a:pt x="82" y="30"/>
                        <a:pt x="105" y="36"/>
                      </a:cubicBezTo>
                      <a:cubicBezTo>
                        <a:pt x="82" y="0"/>
                        <a:pt x="82" y="0"/>
                        <a:pt x="82" y="0"/>
                      </a:cubicBezTo>
                    </a:path>
                  </a:pathLst>
                </a:custGeom>
                <a:solidFill>
                  <a:schemeClr val="accent5"/>
                </a:solidFill>
                <a:ln>
                  <a:solidFill>
                    <a:schemeClr val="accent5"/>
                  </a:solidFill>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85">
                    <a:buClr>
                      <a:srgbClr val="000000"/>
                    </a:buClr>
                  </a:pPr>
                  <a:endParaRPr lang="en-US" sz="1867">
                    <a:solidFill>
                      <a:srgbClr val="2F446B"/>
                    </a:solidFill>
                    <a:latin typeface="CiscoSansTT ExtraLight" panose="020B0303020201020303" pitchFamily="34" charset="0"/>
                    <a:cs typeface="CiscoSansTT ExtraLight" panose="020B0303020201020303" pitchFamily="34" charset="0"/>
                    <a:sym typeface="Arial"/>
                  </a:endParaRPr>
                </a:p>
              </p:txBody>
            </p:sp>
            <p:sp>
              <p:nvSpPr>
                <p:cNvPr id="321" name="Freeform 102">
                  <a:extLst>
                    <a:ext uri="{FF2B5EF4-FFF2-40B4-BE49-F238E27FC236}">
                      <a16:creationId xmlns:a16="http://schemas.microsoft.com/office/drawing/2014/main" id="{BB4F37E1-22E5-D649-9315-925033B2F69F}"/>
                    </a:ext>
                  </a:extLst>
                </p:cNvPr>
                <p:cNvSpPr>
                  <a:spLocks/>
                </p:cNvSpPr>
                <p:nvPr/>
              </p:nvSpPr>
              <p:spPr bwMode="auto">
                <a:xfrm>
                  <a:off x="8232171" y="954445"/>
                  <a:ext cx="44243" cy="22121"/>
                </a:xfrm>
                <a:custGeom>
                  <a:avLst/>
                  <a:gdLst>
                    <a:gd name="T0" fmla="*/ 0 w 89"/>
                    <a:gd name="T1" fmla="*/ 0 h 44"/>
                    <a:gd name="T2" fmla="*/ 22 w 89"/>
                    <a:gd name="T3" fmla="*/ 15 h 44"/>
                    <a:gd name="T4" fmla="*/ 42 w 89"/>
                    <a:gd name="T5" fmla="*/ 44 h 44"/>
                    <a:gd name="T6" fmla="*/ 89 w 89"/>
                    <a:gd name="T7" fmla="*/ 13 h 44"/>
                    <a:gd name="T8" fmla="*/ 0 w 89"/>
                    <a:gd name="T9" fmla="*/ 0 h 44"/>
                  </a:gdLst>
                  <a:ahLst/>
                  <a:cxnLst>
                    <a:cxn ang="0">
                      <a:pos x="T0" y="T1"/>
                    </a:cxn>
                    <a:cxn ang="0">
                      <a:pos x="T2" y="T3"/>
                    </a:cxn>
                    <a:cxn ang="0">
                      <a:pos x="T4" y="T5"/>
                    </a:cxn>
                    <a:cxn ang="0">
                      <a:pos x="T6" y="T7"/>
                    </a:cxn>
                    <a:cxn ang="0">
                      <a:pos x="T8" y="T9"/>
                    </a:cxn>
                  </a:cxnLst>
                  <a:rect l="0" t="0" r="r" b="b"/>
                  <a:pathLst>
                    <a:path w="89" h="44">
                      <a:moveTo>
                        <a:pt x="0" y="0"/>
                      </a:moveTo>
                      <a:cubicBezTo>
                        <a:pt x="9" y="2"/>
                        <a:pt x="17" y="7"/>
                        <a:pt x="22" y="15"/>
                      </a:cubicBezTo>
                      <a:cubicBezTo>
                        <a:pt x="42" y="44"/>
                        <a:pt x="42" y="44"/>
                        <a:pt x="42" y="44"/>
                      </a:cubicBezTo>
                      <a:cubicBezTo>
                        <a:pt x="89" y="13"/>
                        <a:pt x="89" y="13"/>
                        <a:pt x="89" y="13"/>
                      </a:cubicBezTo>
                      <a:cubicBezTo>
                        <a:pt x="61" y="5"/>
                        <a:pt x="31" y="0"/>
                        <a:pt x="0" y="0"/>
                      </a:cubicBezTo>
                    </a:path>
                  </a:pathLst>
                </a:custGeom>
                <a:solidFill>
                  <a:schemeClr val="accent5"/>
                </a:solidFill>
                <a:ln>
                  <a:solidFill>
                    <a:schemeClr val="accent5"/>
                  </a:solidFill>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85">
                    <a:buClr>
                      <a:srgbClr val="000000"/>
                    </a:buClr>
                  </a:pPr>
                  <a:endParaRPr lang="en-US" sz="1867">
                    <a:solidFill>
                      <a:srgbClr val="2F446B"/>
                    </a:solidFill>
                    <a:latin typeface="CiscoSansTT ExtraLight" panose="020B0303020201020303" pitchFamily="34" charset="0"/>
                    <a:cs typeface="CiscoSansTT ExtraLight" panose="020B0303020201020303" pitchFamily="34" charset="0"/>
                    <a:sym typeface="Arial"/>
                  </a:endParaRPr>
                </a:p>
              </p:txBody>
            </p:sp>
            <p:sp>
              <p:nvSpPr>
                <p:cNvPr id="322" name="Freeform 103">
                  <a:extLst>
                    <a:ext uri="{FF2B5EF4-FFF2-40B4-BE49-F238E27FC236}">
                      <a16:creationId xmlns:a16="http://schemas.microsoft.com/office/drawing/2014/main" id="{84AFB748-BA0F-824B-94AB-BF79845ABC12}"/>
                    </a:ext>
                  </a:extLst>
                </p:cNvPr>
                <p:cNvSpPr>
                  <a:spLocks/>
                </p:cNvSpPr>
                <p:nvPr/>
              </p:nvSpPr>
              <p:spPr bwMode="auto">
                <a:xfrm>
                  <a:off x="8210727" y="954445"/>
                  <a:ext cx="41534" cy="34762"/>
                </a:xfrm>
                <a:custGeom>
                  <a:avLst/>
                  <a:gdLst>
                    <a:gd name="T0" fmla="*/ 35 w 84"/>
                    <a:gd name="T1" fmla="*/ 0 h 70"/>
                    <a:gd name="T2" fmla="*/ 35 w 84"/>
                    <a:gd name="T3" fmla="*/ 0 h 70"/>
                    <a:gd name="T4" fmla="*/ 0 w 84"/>
                    <a:gd name="T5" fmla="*/ 35 h 70"/>
                    <a:gd name="T6" fmla="*/ 2 w 84"/>
                    <a:gd name="T7" fmla="*/ 46 h 70"/>
                    <a:gd name="T8" fmla="*/ 6 w 84"/>
                    <a:gd name="T9" fmla="*/ 54 h 70"/>
                    <a:gd name="T10" fmla="*/ 35 w 84"/>
                    <a:gd name="T11" fmla="*/ 70 h 70"/>
                    <a:gd name="T12" fmla="*/ 55 w 84"/>
                    <a:gd name="T13" fmla="*/ 64 h 70"/>
                    <a:gd name="T14" fmla="*/ 84 w 84"/>
                    <a:gd name="T15" fmla="*/ 44 h 70"/>
                    <a:gd name="T16" fmla="*/ 64 w 84"/>
                    <a:gd name="T17" fmla="*/ 15 h 70"/>
                    <a:gd name="T18" fmla="*/ 42 w 84"/>
                    <a:gd name="T19" fmla="*/ 0 h 70"/>
                    <a:gd name="T20" fmla="*/ 35 w 84"/>
                    <a:gd name="T2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70">
                      <a:moveTo>
                        <a:pt x="35" y="0"/>
                      </a:moveTo>
                      <a:cubicBezTo>
                        <a:pt x="35" y="0"/>
                        <a:pt x="35" y="0"/>
                        <a:pt x="35" y="0"/>
                      </a:cubicBezTo>
                      <a:cubicBezTo>
                        <a:pt x="16" y="0"/>
                        <a:pt x="0" y="16"/>
                        <a:pt x="0" y="35"/>
                      </a:cubicBezTo>
                      <a:cubicBezTo>
                        <a:pt x="0" y="39"/>
                        <a:pt x="1" y="43"/>
                        <a:pt x="2" y="46"/>
                      </a:cubicBezTo>
                      <a:cubicBezTo>
                        <a:pt x="3" y="49"/>
                        <a:pt x="4" y="51"/>
                        <a:pt x="6" y="54"/>
                      </a:cubicBezTo>
                      <a:cubicBezTo>
                        <a:pt x="12" y="64"/>
                        <a:pt x="24" y="70"/>
                        <a:pt x="35" y="70"/>
                      </a:cubicBezTo>
                      <a:cubicBezTo>
                        <a:pt x="42" y="70"/>
                        <a:pt x="49" y="68"/>
                        <a:pt x="55" y="64"/>
                      </a:cubicBezTo>
                      <a:cubicBezTo>
                        <a:pt x="84" y="44"/>
                        <a:pt x="84" y="44"/>
                        <a:pt x="84" y="44"/>
                      </a:cubicBezTo>
                      <a:cubicBezTo>
                        <a:pt x="64" y="15"/>
                        <a:pt x="64" y="15"/>
                        <a:pt x="64" y="15"/>
                      </a:cubicBezTo>
                      <a:cubicBezTo>
                        <a:pt x="59" y="7"/>
                        <a:pt x="51" y="2"/>
                        <a:pt x="42" y="0"/>
                      </a:cubicBezTo>
                      <a:cubicBezTo>
                        <a:pt x="40" y="0"/>
                        <a:pt x="38" y="0"/>
                        <a:pt x="35" y="0"/>
                      </a:cubicBezTo>
                    </a:path>
                  </a:pathLst>
                </a:custGeom>
                <a:solidFill>
                  <a:schemeClr val="accent5"/>
                </a:solidFill>
                <a:ln>
                  <a:solidFill>
                    <a:schemeClr val="accent5"/>
                  </a:solidFill>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85">
                    <a:buClr>
                      <a:srgbClr val="000000"/>
                    </a:buClr>
                  </a:pPr>
                  <a:endParaRPr lang="en-US" sz="1867">
                    <a:solidFill>
                      <a:srgbClr val="2F446B"/>
                    </a:solidFill>
                    <a:latin typeface="CiscoSansTT ExtraLight" panose="020B0303020201020303" pitchFamily="34" charset="0"/>
                    <a:cs typeface="CiscoSansTT ExtraLight" panose="020B0303020201020303" pitchFamily="34" charset="0"/>
                    <a:sym typeface="Arial"/>
                  </a:endParaRPr>
                </a:p>
              </p:txBody>
            </p:sp>
          </p:grpSp>
        </p:grpSp>
      </p:grpSp>
      <p:sp>
        <p:nvSpPr>
          <p:cNvPr id="298" name="TextBox 297">
            <a:extLst>
              <a:ext uri="{FF2B5EF4-FFF2-40B4-BE49-F238E27FC236}">
                <a16:creationId xmlns:a16="http://schemas.microsoft.com/office/drawing/2014/main" id="{EA83CCAA-0E24-2747-8FEB-2BD340AE8523}"/>
              </a:ext>
            </a:extLst>
          </p:cNvPr>
          <p:cNvSpPr txBox="1"/>
          <p:nvPr/>
        </p:nvSpPr>
        <p:spPr>
          <a:xfrm>
            <a:off x="413010" y="4697904"/>
            <a:ext cx="2388801" cy="1940797"/>
          </a:xfrm>
          <a:prstGeom prst="roundRect">
            <a:avLst>
              <a:gd name="adj" fmla="val 5596"/>
            </a:avLst>
          </a:prstGeom>
          <a:solidFill>
            <a:srgbClr val="EDF1F7"/>
          </a:solidFill>
          <a:ln w="12700">
            <a:noFill/>
          </a:ln>
        </p:spPr>
        <p:txBody>
          <a:bodyPr wrap="square" tIns="91440" bIns="121920" rtlCol="0" anchor="t">
            <a:noAutofit/>
          </a:bodyPr>
          <a:lstStyle/>
          <a:p>
            <a:pPr marL="8466" defTabSz="609585" fontAlgn="base">
              <a:spcBef>
                <a:spcPct val="0"/>
              </a:spcBef>
              <a:spcAft>
                <a:spcPct val="0"/>
              </a:spcAft>
              <a:defRPr/>
            </a:pPr>
            <a:endParaRPr lang="en-US" sz="1200">
              <a:solidFill>
                <a:srgbClr val="005073"/>
              </a:solidFill>
              <a:latin typeface="Arial"/>
              <a:ea typeface="ＭＳ Ｐゴシック" charset="0"/>
              <a:cs typeface="Arial"/>
              <a:sym typeface="Arial"/>
            </a:endParaRPr>
          </a:p>
          <a:p>
            <a:pPr marL="8466" defTabSz="609585" fontAlgn="base">
              <a:spcBef>
                <a:spcPct val="0"/>
              </a:spcBef>
              <a:spcAft>
                <a:spcPct val="0"/>
              </a:spcAft>
              <a:defRPr/>
            </a:pPr>
            <a:endParaRPr lang="en-US" sz="1200">
              <a:solidFill>
                <a:srgbClr val="005073"/>
              </a:solidFill>
              <a:latin typeface="Arial"/>
              <a:ea typeface="ＭＳ Ｐゴシック" charset="0"/>
              <a:cs typeface="Arial"/>
              <a:sym typeface="Arial"/>
            </a:endParaRPr>
          </a:p>
          <a:p>
            <a:pPr marL="8466" algn="r" defTabSz="609585" fontAlgn="base">
              <a:spcBef>
                <a:spcPct val="0"/>
              </a:spcBef>
              <a:spcAft>
                <a:spcPct val="0"/>
              </a:spcAft>
              <a:defRPr/>
            </a:pPr>
            <a:endParaRPr lang="en-US" sz="1200">
              <a:solidFill>
                <a:srgbClr val="005073"/>
              </a:solidFill>
              <a:latin typeface="Arial"/>
              <a:ea typeface="ＭＳ Ｐゴシック" charset="0"/>
              <a:cs typeface="Arial"/>
              <a:sym typeface="Arial"/>
            </a:endParaRPr>
          </a:p>
          <a:p>
            <a:pPr marL="8466" algn="r" defTabSz="609585" fontAlgn="base">
              <a:spcBef>
                <a:spcPct val="0"/>
              </a:spcBef>
              <a:spcAft>
                <a:spcPct val="0"/>
              </a:spcAft>
              <a:defRPr/>
            </a:pPr>
            <a:r>
              <a:rPr lang="en-US" sz="1133">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Block domains</a:t>
            </a:r>
          </a:p>
          <a:p>
            <a:pPr marL="8466" algn="r" defTabSz="609585" fontAlgn="base">
              <a:spcBef>
                <a:spcPct val="0"/>
              </a:spcBef>
              <a:spcAft>
                <a:spcPct val="0"/>
              </a:spcAft>
              <a:defRPr/>
            </a:pPr>
            <a:r>
              <a:rPr lang="en-US" sz="1133">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Block URLs</a:t>
            </a:r>
          </a:p>
          <a:p>
            <a:pPr marL="8466" algn="r" defTabSz="609585" fontAlgn="base">
              <a:spcBef>
                <a:spcPct val="0"/>
              </a:spcBef>
              <a:spcAft>
                <a:spcPct val="0"/>
              </a:spcAft>
              <a:defRPr/>
            </a:pPr>
            <a:r>
              <a:rPr lang="en-US" sz="1133">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Block hashes</a:t>
            </a:r>
          </a:p>
          <a:p>
            <a:pPr marL="8466" algn="r" defTabSz="609585" fontAlgn="base">
              <a:spcBef>
                <a:spcPct val="0"/>
              </a:spcBef>
              <a:spcAft>
                <a:spcPct val="0"/>
              </a:spcAft>
              <a:defRPr/>
            </a:pPr>
            <a:r>
              <a:rPr lang="en-US" sz="1133">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Isolate hosts</a:t>
            </a:r>
          </a:p>
          <a:p>
            <a:pPr marL="8466" algn="r" defTabSz="609585" fontAlgn="base">
              <a:spcBef>
                <a:spcPct val="0"/>
              </a:spcBef>
              <a:spcAft>
                <a:spcPct val="0"/>
              </a:spcAft>
              <a:defRPr/>
            </a:pPr>
            <a:r>
              <a:rPr lang="en-US" sz="1133">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Add custom IOCs</a:t>
            </a:r>
            <a:r>
              <a:rPr lang="en-US" sz="12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 </a:t>
            </a:r>
          </a:p>
          <a:p>
            <a:pPr marL="8466" defTabSz="609585" fontAlgn="base">
              <a:spcBef>
                <a:spcPct val="0"/>
              </a:spcBef>
              <a:spcAft>
                <a:spcPct val="0"/>
              </a:spcAft>
              <a:defRPr/>
            </a:pPr>
            <a:endParaRPr lang="en-US" sz="1200">
              <a:solidFill>
                <a:srgbClr val="005073"/>
              </a:solidFill>
              <a:latin typeface="Arial"/>
              <a:ea typeface="ＭＳ Ｐゴシック" charset="0"/>
              <a:cs typeface="Arial"/>
              <a:sym typeface="Arial"/>
            </a:endParaRPr>
          </a:p>
        </p:txBody>
      </p:sp>
      <p:grpSp>
        <p:nvGrpSpPr>
          <p:cNvPr id="299" name="Group 298">
            <a:extLst>
              <a:ext uri="{FF2B5EF4-FFF2-40B4-BE49-F238E27FC236}">
                <a16:creationId xmlns:a16="http://schemas.microsoft.com/office/drawing/2014/main" id="{887140EE-4B84-5641-820C-44A659047D91}"/>
              </a:ext>
            </a:extLst>
          </p:cNvPr>
          <p:cNvGrpSpPr>
            <a:grpSpLocks noChangeAspect="1"/>
          </p:cNvGrpSpPr>
          <p:nvPr/>
        </p:nvGrpSpPr>
        <p:grpSpPr>
          <a:xfrm>
            <a:off x="521525" y="4792227"/>
            <a:ext cx="444457" cy="551999"/>
            <a:chOff x="4938600" y="1353154"/>
            <a:chExt cx="425315" cy="528295"/>
          </a:xfrm>
        </p:grpSpPr>
        <p:sp>
          <p:nvSpPr>
            <p:cNvPr id="300" name="Rounded Rectangle 150">
              <a:extLst>
                <a:ext uri="{FF2B5EF4-FFF2-40B4-BE49-F238E27FC236}">
                  <a16:creationId xmlns:a16="http://schemas.microsoft.com/office/drawing/2014/main" id="{AE69C5CB-9CCD-3743-89F0-5B72EC04336C}"/>
                </a:ext>
              </a:extLst>
            </p:cNvPr>
            <p:cNvSpPr/>
            <p:nvPr/>
          </p:nvSpPr>
          <p:spPr>
            <a:xfrm>
              <a:off x="4938600" y="1353154"/>
              <a:ext cx="425315" cy="528295"/>
            </a:xfrm>
            <a:prstGeom prst="roundRect">
              <a:avLst>
                <a:gd name="adj" fmla="val 6873"/>
              </a:avLst>
            </a:prstGeom>
            <a:solidFill>
              <a:srgbClr val="EDF1F7"/>
            </a:solidFill>
            <a:ln>
              <a:solidFill>
                <a:schemeClr val="accent1"/>
              </a:solidFill>
            </a:ln>
          </p:spPr>
          <p:txBody>
            <a:bodyPr vert="horz" wrap="square" lIns="0" tIns="81280" rIns="162560" bIns="81280" numCol="1" anchor="b" anchorCtr="0" compatLnSpc="1">
              <a:prstTxWarp prst="textNoShape">
                <a:avLst/>
              </a:prstTxWarp>
              <a:noAutofit/>
            </a:bodyPr>
            <a:lstStyle/>
            <a:p>
              <a:pPr algn="ctr" defTabSz="812760" fontAlgn="base">
                <a:spcBef>
                  <a:spcPct val="0"/>
                </a:spcBef>
                <a:spcAft>
                  <a:spcPct val="0"/>
                </a:spcAft>
                <a:buClr>
                  <a:srgbClr val="000000"/>
                </a:buClr>
                <a:defRPr/>
              </a:pPr>
              <a:endParaRPr lang="en-US" sz="1956" kern="0">
                <a:solidFill>
                  <a:srgbClr val="676767"/>
                </a:solidFill>
                <a:latin typeface="Arial"/>
                <a:ea typeface="ＭＳ Ｐゴシック" charset="0"/>
                <a:cs typeface="Arial"/>
                <a:sym typeface="Arial"/>
              </a:endParaRPr>
            </a:p>
          </p:txBody>
        </p:sp>
        <p:sp>
          <p:nvSpPr>
            <p:cNvPr id="301" name="Rounded Rectangle 151">
              <a:extLst>
                <a:ext uri="{FF2B5EF4-FFF2-40B4-BE49-F238E27FC236}">
                  <a16:creationId xmlns:a16="http://schemas.microsoft.com/office/drawing/2014/main" id="{E26A107E-7F00-CE45-8CDE-6EE1DBD76466}"/>
                </a:ext>
              </a:extLst>
            </p:cNvPr>
            <p:cNvSpPr/>
            <p:nvPr/>
          </p:nvSpPr>
          <p:spPr>
            <a:xfrm>
              <a:off x="4982138" y="1426414"/>
              <a:ext cx="80017" cy="80017"/>
            </a:xfrm>
            <a:prstGeom prst="round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fontAlgn="base">
                <a:spcBef>
                  <a:spcPct val="0"/>
                </a:spcBef>
                <a:spcAft>
                  <a:spcPct val="0"/>
                </a:spcAft>
                <a:buClr>
                  <a:srgbClr val="000000"/>
                </a:buClr>
                <a:defRPr/>
              </a:pPr>
              <a:endParaRPr lang="en-US" sz="3200" kern="0">
                <a:solidFill>
                  <a:srgbClr val="005073"/>
                </a:solidFill>
                <a:latin typeface="Arial"/>
                <a:sym typeface="Arial"/>
              </a:endParaRPr>
            </a:p>
          </p:txBody>
        </p:sp>
        <p:sp>
          <p:nvSpPr>
            <p:cNvPr id="302" name="Rounded Rectangle 160">
              <a:extLst>
                <a:ext uri="{FF2B5EF4-FFF2-40B4-BE49-F238E27FC236}">
                  <a16:creationId xmlns:a16="http://schemas.microsoft.com/office/drawing/2014/main" id="{BED264FF-B41A-3246-B658-A02710251DC8}"/>
                </a:ext>
              </a:extLst>
            </p:cNvPr>
            <p:cNvSpPr/>
            <p:nvPr/>
          </p:nvSpPr>
          <p:spPr>
            <a:xfrm>
              <a:off x="4982138" y="1575879"/>
              <a:ext cx="80017" cy="80017"/>
            </a:xfrm>
            <a:prstGeom prst="round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fontAlgn="base">
                <a:spcBef>
                  <a:spcPct val="0"/>
                </a:spcBef>
                <a:spcAft>
                  <a:spcPct val="0"/>
                </a:spcAft>
                <a:buClr>
                  <a:srgbClr val="000000"/>
                </a:buClr>
                <a:defRPr/>
              </a:pPr>
              <a:endParaRPr lang="en-US" sz="3200" kern="0">
                <a:solidFill>
                  <a:srgbClr val="005073"/>
                </a:solidFill>
                <a:latin typeface="Arial"/>
                <a:sym typeface="Arial"/>
              </a:endParaRPr>
            </a:p>
          </p:txBody>
        </p:sp>
        <p:sp>
          <p:nvSpPr>
            <p:cNvPr id="303" name="Rounded Rectangle 163">
              <a:extLst>
                <a:ext uri="{FF2B5EF4-FFF2-40B4-BE49-F238E27FC236}">
                  <a16:creationId xmlns:a16="http://schemas.microsoft.com/office/drawing/2014/main" id="{B4B587BD-2C0A-9B4D-8863-F02D03924E94}"/>
                </a:ext>
              </a:extLst>
            </p:cNvPr>
            <p:cNvSpPr/>
            <p:nvPr/>
          </p:nvSpPr>
          <p:spPr>
            <a:xfrm>
              <a:off x="4982138" y="1727022"/>
              <a:ext cx="80017" cy="80017"/>
            </a:xfrm>
            <a:prstGeom prst="round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fontAlgn="base">
                <a:spcBef>
                  <a:spcPct val="0"/>
                </a:spcBef>
                <a:spcAft>
                  <a:spcPct val="0"/>
                </a:spcAft>
                <a:buClr>
                  <a:srgbClr val="000000"/>
                </a:buClr>
                <a:defRPr/>
              </a:pPr>
              <a:endParaRPr lang="en-US" sz="3200" kern="0">
                <a:solidFill>
                  <a:srgbClr val="005073"/>
                </a:solidFill>
                <a:latin typeface="Arial"/>
                <a:sym typeface="Arial"/>
              </a:endParaRPr>
            </a:p>
          </p:txBody>
        </p:sp>
        <p:cxnSp>
          <p:nvCxnSpPr>
            <p:cNvPr id="304" name="Straight Connector 303">
              <a:extLst>
                <a:ext uri="{FF2B5EF4-FFF2-40B4-BE49-F238E27FC236}">
                  <a16:creationId xmlns:a16="http://schemas.microsoft.com/office/drawing/2014/main" id="{446347E0-59B5-9845-90B9-E7D60912BA4B}"/>
                </a:ext>
              </a:extLst>
            </p:cNvPr>
            <p:cNvCxnSpPr/>
            <p:nvPr/>
          </p:nvCxnSpPr>
          <p:spPr>
            <a:xfrm>
              <a:off x="5093956" y="1443191"/>
              <a:ext cx="2286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0BFA020A-DD65-AE42-A88C-E909E1BBAF01}"/>
                </a:ext>
              </a:extLst>
            </p:cNvPr>
            <p:cNvCxnSpPr/>
            <p:nvPr/>
          </p:nvCxnSpPr>
          <p:spPr>
            <a:xfrm>
              <a:off x="5093956" y="1601941"/>
              <a:ext cx="2286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A9ADF4BB-7557-9841-8CEB-4F0417BFA99D}"/>
                </a:ext>
              </a:extLst>
            </p:cNvPr>
            <p:cNvCxnSpPr/>
            <p:nvPr/>
          </p:nvCxnSpPr>
          <p:spPr>
            <a:xfrm>
              <a:off x="5093956" y="1751166"/>
              <a:ext cx="2286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4EBA28C7-65A8-5148-A114-EFC4E5DB755A}"/>
                </a:ext>
              </a:extLst>
            </p:cNvPr>
            <p:cNvCxnSpPr/>
            <p:nvPr/>
          </p:nvCxnSpPr>
          <p:spPr>
            <a:xfrm>
              <a:off x="5093956" y="1474941"/>
              <a:ext cx="18288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AA92EDEB-25A6-3442-AE70-DA5AFF330281}"/>
                </a:ext>
              </a:extLst>
            </p:cNvPr>
            <p:cNvCxnSpPr/>
            <p:nvPr/>
          </p:nvCxnSpPr>
          <p:spPr>
            <a:xfrm>
              <a:off x="5093956" y="1633691"/>
              <a:ext cx="18288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397D6457-305C-C44F-A4EF-FFBDAE60B733}"/>
                </a:ext>
              </a:extLst>
            </p:cNvPr>
            <p:cNvCxnSpPr/>
            <p:nvPr/>
          </p:nvCxnSpPr>
          <p:spPr>
            <a:xfrm>
              <a:off x="5093956" y="1782916"/>
              <a:ext cx="18288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10" name="TextBox 309">
            <a:extLst>
              <a:ext uri="{FF2B5EF4-FFF2-40B4-BE49-F238E27FC236}">
                <a16:creationId xmlns:a16="http://schemas.microsoft.com/office/drawing/2014/main" id="{F2EC65CE-F967-D04B-BAFA-DF9D1F8AFFCF}"/>
              </a:ext>
            </a:extLst>
          </p:cNvPr>
          <p:cNvSpPr txBox="1"/>
          <p:nvPr/>
        </p:nvSpPr>
        <p:spPr>
          <a:xfrm>
            <a:off x="1032541" y="4817606"/>
            <a:ext cx="876816" cy="553997"/>
          </a:xfrm>
          <a:prstGeom prst="rect">
            <a:avLst/>
          </a:prstGeom>
          <a:noFill/>
        </p:spPr>
        <p:txBody>
          <a:bodyPr wrap="square" lIns="0" tIns="0" rIns="0" bIns="0" rtlCol="0">
            <a:noAutofit/>
          </a:bodyPr>
          <a:lstStyle/>
          <a:p>
            <a:pPr defTabSz="609585" fontAlgn="base">
              <a:spcBef>
                <a:spcPct val="0"/>
              </a:spcBef>
              <a:spcAft>
                <a:spcPct val="0"/>
              </a:spcAft>
              <a:defRPr/>
            </a:pPr>
            <a:r>
              <a:rPr lang="en-US" sz="1067">
                <a:solidFill>
                  <a:srgbClr val="005073"/>
                </a:solidFill>
                <a:latin typeface="CiscoSansTT ExtraLight" panose="020B0303020201020303" pitchFamily="34" charset="0"/>
                <a:ea typeface="ＭＳ Ｐゴシック" charset="0"/>
                <a:cs typeface="CiscoSansTT ExtraLight" panose="020B0303020201020303" pitchFamily="34" charset="0"/>
                <a:sym typeface="Arial"/>
              </a:rPr>
              <a:t>Response Action Catalog</a:t>
            </a:r>
          </a:p>
        </p:txBody>
      </p:sp>
      <p:sp>
        <p:nvSpPr>
          <p:cNvPr id="293" name="Rectangle 4">
            <a:extLst>
              <a:ext uri="{FF2B5EF4-FFF2-40B4-BE49-F238E27FC236}">
                <a16:creationId xmlns:a16="http://schemas.microsoft.com/office/drawing/2014/main" id="{FE348818-5491-F345-B697-0D18F8305EB5}"/>
              </a:ext>
            </a:extLst>
          </p:cNvPr>
          <p:cNvSpPr/>
          <p:nvPr/>
        </p:nvSpPr>
        <p:spPr>
          <a:xfrm>
            <a:off x="6373020" y="2908916"/>
            <a:ext cx="224917" cy="686973"/>
          </a:xfrm>
          <a:custGeom>
            <a:avLst/>
            <a:gdLst>
              <a:gd name="connsiteX0" fmla="*/ 0 w 168688"/>
              <a:gd name="connsiteY0" fmla="*/ 0 h 512205"/>
              <a:gd name="connsiteX1" fmla="*/ 168688 w 168688"/>
              <a:gd name="connsiteY1" fmla="*/ 0 h 512205"/>
              <a:gd name="connsiteX2" fmla="*/ 168688 w 168688"/>
              <a:gd name="connsiteY2" fmla="*/ 512205 h 512205"/>
              <a:gd name="connsiteX3" fmla="*/ 0 w 168688"/>
              <a:gd name="connsiteY3" fmla="*/ 512205 h 512205"/>
              <a:gd name="connsiteX4" fmla="*/ 0 w 168688"/>
              <a:gd name="connsiteY4" fmla="*/ 0 h 512205"/>
              <a:gd name="connsiteX0" fmla="*/ 0 w 168688"/>
              <a:gd name="connsiteY0" fmla="*/ 0 h 603645"/>
              <a:gd name="connsiteX1" fmla="*/ 168688 w 168688"/>
              <a:gd name="connsiteY1" fmla="*/ 0 h 603645"/>
              <a:gd name="connsiteX2" fmla="*/ 168688 w 168688"/>
              <a:gd name="connsiteY2" fmla="*/ 512205 h 603645"/>
              <a:gd name="connsiteX3" fmla="*/ 91440 w 168688"/>
              <a:gd name="connsiteY3" fmla="*/ 603645 h 603645"/>
              <a:gd name="connsiteX0" fmla="*/ 0 w 168688"/>
              <a:gd name="connsiteY0" fmla="*/ 0 h 527930"/>
              <a:gd name="connsiteX1" fmla="*/ 168688 w 168688"/>
              <a:gd name="connsiteY1" fmla="*/ 0 h 527930"/>
              <a:gd name="connsiteX2" fmla="*/ 168688 w 168688"/>
              <a:gd name="connsiteY2" fmla="*/ 512205 h 527930"/>
              <a:gd name="connsiteX3" fmla="*/ 56495 w 168688"/>
              <a:gd name="connsiteY3" fmla="*/ 527930 h 527930"/>
              <a:gd name="connsiteX0" fmla="*/ 0 w 168688"/>
              <a:gd name="connsiteY0" fmla="*/ 0 h 518405"/>
              <a:gd name="connsiteX1" fmla="*/ 168688 w 168688"/>
              <a:gd name="connsiteY1" fmla="*/ 0 h 518405"/>
              <a:gd name="connsiteX2" fmla="*/ 168688 w 168688"/>
              <a:gd name="connsiteY2" fmla="*/ 512205 h 518405"/>
              <a:gd name="connsiteX3" fmla="*/ 21570 w 168688"/>
              <a:gd name="connsiteY3" fmla="*/ 518405 h 518405"/>
              <a:gd name="connsiteX0" fmla="*/ 0 w 168688"/>
              <a:gd name="connsiteY0" fmla="*/ 0 h 512205"/>
              <a:gd name="connsiteX1" fmla="*/ 168688 w 168688"/>
              <a:gd name="connsiteY1" fmla="*/ 0 h 512205"/>
              <a:gd name="connsiteX2" fmla="*/ 168688 w 168688"/>
              <a:gd name="connsiteY2" fmla="*/ 512205 h 512205"/>
              <a:gd name="connsiteX3" fmla="*/ 21570 w 168688"/>
              <a:gd name="connsiteY3" fmla="*/ 508880 h 512205"/>
              <a:gd name="connsiteX0" fmla="*/ 0 w 168688"/>
              <a:gd name="connsiteY0" fmla="*/ 0 h 518405"/>
              <a:gd name="connsiteX1" fmla="*/ 168688 w 168688"/>
              <a:gd name="connsiteY1" fmla="*/ 0 h 518405"/>
              <a:gd name="connsiteX2" fmla="*/ 168688 w 168688"/>
              <a:gd name="connsiteY2" fmla="*/ 512205 h 518405"/>
              <a:gd name="connsiteX3" fmla="*/ 21570 w 168688"/>
              <a:gd name="connsiteY3" fmla="*/ 518405 h 518405"/>
              <a:gd name="connsiteX0" fmla="*/ 0 w 168688"/>
              <a:gd name="connsiteY0" fmla="*/ 0 h 515230"/>
              <a:gd name="connsiteX1" fmla="*/ 168688 w 168688"/>
              <a:gd name="connsiteY1" fmla="*/ 0 h 515230"/>
              <a:gd name="connsiteX2" fmla="*/ 168688 w 168688"/>
              <a:gd name="connsiteY2" fmla="*/ 512205 h 515230"/>
              <a:gd name="connsiteX3" fmla="*/ 12045 w 168688"/>
              <a:gd name="connsiteY3" fmla="*/ 515230 h 515230"/>
            </a:gdLst>
            <a:ahLst/>
            <a:cxnLst>
              <a:cxn ang="0">
                <a:pos x="connsiteX0" y="connsiteY0"/>
              </a:cxn>
              <a:cxn ang="0">
                <a:pos x="connsiteX1" y="connsiteY1"/>
              </a:cxn>
              <a:cxn ang="0">
                <a:pos x="connsiteX2" y="connsiteY2"/>
              </a:cxn>
              <a:cxn ang="0">
                <a:pos x="connsiteX3" y="connsiteY3"/>
              </a:cxn>
            </a:cxnLst>
            <a:rect l="l" t="t" r="r" b="b"/>
            <a:pathLst>
              <a:path w="168688" h="515230">
                <a:moveTo>
                  <a:pt x="0" y="0"/>
                </a:moveTo>
                <a:lnTo>
                  <a:pt x="168688" y="0"/>
                </a:lnTo>
                <a:lnTo>
                  <a:pt x="168688" y="512205"/>
                </a:lnTo>
                <a:cubicBezTo>
                  <a:pt x="112459" y="512205"/>
                  <a:pt x="12045" y="515230"/>
                  <a:pt x="12045" y="515230"/>
                </a:cubicBezTo>
              </a:path>
            </a:pathLst>
          </a:custGeom>
          <a:ln w="15875" cap="rnd">
            <a:solidFill>
              <a:srgbClr val="BBCDDF"/>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1219170">
              <a:buClr>
                <a:srgbClr val="000000"/>
              </a:buClr>
            </a:pPr>
            <a:endParaRPr lang="en-US" sz="1867" kern="0">
              <a:solidFill>
                <a:srgbClr val="2F446B"/>
              </a:solidFill>
              <a:latin typeface="Arial"/>
              <a:sym typeface="Arial"/>
            </a:endParaRPr>
          </a:p>
        </p:txBody>
      </p:sp>
      <p:cxnSp>
        <p:nvCxnSpPr>
          <p:cNvPr id="284" name="Straight Connector 283">
            <a:extLst>
              <a:ext uri="{FF2B5EF4-FFF2-40B4-BE49-F238E27FC236}">
                <a16:creationId xmlns:a16="http://schemas.microsoft.com/office/drawing/2014/main" id="{1267351A-1BEF-8844-9A1C-65D10531C032}"/>
              </a:ext>
            </a:extLst>
          </p:cNvPr>
          <p:cNvCxnSpPr>
            <a:cxnSpLocks/>
          </p:cNvCxnSpPr>
          <p:nvPr/>
        </p:nvCxnSpPr>
        <p:spPr>
          <a:xfrm>
            <a:off x="4131497" y="3387080"/>
            <a:ext cx="1" cy="853440"/>
          </a:xfrm>
          <a:prstGeom prst="line">
            <a:avLst/>
          </a:prstGeom>
          <a:ln w="15875" cap="rnd">
            <a:solidFill>
              <a:srgbClr val="BBCDDF"/>
            </a:solidFill>
            <a:tailEnd type="triangle"/>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4DE84064-1F98-7748-98C8-0C5FD8FCAA42}"/>
              </a:ext>
            </a:extLst>
          </p:cNvPr>
          <p:cNvSpPr>
            <a:spLocks noGrp="1"/>
          </p:cNvSpPr>
          <p:nvPr>
            <p:ph type="body" idx="1"/>
          </p:nvPr>
        </p:nvSpPr>
        <p:spPr>
          <a:xfrm>
            <a:off x="153132" y="720000"/>
            <a:ext cx="11319203" cy="480000"/>
          </a:xfrm>
        </p:spPr>
        <p:txBody>
          <a:bodyPr/>
          <a:lstStyle/>
          <a:p>
            <a:r>
              <a:rPr lang="en-US"/>
              <a:t>Cisco Managed Detection and </a:t>
            </a:r>
            <a:r>
              <a:rPr lang="en-US">
                <a:solidFill>
                  <a:schemeClr val="accent1"/>
                </a:solidFill>
              </a:rPr>
              <a:t>Response</a:t>
            </a:r>
            <a:r>
              <a:rPr lang="en-US"/>
              <a:t> Service</a:t>
            </a:r>
          </a:p>
        </p:txBody>
      </p:sp>
      <p:grpSp>
        <p:nvGrpSpPr>
          <p:cNvPr id="3" name="Group 2">
            <a:extLst>
              <a:ext uri="{FF2B5EF4-FFF2-40B4-BE49-F238E27FC236}">
                <a16:creationId xmlns:a16="http://schemas.microsoft.com/office/drawing/2014/main" id="{D9894799-0729-6B41-B4F9-4DBFCB6C46FF}"/>
              </a:ext>
            </a:extLst>
          </p:cNvPr>
          <p:cNvGrpSpPr>
            <a:grpSpLocks noChangeAspect="1"/>
          </p:cNvGrpSpPr>
          <p:nvPr/>
        </p:nvGrpSpPr>
        <p:grpSpPr>
          <a:xfrm>
            <a:off x="10464924" y="2778550"/>
            <a:ext cx="444457" cy="551999"/>
            <a:chOff x="4938600" y="1353154"/>
            <a:chExt cx="425315" cy="528295"/>
          </a:xfrm>
        </p:grpSpPr>
        <p:sp>
          <p:nvSpPr>
            <p:cNvPr id="4" name="Rounded Rectangle 150">
              <a:extLst>
                <a:ext uri="{FF2B5EF4-FFF2-40B4-BE49-F238E27FC236}">
                  <a16:creationId xmlns:a16="http://schemas.microsoft.com/office/drawing/2014/main" id="{A789C71B-114A-7844-90A6-C7FE4F1BD9DE}"/>
                </a:ext>
              </a:extLst>
            </p:cNvPr>
            <p:cNvSpPr/>
            <p:nvPr/>
          </p:nvSpPr>
          <p:spPr>
            <a:xfrm>
              <a:off x="4938600" y="1353154"/>
              <a:ext cx="425315" cy="528295"/>
            </a:xfrm>
            <a:prstGeom prst="roundRect">
              <a:avLst>
                <a:gd name="adj" fmla="val 6873"/>
              </a:avLst>
            </a:prstGeom>
            <a:solidFill>
              <a:srgbClr val="EDF1F7"/>
            </a:solidFill>
            <a:ln>
              <a:solidFill>
                <a:schemeClr val="accent1"/>
              </a:solidFill>
            </a:ln>
          </p:spPr>
          <p:txBody>
            <a:bodyPr vert="horz" wrap="square" lIns="0" tIns="81280" rIns="162560" bIns="81280" numCol="1" anchor="b" anchorCtr="0" compatLnSpc="1">
              <a:prstTxWarp prst="textNoShape">
                <a:avLst/>
              </a:prstTxWarp>
              <a:noAutofit/>
            </a:bodyPr>
            <a:lstStyle/>
            <a:p>
              <a:pPr algn="ctr" defTabSz="812760" fontAlgn="base">
                <a:spcBef>
                  <a:spcPct val="0"/>
                </a:spcBef>
                <a:spcAft>
                  <a:spcPct val="0"/>
                </a:spcAft>
                <a:buClr>
                  <a:srgbClr val="000000"/>
                </a:buClr>
                <a:defRPr/>
              </a:pPr>
              <a:endParaRPr lang="en-US" sz="1956" kern="0">
                <a:solidFill>
                  <a:srgbClr val="676767"/>
                </a:solidFill>
                <a:latin typeface="Arial"/>
                <a:ea typeface="ＭＳ Ｐゴシック" charset="0"/>
                <a:cs typeface="Arial"/>
                <a:sym typeface="Arial"/>
              </a:endParaRPr>
            </a:p>
          </p:txBody>
        </p:sp>
        <p:sp>
          <p:nvSpPr>
            <p:cNvPr id="5" name="Rounded Rectangle 151">
              <a:extLst>
                <a:ext uri="{FF2B5EF4-FFF2-40B4-BE49-F238E27FC236}">
                  <a16:creationId xmlns:a16="http://schemas.microsoft.com/office/drawing/2014/main" id="{194A293C-AEA8-7844-B5FD-CA84EF928926}"/>
                </a:ext>
              </a:extLst>
            </p:cNvPr>
            <p:cNvSpPr/>
            <p:nvPr/>
          </p:nvSpPr>
          <p:spPr>
            <a:xfrm>
              <a:off x="4982138" y="1426414"/>
              <a:ext cx="80017" cy="80017"/>
            </a:xfrm>
            <a:prstGeom prst="round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fontAlgn="base">
                <a:spcBef>
                  <a:spcPct val="0"/>
                </a:spcBef>
                <a:spcAft>
                  <a:spcPct val="0"/>
                </a:spcAft>
                <a:buClr>
                  <a:srgbClr val="000000"/>
                </a:buClr>
                <a:defRPr/>
              </a:pPr>
              <a:endParaRPr lang="en-US" sz="3200" kern="0">
                <a:solidFill>
                  <a:srgbClr val="005073"/>
                </a:solidFill>
                <a:latin typeface="Arial"/>
                <a:sym typeface="Arial"/>
              </a:endParaRPr>
            </a:p>
          </p:txBody>
        </p:sp>
        <p:sp>
          <p:nvSpPr>
            <p:cNvPr id="6" name="Rounded Rectangle 160">
              <a:extLst>
                <a:ext uri="{FF2B5EF4-FFF2-40B4-BE49-F238E27FC236}">
                  <a16:creationId xmlns:a16="http://schemas.microsoft.com/office/drawing/2014/main" id="{C1105FA0-8EB2-5049-A5AE-FD56D84FEFDC}"/>
                </a:ext>
              </a:extLst>
            </p:cNvPr>
            <p:cNvSpPr/>
            <p:nvPr/>
          </p:nvSpPr>
          <p:spPr>
            <a:xfrm>
              <a:off x="4982138" y="1575879"/>
              <a:ext cx="80017" cy="80017"/>
            </a:xfrm>
            <a:prstGeom prst="round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fontAlgn="base">
                <a:spcBef>
                  <a:spcPct val="0"/>
                </a:spcBef>
                <a:spcAft>
                  <a:spcPct val="0"/>
                </a:spcAft>
                <a:buClr>
                  <a:srgbClr val="000000"/>
                </a:buClr>
                <a:defRPr/>
              </a:pPr>
              <a:endParaRPr lang="en-US" sz="3200" kern="0">
                <a:solidFill>
                  <a:srgbClr val="005073"/>
                </a:solidFill>
                <a:latin typeface="Arial"/>
                <a:sym typeface="Arial"/>
              </a:endParaRPr>
            </a:p>
          </p:txBody>
        </p:sp>
        <p:sp>
          <p:nvSpPr>
            <p:cNvPr id="7" name="Rounded Rectangle 163">
              <a:extLst>
                <a:ext uri="{FF2B5EF4-FFF2-40B4-BE49-F238E27FC236}">
                  <a16:creationId xmlns:a16="http://schemas.microsoft.com/office/drawing/2014/main" id="{15689D55-1E98-BF44-9ADC-4DE910140B8F}"/>
                </a:ext>
              </a:extLst>
            </p:cNvPr>
            <p:cNvSpPr/>
            <p:nvPr/>
          </p:nvSpPr>
          <p:spPr>
            <a:xfrm>
              <a:off x="4982138" y="1727022"/>
              <a:ext cx="80017" cy="80017"/>
            </a:xfrm>
            <a:prstGeom prst="round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fontAlgn="base">
                <a:spcBef>
                  <a:spcPct val="0"/>
                </a:spcBef>
                <a:spcAft>
                  <a:spcPct val="0"/>
                </a:spcAft>
                <a:buClr>
                  <a:srgbClr val="000000"/>
                </a:buClr>
                <a:defRPr/>
              </a:pPr>
              <a:endParaRPr lang="en-US" sz="3200" kern="0">
                <a:solidFill>
                  <a:srgbClr val="005073"/>
                </a:solidFill>
                <a:latin typeface="Arial"/>
                <a:sym typeface="Arial"/>
              </a:endParaRPr>
            </a:p>
          </p:txBody>
        </p:sp>
        <p:cxnSp>
          <p:nvCxnSpPr>
            <p:cNvPr id="8" name="Straight Connector 7">
              <a:extLst>
                <a:ext uri="{FF2B5EF4-FFF2-40B4-BE49-F238E27FC236}">
                  <a16:creationId xmlns:a16="http://schemas.microsoft.com/office/drawing/2014/main" id="{47B061CD-8203-8A4D-BA91-3F26D0DBD112}"/>
                </a:ext>
              </a:extLst>
            </p:cNvPr>
            <p:cNvCxnSpPr/>
            <p:nvPr/>
          </p:nvCxnSpPr>
          <p:spPr>
            <a:xfrm>
              <a:off x="5093956" y="1443191"/>
              <a:ext cx="2286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0B5CE39-E9D9-004A-8399-C8B2B9141EAB}"/>
                </a:ext>
              </a:extLst>
            </p:cNvPr>
            <p:cNvCxnSpPr/>
            <p:nvPr/>
          </p:nvCxnSpPr>
          <p:spPr>
            <a:xfrm>
              <a:off x="5093956" y="1601941"/>
              <a:ext cx="2286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82DF49F-E07E-384E-8828-36A94145C930}"/>
                </a:ext>
              </a:extLst>
            </p:cNvPr>
            <p:cNvCxnSpPr/>
            <p:nvPr/>
          </p:nvCxnSpPr>
          <p:spPr>
            <a:xfrm>
              <a:off x="5093956" y="1751166"/>
              <a:ext cx="2286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DEAB095-FD82-8B46-AA79-7FBE12CA9139}"/>
                </a:ext>
              </a:extLst>
            </p:cNvPr>
            <p:cNvCxnSpPr/>
            <p:nvPr/>
          </p:nvCxnSpPr>
          <p:spPr>
            <a:xfrm>
              <a:off x="5093956" y="1474941"/>
              <a:ext cx="18288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A79F101-AB93-3F40-BB20-C1A29493AFBD}"/>
                </a:ext>
              </a:extLst>
            </p:cNvPr>
            <p:cNvCxnSpPr/>
            <p:nvPr/>
          </p:nvCxnSpPr>
          <p:spPr>
            <a:xfrm>
              <a:off x="5093956" y="1633691"/>
              <a:ext cx="18288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CF215A5-F671-B74B-865F-589727FEAA4C}"/>
                </a:ext>
              </a:extLst>
            </p:cNvPr>
            <p:cNvCxnSpPr/>
            <p:nvPr/>
          </p:nvCxnSpPr>
          <p:spPr>
            <a:xfrm>
              <a:off x="5093956" y="1782916"/>
              <a:ext cx="18288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Freeform 113">
            <a:extLst>
              <a:ext uri="{FF2B5EF4-FFF2-40B4-BE49-F238E27FC236}">
                <a16:creationId xmlns:a16="http://schemas.microsoft.com/office/drawing/2014/main" id="{8E30F0C3-DAF1-8E48-BAF3-2C6C73B069A5}"/>
              </a:ext>
            </a:extLst>
          </p:cNvPr>
          <p:cNvSpPr>
            <a:spLocks noEditPoints="1"/>
          </p:cNvSpPr>
          <p:nvPr/>
        </p:nvSpPr>
        <p:spPr bwMode="auto">
          <a:xfrm>
            <a:off x="9014616" y="2445068"/>
            <a:ext cx="879072" cy="230797"/>
          </a:xfrm>
          <a:custGeom>
            <a:avLst/>
            <a:gdLst/>
            <a:ahLst/>
            <a:cxnLst>
              <a:cxn ang="0">
                <a:pos x="131" y="20"/>
              </a:cxn>
              <a:cxn ang="0">
                <a:pos x="107" y="0"/>
              </a:cxn>
              <a:cxn ang="0">
                <a:pos x="79" y="0"/>
              </a:cxn>
              <a:cxn ang="0">
                <a:pos x="85" y="11"/>
              </a:cxn>
              <a:cxn ang="0">
                <a:pos x="114" y="13"/>
              </a:cxn>
              <a:cxn ang="0">
                <a:pos x="121" y="69"/>
              </a:cxn>
              <a:cxn ang="0">
                <a:pos x="111" y="82"/>
              </a:cxn>
              <a:cxn ang="0">
                <a:pos x="81" y="74"/>
              </a:cxn>
              <a:cxn ang="0">
                <a:pos x="96" y="50"/>
              </a:cxn>
              <a:cxn ang="0">
                <a:pos x="119" y="38"/>
              </a:cxn>
              <a:cxn ang="0">
                <a:pos x="83" y="42"/>
              </a:cxn>
              <a:cxn ang="0">
                <a:pos x="74" y="87"/>
              </a:cxn>
              <a:cxn ang="0">
                <a:pos x="114" y="94"/>
              </a:cxn>
              <a:cxn ang="0">
                <a:pos x="131" y="93"/>
              </a:cxn>
              <a:cxn ang="0">
                <a:pos x="333" y="73"/>
              </a:cxn>
              <a:cxn ang="0">
                <a:pos x="320" y="40"/>
              </a:cxn>
              <a:cxn ang="0">
                <a:pos x="292" y="38"/>
              </a:cxn>
              <a:cxn ang="0">
                <a:pos x="294" y="13"/>
              </a:cxn>
              <a:cxn ang="0">
                <a:pos x="329" y="10"/>
              </a:cxn>
              <a:cxn ang="0">
                <a:pos x="332" y="1"/>
              </a:cxn>
              <a:cxn ang="0">
                <a:pos x="294" y="1"/>
              </a:cxn>
              <a:cxn ang="0">
                <a:pos x="281" y="34"/>
              </a:cxn>
              <a:cxn ang="0">
                <a:pos x="318" y="52"/>
              </a:cxn>
              <a:cxn ang="0">
                <a:pos x="323" y="69"/>
              </a:cxn>
              <a:cxn ang="0">
                <a:pos x="303" y="80"/>
              </a:cxn>
              <a:cxn ang="0">
                <a:pos x="275" y="92"/>
              </a:cxn>
              <a:cxn ang="0">
                <a:pos x="322" y="94"/>
              </a:cxn>
              <a:cxn ang="0">
                <a:pos x="0" y="1"/>
              </a:cxn>
              <a:cxn ang="0">
                <a:pos x="25" y="12"/>
              </a:cxn>
              <a:cxn ang="0">
                <a:pos x="28" y="80"/>
              </a:cxn>
              <a:cxn ang="0">
                <a:pos x="39" y="94"/>
              </a:cxn>
              <a:cxn ang="0">
                <a:pos x="40" y="16"/>
              </a:cxn>
              <a:cxn ang="0">
                <a:pos x="58" y="12"/>
              </a:cxn>
              <a:cxn ang="0">
                <a:pos x="0" y="0"/>
              </a:cxn>
              <a:cxn ang="0">
                <a:pos x="161" y="80"/>
              </a:cxn>
              <a:cxn ang="0">
                <a:pos x="157" y="14"/>
              </a:cxn>
              <a:cxn ang="0">
                <a:pos x="146" y="2"/>
              </a:cxn>
              <a:cxn ang="0">
                <a:pos x="155" y="94"/>
              </a:cxn>
              <a:cxn ang="0">
                <a:pos x="200" y="88"/>
              </a:cxn>
              <a:cxn ang="0">
                <a:pos x="257" y="23"/>
              </a:cxn>
              <a:cxn ang="0">
                <a:pos x="255" y="75"/>
              </a:cxn>
              <a:cxn ang="0">
                <a:pos x="218" y="77"/>
              </a:cxn>
              <a:cxn ang="0">
                <a:pos x="213" y="84"/>
              </a:cxn>
              <a:cxn ang="0">
                <a:pos x="242" y="93"/>
              </a:cxn>
              <a:cxn ang="0">
                <a:pos x="264" y="20"/>
              </a:cxn>
              <a:cxn ang="0">
                <a:pos x="212" y="63"/>
              </a:cxn>
              <a:cxn ang="0">
                <a:pos x="250" y="17"/>
              </a:cxn>
              <a:cxn ang="0">
                <a:pos x="256" y="10"/>
              </a:cxn>
              <a:cxn ang="0">
                <a:pos x="221" y="4"/>
              </a:cxn>
              <a:cxn ang="0">
                <a:pos x="206" y="75"/>
              </a:cxn>
              <a:cxn ang="0">
                <a:pos x="212" y="69"/>
              </a:cxn>
              <a:cxn ang="0">
                <a:pos x="257" y="20"/>
              </a:cxn>
              <a:cxn ang="0">
                <a:pos x="254" y="17"/>
              </a:cxn>
              <a:cxn ang="0">
                <a:pos x="213" y="73"/>
              </a:cxn>
              <a:cxn ang="0">
                <a:pos x="215" y="77"/>
              </a:cxn>
              <a:cxn ang="0">
                <a:pos x="331" y="91"/>
              </a:cxn>
              <a:cxn ang="0">
                <a:pos x="331" y="91"/>
              </a:cxn>
              <a:cxn ang="0">
                <a:pos x="330" y="90"/>
              </a:cxn>
              <a:cxn ang="0">
                <a:pos x="334" y="93"/>
              </a:cxn>
              <a:cxn ang="0">
                <a:pos x="333" y="94"/>
              </a:cxn>
              <a:cxn ang="0">
                <a:pos x="333" y="91"/>
              </a:cxn>
              <a:cxn ang="0">
                <a:pos x="335" y="91"/>
              </a:cxn>
              <a:cxn ang="0">
                <a:pos x="336" y="94"/>
              </a:cxn>
            </a:cxnLst>
            <a:rect l="0" t="0" r="r" b="b"/>
            <a:pathLst>
              <a:path w="336" h="95">
                <a:moveTo>
                  <a:pt x="131" y="59"/>
                </a:moveTo>
                <a:cubicBezTo>
                  <a:pt x="131" y="48"/>
                  <a:pt x="131" y="37"/>
                  <a:pt x="131" y="26"/>
                </a:cubicBezTo>
                <a:cubicBezTo>
                  <a:pt x="131" y="24"/>
                  <a:pt x="131" y="22"/>
                  <a:pt x="131" y="20"/>
                </a:cubicBezTo>
                <a:cubicBezTo>
                  <a:pt x="130" y="16"/>
                  <a:pt x="129" y="12"/>
                  <a:pt x="127" y="8"/>
                </a:cubicBezTo>
                <a:cubicBezTo>
                  <a:pt x="124" y="5"/>
                  <a:pt x="121" y="3"/>
                  <a:pt x="118" y="2"/>
                </a:cubicBezTo>
                <a:cubicBezTo>
                  <a:pt x="114" y="1"/>
                  <a:pt x="111" y="0"/>
                  <a:pt x="107" y="0"/>
                </a:cubicBezTo>
                <a:cubicBezTo>
                  <a:pt x="104" y="0"/>
                  <a:pt x="100" y="0"/>
                  <a:pt x="96" y="0"/>
                </a:cubicBezTo>
                <a:cubicBezTo>
                  <a:pt x="91" y="0"/>
                  <a:pt x="85" y="0"/>
                  <a:pt x="79" y="0"/>
                </a:cubicBezTo>
                <a:cubicBezTo>
                  <a:pt x="79" y="0"/>
                  <a:pt x="79" y="0"/>
                  <a:pt x="79" y="0"/>
                </a:cubicBezTo>
                <a:cubicBezTo>
                  <a:pt x="79" y="0"/>
                  <a:pt x="79" y="1"/>
                  <a:pt x="79" y="1"/>
                </a:cubicBezTo>
                <a:cubicBezTo>
                  <a:pt x="79" y="5"/>
                  <a:pt x="81" y="9"/>
                  <a:pt x="84" y="11"/>
                </a:cubicBezTo>
                <a:cubicBezTo>
                  <a:pt x="85" y="11"/>
                  <a:pt x="85" y="11"/>
                  <a:pt x="85" y="11"/>
                </a:cubicBezTo>
                <a:cubicBezTo>
                  <a:pt x="87" y="11"/>
                  <a:pt x="88" y="11"/>
                  <a:pt x="90" y="11"/>
                </a:cubicBezTo>
                <a:cubicBezTo>
                  <a:pt x="96" y="11"/>
                  <a:pt x="102" y="11"/>
                  <a:pt x="109" y="11"/>
                </a:cubicBezTo>
                <a:cubicBezTo>
                  <a:pt x="111" y="11"/>
                  <a:pt x="113" y="12"/>
                  <a:pt x="114" y="13"/>
                </a:cubicBezTo>
                <a:cubicBezTo>
                  <a:pt x="119" y="15"/>
                  <a:pt x="121" y="19"/>
                  <a:pt x="121" y="25"/>
                </a:cubicBezTo>
                <a:cubicBezTo>
                  <a:pt x="121" y="31"/>
                  <a:pt x="121" y="38"/>
                  <a:pt x="121" y="44"/>
                </a:cubicBezTo>
                <a:cubicBezTo>
                  <a:pt x="121" y="52"/>
                  <a:pt x="121" y="60"/>
                  <a:pt x="121" y="69"/>
                </a:cubicBezTo>
                <a:cubicBezTo>
                  <a:pt x="121" y="70"/>
                  <a:pt x="121" y="72"/>
                  <a:pt x="121" y="73"/>
                </a:cubicBezTo>
                <a:cubicBezTo>
                  <a:pt x="120" y="77"/>
                  <a:pt x="118" y="80"/>
                  <a:pt x="115" y="81"/>
                </a:cubicBezTo>
                <a:cubicBezTo>
                  <a:pt x="114" y="81"/>
                  <a:pt x="112" y="82"/>
                  <a:pt x="111" y="82"/>
                </a:cubicBezTo>
                <a:cubicBezTo>
                  <a:pt x="105" y="82"/>
                  <a:pt x="98" y="82"/>
                  <a:pt x="91" y="82"/>
                </a:cubicBezTo>
                <a:cubicBezTo>
                  <a:pt x="91" y="82"/>
                  <a:pt x="90" y="82"/>
                  <a:pt x="90" y="82"/>
                </a:cubicBezTo>
                <a:cubicBezTo>
                  <a:pt x="85" y="82"/>
                  <a:pt x="82" y="79"/>
                  <a:pt x="81" y="74"/>
                </a:cubicBezTo>
                <a:cubicBezTo>
                  <a:pt x="80" y="70"/>
                  <a:pt x="81" y="66"/>
                  <a:pt x="82" y="62"/>
                </a:cubicBezTo>
                <a:cubicBezTo>
                  <a:pt x="84" y="57"/>
                  <a:pt x="86" y="53"/>
                  <a:pt x="90" y="51"/>
                </a:cubicBezTo>
                <a:cubicBezTo>
                  <a:pt x="92" y="50"/>
                  <a:pt x="94" y="50"/>
                  <a:pt x="96" y="50"/>
                </a:cubicBezTo>
                <a:cubicBezTo>
                  <a:pt x="103" y="50"/>
                  <a:pt x="111" y="50"/>
                  <a:pt x="119" y="50"/>
                </a:cubicBezTo>
                <a:cubicBezTo>
                  <a:pt x="119" y="50"/>
                  <a:pt x="119" y="50"/>
                  <a:pt x="119" y="50"/>
                </a:cubicBezTo>
                <a:cubicBezTo>
                  <a:pt x="119" y="38"/>
                  <a:pt x="119" y="38"/>
                  <a:pt x="119" y="38"/>
                </a:cubicBezTo>
                <a:cubicBezTo>
                  <a:pt x="118" y="38"/>
                  <a:pt x="118" y="38"/>
                  <a:pt x="118" y="38"/>
                </a:cubicBezTo>
                <a:cubicBezTo>
                  <a:pt x="110" y="38"/>
                  <a:pt x="101" y="38"/>
                  <a:pt x="93" y="38"/>
                </a:cubicBezTo>
                <a:cubicBezTo>
                  <a:pt x="90" y="38"/>
                  <a:pt x="86" y="39"/>
                  <a:pt x="83" y="42"/>
                </a:cubicBezTo>
                <a:cubicBezTo>
                  <a:pt x="78" y="46"/>
                  <a:pt x="74" y="53"/>
                  <a:pt x="72" y="60"/>
                </a:cubicBezTo>
                <a:cubicBezTo>
                  <a:pt x="70" y="66"/>
                  <a:pt x="70" y="72"/>
                  <a:pt x="71" y="78"/>
                </a:cubicBezTo>
                <a:cubicBezTo>
                  <a:pt x="72" y="81"/>
                  <a:pt x="73" y="84"/>
                  <a:pt x="74" y="87"/>
                </a:cubicBezTo>
                <a:cubicBezTo>
                  <a:pt x="77" y="91"/>
                  <a:pt x="81" y="93"/>
                  <a:pt x="85" y="94"/>
                </a:cubicBezTo>
                <a:cubicBezTo>
                  <a:pt x="88" y="94"/>
                  <a:pt x="92" y="94"/>
                  <a:pt x="95" y="94"/>
                </a:cubicBezTo>
                <a:cubicBezTo>
                  <a:pt x="101" y="94"/>
                  <a:pt x="107" y="94"/>
                  <a:pt x="114" y="94"/>
                </a:cubicBezTo>
                <a:cubicBezTo>
                  <a:pt x="117" y="94"/>
                  <a:pt x="121" y="92"/>
                  <a:pt x="123" y="89"/>
                </a:cubicBezTo>
                <a:cubicBezTo>
                  <a:pt x="126" y="91"/>
                  <a:pt x="128" y="93"/>
                  <a:pt x="131" y="94"/>
                </a:cubicBezTo>
                <a:cubicBezTo>
                  <a:pt x="131" y="93"/>
                  <a:pt x="131" y="93"/>
                  <a:pt x="131" y="93"/>
                </a:cubicBezTo>
                <a:cubicBezTo>
                  <a:pt x="131" y="90"/>
                  <a:pt x="131" y="87"/>
                  <a:pt x="131" y="85"/>
                </a:cubicBezTo>
                <a:cubicBezTo>
                  <a:pt x="131" y="76"/>
                  <a:pt x="131" y="68"/>
                  <a:pt x="131" y="59"/>
                </a:cubicBezTo>
                <a:close/>
                <a:moveTo>
                  <a:pt x="333" y="73"/>
                </a:moveTo>
                <a:cubicBezTo>
                  <a:pt x="333" y="67"/>
                  <a:pt x="333" y="62"/>
                  <a:pt x="333" y="56"/>
                </a:cubicBezTo>
                <a:cubicBezTo>
                  <a:pt x="333" y="54"/>
                  <a:pt x="333" y="52"/>
                  <a:pt x="332" y="50"/>
                </a:cubicBezTo>
                <a:cubicBezTo>
                  <a:pt x="330" y="43"/>
                  <a:pt x="326" y="40"/>
                  <a:pt x="320" y="40"/>
                </a:cubicBezTo>
                <a:cubicBezTo>
                  <a:pt x="313" y="40"/>
                  <a:pt x="306" y="40"/>
                  <a:pt x="299" y="40"/>
                </a:cubicBezTo>
                <a:cubicBezTo>
                  <a:pt x="297" y="40"/>
                  <a:pt x="296" y="40"/>
                  <a:pt x="295" y="40"/>
                </a:cubicBezTo>
                <a:cubicBezTo>
                  <a:pt x="293" y="40"/>
                  <a:pt x="292" y="39"/>
                  <a:pt x="292" y="38"/>
                </a:cubicBezTo>
                <a:cubicBezTo>
                  <a:pt x="291" y="37"/>
                  <a:pt x="291" y="36"/>
                  <a:pt x="291" y="34"/>
                </a:cubicBezTo>
                <a:cubicBezTo>
                  <a:pt x="291" y="29"/>
                  <a:pt x="291" y="23"/>
                  <a:pt x="292" y="18"/>
                </a:cubicBezTo>
                <a:cubicBezTo>
                  <a:pt x="292" y="16"/>
                  <a:pt x="292" y="14"/>
                  <a:pt x="294" y="13"/>
                </a:cubicBezTo>
                <a:cubicBezTo>
                  <a:pt x="295" y="12"/>
                  <a:pt x="296" y="11"/>
                  <a:pt x="298" y="11"/>
                </a:cubicBezTo>
                <a:cubicBezTo>
                  <a:pt x="307" y="11"/>
                  <a:pt x="316" y="11"/>
                  <a:pt x="325" y="11"/>
                </a:cubicBezTo>
                <a:cubicBezTo>
                  <a:pt x="327" y="11"/>
                  <a:pt x="328" y="11"/>
                  <a:pt x="329" y="10"/>
                </a:cubicBezTo>
                <a:cubicBezTo>
                  <a:pt x="329" y="10"/>
                  <a:pt x="329" y="10"/>
                  <a:pt x="329" y="9"/>
                </a:cubicBezTo>
                <a:cubicBezTo>
                  <a:pt x="332" y="7"/>
                  <a:pt x="333" y="4"/>
                  <a:pt x="333" y="1"/>
                </a:cubicBezTo>
                <a:cubicBezTo>
                  <a:pt x="332" y="1"/>
                  <a:pt x="332" y="1"/>
                  <a:pt x="332" y="1"/>
                </a:cubicBezTo>
                <a:cubicBezTo>
                  <a:pt x="326" y="1"/>
                  <a:pt x="320" y="0"/>
                  <a:pt x="313" y="0"/>
                </a:cubicBezTo>
                <a:cubicBezTo>
                  <a:pt x="309" y="0"/>
                  <a:pt x="304" y="0"/>
                  <a:pt x="300" y="0"/>
                </a:cubicBezTo>
                <a:cubicBezTo>
                  <a:pt x="298" y="0"/>
                  <a:pt x="296" y="0"/>
                  <a:pt x="294" y="1"/>
                </a:cubicBezTo>
                <a:cubicBezTo>
                  <a:pt x="290" y="1"/>
                  <a:pt x="286" y="4"/>
                  <a:pt x="284" y="8"/>
                </a:cubicBezTo>
                <a:cubicBezTo>
                  <a:pt x="283" y="11"/>
                  <a:pt x="282" y="13"/>
                  <a:pt x="282" y="16"/>
                </a:cubicBezTo>
                <a:cubicBezTo>
                  <a:pt x="282" y="22"/>
                  <a:pt x="281" y="28"/>
                  <a:pt x="281" y="34"/>
                </a:cubicBezTo>
                <a:cubicBezTo>
                  <a:pt x="281" y="38"/>
                  <a:pt x="282" y="42"/>
                  <a:pt x="284" y="46"/>
                </a:cubicBezTo>
                <a:cubicBezTo>
                  <a:pt x="286" y="50"/>
                  <a:pt x="290" y="52"/>
                  <a:pt x="294" y="52"/>
                </a:cubicBezTo>
                <a:cubicBezTo>
                  <a:pt x="302" y="52"/>
                  <a:pt x="310" y="52"/>
                  <a:pt x="318" y="52"/>
                </a:cubicBezTo>
                <a:cubicBezTo>
                  <a:pt x="318" y="52"/>
                  <a:pt x="319" y="52"/>
                  <a:pt x="319" y="52"/>
                </a:cubicBezTo>
                <a:cubicBezTo>
                  <a:pt x="322" y="53"/>
                  <a:pt x="323" y="55"/>
                  <a:pt x="323" y="58"/>
                </a:cubicBezTo>
                <a:cubicBezTo>
                  <a:pt x="323" y="62"/>
                  <a:pt x="323" y="66"/>
                  <a:pt x="323" y="69"/>
                </a:cubicBezTo>
                <a:cubicBezTo>
                  <a:pt x="323" y="71"/>
                  <a:pt x="324" y="73"/>
                  <a:pt x="323" y="75"/>
                </a:cubicBezTo>
                <a:cubicBezTo>
                  <a:pt x="323" y="78"/>
                  <a:pt x="321" y="80"/>
                  <a:pt x="318" y="80"/>
                </a:cubicBezTo>
                <a:cubicBezTo>
                  <a:pt x="313" y="80"/>
                  <a:pt x="308" y="80"/>
                  <a:pt x="303" y="80"/>
                </a:cubicBezTo>
                <a:cubicBezTo>
                  <a:pt x="297" y="80"/>
                  <a:pt x="291" y="80"/>
                  <a:pt x="286" y="80"/>
                </a:cubicBezTo>
                <a:cubicBezTo>
                  <a:pt x="285" y="80"/>
                  <a:pt x="284" y="81"/>
                  <a:pt x="283" y="81"/>
                </a:cubicBezTo>
                <a:cubicBezTo>
                  <a:pt x="280" y="84"/>
                  <a:pt x="277" y="87"/>
                  <a:pt x="275" y="92"/>
                </a:cubicBezTo>
                <a:cubicBezTo>
                  <a:pt x="275" y="93"/>
                  <a:pt x="275" y="93"/>
                  <a:pt x="275" y="94"/>
                </a:cubicBezTo>
                <a:cubicBezTo>
                  <a:pt x="319" y="94"/>
                  <a:pt x="319" y="94"/>
                  <a:pt x="319" y="94"/>
                </a:cubicBezTo>
                <a:cubicBezTo>
                  <a:pt x="320" y="94"/>
                  <a:pt x="321" y="94"/>
                  <a:pt x="322" y="94"/>
                </a:cubicBezTo>
                <a:cubicBezTo>
                  <a:pt x="329" y="92"/>
                  <a:pt x="333" y="84"/>
                  <a:pt x="333" y="78"/>
                </a:cubicBezTo>
                <a:cubicBezTo>
                  <a:pt x="333" y="76"/>
                  <a:pt x="333" y="74"/>
                  <a:pt x="333" y="73"/>
                </a:cubicBezTo>
                <a:close/>
                <a:moveTo>
                  <a:pt x="0" y="1"/>
                </a:moveTo>
                <a:cubicBezTo>
                  <a:pt x="1" y="7"/>
                  <a:pt x="5" y="11"/>
                  <a:pt x="10" y="12"/>
                </a:cubicBezTo>
                <a:cubicBezTo>
                  <a:pt x="12" y="12"/>
                  <a:pt x="14" y="12"/>
                  <a:pt x="16" y="12"/>
                </a:cubicBezTo>
                <a:cubicBezTo>
                  <a:pt x="19" y="12"/>
                  <a:pt x="22" y="12"/>
                  <a:pt x="25" y="12"/>
                </a:cubicBezTo>
                <a:cubicBezTo>
                  <a:pt x="26" y="12"/>
                  <a:pt x="27" y="12"/>
                  <a:pt x="27" y="13"/>
                </a:cubicBezTo>
                <a:cubicBezTo>
                  <a:pt x="28" y="15"/>
                  <a:pt x="28" y="16"/>
                  <a:pt x="28" y="17"/>
                </a:cubicBezTo>
                <a:cubicBezTo>
                  <a:pt x="28" y="38"/>
                  <a:pt x="28" y="59"/>
                  <a:pt x="28" y="80"/>
                </a:cubicBezTo>
                <a:cubicBezTo>
                  <a:pt x="28" y="84"/>
                  <a:pt x="29" y="87"/>
                  <a:pt x="31" y="89"/>
                </a:cubicBezTo>
                <a:cubicBezTo>
                  <a:pt x="33" y="91"/>
                  <a:pt x="35" y="93"/>
                  <a:pt x="37" y="93"/>
                </a:cubicBezTo>
                <a:cubicBezTo>
                  <a:pt x="38" y="94"/>
                  <a:pt x="39" y="94"/>
                  <a:pt x="39" y="94"/>
                </a:cubicBezTo>
                <a:cubicBezTo>
                  <a:pt x="39" y="93"/>
                  <a:pt x="39" y="93"/>
                  <a:pt x="39" y="93"/>
                </a:cubicBezTo>
                <a:cubicBezTo>
                  <a:pt x="39" y="68"/>
                  <a:pt x="39" y="43"/>
                  <a:pt x="39" y="18"/>
                </a:cubicBezTo>
                <a:cubicBezTo>
                  <a:pt x="39" y="17"/>
                  <a:pt x="40" y="17"/>
                  <a:pt x="40" y="16"/>
                </a:cubicBezTo>
                <a:cubicBezTo>
                  <a:pt x="40" y="14"/>
                  <a:pt x="41" y="12"/>
                  <a:pt x="43" y="12"/>
                </a:cubicBezTo>
                <a:cubicBezTo>
                  <a:pt x="46" y="12"/>
                  <a:pt x="48" y="12"/>
                  <a:pt x="51" y="12"/>
                </a:cubicBezTo>
                <a:cubicBezTo>
                  <a:pt x="53" y="12"/>
                  <a:pt x="56" y="12"/>
                  <a:pt x="58" y="12"/>
                </a:cubicBezTo>
                <a:cubicBezTo>
                  <a:pt x="63" y="12"/>
                  <a:pt x="66" y="8"/>
                  <a:pt x="67" y="3"/>
                </a:cubicBezTo>
                <a:cubicBezTo>
                  <a:pt x="68" y="2"/>
                  <a:pt x="68" y="1"/>
                  <a:pt x="68" y="0"/>
                </a:cubicBezTo>
                <a:cubicBezTo>
                  <a:pt x="0" y="0"/>
                  <a:pt x="0" y="0"/>
                  <a:pt x="0" y="0"/>
                </a:cubicBezTo>
                <a:cubicBezTo>
                  <a:pt x="0" y="1"/>
                  <a:pt x="0" y="1"/>
                  <a:pt x="0" y="1"/>
                </a:cubicBezTo>
                <a:close/>
                <a:moveTo>
                  <a:pt x="191" y="80"/>
                </a:moveTo>
                <a:cubicBezTo>
                  <a:pt x="181" y="80"/>
                  <a:pt x="171" y="80"/>
                  <a:pt x="161" y="80"/>
                </a:cubicBezTo>
                <a:cubicBezTo>
                  <a:pt x="159" y="80"/>
                  <a:pt x="158" y="79"/>
                  <a:pt x="157" y="76"/>
                </a:cubicBezTo>
                <a:cubicBezTo>
                  <a:pt x="157" y="73"/>
                  <a:pt x="157" y="71"/>
                  <a:pt x="157" y="68"/>
                </a:cubicBezTo>
                <a:cubicBezTo>
                  <a:pt x="157" y="50"/>
                  <a:pt x="157" y="32"/>
                  <a:pt x="157" y="14"/>
                </a:cubicBezTo>
                <a:cubicBezTo>
                  <a:pt x="157" y="11"/>
                  <a:pt x="156" y="8"/>
                  <a:pt x="154" y="5"/>
                </a:cubicBezTo>
                <a:cubicBezTo>
                  <a:pt x="152" y="2"/>
                  <a:pt x="149" y="1"/>
                  <a:pt x="146" y="1"/>
                </a:cubicBezTo>
                <a:cubicBezTo>
                  <a:pt x="146" y="2"/>
                  <a:pt x="146" y="2"/>
                  <a:pt x="146" y="2"/>
                </a:cubicBezTo>
                <a:cubicBezTo>
                  <a:pt x="146" y="28"/>
                  <a:pt x="146" y="54"/>
                  <a:pt x="146" y="80"/>
                </a:cubicBezTo>
                <a:cubicBezTo>
                  <a:pt x="146" y="81"/>
                  <a:pt x="146" y="82"/>
                  <a:pt x="146" y="83"/>
                </a:cubicBezTo>
                <a:cubicBezTo>
                  <a:pt x="146" y="89"/>
                  <a:pt x="150" y="94"/>
                  <a:pt x="155" y="94"/>
                </a:cubicBezTo>
                <a:cubicBezTo>
                  <a:pt x="170" y="94"/>
                  <a:pt x="185" y="94"/>
                  <a:pt x="200" y="94"/>
                </a:cubicBezTo>
                <a:cubicBezTo>
                  <a:pt x="201" y="94"/>
                  <a:pt x="201" y="94"/>
                  <a:pt x="201" y="94"/>
                </a:cubicBezTo>
                <a:cubicBezTo>
                  <a:pt x="201" y="92"/>
                  <a:pt x="201" y="90"/>
                  <a:pt x="200" y="88"/>
                </a:cubicBezTo>
                <a:cubicBezTo>
                  <a:pt x="199" y="83"/>
                  <a:pt x="196" y="80"/>
                  <a:pt x="191" y="80"/>
                </a:cubicBezTo>
                <a:close/>
                <a:moveTo>
                  <a:pt x="262" y="17"/>
                </a:moveTo>
                <a:cubicBezTo>
                  <a:pt x="261" y="19"/>
                  <a:pt x="259" y="21"/>
                  <a:pt x="257" y="23"/>
                </a:cubicBezTo>
                <a:cubicBezTo>
                  <a:pt x="257" y="24"/>
                  <a:pt x="257" y="24"/>
                  <a:pt x="257" y="25"/>
                </a:cubicBezTo>
                <a:cubicBezTo>
                  <a:pt x="257" y="40"/>
                  <a:pt x="257" y="55"/>
                  <a:pt x="257" y="70"/>
                </a:cubicBezTo>
                <a:cubicBezTo>
                  <a:pt x="257" y="72"/>
                  <a:pt x="256" y="74"/>
                  <a:pt x="255" y="75"/>
                </a:cubicBezTo>
                <a:cubicBezTo>
                  <a:pt x="254" y="77"/>
                  <a:pt x="253" y="77"/>
                  <a:pt x="251" y="77"/>
                </a:cubicBezTo>
                <a:cubicBezTo>
                  <a:pt x="246" y="77"/>
                  <a:pt x="240" y="77"/>
                  <a:pt x="235" y="77"/>
                </a:cubicBezTo>
                <a:cubicBezTo>
                  <a:pt x="229" y="77"/>
                  <a:pt x="224" y="77"/>
                  <a:pt x="218" y="77"/>
                </a:cubicBezTo>
                <a:cubicBezTo>
                  <a:pt x="218" y="77"/>
                  <a:pt x="217" y="77"/>
                  <a:pt x="217" y="78"/>
                </a:cubicBezTo>
                <a:cubicBezTo>
                  <a:pt x="216" y="79"/>
                  <a:pt x="215" y="81"/>
                  <a:pt x="213" y="83"/>
                </a:cubicBezTo>
                <a:cubicBezTo>
                  <a:pt x="213" y="84"/>
                  <a:pt x="213" y="84"/>
                  <a:pt x="213" y="84"/>
                </a:cubicBezTo>
                <a:cubicBezTo>
                  <a:pt x="213" y="84"/>
                  <a:pt x="213" y="84"/>
                  <a:pt x="213" y="85"/>
                </a:cubicBezTo>
                <a:cubicBezTo>
                  <a:pt x="214" y="85"/>
                  <a:pt x="214" y="86"/>
                  <a:pt x="215" y="86"/>
                </a:cubicBezTo>
                <a:cubicBezTo>
                  <a:pt x="224" y="93"/>
                  <a:pt x="233" y="95"/>
                  <a:pt x="242" y="93"/>
                </a:cubicBezTo>
                <a:cubicBezTo>
                  <a:pt x="251" y="90"/>
                  <a:pt x="257" y="85"/>
                  <a:pt x="263" y="77"/>
                </a:cubicBezTo>
                <a:cubicBezTo>
                  <a:pt x="268" y="68"/>
                  <a:pt x="271" y="59"/>
                  <a:pt x="271" y="48"/>
                </a:cubicBezTo>
                <a:cubicBezTo>
                  <a:pt x="271" y="37"/>
                  <a:pt x="268" y="28"/>
                  <a:pt x="264" y="20"/>
                </a:cubicBezTo>
                <a:cubicBezTo>
                  <a:pt x="263" y="19"/>
                  <a:pt x="263" y="18"/>
                  <a:pt x="262" y="17"/>
                </a:cubicBezTo>
                <a:close/>
                <a:moveTo>
                  <a:pt x="212" y="69"/>
                </a:moveTo>
                <a:cubicBezTo>
                  <a:pt x="212" y="67"/>
                  <a:pt x="212" y="65"/>
                  <a:pt x="212" y="63"/>
                </a:cubicBezTo>
                <a:cubicBezTo>
                  <a:pt x="212" y="24"/>
                  <a:pt x="212" y="24"/>
                  <a:pt x="212" y="24"/>
                </a:cubicBezTo>
                <a:cubicBezTo>
                  <a:pt x="212" y="20"/>
                  <a:pt x="215" y="17"/>
                  <a:pt x="218" y="17"/>
                </a:cubicBezTo>
                <a:cubicBezTo>
                  <a:pt x="229" y="17"/>
                  <a:pt x="239" y="17"/>
                  <a:pt x="250" y="17"/>
                </a:cubicBezTo>
                <a:cubicBezTo>
                  <a:pt x="251" y="17"/>
                  <a:pt x="251" y="17"/>
                  <a:pt x="252" y="16"/>
                </a:cubicBezTo>
                <a:cubicBezTo>
                  <a:pt x="253" y="14"/>
                  <a:pt x="255" y="12"/>
                  <a:pt x="256" y="10"/>
                </a:cubicBezTo>
                <a:cubicBezTo>
                  <a:pt x="256" y="10"/>
                  <a:pt x="256" y="10"/>
                  <a:pt x="256" y="10"/>
                </a:cubicBezTo>
                <a:cubicBezTo>
                  <a:pt x="256" y="9"/>
                  <a:pt x="256" y="9"/>
                  <a:pt x="256" y="9"/>
                </a:cubicBezTo>
                <a:cubicBezTo>
                  <a:pt x="250" y="4"/>
                  <a:pt x="244" y="1"/>
                  <a:pt x="237" y="0"/>
                </a:cubicBezTo>
                <a:cubicBezTo>
                  <a:pt x="232" y="0"/>
                  <a:pt x="226" y="1"/>
                  <a:pt x="221" y="4"/>
                </a:cubicBezTo>
                <a:cubicBezTo>
                  <a:pt x="214" y="8"/>
                  <a:pt x="208" y="14"/>
                  <a:pt x="204" y="23"/>
                </a:cubicBezTo>
                <a:cubicBezTo>
                  <a:pt x="199" y="32"/>
                  <a:pt x="198" y="42"/>
                  <a:pt x="199" y="53"/>
                </a:cubicBezTo>
                <a:cubicBezTo>
                  <a:pt x="200" y="61"/>
                  <a:pt x="202" y="69"/>
                  <a:pt x="206" y="75"/>
                </a:cubicBezTo>
                <a:cubicBezTo>
                  <a:pt x="206" y="76"/>
                  <a:pt x="207" y="76"/>
                  <a:pt x="207" y="77"/>
                </a:cubicBezTo>
                <a:cubicBezTo>
                  <a:pt x="207" y="76"/>
                  <a:pt x="207" y="76"/>
                  <a:pt x="207" y="76"/>
                </a:cubicBezTo>
                <a:cubicBezTo>
                  <a:pt x="209" y="74"/>
                  <a:pt x="211" y="72"/>
                  <a:pt x="212" y="69"/>
                </a:cubicBezTo>
                <a:cubicBezTo>
                  <a:pt x="212" y="69"/>
                  <a:pt x="212" y="69"/>
                  <a:pt x="212" y="69"/>
                </a:cubicBezTo>
                <a:close/>
                <a:moveTo>
                  <a:pt x="255" y="19"/>
                </a:moveTo>
                <a:cubicBezTo>
                  <a:pt x="256" y="19"/>
                  <a:pt x="256" y="20"/>
                  <a:pt x="257" y="20"/>
                </a:cubicBezTo>
                <a:cubicBezTo>
                  <a:pt x="258" y="19"/>
                  <a:pt x="259" y="17"/>
                  <a:pt x="261" y="15"/>
                </a:cubicBezTo>
                <a:cubicBezTo>
                  <a:pt x="260" y="14"/>
                  <a:pt x="259" y="13"/>
                  <a:pt x="258" y="11"/>
                </a:cubicBezTo>
                <a:cubicBezTo>
                  <a:pt x="257" y="13"/>
                  <a:pt x="255" y="15"/>
                  <a:pt x="254" y="17"/>
                </a:cubicBezTo>
                <a:cubicBezTo>
                  <a:pt x="254" y="18"/>
                  <a:pt x="255" y="18"/>
                  <a:pt x="255" y="19"/>
                </a:cubicBezTo>
                <a:close/>
                <a:moveTo>
                  <a:pt x="214" y="75"/>
                </a:moveTo>
                <a:cubicBezTo>
                  <a:pt x="213" y="74"/>
                  <a:pt x="213" y="74"/>
                  <a:pt x="213" y="73"/>
                </a:cubicBezTo>
                <a:cubicBezTo>
                  <a:pt x="211" y="75"/>
                  <a:pt x="210" y="77"/>
                  <a:pt x="208" y="79"/>
                </a:cubicBezTo>
                <a:cubicBezTo>
                  <a:pt x="209" y="80"/>
                  <a:pt x="210" y="81"/>
                  <a:pt x="211" y="82"/>
                </a:cubicBezTo>
                <a:cubicBezTo>
                  <a:pt x="212" y="80"/>
                  <a:pt x="214" y="79"/>
                  <a:pt x="215" y="77"/>
                </a:cubicBezTo>
                <a:cubicBezTo>
                  <a:pt x="215" y="76"/>
                  <a:pt x="214" y="76"/>
                  <a:pt x="214" y="75"/>
                </a:cubicBezTo>
                <a:close/>
                <a:moveTo>
                  <a:pt x="330" y="91"/>
                </a:moveTo>
                <a:cubicBezTo>
                  <a:pt x="331" y="91"/>
                  <a:pt x="331" y="91"/>
                  <a:pt x="331" y="91"/>
                </a:cubicBezTo>
                <a:cubicBezTo>
                  <a:pt x="331" y="94"/>
                  <a:pt x="331" y="94"/>
                  <a:pt x="331" y="94"/>
                </a:cubicBezTo>
                <a:cubicBezTo>
                  <a:pt x="331" y="94"/>
                  <a:pt x="331" y="94"/>
                  <a:pt x="331" y="94"/>
                </a:cubicBezTo>
                <a:cubicBezTo>
                  <a:pt x="331" y="91"/>
                  <a:pt x="331" y="91"/>
                  <a:pt x="331" y="91"/>
                </a:cubicBezTo>
                <a:cubicBezTo>
                  <a:pt x="332" y="91"/>
                  <a:pt x="332" y="91"/>
                  <a:pt x="332" y="91"/>
                </a:cubicBezTo>
                <a:cubicBezTo>
                  <a:pt x="332" y="90"/>
                  <a:pt x="332" y="90"/>
                  <a:pt x="332" y="90"/>
                </a:cubicBezTo>
                <a:cubicBezTo>
                  <a:pt x="330" y="90"/>
                  <a:pt x="330" y="90"/>
                  <a:pt x="330" y="90"/>
                </a:cubicBezTo>
                <a:lnTo>
                  <a:pt x="330" y="91"/>
                </a:lnTo>
                <a:close/>
                <a:moveTo>
                  <a:pt x="335" y="90"/>
                </a:moveTo>
                <a:cubicBezTo>
                  <a:pt x="334" y="93"/>
                  <a:pt x="334" y="93"/>
                  <a:pt x="334" y="93"/>
                </a:cubicBezTo>
                <a:cubicBezTo>
                  <a:pt x="334" y="90"/>
                  <a:pt x="334" y="90"/>
                  <a:pt x="334" y="90"/>
                </a:cubicBezTo>
                <a:cubicBezTo>
                  <a:pt x="333" y="90"/>
                  <a:pt x="333" y="90"/>
                  <a:pt x="333" y="90"/>
                </a:cubicBezTo>
                <a:cubicBezTo>
                  <a:pt x="333" y="94"/>
                  <a:pt x="333" y="94"/>
                  <a:pt x="333" y="94"/>
                </a:cubicBezTo>
                <a:cubicBezTo>
                  <a:pt x="333" y="94"/>
                  <a:pt x="333" y="94"/>
                  <a:pt x="333" y="94"/>
                </a:cubicBezTo>
                <a:cubicBezTo>
                  <a:pt x="333" y="93"/>
                  <a:pt x="333" y="93"/>
                  <a:pt x="333" y="93"/>
                </a:cubicBezTo>
                <a:cubicBezTo>
                  <a:pt x="333" y="91"/>
                  <a:pt x="333" y="91"/>
                  <a:pt x="333" y="91"/>
                </a:cubicBezTo>
                <a:cubicBezTo>
                  <a:pt x="334" y="94"/>
                  <a:pt x="334" y="94"/>
                  <a:pt x="334" y="94"/>
                </a:cubicBezTo>
                <a:cubicBezTo>
                  <a:pt x="334" y="94"/>
                  <a:pt x="334" y="94"/>
                  <a:pt x="334" y="94"/>
                </a:cubicBezTo>
                <a:cubicBezTo>
                  <a:pt x="335" y="91"/>
                  <a:pt x="335" y="91"/>
                  <a:pt x="335" y="91"/>
                </a:cubicBezTo>
                <a:cubicBezTo>
                  <a:pt x="335" y="93"/>
                  <a:pt x="335" y="93"/>
                  <a:pt x="335" y="93"/>
                </a:cubicBezTo>
                <a:cubicBezTo>
                  <a:pt x="335" y="94"/>
                  <a:pt x="335" y="94"/>
                  <a:pt x="335" y="94"/>
                </a:cubicBezTo>
                <a:cubicBezTo>
                  <a:pt x="336" y="94"/>
                  <a:pt x="336" y="94"/>
                  <a:pt x="336" y="94"/>
                </a:cubicBezTo>
                <a:cubicBezTo>
                  <a:pt x="336" y="90"/>
                  <a:pt x="336" y="90"/>
                  <a:pt x="336" y="90"/>
                </a:cubicBezTo>
                <a:lnTo>
                  <a:pt x="335" y="90"/>
                </a:lnTo>
                <a:close/>
              </a:path>
            </a:pathLst>
          </a:custGeom>
          <a:solidFill>
            <a:schemeClr val="tx2"/>
          </a:solidFill>
          <a:ln w="9525">
            <a:no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ＭＳ Ｐゴシック" charset="0"/>
              <a:sym typeface="Arial"/>
            </a:endParaRPr>
          </a:p>
        </p:txBody>
      </p:sp>
      <p:sp>
        <p:nvSpPr>
          <p:cNvPr id="15" name="Freeform 60">
            <a:extLst>
              <a:ext uri="{FF2B5EF4-FFF2-40B4-BE49-F238E27FC236}">
                <a16:creationId xmlns:a16="http://schemas.microsoft.com/office/drawing/2014/main" id="{2757B371-948C-E747-9280-9C1372B8E82E}"/>
              </a:ext>
            </a:extLst>
          </p:cNvPr>
          <p:cNvSpPr>
            <a:spLocks/>
          </p:cNvSpPr>
          <p:nvPr/>
        </p:nvSpPr>
        <p:spPr bwMode="auto">
          <a:xfrm flipH="1">
            <a:off x="9959474" y="1763836"/>
            <a:ext cx="2002983" cy="936525"/>
          </a:xfrm>
          <a:custGeom>
            <a:avLst/>
            <a:gdLst>
              <a:gd name="connsiteX0" fmla="*/ 733902 w 1210718"/>
              <a:gd name="connsiteY0" fmla="*/ 0 h 599742"/>
              <a:gd name="connsiteX1" fmla="*/ 882562 w 1210718"/>
              <a:gd name="connsiteY1" fmla="*/ 0 h 599742"/>
              <a:gd name="connsiteX2" fmla="*/ 1015293 w 1210718"/>
              <a:gd name="connsiteY2" fmla="*/ 127622 h 599742"/>
              <a:gd name="connsiteX3" fmla="*/ 1006776 w 1210718"/>
              <a:gd name="connsiteY3" fmla="*/ 170827 h 599742"/>
              <a:gd name="connsiteX4" fmla="*/ 1046952 w 1210718"/>
              <a:gd name="connsiteY4" fmla="*/ 178771 h 599742"/>
              <a:gd name="connsiteX5" fmla="*/ 1127605 w 1210718"/>
              <a:gd name="connsiteY5" fmla="*/ 301408 h 599742"/>
              <a:gd name="connsiteX6" fmla="*/ 1118155 w 1210718"/>
              <a:gd name="connsiteY6" fmla="*/ 346509 h 599742"/>
              <a:gd name="connsiteX7" fmla="*/ 1132310 w 1210718"/>
              <a:gd name="connsiteY7" fmla="*/ 349483 h 599742"/>
              <a:gd name="connsiteX8" fmla="*/ 1210718 w 1210718"/>
              <a:gd name="connsiteY8" fmla="*/ 472120 h 599742"/>
              <a:gd name="connsiteX9" fmla="*/ 1083274 w 1210718"/>
              <a:gd name="connsiteY9" fmla="*/ 599742 h 599742"/>
              <a:gd name="connsiteX10" fmla="*/ 127444 w 1210718"/>
              <a:gd name="connsiteY10" fmla="*/ 599742 h 599742"/>
              <a:gd name="connsiteX11" fmla="*/ 0 w 1210718"/>
              <a:gd name="connsiteY11" fmla="*/ 472120 h 599742"/>
              <a:gd name="connsiteX12" fmla="*/ 127444 w 1210718"/>
              <a:gd name="connsiteY12" fmla="*/ 339180 h 599742"/>
              <a:gd name="connsiteX13" fmla="*/ 275151 w 1210718"/>
              <a:gd name="connsiteY13" fmla="*/ 339180 h 599742"/>
              <a:gd name="connsiteX14" fmla="*/ 267300 w 1210718"/>
              <a:gd name="connsiteY14" fmla="*/ 301408 h 599742"/>
              <a:gd name="connsiteX15" fmla="*/ 394753 w 1210718"/>
              <a:gd name="connsiteY15" fmla="*/ 168468 h 599742"/>
              <a:gd name="connsiteX16" fmla="*/ 592829 w 1210718"/>
              <a:gd name="connsiteY16" fmla="*/ 168468 h 599742"/>
              <a:gd name="connsiteX17" fmla="*/ 614468 w 1210718"/>
              <a:gd name="connsiteY17" fmla="*/ 168468 h 599742"/>
              <a:gd name="connsiteX18" fmla="*/ 606480 w 1210718"/>
              <a:gd name="connsiteY18" fmla="*/ 127622 h 599742"/>
              <a:gd name="connsiteX19" fmla="*/ 733902 w 1210718"/>
              <a:gd name="connsiteY19" fmla="*/ 0 h 59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0718" h="599742">
                <a:moveTo>
                  <a:pt x="733902" y="0"/>
                </a:moveTo>
                <a:cubicBezTo>
                  <a:pt x="882562" y="0"/>
                  <a:pt x="882562" y="0"/>
                  <a:pt x="882562" y="0"/>
                </a:cubicBezTo>
                <a:cubicBezTo>
                  <a:pt x="956891" y="0"/>
                  <a:pt x="1015293" y="58493"/>
                  <a:pt x="1015293" y="127622"/>
                </a:cubicBezTo>
                <a:lnTo>
                  <a:pt x="1006776" y="170827"/>
                </a:lnTo>
                <a:lnTo>
                  <a:pt x="1046952" y="178771"/>
                </a:lnTo>
                <a:cubicBezTo>
                  <a:pt x="1094746" y="198712"/>
                  <a:pt x="1127605" y="245573"/>
                  <a:pt x="1127605" y="301408"/>
                </a:cubicBezTo>
                <a:lnTo>
                  <a:pt x="1118155" y="346509"/>
                </a:lnTo>
                <a:lnTo>
                  <a:pt x="1132310" y="349483"/>
                </a:lnTo>
                <a:cubicBezTo>
                  <a:pt x="1177862" y="369424"/>
                  <a:pt x="1210718" y="416285"/>
                  <a:pt x="1210718" y="472120"/>
                </a:cubicBezTo>
                <a:cubicBezTo>
                  <a:pt x="1210718" y="541249"/>
                  <a:pt x="1152306" y="599742"/>
                  <a:pt x="1083274" y="599742"/>
                </a:cubicBezTo>
                <a:cubicBezTo>
                  <a:pt x="127444" y="599742"/>
                  <a:pt x="127444" y="599742"/>
                  <a:pt x="127444" y="599742"/>
                </a:cubicBezTo>
                <a:cubicBezTo>
                  <a:pt x="58412" y="599742"/>
                  <a:pt x="0" y="541249"/>
                  <a:pt x="0" y="472120"/>
                </a:cubicBezTo>
                <a:cubicBezTo>
                  <a:pt x="0" y="397674"/>
                  <a:pt x="58412" y="339180"/>
                  <a:pt x="127444" y="339180"/>
                </a:cubicBezTo>
                <a:lnTo>
                  <a:pt x="275151" y="339180"/>
                </a:lnTo>
                <a:lnTo>
                  <a:pt x="267300" y="301408"/>
                </a:lnTo>
                <a:cubicBezTo>
                  <a:pt x="267300" y="226961"/>
                  <a:pt x="325716" y="168468"/>
                  <a:pt x="394753" y="168468"/>
                </a:cubicBezTo>
                <a:cubicBezTo>
                  <a:pt x="469764" y="168468"/>
                  <a:pt x="535399" y="168468"/>
                  <a:pt x="592829" y="168468"/>
                </a:cubicBezTo>
                <a:lnTo>
                  <a:pt x="614468" y="168468"/>
                </a:lnTo>
                <a:lnTo>
                  <a:pt x="606480" y="127622"/>
                </a:lnTo>
                <a:cubicBezTo>
                  <a:pt x="606480" y="58493"/>
                  <a:pt x="664882" y="0"/>
                  <a:pt x="733902" y="0"/>
                </a:cubicBezTo>
                <a:close/>
              </a:path>
            </a:pathLst>
          </a:custGeom>
          <a:solidFill>
            <a:srgbClr val="EDF1F7"/>
          </a:solidFill>
          <a:ln>
            <a:solidFill>
              <a:schemeClr val="bg1"/>
            </a:solidFill>
          </a:ln>
        </p:spPr>
        <p:txBody>
          <a:bodyPr vert="horz" wrap="square" lIns="121920" tIns="60960" rIns="243840" bIns="60960" numCol="1" anchor="b" anchorCtr="0" compatLnSpc="1">
            <a:prstTxWarp prst="textNoShape">
              <a:avLst/>
            </a:prstTxWarp>
            <a:noAutofit/>
          </a:bodyPr>
          <a:lstStyle/>
          <a:p>
            <a:pPr defTabSz="609585" fontAlgn="base">
              <a:spcBef>
                <a:spcPct val="0"/>
              </a:spcBef>
              <a:spcAft>
                <a:spcPct val="0"/>
              </a:spcAft>
              <a:defRPr/>
            </a:pPr>
            <a:r>
              <a:rPr lang="en-US" sz="1600">
                <a:solidFill>
                  <a:srgbClr val="14284A"/>
                </a:solidFill>
                <a:latin typeface="CiscoSansTT ExtraLight" panose="020B0303020201020303" pitchFamily="34" charset="0"/>
                <a:ea typeface="ＭＳ Ｐゴシック" charset="0"/>
                <a:cs typeface="CiscoSansTT ExtraLight" panose="020B0303020201020303" pitchFamily="34" charset="0"/>
                <a:sym typeface="Arial"/>
              </a:rPr>
              <a:t>    Cisco </a:t>
            </a:r>
            <a:br>
              <a:rPr lang="en-US" sz="1600">
                <a:solidFill>
                  <a:srgbClr val="14284A"/>
                </a:solidFill>
                <a:latin typeface="CiscoSansTT ExtraLight" panose="020B0303020201020303" pitchFamily="34" charset="0"/>
                <a:ea typeface="ＭＳ Ｐゴシック" charset="0"/>
                <a:cs typeface="CiscoSansTT ExtraLight" panose="020B0303020201020303" pitchFamily="34" charset="0"/>
                <a:sym typeface="Arial"/>
              </a:rPr>
            </a:br>
            <a:r>
              <a:rPr lang="en-US" sz="1600">
                <a:solidFill>
                  <a:srgbClr val="14284A"/>
                </a:solidFill>
                <a:latin typeface="CiscoSansTT ExtraLight" panose="020B0303020201020303" pitchFamily="34" charset="0"/>
                <a:ea typeface="ＭＳ Ｐゴシック" charset="0"/>
                <a:cs typeface="CiscoSansTT ExtraLight" panose="020B0303020201020303" pitchFamily="34" charset="0"/>
                <a:sym typeface="Arial"/>
              </a:rPr>
              <a:t>    SOAR</a:t>
            </a:r>
            <a:r>
              <a:rPr lang="en-US" sz="1600" kern="0">
                <a:solidFill>
                  <a:srgbClr val="14284A"/>
                </a:solidFill>
                <a:latin typeface="CiscoSansTT ExtraLight" panose="020B0303020201020303" pitchFamily="34" charset="0"/>
                <a:cs typeface="CiscoSansTT ExtraLight" panose="020B0303020201020303" pitchFamily="34" charset="0"/>
                <a:sym typeface="Arial"/>
              </a:rPr>
              <a:t> </a:t>
            </a:r>
            <a:r>
              <a:rPr lang="en-US" sz="1600">
                <a:solidFill>
                  <a:srgbClr val="14284A"/>
                </a:solidFill>
                <a:latin typeface="CiscoSansTT ExtraLight" panose="020B0303020201020303" pitchFamily="34" charset="0"/>
                <a:ea typeface="ＭＳ Ｐゴシック" charset="0"/>
                <a:cs typeface="CiscoSansTT ExtraLight" panose="020B0303020201020303" pitchFamily="34" charset="0"/>
                <a:sym typeface="Arial"/>
              </a:rPr>
              <a:t>Platform</a:t>
            </a:r>
          </a:p>
        </p:txBody>
      </p:sp>
      <p:sp>
        <p:nvSpPr>
          <p:cNvPr id="18" name="Freeform 193">
            <a:extLst>
              <a:ext uri="{FF2B5EF4-FFF2-40B4-BE49-F238E27FC236}">
                <a16:creationId xmlns:a16="http://schemas.microsoft.com/office/drawing/2014/main" id="{554EC59A-28E9-FB45-9ECA-61D605736029}"/>
              </a:ext>
            </a:extLst>
          </p:cNvPr>
          <p:cNvSpPr>
            <a:spLocks/>
          </p:cNvSpPr>
          <p:nvPr/>
        </p:nvSpPr>
        <p:spPr bwMode="auto">
          <a:xfrm flipH="1">
            <a:off x="6859968" y="1563221"/>
            <a:ext cx="2090573" cy="1201703"/>
          </a:xfrm>
          <a:custGeom>
            <a:avLst/>
            <a:gdLst>
              <a:gd name="connsiteX0" fmla="*/ 733902 w 1210718"/>
              <a:gd name="connsiteY0" fmla="*/ 0 h 599742"/>
              <a:gd name="connsiteX1" fmla="*/ 882562 w 1210718"/>
              <a:gd name="connsiteY1" fmla="*/ 0 h 599742"/>
              <a:gd name="connsiteX2" fmla="*/ 1015293 w 1210718"/>
              <a:gd name="connsiteY2" fmla="*/ 127622 h 599742"/>
              <a:gd name="connsiteX3" fmla="*/ 1006776 w 1210718"/>
              <a:gd name="connsiteY3" fmla="*/ 170827 h 599742"/>
              <a:gd name="connsiteX4" fmla="*/ 1046952 w 1210718"/>
              <a:gd name="connsiteY4" fmla="*/ 178771 h 599742"/>
              <a:gd name="connsiteX5" fmla="*/ 1127605 w 1210718"/>
              <a:gd name="connsiteY5" fmla="*/ 301408 h 599742"/>
              <a:gd name="connsiteX6" fmla="*/ 1118155 w 1210718"/>
              <a:gd name="connsiteY6" fmla="*/ 346509 h 599742"/>
              <a:gd name="connsiteX7" fmla="*/ 1132310 w 1210718"/>
              <a:gd name="connsiteY7" fmla="*/ 349483 h 599742"/>
              <a:gd name="connsiteX8" fmla="*/ 1210718 w 1210718"/>
              <a:gd name="connsiteY8" fmla="*/ 472120 h 599742"/>
              <a:gd name="connsiteX9" fmla="*/ 1083274 w 1210718"/>
              <a:gd name="connsiteY9" fmla="*/ 599742 h 599742"/>
              <a:gd name="connsiteX10" fmla="*/ 127444 w 1210718"/>
              <a:gd name="connsiteY10" fmla="*/ 599742 h 599742"/>
              <a:gd name="connsiteX11" fmla="*/ 0 w 1210718"/>
              <a:gd name="connsiteY11" fmla="*/ 472120 h 599742"/>
              <a:gd name="connsiteX12" fmla="*/ 127444 w 1210718"/>
              <a:gd name="connsiteY12" fmla="*/ 339180 h 599742"/>
              <a:gd name="connsiteX13" fmla="*/ 275151 w 1210718"/>
              <a:gd name="connsiteY13" fmla="*/ 339180 h 599742"/>
              <a:gd name="connsiteX14" fmla="*/ 267300 w 1210718"/>
              <a:gd name="connsiteY14" fmla="*/ 301408 h 599742"/>
              <a:gd name="connsiteX15" fmla="*/ 394753 w 1210718"/>
              <a:gd name="connsiteY15" fmla="*/ 168468 h 599742"/>
              <a:gd name="connsiteX16" fmla="*/ 592829 w 1210718"/>
              <a:gd name="connsiteY16" fmla="*/ 168468 h 599742"/>
              <a:gd name="connsiteX17" fmla="*/ 614468 w 1210718"/>
              <a:gd name="connsiteY17" fmla="*/ 168468 h 599742"/>
              <a:gd name="connsiteX18" fmla="*/ 606480 w 1210718"/>
              <a:gd name="connsiteY18" fmla="*/ 127622 h 599742"/>
              <a:gd name="connsiteX19" fmla="*/ 733902 w 1210718"/>
              <a:gd name="connsiteY19" fmla="*/ 0 h 59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0718" h="599742">
                <a:moveTo>
                  <a:pt x="733902" y="0"/>
                </a:moveTo>
                <a:cubicBezTo>
                  <a:pt x="882562" y="0"/>
                  <a:pt x="882562" y="0"/>
                  <a:pt x="882562" y="0"/>
                </a:cubicBezTo>
                <a:cubicBezTo>
                  <a:pt x="956891" y="0"/>
                  <a:pt x="1015293" y="58493"/>
                  <a:pt x="1015293" y="127622"/>
                </a:cubicBezTo>
                <a:lnTo>
                  <a:pt x="1006776" y="170827"/>
                </a:lnTo>
                <a:lnTo>
                  <a:pt x="1046952" y="178771"/>
                </a:lnTo>
                <a:cubicBezTo>
                  <a:pt x="1094746" y="198712"/>
                  <a:pt x="1127605" y="245573"/>
                  <a:pt x="1127605" y="301408"/>
                </a:cubicBezTo>
                <a:lnTo>
                  <a:pt x="1118155" y="346509"/>
                </a:lnTo>
                <a:lnTo>
                  <a:pt x="1132310" y="349483"/>
                </a:lnTo>
                <a:cubicBezTo>
                  <a:pt x="1177862" y="369424"/>
                  <a:pt x="1210718" y="416285"/>
                  <a:pt x="1210718" y="472120"/>
                </a:cubicBezTo>
                <a:cubicBezTo>
                  <a:pt x="1210718" y="541249"/>
                  <a:pt x="1152306" y="599742"/>
                  <a:pt x="1083274" y="599742"/>
                </a:cubicBezTo>
                <a:cubicBezTo>
                  <a:pt x="127444" y="599742"/>
                  <a:pt x="127444" y="599742"/>
                  <a:pt x="127444" y="599742"/>
                </a:cubicBezTo>
                <a:cubicBezTo>
                  <a:pt x="58412" y="599742"/>
                  <a:pt x="0" y="541249"/>
                  <a:pt x="0" y="472120"/>
                </a:cubicBezTo>
                <a:cubicBezTo>
                  <a:pt x="0" y="397674"/>
                  <a:pt x="58412" y="339180"/>
                  <a:pt x="127444" y="339180"/>
                </a:cubicBezTo>
                <a:lnTo>
                  <a:pt x="275151" y="339180"/>
                </a:lnTo>
                <a:lnTo>
                  <a:pt x="267300" y="301408"/>
                </a:lnTo>
                <a:cubicBezTo>
                  <a:pt x="267300" y="226961"/>
                  <a:pt x="325716" y="168468"/>
                  <a:pt x="394753" y="168468"/>
                </a:cubicBezTo>
                <a:cubicBezTo>
                  <a:pt x="469764" y="168468"/>
                  <a:pt x="535399" y="168468"/>
                  <a:pt x="592829" y="168468"/>
                </a:cubicBezTo>
                <a:lnTo>
                  <a:pt x="614468" y="168468"/>
                </a:lnTo>
                <a:lnTo>
                  <a:pt x="606480" y="127622"/>
                </a:lnTo>
                <a:cubicBezTo>
                  <a:pt x="606480" y="58493"/>
                  <a:pt x="664882" y="0"/>
                  <a:pt x="733902" y="0"/>
                </a:cubicBezTo>
                <a:close/>
              </a:path>
            </a:pathLst>
          </a:custGeom>
          <a:solidFill>
            <a:srgbClr val="EDF1F7"/>
          </a:solidFill>
          <a:ln>
            <a:solidFill>
              <a:schemeClr val="bg1"/>
            </a:solidFill>
          </a:ln>
        </p:spPr>
        <p:txBody>
          <a:bodyPr vert="horz" wrap="square" lIns="0" tIns="60960" rIns="60960" bIns="12192" numCol="1" anchor="ctr" anchorCtr="0" compatLnSpc="1">
            <a:prstTxWarp prst="textNoShape">
              <a:avLst/>
            </a:prstTxWarp>
            <a:noAutofit/>
          </a:bodyPr>
          <a:lstStyle/>
          <a:p>
            <a:pPr algn="ctr" defTabSz="1219170">
              <a:buClr>
                <a:srgbClr val="000000"/>
              </a:buClr>
              <a:defRPr/>
            </a:pPr>
            <a:endParaRPr lang="en-US" sz="1600" kern="0">
              <a:solidFill>
                <a:srgbClr val="14284A"/>
              </a:solidFill>
              <a:latin typeface="CiscoSansTT ExtraLight" panose="020B0303020201020303" pitchFamily="34" charset="0"/>
              <a:cs typeface="CiscoSansTT ExtraLight" panose="020B0303020201020303" pitchFamily="34" charset="0"/>
              <a:sym typeface="Arial"/>
            </a:endParaRPr>
          </a:p>
          <a:p>
            <a:pPr algn="ctr" defTabSz="1219170">
              <a:buClr>
                <a:srgbClr val="000000"/>
              </a:buClr>
              <a:defRPr/>
            </a:pPr>
            <a:r>
              <a:rPr lang="en-US" sz="1600" kern="0">
                <a:solidFill>
                  <a:srgbClr val="14284A"/>
                </a:solidFill>
                <a:latin typeface="CiscoSansTT ExtraLight" panose="020B0303020201020303" pitchFamily="34" charset="0"/>
                <a:cs typeface="CiscoSansTT ExtraLight" panose="020B0303020201020303" pitchFamily="34" charset="0"/>
                <a:sym typeface="Arial"/>
              </a:rPr>
              <a:t>Cisco® MDR</a:t>
            </a:r>
          </a:p>
          <a:p>
            <a:pPr algn="ctr" defTabSz="1219170">
              <a:buClr>
                <a:srgbClr val="000000"/>
              </a:buClr>
              <a:defRPr/>
            </a:pPr>
            <a:r>
              <a:rPr lang="en-US" sz="1600" kern="0">
                <a:solidFill>
                  <a:srgbClr val="14284A"/>
                </a:solidFill>
                <a:latin typeface="CiscoSansTT ExtraLight" panose="020B0303020201020303" pitchFamily="34" charset="0"/>
                <a:cs typeface="CiscoSansTT ExtraLight" panose="020B0303020201020303" pitchFamily="34" charset="0"/>
                <a:sym typeface="Arial"/>
              </a:rPr>
              <a:t>Platform</a:t>
            </a:r>
          </a:p>
        </p:txBody>
      </p:sp>
      <p:sp>
        <p:nvSpPr>
          <p:cNvPr id="19" name="TextBox 18">
            <a:extLst>
              <a:ext uri="{FF2B5EF4-FFF2-40B4-BE49-F238E27FC236}">
                <a16:creationId xmlns:a16="http://schemas.microsoft.com/office/drawing/2014/main" id="{A3A46ED0-66F5-AA49-BBCE-848D76E3FFE2}"/>
              </a:ext>
            </a:extLst>
          </p:cNvPr>
          <p:cNvSpPr txBox="1"/>
          <p:nvPr/>
        </p:nvSpPr>
        <p:spPr>
          <a:xfrm>
            <a:off x="10975940" y="2803928"/>
            <a:ext cx="876816" cy="553997"/>
          </a:xfrm>
          <a:prstGeom prst="rect">
            <a:avLst/>
          </a:prstGeom>
          <a:noFill/>
        </p:spPr>
        <p:txBody>
          <a:bodyPr wrap="square" lIns="0" tIns="0" rIns="0" bIns="0" rtlCol="0">
            <a:noAutofit/>
          </a:bodyPr>
          <a:lstStyle/>
          <a:p>
            <a:pPr defTabSz="609585" fontAlgn="base">
              <a:spcBef>
                <a:spcPct val="0"/>
              </a:spcBef>
              <a:spcAft>
                <a:spcPct val="0"/>
              </a:spcAft>
              <a:defRPr/>
            </a:pPr>
            <a:r>
              <a:rPr lang="en-US" sz="1067">
                <a:solidFill>
                  <a:srgbClr val="005073"/>
                </a:solidFill>
                <a:latin typeface="CiscoSansTT ExtraLight" panose="020B0303020201020303" pitchFamily="34" charset="0"/>
                <a:ea typeface="ＭＳ Ｐゴシック" charset="0"/>
                <a:cs typeface="CiscoSansTT ExtraLight" panose="020B0303020201020303" pitchFamily="34" charset="0"/>
                <a:sym typeface="Arial"/>
              </a:rPr>
              <a:t>Response Action Catalog</a:t>
            </a:r>
          </a:p>
        </p:txBody>
      </p:sp>
      <p:sp>
        <p:nvSpPr>
          <p:cNvPr id="32" name="Arc 128">
            <a:extLst>
              <a:ext uri="{FF2B5EF4-FFF2-40B4-BE49-F238E27FC236}">
                <a16:creationId xmlns:a16="http://schemas.microsoft.com/office/drawing/2014/main" id="{A98DEE51-310B-5141-9FF8-3728CECA66B1}"/>
              </a:ext>
            </a:extLst>
          </p:cNvPr>
          <p:cNvSpPr/>
          <p:nvPr/>
        </p:nvSpPr>
        <p:spPr>
          <a:xfrm rot="18292575" flipH="1">
            <a:off x="8056169" y="2950970"/>
            <a:ext cx="552127" cy="806165"/>
          </a:xfrm>
          <a:custGeom>
            <a:avLst/>
            <a:gdLst>
              <a:gd name="connsiteX0" fmla="*/ 379259 w 758519"/>
              <a:gd name="connsiteY0" fmla="*/ 0 h 758519"/>
              <a:gd name="connsiteX1" fmla="*/ 758519 w 758519"/>
              <a:gd name="connsiteY1" fmla="*/ 379260 h 758519"/>
              <a:gd name="connsiteX2" fmla="*/ 379260 w 758519"/>
              <a:gd name="connsiteY2" fmla="*/ 379260 h 758519"/>
              <a:gd name="connsiteX3" fmla="*/ 379259 w 758519"/>
              <a:gd name="connsiteY3" fmla="*/ 0 h 758519"/>
              <a:gd name="connsiteX0" fmla="*/ 379259 w 758519"/>
              <a:gd name="connsiteY0" fmla="*/ 0 h 758519"/>
              <a:gd name="connsiteX1" fmla="*/ 758519 w 758519"/>
              <a:gd name="connsiteY1" fmla="*/ 379260 h 758519"/>
              <a:gd name="connsiteX0" fmla="*/ 0 w 414781"/>
              <a:gd name="connsiteY0" fmla="*/ 0 h 379260"/>
              <a:gd name="connsiteX1" fmla="*/ 379260 w 414781"/>
              <a:gd name="connsiteY1" fmla="*/ 379260 h 379260"/>
              <a:gd name="connsiteX2" fmla="*/ 1 w 414781"/>
              <a:gd name="connsiteY2" fmla="*/ 379260 h 379260"/>
              <a:gd name="connsiteX3" fmla="*/ 0 w 414781"/>
              <a:gd name="connsiteY3" fmla="*/ 0 h 379260"/>
              <a:gd name="connsiteX0" fmla="*/ 0 w 414781"/>
              <a:gd name="connsiteY0" fmla="*/ 0 h 379260"/>
              <a:gd name="connsiteX1" fmla="*/ 414781 w 414781"/>
              <a:gd name="connsiteY1" fmla="*/ 322746 h 379260"/>
              <a:gd name="connsiteX0" fmla="*/ 0 w 414781"/>
              <a:gd name="connsiteY0" fmla="*/ 0 h 379260"/>
              <a:gd name="connsiteX1" fmla="*/ 379260 w 414781"/>
              <a:gd name="connsiteY1" fmla="*/ 379260 h 379260"/>
              <a:gd name="connsiteX2" fmla="*/ 1 w 414781"/>
              <a:gd name="connsiteY2" fmla="*/ 379260 h 379260"/>
              <a:gd name="connsiteX3" fmla="*/ 0 w 414781"/>
              <a:gd name="connsiteY3" fmla="*/ 0 h 379260"/>
              <a:gd name="connsiteX0" fmla="*/ 0 w 414781"/>
              <a:gd name="connsiteY0" fmla="*/ 0 h 379260"/>
              <a:gd name="connsiteX1" fmla="*/ 414781 w 414781"/>
              <a:gd name="connsiteY1" fmla="*/ 322746 h 379260"/>
              <a:gd name="connsiteX0" fmla="*/ 12472 w 427253"/>
              <a:gd name="connsiteY0" fmla="*/ 0 h 379260"/>
              <a:gd name="connsiteX1" fmla="*/ 391732 w 427253"/>
              <a:gd name="connsiteY1" fmla="*/ 379260 h 379260"/>
              <a:gd name="connsiteX2" fmla="*/ 12473 w 427253"/>
              <a:gd name="connsiteY2" fmla="*/ 379260 h 379260"/>
              <a:gd name="connsiteX3" fmla="*/ 12472 w 427253"/>
              <a:gd name="connsiteY3" fmla="*/ 0 h 379260"/>
              <a:gd name="connsiteX0" fmla="*/ 0 w 427253"/>
              <a:gd name="connsiteY0" fmla="*/ 6788 h 379260"/>
              <a:gd name="connsiteX1" fmla="*/ 427253 w 427253"/>
              <a:gd name="connsiteY1" fmla="*/ 322746 h 379260"/>
              <a:gd name="connsiteX0" fmla="*/ 12472 w 427253"/>
              <a:gd name="connsiteY0" fmla="*/ 0 h 379260"/>
              <a:gd name="connsiteX1" fmla="*/ 391732 w 427253"/>
              <a:gd name="connsiteY1" fmla="*/ 379260 h 379260"/>
              <a:gd name="connsiteX2" fmla="*/ 12473 w 427253"/>
              <a:gd name="connsiteY2" fmla="*/ 379260 h 379260"/>
              <a:gd name="connsiteX3" fmla="*/ 12472 w 427253"/>
              <a:gd name="connsiteY3" fmla="*/ 0 h 379260"/>
              <a:gd name="connsiteX0" fmla="*/ 0 w 427253"/>
              <a:gd name="connsiteY0" fmla="*/ 6788 h 379260"/>
              <a:gd name="connsiteX1" fmla="*/ 427253 w 427253"/>
              <a:gd name="connsiteY1" fmla="*/ 322746 h 379260"/>
            </a:gdLst>
            <a:ahLst/>
            <a:cxnLst>
              <a:cxn ang="0">
                <a:pos x="connsiteX0" y="connsiteY0"/>
              </a:cxn>
              <a:cxn ang="0">
                <a:pos x="connsiteX1" y="connsiteY1"/>
              </a:cxn>
            </a:cxnLst>
            <a:rect l="l" t="t" r="r" b="b"/>
            <a:pathLst>
              <a:path w="427253" h="379260" stroke="0" extrusionOk="0">
                <a:moveTo>
                  <a:pt x="12472" y="0"/>
                </a:moveTo>
                <a:cubicBezTo>
                  <a:pt x="221932" y="0"/>
                  <a:pt x="391732" y="169800"/>
                  <a:pt x="391732" y="379260"/>
                </a:cubicBezTo>
                <a:lnTo>
                  <a:pt x="12473" y="379260"/>
                </a:lnTo>
                <a:cubicBezTo>
                  <a:pt x="12473" y="252840"/>
                  <a:pt x="12472" y="126420"/>
                  <a:pt x="12472" y="0"/>
                </a:cubicBezTo>
                <a:close/>
              </a:path>
              <a:path w="427253" h="379260" fill="none">
                <a:moveTo>
                  <a:pt x="0" y="6788"/>
                </a:moveTo>
                <a:cubicBezTo>
                  <a:pt x="129896" y="20995"/>
                  <a:pt x="358662" y="150620"/>
                  <a:pt x="427253" y="322746"/>
                </a:cubicBezTo>
              </a:path>
            </a:pathLst>
          </a:custGeom>
          <a:ln w="158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fontAlgn="base">
              <a:spcBef>
                <a:spcPct val="0"/>
              </a:spcBef>
              <a:spcAft>
                <a:spcPct val="0"/>
              </a:spcAft>
              <a:defRPr/>
            </a:pPr>
            <a:endParaRPr lang="en-US" sz="2400">
              <a:solidFill>
                <a:srgbClr val="282828"/>
              </a:solidFill>
              <a:latin typeface="Arial"/>
              <a:sym typeface="Arial"/>
            </a:endParaRPr>
          </a:p>
        </p:txBody>
      </p:sp>
      <p:sp>
        <p:nvSpPr>
          <p:cNvPr id="33" name="Arc 128">
            <a:extLst>
              <a:ext uri="{FF2B5EF4-FFF2-40B4-BE49-F238E27FC236}">
                <a16:creationId xmlns:a16="http://schemas.microsoft.com/office/drawing/2014/main" id="{9BB569A4-96CC-3140-A0B4-5F60D2064E70}"/>
              </a:ext>
            </a:extLst>
          </p:cNvPr>
          <p:cNvSpPr/>
          <p:nvPr/>
        </p:nvSpPr>
        <p:spPr>
          <a:xfrm rot="3307425">
            <a:off x="9865581" y="2959675"/>
            <a:ext cx="626707" cy="790323"/>
          </a:xfrm>
          <a:custGeom>
            <a:avLst/>
            <a:gdLst>
              <a:gd name="connsiteX0" fmla="*/ 379259 w 758519"/>
              <a:gd name="connsiteY0" fmla="*/ 0 h 758519"/>
              <a:gd name="connsiteX1" fmla="*/ 758519 w 758519"/>
              <a:gd name="connsiteY1" fmla="*/ 379260 h 758519"/>
              <a:gd name="connsiteX2" fmla="*/ 379260 w 758519"/>
              <a:gd name="connsiteY2" fmla="*/ 379260 h 758519"/>
              <a:gd name="connsiteX3" fmla="*/ 379259 w 758519"/>
              <a:gd name="connsiteY3" fmla="*/ 0 h 758519"/>
              <a:gd name="connsiteX0" fmla="*/ 379259 w 758519"/>
              <a:gd name="connsiteY0" fmla="*/ 0 h 758519"/>
              <a:gd name="connsiteX1" fmla="*/ 758519 w 758519"/>
              <a:gd name="connsiteY1" fmla="*/ 379260 h 758519"/>
              <a:gd name="connsiteX0" fmla="*/ 0 w 414781"/>
              <a:gd name="connsiteY0" fmla="*/ 0 h 379260"/>
              <a:gd name="connsiteX1" fmla="*/ 379260 w 414781"/>
              <a:gd name="connsiteY1" fmla="*/ 379260 h 379260"/>
              <a:gd name="connsiteX2" fmla="*/ 1 w 414781"/>
              <a:gd name="connsiteY2" fmla="*/ 379260 h 379260"/>
              <a:gd name="connsiteX3" fmla="*/ 0 w 414781"/>
              <a:gd name="connsiteY3" fmla="*/ 0 h 379260"/>
              <a:gd name="connsiteX0" fmla="*/ 0 w 414781"/>
              <a:gd name="connsiteY0" fmla="*/ 0 h 379260"/>
              <a:gd name="connsiteX1" fmla="*/ 414781 w 414781"/>
              <a:gd name="connsiteY1" fmla="*/ 322746 h 379260"/>
              <a:gd name="connsiteX0" fmla="*/ 0 w 414781"/>
              <a:gd name="connsiteY0" fmla="*/ 0 h 379260"/>
              <a:gd name="connsiteX1" fmla="*/ 379260 w 414781"/>
              <a:gd name="connsiteY1" fmla="*/ 379260 h 379260"/>
              <a:gd name="connsiteX2" fmla="*/ 1 w 414781"/>
              <a:gd name="connsiteY2" fmla="*/ 379260 h 379260"/>
              <a:gd name="connsiteX3" fmla="*/ 0 w 414781"/>
              <a:gd name="connsiteY3" fmla="*/ 0 h 379260"/>
              <a:gd name="connsiteX0" fmla="*/ 0 w 414781"/>
              <a:gd name="connsiteY0" fmla="*/ 0 h 379260"/>
              <a:gd name="connsiteX1" fmla="*/ 414781 w 414781"/>
              <a:gd name="connsiteY1" fmla="*/ 322746 h 379260"/>
              <a:gd name="connsiteX0" fmla="*/ 12472 w 427253"/>
              <a:gd name="connsiteY0" fmla="*/ 0 h 379260"/>
              <a:gd name="connsiteX1" fmla="*/ 391732 w 427253"/>
              <a:gd name="connsiteY1" fmla="*/ 379260 h 379260"/>
              <a:gd name="connsiteX2" fmla="*/ 12473 w 427253"/>
              <a:gd name="connsiteY2" fmla="*/ 379260 h 379260"/>
              <a:gd name="connsiteX3" fmla="*/ 12472 w 427253"/>
              <a:gd name="connsiteY3" fmla="*/ 0 h 379260"/>
              <a:gd name="connsiteX0" fmla="*/ 0 w 427253"/>
              <a:gd name="connsiteY0" fmla="*/ 6788 h 379260"/>
              <a:gd name="connsiteX1" fmla="*/ 427253 w 427253"/>
              <a:gd name="connsiteY1" fmla="*/ 322746 h 379260"/>
              <a:gd name="connsiteX0" fmla="*/ 12472 w 427253"/>
              <a:gd name="connsiteY0" fmla="*/ 0 h 379260"/>
              <a:gd name="connsiteX1" fmla="*/ 391732 w 427253"/>
              <a:gd name="connsiteY1" fmla="*/ 379260 h 379260"/>
              <a:gd name="connsiteX2" fmla="*/ 12473 w 427253"/>
              <a:gd name="connsiteY2" fmla="*/ 379260 h 379260"/>
              <a:gd name="connsiteX3" fmla="*/ 12472 w 427253"/>
              <a:gd name="connsiteY3" fmla="*/ 0 h 379260"/>
              <a:gd name="connsiteX0" fmla="*/ 0 w 427253"/>
              <a:gd name="connsiteY0" fmla="*/ 6788 h 379260"/>
              <a:gd name="connsiteX1" fmla="*/ 427253 w 427253"/>
              <a:gd name="connsiteY1" fmla="*/ 322746 h 379260"/>
            </a:gdLst>
            <a:ahLst/>
            <a:cxnLst>
              <a:cxn ang="0">
                <a:pos x="connsiteX0" y="connsiteY0"/>
              </a:cxn>
              <a:cxn ang="0">
                <a:pos x="connsiteX1" y="connsiteY1"/>
              </a:cxn>
            </a:cxnLst>
            <a:rect l="l" t="t" r="r" b="b"/>
            <a:pathLst>
              <a:path w="427253" h="379260" stroke="0" extrusionOk="0">
                <a:moveTo>
                  <a:pt x="12472" y="0"/>
                </a:moveTo>
                <a:cubicBezTo>
                  <a:pt x="221932" y="0"/>
                  <a:pt x="391732" y="169800"/>
                  <a:pt x="391732" y="379260"/>
                </a:cubicBezTo>
                <a:lnTo>
                  <a:pt x="12473" y="379260"/>
                </a:lnTo>
                <a:cubicBezTo>
                  <a:pt x="12473" y="252840"/>
                  <a:pt x="12472" y="126420"/>
                  <a:pt x="12472" y="0"/>
                </a:cubicBezTo>
                <a:close/>
              </a:path>
              <a:path w="427253" h="379260" fill="none">
                <a:moveTo>
                  <a:pt x="0" y="6788"/>
                </a:moveTo>
                <a:cubicBezTo>
                  <a:pt x="129896" y="20995"/>
                  <a:pt x="358662" y="150620"/>
                  <a:pt x="427253" y="322746"/>
                </a:cubicBezTo>
              </a:path>
            </a:pathLst>
          </a:custGeom>
          <a:ln w="158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fontAlgn="base">
              <a:spcBef>
                <a:spcPct val="0"/>
              </a:spcBef>
              <a:spcAft>
                <a:spcPct val="0"/>
              </a:spcAft>
              <a:defRPr/>
            </a:pPr>
            <a:endParaRPr lang="en-US" sz="2400">
              <a:solidFill>
                <a:srgbClr val="282828"/>
              </a:solidFill>
              <a:latin typeface="Arial"/>
              <a:sym typeface="Arial"/>
            </a:endParaRPr>
          </a:p>
        </p:txBody>
      </p:sp>
      <p:grpSp>
        <p:nvGrpSpPr>
          <p:cNvPr id="34" name="Group 33">
            <a:extLst>
              <a:ext uri="{FF2B5EF4-FFF2-40B4-BE49-F238E27FC236}">
                <a16:creationId xmlns:a16="http://schemas.microsoft.com/office/drawing/2014/main" id="{64267B9E-BCEE-A643-92F5-3ED585C8DCB3}"/>
              </a:ext>
            </a:extLst>
          </p:cNvPr>
          <p:cNvGrpSpPr>
            <a:grpSpLocks noChangeAspect="1"/>
          </p:cNvGrpSpPr>
          <p:nvPr/>
        </p:nvGrpSpPr>
        <p:grpSpPr>
          <a:xfrm>
            <a:off x="9075856" y="3658436"/>
            <a:ext cx="528000" cy="528000"/>
            <a:chOff x="350664" y="415781"/>
            <a:chExt cx="806188" cy="822960"/>
          </a:xfrm>
        </p:grpSpPr>
        <p:sp>
          <p:nvSpPr>
            <p:cNvPr id="35" name="Oval 34">
              <a:extLst>
                <a:ext uri="{FF2B5EF4-FFF2-40B4-BE49-F238E27FC236}">
                  <a16:creationId xmlns:a16="http://schemas.microsoft.com/office/drawing/2014/main" id="{A28083A6-FFE6-5F4F-B68F-EF316F5106A9}"/>
                </a:ext>
              </a:extLst>
            </p:cNvPr>
            <p:cNvSpPr/>
            <p:nvPr/>
          </p:nvSpPr>
          <p:spPr>
            <a:xfrm>
              <a:off x="350664" y="415781"/>
              <a:ext cx="806188" cy="82296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600">
                <a:solidFill>
                  <a:srgbClr val="005073"/>
                </a:solidFill>
                <a:latin typeface="Arial"/>
                <a:sym typeface="Arial"/>
              </a:endParaRPr>
            </a:p>
          </p:txBody>
        </p:sp>
        <p:grpSp>
          <p:nvGrpSpPr>
            <p:cNvPr id="36" name="Group 35">
              <a:extLst>
                <a:ext uri="{FF2B5EF4-FFF2-40B4-BE49-F238E27FC236}">
                  <a16:creationId xmlns:a16="http://schemas.microsoft.com/office/drawing/2014/main" id="{A768EFE3-26F5-DB46-BB70-3DFAB347FF62}"/>
                </a:ext>
              </a:extLst>
            </p:cNvPr>
            <p:cNvGrpSpPr>
              <a:grpSpLocks noChangeAspect="1"/>
            </p:cNvGrpSpPr>
            <p:nvPr/>
          </p:nvGrpSpPr>
          <p:grpSpPr>
            <a:xfrm>
              <a:off x="514272" y="552941"/>
              <a:ext cx="478972" cy="548640"/>
              <a:chOff x="4138958" y="2537288"/>
              <a:chExt cx="516653" cy="600220"/>
            </a:xfrm>
          </p:grpSpPr>
          <p:sp>
            <p:nvSpPr>
              <p:cNvPr id="37" name="Freeform 191">
                <a:extLst>
                  <a:ext uri="{FF2B5EF4-FFF2-40B4-BE49-F238E27FC236}">
                    <a16:creationId xmlns:a16="http://schemas.microsoft.com/office/drawing/2014/main" id="{0CD11E72-7FAF-EF4C-B35D-11B57AF42CD3}"/>
                  </a:ext>
                </a:extLst>
              </p:cNvPr>
              <p:cNvSpPr/>
              <p:nvPr/>
            </p:nvSpPr>
            <p:spPr>
              <a:xfrm>
                <a:off x="4138958" y="2537288"/>
                <a:ext cx="259634" cy="600220"/>
              </a:xfrm>
              <a:custGeom>
                <a:avLst/>
                <a:gdLst>
                  <a:gd name="connsiteX0" fmla="*/ 1163290 w 1163290"/>
                  <a:gd name="connsiteY0" fmla="*/ 0 h 2705326"/>
                  <a:gd name="connsiteX1" fmla="*/ 822419 w 1163290"/>
                  <a:gd name="connsiteY1" fmla="*/ 119035 h 2705326"/>
                  <a:gd name="connsiteX2" fmla="*/ 422031 w 1163290"/>
                  <a:gd name="connsiteY2" fmla="*/ 394978 h 2705326"/>
                  <a:gd name="connsiteX3" fmla="*/ 216426 w 1163290"/>
                  <a:gd name="connsiteY3" fmla="*/ 427442 h 2705326"/>
                  <a:gd name="connsiteX4" fmla="*/ 0 w 1163290"/>
                  <a:gd name="connsiteY4" fmla="*/ 638457 h 2705326"/>
                  <a:gd name="connsiteX5" fmla="*/ 0 w 1163290"/>
                  <a:gd name="connsiteY5" fmla="*/ 1471697 h 2705326"/>
                  <a:gd name="connsiteX6" fmla="*/ 1163290 w 1163290"/>
                  <a:gd name="connsiteY6" fmla="*/ 2705326 h 2705326"/>
                  <a:gd name="connsiteX0" fmla="*/ 1163290 w 1163290"/>
                  <a:gd name="connsiteY0" fmla="*/ 0 h 2705326"/>
                  <a:gd name="connsiteX1" fmla="*/ 850994 w 1163290"/>
                  <a:gd name="connsiteY1" fmla="*/ 96810 h 2705326"/>
                  <a:gd name="connsiteX2" fmla="*/ 422031 w 1163290"/>
                  <a:gd name="connsiteY2" fmla="*/ 394978 h 2705326"/>
                  <a:gd name="connsiteX3" fmla="*/ 216426 w 1163290"/>
                  <a:gd name="connsiteY3" fmla="*/ 427442 h 2705326"/>
                  <a:gd name="connsiteX4" fmla="*/ 0 w 1163290"/>
                  <a:gd name="connsiteY4" fmla="*/ 638457 h 2705326"/>
                  <a:gd name="connsiteX5" fmla="*/ 0 w 1163290"/>
                  <a:gd name="connsiteY5" fmla="*/ 1471697 h 2705326"/>
                  <a:gd name="connsiteX6" fmla="*/ 1163290 w 1163290"/>
                  <a:gd name="connsiteY6" fmla="*/ 2705326 h 2705326"/>
                  <a:gd name="connsiteX0" fmla="*/ 1163290 w 1163290"/>
                  <a:gd name="connsiteY0" fmla="*/ 0 h 2705326"/>
                  <a:gd name="connsiteX1" fmla="*/ 850994 w 1163290"/>
                  <a:gd name="connsiteY1" fmla="*/ 96810 h 2705326"/>
                  <a:gd name="connsiteX2" fmla="*/ 422031 w 1163290"/>
                  <a:gd name="connsiteY2" fmla="*/ 394978 h 2705326"/>
                  <a:gd name="connsiteX3" fmla="*/ 216426 w 1163290"/>
                  <a:gd name="connsiteY3" fmla="*/ 427442 h 2705326"/>
                  <a:gd name="connsiteX4" fmla="*/ 0 w 1163290"/>
                  <a:gd name="connsiteY4" fmla="*/ 638457 h 2705326"/>
                  <a:gd name="connsiteX5" fmla="*/ 0 w 1163290"/>
                  <a:gd name="connsiteY5" fmla="*/ 1471697 h 2705326"/>
                  <a:gd name="connsiteX6" fmla="*/ 1163290 w 1163290"/>
                  <a:gd name="connsiteY6" fmla="*/ 2705326 h 2705326"/>
                  <a:gd name="connsiteX0" fmla="*/ 1153765 w 1163290"/>
                  <a:gd name="connsiteY0" fmla="*/ 0 h 2679926"/>
                  <a:gd name="connsiteX1" fmla="*/ 850994 w 1163290"/>
                  <a:gd name="connsiteY1" fmla="*/ 71410 h 2679926"/>
                  <a:gd name="connsiteX2" fmla="*/ 422031 w 1163290"/>
                  <a:gd name="connsiteY2" fmla="*/ 369578 h 2679926"/>
                  <a:gd name="connsiteX3" fmla="*/ 216426 w 1163290"/>
                  <a:gd name="connsiteY3" fmla="*/ 402042 h 2679926"/>
                  <a:gd name="connsiteX4" fmla="*/ 0 w 1163290"/>
                  <a:gd name="connsiteY4" fmla="*/ 613057 h 2679926"/>
                  <a:gd name="connsiteX5" fmla="*/ 0 w 1163290"/>
                  <a:gd name="connsiteY5" fmla="*/ 1446297 h 2679926"/>
                  <a:gd name="connsiteX6" fmla="*/ 1163290 w 1163290"/>
                  <a:gd name="connsiteY6" fmla="*/ 2679926 h 2679926"/>
                  <a:gd name="connsiteX0" fmla="*/ 1153765 w 1163290"/>
                  <a:gd name="connsiteY0" fmla="*/ 2649 h 2682575"/>
                  <a:gd name="connsiteX1" fmla="*/ 850994 w 1163290"/>
                  <a:gd name="connsiteY1" fmla="*/ 74059 h 2682575"/>
                  <a:gd name="connsiteX2" fmla="*/ 422031 w 1163290"/>
                  <a:gd name="connsiteY2" fmla="*/ 372227 h 2682575"/>
                  <a:gd name="connsiteX3" fmla="*/ 216426 w 1163290"/>
                  <a:gd name="connsiteY3" fmla="*/ 404691 h 2682575"/>
                  <a:gd name="connsiteX4" fmla="*/ 0 w 1163290"/>
                  <a:gd name="connsiteY4" fmla="*/ 615706 h 2682575"/>
                  <a:gd name="connsiteX5" fmla="*/ 0 w 1163290"/>
                  <a:gd name="connsiteY5" fmla="*/ 1448946 h 2682575"/>
                  <a:gd name="connsiteX6" fmla="*/ 1163290 w 1163290"/>
                  <a:gd name="connsiteY6" fmla="*/ 2682575 h 2682575"/>
                  <a:gd name="connsiteX0" fmla="*/ 1156940 w 1163290"/>
                  <a:gd name="connsiteY0" fmla="*/ 1186 h 2690637"/>
                  <a:gd name="connsiteX1" fmla="*/ 850994 w 1163290"/>
                  <a:gd name="connsiteY1" fmla="*/ 82121 h 2690637"/>
                  <a:gd name="connsiteX2" fmla="*/ 422031 w 1163290"/>
                  <a:gd name="connsiteY2" fmla="*/ 380289 h 2690637"/>
                  <a:gd name="connsiteX3" fmla="*/ 216426 w 1163290"/>
                  <a:gd name="connsiteY3" fmla="*/ 412753 h 2690637"/>
                  <a:gd name="connsiteX4" fmla="*/ 0 w 1163290"/>
                  <a:gd name="connsiteY4" fmla="*/ 623768 h 2690637"/>
                  <a:gd name="connsiteX5" fmla="*/ 0 w 1163290"/>
                  <a:gd name="connsiteY5" fmla="*/ 1457008 h 2690637"/>
                  <a:gd name="connsiteX6" fmla="*/ 1163290 w 1163290"/>
                  <a:gd name="connsiteY6" fmla="*/ 2690637 h 2690637"/>
                  <a:gd name="connsiteX0" fmla="*/ 1156940 w 1163290"/>
                  <a:gd name="connsiteY0" fmla="*/ 0 h 2689451"/>
                  <a:gd name="connsiteX1" fmla="*/ 850994 w 1163290"/>
                  <a:gd name="connsiteY1" fmla="*/ 80935 h 2689451"/>
                  <a:gd name="connsiteX2" fmla="*/ 422031 w 1163290"/>
                  <a:gd name="connsiteY2" fmla="*/ 379103 h 2689451"/>
                  <a:gd name="connsiteX3" fmla="*/ 216426 w 1163290"/>
                  <a:gd name="connsiteY3" fmla="*/ 411567 h 2689451"/>
                  <a:gd name="connsiteX4" fmla="*/ 0 w 1163290"/>
                  <a:gd name="connsiteY4" fmla="*/ 622582 h 2689451"/>
                  <a:gd name="connsiteX5" fmla="*/ 0 w 1163290"/>
                  <a:gd name="connsiteY5" fmla="*/ 1455822 h 2689451"/>
                  <a:gd name="connsiteX6" fmla="*/ 1163290 w 1163290"/>
                  <a:gd name="connsiteY6" fmla="*/ 2689451 h 2689451"/>
                  <a:gd name="connsiteX0" fmla="*/ 1156940 w 1163290"/>
                  <a:gd name="connsiteY0" fmla="*/ 0 h 2689451"/>
                  <a:gd name="connsiteX1" fmla="*/ 850994 w 1163290"/>
                  <a:gd name="connsiteY1" fmla="*/ 80935 h 2689451"/>
                  <a:gd name="connsiteX2" fmla="*/ 422031 w 1163290"/>
                  <a:gd name="connsiteY2" fmla="*/ 379103 h 2689451"/>
                  <a:gd name="connsiteX3" fmla="*/ 216426 w 1163290"/>
                  <a:gd name="connsiteY3" fmla="*/ 411567 h 2689451"/>
                  <a:gd name="connsiteX4" fmla="*/ 0 w 1163290"/>
                  <a:gd name="connsiteY4" fmla="*/ 622582 h 2689451"/>
                  <a:gd name="connsiteX5" fmla="*/ 0 w 1163290"/>
                  <a:gd name="connsiteY5" fmla="*/ 1455822 h 2689451"/>
                  <a:gd name="connsiteX6" fmla="*/ 1163290 w 1163290"/>
                  <a:gd name="connsiteY6" fmla="*/ 2689451 h 2689451"/>
                  <a:gd name="connsiteX0" fmla="*/ 1156940 w 1163290"/>
                  <a:gd name="connsiteY0" fmla="*/ 0 h 2689451"/>
                  <a:gd name="connsiteX1" fmla="*/ 850994 w 1163290"/>
                  <a:gd name="connsiteY1" fmla="*/ 80935 h 2689451"/>
                  <a:gd name="connsiteX2" fmla="*/ 422031 w 1163290"/>
                  <a:gd name="connsiteY2" fmla="*/ 379103 h 2689451"/>
                  <a:gd name="connsiteX3" fmla="*/ 216426 w 1163290"/>
                  <a:gd name="connsiteY3" fmla="*/ 411567 h 2689451"/>
                  <a:gd name="connsiteX4" fmla="*/ 0 w 1163290"/>
                  <a:gd name="connsiteY4" fmla="*/ 622582 h 2689451"/>
                  <a:gd name="connsiteX5" fmla="*/ 0 w 1163290"/>
                  <a:gd name="connsiteY5" fmla="*/ 1455822 h 2689451"/>
                  <a:gd name="connsiteX6" fmla="*/ 1163290 w 1163290"/>
                  <a:gd name="connsiteY6" fmla="*/ 2689451 h 2689451"/>
                  <a:gd name="connsiteX0" fmla="*/ 1157958 w 1164308"/>
                  <a:gd name="connsiteY0" fmla="*/ 0 h 2689451"/>
                  <a:gd name="connsiteX1" fmla="*/ 852012 w 1164308"/>
                  <a:gd name="connsiteY1" fmla="*/ 80935 h 2689451"/>
                  <a:gd name="connsiteX2" fmla="*/ 423049 w 1164308"/>
                  <a:gd name="connsiteY2" fmla="*/ 379103 h 2689451"/>
                  <a:gd name="connsiteX3" fmla="*/ 217444 w 1164308"/>
                  <a:gd name="connsiteY3" fmla="*/ 411567 h 2689451"/>
                  <a:gd name="connsiteX4" fmla="*/ 1018 w 1164308"/>
                  <a:gd name="connsiteY4" fmla="*/ 622582 h 2689451"/>
                  <a:gd name="connsiteX5" fmla="*/ 1018 w 1164308"/>
                  <a:gd name="connsiteY5" fmla="*/ 1455822 h 2689451"/>
                  <a:gd name="connsiteX6" fmla="*/ 1164308 w 1164308"/>
                  <a:gd name="connsiteY6" fmla="*/ 2689451 h 2689451"/>
                  <a:gd name="connsiteX0" fmla="*/ 1157958 w 1164308"/>
                  <a:gd name="connsiteY0" fmla="*/ 0 h 2689451"/>
                  <a:gd name="connsiteX1" fmla="*/ 852012 w 1164308"/>
                  <a:gd name="connsiteY1" fmla="*/ 80935 h 2689451"/>
                  <a:gd name="connsiteX2" fmla="*/ 423049 w 1164308"/>
                  <a:gd name="connsiteY2" fmla="*/ 379103 h 2689451"/>
                  <a:gd name="connsiteX3" fmla="*/ 217444 w 1164308"/>
                  <a:gd name="connsiteY3" fmla="*/ 411567 h 2689451"/>
                  <a:gd name="connsiteX4" fmla="*/ 1018 w 1164308"/>
                  <a:gd name="connsiteY4" fmla="*/ 622582 h 2689451"/>
                  <a:gd name="connsiteX5" fmla="*/ 1018 w 1164308"/>
                  <a:gd name="connsiteY5" fmla="*/ 1455822 h 2689451"/>
                  <a:gd name="connsiteX6" fmla="*/ 1164308 w 1164308"/>
                  <a:gd name="connsiteY6" fmla="*/ 2689451 h 2689451"/>
                  <a:gd name="connsiteX0" fmla="*/ 1157958 w 1164308"/>
                  <a:gd name="connsiteY0" fmla="*/ 0 h 2689451"/>
                  <a:gd name="connsiteX1" fmla="*/ 852012 w 1164308"/>
                  <a:gd name="connsiteY1" fmla="*/ 80935 h 2689451"/>
                  <a:gd name="connsiteX2" fmla="*/ 423049 w 1164308"/>
                  <a:gd name="connsiteY2" fmla="*/ 379103 h 2689451"/>
                  <a:gd name="connsiteX3" fmla="*/ 217444 w 1164308"/>
                  <a:gd name="connsiteY3" fmla="*/ 411567 h 2689451"/>
                  <a:gd name="connsiteX4" fmla="*/ 1018 w 1164308"/>
                  <a:gd name="connsiteY4" fmla="*/ 622582 h 2689451"/>
                  <a:gd name="connsiteX5" fmla="*/ 1018 w 1164308"/>
                  <a:gd name="connsiteY5" fmla="*/ 1455822 h 2689451"/>
                  <a:gd name="connsiteX6" fmla="*/ 1164308 w 1164308"/>
                  <a:gd name="connsiteY6" fmla="*/ 2689451 h 2689451"/>
                  <a:gd name="connsiteX0" fmla="*/ 1157958 w 1164308"/>
                  <a:gd name="connsiteY0" fmla="*/ 0 h 2689451"/>
                  <a:gd name="connsiteX1" fmla="*/ 852012 w 1164308"/>
                  <a:gd name="connsiteY1" fmla="*/ 80935 h 2689451"/>
                  <a:gd name="connsiteX2" fmla="*/ 423049 w 1164308"/>
                  <a:gd name="connsiteY2" fmla="*/ 379103 h 2689451"/>
                  <a:gd name="connsiteX3" fmla="*/ 217444 w 1164308"/>
                  <a:gd name="connsiteY3" fmla="*/ 411567 h 2689451"/>
                  <a:gd name="connsiteX4" fmla="*/ 1018 w 1164308"/>
                  <a:gd name="connsiteY4" fmla="*/ 622582 h 2689451"/>
                  <a:gd name="connsiteX5" fmla="*/ 1018 w 1164308"/>
                  <a:gd name="connsiteY5" fmla="*/ 1455822 h 2689451"/>
                  <a:gd name="connsiteX6" fmla="*/ 1164308 w 1164308"/>
                  <a:gd name="connsiteY6" fmla="*/ 2689451 h 2689451"/>
                  <a:gd name="connsiteX0" fmla="*/ 1157958 w 1164308"/>
                  <a:gd name="connsiteY0" fmla="*/ 0 h 2689451"/>
                  <a:gd name="connsiteX1" fmla="*/ 852012 w 1164308"/>
                  <a:gd name="connsiteY1" fmla="*/ 80935 h 2689451"/>
                  <a:gd name="connsiteX2" fmla="*/ 423049 w 1164308"/>
                  <a:gd name="connsiteY2" fmla="*/ 379103 h 2689451"/>
                  <a:gd name="connsiteX3" fmla="*/ 217444 w 1164308"/>
                  <a:gd name="connsiteY3" fmla="*/ 411567 h 2689451"/>
                  <a:gd name="connsiteX4" fmla="*/ 1018 w 1164308"/>
                  <a:gd name="connsiteY4" fmla="*/ 622582 h 2689451"/>
                  <a:gd name="connsiteX5" fmla="*/ 1018 w 1164308"/>
                  <a:gd name="connsiteY5" fmla="*/ 1455822 h 2689451"/>
                  <a:gd name="connsiteX6" fmla="*/ 1164308 w 1164308"/>
                  <a:gd name="connsiteY6" fmla="*/ 2689451 h 2689451"/>
                  <a:gd name="connsiteX0" fmla="*/ 1157958 w 1164308"/>
                  <a:gd name="connsiteY0" fmla="*/ 0 h 2698976"/>
                  <a:gd name="connsiteX1" fmla="*/ 852012 w 1164308"/>
                  <a:gd name="connsiteY1" fmla="*/ 90460 h 2698976"/>
                  <a:gd name="connsiteX2" fmla="*/ 423049 w 1164308"/>
                  <a:gd name="connsiteY2" fmla="*/ 388628 h 2698976"/>
                  <a:gd name="connsiteX3" fmla="*/ 217444 w 1164308"/>
                  <a:gd name="connsiteY3" fmla="*/ 421092 h 2698976"/>
                  <a:gd name="connsiteX4" fmla="*/ 1018 w 1164308"/>
                  <a:gd name="connsiteY4" fmla="*/ 632107 h 2698976"/>
                  <a:gd name="connsiteX5" fmla="*/ 1018 w 1164308"/>
                  <a:gd name="connsiteY5" fmla="*/ 1465347 h 2698976"/>
                  <a:gd name="connsiteX6" fmla="*/ 1164308 w 1164308"/>
                  <a:gd name="connsiteY6" fmla="*/ 2698976 h 2698976"/>
                  <a:gd name="connsiteX0" fmla="*/ 1167483 w 1167483"/>
                  <a:gd name="connsiteY0" fmla="*/ 0 h 2698976"/>
                  <a:gd name="connsiteX1" fmla="*/ 852012 w 1167483"/>
                  <a:gd name="connsiteY1" fmla="*/ 90460 h 2698976"/>
                  <a:gd name="connsiteX2" fmla="*/ 423049 w 1167483"/>
                  <a:gd name="connsiteY2" fmla="*/ 388628 h 2698976"/>
                  <a:gd name="connsiteX3" fmla="*/ 217444 w 1167483"/>
                  <a:gd name="connsiteY3" fmla="*/ 421092 h 2698976"/>
                  <a:gd name="connsiteX4" fmla="*/ 1018 w 1167483"/>
                  <a:gd name="connsiteY4" fmla="*/ 632107 h 2698976"/>
                  <a:gd name="connsiteX5" fmla="*/ 1018 w 1167483"/>
                  <a:gd name="connsiteY5" fmla="*/ 1465347 h 2698976"/>
                  <a:gd name="connsiteX6" fmla="*/ 1164308 w 1167483"/>
                  <a:gd name="connsiteY6" fmla="*/ 2698976 h 269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7483" h="2698976">
                    <a:moveTo>
                      <a:pt x="1167483" y="0"/>
                    </a:moveTo>
                    <a:cubicBezTo>
                      <a:pt x="1060209" y="6870"/>
                      <a:pt x="952936" y="1040"/>
                      <a:pt x="852012" y="90460"/>
                    </a:cubicBezTo>
                    <a:cubicBezTo>
                      <a:pt x="709024" y="189849"/>
                      <a:pt x="597787" y="320989"/>
                      <a:pt x="423049" y="388628"/>
                    </a:cubicBezTo>
                    <a:cubicBezTo>
                      <a:pt x="348164" y="421674"/>
                      <a:pt x="285979" y="410271"/>
                      <a:pt x="217444" y="421092"/>
                    </a:cubicBezTo>
                    <a:cubicBezTo>
                      <a:pt x="18302" y="440630"/>
                      <a:pt x="3310" y="590344"/>
                      <a:pt x="1018" y="632107"/>
                    </a:cubicBezTo>
                    <a:cubicBezTo>
                      <a:pt x="-1274" y="673870"/>
                      <a:pt x="1018" y="1187600"/>
                      <a:pt x="1018" y="1465347"/>
                    </a:cubicBezTo>
                    <a:cubicBezTo>
                      <a:pt x="61756" y="2073407"/>
                      <a:pt x="601920" y="2510016"/>
                      <a:pt x="1164308" y="2698976"/>
                    </a:cubicBezTo>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600">
                  <a:solidFill>
                    <a:srgbClr val="005073"/>
                  </a:solidFill>
                  <a:latin typeface="Arial"/>
                  <a:sym typeface="Arial"/>
                </a:endParaRPr>
              </a:p>
            </p:txBody>
          </p:sp>
          <p:sp>
            <p:nvSpPr>
              <p:cNvPr id="38" name="Freeform 192">
                <a:extLst>
                  <a:ext uri="{FF2B5EF4-FFF2-40B4-BE49-F238E27FC236}">
                    <a16:creationId xmlns:a16="http://schemas.microsoft.com/office/drawing/2014/main" id="{82302292-CEF9-EE49-A894-BE6BE6227DF7}"/>
                  </a:ext>
                </a:extLst>
              </p:cNvPr>
              <p:cNvSpPr/>
              <p:nvPr/>
            </p:nvSpPr>
            <p:spPr>
              <a:xfrm flipH="1">
                <a:off x="4395977" y="2537288"/>
                <a:ext cx="259634" cy="600220"/>
              </a:xfrm>
              <a:custGeom>
                <a:avLst/>
                <a:gdLst>
                  <a:gd name="connsiteX0" fmla="*/ 1163290 w 1163290"/>
                  <a:gd name="connsiteY0" fmla="*/ 0 h 2705326"/>
                  <a:gd name="connsiteX1" fmla="*/ 822419 w 1163290"/>
                  <a:gd name="connsiteY1" fmla="*/ 119035 h 2705326"/>
                  <a:gd name="connsiteX2" fmla="*/ 422031 w 1163290"/>
                  <a:gd name="connsiteY2" fmla="*/ 394978 h 2705326"/>
                  <a:gd name="connsiteX3" fmla="*/ 216426 w 1163290"/>
                  <a:gd name="connsiteY3" fmla="*/ 427442 h 2705326"/>
                  <a:gd name="connsiteX4" fmla="*/ 0 w 1163290"/>
                  <a:gd name="connsiteY4" fmla="*/ 638457 h 2705326"/>
                  <a:gd name="connsiteX5" fmla="*/ 0 w 1163290"/>
                  <a:gd name="connsiteY5" fmla="*/ 1471697 h 2705326"/>
                  <a:gd name="connsiteX6" fmla="*/ 1163290 w 1163290"/>
                  <a:gd name="connsiteY6" fmla="*/ 2705326 h 2705326"/>
                  <a:gd name="connsiteX0" fmla="*/ 1163290 w 1163290"/>
                  <a:gd name="connsiteY0" fmla="*/ 0 h 2705326"/>
                  <a:gd name="connsiteX1" fmla="*/ 850994 w 1163290"/>
                  <a:gd name="connsiteY1" fmla="*/ 96810 h 2705326"/>
                  <a:gd name="connsiteX2" fmla="*/ 422031 w 1163290"/>
                  <a:gd name="connsiteY2" fmla="*/ 394978 h 2705326"/>
                  <a:gd name="connsiteX3" fmla="*/ 216426 w 1163290"/>
                  <a:gd name="connsiteY3" fmla="*/ 427442 h 2705326"/>
                  <a:gd name="connsiteX4" fmla="*/ 0 w 1163290"/>
                  <a:gd name="connsiteY4" fmla="*/ 638457 h 2705326"/>
                  <a:gd name="connsiteX5" fmla="*/ 0 w 1163290"/>
                  <a:gd name="connsiteY5" fmla="*/ 1471697 h 2705326"/>
                  <a:gd name="connsiteX6" fmla="*/ 1163290 w 1163290"/>
                  <a:gd name="connsiteY6" fmla="*/ 2705326 h 2705326"/>
                  <a:gd name="connsiteX0" fmla="*/ 1163290 w 1163290"/>
                  <a:gd name="connsiteY0" fmla="*/ 0 h 2705326"/>
                  <a:gd name="connsiteX1" fmla="*/ 850994 w 1163290"/>
                  <a:gd name="connsiteY1" fmla="*/ 96810 h 2705326"/>
                  <a:gd name="connsiteX2" fmla="*/ 422031 w 1163290"/>
                  <a:gd name="connsiteY2" fmla="*/ 394978 h 2705326"/>
                  <a:gd name="connsiteX3" fmla="*/ 216426 w 1163290"/>
                  <a:gd name="connsiteY3" fmla="*/ 427442 h 2705326"/>
                  <a:gd name="connsiteX4" fmla="*/ 0 w 1163290"/>
                  <a:gd name="connsiteY4" fmla="*/ 638457 h 2705326"/>
                  <a:gd name="connsiteX5" fmla="*/ 0 w 1163290"/>
                  <a:gd name="connsiteY5" fmla="*/ 1471697 h 2705326"/>
                  <a:gd name="connsiteX6" fmla="*/ 1163290 w 1163290"/>
                  <a:gd name="connsiteY6" fmla="*/ 2705326 h 2705326"/>
                  <a:gd name="connsiteX0" fmla="*/ 1153765 w 1163290"/>
                  <a:gd name="connsiteY0" fmla="*/ 0 h 2679926"/>
                  <a:gd name="connsiteX1" fmla="*/ 850994 w 1163290"/>
                  <a:gd name="connsiteY1" fmla="*/ 71410 h 2679926"/>
                  <a:gd name="connsiteX2" fmla="*/ 422031 w 1163290"/>
                  <a:gd name="connsiteY2" fmla="*/ 369578 h 2679926"/>
                  <a:gd name="connsiteX3" fmla="*/ 216426 w 1163290"/>
                  <a:gd name="connsiteY3" fmla="*/ 402042 h 2679926"/>
                  <a:gd name="connsiteX4" fmla="*/ 0 w 1163290"/>
                  <a:gd name="connsiteY4" fmla="*/ 613057 h 2679926"/>
                  <a:gd name="connsiteX5" fmla="*/ 0 w 1163290"/>
                  <a:gd name="connsiteY5" fmla="*/ 1446297 h 2679926"/>
                  <a:gd name="connsiteX6" fmla="*/ 1163290 w 1163290"/>
                  <a:gd name="connsiteY6" fmla="*/ 2679926 h 2679926"/>
                  <a:gd name="connsiteX0" fmla="*/ 1153765 w 1163290"/>
                  <a:gd name="connsiteY0" fmla="*/ 2649 h 2682575"/>
                  <a:gd name="connsiteX1" fmla="*/ 850994 w 1163290"/>
                  <a:gd name="connsiteY1" fmla="*/ 74059 h 2682575"/>
                  <a:gd name="connsiteX2" fmla="*/ 422031 w 1163290"/>
                  <a:gd name="connsiteY2" fmla="*/ 372227 h 2682575"/>
                  <a:gd name="connsiteX3" fmla="*/ 216426 w 1163290"/>
                  <a:gd name="connsiteY3" fmla="*/ 404691 h 2682575"/>
                  <a:gd name="connsiteX4" fmla="*/ 0 w 1163290"/>
                  <a:gd name="connsiteY4" fmla="*/ 615706 h 2682575"/>
                  <a:gd name="connsiteX5" fmla="*/ 0 w 1163290"/>
                  <a:gd name="connsiteY5" fmla="*/ 1448946 h 2682575"/>
                  <a:gd name="connsiteX6" fmla="*/ 1163290 w 1163290"/>
                  <a:gd name="connsiteY6" fmla="*/ 2682575 h 2682575"/>
                  <a:gd name="connsiteX0" fmla="*/ 1156940 w 1163290"/>
                  <a:gd name="connsiteY0" fmla="*/ 1186 h 2690637"/>
                  <a:gd name="connsiteX1" fmla="*/ 850994 w 1163290"/>
                  <a:gd name="connsiteY1" fmla="*/ 82121 h 2690637"/>
                  <a:gd name="connsiteX2" fmla="*/ 422031 w 1163290"/>
                  <a:gd name="connsiteY2" fmla="*/ 380289 h 2690637"/>
                  <a:gd name="connsiteX3" fmla="*/ 216426 w 1163290"/>
                  <a:gd name="connsiteY3" fmla="*/ 412753 h 2690637"/>
                  <a:gd name="connsiteX4" fmla="*/ 0 w 1163290"/>
                  <a:gd name="connsiteY4" fmla="*/ 623768 h 2690637"/>
                  <a:gd name="connsiteX5" fmla="*/ 0 w 1163290"/>
                  <a:gd name="connsiteY5" fmla="*/ 1457008 h 2690637"/>
                  <a:gd name="connsiteX6" fmla="*/ 1163290 w 1163290"/>
                  <a:gd name="connsiteY6" fmla="*/ 2690637 h 2690637"/>
                  <a:gd name="connsiteX0" fmla="*/ 1156940 w 1163290"/>
                  <a:gd name="connsiteY0" fmla="*/ 0 h 2689451"/>
                  <a:gd name="connsiteX1" fmla="*/ 850994 w 1163290"/>
                  <a:gd name="connsiteY1" fmla="*/ 80935 h 2689451"/>
                  <a:gd name="connsiteX2" fmla="*/ 422031 w 1163290"/>
                  <a:gd name="connsiteY2" fmla="*/ 379103 h 2689451"/>
                  <a:gd name="connsiteX3" fmla="*/ 216426 w 1163290"/>
                  <a:gd name="connsiteY3" fmla="*/ 411567 h 2689451"/>
                  <a:gd name="connsiteX4" fmla="*/ 0 w 1163290"/>
                  <a:gd name="connsiteY4" fmla="*/ 622582 h 2689451"/>
                  <a:gd name="connsiteX5" fmla="*/ 0 w 1163290"/>
                  <a:gd name="connsiteY5" fmla="*/ 1455822 h 2689451"/>
                  <a:gd name="connsiteX6" fmla="*/ 1163290 w 1163290"/>
                  <a:gd name="connsiteY6" fmla="*/ 2689451 h 2689451"/>
                  <a:gd name="connsiteX0" fmla="*/ 1156940 w 1163290"/>
                  <a:gd name="connsiteY0" fmla="*/ 0 h 2689451"/>
                  <a:gd name="connsiteX1" fmla="*/ 850994 w 1163290"/>
                  <a:gd name="connsiteY1" fmla="*/ 80935 h 2689451"/>
                  <a:gd name="connsiteX2" fmla="*/ 422031 w 1163290"/>
                  <a:gd name="connsiteY2" fmla="*/ 379103 h 2689451"/>
                  <a:gd name="connsiteX3" fmla="*/ 216426 w 1163290"/>
                  <a:gd name="connsiteY3" fmla="*/ 411567 h 2689451"/>
                  <a:gd name="connsiteX4" fmla="*/ 0 w 1163290"/>
                  <a:gd name="connsiteY4" fmla="*/ 622582 h 2689451"/>
                  <a:gd name="connsiteX5" fmla="*/ 0 w 1163290"/>
                  <a:gd name="connsiteY5" fmla="*/ 1455822 h 2689451"/>
                  <a:gd name="connsiteX6" fmla="*/ 1163290 w 1163290"/>
                  <a:gd name="connsiteY6" fmla="*/ 2689451 h 2689451"/>
                  <a:gd name="connsiteX0" fmla="*/ 1156940 w 1163290"/>
                  <a:gd name="connsiteY0" fmla="*/ 0 h 2689451"/>
                  <a:gd name="connsiteX1" fmla="*/ 850994 w 1163290"/>
                  <a:gd name="connsiteY1" fmla="*/ 80935 h 2689451"/>
                  <a:gd name="connsiteX2" fmla="*/ 422031 w 1163290"/>
                  <a:gd name="connsiteY2" fmla="*/ 379103 h 2689451"/>
                  <a:gd name="connsiteX3" fmla="*/ 216426 w 1163290"/>
                  <a:gd name="connsiteY3" fmla="*/ 411567 h 2689451"/>
                  <a:gd name="connsiteX4" fmla="*/ 0 w 1163290"/>
                  <a:gd name="connsiteY4" fmla="*/ 622582 h 2689451"/>
                  <a:gd name="connsiteX5" fmla="*/ 0 w 1163290"/>
                  <a:gd name="connsiteY5" fmla="*/ 1455822 h 2689451"/>
                  <a:gd name="connsiteX6" fmla="*/ 1163290 w 1163290"/>
                  <a:gd name="connsiteY6" fmla="*/ 2689451 h 2689451"/>
                  <a:gd name="connsiteX0" fmla="*/ 1157958 w 1164308"/>
                  <a:gd name="connsiteY0" fmla="*/ 0 h 2689451"/>
                  <a:gd name="connsiteX1" fmla="*/ 852012 w 1164308"/>
                  <a:gd name="connsiteY1" fmla="*/ 80935 h 2689451"/>
                  <a:gd name="connsiteX2" fmla="*/ 423049 w 1164308"/>
                  <a:gd name="connsiteY2" fmla="*/ 379103 h 2689451"/>
                  <a:gd name="connsiteX3" fmla="*/ 217444 w 1164308"/>
                  <a:gd name="connsiteY3" fmla="*/ 411567 h 2689451"/>
                  <a:gd name="connsiteX4" fmla="*/ 1018 w 1164308"/>
                  <a:gd name="connsiteY4" fmla="*/ 622582 h 2689451"/>
                  <a:gd name="connsiteX5" fmla="*/ 1018 w 1164308"/>
                  <a:gd name="connsiteY5" fmla="*/ 1455822 h 2689451"/>
                  <a:gd name="connsiteX6" fmla="*/ 1164308 w 1164308"/>
                  <a:gd name="connsiteY6" fmla="*/ 2689451 h 2689451"/>
                  <a:gd name="connsiteX0" fmla="*/ 1157958 w 1164308"/>
                  <a:gd name="connsiteY0" fmla="*/ 0 h 2689451"/>
                  <a:gd name="connsiteX1" fmla="*/ 852012 w 1164308"/>
                  <a:gd name="connsiteY1" fmla="*/ 80935 h 2689451"/>
                  <a:gd name="connsiteX2" fmla="*/ 423049 w 1164308"/>
                  <a:gd name="connsiteY2" fmla="*/ 379103 h 2689451"/>
                  <a:gd name="connsiteX3" fmla="*/ 217444 w 1164308"/>
                  <a:gd name="connsiteY3" fmla="*/ 411567 h 2689451"/>
                  <a:gd name="connsiteX4" fmla="*/ 1018 w 1164308"/>
                  <a:gd name="connsiteY4" fmla="*/ 622582 h 2689451"/>
                  <a:gd name="connsiteX5" fmla="*/ 1018 w 1164308"/>
                  <a:gd name="connsiteY5" fmla="*/ 1455822 h 2689451"/>
                  <a:gd name="connsiteX6" fmla="*/ 1164308 w 1164308"/>
                  <a:gd name="connsiteY6" fmla="*/ 2689451 h 2689451"/>
                  <a:gd name="connsiteX0" fmla="*/ 1157958 w 1164308"/>
                  <a:gd name="connsiteY0" fmla="*/ 0 h 2689451"/>
                  <a:gd name="connsiteX1" fmla="*/ 852012 w 1164308"/>
                  <a:gd name="connsiteY1" fmla="*/ 80935 h 2689451"/>
                  <a:gd name="connsiteX2" fmla="*/ 423049 w 1164308"/>
                  <a:gd name="connsiteY2" fmla="*/ 379103 h 2689451"/>
                  <a:gd name="connsiteX3" fmla="*/ 217444 w 1164308"/>
                  <a:gd name="connsiteY3" fmla="*/ 411567 h 2689451"/>
                  <a:gd name="connsiteX4" fmla="*/ 1018 w 1164308"/>
                  <a:gd name="connsiteY4" fmla="*/ 622582 h 2689451"/>
                  <a:gd name="connsiteX5" fmla="*/ 1018 w 1164308"/>
                  <a:gd name="connsiteY5" fmla="*/ 1455822 h 2689451"/>
                  <a:gd name="connsiteX6" fmla="*/ 1164308 w 1164308"/>
                  <a:gd name="connsiteY6" fmla="*/ 2689451 h 2689451"/>
                  <a:gd name="connsiteX0" fmla="*/ 1157958 w 1164308"/>
                  <a:gd name="connsiteY0" fmla="*/ 0 h 2689451"/>
                  <a:gd name="connsiteX1" fmla="*/ 852012 w 1164308"/>
                  <a:gd name="connsiteY1" fmla="*/ 80935 h 2689451"/>
                  <a:gd name="connsiteX2" fmla="*/ 423049 w 1164308"/>
                  <a:gd name="connsiteY2" fmla="*/ 379103 h 2689451"/>
                  <a:gd name="connsiteX3" fmla="*/ 217444 w 1164308"/>
                  <a:gd name="connsiteY3" fmla="*/ 411567 h 2689451"/>
                  <a:gd name="connsiteX4" fmla="*/ 1018 w 1164308"/>
                  <a:gd name="connsiteY4" fmla="*/ 622582 h 2689451"/>
                  <a:gd name="connsiteX5" fmla="*/ 1018 w 1164308"/>
                  <a:gd name="connsiteY5" fmla="*/ 1455822 h 2689451"/>
                  <a:gd name="connsiteX6" fmla="*/ 1164308 w 1164308"/>
                  <a:gd name="connsiteY6" fmla="*/ 2689451 h 2689451"/>
                  <a:gd name="connsiteX0" fmla="*/ 1157958 w 1164308"/>
                  <a:gd name="connsiteY0" fmla="*/ 0 h 2689451"/>
                  <a:gd name="connsiteX1" fmla="*/ 852012 w 1164308"/>
                  <a:gd name="connsiteY1" fmla="*/ 80935 h 2689451"/>
                  <a:gd name="connsiteX2" fmla="*/ 423049 w 1164308"/>
                  <a:gd name="connsiteY2" fmla="*/ 379103 h 2689451"/>
                  <a:gd name="connsiteX3" fmla="*/ 217444 w 1164308"/>
                  <a:gd name="connsiteY3" fmla="*/ 411567 h 2689451"/>
                  <a:gd name="connsiteX4" fmla="*/ 1018 w 1164308"/>
                  <a:gd name="connsiteY4" fmla="*/ 622582 h 2689451"/>
                  <a:gd name="connsiteX5" fmla="*/ 1018 w 1164308"/>
                  <a:gd name="connsiteY5" fmla="*/ 1455822 h 2689451"/>
                  <a:gd name="connsiteX6" fmla="*/ 1164308 w 1164308"/>
                  <a:gd name="connsiteY6" fmla="*/ 2689451 h 2689451"/>
                  <a:gd name="connsiteX0" fmla="*/ 1157958 w 1164308"/>
                  <a:gd name="connsiteY0" fmla="*/ 0 h 2698976"/>
                  <a:gd name="connsiteX1" fmla="*/ 852012 w 1164308"/>
                  <a:gd name="connsiteY1" fmla="*/ 90460 h 2698976"/>
                  <a:gd name="connsiteX2" fmla="*/ 423049 w 1164308"/>
                  <a:gd name="connsiteY2" fmla="*/ 388628 h 2698976"/>
                  <a:gd name="connsiteX3" fmla="*/ 217444 w 1164308"/>
                  <a:gd name="connsiteY3" fmla="*/ 421092 h 2698976"/>
                  <a:gd name="connsiteX4" fmla="*/ 1018 w 1164308"/>
                  <a:gd name="connsiteY4" fmla="*/ 632107 h 2698976"/>
                  <a:gd name="connsiteX5" fmla="*/ 1018 w 1164308"/>
                  <a:gd name="connsiteY5" fmla="*/ 1465347 h 2698976"/>
                  <a:gd name="connsiteX6" fmla="*/ 1164308 w 1164308"/>
                  <a:gd name="connsiteY6" fmla="*/ 2698976 h 2698976"/>
                  <a:gd name="connsiteX0" fmla="*/ 1167483 w 1167483"/>
                  <a:gd name="connsiteY0" fmla="*/ 0 h 2698976"/>
                  <a:gd name="connsiteX1" fmla="*/ 852012 w 1167483"/>
                  <a:gd name="connsiteY1" fmla="*/ 90460 h 2698976"/>
                  <a:gd name="connsiteX2" fmla="*/ 423049 w 1167483"/>
                  <a:gd name="connsiteY2" fmla="*/ 388628 h 2698976"/>
                  <a:gd name="connsiteX3" fmla="*/ 217444 w 1167483"/>
                  <a:gd name="connsiteY3" fmla="*/ 421092 h 2698976"/>
                  <a:gd name="connsiteX4" fmla="*/ 1018 w 1167483"/>
                  <a:gd name="connsiteY4" fmla="*/ 632107 h 2698976"/>
                  <a:gd name="connsiteX5" fmla="*/ 1018 w 1167483"/>
                  <a:gd name="connsiteY5" fmla="*/ 1465347 h 2698976"/>
                  <a:gd name="connsiteX6" fmla="*/ 1164308 w 1167483"/>
                  <a:gd name="connsiteY6" fmla="*/ 2698976 h 269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7483" h="2698976">
                    <a:moveTo>
                      <a:pt x="1167483" y="0"/>
                    </a:moveTo>
                    <a:cubicBezTo>
                      <a:pt x="1060209" y="6870"/>
                      <a:pt x="952936" y="1040"/>
                      <a:pt x="852012" y="90460"/>
                    </a:cubicBezTo>
                    <a:cubicBezTo>
                      <a:pt x="709024" y="189849"/>
                      <a:pt x="597787" y="320989"/>
                      <a:pt x="423049" y="388628"/>
                    </a:cubicBezTo>
                    <a:cubicBezTo>
                      <a:pt x="348164" y="421674"/>
                      <a:pt x="285979" y="410271"/>
                      <a:pt x="217444" y="421092"/>
                    </a:cubicBezTo>
                    <a:cubicBezTo>
                      <a:pt x="18302" y="440630"/>
                      <a:pt x="3310" y="590344"/>
                      <a:pt x="1018" y="632107"/>
                    </a:cubicBezTo>
                    <a:cubicBezTo>
                      <a:pt x="-1274" y="673870"/>
                      <a:pt x="1018" y="1187600"/>
                      <a:pt x="1018" y="1465347"/>
                    </a:cubicBezTo>
                    <a:cubicBezTo>
                      <a:pt x="61756" y="2073407"/>
                      <a:pt x="601920" y="2510016"/>
                      <a:pt x="1164308" y="2698976"/>
                    </a:cubicBezTo>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600">
                  <a:solidFill>
                    <a:srgbClr val="005073"/>
                  </a:solidFill>
                  <a:latin typeface="Arial"/>
                  <a:sym typeface="Arial"/>
                </a:endParaRPr>
              </a:p>
            </p:txBody>
          </p:sp>
        </p:grpSp>
      </p:grpSp>
      <p:grpSp>
        <p:nvGrpSpPr>
          <p:cNvPr id="39" name="Group 38">
            <a:extLst>
              <a:ext uri="{FF2B5EF4-FFF2-40B4-BE49-F238E27FC236}">
                <a16:creationId xmlns:a16="http://schemas.microsoft.com/office/drawing/2014/main" id="{EFF3AC0C-1A82-974D-830D-3F66856D1EEA}"/>
              </a:ext>
            </a:extLst>
          </p:cNvPr>
          <p:cNvGrpSpPr/>
          <p:nvPr/>
        </p:nvGrpSpPr>
        <p:grpSpPr>
          <a:xfrm>
            <a:off x="7913848" y="4585075"/>
            <a:ext cx="3167665" cy="1827351"/>
            <a:chOff x="5983848" y="3432276"/>
            <a:chExt cx="2375749" cy="1370513"/>
          </a:xfrm>
        </p:grpSpPr>
        <p:grpSp>
          <p:nvGrpSpPr>
            <p:cNvPr id="40" name="Group 39">
              <a:extLst>
                <a:ext uri="{FF2B5EF4-FFF2-40B4-BE49-F238E27FC236}">
                  <a16:creationId xmlns:a16="http://schemas.microsoft.com/office/drawing/2014/main" id="{23434A71-6129-E841-A19A-F829FC04B8F6}"/>
                </a:ext>
              </a:extLst>
            </p:cNvPr>
            <p:cNvGrpSpPr/>
            <p:nvPr/>
          </p:nvGrpSpPr>
          <p:grpSpPr>
            <a:xfrm>
              <a:off x="7420266" y="3657746"/>
              <a:ext cx="423650" cy="1140179"/>
              <a:chOff x="4294987" y="765753"/>
              <a:chExt cx="619348" cy="1666865"/>
            </a:xfrm>
          </p:grpSpPr>
          <p:sp>
            <p:nvSpPr>
              <p:cNvPr id="170" name="Rectangle 6">
                <a:extLst>
                  <a:ext uri="{FF2B5EF4-FFF2-40B4-BE49-F238E27FC236}">
                    <a16:creationId xmlns:a16="http://schemas.microsoft.com/office/drawing/2014/main" id="{2FE8795A-D595-064C-BE64-30B7493F87B1}"/>
                  </a:ext>
                </a:extLst>
              </p:cNvPr>
              <p:cNvSpPr>
                <a:spLocks noChangeArrowheads="1"/>
              </p:cNvSpPr>
              <p:nvPr/>
            </p:nvSpPr>
            <p:spPr bwMode="auto">
              <a:xfrm>
                <a:off x="4502100" y="1886953"/>
                <a:ext cx="1992" cy="25889"/>
              </a:xfrm>
              <a:prstGeom prst="rect">
                <a:avLst/>
              </a:prstGeom>
              <a:solidFill>
                <a:schemeClr val="bg2"/>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71" name="Rectangle 7">
                <a:extLst>
                  <a:ext uri="{FF2B5EF4-FFF2-40B4-BE49-F238E27FC236}">
                    <a16:creationId xmlns:a16="http://schemas.microsoft.com/office/drawing/2014/main" id="{B7D6E2A5-64DE-5447-B6F5-18951E5029CE}"/>
                  </a:ext>
                </a:extLst>
              </p:cNvPr>
              <p:cNvSpPr>
                <a:spLocks noChangeArrowheads="1"/>
              </p:cNvSpPr>
              <p:nvPr/>
            </p:nvSpPr>
            <p:spPr bwMode="auto">
              <a:xfrm>
                <a:off x="4502100" y="1751533"/>
                <a:ext cx="1992" cy="25889"/>
              </a:xfrm>
              <a:prstGeom prst="rect">
                <a:avLst/>
              </a:prstGeom>
              <a:solidFill>
                <a:schemeClr val="bg2"/>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72" name="Rectangle 8">
                <a:extLst>
                  <a:ext uri="{FF2B5EF4-FFF2-40B4-BE49-F238E27FC236}">
                    <a16:creationId xmlns:a16="http://schemas.microsoft.com/office/drawing/2014/main" id="{FE54CDB9-0EF7-384B-B8DE-2FDB5E153BD1}"/>
                  </a:ext>
                </a:extLst>
              </p:cNvPr>
              <p:cNvSpPr>
                <a:spLocks noChangeArrowheads="1"/>
              </p:cNvSpPr>
              <p:nvPr/>
            </p:nvSpPr>
            <p:spPr bwMode="auto">
              <a:xfrm>
                <a:off x="4502100" y="1612131"/>
                <a:ext cx="1992" cy="27881"/>
              </a:xfrm>
              <a:prstGeom prst="rect">
                <a:avLst/>
              </a:prstGeom>
              <a:solidFill>
                <a:schemeClr val="bg2"/>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73" name="Freeform 117">
                <a:extLst>
                  <a:ext uri="{FF2B5EF4-FFF2-40B4-BE49-F238E27FC236}">
                    <a16:creationId xmlns:a16="http://schemas.microsoft.com/office/drawing/2014/main" id="{136D4404-60AC-8843-BCE4-6BC59945C4C9}"/>
                  </a:ext>
                </a:extLst>
              </p:cNvPr>
              <p:cNvSpPr>
                <a:spLocks/>
              </p:cNvSpPr>
              <p:nvPr/>
            </p:nvSpPr>
            <p:spPr bwMode="auto">
              <a:xfrm>
                <a:off x="4294987" y="765753"/>
                <a:ext cx="619348" cy="1666865"/>
              </a:xfrm>
              <a:custGeom>
                <a:avLst/>
                <a:gdLst>
                  <a:gd name="T0" fmla="*/ 311 w 311"/>
                  <a:gd name="T1" fmla="*/ 837 h 837"/>
                  <a:gd name="T2" fmla="*/ 0 w 311"/>
                  <a:gd name="T3" fmla="*/ 837 h 837"/>
                  <a:gd name="T4" fmla="*/ 0 w 311"/>
                  <a:gd name="T5" fmla="*/ 48 h 837"/>
                  <a:gd name="T6" fmla="*/ 311 w 311"/>
                  <a:gd name="T7" fmla="*/ 0 h 837"/>
                  <a:gd name="T8" fmla="*/ 311 w 311"/>
                  <a:gd name="T9" fmla="*/ 837 h 837"/>
                </a:gdLst>
                <a:ahLst/>
                <a:cxnLst>
                  <a:cxn ang="0">
                    <a:pos x="T0" y="T1"/>
                  </a:cxn>
                  <a:cxn ang="0">
                    <a:pos x="T2" y="T3"/>
                  </a:cxn>
                  <a:cxn ang="0">
                    <a:pos x="T4" y="T5"/>
                  </a:cxn>
                  <a:cxn ang="0">
                    <a:pos x="T6" y="T7"/>
                  </a:cxn>
                  <a:cxn ang="0">
                    <a:pos x="T8" y="T9"/>
                  </a:cxn>
                </a:cxnLst>
                <a:rect l="0" t="0" r="r" b="b"/>
                <a:pathLst>
                  <a:path w="311" h="837">
                    <a:moveTo>
                      <a:pt x="311" y="837"/>
                    </a:moveTo>
                    <a:lnTo>
                      <a:pt x="0" y="837"/>
                    </a:lnTo>
                    <a:lnTo>
                      <a:pt x="0" y="48"/>
                    </a:lnTo>
                    <a:lnTo>
                      <a:pt x="311" y="0"/>
                    </a:lnTo>
                    <a:lnTo>
                      <a:pt x="311" y="837"/>
                    </a:lnTo>
                    <a:close/>
                  </a:path>
                </a:pathLst>
              </a:custGeom>
              <a:solidFill>
                <a:schemeClr val="tx1">
                  <a:lumMod val="10000"/>
                  <a:lumOff val="90000"/>
                </a:schemeClr>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74" name="Rectangle 118">
                <a:extLst>
                  <a:ext uri="{FF2B5EF4-FFF2-40B4-BE49-F238E27FC236}">
                    <a16:creationId xmlns:a16="http://schemas.microsoft.com/office/drawing/2014/main" id="{81F0F914-FCAE-7440-B2E8-C9D8A9F9EB2A}"/>
                  </a:ext>
                </a:extLst>
              </p:cNvPr>
              <p:cNvSpPr>
                <a:spLocks noChangeArrowheads="1"/>
              </p:cNvSpPr>
              <p:nvPr/>
            </p:nvSpPr>
            <p:spPr bwMode="auto">
              <a:xfrm>
                <a:off x="4340791" y="899181"/>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75" name="Rectangle 119">
                <a:extLst>
                  <a:ext uri="{FF2B5EF4-FFF2-40B4-BE49-F238E27FC236}">
                    <a16:creationId xmlns:a16="http://schemas.microsoft.com/office/drawing/2014/main" id="{8F1765D3-7F8C-6E48-ACDA-5B46EC124273}"/>
                  </a:ext>
                </a:extLst>
              </p:cNvPr>
              <p:cNvSpPr>
                <a:spLocks noChangeArrowheads="1"/>
              </p:cNvSpPr>
              <p:nvPr/>
            </p:nvSpPr>
            <p:spPr bwMode="auto">
              <a:xfrm>
                <a:off x="4340791" y="1004730"/>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76" name="Rectangle 120">
                <a:extLst>
                  <a:ext uri="{FF2B5EF4-FFF2-40B4-BE49-F238E27FC236}">
                    <a16:creationId xmlns:a16="http://schemas.microsoft.com/office/drawing/2014/main" id="{203DBD46-8A60-8740-9490-CDD49CCB5635}"/>
                  </a:ext>
                </a:extLst>
              </p:cNvPr>
              <p:cNvSpPr>
                <a:spLocks noChangeArrowheads="1"/>
              </p:cNvSpPr>
              <p:nvPr/>
            </p:nvSpPr>
            <p:spPr bwMode="auto">
              <a:xfrm>
                <a:off x="4340791" y="1104303"/>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77" name="Rectangle 121">
                <a:extLst>
                  <a:ext uri="{FF2B5EF4-FFF2-40B4-BE49-F238E27FC236}">
                    <a16:creationId xmlns:a16="http://schemas.microsoft.com/office/drawing/2014/main" id="{9BCCAE99-0EBD-0A44-B552-805AC706F17C}"/>
                  </a:ext>
                </a:extLst>
              </p:cNvPr>
              <p:cNvSpPr>
                <a:spLocks noChangeArrowheads="1"/>
              </p:cNvSpPr>
              <p:nvPr/>
            </p:nvSpPr>
            <p:spPr bwMode="auto">
              <a:xfrm>
                <a:off x="4340791" y="1207860"/>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78" name="Rectangle 122">
                <a:extLst>
                  <a:ext uri="{FF2B5EF4-FFF2-40B4-BE49-F238E27FC236}">
                    <a16:creationId xmlns:a16="http://schemas.microsoft.com/office/drawing/2014/main" id="{03DDE9B1-7359-0C4F-9E88-065E2FF3FCF2}"/>
                  </a:ext>
                </a:extLst>
              </p:cNvPr>
              <p:cNvSpPr>
                <a:spLocks noChangeArrowheads="1"/>
              </p:cNvSpPr>
              <p:nvPr/>
            </p:nvSpPr>
            <p:spPr bwMode="auto">
              <a:xfrm>
                <a:off x="4340791" y="1311417"/>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79" name="Rectangle 123">
                <a:extLst>
                  <a:ext uri="{FF2B5EF4-FFF2-40B4-BE49-F238E27FC236}">
                    <a16:creationId xmlns:a16="http://schemas.microsoft.com/office/drawing/2014/main" id="{08730904-339A-C847-A67B-1B034AE0B528}"/>
                  </a:ext>
                </a:extLst>
              </p:cNvPr>
              <p:cNvSpPr>
                <a:spLocks noChangeArrowheads="1"/>
              </p:cNvSpPr>
              <p:nvPr/>
            </p:nvSpPr>
            <p:spPr bwMode="auto">
              <a:xfrm>
                <a:off x="4340791" y="1412982"/>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80" name="Rectangle 124">
                <a:extLst>
                  <a:ext uri="{FF2B5EF4-FFF2-40B4-BE49-F238E27FC236}">
                    <a16:creationId xmlns:a16="http://schemas.microsoft.com/office/drawing/2014/main" id="{4EE07700-A1F6-6740-8659-D7C48004E884}"/>
                  </a:ext>
                </a:extLst>
              </p:cNvPr>
              <p:cNvSpPr>
                <a:spLocks noChangeArrowheads="1"/>
              </p:cNvSpPr>
              <p:nvPr/>
            </p:nvSpPr>
            <p:spPr bwMode="auto">
              <a:xfrm>
                <a:off x="4340791" y="1516540"/>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81" name="Rectangle 125">
                <a:extLst>
                  <a:ext uri="{FF2B5EF4-FFF2-40B4-BE49-F238E27FC236}">
                    <a16:creationId xmlns:a16="http://schemas.microsoft.com/office/drawing/2014/main" id="{0AFEFF17-88E1-B44C-8E24-61CD35EBCFB6}"/>
                  </a:ext>
                </a:extLst>
              </p:cNvPr>
              <p:cNvSpPr>
                <a:spLocks noChangeArrowheads="1"/>
              </p:cNvSpPr>
              <p:nvPr/>
            </p:nvSpPr>
            <p:spPr bwMode="auto">
              <a:xfrm>
                <a:off x="4340791" y="1620096"/>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82" name="Rectangle 126">
                <a:extLst>
                  <a:ext uri="{FF2B5EF4-FFF2-40B4-BE49-F238E27FC236}">
                    <a16:creationId xmlns:a16="http://schemas.microsoft.com/office/drawing/2014/main" id="{8384B6D3-C1FD-4C48-B37A-B6EE490E2017}"/>
                  </a:ext>
                </a:extLst>
              </p:cNvPr>
              <p:cNvSpPr>
                <a:spLocks noChangeArrowheads="1"/>
              </p:cNvSpPr>
              <p:nvPr/>
            </p:nvSpPr>
            <p:spPr bwMode="auto">
              <a:xfrm>
                <a:off x="4340791" y="1719670"/>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83" name="Rectangle 127">
                <a:extLst>
                  <a:ext uri="{FF2B5EF4-FFF2-40B4-BE49-F238E27FC236}">
                    <a16:creationId xmlns:a16="http://schemas.microsoft.com/office/drawing/2014/main" id="{908158E7-C5DD-C44B-94E0-A5EC328F6C73}"/>
                  </a:ext>
                </a:extLst>
              </p:cNvPr>
              <p:cNvSpPr>
                <a:spLocks noChangeArrowheads="1"/>
              </p:cNvSpPr>
              <p:nvPr/>
            </p:nvSpPr>
            <p:spPr bwMode="auto">
              <a:xfrm>
                <a:off x="4340791" y="1825218"/>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84" name="Rectangle 128">
                <a:extLst>
                  <a:ext uri="{FF2B5EF4-FFF2-40B4-BE49-F238E27FC236}">
                    <a16:creationId xmlns:a16="http://schemas.microsoft.com/office/drawing/2014/main" id="{2DC117DB-B23D-184F-B9E2-2148E2DA4031}"/>
                  </a:ext>
                </a:extLst>
              </p:cNvPr>
              <p:cNvSpPr>
                <a:spLocks noChangeArrowheads="1"/>
              </p:cNvSpPr>
              <p:nvPr/>
            </p:nvSpPr>
            <p:spPr bwMode="auto">
              <a:xfrm>
                <a:off x="4340791" y="1928775"/>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85" name="Rectangle 129">
                <a:extLst>
                  <a:ext uri="{FF2B5EF4-FFF2-40B4-BE49-F238E27FC236}">
                    <a16:creationId xmlns:a16="http://schemas.microsoft.com/office/drawing/2014/main" id="{E7ED4EA5-41C0-AA46-A9E3-3BE1E00EF359}"/>
                  </a:ext>
                </a:extLst>
              </p:cNvPr>
              <p:cNvSpPr>
                <a:spLocks noChangeArrowheads="1"/>
              </p:cNvSpPr>
              <p:nvPr/>
            </p:nvSpPr>
            <p:spPr bwMode="auto">
              <a:xfrm>
                <a:off x="4340791" y="2028348"/>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86" name="Rectangle 130">
                <a:extLst>
                  <a:ext uri="{FF2B5EF4-FFF2-40B4-BE49-F238E27FC236}">
                    <a16:creationId xmlns:a16="http://schemas.microsoft.com/office/drawing/2014/main" id="{DB288A24-3061-3A43-B3D7-7A3B01EDDB1B}"/>
                  </a:ext>
                </a:extLst>
              </p:cNvPr>
              <p:cNvSpPr>
                <a:spLocks noChangeArrowheads="1"/>
              </p:cNvSpPr>
              <p:nvPr/>
            </p:nvSpPr>
            <p:spPr bwMode="auto">
              <a:xfrm>
                <a:off x="4340791" y="2131905"/>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87" name="Rectangle 131">
                <a:extLst>
                  <a:ext uri="{FF2B5EF4-FFF2-40B4-BE49-F238E27FC236}">
                    <a16:creationId xmlns:a16="http://schemas.microsoft.com/office/drawing/2014/main" id="{ADA416AE-9282-2140-9F3F-14D5F6FCFBE2}"/>
                  </a:ext>
                </a:extLst>
              </p:cNvPr>
              <p:cNvSpPr>
                <a:spLocks noChangeArrowheads="1"/>
              </p:cNvSpPr>
              <p:nvPr/>
            </p:nvSpPr>
            <p:spPr bwMode="auto">
              <a:xfrm>
                <a:off x="4452313" y="2225505"/>
                <a:ext cx="304696" cy="20711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88" name="Rectangle 132">
                <a:extLst>
                  <a:ext uri="{FF2B5EF4-FFF2-40B4-BE49-F238E27FC236}">
                    <a16:creationId xmlns:a16="http://schemas.microsoft.com/office/drawing/2014/main" id="{670B2758-B9D3-4F40-9658-63B3F811F540}"/>
                  </a:ext>
                </a:extLst>
              </p:cNvPr>
              <p:cNvSpPr>
                <a:spLocks noChangeArrowheads="1"/>
              </p:cNvSpPr>
              <p:nvPr/>
            </p:nvSpPr>
            <p:spPr bwMode="auto">
              <a:xfrm>
                <a:off x="4599681" y="869309"/>
                <a:ext cx="9958" cy="1563309"/>
              </a:xfrm>
              <a:prstGeom prst="rect">
                <a:avLst/>
              </a:prstGeom>
              <a:solidFill>
                <a:schemeClr val="tx1">
                  <a:lumMod val="10000"/>
                  <a:lumOff val="90000"/>
                </a:schemeClr>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grpSp>
        <p:grpSp>
          <p:nvGrpSpPr>
            <p:cNvPr id="41" name="Group 40">
              <a:extLst>
                <a:ext uri="{FF2B5EF4-FFF2-40B4-BE49-F238E27FC236}">
                  <a16:creationId xmlns:a16="http://schemas.microsoft.com/office/drawing/2014/main" id="{288C442C-55E4-9F4D-AAEA-B5368B784A30}"/>
                </a:ext>
              </a:extLst>
            </p:cNvPr>
            <p:cNvGrpSpPr/>
            <p:nvPr/>
          </p:nvGrpSpPr>
          <p:grpSpPr>
            <a:xfrm>
              <a:off x="6693065" y="3432276"/>
              <a:ext cx="682824" cy="1365649"/>
              <a:chOff x="9668891" y="2918534"/>
              <a:chExt cx="998242" cy="1996486"/>
            </a:xfrm>
          </p:grpSpPr>
          <p:sp>
            <p:nvSpPr>
              <p:cNvPr id="71" name="Rectangle 152">
                <a:extLst>
                  <a:ext uri="{FF2B5EF4-FFF2-40B4-BE49-F238E27FC236}">
                    <a16:creationId xmlns:a16="http://schemas.microsoft.com/office/drawing/2014/main" id="{D3879E59-CE7E-5E48-BAA6-EE92468FBD13}"/>
                  </a:ext>
                </a:extLst>
              </p:cNvPr>
              <p:cNvSpPr>
                <a:spLocks noChangeArrowheads="1"/>
              </p:cNvSpPr>
              <p:nvPr/>
            </p:nvSpPr>
            <p:spPr bwMode="auto">
              <a:xfrm flipH="1">
                <a:off x="9993319" y="2918534"/>
                <a:ext cx="349384" cy="155975"/>
              </a:xfrm>
              <a:prstGeom prst="rect">
                <a:avLst/>
              </a:prstGeom>
              <a:solidFill>
                <a:srgbClr val="E6EBF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72" name="Rectangle 154">
                <a:extLst>
                  <a:ext uri="{FF2B5EF4-FFF2-40B4-BE49-F238E27FC236}">
                    <a16:creationId xmlns:a16="http://schemas.microsoft.com/office/drawing/2014/main" id="{AC5CB712-4446-144E-84D1-35D145AE9D3D}"/>
                  </a:ext>
                </a:extLst>
              </p:cNvPr>
              <p:cNvSpPr>
                <a:spLocks noChangeArrowheads="1"/>
              </p:cNvSpPr>
              <p:nvPr/>
            </p:nvSpPr>
            <p:spPr bwMode="auto">
              <a:xfrm flipH="1">
                <a:off x="9743759" y="3034995"/>
                <a:ext cx="848506" cy="214207"/>
              </a:xfrm>
              <a:prstGeom prst="rect">
                <a:avLst/>
              </a:prstGeom>
              <a:solidFill>
                <a:srgbClr val="E6EBF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73" name="Rectangle 155">
                <a:extLst>
                  <a:ext uri="{FF2B5EF4-FFF2-40B4-BE49-F238E27FC236}">
                    <a16:creationId xmlns:a16="http://schemas.microsoft.com/office/drawing/2014/main" id="{3893CE5A-9F54-C94B-94D4-00B5547A819E}"/>
                  </a:ext>
                </a:extLst>
              </p:cNvPr>
              <p:cNvSpPr>
                <a:spLocks noChangeArrowheads="1"/>
              </p:cNvSpPr>
              <p:nvPr/>
            </p:nvSpPr>
            <p:spPr bwMode="auto">
              <a:xfrm flipH="1">
                <a:off x="9668891" y="3224245"/>
                <a:ext cx="998242" cy="1690775"/>
              </a:xfrm>
              <a:prstGeom prst="rect">
                <a:avLst/>
              </a:prstGeom>
              <a:solidFill>
                <a:srgbClr val="E6EBF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74" name="Rectangle 156">
                <a:extLst>
                  <a:ext uri="{FF2B5EF4-FFF2-40B4-BE49-F238E27FC236}">
                    <a16:creationId xmlns:a16="http://schemas.microsoft.com/office/drawing/2014/main" id="{4F7E1B93-7B5E-2142-B7B0-B6C1E16E1BCF}"/>
                  </a:ext>
                </a:extLst>
              </p:cNvPr>
              <p:cNvSpPr>
                <a:spLocks noChangeArrowheads="1"/>
              </p:cNvSpPr>
              <p:nvPr/>
            </p:nvSpPr>
            <p:spPr bwMode="auto">
              <a:xfrm flipH="1">
                <a:off x="10446688"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75" name="Rectangle 157">
                <a:extLst>
                  <a:ext uri="{FF2B5EF4-FFF2-40B4-BE49-F238E27FC236}">
                    <a16:creationId xmlns:a16="http://schemas.microsoft.com/office/drawing/2014/main" id="{A14B96D6-CE6E-4744-B225-D95C026E47A4}"/>
                  </a:ext>
                </a:extLst>
              </p:cNvPr>
              <p:cNvSpPr>
                <a:spLocks noChangeArrowheads="1"/>
              </p:cNvSpPr>
              <p:nvPr/>
            </p:nvSpPr>
            <p:spPr bwMode="auto">
              <a:xfrm flipH="1">
                <a:off x="10342705"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76" name="Rectangle 158">
                <a:extLst>
                  <a:ext uri="{FF2B5EF4-FFF2-40B4-BE49-F238E27FC236}">
                    <a16:creationId xmlns:a16="http://schemas.microsoft.com/office/drawing/2014/main" id="{935E2A24-9D8D-7144-836E-04D3F1654F88}"/>
                  </a:ext>
                </a:extLst>
              </p:cNvPr>
              <p:cNvSpPr>
                <a:spLocks noChangeArrowheads="1"/>
              </p:cNvSpPr>
              <p:nvPr/>
            </p:nvSpPr>
            <p:spPr bwMode="auto">
              <a:xfrm flipH="1">
                <a:off x="10234561"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77" name="Rectangle 159">
                <a:extLst>
                  <a:ext uri="{FF2B5EF4-FFF2-40B4-BE49-F238E27FC236}">
                    <a16:creationId xmlns:a16="http://schemas.microsoft.com/office/drawing/2014/main" id="{EFF03339-904D-7249-A5BE-4C2F4A58AB62}"/>
                  </a:ext>
                </a:extLst>
              </p:cNvPr>
              <p:cNvSpPr>
                <a:spLocks noChangeArrowheads="1"/>
              </p:cNvSpPr>
              <p:nvPr/>
            </p:nvSpPr>
            <p:spPr bwMode="auto">
              <a:xfrm flipH="1">
                <a:off x="10130577"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78" name="Rectangle 160">
                <a:extLst>
                  <a:ext uri="{FF2B5EF4-FFF2-40B4-BE49-F238E27FC236}">
                    <a16:creationId xmlns:a16="http://schemas.microsoft.com/office/drawing/2014/main" id="{F8DB0063-AFC4-4841-9551-522836B239AC}"/>
                  </a:ext>
                </a:extLst>
              </p:cNvPr>
              <p:cNvSpPr>
                <a:spLocks noChangeArrowheads="1"/>
              </p:cNvSpPr>
              <p:nvPr/>
            </p:nvSpPr>
            <p:spPr bwMode="auto">
              <a:xfrm flipH="1">
                <a:off x="10026594"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79" name="Rectangle 161">
                <a:extLst>
                  <a:ext uri="{FF2B5EF4-FFF2-40B4-BE49-F238E27FC236}">
                    <a16:creationId xmlns:a16="http://schemas.microsoft.com/office/drawing/2014/main" id="{2243FBCF-94B9-3743-B22A-E52057F88FCB}"/>
                  </a:ext>
                </a:extLst>
              </p:cNvPr>
              <p:cNvSpPr>
                <a:spLocks noChangeArrowheads="1"/>
              </p:cNvSpPr>
              <p:nvPr/>
            </p:nvSpPr>
            <p:spPr bwMode="auto">
              <a:xfrm flipH="1">
                <a:off x="9920531"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80" name="Rectangle 162">
                <a:extLst>
                  <a:ext uri="{FF2B5EF4-FFF2-40B4-BE49-F238E27FC236}">
                    <a16:creationId xmlns:a16="http://schemas.microsoft.com/office/drawing/2014/main" id="{1DA75733-8B57-8B47-82CE-4AF41AD5939B}"/>
                  </a:ext>
                </a:extLst>
              </p:cNvPr>
              <p:cNvSpPr>
                <a:spLocks noChangeArrowheads="1"/>
              </p:cNvSpPr>
              <p:nvPr/>
            </p:nvSpPr>
            <p:spPr bwMode="auto">
              <a:xfrm flipH="1">
                <a:off x="9816548"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81" name="Rectangle 163">
                <a:extLst>
                  <a:ext uri="{FF2B5EF4-FFF2-40B4-BE49-F238E27FC236}">
                    <a16:creationId xmlns:a16="http://schemas.microsoft.com/office/drawing/2014/main" id="{B08C8D94-6CA8-AA41-8255-13396BA43391}"/>
                  </a:ext>
                </a:extLst>
              </p:cNvPr>
              <p:cNvSpPr>
                <a:spLocks noChangeArrowheads="1"/>
              </p:cNvSpPr>
              <p:nvPr/>
            </p:nvSpPr>
            <p:spPr bwMode="auto">
              <a:xfrm flipH="1">
                <a:off x="10550672"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82" name="Rectangle 164">
                <a:extLst>
                  <a:ext uri="{FF2B5EF4-FFF2-40B4-BE49-F238E27FC236}">
                    <a16:creationId xmlns:a16="http://schemas.microsoft.com/office/drawing/2014/main" id="{048FCAEF-6DD1-6E45-8853-9105DF31A115}"/>
                  </a:ext>
                </a:extLst>
              </p:cNvPr>
              <p:cNvSpPr>
                <a:spLocks noChangeArrowheads="1"/>
              </p:cNvSpPr>
              <p:nvPr/>
            </p:nvSpPr>
            <p:spPr bwMode="auto">
              <a:xfrm flipH="1">
                <a:off x="10446688"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83" name="Rectangle 165">
                <a:extLst>
                  <a:ext uri="{FF2B5EF4-FFF2-40B4-BE49-F238E27FC236}">
                    <a16:creationId xmlns:a16="http://schemas.microsoft.com/office/drawing/2014/main" id="{FB27B6CE-4F6E-B842-BEED-F0D707294F3F}"/>
                  </a:ext>
                </a:extLst>
              </p:cNvPr>
              <p:cNvSpPr>
                <a:spLocks noChangeArrowheads="1"/>
              </p:cNvSpPr>
              <p:nvPr/>
            </p:nvSpPr>
            <p:spPr bwMode="auto">
              <a:xfrm flipH="1">
                <a:off x="10342705"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84" name="Rectangle 166">
                <a:extLst>
                  <a:ext uri="{FF2B5EF4-FFF2-40B4-BE49-F238E27FC236}">
                    <a16:creationId xmlns:a16="http://schemas.microsoft.com/office/drawing/2014/main" id="{E67C5442-7AAB-5B43-85A2-B4F8F7F96ADE}"/>
                  </a:ext>
                </a:extLst>
              </p:cNvPr>
              <p:cNvSpPr>
                <a:spLocks noChangeArrowheads="1"/>
              </p:cNvSpPr>
              <p:nvPr/>
            </p:nvSpPr>
            <p:spPr bwMode="auto">
              <a:xfrm flipH="1">
                <a:off x="10234561"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85" name="Rectangle 167">
                <a:extLst>
                  <a:ext uri="{FF2B5EF4-FFF2-40B4-BE49-F238E27FC236}">
                    <a16:creationId xmlns:a16="http://schemas.microsoft.com/office/drawing/2014/main" id="{324172A0-2548-8C47-9715-B405D6909D2E}"/>
                  </a:ext>
                </a:extLst>
              </p:cNvPr>
              <p:cNvSpPr>
                <a:spLocks noChangeArrowheads="1"/>
              </p:cNvSpPr>
              <p:nvPr/>
            </p:nvSpPr>
            <p:spPr bwMode="auto">
              <a:xfrm flipH="1">
                <a:off x="10130577"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86" name="Rectangle 168">
                <a:extLst>
                  <a:ext uri="{FF2B5EF4-FFF2-40B4-BE49-F238E27FC236}">
                    <a16:creationId xmlns:a16="http://schemas.microsoft.com/office/drawing/2014/main" id="{FFD9E760-42BA-C14D-8040-F53182CF9A3A}"/>
                  </a:ext>
                </a:extLst>
              </p:cNvPr>
              <p:cNvSpPr>
                <a:spLocks noChangeArrowheads="1"/>
              </p:cNvSpPr>
              <p:nvPr/>
            </p:nvSpPr>
            <p:spPr bwMode="auto">
              <a:xfrm flipH="1">
                <a:off x="10026594"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87" name="Rectangle 169">
                <a:extLst>
                  <a:ext uri="{FF2B5EF4-FFF2-40B4-BE49-F238E27FC236}">
                    <a16:creationId xmlns:a16="http://schemas.microsoft.com/office/drawing/2014/main" id="{A7033D9B-49E1-C44F-9853-ADF58C406ECB}"/>
                  </a:ext>
                </a:extLst>
              </p:cNvPr>
              <p:cNvSpPr>
                <a:spLocks noChangeArrowheads="1"/>
              </p:cNvSpPr>
              <p:nvPr/>
            </p:nvSpPr>
            <p:spPr bwMode="auto">
              <a:xfrm flipH="1">
                <a:off x="9920531"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88" name="Rectangle 170">
                <a:extLst>
                  <a:ext uri="{FF2B5EF4-FFF2-40B4-BE49-F238E27FC236}">
                    <a16:creationId xmlns:a16="http://schemas.microsoft.com/office/drawing/2014/main" id="{7A3E55B9-455E-D14D-8289-F3AC18E1C35C}"/>
                  </a:ext>
                </a:extLst>
              </p:cNvPr>
              <p:cNvSpPr>
                <a:spLocks noChangeArrowheads="1"/>
              </p:cNvSpPr>
              <p:nvPr/>
            </p:nvSpPr>
            <p:spPr bwMode="auto">
              <a:xfrm flipH="1">
                <a:off x="9816548"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89" name="Rectangle 171">
                <a:extLst>
                  <a:ext uri="{FF2B5EF4-FFF2-40B4-BE49-F238E27FC236}">
                    <a16:creationId xmlns:a16="http://schemas.microsoft.com/office/drawing/2014/main" id="{3014F8E5-9B6C-C243-B01A-628964218EB3}"/>
                  </a:ext>
                </a:extLst>
              </p:cNvPr>
              <p:cNvSpPr>
                <a:spLocks noChangeArrowheads="1"/>
              </p:cNvSpPr>
              <p:nvPr/>
            </p:nvSpPr>
            <p:spPr bwMode="auto">
              <a:xfrm flipH="1">
                <a:off x="9712564"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90" name="Rectangle 172">
                <a:extLst>
                  <a:ext uri="{FF2B5EF4-FFF2-40B4-BE49-F238E27FC236}">
                    <a16:creationId xmlns:a16="http://schemas.microsoft.com/office/drawing/2014/main" id="{C8E33CD7-9675-2540-9FAE-C89F398478FE}"/>
                  </a:ext>
                </a:extLst>
              </p:cNvPr>
              <p:cNvSpPr>
                <a:spLocks noChangeArrowheads="1"/>
              </p:cNvSpPr>
              <p:nvPr/>
            </p:nvSpPr>
            <p:spPr bwMode="auto">
              <a:xfrm flipH="1">
                <a:off x="10550672"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91" name="Rectangle 173">
                <a:extLst>
                  <a:ext uri="{FF2B5EF4-FFF2-40B4-BE49-F238E27FC236}">
                    <a16:creationId xmlns:a16="http://schemas.microsoft.com/office/drawing/2014/main" id="{58B9138F-EBCF-9741-8072-8467A949F223}"/>
                  </a:ext>
                </a:extLst>
              </p:cNvPr>
              <p:cNvSpPr>
                <a:spLocks noChangeArrowheads="1"/>
              </p:cNvSpPr>
              <p:nvPr/>
            </p:nvSpPr>
            <p:spPr bwMode="auto">
              <a:xfrm flipH="1">
                <a:off x="10446688"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92" name="Rectangle 174">
                <a:extLst>
                  <a:ext uri="{FF2B5EF4-FFF2-40B4-BE49-F238E27FC236}">
                    <a16:creationId xmlns:a16="http://schemas.microsoft.com/office/drawing/2014/main" id="{4F9B938D-2675-D847-8E96-315F1E840504}"/>
                  </a:ext>
                </a:extLst>
              </p:cNvPr>
              <p:cNvSpPr>
                <a:spLocks noChangeArrowheads="1"/>
              </p:cNvSpPr>
              <p:nvPr/>
            </p:nvSpPr>
            <p:spPr bwMode="auto">
              <a:xfrm flipH="1">
                <a:off x="10342705"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93" name="Rectangle 175">
                <a:extLst>
                  <a:ext uri="{FF2B5EF4-FFF2-40B4-BE49-F238E27FC236}">
                    <a16:creationId xmlns:a16="http://schemas.microsoft.com/office/drawing/2014/main" id="{520063A7-528B-314D-82A2-CFA37D81101F}"/>
                  </a:ext>
                </a:extLst>
              </p:cNvPr>
              <p:cNvSpPr>
                <a:spLocks noChangeArrowheads="1"/>
              </p:cNvSpPr>
              <p:nvPr/>
            </p:nvSpPr>
            <p:spPr bwMode="auto">
              <a:xfrm flipH="1">
                <a:off x="10234561"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94" name="Rectangle 176">
                <a:extLst>
                  <a:ext uri="{FF2B5EF4-FFF2-40B4-BE49-F238E27FC236}">
                    <a16:creationId xmlns:a16="http://schemas.microsoft.com/office/drawing/2014/main" id="{B5938452-FCD6-9A40-8DC9-06E595F59EFF}"/>
                  </a:ext>
                </a:extLst>
              </p:cNvPr>
              <p:cNvSpPr>
                <a:spLocks noChangeArrowheads="1"/>
              </p:cNvSpPr>
              <p:nvPr/>
            </p:nvSpPr>
            <p:spPr bwMode="auto">
              <a:xfrm flipH="1">
                <a:off x="10130577"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95" name="Rectangle 177">
                <a:extLst>
                  <a:ext uri="{FF2B5EF4-FFF2-40B4-BE49-F238E27FC236}">
                    <a16:creationId xmlns:a16="http://schemas.microsoft.com/office/drawing/2014/main" id="{456714F4-DAEB-8C45-A640-55DD1C20A812}"/>
                  </a:ext>
                </a:extLst>
              </p:cNvPr>
              <p:cNvSpPr>
                <a:spLocks noChangeArrowheads="1"/>
              </p:cNvSpPr>
              <p:nvPr/>
            </p:nvSpPr>
            <p:spPr bwMode="auto">
              <a:xfrm flipH="1">
                <a:off x="10026594"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96" name="Rectangle 178">
                <a:extLst>
                  <a:ext uri="{FF2B5EF4-FFF2-40B4-BE49-F238E27FC236}">
                    <a16:creationId xmlns:a16="http://schemas.microsoft.com/office/drawing/2014/main" id="{FEB2CEB9-CBC6-FB4D-8209-C805D9ABADE4}"/>
                  </a:ext>
                </a:extLst>
              </p:cNvPr>
              <p:cNvSpPr>
                <a:spLocks noChangeArrowheads="1"/>
              </p:cNvSpPr>
              <p:nvPr/>
            </p:nvSpPr>
            <p:spPr bwMode="auto">
              <a:xfrm flipH="1">
                <a:off x="9920531"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97" name="Rectangle 179">
                <a:extLst>
                  <a:ext uri="{FF2B5EF4-FFF2-40B4-BE49-F238E27FC236}">
                    <a16:creationId xmlns:a16="http://schemas.microsoft.com/office/drawing/2014/main" id="{473343AF-9D95-BD40-8AFD-AC54D3E0AB0C}"/>
                  </a:ext>
                </a:extLst>
              </p:cNvPr>
              <p:cNvSpPr>
                <a:spLocks noChangeArrowheads="1"/>
              </p:cNvSpPr>
              <p:nvPr/>
            </p:nvSpPr>
            <p:spPr bwMode="auto">
              <a:xfrm flipH="1">
                <a:off x="9816548"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98" name="Rectangle 180">
                <a:extLst>
                  <a:ext uri="{FF2B5EF4-FFF2-40B4-BE49-F238E27FC236}">
                    <a16:creationId xmlns:a16="http://schemas.microsoft.com/office/drawing/2014/main" id="{93A569BA-A48B-6D42-92BE-7204B5487BBB}"/>
                  </a:ext>
                </a:extLst>
              </p:cNvPr>
              <p:cNvSpPr>
                <a:spLocks noChangeArrowheads="1"/>
              </p:cNvSpPr>
              <p:nvPr/>
            </p:nvSpPr>
            <p:spPr bwMode="auto">
              <a:xfrm flipH="1">
                <a:off x="9712564"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99" name="Rectangle 181">
                <a:extLst>
                  <a:ext uri="{FF2B5EF4-FFF2-40B4-BE49-F238E27FC236}">
                    <a16:creationId xmlns:a16="http://schemas.microsoft.com/office/drawing/2014/main" id="{6DC0ADFD-B027-2642-9EF7-0F6017993C34}"/>
                  </a:ext>
                </a:extLst>
              </p:cNvPr>
              <p:cNvSpPr>
                <a:spLocks noChangeArrowheads="1"/>
              </p:cNvSpPr>
              <p:nvPr/>
            </p:nvSpPr>
            <p:spPr bwMode="auto">
              <a:xfrm flipH="1">
                <a:off x="10550672"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00" name="Rectangle 182">
                <a:extLst>
                  <a:ext uri="{FF2B5EF4-FFF2-40B4-BE49-F238E27FC236}">
                    <a16:creationId xmlns:a16="http://schemas.microsoft.com/office/drawing/2014/main" id="{ACC9EAE2-BF63-A647-876A-B03758506C40}"/>
                  </a:ext>
                </a:extLst>
              </p:cNvPr>
              <p:cNvSpPr>
                <a:spLocks noChangeArrowheads="1"/>
              </p:cNvSpPr>
              <p:nvPr/>
            </p:nvSpPr>
            <p:spPr bwMode="auto">
              <a:xfrm flipH="1">
                <a:off x="10446688"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01" name="Rectangle 183">
                <a:extLst>
                  <a:ext uri="{FF2B5EF4-FFF2-40B4-BE49-F238E27FC236}">
                    <a16:creationId xmlns:a16="http://schemas.microsoft.com/office/drawing/2014/main" id="{F78E8C72-AC34-C241-B3B7-3CED0B35942A}"/>
                  </a:ext>
                </a:extLst>
              </p:cNvPr>
              <p:cNvSpPr>
                <a:spLocks noChangeArrowheads="1"/>
              </p:cNvSpPr>
              <p:nvPr/>
            </p:nvSpPr>
            <p:spPr bwMode="auto">
              <a:xfrm flipH="1">
                <a:off x="10342705"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02" name="Rectangle 184">
                <a:extLst>
                  <a:ext uri="{FF2B5EF4-FFF2-40B4-BE49-F238E27FC236}">
                    <a16:creationId xmlns:a16="http://schemas.microsoft.com/office/drawing/2014/main" id="{D69B01D8-F15C-F944-83BB-CE76A7DB0356}"/>
                  </a:ext>
                </a:extLst>
              </p:cNvPr>
              <p:cNvSpPr>
                <a:spLocks noChangeArrowheads="1"/>
              </p:cNvSpPr>
              <p:nvPr/>
            </p:nvSpPr>
            <p:spPr bwMode="auto">
              <a:xfrm flipH="1">
                <a:off x="10234561"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03" name="Rectangle 185">
                <a:extLst>
                  <a:ext uri="{FF2B5EF4-FFF2-40B4-BE49-F238E27FC236}">
                    <a16:creationId xmlns:a16="http://schemas.microsoft.com/office/drawing/2014/main" id="{B893817E-8B42-E440-BD0D-6D938923CBD4}"/>
                  </a:ext>
                </a:extLst>
              </p:cNvPr>
              <p:cNvSpPr>
                <a:spLocks noChangeArrowheads="1"/>
              </p:cNvSpPr>
              <p:nvPr/>
            </p:nvSpPr>
            <p:spPr bwMode="auto">
              <a:xfrm flipH="1">
                <a:off x="10130577"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04" name="Rectangle 186">
                <a:extLst>
                  <a:ext uri="{FF2B5EF4-FFF2-40B4-BE49-F238E27FC236}">
                    <a16:creationId xmlns:a16="http://schemas.microsoft.com/office/drawing/2014/main" id="{C0480ADE-9516-3043-9001-8C0314BE9470}"/>
                  </a:ext>
                </a:extLst>
              </p:cNvPr>
              <p:cNvSpPr>
                <a:spLocks noChangeArrowheads="1"/>
              </p:cNvSpPr>
              <p:nvPr/>
            </p:nvSpPr>
            <p:spPr bwMode="auto">
              <a:xfrm flipH="1">
                <a:off x="10026594"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05" name="Rectangle 187">
                <a:extLst>
                  <a:ext uri="{FF2B5EF4-FFF2-40B4-BE49-F238E27FC236}">
                    <a16:creationId xmlns:a16="http://schemas.microsoft.com/office/drawing/2014/main" id="{C9C84986-1ECD-4549-BDE9-A31055E64668}"/>
                  </a:ext>
                </a:extLst>
              </p:cNvPr>
              <p:cNvSpPr>
                <a:spLocks noChangeArrowheads="1"/>
              </p:cNvSpPr>
              <p:nvPr/>
            </p:nvSpPr>
            <p:spPr bwMode="auto">
              <a:xfrm flipH="1">
                <a:off x="9920531"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06" name="Rectangle 188">
                <a:extLst>
                  <a:ext uri="{FF2B5EF4-FFF2-40B4-BE49-F238E27FC236}">
                    <a16:creationId xmlns:a16="http://schemas.microsoft.com/office/drawing/2014/main" id="{68B7E6A1-A85F-3A4B-AAEE-DC83534969AB}"/>
                  </a:ext>
                </a:extLst>
              </p:cNvPr>
              <p:cNvSpPr>
                <a:spLocks noChangeArrowheads="1"/>
              </p:cNvSpPr>
              <p:nvPr/>
            </p:nvSpPr>
            <p:spPr bwMode="auto">
              <a:xfrm flipH="1">
                <a:off x="9816548"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07" name="Rectangle 189">
                <a:extLst>
                  <a:ext uri="{FF2B5EF4-FFF2-40B4-BE49-F238E27FC236}">
                    <a16:creationId xmlns:a16="http://schemas.microsoft.com/office/drawing/2014/main" id="{87DF9CF7-666C-E248-8BA5-23211C25EB24}"/>
                  </a:ext>
                </a:extLst>
              </p:cNvPr>
              <p:cNvSpPr>
                <a:spLocks noChangeArrowheads="1"/>
              </p:cNvSpPr>
              <p:nvPr/>
            </p:nvSpPr>
            <p:spPr bwMode="auto">
              <a:xfrm flipH="1">
                <a:off x="9712564"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08" name="Rectangle 190">
                <a:extLst>
                  <a:ext uri="{FF2B5EF4-FFF2-40B4-BE49-F238E27FC236}">
                    <a16:creationId xmlns:a16="http://schemas.microsoft.com/office/drawing/2014/main" id="{1489CB2D-EE73-764F-B4FB-1DC83F5650C9}"/>
                  </a:ext>
                </a:extLst>
              </p:cNvPr>
              <p:cNvSpPr>
                <a:spLocks noChangeArrowheads="1"/>
              </p:cNvSpPr>
              <p:nvPr/>
            </p:nvSpPr>
            <p:spPr bwMode="auto">
              <a:xfrm flipH="1">
                <a:off x="10550672"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09" name="Rectangle 191">
                <a:extLst>
                  <a:ext uri="{FF2B5EF4-FFF2-40B4-BE49-F238E27FC236}">
                    <a16:creationId xmlns:a16="http://schemas.microsoft.com/office/drawing/2014/main" id="{188A85D1-B151-4F45-B455-8A7671007C81}"/>
                  </a:ext>
                </a:extLst>
              </p:cNvPr>
              <p:cNvSpPr>
                <a:spLocks noChangeArrowheads="1"/>
              </p:cNvSpPr>
              <p:nvPr/>
            </p:nvSpPr>
            <p:spPr bwMode="auto">
              <a:xfrm flipH="1">
                <a:off x="10446688"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10" name="Rectangle 192">
                <a:extLst>
                  <a:ext uri="{FF2B5EF4-FFF2-40B4-BE49-F238E27FC236}">
                    <a16:creationId xmlns:a16="http://schemas.microsoft.com/office/drawing/2014/main" id="{9AD0396E-D7EE-4944-983C-1479E064059A}"/>
                  </a:ext>
                </a:extLst>
              </p:cNvPr>
              <p:cNvSpPr>
                <a:spLocks noChangeArrowheads="1"/>
              </p:cNvSpPr>
              <p:nvPr/>
            </p:nvSpPr>
            <p:spPr bwMode="auto">
              <a:xfrm flipH="1">
                <a:off x="10342705"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11" name="Rectangle 193">
                <a:extLst>
                  <a:ext uri="{FF2B5EF4-FFF2-40B4-BE49-F238E27FC236}">
                    <a16:creationId xmlns:a16="http://schemas.microsoft.com/office/drawing/2014/main" id="{F40731E0-B26B-EB42-B837-78EA339EBA8E}"/>
                  </a:ext>
                </a:extLst>
              </p:cNvPr>
              <p:cNvSpPr>
                <a:spLocks noChangeArrowheads="1"/>
              </p:cNvSpPr>
              <p:nvPr/>
            </p:nvSpPr>
            <p:spPr bwMode="auto">
              <a:xfrm flipH="1">
                <a:off x="10234561"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12" name="Rectangle 194">
                <a:extLst>
                  <a:ext uri="{FF2B5EF4-FFF2-40B4-BE49-F238E27FC236}">
                    <a16:creationId xmlns:a16="http://schemas.microsoft.com/office/drawing/2014/main" id="{45774EC5-47DA-7E41-B711-78893891CF0D}"/>
                  </a:ext>
                </a:extLst>
              </p:cNvPr>
              <p:cNvSpPr>
                <a:spLocks noChangeArrowheads="1"/>
              </p:cNvSpPr>
              <p:nvPr/>
            </p:nvSpPr>
            <p:spPr bwMode="auto">
              <a:xfrm flipH="1">
                <a:off x="10130577"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13" name="Rectangle 195">
                <a:extLst>
                  <a:ext uri="{FF2B5EF4-FFF2-40B4-BE49-F238E27FC236}">
                    <a16:creationId xmlns:a16="http://schemas.microsoft.com/office/drawing/2014/main" id="{39DFF2D9-2F12-E440-AB19-6A9B1C683DA5}"/>
                  </a:ext>
                </a:extLst>
              </p:cNvPr>
              <p:cNvSpPr>
                <a:spLocks noChangeArrowheads="1"/>
              </p:cNvSpPr>
              <p:nvPr/>
            </p:nvSpPr>
            <p:spPr bwMode="auto">
              <a:xfrm flipH="1">
                <a:off x="10026594"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14" name="Rectangle 196">
                <a:extLst>
                  <a:ext uri="{FF2B5EF4-FFF2-40B4-BE49-F238E27FC236}">
                    <a16:creationId xmlns:a16="http://schemas.microsoft.com/office/drawing/2014/main" id="{04EC0017-9BF8-3E49-A5C6-C6F86DF9C368}"/>
                  </a:ext>
                </a:extLst>
              </p:cNvPr>
              <p:cNvSpPr>
                <a:spLocks noChangeArrowheads="1"/>
              </p:cNvSpPr>
              <p:nvPr/>
            </p:nvSpPr>
            <p:spPr bwMode="auto">
              <a:xfrm flipH="1">
                <a:off x="9920531"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15" name="Rectangle 197">
                <a:extLst>
                  <a:ext uri="{FF2B5EF4-FFF2-40B4-BE49-F238E27FC236}">
                    <a16:creationId xmlns:a16="http://schemas.microsoft.com/office/drawing/2014/main" id="{EF00D241-0CA8-044A-9987-790214B7B43A}"/>
                  </a:ext>
                </a:extLst>
              </p:cNvPr>
              <p:cNvSpPr>
                <a:spLocks noChangeArrowheads="1"/>
              </p:cNvSpPr>
              <p:nvPr/>
            </p:nvSpPr>
            <p:spPr bwMode="auto">
              <a:xfrm flipH="1">
                <a:off x="9816548"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16" name="Rectangle 198">
                <a:extLst>
                  <a:ext uri="{FF2B5EF4-FFF2-40B4-BE49-F238E27FC236}">
                    <a16:creationId xmlns:a16="http://schemas.microsoft.com/office/drawing/2014/main" id="{1A019EB5-B1BE-6448-90C7-449849F501D8}"/>
                  </a:ext>
                </a:extLst>
              </p:cNvPr>
              <p:cNvSpPr>
                <a:spLocks noChangeArrowheads="1"/>
              </p:cNvSpPr>
              <p:nvPr/>
            </p:nvSpPr>
            <p:spPr bwMode="auto">
              <a:xfrm flipH="1">
                <a:off x="9712564"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17" name="Rectangle 199">
                <a:extLst>
                  <a:ext uri="{FF2B5EF4-FFF2-40B4-BE49-F238E27FC236}">
                    <a16:creationId xmlns:a16="http://schemas.microsoft.com/office/drawing/2014/main" id="{C4366FFC-D9E6-1147-846E-2C6B7DD0B722}"/>
                  </a:ext>
                </a:extLst>
              </p:cNvPr>
              <p:cNvSpPr>
                <a:spLocks noChangeArrowheads="1"/>
              </p:cNvSpPr>
              <p:nvPr/>
            </p:nvSpPr>
            <p:spPr bwMode="auto">
              <a:xfrm flipH="1">
                <a:off x="10550672"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18" name="Rectangle 200">
                <a:extLst>
                  <a:ext uri="{FF2B5EF4-FFF2-40B4-BE49-F238E27FC236}">
                    <a16:creationId xmlns:a16="http://schemas.microsoft.com/office/drawing/2014/main" id="{F6585132-86C6-D749-BD06-B187C3FB8041}"/>
                  </a:ext>
                </a:extLst>
              </p:cNvPr>
              <p:cNvSpPr>
                <a:spLocks noChangeArrowheads="1"/>
              </p:cNvSpPr>
              <p:nvPr/>
            </p:nvSpPr>
            <p:spPr bwMode="auto">
              <a:xfrm flipH="1">
                <a:off x="10446688"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19" name="Rectangle 201">
                <a:extLst>
                  <a:ext uri="{FF2B5EF4-FFF2-40B4-BE49-F238E27FC236}">
                    <a16:creationId xmlns:a16="http://schemas.microsoft.com/office/drawing/2014/main" id="{F0144B44-1106-C044-960E-EB544D088400}"/>
                  </a:ext>
                </a:extLst>
              </p:cNvPr>
              <p:cNvSpPr>
                <a:spLocks noChangeArrowheads="1"/>
              </p:cNvSpPr>
              <p:nvPr/>
            </p:nvSpPr>
            <p:spPr bwMode="auto">
              <a:xfrm flipH="1">
                <a:off x="10342705"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20" name="Rectangle 202">
                <a:extLst>
                  <a:ext uri="{FF2B5EF4-FFF2-40B4-BE49-F238E27FC236}">
                    <a16:creationId xmlns:a16="http://schemas.microsoft.com/office/drawing/2014/main" id="{C446314E-906A-504C-B494-513CAF166544}"/>
                  </a:ext>
                </a:extLst>
              </p:cNvPr>
              <p:cNvSpPr>
                <a:spLocks noChangeArrowheads="1"/>
              </p:cNvSpPr>
              <p:nvPr/>
            </p:nvSpPr>
            <p:spPr bwMode="auto">
              <a:xfrm flipH="1">
                <a:off x="10234561"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21" name="Rectangle 203">
                <a:extLst>
                  <a:ext uri="{FF2B5EF4-FFF2-40B4-BE49-F238E27FC236}">
                    <a16:creationId xmlns:a16="http://schemas.microsoft.com/office/drawing/2014/main" id="{B0CCD7E3-EAEE-2D4C-B59D-EB746C7CA2D8}"/>
                  </a:ext>
                </a:extLst>
              </p:cNvPr>
              <p:cNvSpPr>
                <a:spLocks noChangeArrowheads="1"/>
              </p:cNvSpPr>
              <p:nvPr/>
            </p:nvSpPr>
            <p:spPr bwMode="auto">
              <a:xfrm flipH="1">
                <a:off x="10130577"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22" name="Rectangle 204">
                <a:extLst>
                  <a:ext uri="{FF2B5EF4-FFF2-40B4-BE49-F238E27FC236}">
                    <a16:creationId xmlns:a16="http://schemas.microsoft.com/office/drawing/2014/main" id="{6A7120BE-2AFB-6941-84A4-5A357F991455}"/>
                  </a:ext>
                </a:extLst>
              </p:cNvPr>
              <p:cNvSpPr>
                <a:spLocks noChangeArrowheads="1"/>
              </p:cNvSpPr>
              <p:nvPr/>
            </p:nvSpPr>
            <p:spPr bwMode="auto">
              <a:xfrm flipH="1">
                <a:off x="10026594"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23" name="Rectangle 206">
                <a:extLst>
                  <a:ext uri="{FF2B5EF4-FFF2-40B4-BE49-F238E27FC236}">
                    <a16:creationId xmlns:a16="http://schemas.microsoft.com/office/drawing/2014/main" id="{F2A7A146-A770-6F4F-8731-D2DA39268978}"/>
                  </a:ext>
                </a:extLst>
              </p:cNvPr>
              <p:cNvSpPr>
                <a:spLocks noChangeArrowheads="1"/>
              </p:cNvSpPr>
              <p:nvPr/>
            </p:nvSpPr>
            <p:spPr bwMode="auto">
              <a:xfrm flipH="1">
                <a:off x="9920531" y="392093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24" name="Rectangle 207">
                <a:extLst>
                  <a:ext uri="{FF2B5EF4-FFF2-40B4-BE49-F238E27FC236}">
                    <a16:creationId xmlns:a16="http://schemas.microsoft.com/office/drawing/2014/main" id="{DC031941-8CA4-8D4D-B3D0-C3FACB1EBFB5}"/>
                  </a:ext>
                </a:extLst>
              </p:cNvPr>
              <p:cNvSpPr>
                <a:spLocks noChangeArrowheads="1"/>
              </p:cNvSpPr>
              <p:nvPr/>
            </p:nvSpPr>
            <p:spPr bwMode="auto">
              <a:xfrm flipH="1">
                <a:off x="9816548" y="392093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25" name="Rectangle 208">
                <a:extLst>
                  <a:ext uri="{FF2B5EF4-FFF2-40B4-BE49-F238E27FC236}">
                    <a16:creationId xmlns:a16="http://schemas.microsoft.com/office/drawing/2014/main" id="{3A8307E4-238A-5943-ABF6-CE595F19848D}"/>
                  </a:ext>
                </a:extLst>
              </p:cNvPr>
              <p:cNvSpPr>
                <a:spLocks noChangeArrowheads="1"/>
              </p:cNvSpPr>
              <p:nvPr/>
            </p:nvSpPr>
            <p:spPr bwMode="auto">
              <a:xfrm flipH="1">
                <a:off x="9712564" y="392093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26" name="Rectangle 209">
                <a:extLst>
                  <a:ext uri="{FF2B5EF4-FFF2-40B4-BE49-F238E27FC236}">
                    <a16:creationId xmlns:a16="http://schemas.microsoft.com/office/drawing/2014/main" id="{96F0F786-C234-264E-98AC-A5D19D760529}"/>
                  </a:ext>
                </a:extLst>
              </p:cNvPr>
              <p:cNvSpPr>
                <a:spLocks noChangeArrowheads="1"/>
              </p:cNvSpPr>
              <p:nvPr/>
            </p:nvSpPr>
            <p:spPr bwMode="auto">
              <a:xfrm flipH="1">
                <a:off x="10550672"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27" name="Rectangle 210">
                <a:extLst>
                  <a:ext uri="{FF2B5EF4-FFF2-40B4-BE49-F238E27FC236}">
                    <a16:creationId xmlns:a16="http://schemas.microsoft.com/office/drawing/2014/main" id="{746B423A-3FD4-B743-BA29-31CC5041F692}"/>
                  </a:ext>
                </a:extLst>
              </p:cNvPr>
              <p:cNvSpPr>
                <a:spLocks noChangeArrowheads="1"/>
              </p:cNvSpPr>
              <p:nvPr/>
            </p:nvSpPr>
            <p:spPr bwMode="auto">
              <a:xfrm flipH="1">
                <a:off x="10446688"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28" name="Rectangle 211">
                <a:extLst>
                  <a:ext uri="{FF2B5EF4-FFF2-40B4-BE49-F238E27FC236}">
                    <a16:creationId xmlns:a16="http://schemas.microsoft.com/office/drawing/2014/main" id="{BD303CD4-2D6A-434E-BCD5-AEA40145F7C0}"/>
                  </a:ext>
                </a:extLst>
              </p:cNvPr>
              <p:cNvSpPr>
                <a:spLocks noChangeArrowheads="1"/>
              </p:cNvSpPr>
              <p:nvPr/>
            </p:nvSpPr>
            <p:spPr bwMode="auto">
              <a:xfrm flipH="1">
                <a:off x="10342705"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29" name="Rectangle 212">
                <a:extLst>
                  <a:ext uri="{FF2B5EF4-FFF2-40B4-BE49-F238E27FC236}">
                    <a16:creationId xmlns:a16="http://schemas.microsoft.com/office/drawing/2014/main" id="{4F706A99-89D1-1E42-968B-FDA3294ABEC7}"/>
                  </a:ext>
                </a:extLst>
              </p:cNvPr>
              <p:cNvSpPr>
                <a:spLocks noChangeArrowheads="1"/>
              </p:cNvSpPr>
              <p:nvPr/>
            </p:nvSpPr>
            <p:spPr bwMode="auto">
              <a:xfrm flipH="1">
                <a:off x="10234562"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30" name="Rectangle 213">
                <a:extLst>
                  <a:ext uri="{FF2B5EF4-FFF2-40B4-BE49-F238E27FC236}">
                    <a16:creationId xmlns:a16="http://schemas.microsoft.com/office/drawing/2014/main" id="{71B36C45-3B65-7547-B65E-D4D28F7C5B02}"/>
                  </a:ext>
                </a:extLst>
              </p:cNvPr>
              <p:cNvSpPr>
                <a:spLocks noChangeArrowheads="1"/>
              </p:cNvSpPr>
              <p:nvPr/>
            </p:nvSpPr>
            <p:spPr bwMode="auto">
              <a:xfrm flipH="1">
                <a:off x="10130579"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31" name="Rectangle 214">
                <a:extLst>
                  <a:ext uri="{FF2B5EF4-FFF2-40B4-BE49-F238E27FC236}">
                    <a16:creationId xmlns:a16="http://schemas.microsoft.com/office/drawing/2014/main" id="{9218FB5D-FBEE-B144-B3A6-3913A7E8A6BF}"/>
                  </a:ext>
                </a:extLst>
              </p:cNvPr>
              <p:cNvSpPr>
                <a:spLocks noChangeArrowheads="1"/>
              </p:cNvSpPr>
              <p:nvPr/>
            </p:nvSpPr>
            <p:spPr bwMode="auto">
              <a:xfrm flipH="1">
                <a:off x="10026594"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32" name="Rectangle 215">
                <a:extLst>
                  <a:ext uri="{FF2B5EF4-FFF2-40B4-BE49-F238E27FC236}">
                    <a16:creationId xmlns:a16="http://schemas.microsoft.com/office/drawing/2014/main" id="{89C766D5-D39A-9D46-88B4-DE92FA0D1064}"/>
                  </a:ext>
                </a:extLst>
              </p:cNvPr>
              <p:cNvSpPr>
                <a:spLocks noChangeArrowheads="1"/>
              </p:cNvSpPr>
              <p:nvPr/>
            </p:nvSpPr>
            <p:spPr bwMode="auto">
              <a:xfrm flipH="1">
                <a:off x="9920531"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33" name="Rectangle 216">
                <a:extLst>
                  <a:ext uri="{FF2B5EF4-FFF2-40B4-BE49-F238E27FC236}">
                    <a16:creationId xmlns:a16="http://schemas.microsoft.com/office/drawing/2014/main" id="{730D527F-BE88-8E4A-8851-4C75D2705BB0}"/>
                  </a:ext>
                </a:extLst>
              </p:cNvPr>
              <p:cNvSpPr>
                <a:spLocks noChangeArrowheads="1"/>
              </p:cNvSpPr>
              <p:nvPr/>
            </p:nvSpPr>
            <p:spPr bwMode="auto">
              <a:xfrm flipH="1">
                <a:off x="9816548"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34" name="Rectangle 217">
                <a:extLst>
                  <a:ext uri="{FF2B5EF4-FFF2-40B4-BE49-F238E27FC236}">
                    <a16:creationId xmlns:a16="http://schemas.microsoft.com/office/drawing/2014/main" id="{0E22144E-C3AC-B541-A850-4DCB940AB505}"/>
                  </a:ext>
                </a:extLst>
              </p:cNvPr>
              <p:cNvSpPr>
                <a:spLocks noChangeArrowheads="1"/>
              </p:cNvSpPr>
              <p:nvPr/>
            </p:nvSpPr>
            <p:spPr bwMode="auto">
              <a:xfrm flipH="1">
                <a:off x="9712564"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35" name="Rectangle 218">
                <a:extLst>
                  <a:ext uri="{FF2B5EF4-FFF2-40B4-BE49-F238E27FC236}">
                    <a16:creationId xmlns:a16="http://schemas.microsoft.com/office/drawing/2014/main" id="{40BE4873-C82F-BE47-83E1-29BC3037BFF5}"/>
                  </a:ext>
                </a:extLst>
              </p:cNvPr>
              <p:cNvSpPr>
                <a:spLocks noChangeArrowheads="1"/>
              </p:cNvSpPr>
              <p:nvPr/>
            </p:nvSpPr>
            <p:spPr bwMode="auto">
              <a:xfrm flipH="1">
                <a:off x="10550672"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36" name="Rectangle 219">
                <a:extLst>
                  <a:ext uri="{FF2B5EF4-FFF2-40B4-BE49-F238E27FC236}">
                    <a16:creationId xmlns:a16="http://schemas.microsoft.com/office/drawing/2014/main" id="{DD8FEF36-014A-CB45-8A6C-B6024C47C902}"/>
                  </a:ext>
                </a:extLst>
              </p:cNvPr>
              <p:cNvSpPr>
                <a:spLocks noChangeArrowheads="1"/>
              </p:cNvSpPr>
              <p:nvPr/>
            </p:nvSpPr>
            <p:spPr bwMode="auto">
              <a:xfrm flipH="1">
                <a:off x="10446688"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37" name="Rectangle 220">
                <a:extLst>
                  <a:ext uri="{FF2B5EF4-FFF2-40B4-BE49-F238E27FC236}">
                    <a16:creationId xmlns:a16="http://schemas.microsoft.com/office/drawing/2014/main" id="{4EB084AC-451B-DA4E-B493-7550C079252E}"/>
                  </a:ext>
                </a:extLst>
              </p:cNvPr>
              <p:cNvSpPr>
                <a:spLocks noChangeArrowheads="1"/>
              </p:cNvSpPr>
              <p:nvPr/>
            </p:nvSpPr>
            <p:spPr bwMode="auto">
              <a:xfrm flipH="1">
                <a:off x="10342705"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38" name="Rectangle 221">
                <a:extLst>
                  <a:ext uri="{FF2B5EF4-FFF2-40B4-BE49-F238E27FC236}">
                    <a16:creationId xmlns:a16="http://schemas.microsoft.com/office/drawing/2014/main" id="{3625052F-29B2-1049-A07A-F6E4BD1988CD}"/>
                  </a:ext>
                </a:extLst>
              </p:cNvPr>
              <p:cNvSpPr>
                <a:spLocks noChangeArrowheads="1"/>
              </p:cNvSpPr>
              <p:nvPr/>
            </p:nvSpPr>
            <p:spPr bwMode="auto">
              <a:xfrm flipH="1">
                <a:off x="10234562"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39" name="Rectangle 222">
                <a:extLst>
                  <a:ext uri="{FF2B5EF4-FFF2-40B4-BE49-F238E27FC236}">
                    <a16:creationId xmlns:a16="http://schemas.microsoft.com/office/drawing/2014/main" id="{29CE2CFA-58F8-9647-A6D0-E479CC41B2D0}"/>
                  </a:ext>
                </a:extLst>
              </p:cNvPr>
              <p:cNvSpPr>
                <a:spLocks noChangeArrowheads="1"/>
              </p:cNvSpPr>
              <p:nvPr/>
            </p:nvSpPr>
            <p:spPr bwMode="auto">
              <a:xfrm flipH="1">
                <a:off x="10130579"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40" name="Rectangle 223">
                <a:extLst>
                  <a:ext uri="{FF2B5EF4-FFF2-40B4-BE49-F238E27FC236}">
                    <a16:creationId xmlns:a16="http://schemas.microsoft.com/office/drawing/2014/main" id="{E47AF278-11C0-504B-BD76-5308BD6905E1}"/>
                  </a:ext>
                </a:extLst>
              </p:cNvPr>
              <p:cNvSpPr>
                <a:spLocks noChangeArrowheads="1"/>
              </p:cNvSpPr>
              <p:nvPr/>
            </p:nvSpPr>
            <p:spPr bwMode="auto">
              <a:xfrm flipH="1">
                <a:off x="10026594"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41" name="Rectangle 224">
                <a:extLst>
                  <a:ext uri="{FF2B5EF4-FFF2-40B4-BE49-F238E27FC236}">
                    <a16:creationId xmlns:a16="http://schemas.microsoft.com/office/drawing/2014/main" id="{7C51CDEC-258A-1B40-89D1-E529F13462E3}"/>
                  </a:ext>
                </a:extLst>
              </p:cNvPr>
              <p:cNvSpPr>
                <a:spLocks noChangeArrowheads="1"/>
              </p:cNvSpPr>
              <p:nvPr/>
            </p:nvSpPr>
            <p:spPr bwMode="auto">
              <a:xfrm flipH="1">
                <a:off x="9920531"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42" name="Rectangle 225">
                <a:extLst>
                  <a:ext uri="{FF2B5EF4-FFF2-40B4-BE49-F238E27FC236}">
                    <a16:creationId xmlns:a16="http://schemas.microsoft.com/office/drawing/2014/main" id="{B3D18144-2BD6-D448-911B-1673FA4B3D5E}"/>
                  </a:ext>
                </a:extLst>
              </p:cNvPr>
              <p:cNvSpPr>
                <a:spLocks noChangeArrowheads="1"/>
              </p:cNvSpPr>
              <p:nvPr/>
            </p:nvSpPr>
            <p:spPr bwMode="auto">
              <a:xfrm flipH="1">
                <a:off x="9816548"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43" name="Rectangle 226">
                <a:extLst>
                  <a:ext uri="{FF2B5EF4-FFF2-40B4-BE49-F238E27FC236}">
                    <a16:creationId xmlns:a16="http://schemas.microsoft.com/office/drawing/2014/main" id="{FBD8CDEE-2BF3-8542-B9BB-FB2FAF0E8997}"/>
                  </a:ext>
                </a:extLst>
              </p:cNvPr>
              <p:cNvSpPr>
                <a:spLocks noChangeArrowheads="1"/>
              </p:cNvSpPr>
              <p:nvPr/>
            </p:nvSpPr>
            <p:spPr bwMode="auto">
              <a:xfrm flipH="1">
                <a:off x="9712564"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44" name="Rectangle 227">
                <a:extLst>
                  <a:ext uri="{FF2B5EF4-FFF2-40B4-BE49-F238E27FC236}">
                    <a16:creationId xmlns:a16="http://schemas.microsoft.com/office/drawing/2014/main" id="{F18DAA1D-FB10-E249-A06E-E4CE2EB60835}"/>
                  </a:ext>
                </a:extLst>
              </p:cNvPr>
              <p:cNvSpPr>
                <a:spLocks noChangeArrowheads="1"/>
              </p:cNvSpPr>
              <p:nvPr/>
            </p:nvSpPr>
            <p:spPr bwMode="auto">
              <a:xfrm flipH="1">
                <a:off x="10550672"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45" name="Rectangle 228">
                <a:extLst>
                  <a:ext uri="{FF2B5EF4-FFF2-40B4-BE49-F238E27FC236}">
                    <a16:creationId xmlns:a16="http://schemas.microsoft.com/office/drawing/2014/main" id="{6C6BE746-7D68-FC41-9B7E-0E0636C7DF52}"/>
                  </a:ext>
                </a:extLst>
              </p:cNvPr>
              <p:cNvSpPr>
                <a:spLocks noChangeArrowheads="1"/>
              </p:cNvSpPr>
              <p:nvPr/>
            </p:nvSpPr>
            <p:spPr bwMode="auto">
              <a:xfrm flipH="1">
                <a:off x="10446688"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46" name="Rectangle 229">
                <a:extLst>
                  <a:ext uri="{FF2B5EF4-FFF2-40B4-BE49-F238E27FC236}">
                    <a16:creationId xmlns:a16="http://schemas.microsoft.com/office/drawing/2014/main" id="{A752050C-64D9-EA4B-B68E-A2233FA37F7C}"/>
                  </a:ext>
                </a:extLst>
              </p:cNvPr>
              <p:cNvSpPr>
                <a:spLocks noChangeArrowheads="1"/>
              </p:cNvSpPr>
              <p:nvPr/>
            </p:nvSpPr>
            <p:spPr bwMode="auto">
              <a:xfrm flipH="1">
                <a:off x="10342705"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47" name="Rectangle 230">
                <a:extLst>
                  <a:ext uri="{FF2B5EF4-FFF2-40B4-BE49-F238E27FC236}">
                    <a16:creationId xmlns:a16="http://schemas.microsoft.com/office/drawing/2014/main" id="{9907E455-2463-B648-80CA-3CC2FFC8C099}"/>
                  </a:ext>
                </a:extLst>
              </p:cNvPr>
              <p:cNvSpPr>
                <a:spLocks noChangeArrowheads="1"/>
              </p:cNvSpPr>
              <p:nvPr/>
            </p:nvSpPr>
            <p:spPr bwMode="auto">
              <a:xfrm flipH="1">
                <a:off x="10234562"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48" name="Rectangle 231">
                <a:extLst>
                  <a:ext uri="{FF2B5EF4-FFF2-40B4-BE49-F238E27FC236}">
                    <a16:creationId xmlns:a16="http://schemas.microsoft.com/office/drawing/2014/main" id="{9C443535-449D-CB41-B8A0-38AF30CDA292}"/>
                  </a:ext>
                </a:extLst>
              </p:cNvPr>
              <p:cNvSpPr>
                <a:spLocks noChangeArrowheads="1"/>
              </p:cNvSpPr>
              <p:nvPr/>
            </p:nvSpPr>
            <p:spPr bwMode="auto">
              <a:xfrm flipH="1">
                <a:off x="10130579"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49" name="Rectangle 232">
                <a:extLst>
                  <a:ext uri="{FF2B5EF4-FFF2-40B4-BE49-F238E27FC236}">
                    <a16:creationId xmlns:a16="http://schemas.microsoft.com/office/drawing/2014/main" id="{65E166BB-AACE-A848-AF7E-56FDD6EA2F40}"/>
                  </a:ext>
                </a:extLst>
              </p:cNvPr>
              <p:cNvSpPr>
                <a:spLocks noChangeArrowheads="1"/>
              </p:cNvSpPr>
              <p:nvPr/>
            </p:nvSpPr>
            <p:spPr bwMode="auto">
              <a:xfrm flipH="1">
                <a:off x="10026594"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50" name="Rectangle 233">
                <a:extLst>
                  <a:ext uri="{FF2B5EF4-FFF2-40B4-BE49-F238E27FC236}">
                    <a16:creationId xmlns:a16="http://schemas.microsoft.com/office/drawing/2014/main" id="{EB0890C3-8B97-8D4A-9903-F48F7DA1740A}"/>
                  </a:ext>
                </a:extLst>
              </p:cNvPr>
              <p:cNvSpPr>
                <a:spLocks noChangeArrowheads="1"/>
              </p:cNvSpPr>
              <p:nvPr/>
            </p:nvSpPr>
            <p:spPr bwMode="auto">
              <a:xfrm flipH="1">
                <a:off x="9920531"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51" name="Rectangle 234">
                <a:extLst>
                  <a:ext uri="{FF2B5EF4-FFF2-40B4-BE49-F238E27FC236}">
                    <a16:creationId xmlns:a16="http://schemas.microsoft.com/office/drawing/2014/main" id="{021D2D5D-A588-F242-9DC5-10FD6D1C283A}"/>
                  </a:ext>
                </a:extLst>
              </p:cNvPr>
              <p:cNvSpPr>
                <a:spLocks noChangeArrowheads="1"/>
              </p:cNvSpPr>
              <p:nvPr/>
            </p:nvSpPr>
            <p:spPr bwMode="auto">
              <a:xfrm flipH="1">
                <a:off x="9816548"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52" name="Rectangle 235">
                <a:extLst>
                  <a:ext uri="{FF2B5EF4-FFF2-40B4-BE49-F238E27FC236}">
                    <a16:creationId xmlns:a16="http://schemas.microsoft.com/office/drawing/2014/main" id="{AF7DDD23-91AE-E24C-BE0D-5E5EFACF0314}"/>
                  </a:ext>
                </a:extLst>
              </p:cNvPr>
              <p:cNvSpPr>
                <a:spLocks noChangeArrowheads="1"/>
              </p:cNvSpPr>
              <p:nvPr/>
            </p:nvSpPr>
            <p:spPr bwMode="auto">
              <a:xfrm flipH="1">
                <a:off x="9712564"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53" name="Rectangle 236">
                <a:extLst>
                  <a:ext uri="{FF2B5EF4-FFF2-40B4-BE49-F238E27FC236}">
                    <a16:creationId xmlns:a16="http://schemas.microsoft.com/office/drawing/2014/main" id="{1A245818-93BA-7A47-9C8C-D08FE2C47524}"/>
                  </a:ext>
                </a:extLst>
              </p:cNvPr>
              <p:cNvSpPr>
                <a:spLocks noChangeArrowheads="1"/>
              </p:cNvSpPr>
              <p:nvPr/>
            </p:nvSpPr>
            <p:spPr bwMode="auto">
              <a:xfrm flipH="1">
                <a:off x="10550672"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54" name="Rectangle 237">
                <a:extLst>
                  <a:ext uri="{FF2B5EF4-FFF2-40B4-BE49-F238E27FC236}">
                    <a16:creationId xmlns:a16="http://schemas.microsoft.com/office/drawing/2014/main" id="{18A42C5B-C5E2-8F46-889A-2AC33E4079DA}"/>
                  </a:ext>
                </a:extLst>
              </p:cNvPr>
              <p:cNvSpPr>
                <a:spLocks noChangeArrowheads="1"/>
              </p:cNvSpPr>
              <p:nvPr/>
            </p:nvSpPr>
            <p:spPr bwMode="auto">
              <a:xfrm flipH="1">
                <a:off x="10446688"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55" name="Rectangle 238">
                <a:extLst>
                  <a:ext uri="{FF2B5EF4-FFF2-40B4-BE49-F238E27FC236}">
                    <a16:creationId xmlns:a16="http://schemas.microsoft.com/office/drawing/2014/main" id="{EAB95C8E-EBFE-EA48-A1EA-7BA28EA6DFAC}"/>
                  </a:ext>
                </a:extLst>
              </p:cNvPr>
              <p:cNvSpPr>
                <a:spLocks noChangeArrowheads="1"/>
              </p:cNvSpPr>
              <p:nvPr/>
            </p:nvSpPr>
            <p:spPr bwMode="auto">
              <a:xfrm flipH="1">
                <a:off x="10342705"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56" name="Rectangle 239">
                <a:extLst>
                  <a:ext uri="{FF2B5EF4-FFF2-40B4-BE49-F238E27FC236}">
                    <a16:creationId xmlns:a16="http://schemas.microsoft.com/office/drawing/2014/main" id="{A4B45560-EB46-4846-8F62-28C656B17548}"/>
                  </a:ext>
                </a:extLst>
              </p:cNvPr>
              <p:cNvSpPr>
                <a:spLocks noChangeArrowheads="1"/>
              </p:cNvSpPr>
              <p:nvPr/>
            </p:nvSpPr>
            <p:spPr bwMode="auto">
              <a:xfrm flipH="1">
                <a:off x="10234562"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57" name="Rectangle 240">
                <a:extLst>
                  <a:ext uri="{FF2B5EF4-FFF2-40B4-BE49-F238E27FC236}">
                    <a16:creationId xmlns:a16="http://schemas.microsoft.com/office/drawing/2014/main" id="{2EBAC28C-29A5-104B-AE23-96C3A0475268}"/>
                  </a:ext>
                </a:extLst>
              </p:cNvPr>
              <p:cNvSpPr>
                <a:spLocks noChangeArrowheads="1"/>
              </p:cNvSpPr>
              <p:nvPr/>
            </p:nvSpPr>
            <p:spPr bwMode="auto">
              <a:xfrm flipH="1">
                <a:off x="10130579"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58" name="Rectangle 241">
                <a:extLst>
                  <a:ext uri="{FF2B5EF4-FFF2-40B4-BE49-F238E27FC236}">
                    <a16:creationId xmlns:a16="http://schemas.microsoft.com/office/drawing/2014/main" id="{48DA4B90-65ED-F341-A01E-ACDC196D8E2C}"/>
                  </a:ext>
                </a:extLst>
              </p:cNvPr>
              <p:cNvSpPr>
                <a:spLocks noChangeArrowheads="1"/>
              </p:cNvSpPr>
              <p:nvPr/>
            </p:nvSpPr>
            <p:spPr bwMode="auto">
              <a:xfrm flipH="1">
                <a:off x="10026594"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59" name="Rectangle 242">
                <a:extLst>
                  <a:ext uri="{FF2B5EF4-FFF2-40B4-BE49-F238E27FC236}">
                    <a16:creationId xmlns:a16="http://schemas.microsoft.com/office/drawing/2014/main" id="{4B839752-E18A-5E40-A989-BAD55ADE3671}"/>
                  </a:ext>
                </a:extLst>
              </p:cNvPr>
              <p:cNvSpPr>
                <a:spLocks noChangeArrowheads="1"/>
              </p:cNvSpPr>
              <p:nvPr/>
            </p:nvSpPr>
            <p:spPr bwMode="auto">
              <a:xfrm flipH="1">
                <a:off x="9920531"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60" name="Rectangle 243">
                <a:extLst>
                  <a:ext uri="{FF2B5EF4-FFF2-40B4-BE49-F238E27FC236}">
                    <a16:creationId xmlns:a16="http://schemas.microsoft.com/office/drawing/2014/main" id="{93E9D0CE-DE11-C04B-B9DC-E3FB89115976}"/>
                  </a:ext>
                </a:extLst>
              </p:cNvPr>
              <p:cNvSpPr>
                <a:spLocks noChangeArrowheads="1"/>
              </p:cNvSpPr>
              <p:nvPr/>
            </p:nvSpPr>
            <p:spPr bwMode="auto">
              <a:xfrm flipH="1">
                <a:off x="9816548"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61" name="Rectangle 244">
                <a:extLst>
                  <a:ext uri="{FF2B5EF4-FFF2-40B4-BE49-F238E27FC236}">
                    <a16:creationId xmlns:a16="http://schemas.microsoft.com/office/drawing/2014/main" id="{C2696FE7-D460-E643-A016-B5442ADB7841}"/>
                  </a:ext>
                </a:extLst>
              </p:cNvPr>
              <p:cNvSpPr>
                <a:spLocks noChangeArrowheads="1"/>
              </p:cNvSpPr>
              <p:nvPr/>
            </p:nvSpPr>
            <p:spPr bwMode="auto">
              <a:xfrm flipH="1">
                <a:off x="9712564"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62" name="Rectangle 245">
                <a:extLst>
                  <a:ext uri="{FF2B5EF4-FFF2-40B4-BE49-F238E27FC236}">
                    <a16:creationId xmlns:a16="http://schemas.microsoft.com/office/drawing/2014/main" id="{C703B09E-126E-9847-B307-60CF8CF695A0}"/>
                  </a:ext>
                </a:extLst>
              </p:cNvPr>
              <p:cNvSpPr>
                <a:spLocks noChangeArrowheads="1"/>
              </p:cNvSpPr>
              <p:nvPr/>
            </p:nvSpPr>
            <p:spPr bwMode="auto">
              <a:xfrm flipH="1">
                <a:off x="10550672"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63" name="Rectangle 246">
                <a:extLst>
                  <a:ext uri="{FF2B5EF4-FFF2-40B4-BE49-F238E27FC236}">
                    <a16:creationId xmlns:a16="http://schemas.microsoft.com/office/drawing/2014/main" id="{09239A1D-6F88-6642-B634-AABF69B3E4BD}"/>
                  </a:ext>
                </a:extLst>
              </p:cNvPr>
              <p:cNvSpPr>
                <a:spLocks noChangeArrowheads="1"/>
              </p:cNvSpPr>
              <p:nvPr/>
            </p:nvSpPr>
            <p:spPr bwMode="auto">
              <a:xfrm flipH="1">
                <a:off x="10446688"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64" name="Rectangle 247">
                <a:extLst>
                  <a:ext uri="{FF2B5EF4-FFF2-40B4-BE49-F238E27FC236}">
                    <a16:creationId xmlns:a16="http://schemas.microsoft.com/office/drawing/2014/main" id="{A17EB4E6-A39F-C146-B45C-D466AAF1A8F9}"/>
                  </a:ext>
                </a:extLst>
              </p:cNvPr>
              <p:cNvSpPr>
                <a:spLocks noChangeArrowheads="1"/>
              </p:cNvSpPr>
              <p:nvPr/>
            </p:nvSpPr>
            <p:spPr bwMode="auto">
              <a:xfrm flipH="1">
                <a:off x="10342705"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65" name="Rectangle 248">
                <a:extLst>
                  <a:ext uri="{FF2B5EF4-FFF2-40B4-BE49-F238E27FC236}">
                    <a16:creationId xmlns:a16="http://schemas.microsoft.com/office/drawing/2014/main" id="{DEB1A96A-0657-504E-9B22-DAC8E6DA111B}"/>
                  </a:ext>
                </a:extLst>
              </p:cNvPr>
              <p:cNvSpPr>
                <a:spLocks noChangeArrowheads="1"/>
              </p:cNvSpPr>
              <p:nvPr/>
            </p:nvSpPr>
            <p:spPr bwMode="auto">
              <a:xfrm flipH="1">
                <a:off x="10234562"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66" name="Rectangle 249">
                <a:extLst>
                  <a:ext uri="{FF2B5EF4-FFF2-40B4-BE49-F238E27FC236}">
                    <a16:creationId xmlns:a16="http://schemas.microsoft.com/office/drawing/2014/main" id="{3C0B69B1-3993-E842-B27C-151C7BC4370D}"/>
                  </a:ext>
                </a:extLst>
              </p:cNvPr>
              <p:cNvSpPr>
                <a:spLocks noChangeArrowheads="1"/>
              </p:cNvSpPr>
              <p:nvPr/>
            </p:nvSpPr>
            <p:spPr bwMode="auto">
              <a:xfrm flipH="1">
                <a:off x="10130579"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67" name="Rectangle 250">
                <a:extLst>
                  <a:ext uri="{FF2B5EF4-FFF2-40B4-BE49-F238E27FC236}">
                    <a16:creationId xmlns:a16="http://schemas.microsoft.com/office/drawing/2014/main" id="{A4A26190-935B-F643-8157-D3CC74394735}"/>
                  </a:ext>
                </a:extLst>
              </p:cNvPr>
              <p:cNvSpPr>
                <a:spLocks noChangeArrowheads="1"/>
              </p:cNvSpPr>
              <p:nvPr/>
            </p:nvSpPr>
            <p:spPr bwMode="auto">
              <a:xfrm flipH="1">
                <a:off x="10026594"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68" name="Rectangle 251">
                <a:extLst>
                  <a:ext uri="{FF2B5EF4-FFF2-40B4-BE49-F238E27FC236}">
                    <a16:creationId xmlns:a16="http://schemas.microsoft.com/office/drawing/2014/main" id="{16223756-3ED7-8849-9FA0-98E67B1529F7}"/>
                  </a:ext>
                </a:extLst>
              </p:cNvPr>
              <p:cNvSpPr>
                <a:spLocks noChangeArrowheads="1"/>
              </p:cNvSpPr>
              <p:nvPr/>
            </p:nvSpPr>
            <p:spPr bwMode="auto">
              <a:xfrm flipH="1">
                <a:off x="9920531"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169" name="Rectangle 252">
                <a:extLst>
                  <a:ext uri="{FF2B5EF4-FFF2-40B4-BE49-F238E27FC236}">
                    <a16:creationId xmlns:a16="http://schemas.microsoft.com/office/drawing/2014/main" id="{C43F5A98-C542-974D-A2A0-BB0572CCB454}"/>
                  </a:ext>
                </a:extLst>
              </p:cNvPr>
              <p:cNvSpPr>
                <a:spLocks noChangeArrowheads="1"/>
              </p:cNvSpPr>
              <p:nvPr/>
            </p:nvSpPr>
            <p:spPr bwMode="auto">
              <a:xfrm flipH="1">
                <a:off x="9712564" y="4752805"/>
                <a:ext cx="164294" cy="1622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grpSp>
        <p:grpSp>
          <p:nvGrpSpPr>
            <p:cNvPr id="42" name="Group 41">
              <a:extLst>
                <a:ext uri="{FF2B5EF4-FFF2-40B4-BE49-F238E27FC236}">
                  <a16:creationId xmlns:a16="http://schemas.microsoft.com/office/drawing/2014/main" id="{AF379A2F-505F-4C4F-8B55-3FEEA86A9F59}"/>
                </a:ext>
              </a:extLst>
            </p:cNvPr>
            <p:cNvGrpSpPr/>
            <p:nvPr/>
          </p:nvGrpSpPr>
          <p:grpSpPr>
            <a:xfrm>
              <a:off x="5983848" y="4031345"/>
              <a:ext cx="693157" cy="771444"/>
              <a:chOff x="1933777" y="3819517"/>
              <a:chExt cx="597788" cy="665351"/>
            </a:xfrm>
          </p:grpSpPr>
          <p:sp>
            <p:nvSpPr>
              <p:cNvPr id="47" name="Rectangle 274">
                <a:extLst>
                  <a:ext uri="{FF2B5EF4-FFF2-40B4-BE49-F238E27FC236}">
                    <a16:creationId xmlns:a16="http://schemas.microsoft.com/office/drawing/2014/main" id="{1B98E1AF-00B6-F84B-8210-594BE35DCD07}"/>
                  </a:ext>
                </a:extLst>
              </p:cNvPr>
              <p:cNvSpPr>
                <a:spLocks noChangeArrowheads="1"/>
              </p:cNvSpPr>
              <p:nvPr/>
            </p:nvSpPr>
            <p:spPr bwMode="auto">
              <a:xfrm>
                <a:off x="1963315" y="3874375"/>
                <a:ext cx="537306" cy="610492"/>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8" name="Rectangle 275">
                <a:extLst>
                  <a:ext uri="{FF2B5EF4-FFF2-40B4-BE49-F238E27FC236}">
                    <a16:creationId xmlns:a16="http://schemas.microsoft.com/office/drawing/2014/main" id="{1633BD74-C37D-FF42-BF07-4B851B9F2E9C}"/>
                  </a:ext>
                </a:extLst>
              </p:cNvPr>
              <p:cNvSpPr>
                <a:spLocks noChangeArrowheads="1"/>
              </p:cNvSpPr>
              <p:nvPr/>
            </p:nvSpPr>
            <p:spPr bwMode="auto">
              <a:xfrm>
                <a:off x="2015358" y="395596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9" name="Rectangle 276">
                <a:extLst>
                  <a:ext uri="{FF2B5EF4-FFF2-40B4-BE49-F238E27FC236}">
                    <a16:creationId xmlns:a16="http://schemas.microsoft.com/office/drawing/2014/main" id="{ED28E45C-16B3-0A41-BF0E-06ECD2E8EA30}"/>
                  </a:ext>
                </a:extLst>
              </p:cNvPr>
              <p:cNvSpPr>
                <a:spLocks noChangeArrowheads="1"/>
              </p:cNvSpPr>
              <p:nvPr/>
            </p:nvSpPr>
            <p:spPr bwMode="auto">
              <a:xfrm>
                <a:off x="2129289" y="395596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0" name="Rectangle 277">
                <a:extLst>
                  <a:ext uri="{FF2B5EF4-FFF2-40B4-BE49-F238E27FC236}">
                    <a16:creationId xmlns:a16="http://schemas.microsoft.com/office/drawing/2014/main" id="{E2F281B3-F9D5-8C4E-BD28-2C69E208349A}"/>
                  </a:ext>
                </a:extLst>
              </p:cNvPr>
              <p:cNvSpPr>
                <a:spLocks noChangeArrowheads="1"/>
              </p:cNvSpPr>
              <p:nvPr/>
            </p:nvSpPr>
            <p:spPr bwMode="auto">
              <a:xfrm>
                <a:off x="2246034" y="395596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1" name="Rectangle 278">
                <a:extLst>
                  <a:ext uri="{FF2B5EF4-FFF2-40B4-BE49-F238E27FC236}">
                    <a16:creationId xmlns:a16="http://schemas.microsoft.com/office/drawing/2014/main" id="{A83DAFCE-5AC3-4847-8321-F393DFE14C5E}"/>
                  </a:ext>
                </a:extLst>
              </p:cNvPr>
              <p:cNvSpPr>
                <a:spLocks noChangeArrowheads="1"/>
              </p:cNvSpPr>
              <p:nvPr/>
            </p:nvSpPr>
            <p:spPr bwMode="auto">
              <a:xfrm>
                <a:off x="2362778" y="395596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2" name="Rectangle 279">
                <a:extLst>
                  <a:ext uri="{FF2B5EF4-FFF2-40B4-BE49-F238E27FC236}">
                    <a16:creationId xmlns:a16="http://schemas.microsoft.com/office/drawing/2014/main" id="{F64F4FDA-0D25-154D-9519-A4E141E214CC}"/>
                  </a:ext>
                </a:extLst>
              </p:cNvPr>
              <p:cNvSpPr>
                <a:spLocks noChangeArrowheads="1"/>
              </p:cNvSpPr>
              <p:nvPr/>
            </p:nvSpPr>
            <p:spPr bwMode="auto">
              <a:xfrm>
                <a:off x="2015358" y="408678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3" name="Rectangle 280">
                <a:extLst>
                  <a:ext uri="{FF2B5EF4-FFF2-40B4-BE49-F238E27FC236}">
                    <a16:creationId xmlns:a16="http://schemas.microsoft.com/office/drawing/2014/main" id="{32BD392E-4F1F-9C4A-B5DE-8CFD294B168C}"/>
                  </a:ext>
                </a:extLst>
              </p:cNvPr>
              <p:cNvSpPr>
                <a:spLocks noChangeArrowheads="1"/>
              </p:cNvSpPr>
              <p:nvPr/>
            </p:nvSpPr>
            <p:spPr bwMode="auto">
              <a:xfrm>
                <a:off x="2129289" y="408678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4" name="Rectangle 281">
                <a:extLst>
                  <a:ext uri="{FF2B5EF4-FFF2-40B4-BE49-F238E27FC236}">
                    <a16:creationId xmlns:a16="http://schemas.microsoft.com/office/drawing/2014/main" id="{9CA555E8-CEE9-294E-9ACF-66E82ABEEFCE}"/>
                  </a:ext>
                </a:extLst>
              </p:cNvPr>
              <p:cNvSpPr>
                <a:spLocks noChangeArrowheads="1"/>
              </p:cNvSpPr>
              <p:nvPr/>
            </p:nvSpPr>
            <p:spPr bwMode="auto">
              <a:xfrm>
                <a:off x="2246034" y="408678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5" name="Rectangle 282">
                <a:extLst>
                  <a:ext uri="{FF2B5EF4-FFF2-40B4-BE49-F238E27FC236}">
                    <a16:creationId xmlns:a16="http://schemas.microsoft.com/office/drawing/2014/main" id="{AF8989AE-9B12-E141-8250-2A9F48FBEA4C}"/>
                  </a:ext>
                </a:extLst>
              </p:cNvPr>
              <p:cNvSpPr>
                <a:spLocks noChangeArrowheads="1"/>
              </p:cNvSpPr>
              <p:nvPr/>
            </p:nvSpPr>
            <p:spPr bwMode="auto">
              <a:xfrm>
                <a:off x="2362778" y="408678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6" name="Rectangle 283">
                <a:extLst>
                  <a:ext uri="{FF2B5EF4-FFF2-40B4-BE49-F238E27FC236}">
                    <a16:creationId xmlns:a16="http://schemas.microsoft.com/office/drawing/2014/main" id="{6CCAFFD3-5440-1E4B-9A9D-F1CFE5747FB2}"/>
                  </a:ext>
                </a:extLst>
              </p:cNvPr>
              <p:cNvSpPr>
                <a:spLocks noChangeArrowheads="1"/>
              </p:cNvSpPr>
              <p:nvPr/>
            </p:nvSpPr>
            <p:spPr bwMode="auto">
              <a:xfrm>
                <a:off x="2015358" y="4217600"/>
                <a:ext cx="87207" cy="464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7" name="Rectangle 284">
                <a:extLst>
                  <a:ext uri="{FF2B5EF4-FFF2-40B4-BE49-F238E27FC236}">
                    <a16:creationId xmlns:a16="http://schemas.microsoft.com/office/drawing/2014/main" id="{CA80F9F8-0378-F44E-8ACF-3725BA1C65F7}"/>
                  </a:ext>
                </a:extLst>
              </p:cNvPr>
              <p:cNvSpPr>
                <a:spLocks noChangeArrowheads="1"/>
              </p:cNvSpPr>
              <p:nvPr/>
            </p:nvSpPr>
            <p:spPr bwMode="auto">
              <a:xfrm>
                <a:off x="2129289" y="4217600"/>
                <a:ext cx="87207" cy="464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8" name="Rectangle 285">
                <a:extLst>
                  <a:ext uri="{FF2B5EF4-FFF2-40B4-BE49-F238E27FC236}">
                    <a16:creationId xmlns:a16="http://schemas.microsoft.com/office/drawing/2014/main" id="{4995D931-8343-5D47-8744-A31DA419D63D}"/>
                  </a:ext>
                </a:extLst>
              </p:cNvPr>
              <p:cNvSpPr>
                <a:spLocks noChangeArrowheads="1"/>
              </p:cNvSpPr>
              <p:nvPr/>
            </p:nvSpPr>
            <p:spPr bwMode="auto">
              <a:xfrm>
                <a:off x="2246034" y="4217600"/>
                <a:ext cx="87207" cy="464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9" name="Rectangle 286">
                <a:extLst>
                  <a:ext uri="{FF2B5EF4-FFF2-40B4-BE49-F238E27FC236}">
                    <a16:creationId xmlns:a16="http://schemas.microsoft.com/office/drawing/2014/main" id="{02D45521-EBDF-8A41-AA64-8B154B50AB64}"/>
                  </a:ext>
                </a:extLst>
              </p:cNvPr>
              <p:cNvSpPr>
                <a:spLocks noChangeArrowheads="1"/>
              </p:cNvSpPr>
              <p:nvPr/>
            </p:nvSpPr>
            <p:spPr bwMode="auto">
              <a:xfrm>
                <a:off x="2362778" y="4217600"/>
                <a:ext cx="87207" cy="464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60" name="Rectangle 287">
                <a:extLst>
                  <a:ext uri="{FF2B5EF4-FFF2-40B4-BE49-F238E27FC236}">
                    <a16:creationId xmlns:a16="http://schemas.microsoft.com/office/drawing/2014/main" id="{9EF83769-DB5E-E348-BEE2-5DA5F561A225}"/>
                  </a:ext>
                </a:extLst>
              </p:cNvPr>
              <p:cNvSpPr>
                <a:spLocks noChangeArrowheads="1"/>
              </p:cNvSpPr>
              <p:nvPr/>
            </p:nvSpPr>
            <p:spPr bwMode="auto">
              <a:xfrm>
                <a:off x="2064587" y="3819517"/>
                <a:ext cx="333355" cy="71740"/>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61" name="Rectangle 288">
                <a:extLst>
                  <a:ext uri="{FF2B5EF4-FFF2-40B4-BE49-F238E27FC236}">
                    <a16:creationId xmlns:a16="http://schemas.microsoft.com/office/drawing/2014/main" id="{6DAD7A7F-541A-8542-91E8-11B5B421542E}"/>
                  </a:ext>
                </a:extLst>
              </p:cNvPr>
              <p:cNvSpPr>
                <a:spLocks noChangeArrowheads="1"/>
              </p:cNvSpPr>
              <p:nvPr/>
            </p:nvSpPr>
            <p:spPr bwMode="auto">
              <a:xfrm>
                <a:off x="2015358" y="4345608"/>
                <a:ext cx="125184" cy="1392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62" name="Rectangle 289">
                <a:extLst>
                  <a:ext uri="{FF2B5EF4-FFF2-40B4-BE49-F238E27FC236}">
                    <a16:creationId xmlns:a16="http://schemas.microsoft.com/office/drawing/2014/main" id="{CEDE1A3C-52B0-E541-882F-80361588F22F}"/>
                  </a:ext>
                </a:extLst>
              </p:cNvPr>
              <p:cNvSpPr>
                <a:spLocks noChangeArrowheads="1"/>
              </p:cNvSpPr>
              <p:nvPr/>
            </p:nvSpPr>
            <p:spPr bwMode="auto">
              <a:xfrm>
                <a:off x="2170080" y="4345608"/>
                <a:ext cx="125184" cy="1392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63" name="Rectangle 290">
                <a:extLst>
                  <a:ext uri="{FF2B5EF4-FFF2-40B4-BE49-F238E27FC236}">
                    <a16:creationId xmlns:a16="http://schemas.microsoft.com/office/drawing/2014/main" id="{152A8B67-28C4-8F47-AD1E-99D055959A8F}"/>
                  </a:ext>
                </a:extLst>
              </p:cNvPr>
              <p:cNvSpPr>
                <a:spLocks noChangeArrowheads="1"/>
              </p:cNvSpPr>
              <p:nvPr/>
            </p:nvSpPr>
            <p:spPr bwMode="auto">
              <a:xfrm>
                <a:off x="2324801" y="4345608"/>
                <a:ext cx="125184" cy="1392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64" name="Freeform 291">
                <a:extLst>
                  <a:ext uri="{FF2B5EF4-FFF2-40B4-BE49-F238E27FC236}">
                    <a16:creationId xmlns:a16="http://schemas.microsoft.com/office/drawing/2014/main" id="{BD45B9F6-858D-2941-8034-FD9C3989EFC9}"/>
                  </a:ext>
                </a:extLst>
              </p:cNvPr>
              <p:cNvSpPr>
                <a:spLocks noEditPoints="1"/>
              </p:cNvSpPr>
              <p:nvPr/>
            </p:nvSpPr>
            <p:spPr bwMode="auto">
              <a:xfrm>
                <a:off x="1933777" y="3880002"/>
                <a:ext cx="597788" cy="331973"/>
              </a:xfrm>
              <a:custGeom>
                <a:avLst/>
                <a:gdLst>
                  <a:gd name="T0" fmla="*/ 0 w 425"/>
                  <a:gd name="T1" fmla="*/ 0 h 236"/>
                  <a:gd name="T2" fmla="*/ 0 w 425"/>
                  <a:gd name="T3" fmla="*/ 50 h 236"/>
                  <a:gd name="T4" fmla="*/ 425 w 425"/>
                  <a:gd name="T5" fmla="*/ 50 h 236"/>
                  <a:gd name="T6" fmla="*/ 425 w 425"/>
                  <a:gd name="T7" fmla="*/ 0 h 236"/>
                  <a:gd name="T8" fmla="*/ 0 w 425"/>
                  <a:gd name="T9" fmla="*/ 0 h 236"/>
                  <a:gd name="T10" fmla="*/ 0 w 425"/>
                  <a:gd name="T11" fmla="*/ 143 h 236"/>
                  <a:gd name="T12" fmla="*/ 425 w 425"/>
                  <a:gd name="T13" fmla="*/ 143 h 236"/>
                  <a:gd name="T14" fmla="*/ 425 w 425"/>
                  <a:gd name="T15" fmla="*/ 93 h 236"/>
                  <a:gd name="T16" fmla="*/ 0 w 425"/>
                  <a:gd name="T17" fmla="*/ 93 h 236"/>
                  <a:gd name="T18" fmla="*/ 0 w 425"/>
                  <a:gd name="T19" fmla="*/ 143 h 236"/>
                  <a:gd name="T20" fmla="*/ 0 w 425"/>
                  <a:gd name="T21" fmla="*/ 236 h 236"/>
                  <a:gd name="T22" fmla="*/ 425 w 425"/>
                  <a:gd name="T23" fmla="*/ 236 h 236"/>
                  <a:gd name="T24" fmla="*/ 425 w 425"/>
                  <a:gd name="T25" fmla="*/ 186 h 236"/>
                  <a:gd name="T26" fmla="*/ 0 w 425"/>
                  <a:gd name="T27" fmla="*/ 186 h 236"/>
                  <a:gd name="T28" fmla="*/ 0 w 425"/>
                  <a:gd name="T29"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5" h="236">
                    <a:moveTo>
                      <a:pt x="0" y="0"/>
                    </a:moveTo>
                    <a:lnTo>
                      <a:pt x="0" y="50"/>
                    </a:lnTo>
                    <a:lnTo>
                      <a:pt x="425" y="50"/>
                    </a:lnTo>
                    <a:lnTo>
                      <a:pt x="425" y="0"/>
                    </a:lnTo>
                    <a:lnTo>
                      <a:pt x="0" y="0"/>
                    </a:lnTo>
                    <a:close/>
                    <a:moveTo>
                      <a:pt x="0" y="143"/>
                    </a:moveTo>
                    <a:lnTo>
                      <a:pt x="425" y="143"/>
                    </a:lnTo>
                    <a:lnTo>
                      <a:pt x="425" y="93"/>
                    </a:lnTo>
                    <a:lnTo>
                      <a:pt x="0" y="93"/>
                    </a:lnTo>
                    <a:lnTo>
                      <a:pt x="0" y="143"/>
                    </a:lnTo>
                    <a:close/>
                    <a:moveTo>
                      <a:pt x="0" y="236"/>
                    </a:moveTo>
                    <a:lnTo>
                      <a:pt x="425" y="236"/>
                    </a:lnTo>
                    <a:lnTo>
                      <a:pt x="425" y="186"/>
                    </a:lnTo>
                    <a:lnTo>
                      <a:pt x="0" y="186"/>
                    </a:lnTo>
                    <a:lnTo>
                      <a:pt x="0" y="236"/>
                    </a:lnTo>
                    <a:close/>
                  </a:path>
                </a:pathLst>
              </a:custGeom>
              <a:solidFill>
                <a:schemeClr val="tx1">
                  <a:lumMod val="10000"/>
                  <a:lumOff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65" name="Rectangle 292">
                <a:extLst>
                  <a:ext uri="{FF2B5EF4-FFF2-40B4-BE49-F238E27FC236}">
                    <a16:creationId xmlns:a16="http://schemas.microsoft.com/office/drawing/2014/main" id="{BA4D24EA-F0EE-504B-9149-C0C2FDCF1060}"/>
                  </a:ext>
                </a:extLst>
              </p:cNvPr>
              <p:cNvSpPr>
                <a:spLocks noChangeArrowheads="1"/>
              </p:cNvSpPr>
              <p:nvPr/>
            </p:nvSpPr>
            <p:spPr bwMode="auto">
              <a:xfrm>
                <a:off x="1933777" y="3874377"/>
                <a:ext cx="597788" cy="70333"/>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66" name="Rectangle 293">
                <a:extLst>
                  <a:ext uri="{FF2B5EF4-FFF2-40B4-BE49-F238E27FC236}">
                    <a16:creationId xmlns:a16="http://schemas.microsoft.com/office/drawing/2014/main" id="{2E0AC79A-AD4C-AE4D-87A7-461E85DFFDBA}"/>
                  </a:ext>
                </a:extLst>
              </p:cNvPr>
              <p:cNvSpPr>
                <a:spLocks noChangeArrowheads="1"/>
              </p:cNvSpPr>
              <p:nvPr/>
            </p:nvSpPr>
            <p:spPr bwMode="auto">
              <a:xfrm>
                <a:off x="1933777" y="4005192"/>
                <a:ext cx="597788" cy="70333"/>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67" name="Rectangle 294">
                <a:extLst>
                  <a:ext uri="{FF2B5EF4-FFF2-40B4-BE49-F238E27FC236}">
                    <a16:creationId xmlns:a16="http://schemas.microsoft.com/office/drawing/2014/main" id="{D67D9882-3DD8-C74A-BA48-38CB1FF0ECDC}"/>
                  </a:ext>
                </a:extLst>
              </p:cNvPr>
              <p:cNvSpPr>
                <a:spLocks noChangeArrowheads="1"/>
              </p:cNvSpPr>
              <p:nvPr/>
            </p:nvSpPr>
            <p:spPr bwMode="auto">
              <a:xfrm>
                <a:off x="1933777" y="4136015"/>
                <a:ext cx="597788" cy="70333"/>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68" name="Rectangle 295">
                <a:extLst>
                  <a:ext uri="{FF2B5EF4-FFF2-40B4-BE49-F238E27FC236}">
                    <a16:creationId xmlns:a16="http://schemas.microsoft.com/office/drawing/2014/main" id="{2FC36ACE-DA7E-494A-A201-B4ACB9AA5061}"/>
                  </a:ext>
                </a:extLst>
              </p:cNvPr>
              <p:cNvSpPr>
                <a:spLocks noChangeArrowheads="1"/>
              </p:cNvSpPr>
              <p:nvPr/>
            </p:nvSpPr>
            <p:spPr bwMode="auto">
              <a:xfrm>
                <a:off x="2015358" y="4290717"/>
                <a:ext cx="434627" cy="28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69" name="Rectangle 296">
                <a:extLst>
                  <a:ext uri="{FF2B5EF4-FFF2-40B4-BE49-F238E27FC236}">
                    <a16:creationId xmlns:a16="http://schemas.microsoft.com/office/drawing/2014/main" id="{266C40B2-3A7F-3545-82E3-E2D197A74122}"/>
                  </a:ext>
                </a:extLst>
              </p:cNvPr>
              <p:cNvSpPr>
                <a:spLocks noChangeArrowheads="1"/>
              </p:cNvSpPr>
              <p:nvPr/>
            </p:nvSpPr>
            <p:spPr bwMode="auto">
              <a:xfrm>
                <a:off x="2015357" y="4304722"/>
                <a:ext cx="434627" cy="28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70" name="Rectangle 297">
                <a:extLst>
                  <a:ext uri="{FF2B5EF4-FFF2-40B4-BE49-F238E27FC236}">
                    <a16:creationId xmlns:a16="http://schemas.microsoft.com/office/drawing/2014/main" id="{D894A3C3-DFC9-9D47-95EE-E32318095D6D}"/>
                  </a:ext>
                </a:extLst>
              </p:cNvPr>
              <p:cNvSpPr>
                <a:spLocks noChangeArrowheads="1"/>
              </p:cNvSpPr>
              <p:nvPr/>
            </p:nvSpPr>
            <p:spPr bwMode="auto">
              <a:xfrm>
                <a:off x="2015358" y="4318569"/>
                <a:ext cx="434627" cy="42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grpSp>
        <p:grpSp>
          <p:nvGrpSpPr>
            <p:cNvPr id="43" name="Group 42">
              <a:extLst>
                <a:ext uri="{FF2B5EF4-FFF2-40B4-BE49-F238E27FC236}">
                  <a16:creationId xmlns:a16="http://schemas.microsoft.com/office/drawing/2014/main" id="{3294A15E-D545-0B45-A6CD-63E4957EBAE1}"/>
                </a:ext>
              </a:extLst>
            </p:cNvPr>
            <p:cNvGrpSpPr/>
            <p:nvPr/>
          </p:nvGrpSpPr>
          <p:grpSpPr>
            <a:xfrm>
              <a:off x="7867464" y="3855344"/>
              <a:ext cx="492133" cy="942581"/>
              <a:chOff x="5374366" y="803590"/>
              <a:chExt cx="846376" cy="1621062"/>
            </a:xfrm>
          </p:grpSpPr>
          <p:sp>
            <p:nvSpPr>
              <p:cNvPr id="44" name="Rectangle 15">
                <a:extLst>
                  <a:ext uri="{FF2B5EF4-FFF2-40B4-BE49-F238E27FC236}">
                    <a16:creationId xmlns:a16="http://schemas.microsoft.com/office/drawing/2014/main" id="{0642885D-400F-1246-AE97-364E1A486220}"/>
                  </a:ext>
                </a:extLst>
              </p:cNvPr>
              <p:cNvSpPr>
                <a:spLocks noChangeArrowheads="1"/>
              </p:cNvSpPr>
              <p:nvPr/>
            </p:nvSpPr>
            <p:spPr bwMode="auto">
              <a:xfrm>
                <a:off x="5398263" y="907148"/>
                <a:ext cx="798581" cy="151750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5" name="Rectangle 17">
                <a:extLst>
                  <a:ext uri="{FF2B5EF4-FFF2-40B4-BE49-F238E27FC236}">
                    <a16:creationId xmlns:a16="http://schemas.microsoft.com/office/drawing/2014/main" id="{FF0BE298-60C0-E749-9C6B-2B9E61FAFA79}"/>
                  </a:ext>
                </a:extLst>
              </p:cNvPr>
              <p:cNvSpPr>
                <a:spLocks noChangeArrowheads="1"/>
              </p:cNvSpPr>
              <p:nvPr/>
            </p:nvSpPr>
            <p:spPr bwMode="auto">
              <a:xfrm>
                <a:off x="5374366" y="803590"/>
                <a:ext cx="846376" cy="77668"/>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6" name="Freeform 16">
                <a:extLst>
                  <a:ext uri="{FF2B5EF4-FFF2-40B4-BE49-F238E27FC236}">
                    <a16:creationId xmlns:a16="http://schemas.microsoft.com/office/drawing/2014/main" id="{FC5BF795-A8D3-514C-B480-9DBC57DA8D05}"/>
                  </a:ext>
                </a:extLst>
              </p:cNvPr>
              <p:cNvSpPr>
                <a:spLocks noEditPoints="1"/>
              </p:cNvSpPr>
              <p:nvPr/>
            </p:nvSpPr>
            <p:spPr bwMode="auto">
              <a:xfrm>
                <a:off x="5398263" y="907148"/>
                <a:ext cx="798581" cy="1517504"/>
              </a:xfrm>
              <a:custGeom>
                <a:avLst/>
                <a:gdLst>
                  <a:gd name="T0" fmla="*/ 214 w 401"/>
                  <a:gd name="T1" fmla="*/ 517 h 762"/>
                  <a:gd name="T2" fmla="*/ 214 w 401"/>
                  <a:gd name="T3" fmla="*/ 615 h 762"/>
                  <a:gd name="T4" fmla="*/ 363 w 401"/>
                  <a:gd name="T5" fmla="*/ 615 h 762"/>
                  <a:gd name="T6" fmla="*/ 363 w 401"/>
                  <a:gd name="T7" fmla="*/ 517 h 762"/>
                  <a:gd name="T8" fmla="*/ 214 w 401"/>
                  <a:gd name="T9" fmla="*/ 517 h 762"/>
                  <a:gd name="T10" fmla="*/ 39 w 401"/>
                  <a:gd name="T11" fmla="*/ 517 h 762"/>
                  <a:gd name="T12" fmla="*/ 39 w 401"/>
                  <a:gd name="T13" fmla="*/ 615 h 762"/>
                  <a:gd name="T14" fmla="*/ 187 w 401"/>
                  <a:gd name="T15" fmla="*/ 615 h 762"/>
                  <a:gd name="T16" fmla="*/ 187 w 401"/>
                  <a:gd name="T17" fmla="*/ 517 h 762"/>
                  <a:gd name="T18" fmla="*/ 39 w 401"/>
                  <a:gd name="T19" fmla="*/ 517 h 762"/>
                  <a:gd name="T20" fmla="*/ 214 w 401"/>
                  <a:gd name="T21" fmla="*/ 368 h 762"/>
                  <a:gd name="T22" fmla="*/ 214 w 401"/>
                  <a:gd name="T23" fmla="*/ 466 h 762"/>
                  <a:gd name="T24" fmla="*/ 363 w 401"/>
                  <a:gd name="T25" fmla="*/ 466 h 762"/>
                  <a:gd name="T26" fmla="*/ 363 w 401"/>
                  <a:gd name="T27" fmla="*/ 368 h 762"/>
                  <a:gd name="T28" fmla="*/ 214 w 401"/>
                  <a:gd name="T29" fmla="*/ 368 h 762"/>
                  <a:gd name="T30" fmla="*/ 39 w 401"/>
                  <a:gd name="T31" fmla="*/ 368 h 762"/>
                  <a:gd name="T32" fmla="*/ 39 w 401"/>
                  <a:gd name="T33" fmla="*/ 466 h 762"/>
                  <a:gd name="T34" fmla="*/ 187 w 401"/>
                  <a:gd name="T35" fmla="*/ 466 h 762"/>
                  <a:gd name="T36" fmla="*/ 187 w 401"/>
                  <a:gd name="T37" fmla="*/ 368 h 762"/>
                  <a:gd name="T38" fmla="*/ 39 w 401"/>
                  <a:gd name="T39" fmla="*/ 368 h 762"/>
                  <a:gd name="T40" fmla="*/ 214 w 401"/>
                  <a:gd name="T41" fmla="*/ 219 h 762"/>
                  <a:gd name="T42" fmla="*/ 214 w 401"/>
                  <a:gd name="T43" fmla="*/ 317 h 762"/>
                  <a:gd name="T44" fmla="*/ 363 w 401"/>
                  <a:gd name="T45" fmla="*/ 317 h 762"/>
                  <a:gd name="T46" fmla="*/ 363 w 401"/>
                  <a:gd name="T47" fmla="*/ 219 h 762"/>
                  <a:gd name="T48" fmla="*/ 214 w 401"/>
                  <a:gd name="T49" fmla="*/ 219 h 762"/>
                  <a:gd name="T50" fmla="*/ 39 w 401"/>
                  <a:gd name="T51" fmla="*/ 219 h 762"/>
                  <a:gd name="T52" fmla="*/ 39 w 401"/>
                  <a:gd name="T53" fmla="*/ 317 h 762"/>
                  <a:gd name="T54" fmla="*/ 187 w 401"/>
                  <a:gd name="T55" fmla="*/ 317 h 762"/>
                  <a:gd name="T56" fmla="*/ 187 w 401"/>
                  <a:gd name="T57" fmla="*/ 219 h 762"/>
                  <a:gd name="T58" fmla="*/ 39 w 401"/>
                  <a:gd name="T59" fmla="*/ 219 h 762"/>
                  <a:gd name="T60" fmla="*/ 214 w 401"/>
                  <a:gd name="T61" fmla="*/ 72 h 762"/>
                  <a:gd name="T62" fmla="*/ 214 w 401"/>
                  <a:gd name="T63" fmla="*/ 169 h 762"/>
                  <a:gd name="T64" fmla="*/ 363 w 401"/>
                  <a:gd name="T65" fmla="*/ 169 h 762"/>
                  <a:gd name="T66" fmla="*/ 363 w 401"/>
                  <a:gd name="T67" fmla="*/ 72 h 762"/>
                  <a:gd name="T68" fmla="*/ 214 w 401"/>
                  <a:gd name="T69" fmla="*/ 72 h 762"/>
                  <a:gd name="T70" fmla="*/ 39 w 401"/>
                  <a:gd name="T71" fmla="*/ 72 h 762"/>
                  <a:gd name="T72" fmla="*/ 39 w 401"/>
                  <a:gd name="T73" fmla="*/ 169 h 762"/>
                  <a:gd name="T74" fmla="*/ 187 w 401"/>
                  <a:gd name="T75" fmla="*/ 169 h 762"/>
                  <a:gd name="T76" fmla="*/ 187 w 401"/>
                  <a:gd name="T77" fmla="*/ 72 h 762"/>
                  <a:gd name="T78" fmla="*/ 39 w 401"/>
                  <a:gd name="T79" fmla="*/ 72 h 762"/>
                  <a:gd name="T80" fmla="*/ 0 w 401"/>
                  <a:gd name="T81" fmla="*/ 0 h 762"/>
                  <a:gd name="T82" fmla="*/ 401 w 401"/>
                  <a:gd name="T83" fmla="*/ 0 h 762"/>
                  <a:gd name="T84" fmla="*/ 401 w 401"/>
                  <a:gd name="T85" fmla="*/ 762 h 762"/>
                  <a:gd name="T86" fmla="*/ 0 w 401"/>
                  <a:gd name="T87" fmla="*/ 762 h 762"/>
                  <a:gd name="T88" fmla="*/ 0 w 401"/>
                  <a:gd name="T8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1" h="762">
                    <a:moveTo>
                      <a:pt x="214" y="517"/>
                    </a:moveTo>
                    <a:lnTo>
                      <a:pt x="214" y="615"/>
                    </a:lnTo>
                    <a:lnTo>
                      <a:pt x="363" y="615"/>
                    </a:lnTo>
                    <a:lnTo>
                      <a:pt x="363" y="517"/>
                    </a:lnTo>
                    <a:lnTo>
                      <a:pt x="214" y="517"/>
                    </a:lnTo>
                    <a:close/>
                    <a:moveTo>
                      <a:pt x="39" y="517"/>
                    </a:moveTo>
                    <a:lnTo>
                      <a:pt x="39" y="615"/>
                    </a:lnTo>
                    <a:lnTo>
                      <a:pt x="187" y="615"/>
                    </a:lnTo>
                    <a:lnTo>
                      <a:pt x="187" y="517"/>
                    </a:lnTo>
                    <a:lnTo>
                      <a:pt x="39" y="517"/>
                    </a:lnTo>
                    <a:close/>
                    <a:moveTo>
                      <a:pt x="214" y="368"/>
                    </a:moveTo>
                    <a:lnTo>
                      <a:pt x="214" y="466"/>
                    </a:lnTo>
                    <a:lnTo>
                      <a:pt x="363" y="466"/>
                    </a:lnTo>
                    <a:lnTo>
                      <a:pt x="363" y="368"/>
                    </a:lnTo>
                    <a:lnTo>
                      <a:pt x="214" y="368"/>
                    </a:lnTo>
                    <a:close/>
                    <a:moveTo>
                      <a:pt x="39" y="368"/>
                    </a:moveTo>
                    <a:lnTo>
                      <a:pt x="39" y="466"/>
                    </a:lnTo>
                    <a:lnTo>
                      <a:pt x="187" y="466"/>
                    </a:lnTo>
                    <a:lnTo>
                      <a:pt x="187" y="368"/>
                    </a:lnTo>
                    <a:lnTo>
                      <a:pt x="39" y="368"/>
                    </a:lnTo>
                    <a:close/>
                    <a:moveTo>
                      <a:pt x="214" y="219"/>
                    </a:moveTo>
                    <a:lnTo>
                      <a:pt x="214" y="317"/>
                    </a:lnTo>
                    <a:lnTo>
                      <a:pt x="363" y="317"/>
                    </a:lnTo>
                    <a:lnTo>
                      <a:pt x="363" y="219"/>
                    </a:lnTo>
                    <a:lnTo>
                      <a:pt x="214" y="219"/>
                    </a:lnTo>
                    <a:close/>
                    <a:moveTo>
                      <a:pt x="39" y="219"/>
                    </a:moveTo>
                    <a:lnTo>
                      <a:pt x="39" y="317"/>
                    </a:lnTo>
                    <a:lnTo>
                      <a:pt x="187" y="317"/>
                    </a:lnTo>
                    <a:lnTo>
                      <a:pt x="187" y="219"/>
                    </a:lnTo>
                    <a:lnTo>
                      <a:pt x="39" y="219"/>
                    </a:lnTo>
                    <a:close/>
                    <a:moveTo>
                      <a:pt x="214" y="72"/>
                    </a:moveTo>
                    <a:lnTo>
                      <a:pt x="214" y="169"/>
                    </a:lnTo>
                    <a:lnTo>
                      <a:pt x="363" y="169"/>
                    </a:lnTo>
                    <a:lnTo>
                      <a:pt x="363" y="72"/>
                    </a:lnTo>
                    <a:lnTo>
                      <a:pt x="214" y="72"/>
                    </a:lnTo>
                    <a:close/>
                    <a:moveTo>
                      <a:pt x="39" y="72"/>
                    </a:moveTo>
                    <a:lnTo>
                      <a:pt x="39" y="169"/>
                    </a:lnTo>
                    <a:lnTo>
                      <a:pt x="187" y="169"/>
                    </a:lnTo>
                    <a:lnTo>
                      <a:pt x="187" y="72"/>
                    </a:lnTo>
                    <a:lnTo>
                      <a:pt x="39" y="72"/>
                    </a:lnTo>
                    <a:close/>
                    <a:moveTo>
                      <a:pt x="0" y="0"/>
                    </a:moveTo>
                    <a:lnTo>
                      <a:pt x="401" y="0"/>
                    </a:lnTo>
                    <a:lnTo>
                      <a:pt x="401" y="762"/>
                    </a:lnTo>
                    <a:lnTo>
                      <a:pt x="0" y="762"/>
                    </a:lnTo>
                    <a:lnTo>
                      <a:pt x="0" y="0"/>
                    </a:lnTo>
                    <a:close/>
                  </a:path>
                </a:pathLst>
              </a:custGeom>
              <a:solidFill>
                <a:schemeClr val="tx1">
                  <a:lumMod val="10000"/>
                  <a:lumOff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grpSp>
      </p:grpSp>
      <p:sp>
        <p:nvSpPr>
          <p:cNvPr id="189" name="Rounded Rectangle 188">
            <a:extLst>
              <a:ext uri="{FF2B5EF4-FFF2-40B4-BE49-F238E27FC236}">
                <a16:creationId xmlns:a16="http://schemas.microsoft.com/office/drawing/2014/main" id="{B50A7E65-DC5E-7D42-8B61-0B1024F3B868}"/>
              </a:ext>
            </a:extLst>
          </p:cNvPr>
          <p:cNvSpPr>
            <a:spLocks noChangeAspect="1"/>
          </p:cNvSpPr>
          <p:nvPr/>
        </p:nvSpPr>
        <p:spPr>
          <a:xfrm>
            <a:off x="6380267" y="6405307"/>
            <a:ext cx="6199500" cy="472783"/>
          </a:xfrm>
          <a:prstGeom prst="roundRect">
            <a:avLst>
              <a:gd name="adj" fmla="val 50000"/>
            </a:avLst>
          </a:prstGeom>
          <a:solidFill>
            <a:srgbClr val="EDF1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r>
              <a:rPr lang="en-US" sz="1733">
                <a:solidFill>
                  <a:srgbClr val="14284A"/>
                </a:solidFill>
                <a:latin typeface="CiscoSansTT ExtraLight" panose="020B0303020201020303" pitchFamily="34" charset="0"/>
                <a:ea typeface="ＭＳ Ｐゴシック" charset="0"/>
                <a:cs typeface="CiscoSansTT ExtraLight" panose="020B0303020201020303" pitchFamily="34" charset="0"/>
                <a:sym typeface="Arial"/>
              </a:rPr>
              <a:t>Cisco security operations centers</a:t>
            </a:r>
          </a:p>
        </p:txBody>
      </p:sp>
      <p:sp>
        <p:nvSpPr>
          <p:cNvPr id="190" name="Arc 189">
            <a:extLst>
              <a:ext uri="{FF2B5EF4-FFF2-40B4-BE49-F238E27FC236}">
                <a16:creationId xmlns:a16="http://schemas.microsoft.com/office/drawing/2014/main" id="{3A285393-41CC-BC4D-AD36-C3F0C3448795}"/>
              </a:ext>
            </a:extLst>
          </p:cNvPr>
          <p:cNvSpPr/>
          <p:nvPr/>
        </p:nvSpPr>
        <p:spPr>
          <a:xfrm rot="2700000" flipH="1">
            <a:off x="8117768" y="1953976"/>
            <a:ext cx="2293147" cy="2293147"/>
          </a:xfrm>
          <a:prstGeom prst="arc">
            <a:avLst/>
          </a:prstGeom>
          <a:ln w="158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fontAlgn="base">
              <a:spcBef>
                <a:spcPct val="0"/>
              </a:spcBef>
              <a:spcAft>
                <a:spcPct val="0"/>
              </a:spcAft>
              <a:defRPr/>
            </a:pPr>
            <a:endParaRPr lang="en-US" sz="2400">
              <a:solidFill>
                <a:srgbClr val="282828"/>
              </a:solidFill>
              <a:latin typeface="Arial"/>
              <a:sym typeface="Arial"/>
            </a:endParaRPr>
          </a:p>
        </p:txBody>
      </p:sp>
      <p:sp>
        <p:nvSpPr>
          <p:cNvPr id="191" name="Rectangle 190">
            <a:extLst>
              <a:ext uri="{FF2B5EF4-FFF2-40B4-BE49-F238E27FC236}">
                <a16:creationId xmlns:a16="http://schemas.microsoft.com/office/drawing/2014/main" id="{920D879A-A937-FD42-893C-C52EEEE70BE4}"/>
              </a:ext>
            </a:extLst>
          </p:cNvPr>
          <p:cNvSpPr/>
          <p:nvPr/>
        </p:nvSpPr>
        <p:spPr>
          <a:xfrm>
            <a:off x="292813" y="1739631"/>
            <a:ext cx="6383295" cy="4737703"/>
          </a:xfrm>
          <a:prstGeom prst="rect">
            <a:avLst/>
          </a:prstGeom>
          <a:noFill/>
          <a:ln w="15875" cap="rnd">
            <a:solidFill>
              <a:srgbClr val="BBCDDF"/>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Arial"/>
              <a:sym typeface="Arial"/>
            </a:endParaRPr>
          </a:p>
        </p:txBody>
      </p:sp>
      <p:sp>
        <p:nvSpPr>
          <p:cNvPr id="192" name="Freeform 57">
            <a:extLst>
              <a:ext uri="{FF2B5EF4-FFF2-40B4-BE49-F238E27FC236}">
                <a16:creationId xmlns:a16="http://schemas.microsoft.com/office/drawing/2014/main" id="{B916EB8E-FBE5-A04D-91DE-E2F9EF164B8D}"/>
              </a:ext>
            </a:extLst>
          </p:cNvPr>
          <p:cNvSpPr>
            <a:spLocks/>
          </p:cNvSpPr>
          <p:nvPr/>
        </p:nvSpPr>
        <p:spPr bwMode="auto">
          <a:xfrm flipH="1">
            <a:off x="3411475" y="1673243"/>
            <a:ext cx="1416835" cy="778307"/>
          </a:xfrm>
          <a:custGeom>
            <a:avLst/>
            <a:gdLst>
              <a:gd name="connsiteX0" fmla="*/ 733902 w 1210718"/>
              <a:gd name="connsiteY0" fmla="*/ 0 h 599742"/>
              <a:gd name="connsiteX1" fmla="*/ 882562 w 1210718"/>
              <a:gd name="connsiteY1" fmla="*/ 0 h 599742"/>
              <a:gd name="connsiteX2" fmla="*/ 1015293 w 1210718"/>
              <a:gd name="connsiteY2" fmla="*/ 127622 h 599742"/>
              <a:gd name="connsiteX3" fmla="*/ 1006776 w 1210718"/>
              <a:gd name="connsiteY3" fmla="*/ 170827 h 599742"/>
              <a:gd name="connsiteX4" fmla="*/ 1046952 w 1210718"/>
              <a:gd name="connsiteY4" fmla="*/ 178771 h 599742"/>
              <a:gd name="connsiteX5" fmla="*/ 1127605 w 1210718"/>
              <a:gd name="connsiteY5" fmla="*/ 301408 h 599742"/>
              <a:gd name="connsiteX6" fmla="*/ 1118155 w 1210718"/>
              <a:gd name="connsiteY6" fmla="*/ 346509 h 599742"/>
              <a:gd name="connsiteX7" fmla="*/ 1132310 w 1210718"/>
              <a:gd name="connsiteY7" fmla="*/ 349483 h 599742"/>
              <a:gd name="connsiteX8" fmla="*/ 1210718 w 1210718"/>
              <a:gd name="connsiteY8" fmla="*/ 472120 h 599742"/>
              <a:gd name="connsiteX9" fmla="*/ 1083274 w 1210718"/>
              <a:gd name="connsiteY9" fmla="*/ 599742 h 599742"/>
              <a:gd name="connsiteX10" fmla="*/ 127444 w 1210718"/>
              <a:gd name="connsiteY10" fmla="*/ 599742 h 599742"/>
              <a:gd name="connsiteX11" fmla="*/ 0 w 1210718"/>
              <a:gd name="connsiteY11" fmla="*/ 472120 h 599742"/>
              <a:gd name="connsiteX12" fmla="*/ 127444 w 1210718"/>
              <a:gd name="connsiteY12" fmla="*/ 339180 h 599742"/>
              <a:gd name="connsiteX13" fmla="*/ 275151 w 1210718"/>
              <a:gd name="connsiteY13" fmla="*/ 339180 h 599742"/>
              <a:gd name="connsiteX14" fmla="*/ 267300 w 1210718"/>
              <a:gd name="connsiteY14" fmla="*/ 301408 h 599742"/>
              <a:gd name="connsiteX15" fmla="*/ 394753 w 1210718"/>
              <a:gd name="connsiteY15" fmla="*/ 168468 h 599742"/>
              <a:gd name="connsiteX16" fmla="*/ 592829 w 1210718"/>
              <a:gd name="connsiteY16" fmla="*/ 168468 h 599742"/>
              <a:gd name="connsiteX17" fmla="*/ 614468 w 1210718"/>
              <a:gd name="connsiteY17" fmla="*/ 168468 h 599742"/>
              <a:gd name="connsiteX18" fmla="*/ 606480 w 1210718"/>
              <a:gd name="connsiteY18" fmla="*/ 127622 h 599742"/>
              <a:gd name="connsiteX19" fmla="*/ 733902 w 1210718"/>
              <a:gd name="connsiteY19" fmla="*/ 0 h 59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0718" h="599742">
                <a:moveTo>
                  <a:pt x="733902" y="0"/>
                </a:moveTo>
                <a:cubicBezTo>
                  <a:pt x="882562" y="0"/>
                  <a:pt x="882562" y="0"/>
                  <a:pt x="882562" y="0"/>
                </a:cubicBezTo>
                <a:cubicBezTo>
                  <a:pt x="956891" y="0"/>
                  <a:pt x="1015293" y="58493"/>
                  <a:pt x="1015293" y="127622"/>
                </a:cubicBezTo>
                <a:lnTo>
                  <a:pt x="1006776" y="170827"/>
                </a:lnTo>
                <a:lnTo>
                  <a:pt x="1046952" y="178771"/>
                </a:lnTo>
                <a:cubicBezTo>
                  <a:pt x="1094746" y="198712"/>
                  <a:pt x="1127605" y="245573"/>
                  <a:pt x="1127605" y="301408"/>
                </a:cubicBezTo>
                <a:lnTo>
                  <a:pt x="1118155" y="346509"/>
                </a:lnTo>
                <a:lnTo>
                  <a:pt x="1132310" y="349483"/>
                </a:lnTo>
                <a:cubicBezTo>
                  <a:pt x="1177862" y="369424"/>
                  <a:pt x="1210718" y="416285"/>
                  <a:pt x="1210718" y="472120"/>
                </a:cubicBezTo>
                <a:cubicBezTo>
                  <a:pt x="1210718" y="541249"/>
                  <a:pt x="1152306" y="599742"/>
                  <a:pt x="1083274" y="599742"/>
                </a:cubicBezTo>
                <a:cubicBezTo>
                  <a:pt x="127444" y="599742"/>
                  <a:pt x="127444" y="599742"/>
                  <a:pt x="127444" y="599742"/>
                </a:cubicBezTo>
                <a:cubicBezTo>
                  <a:pt x="58412" y="599742"/>
                  <a:pt x="0" y="541249"/>
                  <a:pt x="0" y="472120"/>
                </a:cubicBezTo>
                <a:cubicBezTo>
                  <a:pt x="0" y="397674"/>
                  <a:pt x="58412" y="339180"/>
                  <a:pt x="127444" y="339180"/>
                </a:cubicBezTo>
                <a:lnTo>
                  <a:pt x="275151" y="339180"/>
                </a:lnTo>
                <a:lnTo>
                  <a:pt x="267300" y="301408"/>
                </a:lnTo>
                <a:cubicBezTo>
                  <a:pt x="267300" y="226961"/>
                  <a:pt x="325716" y="168468"/>
                  <a:pt x="394753" y="168468"/>
                </a:cubicBezTo>
                <a:cubicBezTo>
                  <a:pt x="469764" y="168468"/>
                  <a:pt x="535399" y="168468"/>
                  <a:pt x="592829" y="168468"/>
                </a:cubicBezTo>
                <a:lnTo>
                  <a:pt x="614468" y="168468"/>
                </a:lnTo>
                <a:lnTo>
                  <a:pt x="606480" y="127622"/>
                </a:lnTo>
                <a:cubicBezTo>
                  <a:pt x="606480" y="58493"/>
                  <a:pt x="664882" y="0"/>
                  <a:pt x="733902" y="0"/>
                </a:cubicBezTo>
                <a:close/>
              </a:path>
            </a:pathLst>
          </a:custGeom>
          <a:solidFill>
            <a:srgbClr val="EDF1F7"/>
          </a:solidFill>
          <a:ln>
            <a:noFill/>
          </a:ln>
        </p:spPr>
        <p:txBody>
          <a:bodyPr vert="horz" wrap="square" lIns="0" tIns="45720" rIns="91440" bIns="45720" numCol="1" anchor="b" anchorCtr="0" compatLnSpc="1">
            <a:prstTxWarp prst="textNoShape">
              <a:avLst/>
            </a:prstTxWarp>
            <a:noAutofit/>
          </a:bodyPr>
          <a:lstStyle/>
          <a:p>
            <a:pPr algn="ctr" defTabSz="457189" fontAlgn="base">
              <a:spcBef>
                <a:spcPct val="0"/>
              </a:spcBef>
              <a:spcAft>
                <a:spcPct val="0"/>
              </a:spcAft>
              <a:defRPr/>
            </a:pPr>
            <a:endParaRPr lang="en-US" sz="1100">
              <a:solidFill>
                <a:srgbClr val="676767"/>
              </a:solidFill>
              <a:latin typeface="Arial"/>
              <a:ea typeface="ＭＳ Ｐゴシック" charset="0"/>
              <a:cs typeface="Arial"/>
              <a:sym typeface="Arial"/>
            </a:endParaRPr>
          </a:p>
        </p:txBody>
      </p:sp>
      <p:sp>
        <p:nvSpPr>
          <p:cNvPr id="194" name="Freeform 56">
            <a:extLst>
              <a:ext uri="{FF2B5EF4-FFF2-40B4-BE49-F238E27FC236}">
                <a16:creationId xmlns:a16="http://schemas.microsoft.com/office/drawing/2014/main" id="{EDC20099-870E-7541-BEB3-8E8C10CB54CB}"/>
              </a:ext>
            </a:extLst>
          </p:cNvPr>
          <p:cNvSpPr>
            <a:spLocks/>
          </p:cNvSpPr>
          <p:nvPr/>
        </p:nvSpPr>
        <p:spPr bwMode="auto">
          <a:xfrm flipH="1">
            <a:off x="153131" y="1467570"/>
            <a:ext cx="1446551" cy="778308"/>
          </a:xfrm>
          <a:custGeom>
            <a:avLst/>
            <a:gdLst>
              <a:gd name="connsiteX0" fmla="*/ 733902 w 1210718"/>
              <a:gd name="connsiteY0" fmla="*/ 0 h 599742"/>
              <a:gd name="connsiteX1" fmla="*/ 882562 w 1210718"/>
              <a:gd name="connsiteY1" fmla="*/ 0 h 599742"/>
              <a:gd name="connsiteX2" fmla="*/ 1015293 w 1210718"/>
              <a:gd name="connsiteY2" fmla="*/ 127622 h 599742"/>
              <a:gd name="connsiteX3" fmla="*/ 1006776 w 1210718"/>
              <a:gd name="connsiteY3" fmla="*/ 170827 h 599742"/>
              <a:gd name="connsiteX4" fmla="*/ 1046952 w 1210718"/>
              <a:gd name="connsiteY4" fmla="*/ 178771 h 599742"/>
              <a:gd name="connsiteX5" fmla="*/ 1127605 w 1210718"/>
              <a:gd name="connsiteY5" fmla="*/ 301408 h 599742"/>
              <a:gd name="connsiteX6" fmla="*/ 1118155 w 1210718"/>
              <a:gd name="connsiteY6" fmla="*/ 346509 h 599742"/>
              <a:gd name="connsiteX7" fmla="*/ 1132310 w 1210718"/>
              <a:gd name="connsiteY7" fmla="*/ 349483 h 599742"/>
              <a:gd name="connsiteX8" fmla="*/ 1210718 w 1210718"/>
              <a:gd name="connsiteY8" fmla="*/ 472120 h 599742"/>
              <a:gd name="connsiteX9" fmla="*/ 1083274 w 1210718"/>
              <a:gd name="connsiteY9" fmla="*/ 599742 h 599742"/>
              <a:gd name="connsiteX10" fmla="*/ 127444 w 1210718"/>
              <a:gd name="connsiteY10" fmla="*/ 599742 h 599742"/>
              <a:gd name="connsiteX11" fmla="*/ 0 w 1210718"/>
              <a:gd name="connsiteY11" fmla="*/ 472120 h 599742"/>
              <a:gd name="connsiteX12" fmla="*/ 127444 w 1210718"/>
              <a:gd name="connsiteY12" fmla="*/ 339180 h 599742"/>
              <a:gd name="connsiteX13" fmla="*/ 275151 w 1210718"/>
              <a:gd name="connsiteY13" fmla="*/ 339180 h 599742"/>
              <a:gd name="connsiteX14" fmla="*/ 267300 w 1210718"/>
              <a:gd name="connsiteY14" fmla="*/ 301408 h 599742"/>
              <a:gd name="connsiteX15" fmla="*/ 394753 w 1210718"/>
              <a:gd name="connsiteY15" fmla="*/ 168468 h 599742"/>
              <a:gd name="connsiteX16" fmla="*/ 592829 w 1210718"/>
              <a:gd name="connsiteY16" fmla="*/ 168468 h 599742"/>
              <a:gd name="connsiteX17" fmla="*/ 614468 w 1210718"/>
              <a:gd name="connsiteY17" fmla="*/ 168468 h 599742"/>
              <a:gd name="connsiteX18" fmla="*/ 606480 w 1210718"/>
              <a:gd name="connsiteY18" fmla="*/ 127622 h 599742"/>
              <a:gd name="connsiteX19" fmla="*/ 733902 w 1210718"/>
              <a:gd name="connsiteY19" fmla="*/ 0 h 59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0718" h="599742">
                <a:moveTo>
                  <a:pt x="733902" y="0"/>
                </a:moveTo>
                <a:cubicBezTo>
                  <a:pt x="882562" y="0"/>
                  <a:pt x="882562" y="0"/>
                  <a:pt x="882562" y="0"/>
                </a:cubicBezTo>
                <a:cubicBezTo>
                  <a:pt x="956891" y="0"/>
                  <a:pt x="1015293" y="58493"/>
                  <a:pt x="1015293" y="127622"/>
                </a:cubicBezTo>
                <a:lnTo>
                  <a:pt x="1006776" y="170827"/>
                </a:lnTo>
                <a:lnTo>
                  <a:pt x="1046952" y="178771"/>
                </a:lnTo>
                <a:cubicBezTo>
                  <a:pt x="1094746" y="198712"/>
                  <a:pt x="1127605" y="245573"/>
                  <a:pt x="1127605" y="301408"/>
                </a:cubicBezTo>
                <a:lnTo>
                  <a:pt x="1118155" y="346509"/>
                </a:lnTo>
                <a:lnTo>
                  <a:pt x="1132310" y="349483"/>
                </a:lnTo>
                <a:cubicBezTo>
                  <a:pt x="1177862" y="369424"/>
                  <a:pt x="1210718" y="416285"/>
                  <a:pt x="1210718" y="472120"/>
                </a:cubicBezTo>
                <a:cubicBezTo>
                  <a:pt x="1210718" y="541249"/>
                  <a:pt x="1152306" y="599742"/>
                  <a:pt x="1083274" y="599742"/>
                </a:cubicBezTo>
                <a:cubicBezTo>
                  <a:pt x="127444" y="599742"/>
                  <a:pt x="127444" y="599742"/>
                  <a:pt x="127444" y="599742"/>
                </a:cubicBezTo>
                <a:cubicBezTo>
                  <a:pt x="58412" y="599742"/>
                  <a:pt x="0" y="541249"/>
                  <a:pt x="0" y="472120"/>
                </a:cubicBezTo>
                <a:cubicBezTo>
                  <a:pt x="0" y="397674"/>
                  <a:pt x="58412" y="339180"/>
                  <a:pt x="127444" y="339180"/>
                </a:cubicBezTo>
                <a:lnTo>
                  <a:pt x="275151" y="339180"/>
                </a:lnTo>
                <a:lnTo>
                  <a:pt x="267300" y="301408"/>
                </a:lnTo>
                <a:cubicBezTo>
                  <a:pt x="267300" y="226961"/>
                  <a:pt x="325716" y="168468"/>
                  <a:pt x="394753" y="168468"/>
                </a:cubicBezTo>
                <a:cubicBezTo>
                  <a:pt x="469764" y="168468"/>
                  <a:pt x="535399" y="168468"/>
                  <a:pt x="592829" y="168468"/>
                </a:cubicBezTo>
                <a:lnTo>
                  <a:pt x="614468" y="168468"/>
                </a:lnTo>
                <a:lnTo>
                  <a:pt x="606480" y="127622"/>
                </a:lnTo>
                <a:cubicBezTo>
                  <a:pt x="606480" y="58493"/>
                  <a:pt x="664882" y="0"/>
                  <a:pt x="733902" y="0"/>
                </a:cubicBezTo>
                <a:close/>
              </a:path>
            </a:pathLst>
          </a:custGeom>
          <a:solidFill>
            <a:srgbClr val="EDF1F7"/>
          </a:solidFill>
          <a:ln>
            <a:noFill/>
          </a:ln>
        </p:spPr>
        <p:txBody>
          <a:bodyPr vert="horz" wrap="square" lIns="0" tIns="45720" rIns="91440" bIns="45720" numCol="1" anchor="b" anchorCtr="0" compatLnSpc="1">
            <a:prstTxWarp prst="textNoShape">
              <a:avLst/>
            </a:prstTxWarp>
            <a:noAutofit/>
          </a:bodyPr>
          <a:lstStyle/>
          <a:p>
            <a:pPr algn="ctr" defTabSz="457189" fontAlgn="base">
              <a:spcBef>
                <a:spcPct val="0"/>
              </a:spcBef>
              <a:spcAft>
                <a:spcPct val="0"/>
              </a:spcAft>
              <a:defRPr/>
            </a:pPr>
            <a:endParaRPr lang="en-US" sz="1100">
              <a:solidFill>
                <a:srgbClr val="676767"/>
              </a:solidFill>
              <a:latin typeface="Arial"/>
              <a:ea typeface="ＭＳ Ｐゴシック" charset="0"/>
              <a:cs typeface="Arial"/>
              <a:sym typeface="Arial"/>
            </a:endParaRPr>
          </a:p>
        </p:txBody>
      </p:sp>
      <p:sp>
        <p:nvSpPr>
          <p:cNvPr id="196" name="TextBox 195">
            <a:extLst>
              <a:ext uri="{FF2B5EF4-FFF2-40B4-BE49-F238E27FC236}">
                <a16:creationId xmlns:a16="http://schemas.microsoft.com/office/drawing/2014/main" id="{7F7AC7AD-8FAD-AD4C-AC59-931917FEB59F}"/>
              </a:ext>
            </a:extLst>
          </p:cNvPr>
          <p:cNvSpPr txBox="1"/>
          <p:nvPr/>
        </p:nvSpPr>
        <p:spPr>
          <a:xfrm>
            <a:off x="203864" y="2208689"/>
            <a:ext cx="1345085" cy="246221"/>
          </a:xfrm>
          <a:prstGeom prst="rect">
            <a:avLst/>
          </a:prstGeom>
          <a:noFill/>
        </p:spPr>
        <p:txBody>
          <a:bodyPr wrap="square" rtlCol="0">
            <a:spAutoFit/>
          </a:bodyPr>
          <a:lstStyle/>
          <a:p>
            <a:pPr algn="ctr" defTabSz="457189" fontAlgn="base">
              <a:spcBef>
                <a:spcPct val="0"/>
              </a:spcBef>
              <a:spcAft>
                <a:spcPct val="0"/>
              </a:spcAft>
              <a:defRPr/>
            </a:pPr>
            <a:r>
              <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Private cloud</a:t>
            </a:r>
          </a:p>
        </p:txBody>
      </p:sp>
      <p:grpSp>
        <p:nvGrpSpPr>
          <p:cNvPr id="197" name="Group 164">
            <a:extLst>
              <a:ext uri="{FF2B5EF4-FFF2-40B4-BE49-F238E27FC236}">
                <a16:creationId xmlns:a16="http://schemas.microsoft.com/office/drawing/2014/main" id="{ABE36EF7-2531-CE44-8C7A-05FDADB5C5D6}"/>
              </a:ext>
            </a:extLst>
          </p:cNvPr>
          <p:cNvGrpSpPr>
            <a:grpSpLocks noChangeAspect="1"/>
          </p:cNvGrpSpPr>
          <p:nvPr/>
        </p:nvGrpSpPr>
        <p:grpSpPr bwMode="auto">
          <a:xfrm>
            <a:off x="3981484" y="1996908"/>
            <a:ext cx="317523" cy="355995"/>
            <a:chOff x="2701" y="1447"/>
            <a:chExt cx="356" cy="347"/>
          </a:xfrm>
        </p:grpSpPr>
        <p:sp>
          <p:nvSpPr>
            <p:cNvPr id="198" name="Freeform 165">
              <a:extLst>
                <a:ext uri="{FF2B5EF4-FFF2-40B4-BE49-F238E27FC236}">
                  <a16:creationId xmlns:a16="http://schemas.microsoft.com/office/drawing/2014/main" id="{18C27D8A-43F9-5445-B66E-E45D4E01D554}"/>
                </a:ext>
              </a:extLst>
            </p:cNvPr>
            <p:cNvSpPr>
              <a:spLocks/>
            </p:cNvSpPr>
            <p:nvPr/>
          </p:nvSpPr>
          <p:spPr bwMode="auto">
            <a:xfrm>
              <a:off x="2824" y="1605"/>
              <a:ext cx="55" cy="189"/>
            </a:xfrm>
            <a:custGeom>
              <a:avLst/>
              <a:gdLst>
                <a:gd name="T0" fmla="*/ 0 w 44"/>
                <a:gd name="T1" fmla="*/ 135 h 157"/>
                <a:gd name="T2" fmla="*/ 22 w 44"/>
                <a:gd name="T3" fmla="*/ 157 h 157"/>
                <a:gd name="T4" fmla="*/ 44 w 44"/>
                <a:gd name="T5" fmla="*/ 135 h 157"/>
                <a:gd name="T6" fmla="*/ 44 w 44"/>
                <a:gd name="T7" fmla="*/ 0 h 157"/>
              </a:gdLst>
              <a:ahLst/>
              <a:cxnLst>
                <a:cxn ang="0">
                  <a:pos x="T0" y="T1"/>
                </a:cxn>
                <a:cxn ang="0">
                  <a:pos x="T2" y="T3"/>
                </a:cxn>
                <a:cxn ang="0">
                  <a:pos x="T4" y="T5"/>
                </a:cxn>
                <a:cxn ang="0">
                  <a:pos x="T6" y="T7"/>
                </a:cxn>
              </a:cxnLst>
              <a:rect l="0" t="0" r="r" b="b"/>
              <a:pathLst>
                <a:path w="44" h="157">
                  <a:moveTo>
                    <a:pt x="0" y="135"/>
                  </a:moveTo>
                  <a:cubicBezTo>
                    <a:pt x="0" y="147"/>
                    <a:pt x="10" y="157"/>
                    <a:pt x="22" y="157"/>
                  </a:cubicBezTo>
                  <a:cubicBezTo>
                    <a:pt x="34" y="157"/>
                    <a:pt x="44" y="147"/>
                    <a:pt x="44" y="135"/>
                  </a:cubicBezTo>
                  <a:cubicBezTo>
                    <a:pt x="44" y="0"/>
                    <a:pt x="44" y="0"/>
                    <a:pt x="44" y="0"/>
                  </a:cubicBezTo>
                </a:path>
              </a:pathLst>
            </a:custGeom>
            <a:noFill/>
            <a:ln w="381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a:solidFill>
                  <a:srgbClr val="282828"/>
                </a:solidFill>
                <a:latin typeface="Arial"/>
                <a:ea typeface="ＭＳ Ｐゴシック" charset="0"/>
                <a:cs typeface="Arial"/>
                <a:sym typeface="Arial"/>
              </a:endParaRPr>
            </a:p>
          </p:txBody>
        </p:sp>
        <p:sp>
          <p:nvSpPr>
            <p:cNvPr id="199" name="Line 166">
              <a:extLst>
                <a:ext uri="{FF2B5EF4-FFF2-40B4-BE49-F238E27FC236}">
                  <a16:creationId xmlns:a16="http://schemas.microsoft.com/office/drawing/2014/main" id="{4D56F7BF-D780-2E4C-8896-F6129F45DAA3}"/>
                </a:ext>
              </a:extLst>
            </p:cNvPr>
            <p:cNvSpPr>
              <a:spLocks noChangeShapeType="1"/>
            </p:cNvSpPr>
            <p:nvPr/>
          </p:nvSpPr>
          <p:spPr bwMode="auto">
            <a:xfrm flipV="1">
              <a:off x="2879" y="1447"/>
              <a:ext cx="0" cy="270"/>
            </a:xfrm>
            <a:prstGeom prst="line">
              <a:avLst/>
            </a:prstGeom>
            <a:noFill/>
            <a:ln w="38100" cap="rnd">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a:solidFill>
                  <a:srgbClr val="282828"/>
                </a:solidFill>
                <a:latin typeface="Arial"/>
                <a:ea typeface="ＭＳ Ｐゴシック" charset="0"/>
                <a:cs typeface="Arial"/>
                <a:sym typeface="Arial"/>
              </a:endParaRPr>
            </a:p>
          </p:txBody>
        </p:sp>
        <p:sp>
          <p:nvSpPr>
            <p:cNvPr id="200" name="Freeform 167">
              <a:extLst>
                <a:ext uri="{FF2B5EF4-FFF2-40B4-BE49-F238E27FC236}">
                  <a16:creationId xmlns:a16="http://schemas.microsoft.com/office/drawing/2014/main" id="{102478C3-E7BC-924E-A6AF-CA90678FA995}"/>
                </a:ext>
              </a:extLst>
            </p:cNvPr>
            <p:cNvSpPr>
              <a:spLocks/>
            </p:cNvSpPr>
            <p:nvPr/>
          </p:nvSpPr>
          <p:spPr bwMode="auto">
            <a:xfrm>
              <a:off x="2701" y="1470"/>
              <a:ext cx="356" cy="173"/>
            </a:xfrm>
            <a:custGeom>
              <a:avLst/>
              <a:gdLst>
                <a:gd name="T0" fmla="*/ 0 w 288"/>
                <a:gd name="T1" fmla="*/ 144 h 144"/>
                <a:gd name="T2" fmla="*/ 144 w 288"/>
                <a:gd name="T3" fmla="*/ 0 h 144"/>
                <a:gd name="T4" fmla="*/ 288 w 288"/>
                <a:gd name="T5" fmla="*/ 144 h 144"/>
                <a:gd name="T6" fmla="*/ 0 w 288"/>
                <a:gd name="T7" fmla="*/ 144 h 144"/>
              </a:gdLst>
              <a:ahLst/>
              <a:cxnLst>
                <a:cxn ang="0">
                  <a:pos x="T0" y="T1"/>
                </a:cxn>
                <a:cxn ang="0">
                  <a:pos x="T2" y="T3"/>
                </a:cxn>
                <a:cxn ang="0">
                  <a:pos x="T4" y="T5"/>
                </a:cxn>
                <a:cxn ang="0">
                  <a:pos x="T6" y="T7"/>
                </a:cxn>
              </a:cxnLst>
              <a:rect l="0" t="0" r="r" b="b"/>
              <a:pathLst>
                <a:path w="288" h="144">
                  <a:moveTo>
                    <a:pt x="0" y="144"/>
                  </a:moveTo>
                  <a:cubicBezTo>
                    <a:pt x="0" y="64"/>
                    <a:pt x="65" y="0"/>
                    <a:pt x="144" y="0"/>
                  </a:cubicBezTo>
                  <a:cubicBezTo>
                    <a:pt x="224" y="0"/>
                    <a:pt x="288" y="64"/>
                    <a:pt x="288" y="144"/>
                  </a:cubicBezTo>
                  <a:lnTo>
                    <a:pt x="0" y="14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a:solidFill>
                  <a:srgbClr val="282828"/>
                </a:solidFill>
                <a:latin typeface="Arial"/>
                <a:ea typeface="ＭＳ Ｐゴシック" charset="0"/>
                <a:cs typeface="Arial"/>
                <a:sym typeface="Arial"/>
              </a:endParaRPr>
            </a:p>
          </p:txBody>
        </p:sp>
      </p:grpSp>
      <p:sp>
        <p:nvSpPr>
          <p:cNvPr id="201" name="Rectangle 32">
            <a:extLst>
              <a:ext uri="{FF2B5EF4-FFF2-40B4-BE49-F238E27FC236}">
                <a16:creationId xmlns:a16="http://schemas.microsoft.com/office/drawing/2014/main" id="{DE620CDC-6329-984D-BE57-A3DE2D0F73FC}"/>
              </a:ext>
            </a:extLst>
          </p:cNvPr>
          <p:cNvSpPr/>
          <p:nvPr/>
        </p:nvSpPr>
        <p:spPr>
          <a:xfrm rot="5400000">
            <a:off x="1441836" y="1173061"/>
            <a:ext cx="411477" cy="2578339"/>
          </a:xfrm>
          <a:custGeom>
            <a:avLst/>
            <a:gdLst>
              <a:gd name="connsiteX0" fmla="*/ 0 w 713716"/>
              <a:gd name="connsiteY0" fmla="*/ 0 h 1302683"/>
              <a:gd name="connsiteX1" fmla="*/ 713716 w 713716"/>
              <a:gd name="connsiteY1" fmla="*/ 0 h 1302683"/>
              <a:gd name="connsiteX2" fmla="*/ 713716 w 713716"/>
              <a:gd name="connsiteY2" fmla="*/ 1302683 h 1302683"/>
              <a:gd name="connsiteX3" fmla="*/ 0 w 713716"/>
              <a:gd name="connsiteY3" fmla="*/ 1302683 h 1302683"/>
              <a:gd name="connsiteX4" fmla="*/ 0 w 713716"/>
              <a:gd name="connsiteY4" fmla="*/ 0 h 1302683"/>
              <a:gd name="connsiteX0" fmla="*/ 0 w 713716"/>
              <a:gd name="connsiteY0" fmla="*/ 0 h 1302683"/>
              <a:gd name="connsiteX1" fmla="*/ 713716 w 713716"/>
              <a:gd name="connsiteY1" fmla="*/ 0 h 1302683"/>
              <a:gd name="connsiteX2" fmla="*/ 713716 w 713716"/>
              <a:gd name="connsiteY2" fmla="*/ 1302683 h 1302683"/>
              <a:gd name="connsiteX3" fmla="*/ 0 w 713716"/>
              <a:gd name="connsiteY3" fmla="*/ 1302683 h 1302683"/>
              <a:gd name="connsiteX4" fmla="*/ 91440 w 713716"/>
              <a:gd name="connsiteY4" fmla="*/ 91440 h 1302683"/>
              <a:gd name="connsiteX0" fmla="*/ 0 w 713716"/>
              <a:gd name="connsiteY0" fmla="*/ 0 h 1302683"/>
              <a:gd name="connsiteX1" fmla="*/ 713716 w 713716"/>
              <a:gd name="connsiteY1" fmla="*/ 0 h 1302683"/>
              <a:gd name="connsiteX2" fmla="*/ 713716 w 713716"/>
              <a:gd name="connsiteY2" fmla="*/ 1302683 h 1302683"/>
              <a:gd name="connsiteX3" fmla="*/ 0 w 713716"/>
              <a:gd name="connsiteY3" fmla="*/ 1302683 h 1302683"/>
            </a:gdLst>
            <a:ahLst/>
            <a:cxnLst>
              <a:cxn ang="0">
                <a:pos x="connsiteX0" y="connsiteY0"/>
              </a:cxn>
              <a:cxn ang="0">
                <a:pos x="connsiteX1" y="connsiteY1"/>
              </a:cxn>
              <a:cxn ang="0">
                <a:pos x="connsiteX2" y="connsiteY2"/>
              </a:cxn>
              <a:cxn ang="0">
                <a:pos x="connsiteX3" y="connsiteY3"/>
              </a:cxn>
            </a:cxnLst>
            <a:rect l="l" t="t" r="r" b="b"/>
            <a:pathLst>
              <a:path w="713716" h="1302683">
                <a:moveTo>
                  <a:pt x="0" y="0"/>
                </a:moveTo>
                <a:lnTo>
                  <a:pt x="713716" y="0"/>
                </a:lnTo>
                <a:lnTo>
                  <a:pt x="713716" y="1302683"/>
                </a:lnTo>
                <a:lnTo>
                  <a:pt x="0" y="1302683"/>
                </a:lnTo>
              </a:path>
            </a:pathLst>
          </a:custGeom>
          <a:noFill/>
          <a:ln w="1270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base">
              <a:spcBef>
                <a:spcPct val="0"/>
              </a:spcBef>
              <a:spcAft>
                <a:spcPct val="0"/>
              </a:spcAft>
              <a:defRPr/>
            </a:pPr>
            <a:endParaRPr lang="en-US" sz="2000">
              <a:solidFill>
                <a:srgbClr val="005073"/>
              </a:solidFill>
              <a:latin typeface="Arial"/>
              <a:sym typeface="Arial"/>
            </a:endParaRPr>
          </a:p>
        </p:txBody>
      </p:sp>
      <p:sp>
        <p:nvSpPr>
          <p:cNvPr id="203" name="TextBox 202">
            <a:extLst>
              <a:ext uri="{FF2B5EF4-FFF2-40B4-BE49-F238E27FC236}">
                <a16:creationId xmlns:a16="http://schemas.microsoft.com/office/drawing/2014/main" id="{572D91B5-27FE-2946-8E61-59FF1CD2F266}"/>
              </a:ext>
            </a:extLst>
          </p:cNvPr>
          <p:cNvSpPr txBox="1"/>
          <p:nvPr/>
        </p:nvSpPr>
        <p:spPr>
          <a:xfrm>
            <a:off x="1704778" y="2208689"/>
            <a:ext cx="1345085" cy="246221"/>
          </a:xfrm>
          <a:prstGeom prst="rect">
            <a:avLst/>
          </a:prstGeom>
          <a:noFill/>
        </p:spPr>
        <p:txBody>
          <a:bodyPr wrap="square" rtlCol="0">
            <a:spAutoFit/>
          </a:bodyPr>
          <a:lstStyle/>
          <a:p>
            <a:pPr algn="ctr" defTabSz="457189" fontAlgn="base">
              <a:spcBef>
                <a:spcPct val="0"/>
              </a:spcBef>
              <a:spcAft>
                <a:spcPct val="0"/>
              </a:spcAft>
              <a:defRPr/>
            </a:pPr>
            <a:r>
              <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Public cloud</a:t>
            </a:r>
          </a:p>
        </p:txBody>
      </p:sp>
      <p:sp>
        <p:nvSpPr>
          <p:cNvPr id="205" name="Freeform 56">
            <a:extLst>
              <a:ext uri="{FF2B5EF4-FFF2-40B4-BE49-F238E27FC236}">
                <a16:creationId xmlns:a16="http://schemas.microsoft.com/office/drawing/2014/main" id="{95704BC2-76B3-3C42-B63B-70E779BD6756}"/>
              </a:ext>
            </a:extLst>
          </p:cNvPr>
          <p:cNvSpPr>
            <a:spLocks/>
          </p:cNvSpPr>
          <p:nvPr/>
        </p:nvSpPr>
        <p:spPr bwMode="auto">
          <a:xfrm flipH="1">
            <a:off x="1654045" y="1467570"/>
            <a:ext cx="1446551" cy="778308"/>
          </a:xfrm>
          <a:custGeom>
            <a:avLst/>
            <a:gdLst>
              <a:gd name="connsiteX0" fmla="*/ 733902 w 1210718"/>
              <a:gd name="connsiteY0" fmla="*/ 0 h 599742"/>
              <a:gd name="connsiteX1" fmla="*/ 882562 w 1210718"/>
              <a:gd name="connsiteY1" fmla="*/ 0 h 599742"/>
              <a:gd name="connsiteX2" fmla="*/ 1015293 w 1210718"/>
              <a:gd name="connsiteY2" fmla="*/ 127622 h 599742"/>
              <a:gd name="connsiteX3" fmla="*/ 1006776 w 1210718"/>
              <a:gd name="connsiteY3" fmla="*/ 170827 h 599742"/>
              <a:gd name="connsiteX4" fmla="*/ 1046952 w 1210718"/>
              <a:gd name="connsiteY4" fmla="*/ 178771 h 599742"/>
              <a:gd name="connsiteX5" fmla="*/ 1127605 w 1210718"/>
              <a:gd name="connsiteY5" fmla="*/ 301408 h 599742"/>
              <a:gd name="connsiteX6" fmla="*/ 1118155 w 1210718"/>
              <a:gd name="connsiteY6" fmla="*/ 346509 h 599742"/>
              <a:gd name="connsiteX7" fmla="*/ 1132310 w 1210718"/>
              <a:gd name="connsiteY7" fmla="*/ 349483 h 599742"/>
              <a:gd name="connsiteX8" fmla="*/ 1210718 w 1210718"/>
              <a:gd name="connsiteY8" fmla="*/ 472120 h 599742"/>
              <a:gd name="connsiteX9" fmla="*/ 1083274 w 1210718"/>
              <a:gd name="connsiteY9" fmla="*/ 599742 h 599742"/>
              <a:gd name="connsiteX10" fmla="*/ 127444 w 1210718"/>
              <a:gd name="connsiteY10" fmla="*/ 599742 h 599742"/>
              <a:gd name="connsiteX11" fmla="*/ 0 w 1210718"/>
              <a:gd name="connsiteY11" fmla="*/ 472120 h 599742"/>
              <a:gd name="connsiteX12" fmla="*/ 127444 w 1210718"/>
              <a:gd name="connsiteY12" fmla="*/ 339180 h 599742"/>
              <a:gd name="connsiteX13" fmla="*/ 275151 w 1210718"/>
              <a:gd name="connsiteY13" fmla="*/ 339180 h 599742"/>
              <a:gd name="connsiteX14" fmla="*/ 267300 w 1210718"/>
              <a:gd name="connsiteY14" fmla="*/ 301408 h 599742"/>
              <a:gd name="connsiteX15" fmla="*/ 394753 w 1210718"/>
              <a:gd name="connsiteY15" fmla="*/ 168468 h 599742"/>
              <a:gd name="connsiteX16" fmla="*/ 592829 w 1210718"/>
              <a:gd name="connsiteY16" fmla="*/ 168468 h 599742"/>
              <a:gd name="connsiteX17" fmla="*/ 614468 w 1210718"/>
              <a:gd name="connsiteY17" fmla="*/ 168468 h 599742"/>
              <a:gd name="connsiteX18" fmla="*/ 606480 w 1210718"/>
              <a:gd name="connsiteY18" fmla="*/ 127622 h 599742"/>
              <a:gd name="connsiteX19" fmla="*/ 733902 w 1210718"/>
              <a:gd name="connsiteY19" fmla="*/ 0 h 59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0718" h="599742">
                <a:moveTo>
                  <a:pt x="733902" y="0"/>
                </a:moveTo>
                <a:cubicBezTo>
                  <a:pt x="882562" y="0"/>
                  <a:pt x="882562" y="0"/>
                  <a:pt x="882562" y="0"/>
                </a:cubicBezTo>
                <a:cubicBezTo>
                  <a:pt x="956891" y="0"/>
                  <a:pt x="1015293" y="58493"/>
                  <a:pt x="1015293" y="127622"/>
                </a:cubicBezTo>
                <a:lnTo>
                  <a:pt x="1006776" y="170827"/>
                </a:lnTo>
                <a:lnTo>
                  <a:pt x="1046952" y="178771"/>
                </a:lnTo>
                <a:cubicBezTo>
                  <a:pt x="1094746" y="198712"/>
                  <a:pt x="1127605" y="245573"/>
                  <a:pt x="1127605" y="301408"/>
                </a:cubicBezTo>
                <a:lnTo>
                  <a:pt x="1118155" y="346509"/>
                </a:lnTo>
                <a:lnTo>
                  <a:pt x="1132310" y="349483"/>
                </a:lnTo>
                <a:cubicBezTo>
                  <a:pt x="1177862" y="369424"/>
                  <a:pt x="1210718" y="416285"/>
                  <a:pt x="1210718" y="472120"/>
                </a:cubicBezTo>
                <a:cubicBezTo>
                  <a:pt x="1210718" y="541249"/>
                  <a:pt x="1152306" y="599742"/>
                  <a:pt x="1083274" y="599742"/>
                </a:cubicBezTo>
                <a:cubicBezTo>
                  <a:pt x="127444" y="599742"/>
                  <a:pt x="127444" y="599742"/>
                  <a:pt x="127444" y="599742"/>
                </a:cubicBezTo>
                <a:cubicBezTo>
                  <a:pt x="58412" y="599742"/>
                  <a:pt x="0" y="541249"/>
                  <a:pt x="0" y="472120"/>
                </a:cubicBezTo>
                <a:cubicBezTo>
                  <a:pt x="0" y="397674"/>
                  <a:pt x="58412" y="339180"/>
                  <a:pt x="127444" y="339180"/>
                </a:cubicBezTo>
                <a:lnTo>
                  <a:pt x="275151" y="339180"/>
                </a:lnTo>
                <a:lnTo>
                  <a:pt x="267300" y="301408"/>
                </a:lnTo>
                <a:cubicBezTo>
                  <a:pt x="267300" y="226961"/>
                  <a:pt x="325716" y="168468"/>
                  <a:pt x="394753" y="168468"/>
                </a:cubicBezTo>
                <a:cubicBezTo>
                  <a:pt x="469764" y="168468"/>
                  <a:pt x="535399" y="168468"/>
                  <a:pt x="592829" y="168468"/>
                </a:cubicBezTo>
                <a:lnTo>
                  <a:pt x="614468" y="168468"/>
                </a:lnTo>
                <a:lnTo>
                  <a:pt x="606480" y="127622"/>
                </a:lnTo>
                <a:cubicBezTo>
                  <a:pt x="606480" y="58493"/>
                  <a:pt x="664882" y="0"/>
                  <a:pt x="733902" y="0"/>
                </a:cubicBezTo>
                <a:close/>
              </a:path>
            </a:pathLst>
          </a:custGeom>
          <a:solidFill>
            <a:srgbClr val="EDF1F7"/>
          </a:solidFill>
          <a:ln>
            <a:noFill/>
          </a:ln>
        </p:spPr>
        <p:txBody>
          <a:bodyPr vert="horz" wrap="square" lIns="0" tIns="45720" rIns="91440" bIns="45720" numCol="1" anchor="b" anchorCtr="0" compatLnSpc="1">
            <a:prstTxWarp prst="textNoShape">
              <a:avLst/>
            </a:prstTxWarp>
            <a:noAutofit/>
          </a:bodyPr>
          <a:lstStyle/>
          <a:p>
            <a:pPr algn="ctr" defTabSz="457189" fontAlgn="base">
              <a:spcBef>
                <a:spcPct val="0"/>
              </a:spcBef>
              <a:spcAft>
                <a:spcPct val="0"/>
              </a:spcAft>
              <a:defRPr/>
            </a:pPr>
            <a:endParaRPr lang="en-US" sz="1100">
              <a:solidFill>
                <a:srgbClr val="676767"/>
              </a:solidFill>
              <a:latin typeface="Arial"/>
              <a:ea typeface="ＭＳ Ｐゴシック" charset="0"/>
              <a:cs typeface="Arial"/>
              <a:sym typeface="Arial"/>
            </a:endParaRPr>
          </a:p>
        </p:txBody>
      </p:sp>
      <p:sp>
        <p:nvSpPr>
          <p:cNvPr id="209" name="Rounded Rectangle 46">
            <a:extLst>
              <a:ext uri="{FF2B5EF4-FFF2-40B4-BE49-F238E27FC236}">
                <a16:creationId xmlns:a16="http://schemas.microsoft.com/office/drawing/2014/main" id="{1617BA72-4F9A-4749-8635-DE1221BEAE6E}"/>
              </a:ext>
            </a:extLst>
          </p:cNvPr>
          <p:cNvSpPr/>
          <p:nvPr/>
        </p:nvSpPr>
        <p:spPr>
          <a:xfrm>
            <a:off x="719665" y="2535372"/>
            <a:ext cx="1869339" cy="230797"/>
          </a:xfrm>
          <a:prstGeom prst="roundRect">
            <a:avLst>
              <a:gd name="adj" fmla="val 5000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55" fontAlgn="base">
              <a:spcBef>
                <a:spcPct val="0"/>
              </a:spcBef>
              <a:spcAft>
                <a:spcPct val="0"/>
              </a:spcAft>
              <a:defRPr/>
            </a:pPr>
            <a:r>
              <a:rPr lang="en-US" sz="1200">
                <a:solidFill>
                  <a:srgbClr val="FFFFFF"/>
                </a:solidFill>
                <a:latin typeface="CiscoSansTT ExtraLight" panose="020B0303020201020303" pitchFamily="34" charset="0"/>
                <a:cs typeface="CiscoSansTT ExtraLight" panose="020B0303020201020303" pitchFamily="34" charset="0"/>
                <a:sym typeface="Arial"/>
              </a:rPr>
              <a:t>Stealthwatch® Cloud</a:t>
            </a:r>
          </a:p>
        </p:txBody>
      </p:sp>
      <p:sp>
        <p:nvSpPr>
          <p:cNvPr id="210" name="Rounded Rectangle 55">
            <a:extLst>
              <a:ext uri="{FF2B5EF4-FFF2-40B4-BE49-F238E27FC236}">
                <a16:creationId xmlns:a16="http://schemas.microsoft.com/office/drawing/2014/main" id="{A19E42A3-70FB-5246-A4D4-04FFCCDB64EB}"/>
              </a:ext>
            </a:extLst>
          </p:cNvPr>
          <p:cNvSpPr/>
          <p:nvPr/>
        </p:nvSpPr>
        <p:spPr>
          <a:xfrm>
            <a:off x="2874680" y="4939285"/>
            <a:ext cx="1754320" cy="1376312"/>
          </a:xfrm>
          <a:prstGeom prst="roundRect">
            <a:avLst>
              <a:gd name="adj" fmla="val 7925"/>
            </a:avLst>
          </a:prstGeom>
          <a:no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t">
            <a:noAutofit/>
          </a:bodyPr>
          <a:lstStyle/>
          <a:p>
            <a:pPr algn="ctr" defTabSz="609539" fontAlgn="base">
              <a:spcBef>
                <a:spcPct val="0"/>
              </a:spcBef>
              <a:spcAft>
                <a:spcPct val="0"/>
              </a:spcAft>
              <a:defRPr/>
            </a:pPr>
            <a:endParaRPr lang="en-US" sz="1200">
              <a:solidFill>
                <a:srgbClr val="00BCEB"/>
              </a:solidFill>
              <a:latin typeface="Arial"/>
              <a:cs typeface="CiscoSansTT Light" panose="020B0503020201020303" pitchFamily="34" charset="0"/>
              <a:sym typeface="Arial"/>
            </a:endParaRPr>
          </a:p>
        </p:txBody>
      </p:sp>
      <p:sp>
        <p:nvSpPr>
          <p:cNvPr id="212" name="Oval 211">
            <a:extLst>
              <a:ext uri="{FF2B5EF4-FFF2-40B4-BE49-F238E27FC236}">
                <a16:creationId xmlns:a16="http://schemas.microsoft.com/office/drawing/2014/main" id="{1CB61443-6BE2-504E-8EDF-BC19C60CB6F4}"/>
              </a:ext>
            </a:extLst>
          </p:cNvPr>
          <p:cNvSpPr/>
          <p:nvPr/>
        </p:nvSpPr>
        <p:spPr>
          <a:xfrm>
            <a:off x="4516392" y="3951167"/>
            <a:ext cx="1009169" cy="789432"/>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Arial"/>
              <a:sym typeface="Arial"/>
            </a:endParaRPr>
          </a:p>
        </p:txBody>
      </p:sp>
      <p:sp>
        <p:nvSpPr>
          <p:cNvPr id="217" name="Rectangle 216">
            <a:extLst>
              <a:ext uri="{FF2B5EF4-FFF2-40B4-BE49-F238E27FC236}">
                <a16:creationId xmlns:a16="http://schemas.microsoft.com/office/drawing/2014/main" id="{B9B3F1A7-49A0-6A4A-B1B4-1B24641F3059}"/>
              </a:ext>
            </a:extLst>
          </p:cNvPr>
          <p:cNvSpPr/>
          <p:nvPr/>
        </p:nvSpPr>
        <p:spPr>
          <a:xfrm>
            <a:off x="4064122" y="4242272"/>
            <a:ext cx="1913709" cy="2398632"/>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Arial"/>
              <a:sym typeface="Arial"/>
            </a:endParaRPr>
          </a:p>
        </p:txBody>
      </p:sp>
      <p:sp>
        <p:nvSpPr>
          <p:cNvPr id="218" name="Rectangle 217">
            <a:extLst>
              <a:ext uri="{FF2B5EF4-FFF2-40B4-BE49-F238E27FC236}">
                <a16:creationId xmlns:a16="http://schemas.microsoft.com/office/drawing/2014/main" id="{5D4ED9A7-4D02-AA46-B210-574042E8272D}"/>
              </a:ext>
            </a:extLst>
          </p:cNvPr>
          <p:cNvSpPr/>
          <p:nvPr/>
        </p:nvSpPr>
        <p:spPr>
          <a:xfrm>
            <a:off x="4240118" y="4461525"/>
            <a:ext cx="1557396" cy="2179380"/>
          </a:xfrm>
          <a:prstGeom prst="rect">
            <a:avLst/>
          </a:prstGeom>
          <a:solidFill>
            <a:srgbClr val="BBCD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Arial"/>
              <a:sym typeface="Arial"/>
            </a:endParaRPr>
          </a:p>
        </p:txBody>
      </p:sp>
      <p:sp>
        <p:nvSpPr>
          <p:cNvPr id="214" name="Parallelogram 213">
            <a:extLst>
              <a:ext uri="{FF2B5EF4-FFF2-40B4-BE49-F238E27FC236}">
                <a16:creationId xmlns:a16="http://schemas.microsoft.com/office/drawing/2014/main" id="{7A2DD4AD-BDFB-F44E-8334-53DC7627D9A9}"/>
              </a:ext>
            </a:extLst>
          </p:cNvPr>
          <p:cNvSpPr/>
          <p:nvPr/>
        </p:nvSpPr>
        <p:spPr>
          <a:xfrm rot="20700000">
            <a:off x="4212165" y="5346588"/>
            <a:ext cx="521199" cy="154848"/>
          </a:xfrm>
          <a:prstGeom prst="parallelogram">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Arial"/>
              <a:sym typeface="Arial"/>
            </a:endParaRPr>
          </a:p>
        </p:txBody>
      </p:sp>
      <p:sp>
        <p:nvSpPr>
          <p:cNvPr id="215" name="Parallelogram 214">
            <a:extLst>
              <a:ext uri="{FF2B5EF4-FFF2-40B4-BE49-F238E27FC236}">
                <a16:creationId xmlns:a16="http://schemas.microsoft.com/office/drawing/2014/main" id="{C236DB07-97CD-B541-B46D-C8933BAA62E6}"/>
              </a:ext>
            </a:extLst>
          </p:cNvPr>
          <p:cNvSpPr/>
          <p:nvPr/>
        </p:nvSpPr>
        <p:spPr>
          <a:xfrm rot="20700000">
            <a:off x="4755937" y="4955427"/>
            <a:ext cx="521199" cy="154848"/>
          </a:xfrm>
          <a:prstGeom prst="parallelogram">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Arial"/>
              <a:sym typeface="Arial"/>
            </a:endParaRPr>
          </a:p>
        </p:txBody>
      </p:sp>
      <p:sp>
        <p:nvSpPr>
          <p:cNvPr id="216" name="Parallelogram 215">
            <a:extLst>
              <a:ext uri="{FF2B5EF4-FFF2-40B4-BE49-F238E27FC236}">
                <a16:creationId xmlns:a16="http://schemas.microsoft.com/office/drawing/2014/main" id="{CC20CCBE-9A66-7748-9B1C-D57DFEA57AC9}"/>
              </a:ext>
            </a:extLst>
          </p:cNvPr>
          <p:cNvSpPr/>
          <p:nvPr/>
        </p:nvSpPr>
        <p:spPr>
          <a:xfrm rot="20700000">
            <a:off x="5302666" y="5338125"/>
            <a:ext cx="521199" cy="154848"/>
          </a:xfrm>
          <a:prstGeom prst="parallelogram">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a:solidFill>
                <a:srgbClr val="005073"/>
              </a:solidFill>
              <a:latin typeface="Arial"/>
              <a:sym typeface="Arial"/>
            </a:endParaRPr>
          </a:p>
        </p:txBody>
      </p:sp>
      <p:sp>
        <p:nvSpPr>
          <p:cNvPr id="220" name="Freeform 195">
            <a:extLst>
              <a:ext uri="{FF2B5EF4-FFF2-40B4-BE49-F238E27FC236}">
                <a16:creationId xmlns:a16="http://schemas.microsoft.com/office/drawing/2014/main" id="{B62F1F55-8B4E-A346-9F28-197139604FA8}"/>
              </a:ext>
            </a:extLst>
          </p:cNvPr>
          <p:cNvSpPr>
            <a:spLocks/>
          </p:cNvSpPr>
          <p:nvPr/>
        </p:nvSpPr>
        <p:spPr bwMode="auto">
          <a:xfrm>
            <a:off x="4637027" y="5448220"/>
            <a:ext cx="255607" cy="458737"/>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21" name="Line 196">
            <a:extLst>
              <a:ext uri="{FF2B5EF4-FFF2-40B4-BE49-F238E27FC236}">
                <a16:creationId xmlns:a16="http://schemas.microsoft.com/office/drawing/2014/main" id="{DE79E825-9F4C-7B47-A402-18D33A5A3D2C}"/>
              </a:ext>
            </a:extLst>
          </p:cNvPr>
          <p:cNvSpPr>
            <a:spLocks noChangeShapeType="1"/>
          </p:cNvSpPr>
          <p:nvPr/>
        </p:nvSpPr>
        <p:spPr bwMode="auto">
          <a:xfrm>
            <a:off x="4701352" y="5522700"/>
            <a:ext cx="126957"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22" name="Line 197">
            <a:extLst>
              <a:ext uri="{FF2B5EF4-FFF2-40B4-BE49-F238E27FC236}">
                <a16:creationId xmlns:a16="http://schemas.microsoft.com/office/drawing/2014/main" id="{57642E08-D5DC-D34A-A2A2-2FFF7C4EA1C6}"/>
              </a:ext>
            </a:extLst>
          </p:cNvPr>
          <p:cNvSpPr>
            <a:spLocks noChangeShapeType="1"/>
          </p:cNvSpPr>
          <p:nvPr/>
        </p:nvSpPr>
        <p:spPr bwMode="auto">
          <a:xfrm>
            <a:off x="4701352" y="5595488"/>
            <a:ext cx="126957"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23" name="Line 198">
            <a:extLst>
              <a:ext uri="{FF2B5EF4-FFF2-40B4-BE49-F238E27FC236}">
                <a16:creationId xmlns:a16="http://schemas.microsoft.com/office/drawing/2014/main" id="{C88F2B89-685B-A04A-A716-8693B6A76FFB}"/>
              </a:ext>
            </a:extLst>
          </p:cNvPr>
          <p:cNvSpPr>
            <a:spLocks noChangeShapeType="1"/>
          </p:cNvSpPr>
          <p:nvPr/>
        </p:nvSpPr>
        <p:spPr bwMode="auto">
          <a:xfrm>
            <a:off x="4701352" y="5671663"/>
            <a:ext cx="126957"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24" name="Line 199">
            <a:extLst>
              <a:ext uri="{FF2B5EF4-FFF2-40B4-BE49-F238E27FC236}">
                <a16:creationId xmlns:a16="http://schemas.microsoft.com/office/drawing/2014/main" id="{D06ABCEE-FB22-F544-95E9-C151A7736A10}"/>
              </a:ext>
            </a:extLst>
          </p:cNvPr>
          <p:cNvSpPr>
            <a:spLocks noChangeShapeType="1"/>
          </p:cNvSpPr>
          <p:nvPr/>
        </p:nvSpPr>
        <p:spPr bwMode="auto">
          <a:xfrm>
            <a:off x="4701352" y="5746144"/>
            <a:ext cx="126957"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25" name="Line 200">
            <a:extLst>
              <a:ext uri="{FF2B5EF4-FFF2-40B4-BE49-F238E27FC236}">
                <a16:creationId xmlns:a16="http://schemas.microsoft.com/office/drawing/2014/main" id="{EF344B1F-769F-B045-802F-7357AE4AB50F}"/>
              </a:ext>
            </a:extLst>
          </p:cNvPr>
          <p:cNvSpPr>
            <a:spLocks noChangeShapeType="1"/>
          </p:cNvSpPr>
          <p:nvPr/>
        </p:nvSpPr>
        <p:spPr bwMode="auto">
          <a:xfrm>
            <a:off x="4701352" y="5820624"/>
            <a:ext cx="126957"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26" name="Freeform 201">
            <a:extLst>
              <a:ext uri="{FF2B5EF4-FFF2-40B4-BE49-F238E27FC236}">
                <a16:creationId xmlns:a16="http://schemas.microsoft.com/office/drawing/2014/main" id="{80E3A87F-5136-2F48-AED8-DCE3A0F5D0EC}"/>
              </a:ext>
            </a:extLst>
          </p:cNvPr>
          <p:cNvSpPr>
            <a:spLocks/>
          </p:cNvSpPr>
          <p:nvPr/>
        </p:nvSpPr>
        <p:spPr bwMode="auto">
          <a:xfrm>
            <a:off x="4924797" y="5356810"/>
            <a:ext cx="253913" cy="614471"/>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27" name="Line 202">
            <a:extLst>
              <a:ext uri="{FF2B5EF4-FFF2-40B4-BE49-F238E27FC236}">
                <a16:creationId xmlns:a16="http://schemas.microsoft.com/office/drawing/2014/main" id="{E37C5CE4-BC44-4F45-B380-6E2D0D5135D5}"/>
              </a:ext>
            </a:extLst>
          </p:cNvPr>
          <p:cNvSpPr>
            <a:spLocks noChangeShapeType="1"/>
          </p:cNvSpPr>
          <p:nvPr/>
        </p:nvSpPr>
        <p:spPr bwMode="auto">
          <a:xfrm>
            <a:off x="4987429" y="5431291"/>
            <a:ext cx="128649"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28" name="Line 203">
            <a:extLst>
              <a:ext uri="{FF2B5EF4-FFF2-40B4-BE49-F238E27FC236}">
                <a16:creationId xmlns:a16="http://schemas.microsoft.com/office/drawing/2014/main" id="{8D34C8E6-66AF-5345-94E0-7B289816FF2A}"/>
              </a:ext>
            </a:extLst>
          </p:cNvPr>
          <p:cNvSpPr>
            <a:spLocks noChangeShapeType="1"/>
          </p:cNvSpPr>
          <p:nvPr/>
        </p:nvSpPr>
        <p:spPr bwMode="auto">
          <a:xfrm>
            <a:off x="4987429" y="5507465"/>
            <a:ext cx="128649"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29" name="Line 204">
            <a:extLst>
              <a:ext uri="{FF2B5EF4-FFF2-40B4-BE49-F238E27FC236}">
                <a16:creationId xmlns:a16="http://schemas.microsoft.com/office/drawing/2014/main" id="{8BCEB574-FE2B-3F45-80B9-1A8803204974}"/>
              </a:ext>
            </a:extLst>
          </p:cNvPr>
          <p:cNvSpPr>
            <a:spLocks noChangeShapeType="1"/>
          </p:cNvSpPr>
          <p:nvPr/>
        </p:nvSpPr>
        <p:spPr bwMode="auto">
          <a:xfrm>
            <a:off x="4987429" y="5581945"/>
            <a:ext cx="128649"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30" name="Line 205">
            <a:extLst>
              <a:ext uri="{FF2B5EF4-FFF2-40B4-BE49-F238E27FC236}">
                <a16:creationId xmlns:a16="http://schemas.microsoft.com/office/drawing/2014/main" id="{12FE1E52-0006-DF47-88D9-F0F3B6F16C17}"/>
              </a:ext>
            </a:extLst>
          </p:cNvPr>
          <p:cNvSpPr>
            <a:spLocks noChangeShapeType="1"/>
          </p:cNvSpPr>
          <p:nvPr/>
        </p:nvSpPr>
        <p:spPr bwMode="auto">
          <a:xfrm>
            <a:off x="4987429" y="5656427"/>
            <a:ext cx="128649"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31" name="Line 206">
            <a:extLst>
              <a:ext uri="{FF2B5EF4-FFF2-40B4-BE49-F238E27FC236}">
                <a16:creationId xmlns:a16="http://schemas.microsoft.com/office/drawing/2014/main" id="{395E3DB1-7328-D149-A866-DE7016A95F06}"/>
              </a:ext>
            </a:extLst>
          </p:cNvPr>
          <p:cNvSpPr>
            <a:spLocks noChangeShapeType="1"/>
          </p:cNvSpPr>
          <p:nvPr/>
        </p:nvSpPr>
        <p:spPr bwMode="auto">
          <a:xfrm>
            <a:off x="4987429" y="5732601"/>
            <a:ext cx="128649"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32" name="Freeform 213">
            <a:extLst>
              <a:ext uri="{FF2B5EF4-FFF2-40B4-BE49-F238E27FC236}">
                <a16:creationId xmlns:a16="http://schemas.microsoft.com/office/drawing/2014/main" id="{BC81987A-19D8-3B44-83A0-3B2EFF36DEF7}"/>
              </a:ext>
            </a:extLst>
          </p:cNvPr>
          <p:cNvSpPr>
            <a:spLocks/>
          </p:cNvSpPr>
          <p:nvPr/>
        </p:nvSpPr>
        <p:spPr bwMode="auto">
          <a:xfrm>
            <a:off x="4350951" y="5448220"/>
            <a:ext cx="252221" cy="458737"/>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33" name="Line 214">
            <a:extLst>
              <a:ext uri="{FF2B5EF4-FFF2-40B4-BE49-F238E27FC236}">
                <a16:creationId xmlns:a16="http://schemas.microsoft.com/office/drawing/2014/main" id="{86F5BB67-5FCA-D643-9724-D2EC12F9104B}"/>
              </a:ext>
            </a:extLst>
          </p:cNvPr>
          <p:cNvSpPr>
            <a:spLocks noChangeShapeType="1"/>
          </p:cNvSpPr>
          <p:nvPr/>
        </p:nvSpPr>
        <p:spPr bwMode="auto">
          <a:xfrm>
            <a:off x="4413583" y="5522700"/>
            <a:ext cx="125264"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34" name="Line 215">
            <a:extLst>
              <a:ext uri="{FF2B5EF4-FFF2-40B4-BE49-F238E27FC236}">
                <a16:creationId xmlns:a16="http://schemas.microsoft.com/office/drawing/2014/main" id="{0DBEB3CB-C809-6041-B8A7-DE5C87BC40FB}"/>
              </a:ext>
            </a:extLst>
          </p:cNvPr>
          <p:cNvSpPr>
            <a:spLocks noChangeShapeType="1"/>
          </p:cNvSpPr>
          <p:nvPr/>
        </p:nvSpPr>
        <p:spPr bwMode="auto">
          <a:xfrm>
            <a:off x="4413583" y="5595488"/>
            <a:ext cx="125264"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35" name="Line 216">
            <a:extLst>
              <a:ext uri="{FF2B5EF4-FFF2-40B4-BE49-F238E27FC236}">
                <a16:creationId xmlns:a16="http://schemas.microsoft.com/office/drawing/2014/main" id="{0CE52A83-E3D6-7F41-8E5B-CACEBE3D05C8}"/>
              </a:ext>
            </a:extLst>
          </p:cNvPr>
          <p:cNvSpPr>
            <a:spLocks noChangeShapeType="1"/>
          </p:cNvSpPr>
          <p:nvPr/>
        </p:nvSpPr>
        <p:spPr bwMode="auto">
          <a:xfrm>
            <a:off x="4413583" y="5671663"/>
            <a:ext cx="125264"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36" name="Line 217">
            <a:extLst>
              <a:ext uri="{FF2B5EF4-FFF2-40B4-BE49-F238E27FC236}">
                <a16:creationId xmlns:a16="http://schemas.microsoft.com/office/drawing/2014/main" id="{86144645-C2FB-6D4B-81C5-755625A71188}"/>
              </a:ext>
            </a:extLst>
          </p:cNvPr>
          <p:cNvSpPr>
            <a:spLocks noChangeShapeType="1"/>
          </p:cNvSpPr>
          <p:nvPr/>
        </p:nvSpPr>
        <p:spPr bwMode="auto">
          <a:xfrm>
            <a:off x="4413583" y="5746144"/>
            <a:ext cx="125264"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37" name="Line 218">
            <a:extLst>
              <a:ext uri="{FF2B5EF4-FFF2-40B4-BE49-F238E27FC236}">
                <a16:creationId xmlns:a16="http://schemas.microsoft.com/office/drawing/2014/main" id="{EBE1D6B6-019E-CB40-A297-1D104A22296A}"/>
              </a:ext>
            </a:extLst>
          </p:cNvPr>
          <p:cNvSpPr>
            <a:spLocks noChangeShapeType="1"/>
          </p:cNvSpPr>
          <p:nvPr/>
        </p:nvSpPr>
        <p:spPr bwMode="auto">
          <a:xfrm>
            <a:off x="4413583" y="5820624"/>
            <a:ext cx="125264" cy="0"/>
          </a:xfrm>
          <a:prstGeom prst="line">
            <a:avLst/>
          </a:prstGeom>
          <a:solidFill>
            <a:schemeClr val="accent4">
              <a:lumMod val="75000"/>
            </a:schemeClr>
          </a:solidFill>
          <a:ln w="15875" cap="rnd">
            <a:solidFill>
              <a:schemeClr val="bg1"/>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a:ea typeface="ＭＳ Ｐゴシック" charset="0"/>
              <a:cs typeface="Arial"/>
              <a:sym typeface="Arial"/>
            </a:endParaRPr>
          </a:p>
        </p:txBody>
      </p:sp>
      <p:sp>
        <p:nvSpPr>
          <p:cNvPr id="238" name="Rounded Rectangle 55">
            <a:extLst>
              <a:ext uri="{FF2B5EF4-FFF2-40B4-BE49-F238E27FC236}">
                <a16:creationId xmlns:a16="http://schemas.microsoft.com/office/drawing/2014/main" id="{169D38B0-9403-194F-8D0A-91DA3E26C67D}"/>
              </a:ext>
            </a:extLst>
          </p:cNvPr>
          <p:cNvSpPr/>
          <p:nvPr/>
        </p:nvSpPr>
        <p:spPr>
          <a:xfrm>
            <a:off x="2866653" y="5002828"/>
            <a:ext cx="1273592" cy="231648"/>
          </a:xfrm>
          <a:prstGeom prst="roundRect">
            <a:avLst>
              <a:gd name="adj" fmla="val 5000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45720" tIns="0" rIns="45720" bIns="0" rtlCol="0" anchor="ctr">
            <a:noAutofit/>
          </a:bodyPr>
          <a:lstStyle/>
          <a:p>
            <a:pPr algn="ctr" defTabSz="609539" fontAlgn="base">
              <a:spcBef>
                <a:spcPct val="0"/>
              </a:spcBef>
              <a:spcAft>
                <a:spcPct val="0"/>
              </a:spcAft>
              <a:defRPr/>
            </a:pPr>
            <a:r>
              <a:rPr lang="en-US" sz="1200">
                <a:solidFill>
                  <a:srgbClr val="FFFFFF"/>
                </a:solidFill>
                <a:latin typeface="CiscoSansTT ExtraLight" panose="020B0303020201020303" pitchFamily="34" charset="0"/>
                <a:cs typeface="CiscoSansTT ExtraLight" panose="020B0303020201020303" pitchFamily="34" charset="0"/>
                <a:sym typeface="Arial"/>
              </a:rPr>
              <a:t>AMP add-on</a:t>
            </a:r>
          </a:p>
        </p:txBody>
      </p:sp>
      <p:sp>
        <p:nvSpPr>
          <p:cNvPr id="239" name="TextBox 238">
            <a:extLst>
              <a:ext uri="{FF2B5EF4-FFF2-40B4-BE49-F238E27FC236}">
                <a16:creationId xmlns:a16="http://schemas.microsoft.com/office/drawing/2014/main" id="{7B581119-46CA-8F4D-9A4B-191D17823799}"/>
              </a:ext>
            </a:extLst>
          </p:cNvPr>
          <p:cNvSpPr txBox="1"/>
          <p:nvPr/>
        </p:nvSpPr>
        <p:spPr>
          <a:xfrm>
            <a:off x="3186362" y="6126851"/>
            <a:ext cx="592517" cy="153888"/>
          </a:xfrm>
          <a:prstGeom prst="rect">
            <a:avLst/>
          </a:prstGeom>
        </p:spPr>
        <p:txBody>
          <a:bodyPr vert="horz" wrap="square" lIns="0" tIns="0" rIns="0" bIns="0" rtlCol="0" anchor="b">
            <a:spAutoFit/>
          </a:bodyPr>
          <a:lstStyle>
            <a:lvl1pPr marL="0" lvl="0" indent="0" defTabSz="913542" eaLnBrk="1" latinLnBrk="0" hangingPunct="1">
              <a:buClr>
                <a:schemeClr val="tx2"/>
              </a:buClr>
              <a:buSzPct val="100000"/>
              <a:defRPr lang="x-none" sz="1600" baseline="0">
                <a:latin typeface="+mn-lt"/>
              </a:defRPr>
            </a:lvl1pPr>
            <a:lvl2pPr marL="192024" lvl="1" indent="-192024" defTabSz="913542" eaLnBrk="1" latinLnBrk="0" hangingPunct="1">
              <a:buClr>
                <a:schemeClr val="tx2"/>
              </a:buClr>
              <a:buSzPct val="125000"/>
              <a:buFont typeface="Arial" charset="0"/>
              <a:buChar char="▪"/>
              <a:defRPr lang="x-none" sz="1600" baseline="0">
                <a:latin typeface="+mn-lt"/>
              </a:defRPr>
            </a:lvl2pPr>
            <a:lvl3pPr marL="457200" lvl="2" indent="-265176" defTabSz="913542" eaLnBrk="1" latinLnBrk="0" hangingPunct="1">
              <a:buClr>
                <a:schemeClr val="tx2"/>
              </a:buClr>
              <a:buSzPct val="120000"/>
              <a:buFont typeface="Arial" charset="0"/>
              <a:buChar char="–"/>
              <a:defRPr lang="x-none" sz="1600" baseline="0">
                <a:latin typeface="+mn-lt"/>
              </a:defRPr>
            </a:lvl3pPr>
            <a:lvl4pPr marL="626846" lvl="3" indent="-155448" defTabSz="913542" eaLnBrk="1" latinLnBrk="0" hangingPunct="1">
              <a:buClr>
                <a:schemeClr val="tx2"/>
              </a:buClr>
              <a:buSzPct val="120000"/>
              <a:buFont typeface="Arial" charset="0"/>
              <a:buChar char="▫"/>
              <a:defRPr lang="x-none" sz="1600" baseline="0">
                <a:latin typeface="+mn-lt"/>
              </a:defRPr>
            </a:lvl4pPr>
            <a:lvl5pPr marL="749808" lvl="4" indent="-128016" defTabSz="913542" eaLnBrk="1" latinLnBrk="0" hangingPunct="1">
              <a:buClr>
                <a:schemeClr val="tx2"/>
              </a:buClr>
              <a:buSzPct val="89000"/>
              <a:buFont typeface="Arial" charset="0"/>
              <a:buChar char="-"/>
              <a:defRPr lang="x-none" sz="1600" baseline="0">
                <a:latin typeface="+mn-lt"/>
              </a:defRPr>
            </a:lvl5pPr>
            <a:lvl6pPr marL="765042" indent="-132820" defTabSz="913542" fontAlgn="base">
              <a:spcBef>
                <a:spcPct val="0"/>
              </a:spcBef>
              <a:spcAft>
                <a:spcPct val="0"/>
              </a:spcAft>
              <a:buClr>
                <a:schemeClr val="tx2"/>
              </a:buClr>
              <a:buSzPct val="89000"/>
              <a:buFont typeface="Arial" charset="0"/>
              <a:buChar char="-"/>
              <a:defRPr lang="x-none" sz="1632" baseline="0">
                <a:latin typeface="+mn-lt"/>
              </a:defRPr>
            </a:lvl6pPr>
            <a:lvl7pPr marL="765042" indent="-132820" defTabSz="913542" fontAlgn="base">
              <a:spcBef>
                <a:spcPct val="0"/>
              </a:spcBef>
              <a:spcAft>
                <a:spcPct val="0"/>
              </a:spcAft>
              <a:buClr>
                <a:schemeClr val="tx2"/>
              </a:buClr>
              <a:buSzPct val="89000"/>
              <a:buFont typeface="Arial" charset="0"/>
              <a:buChar char="-"/>
              <a:defRPr lang="x-none" sz="1632" baseline="0">
                <a:latin typeface="+mn-lt"/>
              </a:defRPr>
            </a:lvl7pPr>
            <a:lvl8pPr marL="765042" indent="-132820" defTabSz="913542" fontAlgn="base">
              <a:spcBef>
                <a:spcPct val="0"/>
              </a:spcBef>
              <a:spcAft>
                <a:spcPct val="0"/>
              </a:spcAft>
              <a:buClr>
                <a:schemeClr val="tx2"/>
              </a:buClr>
              <a:buSzPct val="89000"/>
              <a:buFont typeface="Arial" charset="0"/>
              <a:buChar char="-"/>
              <a:defRPr lang="x-none" sz="1632" baseline="0">
                <a:latin typeface="+mn-lt"/>
              </a:defRPr>
            </a:lvl8pPr>
            <a:lvl9pPr marL="765042" indent="-132820" defTabSz="913542" fontAlgn="base">
              <a:spcBef>
                <a:spcPct val="0"/>
              </a:spcBef>
              <a:spcAft>
                <a:spcPct val="0"/>
              </a:spcAft>
              <a:buClr>
                <a:schemeClr val="tx2"/>
              </a:buClr>
              <a:buSzPct val="89000"/>
              <a:buFont typeface="Arial" charset="0"/>
              <a:buChar char="-"/>
              <a:defRPr lang="x-none" sz="1632" baseline="0">
                <a:latin typeface="+mn-lt"/>
              </a:defRPr>
            </a:lvl9pPr>
          </a:lstStyle>
          <a:p>
            <a:pPr algn="ctr" defTabSz="1217936" fontAlgn="base">
              <a:spcBef>
                <a:spcPct val="0"/>
              </a:spcBef>
              <a:spcAft>
                <a:spcPct val="0"/>
              </a:spcAft>
              <a:buClr>
                <a:srgbClr val="005073"/>
              </a:buClr>
              <a:defRPr/>
            </a:pPr>
            <a:r>
              <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Branch</a:t>
            </a:r>
          </a:p>
        </p:txBody>
      </p:sp>
      <p:grpSp>
        <p:nvGrpSpPr>
          <p:cNvPr id="396" name="Group 395">
            <a:extLst>
              <a:ext uri="{FF2B5EF4-FFF2-40B4-BE49-F238E27FC236}">
                <a16:creationId xmlns:a16="http://schemas.microsoft.com/office/drawing/2014/main" id="{53EF5840-E7F6-AB4E-949A-A2C1AF2BF75C}"/>
              </a:ext>
            </a:extLst>
          </p:cNvPr>
          <p:cNvGrpSpPr/>
          <p:nvPr/>
        </p:nvGrpSpPr>
        <p:grpSpPr>
          <a:xfrm>
            <a:off x="3285871" y="5429869"/>
            <a:ext cx="393503" cy="654467"/>
            <a:chOff x="2431748" y="4026685"/>
            <a:chExt cx="295127" cy="490850"/>
          </a:xfrm>
        </p:grpSpPr>
        <p:sp>
          <p:nvSpPr>
            <p:cNvPr id="241" name="Freeform 106">
              <a:extLst>
                <a:ext uri="{FF2B5EF4-FFF2-40B4-BE49-F238E27FC236}">
                  <a16:creationId xmlns:a16="http://schemas.microsoft.com/office/drawing/2014/main" id="{FF923350-CE0C-4942-81BE-6DA2E4077AD5}"/>
                </a:ext>
              </a:extLst>
            </p:cNvPr>
            <p:cNvSpPr>
              <a:spLocks/>
            </p:cNvSpPr>
            <p:nvPr/>
          </p:nvSpPr>
          <p:spPr bwMode="auto">
            <a:xfrm>
              <a:off x="2431748" y="4026685"/>
              <a:ext cx="295127" cy="490850"/>
            </a:xfrm>
            <a:custGeom>
              <a:avLst/>
              <a:gdLst>
                <a:gd name="T0" fmla="*/ 5 w 70"/>
                <a:gd name="T1" fmla="*/ 0 h 111"/>
                <a:gd name="T2" fmla="*/ 0 w 70"/>
                <a:gd name="T3" fmla="*/ 5 h 111"/>
                <a:gd name="T4" fmla="*/ 0 w 70"/>
                <a:gd name="T5" fmla="*/ 111 h 111"/>
                <a:gd name="T6" fmla="*/ 70 w 70"/>
                <a:gd name="T7" fmla="*/ 111 h 111"/>
                <a:gd name="T8" fmla="*/ 70 w 70"/>
                <a:gd name="T9" fmla="*/ 5 h 111"/>
                <a:gd name="T10" fmla="*/ 65 w 70"/>
                <a:gd name="T11" fmla="*/ 0 h 111"/>
                <a:gd name="T12" fmla="*/ 5 w 70"/>
                <a:gd name="T13" fmla="*/ 0 h 111"/>
              </a:gdLst>
              <a:ahLst/>
              <a:cxnLst>
                <a:cxn ang="0">
                  <a:pos x="T0" y="T1"/>
                </a:cxn>
                <a:cxn ang="0">
                  <a:pos x="T2" y="T3"/>
                </a:cxn>
                <a:cxn ang="0">
                  <a:pos x="T4" y="T5"/>
                </a:cxn>
                <a:cxn ang="0">
                  <a:pos x="T6" y="T7"/>
                </a:cxn>
                <a:cxn ang="0">
                  <a:pos x="T8" y="T9"/>
                </a:cxn>
                <a:cxn ang="0">
                  <a:pos x="T10" y="T11"/>
                </a:cxn>
                <a:cxn ang="0">
                  <a:pos x="T12" y="T13"/>
                </a:cxn>
              </a:cxnLst>
              <a:rect l="0" t="0" r="r" b="b"/>
              <a:pathLst>
                <a:path w="70" h="111">
                  <a:moveTo>
                    <a:pt x="5" y="0"/>
                  </a:moveTo>
                  <a:cubicBezTo>
                    <a:pt x="2" y="0"/>
                    <a:pt x="0" y="3"/>
                    <a:pt x="0" y="5"/>
                  </a:cubicBezTo>
                  <a:cubicBezTo>
                    <a:pt x="0" y="111"/>
                    <a:pt x="0" y="111"/>
                    <a:pt x="0" y="111"/>
                  </a:cubicBezTo>
                  <a:cubicBezTo>
                    <a:pt x="70" y="111"/>
                    <a:pt x="70" y="111"/>
                    <a:pt x="70" y="111"/>
                  </a:cubicBezTo>
                  <a:cubicBezTo>
                    <a:pt x="70" y="5"/>
                    <a:pt x="70" y="5"/>
                    <a:pt x="70" y="5"/>
                  </a:cubicBezTo>
                  <a:cubicBezTo>
                    <a:pt x="70" y="3"/>
                    <a:pt x="67" y="0"/>
                    <a:pt x="65" y="0"/>
                  </a:cubicBezTo>
                  <a:lnTo>
                    <a:pt x="5" y="0"/>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609539"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42" name="Rectangle 107">
              <a:extLst>
                <a:ext uri="{FF2B5EF4-FFF2-40B4-BE49-F238E27FC236}">
                  <a16:creationId xmlns:a16="http://schemas.microsoft.com/office/drawing/2014/main" id="{CB3DF213-DDA1-7441-965D-1EDD37307A29}"/>
                </a:ext>
              </a:extLst>
            </p:cNvPr>
            <p:cNvSpPr>
              <a:spLocks noChangeArrowheads="1"/>
            </p:cNvSpPr>
            <p:nvPr/>
          </p:nvSpPr>
          <p:spPr bwMode="auto">
            <a:xfrm>
              <a:off x="2486233" y="4084113"/>
              <a:ext cx="42377" cy="43884"/>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39"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43" name="Rectangle 108">
              <a:extLst>
                <a:ext uri="{FF2B5EF4-FFF2-40B4-BE49-F238E27FC236}">
                  <a16:creationId xmlns:a16="http://schemas.microsoft.com/office/drawing/2014/main" id="{E8E75FB9-E1BC-124F-891F-9DC5C187D46F}"/>
                </a:ext>
              </a:extLst>
            </p:cNvPr>
            <p:cNvSpPr>
              <a:spLocks noChangeArrowheads="1"/>
            </p:cNvSpPr>
            <p:nvPr/>
          </p:nvSpPr>
          <p:spPr bwMode="auto">
            <a:xfrm>
              <a:off x="2557870" y="4084113"/>
              <a:ext cx="42377" cy="43884"/>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39"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44" name="Rectangle 109">
              <a:extLst>
                <a:ext uri="{FF2B5EF4-FFF2-40B4-BE49-F238E27FC236}">
                  <a16:creationId xmlns:a16="http://schemas.microsoft.com/office/drawing/2014/main" id="{11CC0FF0-B40E-FF4F-B4EF-A4D614A77E29}"/>
                </a:ext>
              </a:extLst>
            </p:cNvPr>
            <p:cNvSpPr>
              <a:spLocks noChangeArrowheads="1"/>
            </p:cNvSpPr>
            <p:nvPr/>
          </p:nvSpPr>
          <p:spPr bwMode="auto">
            <a:xfrm>
              <a:off x="2629508" y="4084113"/>
              <a:ext cx="42377" cy="43884"/>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39"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45" name="Rectangle 110">
              <a:extLst>
                <a:ext uri="{FF2B5EF4-FFF2-40B4-BE49-F238E27FC236}">
                  <a16:creationId xmlns:a16="http://schemas.microsoft.com/office/drawing/2014/main" id="{63A7B419-165F-8141-A0D0-312D11738A73}"/>
                </a:ext>
              </a:extLst>
            </p:cNvPr>
            <p:cNvSpPr>
              <a:spLocks noChangeArrowheads="1"/>
            </p:cNvSpPr>
            <p:nvPr/>
          </p:nvSpPr>
          <p:spPr bwMode="auto">
            <a:xfrm>
              <a:off x="2486233" y="4269943"/>
              <a:ext cx="42377" cy="48219"/>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39"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46" name="Rectangle 111">
              <a:extLst>
                <a:ext uri="{FF2B5EF4-FFF2-40B4-BE49-F238E27FC236}">
                  <a16:creationId xmlns:a16="http://schemas.microsoft.com/office/drawing/2014/main" id="{6958FBE2-123E-2D4A-9A03-91B8623EA670}"/>
                </a:ext>
              </a:extLst>
            </p:cNvPr>
            <p:cNvSpPr>
              <a:spLocks noChangeArrowheads="1"/>
            </p:cNvSpPr>
            <p:nvPr/>
          </p:nvSpPr>
          <p:spPr bwMode="auto">
            <a:xfrm>
              <a:off x="2557870" y="4269943"/>
              <a:ext cx="42377" cy="48219"/>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39"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47" name="Rectangle 112">
              <a:extLst>
                <a:ext uri="{FF2B5EF4-FFF2-40B4-BE49-F238E27FC236}">
                  <a16:creationId xmlns:a16="http://schemas.microsoft.com/office/drawing/2014/main" id="{16385A9B-ACF6-5843-81FB-42CD5A06EF08}"/>
                </a:ext>
              </a:extLst>
            </p:cNvPr>
            <p:cNvSpPr>
              <a:spLocks noChangeArrowheads="1"/>
            </p:cNvSpPr>
            <p:nvPr/>
          </p:nvSpPr>
          <p:spPr bwMode="auto">
            <a:xfrm>
              <a:off x="2629508" y="4269943"/>
              <a:ext cx="42377" cy="48219"/>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39"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48" name="Rectangle 113">
              <a:extLst>
                <a:ext uri="{FF2B5EF4-FFF2-40B4-BE49-F238E27FC236}">
                  <a16:creationId xmlns:a16="http://schemas.microsoft.com/office/drawing/2014/main" id="{5C1A7825-334F-5744-B5D7-84EDA9BDCCA6}"/>
                </a:ext>
              </a:extLst>
            </p:cNvPr>
            <p:cNvSpPr>
              <a:spLocks noChangeArrowheads="1"/>
            </p:cNvSpPr>
            <p:nvPr/>
          </p:nvSpPr>
          <p:spPr bwMode="auto">
            <a:xfrm>
              <a:off x="2486233" y="4176757"/>
              <a:ext cx="42377" cy="48760"/>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39"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49" name="Rectangle 114">
              <a:extLst>
                <a:ext uri="{FF2B5EF4-FFF2-40B4-BE49-F238E27FC236}">
                  <a16:creationId xmlns:a16="http://schemas.microsoft.com/office/drawing/2014/main" id="{B720DD85-5CE5-A141-B840-DFF16DE41A12}"/>
                </a:ext>
              </a:extLst>
            </p:cNvPr>
            <p:cNvSpPr>
              <a:spLocks noChangeArrowheads="1"/>
            </p:cNvSpPr>
            <p:nvPr/>
          </p:nvSpPr>
          <p:spPr bwMode="auto">
            <a:xfrm>
              <a:off x="2557870" y="4176757"/>
              <a:ext cx="42377" cy="48760"/>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39"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50" name="Rectangle 115">
              <a:extLst>
                <a:ext uri="{FF2B5EF4-FFF2-40B4-BE49-F238E27FC236}">
                  <a16:creationId xmlns:a16="http://schemas.microsoft.com/office/drawing/2014/main" id="{26409AC8-6869-2E46-983C-23145CC09654}"/>
                </a:ext>
              </a:extLst>
            </p:cNvPr>
            <p:cNvSpPr>
              <a:spLocks noChangeArrowheads="1"/>
            </p:cNvSpPr>
            <p:nvPr/>
          </p:nvSpPr>
          <p:spPr bwMode="auto">
            <a:xfrm>
              <a:off x="2629508" y="4176757"/>
              <a:ext cx="42377" cy="48760"/>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609539"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grpSp>
      <p:sp>
        <p:nvSpPr>
          <p:cNvPr id="251" name="TextBox 250">
            <a:extLst>
              <a:ext uri="{FF2B5EF4-FFF2-40B4-BE49-F238E27FC236}">
                <a16:creationId xmlns:a16="http://schemas.microsoft.com/office/drawing/2014/main" id="{37897A0E-CB60-DB4C-A223-8A61EE52744C}"/>
              </a:ext>
            </a:extLst>
          </p:cNvPr>
          <p:cNvSpPr txBox="1"/>
          <p:nvPr/>
        </p:nvSpPr>
        <p:spPr>
          <a:xfrm>
            <a:off x="4334424" y="6016089"/>
            <a:ext cx="717697" cy="153888"/>
          </a:xfrm>
          <a:prstGeom prst="rect">
            <a:avLst/>
          </a:prstGeom>
        </p:spPr>
        <p:txBody>
          <a:bodyPr vert="horz" wrap="none" lIns="24384" tIns="0" rIns="24384" bIns="0" rtlCol="0" anchor="b">
            <a:spAutoFit/>
          </a:bodyPr>
          <a:lstStyle>
            <a:lvl1pPr marL="0" lvl="0" indent="0" defTabSz="913542" eaLnBrk="1" latinLnBrk="0" hangingPunct="1">
              <a:buClr>
                <a:schemeClr val="tx2"/>
              </a:buClr>
              <a:buSzPct val="100000"/>
              <a:defRPr lang="x-none" sz="1600" baseline="0">
                <a:latin typeface="+mn-lt"/>
              </a:defRPr>
            </a:lvl1pPr>
            <a:lvl2pPr marL="192024" lvl="1" indent="-192024" defTabSz="913542" eaLnBrk="1" latinLnBrk="0" hangingPunct="1">
              <a:buClr>
                <a:schemeClr val="tx2"/>
              </a:buClr>
              <a:buSzPct val="125000"/>
              <a:buFont typeface="Arial" charset="0"/>
              <a:buChar char="▪"/>
              <a:defRPr lang="x-none" sz="1600" baseline="0">
                <a:latin typeface="+mn-lt"/>
              </a:defRPr>
            </a:lvl2pPr>
            <a:lvl3pPr marL="457200" lvl="2" indent="-265176" defTabSz="913542" eaLnBrk="1" latinLnBrk="0" hangingPunct="1">
              <a:buClr>
                <a:schemeClr val="tx2"/>
              </a:buClr>
              <a:buSzPct val="120000"/>
              <a:buFont typeface="Arial" charset="0"/>
              <a:buChar char="–"/>
              <a:defRPr lang="x-none" sz="1600" baseline="0">
                <a:latin typeface="+mn-lt"/>
              </a:defRPr>
            </a:lvl3pPr>
            <a:lvl4pPr marL="626846" lvl="3" indent="-155448" defTabSz="913542" eaLnBrk="1" latinLnBrk="0" hangingPunct="1">
              <a:buClr>
                <a:schemeClr val="tx2"/>
              </a:buClr>
              <a:buSzPct val="120000"/>
              <a:buFont typeface="Arial" charset="0"/>
              <a:buChar char="▫"/>
              <a:defRPr lang="x-none" sz="1600" baseline="0">
                <a:latin typeface="+mn-lt"/>
              </a:defRPr>
            </a:lvl4pPr>
            <a:lvl5pPr marL="749808" lvl="4" indent="-128016" defTabSz="913542" eaLnBrk="1" latinLnBrk="0" hangingPunct="1">
              <a:buClr>
                <a:schemeClr val="tx2"/>
              </a:buClr>
              <a:buSzPct val="89000"/>
              <a:buFont typeface="Arial" charset="0"/>
              <a:buChar char="-"/>
              <a:defRPr lang="x-none" sz="1600" baseline="0">
                <a:latin typeface="+mn-lt"/>
              </a:defRPr>
            </a:lvl5pPr>
            <a:lvl6pPr marL="765042" indent="-132820" defTabSz="913542" fontAlgn="base">
              <a:spcBef>
                <a:spcPct val="0"/>
              </a:spcBef>
              <a:spcAft>
                <a:spcPct val="0"/>
              </a:spcAft>
              <a:buClr>
                <a:schemeClr val="tx2"/>
              </a:buClr>
              <a:buSzPct val="89000"/>
              <a:buFont typeface="Arial" charset="0"/>
              <a:buChar char="-"/>
              <a:defRPr lang="x-none" sz="1632" baseline="0">
                <a:latin typeface="+mn-lt"/>
              </a:defRPr>
            </a:lvl6pPr>
            <a:lvl7pPr marL="765042" indent="-132820" defTabSz="913542" fontAlgn="base">
              <a:spcBef>
                <a:spcPct val="0"/>
              </a:spcBef>
              <a:spcAft>
                <a:spcPct val="0"/>
              </a:spcAft>
              <a:buClr>
                <a:schemeClr val="tx2"/>
              </a:buClr>
              <a:buSzPct val="89000"/>
              <a:buFont typeface="Arial" charset="0"/>
              <a:buChar char="-"/>
              <a:defRPr lang="x-none" sz="1632" baseline="0">
                <a:latin typeface="+mn-lt"/>
              </a:defRPr>
            </a:lvl7pPr>
            <a:lvl8pPr marL="765042" indent="-132820" defTabSz="913542" fontAlgn="base">
              <a:spcBef>
                <a:spcPct val="0"/>
              </a:spcBef>
              <a:spcAft>
                <a:spcPct val="0"/>
              </a:spcAft>
              <a:buClr>
                <a:schemeClr val="tx2"/>
              </a:buClr>
              <a:buSzPct val="89000"/>
              <a:buFont typeface="Arial" charset="0"/>
              <a:buChar char="-"/>
              <a:defRPr lang="x-none" sz="1632" baseline="0">
                <a:latin typeface="+mn-lt"/>
              </a:defRPr>
            </a:lvl8pPr>
            <a:lvl9pPr marL="765042" indent="-132820" defTabSz="913542" fontAlgn="base">
              <a:spcBef>
                <a:spcPct val="0"/>
              </a:spcBef>
              <a:spcAft>
                <a:spcPct val="0"/>
              </a:spcAft>
              <a:buClr>
                <a:schemeClr val="tx2"/>
              </a:buClr>
              <a:buSzPct val="89000"/>
              <a:buFont typeface="Arial" charset="0"/>
              <a:buChar char="-"/>
              <a:defRPr lang="x-none" sz="1632" baseline="0">
                <a:latin typeface="+mn-lt"/>
              </a:defRPr>
            </a:lvl9pPr>
          </a:lstStyle>
          <a:p>
            <a:pPr defTabSz="1218026" fontAlgn="base">
              <a:spcBef>
                <a:spcPct val="0"/>
              </a:spcBef>
              <a:spcAft>
                <a:spcPct val="0"/>
              </a:spcAft>
              <a:buClr>
                <a:srgbClr val="005073"/>
              </a:buClr>
              <a:defRPr/>
            </a:pPr>
            <a:r>
              <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Data center</a:t>
            </a:r>
          </a:p>
        </p:txBody>
      </p:sp>
      <p:cxnSp>
        <p:nvCxnSpPr>
          <p:cNvPr id="252" name="Straight Connector 251">
            <a:extLst>
              <a:ext uri="{FF2B5EF4-FFF2-40B4-BE49-F238E27FC236}">
                <a16:creationId xmlns:a16="http://schemas.microsoft.com/office/drawing/2014/main" id="{A73D51D9-138D-E945-9DB8-A6136F7AEBFB}"/>
              </a:ext>
            </a:extLst>
          </p:cNvPr>
          <p:cNvCxnSpPr>
            <a:cxnSpLocks/>
          </p:cNvCxnSpPr>
          <p:nvPr/>
        </p:nvCxnSpPr>
        <p:spPr>
          <a:xfrm flipH="1">
            <a:off x="4742931" y="4155923"/>
            <a:ext cx="1591" cy="1152035"/>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8199054E-96DA-8049-9CF0-7FF134527CE6}"/>
              </a:ext>
            </a:extLst>
          </p:cNvPr>
          <p:cNvCxnSpPr>
            <a:cxnSpLocks/>
          </p:cNvCxnSpPr>
          <p:nvPr/>
        </p:nvCxnSpPr>
        <p:spPr>
          <a:xfrm>
            <a:off x="5335829" y="4212920"/>
            <a:ext cx="0" cy="1095037"/>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55" name="Oval 5">
            <a:extLst>
              <a:ext uri="{FF2B5EF4-FFF2-40B4-BE49-F238E27FC236}">
                <a16:creationId xmlns:a16="http://schemas.microsoft.com/office/drawing/2014/main" id="{699A3D5A-DC6E-CE4D-A3BF-1D5F3EE53579}"/>
              </a:ext>
            </a:extLst>
          </p:cNvPr>
          <p:cNvSpPr>
            <a:spLocks noChangeArrowheads="1"/>
          </p:cNvSpPr>
          <p:nvPr/>
        </p:nvSpPr>
        <p:spPr bwMode="auto">
          <a:xfrm>
            <a:off x="5461034" y="5195436"/>
            <a:ext cx="190284" cy="190893"/>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Arial"/>
              <a:ea typeface="ＭＳ Ｐゴシック" charset="0"/>
              <a:cs typeface="Arial"/>
              <a:sym typeface="Arial"/>
            </a:endParaRPr>
          </a:p>
        </p:txBody>
      </p:sp>
      <p:sp>
        <p:nvSpPr>
          <p:cNvPr id="256" name="Freeform 6">
            <a:extLst>
              <a:ext uri="{FF2B5EF4-FFF2-40B4-BE49-F238E27FC236}">
                <a16:creationId xmlns:a16="http://schemas.microsoft.com/office/drawing/2014/main" id="{4ABFF223-1D14-F145-9F08-07DD12088F9C}"/>
              </a:ext>
            </a:extLst>
          </p:cNvPr>
          <p:cNvSpPr>
            <a:spLocks/>
          </p:cNvSpPr>
          <p:nvPr/>
        </p:nvSpPr>
        <p:spPr bwMode="auto">
          <a:xfrm>
            <a:off x="5350669" y="5388549"/>
            <a:ext cx="534424" cy="545952"/>
          </a:xfrm>
          <a:custGeom>
            <a:avLst/>
            <a:gdLst>
              <a:gd name="T0" fmla="*/ 60 w 514"/>
              <a:gd name="T1" fmla="*/ 344 h 523"/>
              <a:gd name="T2" fmla="*/ 99 w 514"/>
              <a:gd name="T3" fmla="*/ 123 h 523"/>
              <a:gd name="T4" fmla="*/ 92 w 514"/>
              <a:gd name="T5" fmla="*/ 324 h 523"/>
              <a:gd name="T6" fmla="*/ 58 w 514"/>
              <a:gd name="T7" fmla="*/ 523 h 523"/>
              <a:gd name="T8" fmla="*/ 347 w 514"/>
              <a:gd name="T9" fmla="*/ 523 h 523"/>
              <a:gd name="T10" fmla="*/ 289 w 514"/>
              <a:gd name="T11" fmla="*/ 248 h 523"/>
              <a:gd name="T12" fmla="*/ 295 w 514"/>
              <a:gd name="T13" fmla="*/ 119 h 523"/>
              <a:gd name="T14" fmla="*/ 514 w 514"/>
              <a:gd name="T15" fmla="*/ 183 h 523"/>
              <a:gd name="T16" fmla="*/ 514 w 514"/>
              <a:gd name="T17" fmla="*/ 135 h 523"/>
              <a:gd name="T18" fmla="*/ 356 w 514"/>
              <a:gd name="T19" fmla="*/ 89 h 523"/>
              <a:gd name="T20" fmla="*/ 230 w 514"/>
              <a:gd name="T21" fmla="*/ 14 h 523"/>
              <a:gd name="T22" fmla="*/ 170 w 514"/>
              <a:gd name="T23" fmla="*/ 14 h 523"/>
              <a:gd name="T24" fmla="*/ 11 w 514"/>
              <a:gd name="T25" fmla="*/ 344 h 523"/>
              <a:gd name="T26" fmla="*/ 60 w 514"/>
              <a:gd name="T27" fmla="*/ 344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4" h="523">
                <a:moveTo>
                  <a:pt x="60" y="344"/>
                </a:moveTo>
                <a:cubicBezTo>
                  <a:pt x="58" y="212"/>
                  <a:pt x="99" y="123"/>
                  <a:pt x="99" y="123"/>
                </a:cubicBezTo>
                <a:cubicBezTo>
                  <a:pt x="156" y="233"/>
                  <a:pt x="119" y="259"/>
                  <a:pt x="92" y="324"/>
                </a:cubicBezTo>
                <a:cubicBezTo>
                  <a:pt x="65" y="389"/>
                  <a:pt x="58" y="523"/>
                  <a:pt x="58" y="523"/>
                </a:cubicBezTo>
                <a:cubicBezTo>
                  <a:pt x="347" y="523"/>
                  <a:pt x="347" y="523"/>
                  <a:pt x="347" y="523"/>
                </a:cubicBezTo>
                <a:cubicBezTo>
                  <a:pt x="345" y="327"/>
                  <a:pt x="302" y="295"/>
                  <a:pt x="289" y="248"/>
                </a:cubicBezTo>
                <a:cubicBezTo>
                  <a:pt x="277" y="201"/>
                  <a:pt x="295" y="119"/>
                  <a:pt x="295" y="119"/>
                </a:cubicBezTo>
                <a:cubicBezTo>
                  <a:pt x="381" y="225"/>
                  <a:pt x="514" y="183"/>
                  <a:pt x="514" y="183"/>
                </a:cubicBezTo>
                <a:cubicBezTo>
                  <a:pt x="514" y="135"/>
                  <a:pt x="514" y="135"/>
                  <a:pt x="514" y="135"/>
                </a:cubicBezTo>
                <a:cubicBezTo>
                  <a:pt x="514" y="135"/>
                  <a:pt x="402" y="177"/>
                  <a:pt x="356" y="89"/>
                </a:cubicBezTo>
                <a:cubicBezTo>
                  <a:pt x="311" y="0"/>
                  <a:pt x="230" y="14"/>
                  <a:pt x="230" y="14"/>
                </a:cubicBezTo>
                <a:cubicBezTo>
                  <a:pt x="206" y="57"/>
                  <a:pt x="170" y="14"/>
                  <a:pt x="170" y="14"/>
                </a:cubicBezTo>
                <a:cubicBezTo>
                  <a:pt x="0" y="4"/>
                  <a:pt x="11" y="344"/>
                  <a:pt x="11" y="344"/>
                </a:cubicBezTo>
                <a:lnTo>
                  <a:pt x="60" y="344"/>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Arial"/>
              <a:ea typeface="ＭＳ Ｐゴシック" charset="0"/>
              <a:cs typeface="Arial"/>
              <a:sym typeface="Arial"/>
            </a:endParaRPr>
          </a:p>
        </p:txBody>
      </p:sp>
      <p:sp>
        <p:nvSpPr>
          <p:cNvPr id="257" name="Freeform 7">
            <a:extLst>
              <a:ext uri="{FF2B5EF4-FFF2-40B4-BE49-F238E27FC236}">
                <a16:creationId xmlns:a16="http://schemas.microsoft.com/office/drawing/2014/main" id="{D0FC2084-AA99-A942-AD81-28A954496DD6}"/>
              </a:ext>
            </a:extLst>
          </p:cNvPr>
          <p:cNvSpPr>
            <a:spLocks/>
          </p:cNvSpPr>
          <p:nvPr/>
        </p:nvSpPr>
        <p:spPr bwMode="auto">
          <a:xfrm>
            <a:off x="5362087" y="5744700"/>
            <a:ext cx="52736" cy="35451"/>
          </a:xfrm>
          <a:custGeom>
            <a:avLst/>
            <a:gdLst>
              <a:gd name="T0" fmla="*/ 0 w 51"/>
              <a:gd name="T1" fmla="*/ 0 h 34"/>
              <a:gd name="T2" fmla="*/ 26 w 51"/>
              <a:gd name="T3" fmla="*/ 30 h 34"/>
              <a:gd name="T4" fmla="*/ 48 w 51"/>
              <a:gd name="T5" fmla="*/ 0 h 34"/>
              <a:gd name="T6" fmla="*/ 0 w 51"/>
              <a:gd name="T7" fmla="*/ 0 h 34"/>
            </a:gdLst>
            <a:ahLst/>
            <a:cxnLst>
              <a:cxn ang="0">
                <a:pos x="T0" y="T1"/>
              </a:cxn>
              <a:cxn ang="0">
                <a:pos x="T2" y="T3"/>
              </a:cxn>
              <a:cxn ang="0">
                <a:pos x="T4" y="T5"/>
              </a:cxn>
              <a:cxn ang="0">
                <a:pos x="T6" y="T7"/>
              </a:cxn>
            </a:cxnLst>
            <a:rect l="0" t="0" r="r" b="b"/>
            <a:pathLst>
              <a:path w="51" h="34">
                <a:moveTo>
                  <a:pt x="0" y="0"/>
                </a:moveTo>
                <a:cubicBezTo>
                  <a:pt x="0" y="0"/>
                  <a:pt x="0" y="34"/>
                  <a:pt x="26" y="30"/>
                </a:cubicBezTo>
                <a:cubicBezTo>
                  <a:pt x="51" y="27"/>
                  <a:pt x="48" y="0"/>
                  <a:pt x="48" y="0"/>
                </a:cubicBezTo>
                <a:lnTo>
                  <a:pt x="0" y="0"/>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Arial"/>
              <a:ea typeface="ＭＳ Ｐゴシック" charset="0"/>
              <a:cs typeface="Arial"/>
              <a:sym typeface="Arial"/>
            </a:endParaRPr>
          </a:p>
        </p:txBody>
      </p:sp>
      <p:sp>
        <p:nvSpPr>
          <p:cNvPr id="258" name="Freeform 8">
            <a:extLst>
              <a:ext uri="{FF2B5EF4-FFF2-40B4-BE49-F238E27FC236}">
                <a16:creationId xmlns:a16="http://schemas.microsoft.com/office/drawing/2014/main" id="{CC2B64F1-27BF-704F-8195-6D86D35F047A}"/>
              </a:ext>
            </a:extLst>
          </p:cNvPr>
          <p:cNvSpPr>
            <a:spLocks/>
          </p:cNvSpPr>
          <p:nvPr/>
        </p:nvSpPr>
        <p:spPr bwMode="auto">
          <a:xfrm>
            <a:off x="5467014" y="5926865"/>
            <a:ext cx="85356" cy="340880"/>
          </a:xfrm>
          <a:custGeom>
            <a:avLst/>
            <a:gdLst>
              <a:gd name="T0" fmla="*/ 82 w 82"/>
              <a:gd name="T1" fmla="*/ 277 h 326"/>
              <a:gd name="T2" fmla="*/ 82 w 82"/>
              <a:gd name="T3" fmla="*/ 0 h 326"/>
              <a:gd name="T4" fmla="*/ 6 w 82"/>
              <a:gd name="T5" fmla="*/ 0 h 326"/>
              <a:gd name="T6" fmla="*/ 0 w 82"/>
              <a:gd name="T7" fmla="*/ 277 h 326"/>
              <a:gd name="T8" fmla="*/ 82 w 82"/>
              <a:gd name="T9" fmla="*/ 277 h 326"/>
            </a:gdLst>
            <a:ahLst/>
            <a:cxnLst>
              <a:cxn ang="0">
                <a:pos x="T0" y="T1"/>
              </a:cxn>
              <a:cxn ang="0">
                <a:pos x="T2" y="T3"/>
              </a:cxn>
              <a:cxn ang="0">
                <a:pos x="T4" y="T5"/>
              </a:cxn>
              <a:cxn ang="0">
                <a:pos x="T6" y="T7"/>
              </a:cxn>
              <a:cxn ang="0">
                <a:pos x="T8" y="T9"/>
              </a:cxn>
            </a:cxnLst>
            <a:rect l="0" t="0" r="r" b="b"/>
            <a:pathLst>
              <a:path w="82" h="326">
                <a:moveTo>
                  <a:pt x="82" y="277"/>
                </a:moveTo>
                <a:cubicBezTo>
                  <a:pt x="82" y="228"/>
                  <a:pt x="82" y="0"/>
                  <a:pt x="82" y="0"/>
                </a:cubicBezTo>
                <a:cubicBezTo>
                  <a:pt x="6" y="0"/>
                  <a:pt x="6" y="0"/>
                  <a:pt x="6" y="0"/>
                </a:cubicBezTo>
                <a:cubicBezTo>
                  <a:pt x="6" y="0"/>
                  <a:pt x="0" y="237"/>
                  <a:pt x="0" y="277"/>
                </a:cubicBezTo>
                <a:cubicBezTo>
                  <a:pt x="0" y="317"/>
                  <a:pt x="82" y="326"/>
                  <a:pt x="82" y="277"/>
                </a:cubicBez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Arial"/>
              <a:ea typeface="ＭＳ Ｐゴシック" charset="0"/>
              <a:cs typeface="Arial"/>
              <a:sym typeface="Arial"/>
            </a:endParaRPr>
          </a:p>
        </p:txBody>
      </p:sp>
      <p:sp>
        <p:nvSpPr>
          <p:cNvPr id="259" name="Freeform 9">
            <a:extLst>
              <a:ext uri="{FF2B5EF4-FFF2-40B4-BE49-F238E27FC236}">
                <a16:creationId xmlns:a16="http://schemas.microsoft.com/office/drawing/2014/main" id="{75B3E196-541A-964D-874E-D4A48455C728}"/>
              </a:ext>
            </a:extLst>
          </p:cNvPr>
          <p:cNvSpPr>
            <a:spLocks/>
          </p:cNvSpPr>
          <p:nvPr/>
        </p:nvSpPr>
        <p:spPr bwMode="auto">
          <a:xfrm>
            <a:off x="5571942" y="5926865"/>
            <a:ext cx="85356" cy="340880"/>
          </a:xfrm>
          <a:custGeom>
            <a:avLst/>
            <a:gdLst>
              <a:gd name="T0" fmla="*/ 82 w 82"/>
              <a:gd name="T1" fmla="*/ 277 h 326"/>
              <a:gd name="T2" fmla="*/ 76 w 82"/>
              <a:gd name="T3" fmla="*/ 0 h 326"/>
              <a:gd name="T4" fmla="*/ 0 w 82"/>
              <a:gd name="T5" fmla="*/ 0 h 326"/>
              <a:gd name="T6" fmla="*/ 0 w 82"/>
              <a:gd name="T7" fmla="*/ 277 h 326"/>
              <a:gd name="T8" fmla="*/ 82 w 82"/>
              <a:gd name="T9" fmla="*/ 277 h 326"/>
            </a:gdLst>
            <a:ahLst/>
            <a:cxnLst>
              <a:cxn ang="0">
                <a:pos x="T0" y="T1"/>
              </a:cxn>
              <a:cxn ang="0">
                <a:pos x="T2" y="T3"/>
              </a:cxn>
              <a:cxn ang="0">
                <a:pos x="T4" y="T5"/>
              </a:cxn>
              <a:cxn ang="0">
                <a:pos x="T6" y="T7"/>
              </a:cxn>
              <a:cxn ang="0">
                <a:pos x="T8" y="T9"/>
              </a:cxn>
            </a:cxnLst>
            <a:rect l="0" t="0" r="r" b="b"/>
            <a:pathLst>
              <a:path w="82" h="326">
                <a:moveTo>
                  <a:pt x="82" y="277"/>
                </a:moveTo>
                <a:cubicBezTo>
                  <a:pt x="82" y="237"/>
                  <a:pt x="76" y="0"/>
                  <a:pt x="76" y="0"/>
                </a:cubicBezTo>
                <a:cubicBezTo>
                  <a:pt x="0" y="0"/>
                  <a:pt x="0" y="0"/>
                  <a:pt x="0" y="0"/>
                </a:cubicBezTo>
                <a:cubicBezTo>
                  <a:pt x="0" y="0"/>
                  <a:pt x="0" y="228"/>
                  <a:pt x="0" y="277"/>
                </a:cubicBezTo>
                <a:cubicBezTo>
                  <a:pt x="0" y="326"/>
                  <a:pt x="82" y="317"/>
                  <a:pt x="82" y="277"/>
                </a:cubicBez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Arial"/>
              <a:ea typeface="ＭＳ Ｐゴシック" charset="0"/>
              <a:cs typeface="Arial"/>
              <a:sym typeface="Arial"/>
            </a:endParaRPr>
          </a:p>
        </p:txBody>
      </p:sp>
      <p:sp>
        <p:nvSpPr>
          <p:cNvPr id="260" name="Freeform 10">
            <a:extLst>
              <a:ext uri="{FF2B5EF4-FFF2-40B4-BE49-F238E27FC236}">
                <a16:creationId xmlns:a16="http://schemas.microsoft.com/office/drawing/2014/main" id="{D48D461B-F7BF-9444-B364-18F89B2FA3C6}"/>
              </a:ext>
            </a:extLst>
          </p:cNvPr>
          <p:cNvSpPr>
            <a:spLocks/>
          </p:cNvSpPr>
          <p:nvPr/>
        </p:nvSpPr>
        <p:spPr bwMode="auto">
          <a:xfrm>
            <a:off x="5882376" y="5460544"/>
            <a:ext cx="102753" cy="167985"/>
          </a:xfrm>
          <a:custGeom>
            <a:avLst/>
            <a:gdLst>
              <a:gd name="T0" fmla="*/ 80 w 99"/>
              <a:gd name="T1" fmla="*/ 161 h 161"/>
              <a:gd name="T2" fmla="*/ 19 w 99"/>
              <a:gd name="T3" fmla="*/ 161 h 161"/>
              <a:gd name="T4" fmla="*/ 0 w 99"/>
              <a:gd name="T5" fmla="*/ 143 h 161"/>
              <a:gd name="T6" fmla="*/ 0 w 99"/>
              <a:gd name="T7" fmla="*/ 19 h 161"/>
              <a:gd name="T8" fmla="*/ 19 w 99"/>
              <a:gd name="T9" fmla="*/ 0 h 161"/>
              <a:gd name="T10" fmla="*/ 80 w 99"/>
              <a:gd name="T11" fmla="*/ 0 h 161"/>
              <a:gd name="T12" fmla="*/ 99 w 99"/>
              <a:gd name="T13" fmla="*/ 19 h 161"/>
              <a:gd name="T14" fmla="*/ 99 w 99"/>
              <a:gd name="T15" fmla="*/ 143 h 161"/>
              <a:gd name="T16" fmla="*/ 80 w 99"/>
              <a:gd name="T17"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61">
                <a:moveTo>
                  <a:pt x="80" y="161"/>
                </a:moveTo>
                <a:cubicBezTo>
                  <a:pt x="19" y="161"/>
                  <a:pt x="19" y="161"/>
                  <a:pt x="19" y="161"/>
                </a:cubicBezTo>
                <a:cubicBezTo>
                  <a:pt x="9" y="161"/>
                  <a:pt x="0" y="153"/>
                  <a:pt x="0" y="143"/>
                </a:cubicBezTo>
                <a:cubicBezTo>
                  <a:pt x="0" y="19"/>
                  <a:pt x="0" y="19"/>
                  <a:pt x="0" y="19"/>
                </a:cubicBezTo>
                <a:cubicBezTo>
                  <a:pt x="0" y="8"/>
                  <a:pt x="9" y="0"/>
                  <a:pt x="19" y="0"/>
                </a:cubicBezTo>
                <a:cubicBezTo>
                  <a:pt x="80" y="0"/>
                  <a:pt x="80" y="0"/>
                  <a:pt x="80" y="0"/>
                </a:cubicBezTo>
                <a:cubicBezTo>
                  <a:pt x="91" y="0"/>
                  <a:pt x="99" y="8"/>
                  <a:pt x="99" y="19"/>
                </a:cubicBezTo>
                <a:cubicBezTo>
                  <a:pt x="99" y="143"/>
                  <a:pt x="99" y="143"/>
                  <a:pt x="99" y="143"/>
                </a:cubicBezTo>
                <a:cubicBezTo>
                  <a:pt x="99" y="153"/>
                  <a:pt x="91" y="161"/>
                  <a:pt x="80" y="161"/>
                </a:cubicBezTo>
                <a:close/>
              </a:path>
            </a:pathLst>
          </a:custGeom>
          <a:solidFill>
            <a:schemeClr val="tx1"/>
          </a:solidFill>
          <a:ln w="15875">
            <a:solidFill>
              <a:schemeClr val="bg1"/>
            </a:solidFill>
            <a:round/>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Arial"/>
              <a:ea typeface="ＭＳ Ｐゴシック" charset="0"/>
              <a:cs typeface="Arial"/>
              <a:sym typeface="Arial"/>
            </a:endParaRPr>
          </a:p>
        </p:txBody>
      </p:sp>
      <p:sp>
        <p:nvSpPr>
          <p:cNvPr id="261" name="Freeform: Shape 286">
            <a:extLst>
              <a:ext uri="{FF2B5EF4-FFF2-40B4-BE49-F238E27FC236}">
                <a16:creationId xmlns:a16="http://schemas.microsoft.com/office/drawing/2014/main" id="{821CF859-C004-D748-947D-3AF496030E69}"/>
              </a:ext>
            </a:extLst>
          </p:cNvPr>
          <p:cNvSpPr/>
          <p:nvPr/>
        </p:nvSpPr>
        <p:spPr>
          <a:xfrm>
            <a:off x="5418628" y="5173911"/>
            <a:ext cx="266397" cy="185420"/>
          </a:xfrm>
          <a:custGeom>
            <a:avLst/>
            <a:gdLst>
              <a:gd name="connsiteX0" fmla="*/ 1651820 w 3097162"/>
              <a:gd name="connsiteY0" fmla="*/ 0 h 1651820"/>
              <a:gd name="connsiteX1" fmla="*/ 0 w 3097162"/>
              <a:gd name="connsiteY1" fmla="*/ 1651820 h 1651820"/>
              <a:gd name="connsiteX2" fmla="*/ 3097162 w 3097162"/>
              <a:gd name="connsiteY2" fmla="*/ 1651820 h 1651820"/>
              <a:gd name="connsiteX3" fmla="*/ 1651820 w 3097162"/>
              <a:gd name="connsiteY3" fmla="*/ 0 h 1651820"/>
              <a:gd name="connsiteX0" fmla="*/ 1651820 w 3097162"/>
              <a:gd name="connsiteY0" fmla="*/ 0 h 1651820"/>
              <a:gd name="connsiteX1" fmla="*/ 0 w 3097162"/>
              <a:gd name="connsiteY1" fmla="*/ 1651820 h 1651820"/>
              <a:gd name="connsiteX2" fmla="*/ 3097162 w 3097162"/>
              <a:gd name="connsiteY2" fmla="*/ 1651820 h 1651820"/>
              <a:gd name="connsiteX3" fmla="*/ 1651820 w 3097162"/>
              <a:gd name="connsiteY3" fmla="*/ 0 h 1651820"/>
              <a:gd name="connsiteX0" fmla="*/ 1651820 w 3097162"/>
              <a:gd name="connsiteY0" fmla="*/ 196 h 1652016"/>
              <a:gd name="connsiteX1" fmla="*/ 0 w 3097162"/>
              <a:gd name="connsiteY1" fmla="*/ 1652016 h 1652016"/>
              <a:gd name="connsiteX2" fmla="*/ 3097162 w 3097162"/>
              <a:gd name="connsiteY2" fmla="*/ 1652016 h 1652016"/>
              <a:gd name="connsiteX3" fmla="*/ 1651820 w 3097162"/>
              <a:gd name="connsiteY3" fmla="*/ 196 h 1652016"/>
              <a:gd name="connsiteX0" fmla="*/ 1651820 w 3097162"/>
              <a:gd name="connsiteY0" fmla="*/ 25 h 1651845"/>
              <a:gd name="connsiteX1" fmla="*/ 0 w 3097162"/>
              <a:gd name="connsiteY1" fmla="*/ 1651845 h 1651845"/>
              <a:gd name="connsiteX2" fmla="*/ 3097162 w 3097162"/>
              <a:gd name="connsiteY2" fmla="*/ 1651845 h 1651845"/>
              <a:gd name="connsiteX3" fmla="*/ 1651820 w 3097162"/>
              <a:gd name="connsiteY3" fmla="*/ 25 h 1651845"/>
              <a:gd name="connsiteX0" fmla="*/ 1651820 w 3097162"/>
              <a:gd name="connsiteY0" fmla="*/ 10 h 1651830"/>
              <a:gd name="connsiteX1" fmla="*/ 0 w 3097162"/>
              <a:gd name="connsiteY1" fmla="*/ 1651830 h 1651830"/>
              <a:gd name="connsiteX2" fmla="*/ 3097162 w 3097162"/>
              <a:gd name="connsiteY2" fmla="*/ 1651830 h 1651830"/>
              <a:gd name="connsiteX3" fmla="*/ 1651820 w 3097162"/>
              <a:gd name="connsiteY3" fmla="*/ 10 h 1651830"/>
              <a:gd name="connsiteX0" fmla="*/ 1601253 w 3097162"/>
              <a:gd name="connsiteY0" fmla="*/ 9 h 1651830"/>
              <a:gd name="connsiteX1" fmla="*/ 0 w 3097162"/>
              <a:gd name="connsiteY1" fmla="*/ 1651830 h 1651830"/>
              <a:gd name="connsiteX2" fmla="*/ 3097162 w 3097162"/>
              <a:gd name="connsiteY2" fmla="*/ 1651830 h 1651830"/>
              <a:gd name="connsiteX3" fmla="*/ 1601253 w 3097162"/>
              <a:gd name="connsiteY3" fmla="*/ 9 h 1651830"/>
              <a:gd name="connsiteX0" fmla="*/ 1601253 w 3097162"/>
              <a:gd name="connsiteY0" fmla="*/ 9 h 1651830"/>
              <a:gd name="connsiteX1" fmla="*/ 0 w 3097162"/>
              <a:gd name="connsiteY1" fmla="*/ 1651830 h 1651830"/>
              <a:gd name="connsiteX2" fmla="*/ 3097162 w 3097162"/>
              <a:gd name="connsiteY2" fmla="*/ 1651830 h 1651830"/>
              <a:gd name="connsiteX3" fmla="*/ 1601253 w 3097162"/>
              <a:gd name="connsiteY3" fmla="*/ 9 h 1651830"/>
            </a:gdLst>
            <a:ahLst/>
            <a:cxnLst>
              <a:cxn ang="0">
                <a:pos x="connsiteX0" y="connsiteY0"/>
              </a:cxn>
              <a:cxn ang="0">
                <a:pos x="connsiteX1" y="connsiteY1"/>
              </a:cxn>
              <a:cxn ang="0">
                <a:pos x="connsiteX2" y="connsiteY2"/>
              </a:cxn>
              <a:cxn ang="0">
                <a:pos x="connsiteX3" y="connsiteY3"/>
              </a:cxn>
            </a:cxnLst>
            <a:rect l="l" t="t" r="r" b="b"/>
            <a:pathLst>
              <a:path w="3097162" h="1651830">
                <a:moveTo>
                  <a:pt x="1601253" y="9"/>
                </a:moveTo>
                <a:cubicBezTo>
                  <a:pt x="182423" y="3829"/>
                  <a:pt x="550607" y="1101223"/>
                  <a:pt x="0" y="1651830"/>
                </a:cubicBezTo>
                <a:lnTo>
                  <a:pt x="3097162" y="1651830"/>
                </a:lnTo>
                <a:cubicBezTo>
                  <a:pt x="2615381" y="1101223"/>
                  <a:pt x="3020083" y="-3811"/>
                  <a:pt x="1601253" y="9"/>
                </a:cubicBez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Arial"/>
              <a:ea typeface="ＭＳ Ｐゴシック" charset="0"/>
              <a:cs typeface="Arial"/>
              <a:sym typeface="Arial"/>
            </a:endParaRPr>
          </a:p>
        </p:txBody>
      </p:sp>
      <p:sp>
        <p:nvSpPr>
          <p:cNvPr id="262" name="Rounded Rectangle 53">
            <a:extLst>
              <a:ext uri="{FF2B5EF4-FFF2-40B4-BE49-F238E27FC236}">
                <a16:creationId xmlns:a16="http://schemas.microsoft.com/office/drawing/2014/main" id="{75199169-0CC1-8640-B585-ED9AFED16084}"/>
              </a:ext>
            </a:extLst>
          </p:cNvPr>
          <p:cNvSpPr/>
          <p:nvPr/>
        </p:nvSpPr>
        <p:spPr>
          <a:xfrm>
            <a:off x="4629178" y="5005608"/>
            <a:ext cx="762463" cy="226088"/>
          </a:xfrm>
          <a:prstGeom prst="roundRect">
            <a:avLst>
              <a:gd name="adj" fmla="val 5000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55" fontAlgn="base">
              <a:spcBef>
                <a:spcPct val="0"/>
              </a:spcBef>
              <a:spcAft>
                <a:spcPct val="0"/>
              </a:spcAft>
              <a:defRPr/>
            </a:pPr>
            <a:r>
              <a:rPr lang="en-US" sz="1200">
                <a:solidFill>
                  <a:srgbClr val="FFFFFF"/>
                </a:solidFill>
                <a:latin typeface="CiscoSansTT ExtraLight" panose="020B0303020201020303" pitchFamily="34" charset="0"/>
                <a:cs typeface="CiscoSansTT ExtraLight" panose="020B0303020201020303" pitchFamily="34" charset="0"/>
                <a:sym typeface="Arial"/>
              </a:rPr>
              <a:t>AMP</a:t>
            </a:r>
          </a:p>
        </p:txBody>
      </p:sp>
      <p:sp>
        <p:nvSpPr>
          <p:cNvPr id="263" name="Rounded Rectangle 82">
            <a:extLst>
              <a:ext uri="{FF2B5EF4-FFF2-40B4-BE49-F238E27FC236}">
                <a16:creationId xmlns:a16="http://schemas.microsoft.com/office/drawing/2014/main" id="{8F1FF81F-18F9-2941-9D3A-553281786032}"/>
              </a:ext>
            </a:extLst>
          </p:cNvPr>
          <p:cNvSpPr/>
          <p:nvPr/>
        </p:nvSpPr>
        <p:spPr>
          <a:xfrm>
            <a:off x="4263684" y="4502585"/>
            <a:ext cx="1649571" cy="226088"/>
          </a:xfrm>
          <a:prstGeom prst="roundRect">
            <a:avLst>
              <a:gd name="adj" fmla="val 5000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55" fontAlgn="base">
              <a:spcBef>
                <a:spcPct val="0"/>
              </a:spcBef>
              <a:spcAft>
                <a:spcPct val="0"/>
              </a:spcAft>
              <a:defRPr/>
            </a:pPr>
            <a:r>
              <a:rPr lang="en-US" sz="1200">
                <a:solidFill>
                  <a:srgbClr val="FFFFFF"/>
                </a:solidFill>
                <a:latin typeface="CiscoSansTT ExtraLight" panose="020B0303020201020303" pitchFamily="34" charset="0"/>
                <a:cs typeface="CiscoSansTT ExtraLight" panose="020B0303020201020303" pitchFamily="34" charset="0"/>
                <a:sym typeface="Arial"/>
              </a:rPr>
              <a:t>Stealthwatch Cloud</a:t>
            </a:r>
          </a:p>
        </p:txBody>
      </p:sp>
      <p:sp>
        <p:nvSpPr>
          <p:cNvPr id="264" name="Rounded Rectangle 263">
            <a:extLst>
              <a:ext uri="{FF2B5EF4-FFF2-40B4-BE49-F238E27FC236}">
                <a16:creationId xmlns:a16="http://schemas.microsoft.com/office/drawing/2014/main" id="{6BDD4238-35BC-EB45-BB6E-984010BDD4F7}"/>
              </a:ext>
            </a:extLst>
          </p:cNvPr>
          <p:cNvSpPr/>
          <p:nvPr/>
        </p:nvSpPr>
        <p:spPr>
          <a:xfrm>
            <a:off x="-322217" y="6403200"/>
            <a:ext cx="7182185" cy="470400"/>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r>
              <a:rPr lang="en-US" sz="1733">
                <a:solidFill>
                  <a:srgbClr val="FFFFFF"/>
                </a:solidFill>
                <a:latin typeface="CiscoSansTT ExtraLight" panose="020B0303020201020303" pitchFamily="34" charset="0"/>
                <a:ea typeface="ＭＳ Ｐゴシック" charset="0"/>
                <a:cs typeface="CiscoSansTT ExtraLight" panose="020B0303020201020303" pitchFamily="34" charset="0"/>
                <a:sym typeface="Arial"/>
              </a:rPr>
              <a:t>Cisco integrated security architecture</a:t>
            </a:r>
          </a:p>
        </p:txBody>
      </p:sp>
      <p:sp>
        <p:nvSpPr>
          <p:cNvPr id="265" name="Rounded Rectangle 55">
            <a:extLst>
              <a:ext uri="{FF2B5EF4-FFF2-40B4-BE49-F238E27FC236}">
                <a16:creationId xmlns:a16="http://schemas.microsoft.com/office/drawing/2014/main" id="{9D1724A6-BCD4-E946-838A-F1862356B479}"/>
              </a:ext>
            </a:extLst>
          </p:cNvPr>
          <p:cNvSpPr/>
          <p:nvPr/>
        </p:nvSpPr>
        <p:spPr>
          <a:xfrm>
            <a:off x="4298035" y="6226967"/>
            <a:ext cx="1440000" cy="211122"/>
          </a:xfrm>
          <a:prstGeom prst="round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45720" tIns="18288" rIns="45720" bIns="18288" rtlCol="0" anchor="ctr">
            <a:spAutoFit/>
          </a:bodyPr>
          <a:lstStyle/>
          <a:p>
            <a:pPr algn="ctr" defTabSz="609539" fontAlgn="base">
              <a:spcBef>
                <a:spcPct val="0"/>
              </a:spcBef>
              <a:spcAft>
                <a:spcPct val="0"/>
              </a:spcAft>
              <a:defRPr/>
            </a:pPr>
            <a:r>
              <a:rPr lang="en-US" sz="1000">
                <a:solidFill>
                  <a:srgbClr val="EDF1F6"/>
                </a:solidFill>
                <a:latin typeface="CiscoSansTT ExtraLight" panose="020B0303020201020303" pitchFamily="34" charset="0"/>
                <a:cs typeface="CiscoSansTT ExtraLight" panose="020B0303020201020303" pitchFamily="34" charset="0"/>
                <a:sym typeface="Arial"/>
              </a:rPr>
              <a:t>On-premises users</a:t>
            </a:r>
          </a:p>
        </p:txBody>
      </p:sp>
      <p:sp>
        <p:nvSpPr>
          <p:cNvPr id="267" name="Rounded Rectangle 55">
            <a:extLst>
              <a:ext uri="{FF2B5EF4-FFF2-40B4-BE49-F238E27FC236}">
                <a16:creationId xmlns:a16="http://schemas.microsoft.com/office/drawing/2014/main" id="{37A5C1D8-0394-CE4D-B36A-457ACDAC730C}"/>
              </a:ext>
            </a:extLst>
          </p:cNvPr>
          <p:cNvSpPr/>
          <p:nvPr/>
        </p:nvSpPr>
        <p:spPr>
          <a:xfrm>
            <a:off x="410654" y="3660217"/>
            <a:ext cx="1607401" cy="226088"/>
          </a:xfrm>
          <a:prstGeom prst="roundRect">
            <a:avLst>
              <a:gd name="adj" fmla="val 5000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55" fontAlgn="base">
              <a:spcBef>
                <a:spcPct val="0"/>
              </a:spcBef>
              <a:spcAft>
                <a:spcPct val="0"/>
              </a:spcAft>
              <a:defRPr/>
            </a:pPr>
            <a:r>
              <a:rPr lang="en-US" sz="1200">
                <a:solidFill>
                  <a:srgbClr val="FFFFFF"/>
                </a:solidFill>
                <a:latin typeface="CiscoSansTT ExtraLight" panose="020B0303020201020303" pitchFamily="34" charset="0"/>
                <a:cs typeface="CiscoSansTT ExtraLight" panose="020B0303020201020303" pitchFamily="34" charset="0"/>
                <a:sym typeface="Arial"/>
              </a:rPr>
              <a:t>AMP for Endpoints</a:t>
            </a:r>
          </a:p>
        </p:txBody>
      </p:sp>
      <p:grpSp>
        <p:nvGrpSpPr>
          <p:cNvPr id="268" name="Group 267">
            <a:extLst>
              <a:ext uri="{FF2B5EF4-FFF2-40B4-BE49-F238E27FC236}">
                <a16:creationId xmlns:a16="http://schemas.microsoft.com/office/drawing/2014/main" id="{76D3E214-17C8-F741-84FB-6479FEC5FCD0}"/>
              </a:ext>
            </a:extLst>
          </p:cNvPr>
          <p:cNvGrpSpPr>
            <a:grpSpLocks noChangeAspect="1"/>
          </p:cNvGrpSpPr>
          <p:nvPr/>
        </p:nvGrpSpPr>
        <p:grpSpPr>
          <a:xfrm>
            <a:off x="823947" y="3956703"/>
            <a:ext cx="654027" cy="428287"/>
            <a:chOff x="3538483" y="2508949"/>
            <a:chExt cx="490371" cy="296384"/>
          </a:xfrm>
          <a:solidFill>
            <a:schemeClr val="bg1"/>
          </a:solidFill>
        </p:grpSpPr>
        <p:sp>
          <p:nvSpPr>
            <p:cNvPr id="269" name="Freeform 2">
              <a:extLst>
                <a:ext uri="{FF2B5EF4-FFF2-40B4-BE49-F238E27FC236}">
                  <a16:creationId xmlns:a16="http://schemas.microsoft.com/office/drawing/2014/main" id="{E0C96273-E773-104A-8EFC-276535FB929B}"/>
                </a:ext>
              </a:extLst>
            </p:cNvPr>
            <p:cNvSpPr>
              <a:spLocks noChangeArrowheads="1"/>
            </p:cNvSpPr>
            <p:nvPr/>
          </p:nvSpPr>
          <p:spPr bwMode="auto">
            <a:xfrm>
              <a:off x="3873030" y="2598815"/>
              <a:ext cx="155824" cy="206518"/>
            </a:xfrm>
            <a:custGeom>
              <a:avLst/>
              <a:gdLst>
                <a:gd name="T0" fmla="*/ 1578706 w 4771"/>
                <a:gd name="T1" fmla="*/ 0 h 6323"/>
                <a:gd name="T2" fmla="*/ 1578706 w 4771"/>
                <a:gd name="T3" fmla="*/ 0 h 6323"/>
                <a:gd name="T4" fmla="*/ 138609 w 4771"/>
                <a:gd name="T5" fmla="*/ 0 h 6323"/>
                <a:gd name="T6" fmla="*/ 0 w 4771"/>
                <a:gd name="T7" fmla="*/ 138612 h 6323"/>
                <a:gd name="T8" fmla="*/ 0 w 4771"/>
                <a:gd name="T9" fmla="*/ 2137503 h 6323"/>
                <a:gd name="T10" fmla="*/ 138609 w 4771"/>
                <a:gd name="T11" fmla="*/ 2276115 h 6323"/>
                <a:gd name="T12" fmla="*/ 1578706 w 4771"/>
                <a:gd name="T13" fmla="*/ 2276115 h 6323"/>
                <a:gd name="T14" fmla="*/ 1717315 w 4771"/>
                <a:gd name="T15" fmla="*/ 2137503 h 6323"/>
                <a:gd name="T16" fmla="*/ 1717315 w 4771"/>
                <a:gd name="T17" fmla="*/ 138612 h 6323"/>
                <a:gd name="T18" fmla="*/ 1578706 w 4771"/>
                <a:gd name="T19" fmla="*/ 0 h 6323"/>
                <a:gd name="T20" fmla="*/ 864058 w 4771"/>
                <a:gd name="T21" fmla="*/ 2215270 h 6323"/>
                <a:gd name="T22" fmla="*/ 864058 w 4771"/>
                <a:gd name="T23" fmla="*/ 2215270 h 6323"/>
                <a:gd name="T24" fmla="*/ 775492 w 4771"/>
                <a:gd name="T25" fmla="*/ 2126702 h 6323"/>
                <a:gd name="T26" fmla="*/ 864058 w 4771"/>
                <a:gd name="T27" fmla="*/ 2043535 h 6323"/>
                <a:gd name="T28" fmla="*/ 947223 w 4771"/>
                <a:gd name="T29" fmla="*/ 2126702 h 6323"/>
                <a:gd name="T30" fmla="*/ 864058 w 4771"/>
                <a:gd name="T31" fmla="*/ 2215270 h 6323"/>
                <a:gd name="T32" fmla="*/ 1589866 w 4771"/>
                <a:gd name="T33" fmla="*/ 1976929 h 6323"/>
                <a:gd name="T34" fmla="*/ 1589866 w 4771"/>
                <a:gd name="T35" fmla="*/ 1976929 h 6323"/>
                <a:gd name="T36" fmla="*/ 138609 w 4771"/>
                <a:gd name="T37" fmla="*/ 1976929 h 6323"/>
                <a:gd name="T38" fmla="*/ 138609 w 4771"/>
                <a:gd name="T39" fmla="*/ 304586 h 6323"/>
                <a:gd name="T40" fmla="*/ 1589866 w 4771"/>
                <a:gd name="T41" fmla="*/ 304586 h 6323"/>
                <a:gd name="T42" fmla="*/ 1589866 w 4771"/>
                <a:gd name="T43" fmla="*/ 1976929 h 63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771" h="6323">
                  <a:moveTo>
                    <a:pt x="4385" y="0"/>
                  </a:moveTo>
                  <a:lnTo>
                    <a:pt x="4385" y="0"/>
                  </a:lnTo>
                  <a:cubicBezTo>
                    <a:pt x="385" y="0"/>
                    <a:pt x="385" y="0"/>
                    <a:pt x="385" y="0"/>
                  </a:cubicBezTo>
                  <a:cubicBezTo>
                    <a:pt x="185" y="0"/>
                    <a:pt x="0" y="169"/>
                    <a:pt x="0" y="385"/>
                  </a:cubicBezTo>
                  <a:cubicBezTo>
                    <a:pt x="0" y="5937"/>
                    <a:pt x="0" y="5937"/>
                    <a:pt x="0" y="5937"/>
                  </a:cubicBezTo>
                  <a:cubicBezTo>
                    <a:pt x="0" y="6153"/>
                    <a:pt x="185" y="6322"/>
                    <a:pt x="385" y="6322"/>
                  </a:cubicBezTo>
                  <a:cubicBezTo>
                    <a:pt x="4385" y="6322"/>
                    <a:pt x="4385" y="6322"/>
                    <a:pt x="4385" y="6322"/>
                  </a:cubicBezTo>
                  <a:cubicBezTo>
                    <a:pt x="4600" y="6322"/>
                    <a:pt x="4770" y="6153"/>
                    <a:pt x="4770" y="5937"/>
                  </a:cubicBezTo>
                  <a:cubicBezTo>
                    <a:pt x="4770" y="385"/>
                    <a:pt x="4770" y="385"/>
                    <a:pt x="4770" y="385"/>
                  </a:cubicBezTo>
                  <a:cubicBezTo>
                    <a:pt x="4770" y="169"/>
                    <a:pt x="4600" y="0"/>
                    <a:pt x="4385" y="0"/>
                  </a:cubicBezTo>
                  <a:close/>
                  <a:moveTo>
                    <a:pt x="2400" y="6153"/>
                  </a:moveTo>
                  <a:lnTo>
                    <a:pt x="2400" y="6153"/>
                  </a:lnTo>
                  <a:cubicBezTo>
                    <a:pt x="2262" y="6153"/>
                    <a:pt x="2154" y="6045"/>
                    <a:pt x="2154" y="5907"/>
                  </a:cubicBezTo>
                  <a:cubicBezTo>
                    <a:pt x="2154" y="5784"/>
                    <a:pt x="2262" y="5676"/>
                    <a:pt x="2400" y="5676"/>
                  </a:cubicBezTo>
                  <a:cubicBezTo>
                    <a:pt x="2523" y="5676"/>
                    <a:pt x="2631" y="5784"/>
                    <a:pt x="2631" y="5907"/>
                  </a:cubicBezTo>
                  <a:cubicBezTo>
                    <a:pt x="2631" y="6045"/>
                    <a:pt x="2523" y="6153"/>
                    <a:pt x="2400" y="6153"/>
                  </a:cubicBezTo>
                  <a:close/>
                  <a:moveTo>
                    <a:pt x="4416" y="5491"/>
                  </a:moveTo>
                  <a:lnTo>
                    <a:pt x="4416" y="5491"/>
                  </a:lnTo>
                  <a:cubicBezTo>
                    <a:pt x="385" y="5491"/>
                    <a:pt x="385" y="5491"/>
                    <a:pt x="385" y="5491"/>
                  </a:cubicBezTo>
                  <a:cubicBezTo>
                    <a:pt x="385" y="846"/>
                    <a:pt x="385" y="846"/>
                    <a:pt x="385" y="846"/>
                  </a:cubicBezTo>
                  <a:cubicBezTo>
                    <a:pt x="4416" y="846"/>
                    <a:pt x="4416" y="846"/>
                    <a:pt x="4416" y="846"/>
                  </a:cubicBezTo>
                  <a:lnTo>
                    <a:pt x="4416" y="5491"/>
                  </a:lnTo>
                  <a:close/>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609555"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70" name="Freeform 3">
              <a:extLst>
                <a:ext uri="{FF2B5EF4-FFF2-40B4-BE49-F238E27FC236}">
                  <a16:creationId xmlns:a16="http://schemas.microsoft.com/office/drawing/2014/main" id="{59F209BA-1AFB-0747-A866-633CB9F51230}"/>
                </a:ext>
              </a:extLst>
            </p:cNvPr>
            <p:cNvSpPr>
              <a:spLocks noChangeArrowheads="1"/>
            </p:cNvSpPr>
            <p:nvPr/>
          </p:nvSpPr>
          <p:spPr bwMode="auto">
            <a:xfrm>
              <a:off x="3540067" y="2561227"/>
              <a:ext cx="89433" cy="157841"/>
            </a:xfrm>
            <a:custGeom>
              <a:avLst/>
              <a:gdLst>
                <a:gd name="T0" fmla="*/ 852714 w 2740"/>
                <a:gd name="T1" fmla="*/ 0 h 4831"/>
                <a:gd name="T2" fmla="*/ 852714 w 2740"/>
                <a:gd name="T3" fmla="*/ 0 h 4831"/>
                <a:gd name="T4" fmla="*/ 133124 w 2740"/>
                <a:gd name="T5" fmla="*/ 0 h 4831"/>
                <a:gd name="T6" fmla="*/ 0 w 2740"/>
                <a:gd name="T7" fmla="*/ 132897 h 4831"/>
                <a:gd name="T8" fmla="*/ 0 w 2740"/>
                <a:gd name="T9" fmla="*/ 1606643 h 4831"/>
                <a:gd name="T10" fmla="*/ 133124 w 2740"/>
                <a:gd name="T11" fmla="*/ 1739540 h 4831"/>
                <a:gd name="T12" fmla="*/ 852714 w 2740"/>
                <a:gd name="T13" fmla="*/ 1739540 h 4831"/>
                <a:gd name="T14" fmla="*/ 985478 w 2740"/>
                <a:gd name="T15" fmla="*/ 1606643 h 4831"/>
                <a:gd name="T16" fmla="*/ 985478 w 2740"/>
                <a:gd name="T17" fmla="*/ 132897 h 4831"/>
                <a:gd name="T18" fmla="*/ 852714 w 2740"/>
                <a:gd name="T19" fmla="*/ 0 h 4831"/>
                <a:gd name="T20" fmla="*/ 387499 w 2740"/>
                <a:gd name="T21" fmla="*/ 99762 h 4831"/>
                <a:gd name="T22" fmla="*/ 387499 w 2740"/>
                <a:gd name="T23" fmla="*/ 99762 h 4831"/>
                <a:gd name="T24" fmla="*/ 597979 w 2740"/>
                <a:gd name="T25" fmla="*/ 99762 h 4831"/>
                <a:gd name="T26" fmla="*/ 597979 w 2740"/>
                <a:gd name="T27" fmla="*/ 122092 h 4831"/>
                <a:gd name="T28" fmla="*/ 387499 w 2740"/>
                <a:gd name="T29" fmla="*/ 122092 h 4831"/>
                <a:gd name="T30" fmla="*/ 387499 w 2740"/>
                <a:gd name="T31" fmla="*/ 99762 h 4831"/>
                <a:gd name="T32" fmla="*/ 492919 w 2740"/>
                <a:gd name="T33" fmla="*/ 1667509 h 4831"/>
                <a:gd name="T34" fmla="*/ 492919 w 2740"/>
                <a:gd name="T35" fmla="*/ 1667509 h 4831"/>
                <a:gd name="T36" fmla="*/ 437511 w 2740"/>
                <a:gd name="T37" fmla="*/ 1612046 h 4831"/>
                <a:gd name="T38" fmla="*/ 492919 w 2740"/>
                <a:gd name="T39" fmla="*/ 1556582 h 4831"/>
                <a:gd name="T40" fmla="*/ 547968 w 2740"/>
                <a:gd name="T41" fmla="*/ 1612046 h 4831"/>
                <a:gd name="T42" fmla="*/ 492919 w 2740"/>
                <a:gd name="T43" fmla="*/ 1667509 h 4831"/>
                <a:gd name="T44" fmla="*/ 874661 w 2740"/>
                <a:gd name="T45" fmla="*/ 1462582 h 4831"/>
                <a:gd name="T46" fmla="*/ 874661 w 2740"/>
                <a:gd name="T47" fmla="*/ 1462582 h 4831"/>
                <a:gd name="T48" fmla="*/ 110817 w 2740"/>
                <a:gd name="T49" fmla="*/ 1462582 h 4831"/>
                <a:gd name="T50" fmla="*/ 110817 w 2740"/>
                <a:gd name="T51" fmla="*/ 254988 h 4831"/>
                <a:gd name="T52" fmla="*/ 874661 w 2740"/>
                <a:gd name="T53" fmla="*/ 254988 h 4831"/>
                <a:gd name="T54" fmla="*/ 874661 w 2740"/>
                <a:gd name="T55" fmla="*/ 1462582 h 483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740" h="4831">
                  <a:moveTo>
                    <a:pt x="2370" y="0"/>
                  </a:moveTo>
                  <a:lnTo>
                    <a:pt x="2370" y="0"/>
                  </a:lnTo>
                  <a:cubicBezTo>
                    <a:pt x="370" y="0"/>
                    <a:pt x="370" y="0"/>
                    <a:pt x="370" y="0"/>
                  </a:cubicBezTo>
                  <a:cubicBezTo>
                    <a:pt x="170" y="0"/>
                    <a:pt x="0" y="169"/>
                    <a:pt x="0" y="369"/>
                  </a:cubicBezTo>
                  <a:cubicBezTo>
                    <a:pt x="0" y="4461"/>
                    <a:pt x="0" y="4461"/>
                    <a:pt x="0" y="4461"/>
                  </a:cubicBezTo>
                  <a:cubicBezTo>
                    <a:pt x="0" y="4661"/>
                    <a:pt x="170" y="4830"/>
                    <a:pt x="370" y="4830"/>
                  </a:cubicBezTo>
                  <a:cubicBezTo>
                    <a:pt x="2370" y="4830"/>
                    <a:pt x="2370" y="4830"/>
                    <a:pt x="2370" y="4830"/>
                  </a:cubicBezTo>
                  <a:cubicBezTo>
                    <a:pt x="2570" y="4830"/>
                    <a:pt x="2739" y="4661"/>
                    <a:pt x="2739" y="4461"/>
                  </a:cubicBezTo>
                  <a:cubicBezTo>
                    <a:pt x="2739" y="369"/>
                    <a:pt x="2739" y="369"/>
                    <a:pt x="2739" y="369"/>
                  </a:cubicBezTo>
                  <a:cubicBezTo>
                    <a:pt x="2739" y="169"/>
                    <a:pt x="2570" y="0"/>
                    <a:pt x="2370" y="0"/>
                  </a:cubicBezTo>
                  <a:close/>
                  <a:moveTo>
                    <a:pt x="1077" y="277"/>
                  </a:moveTo>
                  <a:lnTo>
                    <a:pt x="1077" y="277"/>
                  </a:lnTo>
                  <a:cubicBezTo>
                    <a:pt x="1662" y="277"/>
                    <a:pt x="1662" y="277"/>
                    <a:pt x="1662" y="277"/>
                  </a:cubicBezTo>
                  <a:cubicBezTo>
                    <a:pt x="1662" y="339"/>
                    <a:pt x="1662" y="339"/>
                    <a:pt x="1662" y="339"/>
                  </a:cubicBezTo>
                  <a:cubicBezTo>
                    <a:pt x="1077" y="339"/>
                    <a:pt x="1077" y="339"/>
                    <a:pt x="1077" y="339"/>
                  </a:cubicBezTo>
                  <a:lnTo>
                    <a:pt x="1077" y="277"/>
                  </a:lnTo>
                  <a:close/>
                  <a:moveTo>
                    <a:pt x="1370" y="4630"/>
                  </a:moveTo>
                  <a:lnTo>
                    <a:pt x="1370" y="4630"/>
                  </a:lnTo>
                  <a:cubicBezTo>
                    <a:pt x="1277" y="4630"/>
                    <a:pt x="1216" y="4568"/>
                    <a:pt x="1216" y="4476"/>
                  </a:cubicBezTo>
                  <a:cubicBezTo>
                    <a:pt x="1216" y="4399"/>
                    <a:pt x="1277" y="4322"/>
                    <a:pt x="1370" y="4322"/>
                  </a:cubicBezTo>
                  <a:cubicBezTo>
                    <a:pt x="1462" y="4322"/>
                    <a:pt x="1523" y="4399"/>
                    <a:pt x="1523" y="4476"/>
                  </a:cubicBezTo>
                  <a:cubicBezTo>
                    <a:pt x="1523" y="4568"/>
                    <a:pt x="1462" y="4630"/>
                    <a:pt x="1370" y="4630"/>
                  </a:cubicBezTo>
                  <a:close/>
                  <a:moveTo>
                    <a:pt x="2431" y="4061"/>
                  </a:moveTo>
                  <a:lnTo>
                    <a:pt x="2431" y="4061"/>
                  </a:lnTo>
                  <a:cubicBezTo>
                    <a:pt x="308" y="4061"/>
                    <a:pt x="308" y="4061"/>
                    <a:pt x="308" y="4061"/>
                  </a:cubicBezTo>
                  <a:cubicBezTo>
                    <a:pt x="308" y="708"/>
                    <a:pt x="308" y="708"/>
                    <a:pt x="308" y="708"/>
                  </a:cubicBezTo>
                  <a:cubicBezTo>
                    <a:pt x="2431" y="708"/>
                    <a:pt x="2431" y="708"/>
                    <a:pt x="2431" y="708"/>
                  </a:cubicBezTo>
                  <a:lnTo>
                    <a:pt x="2431" y="4061"/>
                  </a:lnTo>
                  <a:close/>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609555"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71" name="Freeform 4">
              <a:extLst>
                <a:ext uri="{FF2B5EF4-FFF2-40B4-BE49-F238E27FC236}">
                  <a16:creationId xmlns:a16="http://schemas.microsoft.com/office/drawing/2014/main" id="{9088AAA4-34F9-F349-B53E-034E76C1AE51}"/>
                </a:ext>
              </a:extLst>
            </p:cNvPr>
            <p:cNvSpPr>
              <a:spLocks noChangeArrowheads="1"/>
            </p:cNvSpPr>
            <p:nvPr/>
          </p:nvSpPr>
          <p:spPr bwMode="auto">
            <a:xfrm>
              <a:off x="3648511" y="2694873"/>
              <a:ext cx="207094" cy="17138"/>
            </a:xfrm>
            <a:custGeom>
              <a:avLst/>
              <a:gdLst>
                <a:gd name="T0" fmla="*/ 0 w 6339"/>
                <a:gd name="T1" fmla="*/ 0 h 523"/>
                <a:gd name="T2" fmla="*/ 0 w 6339"/>
                <a:gd name="T3" fmla="*/ 188551 h 523"/>
                <a:gd name="T4" fmla="*/ 2282465 w 6339"/>
                <a:gd name="T5" fmla="*/ 188551 h 523"/>
                <a:gd name="T6" fmla="*/ 2282465 w 6339"/>
                <a:gd name="T7" fmla="*/ 0 h 523"/>
                <a:gd name="T8" fmla="*/ 0 w 6339"/>
                <a:gd name="T9" fmla="*/ 0 h 5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39" h="523">
                  <a:moveTo>
                    <a:pt x="0" y="0"/>
                  </a:moveTo>
                  <a:lnTo>
                    <a:pt x="0" y="522"/>
                  </a:lnTo>
                  <a:lnTo>
                    <a:pt x="6338" y="522"/>
                  </a:lnTo>
                  <a:lnTo>
                    <a:pt x="6338" y="0"/>
                  </a:lnTo>
                  <a:lnTo>
                    <a:pt x="0" y="0"/>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609555"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72" name="Freeform 5">
              <a:extLst>
                <a:ext uri="{FF2B5EF4-FFF2-40B4-BE49-F238E27FC236}">
                  <a16:creationId xmlns:a16="http://schemas.microsoft.com/office/drawing/2014/main" id="{DE80C2DF-E976-A848-BA78-70592FC8CE20}"/>
                </a:ext>
              </a:extLst>
            </p:cNvPr>
            <p:cNvSpPr>
              <a:spLocks noChangeArrowheads="1"/>
            </p:cNvSpPr>
            <p:nvPr/>
          </p:nvSpPr>
          <p:spPr bwMode="auto">
            <a:xfrm>
              <a:off x="3589321" y="2508949"/>
              <a:ext cx="359750" cy="69847"/>
            </a:xfrm>
            <a:custGeom>
              <a:avLst/>
              <a:gdLst>
                <a:gd name="T0" fmla="*/ 182888 w 11015"/>
                <a:gd name="T1" fmla="*/ 277034 h 2140"/>
                <a:gd name="T2" fmla="*/ 182888 w 11015"/>
                <a:gd name="T3" fmla="*/ 277034 h 2140"/>
                <a:gd name="T4" fmla="*/ 271452 w 11015"/>
                <a:gd name="T5" fmla="*/ 188167 h 2140"/>
                <a:gd name="T6" fmla="*/ 3688363 w 11015"/>
                <a:gd name="T7" fmla="*/ 188167 h 2140"/>
                <a:gd name="T8" fmla="*/ 3776927 w 11015"/>
                <a:gd name="T9" fmla="*/ 277034 h 2140"/>
                <a:gd name="T10" fmla="*/ 3776927 w 11015"/>
                <a:gd name="T11" fmla="*/ 769578 h 2140"/>
                <a:gd name="T12" fmla="*/ 3965215 w 11015"/>
                <a:gd name="T13" fmla="*/ 769578 h 2140"/>
                <a:gd name="T14" fmla="*/ 3965215 w 11015"/>
                <a:gd name="T15" fmla="*/ 277034 h 2140"/>
                <a:gd name="T16" fmla="*/ 3688363 w 11015"/>
                <a:gd name="T17" fmla="*/ 0 h 2140"/>
                <a:gd name="T18" fmla="*/ 271452 w 11015"/>
                <a:gd name="T19" fmla="*/ 0 h 2140"/>
                <a:gd name="T20" fmla="*/ 0 w 11015"/>
                <a:gd name="T21" fmla="*/ 277034 h 2140"/>
                <a:gd name="T22" fmla="*/ 0 w 11015"/>
                <a:gd name="T23" fmla="*/ 382091 h 2140"/>
                <a:gd name="T24" fmla="*/ 182888 w 11015"/>
                <a:gd name="T25" fmla="*/ 382091 h 2140"/>
                <a:gd name="T26" fmla="*/ 182888 w 11015"/>
                <a:gd name="T27" fmla="*/ 277034 h 21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1015" h="2140">
                  <a:moveTo>
                    <a:pt x="508" y="770"/>
                  </a:moveTo>
                  <a:lnTo>
                    <a:pt x="508" y="770"/>
                  </a:lnTo>
                  <a:cubicBezTo>
                    <a:pt x="508" y="631"/>
                    <a:pt x="616" y="523"/>
                    <a:pt x="754" y="523"/>
                  </a:cubicBezTo>
                  <a:cubicBezTo>
                    <a:pt x="10245" y="523"/>
                    <a:pt x="10245" y="523"/>
                    <a:pt x="10245" y="523"/>
                  </a:cubicBezTo>
                  <a:cubicBezTo>
                    <a:pt x="10384" y="523"/>
                    <a:pt x="10491" y="631"/>
                    <a:pt x="10491" y="770"/>
                  </a:cubicBezTo>
                  <a:cubicBezTo>
                    <a:pt x="10491" y="2139"/>
                    <a:pt x="10491" y="2139"/>
                    <a:pt x="10491" y="2139"/>
                  </a:cubicBezTo>
                  <a:cubicBezTo>
                    <a:pt x="11014" y="2139"/>
                    <a:pt x="11014" y="2139"/>
                    <a:pt x="11014" y="2139"/>
                  </a:cubicBezTo>
                  <a:cubicBezTo>
                    <a:pt x="11014" y="770"/>
                    <a:pt x="11014" y="770"/>
                    <a:pt x="11014" y="770"/>
                  </a:cubicBezTo>
                  <a:cubicBezTo>
                    <a:pt x="11014" y="339"/>
                    <a:pt x="10676" y="0"/>
                    <a:pt x="10245" y="0"/>
                  </a:cubicBezTo>
                  <a:cubicBezTo>
                    <a:pt x="754" y="0"/>
                    <a:pt x="754" y="0"/>
                    <a:pt x="754" y="0"/>
                  </a:cubicBezTo>
                  <a:cubicBezTo>
                    <a:pt x="338" y="0"/>
                    <a:pt x="0" y="339"/>
                    <a:pt x="0" y="770"/>
                  </a:cubicBezTo>
                  <a:cubicBezTo>
                    <a:pt x="0" y="1062"/>
                    <a:pt x="0" y="1062"/>
                    <a:pt x="0" y="1062"/>
                  </a:cubicBezTo>
                  <a:cubicBezTo>
                    <a:pt x="508" y="1062"/>
                    <a:pt x="508" y="1062"/>
                    <a:pt x="508" y="1062"/>
                  </a:cubicBezTo>
                  <a:lnTo>
                    <a:pt x="508" y="770"/>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609555"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sp>
          <p:nvSpPr>
            <p:cNvPr id="273" name="Freeform 6">
              <a:extLst>
                <a:ext uri="{FF2B5EF4-FFF2-40B4-BE49-F238E27FC236}">
                  <a16:creationId xmlns:a16="http://schemas.microsoft.com/office/drawing/2014/main" id="{276CC00F-FC39-7D4C-AE8D-A7EA02563CA4}"/>
                </a:ext>
              </a:extLst>
            </p:cNvPr>
            <p:cNvSpPr>
              <a:spLocks noChangeArrowheads="1"/>
            </p:cNvSpPr>
            <p:nvPr/>
          </p:nvSpPr>
          <p:spPr bwMode="auto">
            <a:xfrm>
              <a:off x="3538483" y="2734477"/>
              <a:ext cx="316977" cy="29235"/>
            </a:xfrm>
            <a:custGeom>
              <a:avLst/>
              <a:gdLst>
                <a:gd name="T0" fmla="*/ 155125 w 9708"/>
                <a:gd name="T1" fmla="*/ 0 h 893"/>
                <a:gd name="T2" fmla="*/ 155125 w 9708"/>
                <a:gd name="T3" fmla="*/ 0 h 893"/>
                <a:gd name="T4" fmla="*/ 0 w 9708"/>
                <a:gd name="T5" fmla="*/ 160951 h 893"/>
                <a:gd name="T6" fmla="*/ 155125 w 9708"/>
                <a:gd name="T7" fmla="*/ 321902 h 893"/>
                <a:gd name="T8" fmla="*/ 3493727 w 9708"/>
                <a:gd name="T9" fmla="*/ 321902 h 893"/>
                <a:gd name="T10" fmla="*/ 3493727 w 9708"/>
                <a:gd name="T11" fmla="*/ 0 h 893"/>
                <a:gd name="T12" fmla="*/ 155125 w 9708"/>
                <a:gd name="T13" fmla="*/ 0 h 89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708" h="893">
                  <a:moveTo>
                    <a:pt x="431" y="0"/>
                  </a:moveTo>
                  <a:lnTo>
                    <a:pt x="431" y="0"/>
                  </a:lnTo>
                  <a:cubicBezTo>
                    <a:pt x="185" y="0"/>
                    <a:pt x="0" y="200"/>
                    <a:pt x="0" y="446"/>
                  </a:cubicBezTo>
                  <a:cubicBezTo>
                    <a:pt x="0" y="692"/>
                    <a:pt x="185" y="892"/>
                    <a:pt x="431" y="892"/>
                  </a:cubicBezTo>
                  <a:cubicBezTo>
                    <a:pt x="9707" y="892"/>
                    <a:pt x="9707" y="892"/>
                    <a:pt x="9707" y="892"/>
                  </a:cubicBezTo>
                  <a:cubicBezTo>
                    <a:pt x="9707" y="0"/>
                    <a:pt x="9707" y="0"/>
                    <a:pt x="9707" y="0"/>
                  </a:cubicBezTo>
                  <a:lnTo>
                    <a:pt x="431" y="0"/>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609555" fontAlgn="base">
                <a:spcBef>
                  <a:spcPct val="0"/>
                </a:spcBef>
                <a:spcAft>
                  <a:spcPct val="0"/>
                </a:spcAft>
                <a:defRPr/>
              </a:pPr>
              <a:endParaRPr lang="en-US" sz="2000">
                <a:solidFill>
                  <a:srgbClr val="282828"/>
                </a:solidFill>
                <a:latin typeface="Arial"/>
                <a:ea typeface="ＭＳ Ｐゴシック" charset="0"/>
                <a:cs typeface="Arial"/>
                <a:sym typeface="Arial"/>
              </a:endParaRPr>
            </a:p>
          </p:txBody>
        </p:sp>
      </p:grpSp>
      <p:sp>
        <p:nvSpPr>
          <p:cNvPr id="274" name="TextBox 273">
            <a:extLst>
              <a:ext uri="{FF2B5EF4-FFF2-40B4-BE49-F238E27FC236}">
                <a16:creationId xmlns:a16="http://schemas.microsoft.com/office/drawing/2014/main" id="{C38BEA75-41A0-0141-94FB-526C65B6D94B}"/>
              </a:ext>
            </a:extLst>
          </p:cNvPr>
          <p:cNvSpPr txBox="1"/>
          <p:nvPr/>
        </p:nvSpPr>
        <p:spPr>
          <a:xfrm>
            <a:off x="531826" y="4353687"/>
            <a:ext cx="1263789" cy="246221"/>
          </a:xfrm>
          <a:prstGeom prst="rect">
            <a:avLst/>
          </a:prstGeom>
          <a:noFill/>
        </p:spPr>
        <p:txBody>
          <a:bodyPr wrap="square" rtlCol="0">
            <a:spAutoFit/>
          </a:bodyPr>
          <a:lstStyle/>
          <a:p>
            <a:pPr algn="ctr" defTabSz="457189" fontAlgn="base">
              <a:spcBef>
                <a:spcPct val="0"/>
              </a:spcBef>
              <a:spcAft>
                <a:spcPct val="0"/>
              </a:spcAft>
              <a:defRPr/>
            </a:pPr>
            <a:r>
              <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Remote users</a:t>
            </a:r>
          </a:p>
        </p:txBody>
      </p:sp>
      <p:sp>
        <p:nvSpPr>
          <p:cNvPr id="280" name="Freeform 279">
            <a:extLst>
              <a:ext uri="{FF2B5EF4-FFF2-40B4-BE49-F238E27FC236}">
                <a16:creationId xmlns:a16="http://schemas.microsoft.com/office/drawing/2014/main" id="{3C51CF81-A461-F946-90D3-228A8363E116}"/>
              </a:ext>
            </a:extLst>
          </p:cNvPr>
          <p:cNvSpPr>
            <a:spLocks/>
          </p:cNvSpPr>
          <p:nvPr/>
        </p:nvSpPr>
        <p:spPr bwMode="auto">
          <a:xfrm flipH="1">
            <a:off x="5127539" y="2397238"/>
            <a:ext cx="1252728" cy="668599"/>
          </a:xfrm>
          <a:custGeom>
            <a:avLst/>
            <a:gdLst>
              <a:gd name="connsiteX0" fmla="*/ 733902 w 1210718"/>
              <a:gd name="connsiteY0" fmla="*/ 0 h 599742"/>
              <a:gd name="connsiteX1" fmla="*/ 882562 w 1210718"/>
              <a:gd name="connsiteY1" fmla="*/ 0 h 599742"/>
              <a:gd name="connsiteX2" fmla="*/ 1015293 w 1210718"/>
              <a:gd name="connsiteY2" fmla="*/ 127622 h 599742"/>
              <a:gd name="connsiteX3" fmla="*/ 1006776 w 1210718"/>
              <a:gd name="connsiteY3" fmla="*/ 170827 h 599742"/>
              <a:gd name="connsiteX4" fmla="*/ 1046952 w 1210718"/>
              <a:gd name="connsiteY4" fmla="*/ 178771 h 599742"/>
              <a:gd name="connsiteX5" fmla="*/ 1127605 w 1210718"/>
              <a:gd name="connsiteY5" fmla="*/ 301408 h 599742"/>
              <a:gd name="connsiteX6" fmla="*/ 1118155 w 1210718"/>
              <a:gd name="connsiteY6" fmla="*/ 346509 h 599742"/>
              <a:gd name="connsiteX7" fmla="*/ 1132310 w 1210718"/>
              <a:gd name="connsiteY7" fmla="*/ 349483 h 599742"/>
              <a:gd name="connsiteX8" fmla="*/ 1210718 w 1210718"/>
              <a:gd name="connsiteY8" fmla="*/ 472120 h 599742"/>
              <a:gd name="connsiteX9" fmla="*/ 1083274 w 1210718"/>
              <a:gd name="connsiteY9" fmla="*/ 599742 h 599742"/>
              <a:gd name="connsiteX10" fmla="*/ 127444 w 1210718"/>
              <a:gd name="connsiteY10" fmla="*/ 599742 h 599742"/>
              <a:gd name="connsiteX11" fmla="*/ 0 w 1210718"/>
              <a:gd name="connsiteY11" fmla="*/ 472120 h 599742"/>
              <a:gd name="connsiteX12" fmla="*/ 127444 w 1210718"/>
              <a:gd name="connsiteY12" fmla="*/ 339180 h 599742"/>
              <a:gd name="connsiteX13" fmla="*/ 275151 w 1210718"/>
              <a:gd name="connsiteY13" fmla="*/ 339180 h 599742"/>
              <a:gd name="connsiteX14" fmla="*/ 267300 w 1210718"/>
              <a:gd name="connsiteY14" fmla="*/ 301408 h 599742"/>
              <a:gd name="connsiteX15" fmla="*/ 394753 w 1210718"/>
              <a:gd name="connsiteY15" fmla="*/ 168468 h 599742"/>
              <a:gd name="connsiteX16" fmla="*/ 592829 w 1210718"/>
              <a:gd name="connsiteY16" fmla="*/ 168468 h 599742"/>
              <a:gd name="connsiteX17" fmla="*/ 614468 w 1210718"/>
              <a:gd name="connsiteY17" fmla="*/ 168468 h 599742"/>
              <a:gd name="connsiteX18" fmla="*/ 606480 w 1210718"/>
              <a:gd name="connsiteY18" fmla="*/ 127622 h 599742"/>
              <a:gd name="connsiteX19" fmla="*/ 733902 w 1210718"/>
              <a:gd name="connsiteY19" fmla="*/ 0 h 59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0718" h="599742">
                <a:moveTo>
                  <a:pt x="733902" y="0"/>
                </a:moveTo>
                <a:cubicBezTo>
                  <a:pt x="882562" y="0"/>
                  <a:pt x="882562" y="0"/>
                  <a:pt x="882562" y="0"/>
                </a:cubicBezTo>
                <a:cubicBezTo>
                  <a:pt x="956891" y="0"/>
                  <a:pt x="1015293" y="58493"/>
                  <a:pt x="1015293" y="127622"/>
                </a:cubicBezTo>
                <a:lnTo>
                  <a:pt x="1006776" y="170827"/>
                </a:lnTo>
                <a:lnTo>
                  <a:pt x="1046952" y="178771"/>
                </a:lnTo>
                <a:cubicBezTo>
                  <a:pt x="1094746" y="198712"/>
                  <a:pt x="1127605" y="245573"/>
                  <a:pt x="1127605" y="301408"/>
                </a:cubicBezTo>
                <a:lnTo>
                  <a:pt x="1118155" y="346509"/>
                </a:lnTo>
                <a:lnTo>
                  <a:pt x="1132310" y="349483"/>
                </a:lnTo>
                <a:cubicBezTo>
                  <a:pt x="1177862" y="369424"/>
                  <a:pt x="1210718" y="416285"/>
                  <a:pt x="1210718" y="472120"/>
                </a:cubicBezTo>
                <a:cubicBezTo>
                  <a:pt x="1210718" y="541249"/>
                  <a:pt x="1152306" y="599742"/>
                  <a:pt x="1083274" y="599742"/>
                </a:cubicBezTo>
                <a:cubicBezTo>
                  <a:pt x="127444" y="599742"/>
                  <a:pt x="127444" y="599742"/>
                  <a:pt x="127444" y="599742"/>
                </a:cubicBezTo>
                <a:cubicBezTo>
                  <a:pt x="58412" y="599742"/>
                  <a:pt x="0" y="541249"/>
                  <a:pt x="0" y="472120"/>
                </a:cubicBezTo>
                <a:cubicBezTo>
                  <a:pt x="0" y="397674"/>
                  <a:pt x="58412" y="339180"/>
                  <a:pt x="127444" y="339180"/>
                </a:cubicBezTo>
                <a:lnTo>
                  <a:pt x="275151" y="339180"/>
                </a:lnTo>
                <a:lnTo>
                  <a:pt x="267300" y="301408"/>
                </a:lnTo>
                <a:cubicBezTo>
                  <a:pt x="267300" y="226961"/>
                  <a:pt x="325716" y="168468"/>
                  <a:pt x="394753" y="168468"/>
                </a:cubicBezTo>
                <a:cubicBezTo>
                  <a:pt x="469764" y="168468"/>
                  <a:pt x="535399" y="168468"/>
                  <a:pt x="592829" y="168468"/>
                </a:cubicBezTo>
                <a:lnTo>
                  <a:pt x="614468" y="168468"/>
                </a:lnTo>
                <a:lnTo>
                  <a:pt x="606480" y="127622"/>
                </a:lnTo>
                <a:cubicBezTo>
                  <a:pt x="606480" y="58493"/>
                  <a:pt x="664882" y="0"/>
                  <a:pt x="733902" y="0"/>
                </a:cubicBezTo>
                <a:close/>
              </a:path>
            </a:pathLst>
          </a:custGeom>
          <a:solidFill>
            <a:srgbClr val="EDF1F7"/>
          </a:solidFill>
          <a:ln>
            <a:noFill/>
          </a:ln>
        </p:spPr>
        <p:txBody>
          <a:bodyPr vert="horz" wrap="square" lIns="121920" tIns="60960" rIns="243840" bIns="60960" numCol="1" anchor="t" anchorCtr="0" compatLnSpc="1">
            <a:prstTxWarp prst="textNoShape">
              <a:avLst/>
            </a:prstTxWarp>
            <a:noAutofit/>
          </a:bodyPr>
          <a:lstStyle/>
          <a:p>
            <a:pPr algn="ctr" defTabSz="609585" fontAlgn="base">
              <a:spcBef>
                <a:spcPct val="0"/>
              </a:spcBef>
              <a:spcAft>
                <a:spcPct val="0"/>
              </a:spcAft>
              <a:defRPr/>
            </a:pPr>
            <a:endPar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endParaRPr>
          </a:p>
          <a:p>
            <a:pPr algn="ctr" defTabSz="609585" fontAlgn="base">
              <a:spcBef>
                <a:spcPct val="0"/>
              </a:spcBef>
              <a:spcAft>
                <a:spcPct val="0"/>
              </a:spcAft>
              <a:defRPr/>
            </a:pPr>
            <a:endParaRPr lang="en-US" sz="4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endParaRPr>
          </a:p>
          <a:p>
            <a:pPr algn="ctr" defTabSz="609585" fontAlgn="base">
              <a:spcBef>
                <a:spcPct val="0"/>
              </a:spcBef>
              <a:spcAft>
                <a:spcPct val="0"/>
              </a:spcAft>
              <a:defRPr/>
            </a:pPr>
            <a:r>
              <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Stealthwatch Cloud</a:t>
            </a:r>
          </a:p>
        </p:txBody>
      </p:sp>
      <p:sp>
        <p:nvSpPr>
          <p:cNvPr id="281" name="Freeform 280">
            <a:extLst>
              <a:ext uri="{FF2B5EF4-FFF2-40B4-BE49-F238E27FC236}">
                <a16:creationId xmlns:a16="http://schemas.microsoft.com/office/drawing/2014/main" id="{E47CFD5D-2A68-5348-AF7B-96634AD9AA36}"/>
              </a:ext>
            </a:extLst>
          </p:cNvPr>
          <p:cNvSpPr>
            <a:spLocks/>
          </p:cNvSpPr>
          <p:nvPr/>
        </p:nvSpPr>
        <p:spPr bwMode="auto">
          <a:xfrm flipH="1">
            <a:off x="5134698" y="3119979"/>
            <a:ext cx="1251653" cy="615783"/>
          </a:xfrm>
          <a:custGeom>
            <a:avLst/>
            <a:gdLst>
              <a:gd name="connsiteX0" fmla="*/ 733902 w 1210718"/>
              <a:gd name="connsiteY0" fmla="*/ 0 h 599742"/>
              <a:gd name="connsiteX1" fmla="*/ 882562 w 1210718"/>
              <a:gd name="connsiteY1" fmla="*/ 0 h 599742"/>
              <a:gd name="connsiteX2" fmla="*/ 1015293 w 1210718"/>
              <a:gd name="connsiteY2" fmla="*/ 127622 h 599742"/>
              <a:gd name="connsiteX3" fmla="*/ 1006776 w 1210718"/>
              <a:gd name="connsiteY3" fmla="*/ 170827 h 599742"/>
              <a:gd name="connsiteX4" fmla="*/ 1046952 w 1210718"/>
              <a:gd name="connsiteY4" fmla="*/ 178771 h 599742"/>
              <a:gd name="connsiteX5" fmla="*/ 1127605 w 1210718"/>
              <a:gd name="connsiteY5" fmla="*/ 301408 h 599742"/>
              <a:gd name="connsiteX6" fmla="*/ 1118155 w 1210718"/>
              <a:gd name="connsiteY6" fmla="*/ 346509 h 599742"/>
              <a:gd name="connsiteX7" fmla="*/ 1132310 w 1210718"/>
              <a:gd name="connsiteY7" fmla="*/ 349483 h 599742"/>
              <a:gd name="connsiteX8" fmla="*/ 1210718 w 1210718"/>
              <a:gd name="connsiteY8" fmla="*/ 472120 h 599742"/>
              <a:gd name="connsiteX9" fmla="*/ 1083274 w 1210718"/>
              <a:gd name="connsiteY9" fmla="*/ 599742 h 599742"/>
              <a:gd name="connsiteX10" fmla="*/ 127444 w 1210718"/>
              <a:gd name="connsiteY10" fmla="*/ 599742 h 599742"/>
              <a:gd name="connsiteX11" fmla="*/ 0 w 1210718"/>
              <a:gd name="connsiteY11" fmla="*/ 472120 h 599742"/>
              <a:gd name="connsiteX12" fmla="*/ 127444 w 1210718"/>
              <a:gd name="connsiteY12" fmla="*/ 339180 h 599742"/>
              <a:gd name="connsiteX13" fmla="*/ 275151 w 1210718"/>
              <a:gd name="connsiteY13" fmla="*/ 339180 h 599742"/>
              <a:gd name="connsiteX14" fmla="*/ 267300 w 1210718"/>
              <a:gd name="connsiteY14" fmla="*/ 301408 h 599742"/>
              <a:gd name="connsiteX15" fmla="*/ 394753 w 1210718"/>
              <a:gd name="connsiteY15" fmla="*/ 168468 h 599742"/>
              <a:gd name="connsiteX16" fmla="*/ 592829 w 1210718"/>
              <a:gd name="connsiteY16" fmla="*/ 168468 h 599742"/>
              <a:gd name="connsiteX17" fmla="*/ 614468 w 1210718"/>
              <a:gd name="connsiteY17" fmla="*/ 168468 h 599742"/>
              <a:gd name="connsiteX18" fmla="*/ 606480 w 1210718"/>
              <a:gd name="connsiteY18" fmla="*/ 127622 h 599742"/>
              <a:gd name="connsiteX19" fmla="*/ 733902 w 1210718"/>
              <a:gd name="connsiteY19" fmla="*/ 0 h 59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0718" h="599742">
                <a:moveTo>
                  <a:pt x="733902" y="0"/>
                </a:moveTo>
                <a:cubicBezTo>
                  <a:pt x="882562" y="0"/>
                  <a:pt x="882562" y="0"/>
                  <a:pt x="882562" y="0"/>
                </a:cubicBezTo>
                <a:cubicBezTo>
                  <a:pt x="956891" y="0"/>
                  <a:pt x="1015293" y="58493"/>
                  <a:pt x="1015293" y="127622"/>
                </a:cubicBezTo>
                <a:lnTo>
                  <a:pt x="1006776" y="170827"/>
                </a:lnTo>
                <a:lnTo>
                  <a:pt x="1046952" y="178771"/>
                </a:lnTo>
                <a:cubicBezTo>
                  <a:pt x="1094746" y="198712"/>
                  <a:pt x="1127605" y="245573"/>
                  <a:pt x="1127605" y="301408"/>
                </a:cubicBezTo>
                <a:lnTo>
                  <a:pt x="1118155" y="346509"/>
                </a:lnTo>
                <a:lnTo>
                  <a:pt x="1132310" y="349483"/>
                </a:lnTo>
                <a:cubicBezTo>
                  <a:pt x="1177862" y="369424"/>
                  <a:pt x="1210718" y="416285"/>
                  <a:pt x="1210718" y="472120"/>
                </a:cubicBezTo>
                <a:cubicBezTo>
                  <a:pt x="1210718" y="541249"/>
                  <a:pt x="1152306" y="599742"/>
                  <a:pt x="1083274" y="599742"/>
                </a:cubicBezTo>
                <a:cubicBezTo>
                  <a:pt x="127444" y="599742"/>
                  <a:pt x="127444" y="599742"/>
                  <a:pt x="127444" y="599742"/>
                </a:cubicBezTo>
                <a:cubicBezTo>
                  <a:pt x="58412" y="599742"/>
                  <a:pt x="0" y="541249"/>
                  <a:pt x="0" y="472120"/>
                </a:cubicBezTo>
                <a:cubicBezTo>
                  <a:pt x="0" y="397674"/>
                  <a:pt x="58412" y="339180"/>
                  <a:pt x="127444" y="339180"/>
                </a:cubicBezTo>
                <a:lnTo>
                  <a:pt x="275151" y="339180"/>
                </a:lnTo>
                <a:lnTo>
                  <a:pt x="267300" y="301408"/>
                </a:lnTo>
                <a:cubicBezTo>
                  <a:pt x="267300" y="226961"/>
                  <a:pt x="325716" y="168468"/>
                  <a:pt x="394753" y="168468"/>
                </a:cubicBezTo>
                <a:cubicBezTo>
                  <a:pt x="469764" y="168468"/>
                  <a:pt x="535399" y="168468"/>
                  <a:pt x="592829" y="168468"/>
                </a:cubicBezTo>
                <a:lnTo>
                  <a:pt x="614468" y="168468"/>
                </a:lnTo>
                <a:lnTo>
                  <a:pt x="606480" y="127622"/>
                </a:lnTo>
                <a:cubicBezTo>
                  <a:pt x="606480" y="58493"/>
                  <a:pt x="664882" y="0"/>
                  <a:pt x="733902" y="0"/>
                </a:cubicBezTo>
                <a:close/>
              </a:path>
            </a:pathLst>
          </a:custGeom>
          <a:solidFill>
            <a:srgbClr val="EDF1F7"/>
          </a:solidFill>
          <a:ln>
            <a:noFill/>
          </a:ln>
        </p:spPr>
        <p:txBody>
          <a:bodyPr vert="horz" wrap="square" lIns="121920" tIns="60960" rIns="243840" bIns="60960" numCol="1" anchor="t" anchorCtr="0" compatLnSpc="1">
            <a:prstTxWarp prst="textNoShape">
              <a:avLst/>
            </a:prstTxWarp>
            <a:noAutofit/>
          </a:bodyPr>
          <a:lstStyle/>
          <a:p>
            <a:pPr algn="ctr" defTabSz="609585" fontAlgn="base">
              <a:spcBef>
                <a:spcPct val="0"/>
              </a:spcBef>
              <a:spcAft>
                <a:spcPct val="0"/>
              </a:spcAft>
              <a:defRPr/>
            </a:pPr>
            <a:endPar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endParaRPr>
          </a:p>
          <a:p>
            <a:pPr algn="ctr" defTabSz="609585" fontAlgn="base">
              <a:spcBef>
                <a:spcPct val="0"/>
              </a:spcBef>
              <a:spcAft>
                <a:spcPct val="0"/>
              </a:spcAft>
              <a:defRPr/>
            </a:pPr>
            <a:r>
              <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AMP</a:t>
            </a:r>
            <a:br>
              <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br>
            <a:r>
              <a:rPr lang="en-US" sz="100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Cloud</a:t>
            </a:r>
          </a:p>
        </p:txBody>
      </p:sp>
      <p:cxnSp>
        <p:nvCxnSpPr>
          <p:cNvPr id="285" name="Straight Connector 284">
            <a:extLst>
              <a:ext uri="{FF2B5EF4-FFF2-40B4-BE49-F238E27FC236}">
                <a16:creationId xmlns:a16="http://schemas.microsoft.com/office/drawing/2014/main" id="{5DCD2B92-A3F7-514E-911E-D2CD739737D4}"/>
              </a:ext>
            </a:extLst>
          </p:cNvPr>
          <p:cNvCxnSpPr>
            <a:cxnSpLocks/>
          </p:cNvCxnSpPr>
          <p:nvPr/>
        </p:nvCxnSpPr>
        <p:spPr>
          <a:xfrm flipV="1">
            <a:off x="4131496" y="2774815"/>
            <a:ext cx="0" cy="609600"/>
          </a:xfrm>
          <a:prstGeom prst="line">
            <a:avLst/>
          </a:prstGeom>
          <a:ln w="15875" cap="rnd">
            <a:solidFill>
              <a:srgbClr val="BBCDDF"/>
            </a:solidFill>
            <a:tailEnd type="triangle"/>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BA3C3774-0055-8E49-84D9-52B77FD01ED3}"/>
              </a:ext>
            </a:extLst>
          </p:cNvPr>
          <p:cNvCxnSpPr>
            <a:cxnSpLocks/>
          </p:cNvCxnSpPr>
          <p:nvPr/>
        </p:nvCxnSpPr>
        <p:spPr>
          <a:xfrm flipV="1">
            <a:off x="1685329" y="2757399"/>
            <a:ext cx="0" cy="609600"/>
          </a:xfrm>
          <a:prstGeom prst="line">
            <a:avLst/>
          </a:prstGeom>
          <a:ln w="15875" cap="rnd">
            <a:solidFill>
              <a:srgbClr val="BBCDDF"/>
            </a:solidFill>
            <a:tailEnd type="triangle"/>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C68748E7-B170-044E-AC68-EFC541B8B7EB}"/>
              </a:ext>
            </a:extLst>
          </p:cNvPr>
          <p:cNvCxnSpPr>
            <a:cxnSpLocks/>
          </p:cNvCxnSpPr>
          <p:nvPr/>
        </p:nvCxnSpPr>
        <p:spPr>
          <a:xfrm>
            <a:off x="6605184" y="3017292"/>
            <a:ext cx="366227" cy="0"/>
          </a:xfrm>
          <a:prstGeom prst="line">
            <a:avLst/>
          </a:prstGeom>
          <a:ln w="15875" cap="rnd">
            <a:solidFill>
              <a:srgbClr val="BBCDDF"/>
            </a:solidFill>
            <a:tailEnd type="triangle"/>
          </a:ln>
        </p:spPr>
        <p:style>
          <a:lnRef idx="1">
            <a:schemeClr val="accent1"/>
          </a:lnRef>
          <a:fillRef idx="0">
            <a:schemeClr val="accent1"/>
          </a:fillRef>
          <a:effectRef idx="0">
            <a:schemeClr val="accent1"/>
          </a:effectRef>
          <a:fontRef idx="minor">
            <a:schemeClr val="tx1"/>
          </a:fontRef>
        </p:style>
      </p:cxnSp>
      <p:sp>
        <p:nvSpPr>
          <p:cNvPr id="291" name="Rounded Rectangle 55">
            <a:extLst>
              <a:ext uri="{FF2B5EF4-FFF2-40B4-BE49-F238E27FC236}">
                <a16:creationId xmlns:a16="http://schemas.microsoft.com/office/drawing/2014/main" id="{502BF66B-2658-9D4B-A5D4-CF1B5AD08D0B}"/>
              </a:ext>
            </a:extLst>
          </p:cNvPr>
          <p:cNvSpPr/>
          <p:nvPr/>
        </p:nvSpPr>
        <p:spPr>
          <a:xfrm>
            <a:off x="3724734" y="2542673"/>
            <a:ext cx="959036" cy="252399"/>
          </a:xfrm>
          <a:prstGeom prst="roundRect">
            <a:avLst>
              <a:gd name="adj" fmla="val 5000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60960" rtlCol="0" anchor="ctr"/>
          <a:lstStyle/>
          <a:p>
            <a:pPr algn="r" defTabSz="609555">
              <a:buClr>
                <a:srgbClr val="000000"/>
              </a:buClr>
            </a:pPr>
            <a:r>
              <a:rPr lang="en-US" sz="1200" kern="0">
                <a:solidFill>
                  <a:srgbClr val="FFFFFF"/>
                </a:solidFill>
                <a:latin typeface="CiscoSansTT ExtraLight" panose="020B0303020201020303" pitchFamily="34" charset="0"/>
                <a:cs typeface="CiscoSansTT ExtraLight" panose="020B0303020201020303" pitchFamily="34" charset="0"/>
                <a:sym typeface="Arial"/>
              </a:rPr>
              <a:t>Umbrella™ </a:t>
            </a:r>
          </a:p>
        </p:txBody>
      </p:sp>
      <p:pic>
        <p:nvPicPr>
          <p:cNvPr id="294" name="Picture 293">
            <a:extLst>
              <a:ext uri="{FF2B5EF4-FFF2-40B4-BE49-F238E27FC236}">
                <a16:creationId xmlns:a16="http://schemas.microsoft.com/office/drawing/2014/main" id="{3DDCAEE6-C731-AE4C-8391-E8CD47B1B7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18218"/>
          <a:stretch/>
        </p:blipFill>
        <p:spPr>
          <a:xfrm>
            <a:off x="738664" y="1807067"/>
            <a:ext cx="227317" cy="320396"/>
          </a:xfrm>
          <a:prstGeom prst="rect">
            <a:avLst/>
          </a:prstGeom>
        </p:spPr>
      </p:pic>
      <p:pic>
        <p:nvPicPr>
          <p:cNvPr id="295" name="Picture 294">
            <a:extLst>
              <a:ext uri="{FF2B5EF4-FFF2-40B4-BE49-F238E27FC236}">
                <a16:creationId xmlns:a16="http://schemas.microsoft.com/office/drawing/2014/main" id="{E2E94F27-B3D8-7343-997D-740BD4A0F99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6026" t="36991" r="60437" b="36277"/>
          <a:stretch/>
        </p:blipFill>
        <p:spPr>
          <a:xfrm>
            <a:off x="2320106" y="1850186"/>
            <a:ext cx="388439" cy="309621"/>
          </a:xfrm>
          <a:prstGeom prst="rect">
            <a:avLst/>
          </a:prstGeom>
        </p:spPr>
      </p:pic>
      <p:pic>
        <p:nvPicPr>
          <p:cNvPr id="296" name="Picture 295">
            <a:extLst>
              <a:ext uri="{FF2B5EF4-FFF2-40B4-BE49-F238E27FC236}">
                <a16:creationId xmlns:a16="http://schemas.microsoft.com/office/drawing/2014/main" id="{1899A23D-356E-4042-AF0E-406A7E1F4C4E}"/>
              </a:ext>
            </a:extLst>
          </p:cNvPr>
          <p:cNvPicPr>
            <a:picLocks/>
          </p:cNvPicPr>
          <p:nvPr/>
        </p:nvPicPr>
        <p:blipFill>
          <a:blip r:embed="rId5" cstate="print">
            <a:extLst>
              <a:ext uri="{28A0092B-C50C-407E-A947-70E740481C1C}">
                <a14:useLocalDpi xmlns:a14="http://schemas.microsoft.com/office/drawing/2010/main"/>
              </a:ext>
            </a:extLst>
          </a:blip>
          <a:stretch>
            <a:fillRect/>
          </a:stretch>
        </p:blipFill>
        <p:spPr>
          <a:xfrm>
            <a:off x="1838686" y="1904890"/>
            <a:ext cx="317500" cy="320396"/>
          </a:xfrm>
          <a:prstGeom prst="rect">
            <a:avLst/>
          </a:prstGeom>
        </p:spPr>
      </p:pic>
      <p:pic>
        <p:nvPicPr>
          <p:cNvPr id="297" name="Google Shape;1445;p49">
            <a:extLst>
              <a:ext uri="{FF2B5EF4-FFF2-40B4-BE49-F238E27FC236}">
                <a16:creationId xmlns:a16="http://schemas.microsoft.com/office/drawing/2014/main" id="{F027A9A5-2739-524D-AC82-484EA0AEFE31}"/>
              </a:ext>
            </a:extLst>
          </p:cNvPr>
          <p:cNvPicPr preferRelativeResize="0">
            <a:picLocks noChangeAspect="1"/>
          </p:cNvPicPr>
          <p:nvPr/>
        </p:nvPicPr>
        <p:blipFill rotWithShape="1">
          <a:blip r:embed="rId6">
            <a:alphaModFix/>
          </a:blip>
          <a:srcRect/>
          <a:stretch/>
        </p:blipFill>
        <p:spPr>
          <a:xfrm>
            <a:off x="1965856" y="1563553"/>
            <a:ext cx="360000" cy="360000"/>
          </a:xfrm>
          <a:prstGeom prst="rect">
            <a:avLst/>
          </a:prstGeom>
          <a:noFill/>
          <a:ln>
            <a:noFill/>
          </a:ln>
        </p:spPr>
      </p:pic>
      <p:pic>
        <p:nvPicPr>
          <p:cNvPr id="325" name="Picture 324">
            <a:extLst>
              <a:ext uri="{FF2B5EF4-FFF2-40B4-BE49-F238E27FC236}">
                <a16:creationId xmlns:a16="http://schemas.microsoft.com/office/drawing/2014/main" id="{EE198D2E-B2C7-2E4E-9463-8E1B6D41D6E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76427" y="3597156"/>
            <a:ext cx="360000" cy="360000"/>
          </a:xfrm>
          <a:prstGeom prst="rect">
            <a:avLst/>
          </a:prstGeom>
        </p:spPr>
      </p:pic>
      <p:pic>
        <p:nvPicPr>
          <p:cNvPr id="326" name="Picture 325">
            <a:extLst>
              <a:ext uri="{FF2B5EF4-FFF2-40B4-BE49-F238E27FC236}">
                <a16:creationId xmlns:a16="http://schemas.microsoft.com/office/drawing/2014/main" id="{B0321AA7-1DEF-964F-91DA-44B121B3D02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658573" y="4935772"/>
            <a:ext cx="360000" cy="360000"/>
          </a:xfrm>
          <a:prstGeom prst="rect">
            <a:avLst/>
          </a:prstGeom>
        </p:spPr>
      </p:pic>
      <p:pic>
        <p:nvPicPr>
          <p:cNvPr id="327" name="Picture 326">
            <a:extLst>
              <a:ext uri="{FF2B5EF4-FFF2-40B4-BE49-F238E27FC236}">
                <a16:creationId xmlns:a16="http://schemas.microsoft.com/office/drawing/2014/main" id="{FC214048-C98B-654D-8F48-A5981112890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028781" y="4432749"/>
            <a:ext cx="360000" cy="360000"/>
          </a:xfrm>
          <a:prstGeom prst="rect">
            <a:avLst/>
          </a:prstGeom>
        </p:spPr>
      </p:pic>
      <p:pic>
        <p:nvPicPr>
          <p:cNvPr id="328" name="Picture 327">
            <a:extLst>
              <a:ext uri="{FF2B5EF4-FFF2-40B4-BE49-F238E27FC236}">
                <a16:creationId xmlns:a16="http://schemas.microsoft.com/office/drawing/2014/main" id="{FFAC3F86-ABD4-3C42-BF11-0428E287F7B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398819" y="4935772"/>
            <a:ext cx="360000" cy="360000"/>
          </a:xfrm>
          <a:prstGeom prst="rect">
            <a:avLst/>
          </a:prstGeom>
        </p:spPr>
      </p:pic>
      <p:pic>
        <p:nvPicPr>
          <p:cNvPr id="329" name="Picture 328">
            <a:extLst>
              <a:ext uri="{FF2B5EF4-FFF2-40B4-BE49-F238E27FC236}">
                <a16:creationId xmlns:a16="http://schemas.microsoft.com/office/drawing/2014/main" id="{3C08C33B-BE58-1049-9D89-31FB455A3D9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906163" y="2730835"/>
            <a:ext cx="360000" cy="360000"/>
          </a:xfrm>
          <a:prstGeom prst="rect">
            <a:avLst/>
          </a:prstGeom>
        </p:spPr>
      </p:pic>
      <p:pic>
        <p:nvPicPr>
          <p:cNvPr id="330" name="Picture 329">
            <a:extLst>
              <a:ext uri="{FF2B5EF4-FFF2-40B4-BE49-F238E27FC236}">
                <a16:creationId xmlns:a16="http://schemas.microsoft.com/office/drawing/2014/main" id="{596671BB-9C36-8A43-8471-C5834A25C66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906163" y="3208871"/>
            <a:ext cx="360000" cy="360000"/>
          </a:xfrm>
          <a:prstGeom prst="rect">
            <a:avLst/>
          </a:prstGeom>
        </p:spPr>
      </p:pic>
      <p:pic>
        <p:nvPicPr>
          <p:cNvPr id="331" name="Picture 330">
            <a:extLst>
              <a:ext uri="{FF2B5EF4-FFF2-40B4-BE49-F238E27FC236}">
                <a16:creationId xmlns:a16="http://schemas.microsoft.com/office/drawing/2014/main" id="{7922ADA2-6B1C-8D43-9691-1CC08D59BC33}"/>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3555253" y="2489397"/>
            <a:ext cx="360000" cy="360000"/>
          </a:xfrm>
          <a:prstGeom prst="rect">
            <a:avLst/>
          </a:prstGeom>
        </p:spPr>
      </p:pic>
      <p:pic>
        <p:nvPicPr>
          <p:cNvPr id="332" name="Picture 331">
            <a:extLst>
              <a:ext uri="{FF2B5EF4-FFF2-40B4-BE49-F238E27FC236}">
                <a16:creationId xmlns:a16="http://schemas.microsoft.com/office/drawing/2014/main" id="{75DB1B2D-ED47-444B-A56C-285D7CB4587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28497" y="2467891"/>
            <a:ext cx="360000" cy="360000"/>
          </a:xfrm>
          <a:prstGeom prst="rect">
            <a:avLst/>
          </a:prstGeom>
        </p:spPr>
      </p:pic>
    </p:spTree>
    <p:extLst>
      <p:ext uri="{BB962C8B-B14F-4D97-AF65-F5344CB8AC3E}">
        <p14:creationId xmlns:p14="http://schemas.microsoft.com/office/powerpoint/2010/main" val="19442288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B64982E-CC03-4492-847C-AC8CDFB76E91}"/>
              </a:ext>
            </a:extLst>
          </p:cNvPr>
          <p:cNvSpPr>
            <a:spLocks noGrp="1"/>
          </p:cNvSpPr>
          <p:nvPr>
            <p:ph type="body" sz="quarter" idx="11"/>
          </p:nvPr>
        </p:nvSpPr>
        <p:spPr>
          <a:xfrm>
            <a:off x="1119497" y="2862672"/>
            <a:ext cx="9953007" cy="1407584"/>
          </a:xfrm>
        </p:spPr>
        <p:txBody>
          <a:bodyPr/>
          <a:lstStyle/>
          <a:p>
            <a:pPr algn="ctr"/>
            <a:r>
              <a:rPr lang="en-US" sz="5333"/>
              <a:t>Let Cisco help you </a:t>
            </a:r>
            <a:br>
              <a:rPr lang="en-US" sz="5333"/>
            </a:br>
            <a:r>
              <a:rPr lang="en-US" sz="5333"/>
              <a:t>respond </a:t>
            </a:r>
            <a:r>
              <a:rPr lang="en-US" sz="5333" i="1">
                <a:solidFill>
                  <a:schemeClr val="accent1"/>
                </a:solidFill>
              </a:rPr>
              <a:t>faster!</a:t>
            </a:r>
          </a:p>
        </p:txBody>
      </p:sp>
    </p:spTree>
    <p:extLst>
      <p:ext uri="{BB962C8B-B14F-4D97-AF65-F5344CB8AC3E}">
        <p14:creationId xmlns:p14="http://schemas.microsoft.com/office/powerpoint/2010/main" val="5230092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79F9899-3FA2-41CE-88A4-1B7E471ED88F}"/>
              </a:ext>
            </a:extLst>
          </p:cNvPr>
          <p:cNvSpPr>
            <a:spLocks noGrp="1"/>
          </p:cNvSpPr>
          <p:nvPr>
            <p:ph type="body" sz="quarter" idx="10"/>
          </p:nvPr>
        </p:nvSpPr>
        <p:spPr>
          <a:xfrm>
            <a:off x="6999621" y="2107442"/>
            <a:ext cx="4610488" cy="358666"/>
          </a:xfrm>
        </p:spPr>
        <p:txBody>
          <a:bodyPr/>
          <a:lstStyle/>
          <a:p>
            <a:pPr marL="171450" indent="-171450">
              <a:buFont typeface="Arial" panose="020B0604020202020204" pitchFamily="34" charset="0"/>
              <a:buChar char="•"/>
            </a:pPr>
            <a:r>
              <a:rPr lang="en-US" dirty="0">
                <a:solidFill>
                  <a:schemeClr val="bg2"/>
                </a:solidFill>
              </a:rPr>
              <a:t>Higher confidence in detection and response capabilities with proven methodologies, unique intelligence, </a:t>
            </a:r>
            <a:br>
              <a:rPr lang="en-US" dirty="0">
                <a:solidFill>
                  <a:schemeClr val="bg2"/>
                </a:solidFill>
              </a:rPr>
            </a:br>
            <a:r>
              <a:rPr lang="en-US" dirty="0">
                <a:solidFill>
                  <a:schemeClr val="bg2"/>
                </a:solidFill>
              </a:rPr>
              <a:t>and an expert team</a:t>
            </a:r>
            <a:br>
              <a:rPr lang="en-US" dirty="0">
                <a:solidFill>
                  <a:schemeClr val="bg2"/>
                </a:solidFill>
              </a:rPr>
            </a:br>
            <a:endParaRPr lang="en-US" dirty="0">
              <a:solidFill>
                <a:schemeClr val="bg2"/>
              </a:solidFill>
            </a:endParaRPr>
          </a:p>
          <a:p>
            <a:pPr marL="171450" indent="-171450">
              <a:buFont typeface="Arial" panose="020B0604020202020204" pitchFamily="34" charset="0"/>
              <a:buChar char="•"/>
            </a:pPr>
            <a:r>
              <a:rPr lang="en-US" dirty="0">
                <a:solidFill>
                  <a:schemeClr val="bg2"/>
                </a:solidFill>
              </a:rPr>
              <a:t>24x7x365 analysis, investigation, and response to improve mean time to detect (MTTD) and mean time to respond (MTTR) to security threats</a:t>
            </a:r>
          </a:p>
          <a:p>
            <a:endParaRPr lang="en-US" dirty="0">
              <a:solidFill>
                <a:schemeClr val="bg2"/>
              </a:solidFill>
            </a:endParaRPr>
          </a:p>
        </p:txBody>
      </p:sp>
      <p:sp>
        <p:nvSpPr>
          <p:cNvPr id="6" name="Text Placeholder 5">
            <a:extLst>
              <a:ext uri="{FF2B5EF4-FFF2-40B4-BE49-F238E27FC236}">
                <a16:creationId xmlns:a16="http://schemas.microsoft.com/office/drawing/2014/main" id="{28D0714F-3687-4AD3-AC74-7A07A66D7364}"/>
              </a:ext>
            </a:extLst>
          </p:cNvPr>
          <p:cNvSpPr>
            <a:spLocks noGrp="1"/>
          </p:cNvSpPr>
          <p:nvPr>
            <p:ph type="body" sz="quarter" idx="14"/>
          </p:nvPr>
        </p:nvSpPr>
        <p:spPr>
          <a:xfrm>
            <a:off x="6999621" y="799332"/>
            <a:ext cx="4093859" cy="1580813"/>
          </a:xfrm>
        </p:spPr>
        <p:txBody>
          <a:bodyPr/>
          <a:lstStyle/>
          <a:p>
            <a:r>
              <a:rPr lang="en-US" sz="2800" dirty="0"/>
              <a:t>Advance your security capabilities with…</a:t>
            </a:r>
          </a:p>
        </p:txBody>
      </p:sp>
      <p:sp>
        <p:nvSpPr>
          <p:cNvPr id="17" name="Rectangle 16">
            <a:extLst>
              <a:ext uri="{FF2B5EF4-FFF2-40B4-BE49-F238E27FC236}">
                <a16:creationId xmlns:a16="http://schemas.microsoft.com/office/drawing/2014/main" id="{5EB2DE93-F643-4176-94FE-859EE889D9F4}"/>
              </a:ext>
            </a:extLst>
          </p:cNvPr>
          <p:cNvSpPr/>
          <p:nvPr/>
        </p:nvSpPr>
        <p:spPr>
          <a:xfrm>
            <a:off x="8181618" y="5253910"/>
            <a:ext cx="2000548" cy="190052"/>
          </a:xfrm>
          <a:prstGeom prst="rect">
            <a:avLst/>
          </a:prstGeom>
        </p:spPr>
        <p:txBody>
          <a:bodyPr wrap="none" lIns="0" tIns="0" rIns="0" bIns="0">
            <a:spAutoFit/>
          </a:bodyPr>
          <a:lstStyle/>
          <a:p>
            <a:pPr lvl="0" defTabSz="684213" fontAlgn="base">
              <a:lnSpc>
                <a:spcPct val="95000"/>
              </a:lnSpc>
              <a:spcBef>
                <a:spcPts val="1075"/>
              </a:spcBef>
              <a:spcAft>
                <a:spcPct val="0"/>
              </a:spcAft>
              <a:buClr>
                <a:srgbClr val="005073"/>
              </a:buClr>
              <a:buSzPct val="90000"/>
              <a:defRPr/>
            </a:pPr>
            <a:r>
              <a:rPr lang="en-US" sz="1300" kern="1200" dirty="0">
                <a:solidFill>
                  <a:srgbClr val="005073"/>
                </a:solidFill>
                <a:latin typeface="CiscoSansTT ExtraLight" panose="020B0303020201020303" pitchFamily="34" charset="0"/>
                <a:ea typeface="ＭＳ Ｐゴシック" charset="0"/>
                <a:cs typeface="CiscoSansTT ExtraLight" panose="020B0303020201020303" pitchFamily="34" charset="0"/>
              </a:rPr>
              <a:t>For more information, visit:</a:t>
            </a:r>
          </a:p>
        </p:txBody>
      </p:sp>
      <p:sp>
        <p:nvSpPr>
          <p:cNvPr id="18" name="Rounded Rectangle 4">
            <a:extLst>
              <a:ext uri="{FF2B5EF4-FFF2-40B4-BE49-F238E27FC236}">
                <a16:creationId xmlns:a16="http://schemas.microsoft.com/office/drawing/2014/main" id="{B986E2E5-7724-45E3-8742-8365F2992516}"/>
              </a:ext>
            </a:extLst>
          </p:cNvPr>
          <p:cNvSpPr/>
          <p:nvPr/>
        </p:nvSpPr>
        <p:spPr>
          <a:xfrm>
            <a:off x="8015361" y="5582509"/>
            <a:ext cx="2495875" cy="450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solidFill>
                  <a:schemeClr val="bg1"/>
                </a:solidFill>
                <a:latin typeface="CiscoSansTT ExtraLight" panose="020B0303020201020303" pitchFamily="34" charset="0"/>
                <a:cs typeface="CiscoSansTT ExtraLight" panose="020B0303020201020303" pitchFamily="34" charset="0"/>
                <a:hlinkClick r:id="rId3">
                  <a:extLst>
                    <a:ext uri="{A12FA001-AC4F-418D-AE19-62706E023703}">
                      <ahyp:hlinkClr xmlns:ahyp="http://schemas.microsoft.com/office/drawing/2018/hyperlinkcolor" val="tx"/>
                    </a:ext>
                  </a:extLst>
                </a:hlinkClick>
              </a:rPr>
              <a:t>Cisco® Managed Services</a:t>
            </a:r>
            <a:endParaRPr lang="en-US" sz="1200" dirty="0">
              <a:solidFill>
                <a:schemeClr val="bg1"/>
              </a:solidFill>
              <a:latin typeface="CiscoSansTT ExtraLight" panose="020B0303020201020303" pitchFamily="34" charset="0"/>
              <a:cs typeface="CiscoSansTT ExtraLight" panose="020B0303020201020303" pitchFamily="34" charset="0"/>
            </a:endParaRPr>
          </a:p>
        </p:txBody>
      </p:sp>
    </p:spTree>
    <p:extLst>
      <p:ext uri="{BB962C8B-B14F-4D97-AF65-F5344CB8AC3E}">
        <p14:creationId xmlns:p14="http://schemas.microsoft.com/office/powerpoint/2010/main" val="396431682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2905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92" name="Group 1191">
            <a:extLst>
              <a:ext uri="{FF2B5EF4-FFF2-40B4-BE49-F238E27FC236}">
                <a16:creationId xmlns:a16="http://schemas.microsoft.com/office/drawing/2014/main" id="{20E05E04-EDBB-AE45-930B-2D5E21C2413E}"/>
              </a:ext>
            </a:extLst>
          </p:cNvPr>
          <p:cNvGrpSpPr/>
          <p:nvPr/>
        </p:nvGrpSpPr>
        <p:grpSpPr>
          <a:xfrm>
            <a:off x="138065" y="1003663"/>
            <a:ext cx="11930355" cy="5660912"/>
            <a:chOff x="857253" y="576717"/>
            <a:chExt cx="7413648" cy="3565530"/>
          </a:xfrm>
        </p:grpSpPr>
        <p:sp>
          <p:nvSpPr>
            <p:cNvPr id="1193" name="Freeform 679">
              <a:extLst>
                <a:ext uri="{FF2B5EF4-FFF2-40B4-BE49-F238E27FC236}">
                  <a16:creationId xmlns:a16="http://schemas.microsoft.com/office/drawing/2014/main" id="{5A0872C7-0629-7343-9E7E-8BD9CBB0ABD2}"/>
                </a:ext>
              </a:extLst>
            </p:cNvPr>
            <p:cNvSpPr>
              <a:spLocks/>
            </p:cNvSpPr>
            <p:nvPr/>
          </p:nvSpPr>
          <p:spPr bwMode="auto">
            <a:xfrm>
              <a:off x="7189810" y="3750134"/>
              <a:ext cx="100013" cy="82550"/>
            </a:xfrm>
            <a:custGeom>
              <a:avLst/>
              <a:gdLst>
                <a:gd name="T0" fmla="*/ 21 w 105"/>
                <a:gd name="T1" fmla="*/ 6 h 86"/>
                <a:gd name="T2" fmla="*/ 16 w 105"/>
                <a:gd name="T3" fmla="*/ 19 h 86"/>
                <a:gd name="T4" fmla="*/ 13 w 105"/>
                <a:gd name="T5" fmla="*/ 36 h 86"/>
                <a:gd name="T6" fmla="*/ 15 w 105"/>
                <a:gd name="T7" fmla="*/ 53 h 86"/>
                <a:gd name="T8" fmla="*/ 7 w 105"/>
                <a:gd name="T9" fmla="*/ 48 h 86"/>
                <a:gd name="T10" fmla="*/ 5 w 105"/>
                <a:gd name="T11" fmla="*/ 65 h 86"/>
                <a:gd name="T12" fmla="*/ 12 w 105"/>
                <a:gd name="T13" fmla="*/ 78 h 86"/>
                <a:gd name="T14" fmla="*/ 6 w 105"/>
                <a:gd name="T15" fmla="*/ 84 h 86"/>
                <a:gd name="T16" fmla="*/ 19 w 105"/>
                <a:gd name="T17" fmla="*/ 84 h 86"/>
                <a:gd name="T18" fmla="*/ 30 w 105"/>
                <a:gd name="T19" fmla="*/ 82 h 86"/>
                <a:gd name="T20" fmla="*/ 38 w 105"/>
                <a:gd name="T21" fmla="*/ 70 h 86"/>
                <a:gd name="T22" fmla="*/ 44 w 105"/>
                <a:gd name="T23" fmla="*/ 72 h 86"/>
                <a:gd name="T24" fmla="*/ 48 w 105"/>
                <a:gd name="T25" fmla="*/ 63 h 86"/>
                <a:gd name="T26" fmla="*/ 55 w 105"/>
                <a:gd name="T27" fmla="*/ 65 h 86"/>
                <a:gd name="T28" fmla="*/ 52 w 105"/>
                <a:gd name="T29" fmla="*/ 74 h 86"/>
                <a:gd name="T30" fmla="*/ 62 w 105"/>
                <a:gd name="T31" fmla="*/ 68 h 86"/>
                <a:gd name="T32" fmla="*/ 67 w 105"/>
                <a:gd name="T33" fmla="*/ 57 h 86"/>
                <a:gd name="T34" fmla="*/ 73 w 105"/>
                <a:gd name="T35" fmla="*/ 46 h 86"/>
                <a:gd name="T36" fmla="*/ 86 w 105"/>
                <a:gd name="T37" fmla="*/ 44 h 86"/>
                <a:gd name="T38" fmla="*/ 88 w 105"/>
                <a:gd name="T39" fmla="*/ 33 h 86"/>
                <a:gd name="T40" fmla="*/ 93 w 105"/>
                <a:gd name="T41" fmla="*/ 24 h 86"/>
                <a:gd name="T42" fmla="*/ 99 w 105"/>
                <a:gd name="T43" fmla="*/ 15 h 86"/>
                <a:gd name="T44" fmla="*/ 102 w 105"/>
                <a:gd name="T45" fmla="*/ 3 h 86"/>
                <a:gd name="T46" fmla="*/ 95 w 105"/>
                <a:gd name="T47" fmla="*/ 6 h 86"/>
                <a:gd name="T48" fmla="*/ 87 w 105"/>
                <a:gd name="T49" fmla="*/ 9 h 86"/>
                <a:gd name="T50" fmla="*/ 76 w 105"/>
                <a:gd name="T51" fmla="*/ 12 h 86"/>
                <a:gd name="T52" fmla="*/ 59 w 105"/>
                <a:gd name="T53" fmla="*/ 14 h 86"/>
                <a:gd name="T54" fmla="*/ 48 w 105"/>
                <a:gd name="T55" fmla="*/ 14 h 86"/>
                <a:gd name="T56" fmla="*/ 37 w 105"/>
                <a:gd name="T57" fmla="*/ 8 h 86"/>
                <a:gd name="T58" fmla="*/ 29 w 105"/>
                <a:gd name="T59" fmla="*/ 3 h 86"/>
                <a:gd name="T60" fmla="*/ 21 w 105"/>
                <a:gd name="T61" fmla="*/ 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86">
                  <a:moveTo>
                    <a:pt x="21" y="6"/>
                  </a:moveTo>
                  <a:cubicBezTo>
                    <a:pt x="21" y="14"/>
                    <a:pt x="17" y="9"/>
                    <a:pt x="16" y="19"/>
                  </a:cubicBezTo>
                  <a:cubicBezTo>
                    <a:pt x="14" y="29"/>
                    <a:pt x="12" y="30"/>
                    <a:pt x="13" y="36"/>
                  </a:cubicBezTo>
                  <a:cubicBezTo>
                    <a:pt x="15" y="42"/>
                    <a:pt x="19" y="53"/>
                    <a:pt x="15" y="53"/>
                  </a:cubicBezTo>
                  <a:cubicBezTo>
                    <a:pt x="10" y="53"/>
                    <a:pt x="10" y="42"/>
                    <a:pt x="7" y="48"/>
                  </a:cubicBezTo>
                  <a:cubicBezTo>
                    <a:pt x="5" y="55"/>
                    <a:pt x="2" y="60"/>
                    <a:pt x="5" y="65"/>
                  </a:cubicBezTo>
                  <a:cubicBezTo>
                    <a:pt x="7" y="71"/>
                    <a:pt x="17" y="76"/>
                    <a:pt x="12" y="78"/>
                  </a:cubicBezTo>
                  <a:cubicBezTo>
                    <a:pt x="7" y="80"/>
                    <a:pt x="0" y="83"/>
                    <a:pt x="6" y="84"/>
                  </a:cubicBezTo>
                  <a:cubicBezTo>
                    <a:pt x="12" y="85"/>
                    <a:pt x="16" y="83"/>
                    <a:pt x="19" y="84"/>
                  </a:cubicBezTo>
                  <a:cubicBezTo>
                    <a:pt x="22" y="85"/>
                    <a:pt x="26" y="86"/>
                    <a:pt x="30" y="82"/>
                  </a:cubicBezTo>
                  <a:cubicBezTo>
                    <a:pt x="34" y="77"/>
                    <a:pt x="36" y="67"/>
                    <a:pt x="38" y="70"/>
                  </a:cubicBezTo>
                  <a:cubicBezTo>
                    <a:pt x="39" y="74"/>
                    <a:pt x="42" y="77"/>
                    <a:pt x="44" y="72"/>
                  </a:cubicBezTo>
                  <a:cubicBezTo>
                    <a:pt x="47" y="67"/>
                    <a:pt x="46" y="57"/>
                    <a:pt x="48" y="63"/>
                  </a:cubicBezTo>
                  <a:cubicBezTo>
                    <a:pt x="50" y="70"/>
                    <a:pt x="57" y="61"/>
                    <a:pt x="55" y="65"/>
                  </a:cubicBezTo>
                  <a:cubicBezTo>
                    <a:pt x="53" y="68"/>
                    <a:pt x="46" y="74"/>
                    <a:pt x="52" y="74"/>
                  </a:cubicBezTo>
                  <a:cubicBezTo>
                    <a:pt x="58" y="74"/>
                    <a:pt x="63" y="72"/>
                    <a:pt x="62" y="68"/>
                  </a:cubicBezTo>
                  <a:cubicBezTo>
                    <a:pt x="61" y="64"/>
                    <a:pt x="64" y="60"/>
                    <a:pt x="67" y="57"/>
                  </a:cubicBezTo>
                  <a:cubicBezTo>
                    <a:pt x="69" y="53"/>
                    <a:pt x="67" y="47"/>
                    <a:pt x="73" y="46"/>
                  </a:cubicBezTo>
                  <a:cubicBezTo>
                    <a:pt x="79" y="44"/>
                    <a:pt x="86" y="48"/>
                    <a:pt x="86" y="44"/>
                  </a:cubicBezTo>
                  <a:cubicBezTo>
                    <a:pt x="87" y="40"/>
                    <a:pt x="85" y="35"/>
                    <a:pt x="88" y="33"/>
                  </a:cubicBezTo>
                  <a:cubicBezTo>
                    <a:pt x="90" y="31"/>
                    <a:pt x="89" y="28"/>
                    <a:pt x="93" y="24"/>
                  </a:cubicBezTo>
                  <a:cubicBezTo>
                    <a:pt x="97" y="21"/>
                    <a:pt x="98" y="18"/>
                    <a:pt x="99" y="15"/>
                  </a:cubicBezTo>
                  <a:cubicBezTo>
                    <a:pt x="101" y="13"/>
                    <a:pt x="105" y="4"/>
                    <a:pt x="102" y="3"/>
                  </a:cubicBezTo>
                  <a:cubicBezTo>
                    <a:pt x="98" y="2"/>
                    <a:pt x="97" y="2"/>
                    <a:pt x="95" y="6"/>
                  </a:cubicBezTo>
                  <a:cubicBezTo>
                    <a:pt x="94" y="9"/>
                    <a:pt x="94" y="9"/>
                    <a:pt x="87" y="9"/>
                  </a:cubicBezTo>
                  <a:cubicBezTo>
                    <a:pt x="80" y="9"/>
                    <a:pt x="83" y="10"/>
                    <a:pt x="76" y="12"/>
                  </a:cubicBezTo>
                  <a:cubicBezTo>
                    <a:pt x="69" y="14"/>
                    <a:pt x="62" y="13"/>
                    <a:pt x="59" y="14"/>
                  </a:cubicBezTo>
                  <a:cubicBezTo>
                    <a:pt x="56" y="16"/>
                    <a:pt x="57" y="19"/>
                    <a:pt x="48" y="14"/>
                  </a:cubicBezTo>
                  <a:cubicBezTo>
                    <a:pt x="39" y="9"/>
                    <a:pt x="44" y="14"/>
                    <a:pt x="37" y="8"/>
                  </a:cubicBezTo>
                  <a:cubicBezTo>
                    <a:pt x="31" y="3"/>
                    <a:pt x="33" y="4"/>
                    <a:pt x="29" y="3"/>
                  </a:cubicBezTo>
                  <a:cubicBezTo>
                    <a:pt x="26" y="1"/>
                    <a:pt x="20" y="0"/>
                    <a:pt x="21" y="6"/>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194" name="Freeform 680">
              <a:extLst>
                <a:ext uri="{FF2B5EF4-FFF2-40B4-BE49-F238E27FC236}">
                  <a16:creationId xmlns:a16="http://schemas.microsoft.com/office/drawing/2014/main" id="{1BFC77BB-4C49-5A40-A980-881AA3AC721C}"/>
                </a:ext>
              </a:extLst>
            </p:cNvPr>
            <p:cNvSpPr>
              <a:spLocks/>
            </p:cNvSpPr>
            <p:nvPr/>
          </p:nvSpPr>
          <p:spPr bwMode="auto">
            <a:xfrm>
              <a:off x="6631008" y="2950033"/>
              <a:ext cx="947740" cy="765176"/>
            </a:xfrm>
            <a:custGeom>
              <a:avLst/>
              <a:gdLst>
                <a:gd name="T0" fmla="*/ 24 w 996"/>
                <a:gd name="T1" fmla="*/ 682 h 802"/>
                <a:gd name="T2" fmla="*/ 94 w 996"/>
                <a:gd name="T3" fmla="*/ 670 h 802"/>
                <a:gd name="T4" fmla="*/ 157 w 996"/>
                <a:gd name="T5" fmla="*/ 649 h 802"/>
                <a:gd name="T6" fmla="*/ 218 w 996"/>
                <a:gd name="T7" fmla="*/ 645 h 802"/>
                <a:gd name="T8" fmla="*/ 280 w 996"/>
                <a:gd name="T9" fmla="*/ 609 h 802"/>
                <a:gd name="T10" fmla="*/ 373 w 996"/>
                <a:gd name="T11" fmla="*/ 589 h 802"/>
                <a:gd name="T12" fmla="*/ 446 w 996"/>
                <a:gd name="T13" fmla="*/ 598 h 802"/>
                <a:gd name="T14" fmla="*/ 469 w 996"/>
                <a:gd name="T15" fmla="*/ 630 h 802"/>
                <a:gd name="T16" fmla="*/ 484 w 996"/>
                <a:gd name="T17" fmla="*/ 683 h 802"/>
                <a:gd name="T18" fmla="*/ 539 w 996"/>
                <a:gd name="T19" fmla="*/ 641 h 802"/>
                <a:gd name="T20" fmla="*/ 534 w 996"/>
                <a:gd name="T21" fmla="*/ 656 h 802"/>
                <a:gd name="T22" fmla="*/ 520 w 996"/>
                <a:gd name="T23" fmla="*/ 687 h 802"/>
                <a:gd name="T24" fmla="*/ 539 w 996"/>
                <a:gd name="T25" fmla="*/ 693 h 802"/>
                <a:gd name="T26" fmla="*/ 558 w 996"/>
                <a:gd name="T27" fmla="*/ 723 h 802"/>
                <a:gd name="T28" fmla="*/ 608 w 996"/>
                <a:gd name="T29" fmla="*/ 790 h 802"/>
                <a:gd name="T30" fmla="*/ 657 w 996"/>
                <a:gd name="T31" fmla="*/ 771 h 802"/>
                <a:gd name="T32" fmla="*/ 677 w 996"/>
                <a:gd name="T33" fmla="*/ 799 h 802"/>
                <a:gd name="T34" fmla="*/ 775 w 996"/>
                <a:gd name="T35" fmla="*/ 756 h 802"/>
                <a:gd name="T36" fmla="*/ 838 w 996"/>
                <a:gd name="T37" fmla="*/ 681 h 802"/>
                <a:gd name="T38" fmla="*/ 922 w 996"/>
                <a:gd name="T39" fmla="*/ 597 h 802"/>
                <a:gd name="T40" fmla="*/ 982 w 996"/>
                <a:gd name="T41" fmla="*/ 472 h 802"/>
                <a:gd name="T42" fmla="*/ 991 w 996"/>
                <a:gd name="T43" fmla="*/ 419 h 802"/>
                <a:gd name="T44" fmla="*/ 963 w 996"/>
                <a:gd name="T45" fmla="*/ 370 h 802"/>
                <a:gd name="T46" fmla="*/ 953 w 996"/>
                <a:gd name="T47" fmla="*/ 331 h 802"/>
                <a:gd name="T48" fmla="*/ 933 w 996"/>
                <a:gd name="T49" fmla="*/ 309 h 802"/>
                <a:gd name="T50" fmla="*/ 928 w 996"/>
                <a:gd name="T51" fmla="*/ 278 h 802"/>
                <a:gd name="T52" fmla="*/ 898 w 996"/>
                <a:gd name="T53" fmla="*/ 248 h 802"/>
                <a:gd name="T54" fmla="*/ 871 w 996"/>
                <a:gd name="T55" fmla="*/ 208 h 802"/>
                <a:gd name="T56" fmla="*/ 866 w 996"/>
                <a:gd name="T57" fmla="*/ 157 h 802"/>
                <a:gd name="T58" fmla="*/ 859 w 996"/>
                <a:gd name="T59" fmla="*/ 111 h 802"/>
                <a:gd name="T60" fmla="*/ 832 w 996"/>
                <a:gd name="T61" fmla="*/ 73 h 802"/>
                <a:gd name="T62" fmla="*/ 819 w 996"/>
                <a:gd name="T63" fmla="*/ 17 h 802"/>
                <a:gd name="T64" fmla="*/ 797 w 996"/>
                <a:gd name="T65" fmla="*/ 31 h 802"/>
                <a:gd name="T66" fmla="*/ 779 w 996"/>
                <a:gd name="T67" fmla="*/ 86 h 802"/>
                <a:gd name="T68" fmla="*/ 759 w 996"/>
                <a:gd name="T69" fmla="*/ 171 h 802"/>
                <a:gd name="T70" fmla="*/ 698 w 996"/>
                <a:gd name="T71" fmla="*/ 174 h 802"/>
                <a:gd name="T72" fmla="*/ 629 w 996"/>
                <a:gd name="T73" fmla="*/ 125 h 802"/>
                <a:gd name="T74" fmla="*/ 649 w 996"/>
                <a:gd name="T75" fmla="*/ 73 h 802"/>
                <a:gd name="T76" fmla="*/ 661 w 996"/>
                <a:gd name="T77" fmla="*/ 40 h 802"/>
                <a:gd name="T78" fmla="*/ 634 w 996"/>
                <a:gd name="T79" fmla="*/ 41 h 802"/>
                <a:gd name="T80" fmla="*/ 599 w 996"/>
                <a:gd name="T81" fmla="*/ 36 h 802"/>
                <a:gd name="T82" fmla="*/ 565 w 996"/>
                <a:gd name="T83" fmla="*/ 19 h 802"/>
                <a:gd name="T84" fmla="*/ 557 w 996"/>
                <a:gd name="T85" fmla="*/ 44 h 802"/>
                <a:gd name="T86" fmla="*/ 500 w 996"/>
                <a:gd name="T87" fmla="*/ 66 h 802"/>
                <a:gd name="T88" fmla="*/ 476 w 996"/>
                <a:gd name="T89" fmla="*/ 108 h 802"/>
                <a:gd name="T90" fmla="*/ 458 w 996"/>
                <a:gd name="T91" fmla="*/ 117 h 802"/>
                <a:gd name="T92" fmla="*/ 414 w 996"/>
                <a:gd name="T93" fmla="*/ 89 h 802"/>
                <a:gd name="T94" fmla="*/ 383 w 996"/>
                <a:gd name="T95" fmla="*/ 110 h 802"/>
                <a:gd name="T96" fmla="*/ 353 w 996"/>
                <a:gd name="T97" fmla="*/ 134 h 802"/>
                <a:gd name="T98" fmla="*/ 322 w 996"/>
                <a:gd name="T99" fmla="*/ 157 h 802"/>
                <a:gd name="T100" fmla="*/ 310 w 996"/>
                <a:gd name="T101" fmla="*/ 173 h 802"/>
                <a:gd name="T102" fmla="*/ 286 w 996"/>
                <a:gd name="T103" fmla="*/ 211 h 802"/>
                <a:gd name="T104" fmla="*/ 211 w 996"/>
                <a:gd name="T105" fmla="*/ 262 h 802"/>
                <a:gd name="T106" fmla="*/ 132 w 996"/>
                <a:gd name="T107" fmla="*/ 282 h 802"/>
                <a:gd name="T108" fmla="*/ 66 w 996"/>
                <a:gd name="T109" fmla="*/ 330 h 802"/>
                <a:gd name="T110" fmla="*/ 41 w 996"/>
                <a:gd name="T111" fmla="*/ 369 h 802"/>
                <a:gd name="T112" fmla="*/ 37 w 996"/>
                <a:gd name="T113" fmla="*/ 433 h 802"/>
                <a:gd name="T114" fmla="*/ 21 w 996"/>
                <a:gd name="T115" fmla="*/ 440 h 802"/>
                <a:gd name="T116" fmla="*/ 37 w 996"/>
                <a:gd name="T117" fmla="*/ 548 h 802"/>
                <a:gd name="T118" fmla="*/ 24 w 996"/>
                <a:gd name="T119" fmla="*/ 639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96" h="802">
                  <a:moveTo>
                    <a:pt x="1" y="653"/>
                  </a:moveTo>
                  <a:cubicBezTo>
                    <a:pt x="1" y="653"/>
                    <a:pt x="0" y="665"/>
                    <a:pt x="1" y="665"/>
                  </a:cubicBezTo>
                  <a:cubicBezTo>
                    <a:pt x="2" y="666"/>
                    <a:pt x="7" y="664"/>
                    <a:pt x="10" y="667"/>
                  </a:cubicBezTo>
                  <a:cubicBezTo>
                    <a:pt x="13" y="670"/>
                    <a:pt x="12" y="669"/>
                    <a:pt x="16" y="674"/>
                  </a:cubicBezTo>
                  <a:cubicBezTo>
                    <a:pt x="19" y="679"/>
                    <a:pt x="18" y="680"/>
                    <a:pt x="24" y="682"/>
                  </a:cubicBezTo>
                  <a:cubicBezTo>
                    <a:pt x="29" y="685"/>
                    <a:pt x="35" y="685"/>
                    <a:pt x="38" y="685"/>
                  </a:cubicBezTo>
                  <a:cubicBezTo>
                    <a:pt x="40" y="685"/>
                    <a:pt x="46" y="686"/>
                    <a:pt x="55" y="686"/>
                  </a:cubicBezTo>
                  <a:cubicBezTo>
                    <a:pt x="64" y="686"/>
                    <a:pt x="67" y="685"/>
                    <a:pt x="71" y="682"/>
                  </a:cubicBezTo>
                  <a:cubicBezTo>
                    <a:pt x="75" y="680"/>
                    <a:pt x="81" y="675"/>
                    <a:pt x="86" y="672"/>
                  </a:cubicBezTo>
                  <a:cubicBezTo>
                    <a:pt x="90" y="670"/>
                    <a:pt x="90" y="667"/>
                    <a:pt x="94" y="670"/>
                  </a:cubicBezTo>
                  <a:cubicBezTo>
                    <a:pt x="97" y="672"/>
                    <a:pt x="98" y="671"/>
                    <a:pt x="102" y="669"/>
                  </a:cubicBezTo>
                  <a:cubicBezTo>
                    <a:pt x="107" y="666"/>
                    <a:pt x="104" y="663"/>
                    <a:pt x="110" y="660"/>
                  </a:cubicBezTo>
                  <a:cubicBezTo>
                    <a:pt x="117" y="657"/>
                    <a:pt x="112" y="653"/>
                    <a:pt x="124" y="653"/>
                  </a:cubicBezTo>
                  <a:cubicBezTo>
                    <a:pt x="135" y="654"/>
                    <a:pt x="141" y="653"/>
                    <a:pt x="145" y="651"/>
                  </a:cubicBezTo>
                  <a:cubicBezTo>
                    <a:pt x="149" y="650"/>
                    <a:pt x="155" y="647"/>
                    <a:pt x="157" y="649"/>
                  </a:cubicBezTo>
                  <a:cubicBezTo>
                    <a:pt x="159" y="651"/>
                    <a:pt x="175" y="650"/>
                    <a:pt x="175" y="650"/>
                  </a:cubicBezTo>
                  <a:cubicBezTo>
                    <a:pt x="175" y="650"/>
                    <a:pt x="170" y="655"/>
                    <a:pt x="176" y="655"/>
                  </a:cubicBezTo>
                  <a:cubicBezTo>
                    <a:pt x="182" y="654"/>
                    <a:pt x="183" y="650"/>
                    <a:pt x="189" y="652"/>
                  </a:cubicBezTo>
                  <a:cubicBezTo>
                    <a:pt x="194" y="654"/>
                    <a:pt x="198" y="656"/>
                    <a:pt x="203" y="655"/>
                  </a:cubicBezTo>
                  <a:cubicBezTo>
                    <a:pt x="207" y="653"/>
                    <a:pt x="215" y="648"/>
                    <a:pt x="218" y="645"/>
                  </a:cubicBezTo>
                  <a:cubicBezTo>
                    <a:pt x="220" y="642"/>
                    <a:pt x="224" y="637"/>
                    <a:pt x="226" y="635"/>
                  </a:cubicBezTo>
                  <a:cubicBezTo>
                    <a:pt x="228" y="633"/>
                    <a:pt x="230" y="629"/>
                    <a:pt x="235" y="628"/>
                  </a:cubicBezTo>
                  <a:cubicBezTo>
                    <a:pt x="240" y="628"/>
                    <a:pt x="244" y="627"/>
                    <a:pt x="251" y="624"/>
                  </a:cubicBezTo>
                  <a:cubicBezTo>
                    <a:pt x="258" y="620"/>
                    <a:pt x="262" y="616"/>
                    <a:pt x="267" y="614"/>
                  </a:cubicBezTo>
                  <a:cubicBezTo>
                    <a:pt x="271" y="612"/>
                    <a:pt x="273" y="611"/>
                    <a:pt x="280" y="609"/>
                  </a:cubicBezTo>
                  <a:cubicBezTo>
                    <a:pt x="287" y="608"/>
                    <a:pt x="290" y="605"/>
                    <a:pt x="292" y="606"/>
                  </a:cubicBezTo>
                  <a:cubicBezTo>
                    <a:pt x="295" y="608"/>
                    <a:pt x="299" y="610"/>
                    <a:pt x="303" y="610"/>
                  </a:cubicBezTo>
                  <a:cubicBezTo>
                    <a:pt x="307" y="609"/>
                    <a:pt x="307" y="612"/>
                    <a:pt x="322" y="606"/>
                  </a:cubicBezTo>
                  <a:cubicBezTo>
                    <a:pt x="337" y="601"/>
                    <a:pt x="339" y="598"/>
                    <a:pt x="349" y="595"/>
                  </a:cubicBezTo>
                  <a:cubicBezTo>
                    <a:pt x="358" y="592"/>
                    <a:pt x="365" y="589"/>
                    <a:pt x="373" y="589"/>
                  </a:cubicBezTo>
                  <a:cubicBezTo>
                    <a:pt x="381" y="589"/>
                    <a:pt x="388" y="586"/>
                    <a:pt x="391" y="586"/>
                  </a:cubicBezTo>
                  <a:cubicBezTo>
                    <a:pt x="393" y="586"/>
                    <a:pt x="399" y="588"/>
                    <a:pt x="403" y="589"/>
                  </a:cubicBezTo>
                  <a:cubicBezTo>
                    <a:pt x="408" y="589"/>
                    <a:pt x="413" y="582"/>
                    <a:pt x="417" y="586"/>
                  </a:cubicBezTo>
                  <a:cubicBezTo>
                    <a:pt x="421" y="590"/>
                    <a:pt x="427" y="599"/>
                    <a:pt x="434" y="601"/>
                  </a:cubicBezTo>
                  <a:cubicBezTo>
                    <a:pt x="442" y="602"/>
                    <a:pt x="444" y="596"/>
                    <a:pt x="446" y="598"/>
                  </a:cubicBezTo>
                  <a:cubicBezTo>
                    <a:pt x="448" y="599"/>
                    <a:pt x="461" y="605"/>
                    <a:pt x="463" y="605"/>
                  </a:cubicBezTo>
                  <a:cubicBezTo>
                    <a:pt x="465" y="605"/>
                    <a:pt x="469" y="606"/>
                    <a:pt x="467" y="609"/>
                  </a:cubicBezTo>
                  <a:cubicBezTo>
                    <a:pt x="465" y="613"/>
                    <a:pt x="473" y="616"/>
                    <a:pt x="474" y="616"/>
                  </a:cubicBezTo>
                  <a:cubicBezTo>
                    <a:pt x="474" y="616"/>
                    <a:pt x="477" y="618"/>
                    <a:pt x="471" y="620"/>
                  </a:cubicBezTo>
                  <a:cubicBezTo>
                    <a:pt x="466" y="622"/>
                    <a:pt x="467" y="627"/>
                    <a:pt x="469" y="630"/>
                  </a:cubicBezTo>
                  <a:cubicBezTo>
                    <a:pt x="471" y="633"/>
                    <a:pt x="478" y="632"/>
                    <a:pt x="478" y="636"/>
                  </a:cubicBezTo>
                  <a:cubicBezTo>
                    <a:pt x="478" y="640"/>
                    <a:pt x="473" y="644"/>
                    <a:pt x="478" y="650"/>
                  </a:cubicBezTo>
                  <a:cubicBezTo>
                    <a:pt x="483" y="655"/>
                    <a:pt x="485" y="661"/>
                    <a:pt x="481" y="665"/>
                  </a:cubicBezTo>
                  <a:cubicBezTo>
                    <a:pt x="477" y="668"/>
                    <a:pt x="470" y="666"/>
                    <a:pt x="472" y="670"/>
                  </a:cubicBezTo>
                  <a:cubicBezTo>
                    <a:pt x="474" y="675"/>
                    <a:pt x="482" y="682"/>
                    <a:pt x="484" y="683"/>
                  </a:cubicBezTo>
                  <a:cubicBezTo>
                    <a:pt x="487" y="684"/>
                    <a:pt x="490" y="682"/>
                    <a:pt x="491" y="680"/>
                  </a:cubicBezTo>
                  <a:cubicBezTo>
                    <a:pt x="491" y="678"/>
                    <a:pt x="487" y="677"/>
                    <a:pt x="493" y="672"/>
                  </a:cubicBezTo>
                  <a:cubicBezTo>
                    <a:pt x="499" y="667"/>
                    <a:pt x="499" y="665"/>
                    <a:pt x="508" y="660"/>
                  </a:cubicBezTo>
                  <a:cubicBezTo>
                    <a:pt x="517" y="654"/>
                    <a:pt x="521" y="648"/>
                    <a:pt x="525" y="648"/>
                  </a:cubicBezTo>
                  <a:cubicBezTo>
                    <a:pt x="529" y="648"/>
                    <a:pt x="533" y="649"/>
                    <a:pt x="539" y="641"/>
                  </a:cubicBezTo>
                  <a:cubicBezTo>
                    <a:pt x="544" y="634"/>
                    <a:pt x="553" y="628"/>
                    <a:pt x="554" y="626"/>
                  </a:cubicBezTo>
                  <a:cubicBezTo>
                    <a:pt x="556" y="624"/>
                    <a:pt x="560" y="615"/>
                    <a:pt x="559" y="621"/>
                  </a:cubicBezTo>
                  <a:cubicBezTo>
                    <a:pt x="558" y="627"/>
                    <a:pt x="556" y="632"/>
                    <a:pt x="553" y="636"/>
                  </a:cubicBezTo>
                  <a:cubicBezTo>
                    <a:pt x="549" y="639"/>
                    <a:pt x="549" y="643"/>
                    <a:pt x="545" y="647"/>
                  </a:cubicBezTo>
                  <a:cubicBezTo>
                    <a:pt x="542" y="651"/>
                    <a:pt x="538" y="649"/>
                    <a:pt x="534" y="656"/>
                  </a:cubicBezTo>
                  <a:cubicBezTo>
                    <a:pt x="530" y="663"/>
                    <a:pt x="531" y="668"/>
                    <a:pt x="528" y="673"/>
                  </a:cubicBezTo>
                  <a:cubicBezTo>
                    <a:pt x="526" y="677"/>
                    <a:pt x="527" y="680"/>
                    <a:pt x="522" y="682"/>
                  </a:cubicBezTo>
                  <a:cubicBezTo>
                    <a:pt x="517" y="683"/>
                    <a:pt x="508" y="684"/>
                    <a:pt x="507" y="686"/>
                  </a:cubicBezTo>
                  <a:cubicBezTo>
                    <a:pt x="507" y="689"/>
                    <a:pt x="504" y="692"/>
                    <a:pt x="506" y="692"/>
                  </a:cubicBezTo>
                  <a:cubicBezTo>
                    <a:pt x="509" y="692"/>
                    <a:pt x="517" y="688"/>
                    <a:pt x="520" y="687"/>
                  </a:cubicBezTo>
                  <a:cubicBezTo>
                    <a:pt x="523" y="687"/>
                    <a:pt x="530" y="687"/>
                    <a:pt x="534" y="680"/>
                  </a:cubicBezTo>
                  <a:cubicBezTo>
                    <a:pt x="538" y="674"/>
                    <a:pt x="545" y="663"/>
                    <a:pt x="545" y="662"/>
                  </a:cubicBezTo>
                  <a:cubicBezTo>
                    <a:pt x="546" y="661"/>
                    <a:pt x="548" y="660"/>
                    <a:pt x="548" y="663"/>
                  </a:cubicBezTo>
                  <a:cubicBezTo>
                    <a:pt x="548" y="666"/>
                    <a:pt x="548" y="682"/>
                    <a:pt x="548" y="682"/>
                  </a:cubicBezTo>
                  <a:cubicBezTo>
                    <a:pt x="548" y="682"/>
                    <a:pt x="542" y="689"/>
                    <a:pt x="539" y="693"/>
                  </a:cubicBezTo>
                  <a:cubicBezTo>
                    <a:pt x="536" y="698"/>
                    <a:pt x="522" y="702"/>
                    <a:pt x="529" y="703"/>
                  </a:cubicBezTo>
                  <a:cubicBezTo>
                    <a:pt x="536" y="703"/>
                    <a:pt x="548" y="700"/>
                    <a:pt x="551" y="698"/>
                  </a:cubicBezTo>
                  <a:cubicBezTo>
                    <a:pt x="554" y="696"/>
                    <a:pt x="563" y="688"/>
                    <a:pt x="562" y="694"/>
                  </a:cubicBezTo>
                  <a:cubicBezTo>
                    <a:pt x="560" y="699"/>
                    <a:pt x="551" y="698"/>
                    <a:pt x="554" y="705"/>
                  </a:cubicBezTo>
                  <a:cubicBezTo>
                    <a:pt x="558" y="712"/>
                    <a:pt x="558" y="718"/>
                    <a:pt x="558" y="723"/>
                  </a:cubicBezTo>
                  <a:cubicBezTo>
                    <a:pt x="557" y="727"/>
                    <a:pt x="558" y="732"/>
                    <a:pt x="554" y="737"/>
                  </a:cubicBezTo>
                  <a:cubicBezTo>
                    <a:pt x="550" y="742"/>
                    <a:pt x="547" y="751"/>
                    <a:pt x="551" y="757"/>
                  </a:cubicBezTo>
                  <a:cubicBezTo>
                    <a:pt x="555" y="764"/>
                    <a:pt x="567" y="774"/>
                    <a:pt x="569" y="776"/>
                  </a:cubicBezTo>
                  <a:cubicBezTo>
                    <a:pt x="571" y="778"/>
                    <a:pt x="582" y="776"/>
                    <a:pt x="590" y="777"/>
                  </a:cubicBezTo>
                  <a:cubicBezTo>
                    <a:pt x="598" y="778"/>
                    <a:pt x="606" y="790"/>
                    <a:pt x="608" y="790"/>
                  </a:cubicBezTo>
                  <a:cubicBezTo>
                    <a:pt x="610" y="790"/>
                    <a:pt x="621" y="789"/>
                    <a:pt x="625" y="785"/>
                  </a:cubicBezTo>
                  <a:cubicBezTo>
                    <a:pt x="629" y="781"/>
                    <a:pt x="639" y="779"/>
                    <a:pt x="644" y="777"/>
                  </a:cubicBezTo>
                  <a:cubicBezTo>
                    <a:pt x="648" y="775"/>
                    <a:pt x="648" y="778"/>
                    <a:pt x="648" y="773"/>
                  </a:cubicBezTo>
                  <a:cubicBezTo>
                    <a:pt x="648" y="767"/>
                    <a:pt x="645" y="768"/>
                    <a:pt x="652" y="766"/>
                  </a:cubicBezTo>
                  <a:cubicBezTo>
                    <a:pt x="659" y="764"/>
                    <a:pt x="662" y="766"/>
                    <a:pt x="657" y="771"/>
                  </a:cubicBezTo>
                  <a:cubicBezTo>
                    <a:pt x="652" y="777"/>
                    <a:pt x="648" y="784"/>
                    <a:pt x="653" y="782"/>
                  </a:cubicBezTo>
                  <a:cubicBezTo>
                    <a:pt x="658" y="779"/>
                    <a:pt x="667" y="770"/>
                    <a:pt x="666" y="774"/>
                  </a:cubicBezTo>
                  <a:cubicBezTo>
                    <a:pt x="665" y="779"/>
                    <a:pt x="661" y="784"/>
                    <a:pt x="665" y="786"/>
                  </a:cubicBezTo>
                  <a:cubicBezTo>
                    <a:pt x="668" y="788"/>
                    <a:pt x="669" y="794"/>
                    <a:pt x="671" y="794"/>
                  </a:cubicBezTo>
                  <a:cubicBezTo>
                    <a:pt x="674" y="794"/>
                    <a:pt x="675" y="802"/>
                    <a:pt x="677" y="799"/>
                  </a:cubicBezTo>
                  <a:cubicBezTo>
                    <a:pt x="680" y="795"/>
                    <a:pt x="669" y="792"/>
                    <a:pt x="681" y="788"/>
                  </a:cubicBezTo>
                  <a:cubicBezTo>
                    <a:pt x="694" y="785"/>
                    <a:pt x="699" y="782"/>
                    <a:pt x="706" y="778"/>
                  </a:cubicBezTo>
                  <a:cubicBezTo>
                    <a:pt x="713" y="774"/>
                    <a:pt x="722" y="765"/>
                    <a:pt x="731" y="765"/>
                  </a:cubicBezTo>
                  <a:cubicBezTo>
                    <a:pt x="740" y="765"/>
                    <a:pt x="751" y="765"/>
                    <a:pt x="759" y="762"/>
                  </a:cubicBezTo>
                  <a:cubicBezTo>
                    <a:pt x="768" y="760"/>
                    <a:pt x="767" y="760"/>
                    <a:pt x="775" y="756"/>
                  </a:cubicBezTo>
                  <a:cubicBezTo>
                    <a:pt x="784" y="751"/>
                    <a:pt x="786" y="752"/>
                    <a:pt x="788" y="744"/>
                  </a:cubicBezTo>
                  <a:cubicBezTo>
                    <a:pt x="790" y="736"/>
                    <a:pt x="792" y="735"/>
                    <a:pt x="800" y="725"/>
                  </a:cubicBezTo>
                  <a:cubicBezTo>
                    <a:pt x="808" y="714"/>
                    <a:pt x="807" y="713"/>
                    <a:pt x="815" y="706"/>
                  </a:cubicBezTo>
                  <a:cubicBezTo>
                    <a:pt x="823" y="698"/>
                    <a:pt x="821" y="694"/>
                    <a:pt x="828" y="691"/>
                  </a:cubicBezTo>
                  <a:cubicBezTo>
                    <a:pt x="835" y="687"/>
                    <a:pt x="828" y="692"/>
                    <a:pt x="838" y="681"/>
                  </a:cubicBezTo>
                  <a:cubicBezTo>
                    <a:pt x="848" y="671"/>
                    <a:pt x="843" y="670"/>
                    <a:pt x="852" y="663"/>
                  </a:cubicBezTo>
                  <a:cubicBezTo>
                    <a:pt x="862" y="656"/>
                    <a:pt x="861" y="649"/>
                    <a:pt x="870" y="642"/>
                  </a:cubicBezTo>
                  <a:cubicBezTo>
                    <a:pt x="880" y="635"/>
                    <a:pt x="887" y="626"/>
                    <a:pt x="894" y="623"/>
                  </a:cubicBezTo>
                  <a:cubicBezTo>
                    <a:pt x="901" y="620"/>
                    <a:pt x="902" y="619"/>
                    <a:pt x="909" y="615"/>
                  </a:cubicBezTo>
                  <a:cubicBezTo>
                    <a:pt x="917" y="610"/>
                    <a:pt x="919" y="599"/>
                    <a:pt x="922" y="597"/>
                  </a:cubicBezTo>
                  <a:cubicBezTo>
                    <a:pt x="924" y="595"/>
                    <a:pt x="935" y="581"/>
                    <a:pt x="942" y="573"/>
                  </a:cubicBezTo>
                  <a:cubicBezTo>
                    <a:pt x="948" y="566"/>
                    <a:pt x="950" y="554"/>
                    <a:pt x="953" y="547"/>
                  </a:cubicBezTo>
                  <a:cubicBezTo>
                    <a:pt x="957" y="540"/>
                    <a:pt x="962" y="534"/>
                    <a:pt x="965" y="527"/>
                  </a:cubicBezTo>
                  <a:cubicBezTo>
                    <a:pt x="969" y="521"/>
                    <a:pt x="980" y="509"/>
                    <a:pt x="980" y="503"/>
                  </a:cubicBezTo>
                  <a:cubicBezTo>
                    <a:pt x="980" y="496"/>
                    <a:pt x="984" y="473"/>
                    <a:pt x="982" y="472"/>
                  </a:cubicBezTo>
                  <a:cubicBezTo>
                    <a:pt x="981" y="470"/>
                    <a:pt x="980" y="464"/>
                    <a:pt x="982" y="463"/>
                  </a:cubicBezTo>
                  <a:cubicBezTo>
                    <a:pt x="984" y="461"/>
                    <a:pt x="984" y="457"/>
                    <a:pt x="986" y="450"/>
                  </a:cubicBezTo>
                  <a:cubicBezTo>
                    <a:pt x="987" y="443"/>
                    <a:pt x="984" y="443"/>
                    <a:pt x="987" y="439"/>
                  </a:cubicBezTo>
                  <a:cubicBezTo>
                    <a:pt x="991" y="436"/>
                    <a:pt x="996" y="431"/>
                    <a:pt x="993" y="428"/>
                  </a:cubicBezTo>
                  <a:cubicBezTo>
                    <a:pt x="990" y="425"/>
                    <a:pt x="989" y="425"/>
                    <a:pt x="991" y="419"/>
                  </a:cubicBezTo>
                  <a:cubicBezTo>
                    <a:pt x="993" y="414"/>
                    <a:pt x="996" y="412"/>
                    <a:pt x="991" y="409"/>
                  </a:cubicBezTo>
                  <a:cubicBezTo>
                    <a:pt x="987" y="407"/>
                    <a:pt x="985" y="411"/>
                    <a:pt x="985" y="403"/>
                  </a:cubicBezTo>
                  <a:cubicBezTo>
                    <a:pt x="985" y="396"/>
                    <a:pt x="978" y="392"/>
                    <a:pt x="977" y="386"/>
                  </a:cubicBezTo>
                  <a:cubicBezTo>
                    <a:pt x="975" y="380"/>
                    <a:pt x="979" y="375"/>
                    <a:pt x="972" y="375"/>
                  </a:cubicBezTo>
                  <a:cubicBezTo>
                    <a:pt x="966" y="375"/>
                    <a:pt x="962" y="375"/>
                    <a:pt x="963" y="370"/>
                  </a:cubicBezTo>
                  <a:cubicBezTo>
                    <a:pt x="963" y="365"/>
                    <a:pt x="965" y="358"/>
                    <a:pt x="961" y="360"/>
                  </a:cubicBezTo>
                  <a:cubicBezTo>
                    <a:pt x="957" y="361"/>
                    <a:pt x="954" y="362"/>
                    <a:pt x="955" y="358"/>
                  </a:cubicBezTo>
                  <a:cubicBezTo>
                    <a:pt x="956" y="354"/>
                    <a:pt x="956" y="350"/>
                    <a:pt x="958" y="345"/>
                  </a:cubicBezTo>
                  <a:cubicBezTo>
                    <a:pt x="960" y="341"/>
                    <a:pt x="963" y="330"/>
                    <a:pt x="960" y="329"/>
                  </a:cubicBezTo>
                  <a:cubicBezTo>
                    <a:pt x="956" y="328"/>
                    <a:pt x="954" y="329"/>
                    <a:pt x="953" y="331"/>
                  </a:cubicBezTo>
                  <a:cubicBezTo>
                    <a:pt x="952" y="333"/>
                    <a:pt x="952" y="337"/>
                    <a:pt x="950" y="332"/>
                  </a:cubicBezTo>
                  <a:cubicBezTo>
                    <a:pt x="947" y="327"/>
                    <a:pt x="943" y="319"/>
                    <a:pt x="942" y="324"/>
                  </a:cubicBezTo>
                  <a:cubicBezTo>
                    <a:pt x="941" y="329"/>
                    <a:pt x="944" y="339"/>
                    <a:pt x="938" y="334"/>
                  </a:cubicBezTo>
                  <a:cubicBezTo>
                    <a:pt x="933" y="329"/>
                    <a:pt x="932" y="330"/>
                    <a:pt x="932" y="322"/>
                  </a:cubicBezTo>
                  <a:cubicBezTo>
                    <a:pt x="933" y="315"/>
                    <a:pt x="932" y="310"/>
                    <a:pt x="933" y="309"/>
                  </a:cubicBezTo>
                  <a:cubicBezTo>
                    <a:pt x="935" y="307"/>
                    <a:pt x="938" y="308"/>
                    <a:pt x="935" y="306"/>
                  </a:cubicBezTo>
                  <a:cubicBezTo>
                    <a:pt x="932" y="304"/>
                    <a:pt x="930" y="306"/>
                    <a:pt x="930" y="299"/>
                  </a:cubicBezTo>
                  <a:cubicBezTo>
                    <a:pt x="930" y="291"/>
                    <a:pt x="934" y="291"/>
                    <a:pt x="928" y="288"/>
                  </a:cubicBezTo>
                  <a:cubicBezTo>
                    <a:pt x="922" y="286"/>
                    <a:pt x="919" y="286"/>
                    <a:pt x="920" y="282"/>
                  </a:cubicBezTo>
                  <a:cubicBezTo>
                    <a:pt x="922" y="277"/>
                    <a:pt x="931" y="282"/>
                    <a:pt x="928" y="278"/>
                  </a:cubicBezTo>
                  <a:cubicBezTo>
                    <a:pt x="926" y="274"/>
                    <a:pt x="929" y="274"/>
                    <a:pt x="925" y="270"/>
                  </a:cubicBezTo>
                  <a:cubicBezTo>
                    <a:pt x="920" y="266"/>
                    <a:pt x="921" y="263"/>
                    <a:pt x="918" y="265"/>
                  </a:cubicBezTo>
                  <a:cubicBezTo>
                    <a:pt x="915" y="267"/>
                    <a:pt x="914" y="265"/>
                    <a:pt x="910" y="261"/>
                  </a:cubicBezTo>
                  <a:cubicBezTo>
                    <a:pt x="907" y="257"/>
                    <a:pt x="907" y="259"/>
                    <a:pt x="903" y="256"/>
                  </a:cubicBezTo>
                  <a:cubicBezTo>
                    <a:pt x="898" y="253"/>
                    <a:pt x="899" y="250"/>
                    <a:pt x="898" y="248"/>
                  </a:cubicBezTo>
                  <a:cubicBezTo>
                    <a:pt x="897" y="246"/>
                    <a:pt x="903" y="245"/>
                    <a:pt x="894" y="244"/>
                  </a:cubicBezTo>
                  <a:cubicBezTo>
                    <a:pt x="885" y="244"/>
                    <a:pt x="887" y="245"/>
                    <a:pt x="881" y="240"/>
                  </a:cubicBezTo>
                  <a:cubicBezTo>
                    <a:pt x="875" y="236"/>
                    <a:pt x="872" y="238"/>
                    <a:pt x="874" y="230"/>
                  </a:cubicBezTo>
                  <a:cubicBezTo>
                    <a:pt x="876" y="223"/>
                    <a:pt x="877" y="222"/>
                    <a:pt x="873" y="217"/>
                  </a:cubicBezTo>
                  <a:cubicBezTo>
                    <a:pt x="869" y="211"/>
                    <a:pt x="867" y="215"/>
                    <a:pt x="871" y="208"/>
                  </a:cubicBezTo>
                  <a:cubicBezTo>
                    <a:pt x="875" y="201"/>
                    <a:pt x="875" y="198"/>
                    <a:pt x="875" y="193"/>
                  </a:cubicBezTo>
                  <a:cubicBezTo>
                    <a:pt x="876" y="189"/>
                    <a:pt x="870" y="187"/>
                    <a:pt x="873" y="182"/>
                  </a:cubicBezTo>
                  <a:cubicBezTo>
                    <a:pt x="876" y="178"/>
                    <a:pt x="880" y="176"/>
                    <a:pt x="875" y="175"/>
                  </a:cubicBezTo>
                  <a:cubicBezTo>
                    <a:pt x="870" y="174"/>
                    <a:pt x="868" y="177"/>
                    <a:pt x="867" y="170"/>
                  </a:cubicBezTo>
                  <a:cubicBezTo>
                    <a:pt x="866" y="163"/>
                    <a:pt x="863" y="163"/>
                    <a:pt x="866" y="157"/>
                  </a:cubicBezTo>
                  <a:cubicBezTo>
                    <a:pt x="868" y="151"/>
                    <a:pt x="869" y="155"/>
                    <a:pt x="868" y="147"/>
                  </a:cubicBezTo>
                  <a:cubicBezTo>
                    <a:pt x="866" y="139"/>
                    <a:pt x="862" y="141"/>
                    <a:pt x="866" y="134"/>
                  </a:cubicBezTo>
                  <a:cubicBezTo>
                    <a:pt x="871" y="127"/>
                    <a:pt x="865" y="130"/>
                    <a:pt x="867" y="125"/>
                  </a:cubicBezTo>
                  <a:cubicBezTo>
                    <a:pt x="869" y="120"/>
                    <a:pt x="874" y="123"/>
                    <a:pt x="867" y="118"/>
                  </a:cubicBezTo>
                  <a:cubicBezTo>
                    <a:pt x="861" y="114"/>
                    <a:pt x="862" y="115"/>
                    <a:pt x="859" y="111"/>
                  </a:cubicBezTo>
                  <a:cubicBezTo>
                    <a:pt x="855" y="106"/>
                    <a:pt x="855" y="107"/>
                    <a:pt x="853" y="104"/>
                  </a:cubicBezTo>
                  <a:cubicBezTo>
                    <a:pt x="851" y="100"/>
                    <a:pt x="843" y="102"/>
                    <a:pt x="841" y="105"/>
                  </a:cubicBezTo>
                  <a:cubicBezTo>
                    <a:pt x="839" y="108"/>
                    <a:pt x="836" y="111"/>
                    <a:pt x="833" y="106"/>
                  </a:cubicBezTo>
                  <a:cubicBezTo>
                    <a:pt x="831" y="100"/>
                    <a:pt x="829" y="99"/>
                    <a:pt x="831" y="92"/>
                  </a:cubicBezTo>
                  <a:cubicBezTo>
                    <a:pt x="832" y="85"/>
                    <a:pt x="832" y="81"/>
                    <a:pt x="832" y="73"/>
                  </a:cubicBezTo>
                  <a:cubicBezTo>
                    <a:pt x="832" y="66"/>
                    <a:pt x="828" y="66"/>
                    <a:pt x="829" y="59"/>
                  </a:cubicBezTo>
                  <a:cubicBezTo>
                    <a:pt x="830" y="51"/>
                    <a:pt x="824" y="49"/>
                    <a:pt x="825" y="46"/>
                  </a:cubicBezTo>
                  <a:cubicBezTo>
                    <a:pt x="827" y="43"/>
                    <a:pt x="829" y="40"/>
                    <a:pt x="824" y="37"/>
                  </a:cubicBezTo>
                  <a:cubicBezTo>
                    <a:pt x="820" y="34"/>
                    <a:pt x="820" y="34"/>
                    <a:pt x="821" y="28"/>
                  </a:cubicBezTo>
                  <a:cubicBezTo>
                    <a:pt x="822" y="23"/>
                    <a:pt x="819" y="21"/>
                    <a:pt x="819" y="17"/>
                  </a:cubicBezTo>
                  <a:cubicBezTo>
                    <a:pt x="820" y="12"/>
                    <a:pt x="820" y="17"/>
                    <a:pt x="819" y="10"/>
                  </a:cubicBezTo>
                  <a:cubicBezTo>
                    <a:pt x="818" y="4"/>
                    <a:pt x="815" y="0"/>
                    <a:pt x="813" y="3"/>
                  </a:cubicBezTo>
                  <a:cubicBezTo>
                    <a:pt x="811" y="6"/>
                    <a:pt x="805" y="6"/>
                    <a:pt x="805" y="9"/>
                  </a:cubicBezTo>
                  <a:cubicBezTo>
                    <a:pt x="805" y="13"/>
                    <a:pt x="801" y="15"/>
                    <a:pt x="801" y="19"/>
                  </a:cubicBezTo>
                  <a:cubicBezTo>
                    <a:pt x="801" y="24"/>
                    <a:pt x="797" y="24"/>
                    <a:pt x="797" y="31"/>
                  </a:cubicBezTo>
                  <a:cubicBezTo>
                    <a:pt x="796" y="38"/>
                    <a:pt x="799" y="38"/>
                    <a:pt x="794" y="40"/>
                  </a:cubicBezTo>
                  <a:cubicBezTo>
                    <a:pt x="789" y="42"/>
                    <a:pt x="787" y="49"/>
                    <a:pt x="787" y="51"/>
                  </a:cubicBezTo>
                  <a:cubicBezTo>
                    <a:pt x="788" y="53"/>
                    <a:pt x="794" y="58"/>
                    <a:pt x="794" y="60"/>
                  </a:cubicBezTo>
                  <a:cubicBezTo>
                    <a:pt x="794" y="63"/>
                    <a:pt x="788" y="59"/>
                    <a:pt x="786" y="65"/>
                  </a:cubicBezTo>
                  <a:cubicBezTo>
                    <a:pt x="783" y="71"/>
                    <a:pt x="782" y="78"/>
                    <a:pt x="779" y="86"/>
                  </a:cubicBezTo>
                  <a:cubicBezTo>
                    <a:pt x="776" y="93"/>
                    <a:pt x="776" y="102"/>
                    <a:pt x="776" y="107"/>
                  </a:cubicBezTo>
                  <a:cubicBezTo>
                    <a:pt x="776" y="112"/>
                    <a:pt x="776" y="116"/>
                    <a:pt x="775" y="124"/>
                  </a:cubicBezTo>
                  <a:cubicBezTo>
                    <a:pt x="774" y="132"/>
                    <a:pt x="771" y="135"/>
                    <a:pt x="769" y="140"/>
                  </a:cubicBezTo>
                  <a:cubicBezTo>
                    <a:pt x="768" y="146"/>
                    <a:pt x="767" y="148"/>
                    <a:pt x="765" y="155"/>
                  </a:cubicBezTo>
                  <a:cubicBezTo>
                    <a:pt x="762" y="162"/>
                    <a:pt x="763" y="163"/>
                    <a:pt x="759" y="171"/>
                  </a:cubicBezTo>
                  <a:cubicBezTo>
                    <a:pt x="755" y="179"/>
                    <a:pt x="754" y="183"/>
                    <a:pt x="750" y="186"/>
                  </a:cubicBezTo>
                  <a:cubicBezTo>
                    <a:pt x="746" y="188"/>
                    <a:pt x="743" y="199"/>
                    <a:pt x="734" y="199"/>
                  </a:cubicBezTo>
                  <a:cubicBezTo>
                    <a:pt x="725" y="199"/>
                    <a:pt x="731" y="202"/>
                    <a:pt x="722" y="198"/>
                  </a:cubicBezTo>
                  <a:cubicBezTo>
                    <a:pt x="713" y="193"/>
                    <a:pt x="706" y="192"/>
                    <a:pt x="706" y="185"/>
                  </a:cubicBezTo>
                  <a:cubicBezTo>
                    <a:pt x="706" y="178"/>
                    <a:pt x="703" y="176"/>
                    <a:pt x="698" y="174"/>
                  </a:cubicBezTo>
                  <a:cubicBezTo>
                    <a:pt x="693" y="173"/>
                    <a:pt x="692" y="179"/>
                    <a:pt x="686" y="169"/>
                  </a:cubicBezTo>
                  <a:cubicBezTo>
                    <a:pt x="680" y="160"/>
                    <a:pt x="680" y="160"/>
                    <a:pt x="674" y="157"/>
                  </a:cubicBezTo>
                  <a:cubicBezTo>
                    <a:pt x="668" y="153"/>
                    <a:pt x="666" y="153"/>
                    <a:pt x="660" y="152"/>
                  </a:cubicBezTo>
                  <a:cubicBezTo>
                    <a:pt x="655" y="151"/>
                    <a:pt x="648" y="146"/>
                    <a:pt x="645" y="142"/>
                  </a:cubicBezTo>
                  <a:cubicBezTo>
                    <a:pt x="642" y="138"/>
                    <a:pt x="633" y="128"/>
                    <a:pt x="629" y="125"/>
                  </a:cubicBezTo>
                  <a:cubicBezTo>
                    <a:pt x="625" y="121"/>
                    <a:pt x="623" y="119"/>
                    <a:pt x="628" y="115"/>
                  </a:cubicBezTo>
                  <a:cubicBezTo>
                    <a:pt x="632" y="110"/>
                    <a:pt x="636" y="103"/>
                    <a:pt x="640" y="97"/>
                  </a:cubicBezTo>
                  <a:cubicBezTo>
                    <a:pt x="644" y="91"/>
                    <a:pt x="641" y="91"/>
                    <a:pt x="638" y="86"/>
                  </a:cubicBezTo>
                  <a:cubicBezTo>
                    <a:pt x="636" y="81"/>
                    <a:pt x="645" y="77"/>
                    <a:pt x="646" y="76"/>
                  </a:cubicBezTo>
                  <a:cubicBezTo>
                    <a:pt x="647" y="75"/>
                    <a:pt x="643" y="71"/>
                    <a:pt x="649" y="73"/>
                  </a:cubicBezTo>
                  <a:cubicBezTo>
                    <a:pt x="655" y="76"/>
                    <a:pt x="657" y="74"/>
                    <a:pt x="660" y="71"/>
                  </a:cubicBezTo>
                  <a:cubicBezTo>
                    <a:pt x="664" y="68"/>
                    <a:pt x="653" y="64"/>
                    <a:pt x="659" y="61"/>
                  </a:cubicBezTo>
                  <a:cubicBezTo>
                    <a:pt x="666" y="59"/>
                    <a:pt x="666" y="57"/>
                    <a:pt x="668" y="54"/>
                  </a:cubicBezTo>
                  <a:cubicBezTo>
                    <a:pt x="670" y="50"/>
                    <a:pt x="675" y="47"/>
                    <a:pt x="670" y="44"/>
                  </a:cubicBezTo>
                  <a:cubicBezTo>
                    <a:pt x="666" y="41"/>
                    <a:pt x="661" y="44"/>
                    <a:pt x="661" y="40"/>
                  </a:cubicBezTo>
                  <a:cubicBezTo>
                    <a:pt x="661" y="36"/>
                    <a:pt x="660" y="30"/>
                    <a:pt x="657" y="36"/>
                  </a:cubicBezTo>
                  <a:cubicBezTo>
                    <a:pt x="654" y="41"/>
                    <a:pt x="658" y="55"/>
                    <a:pt x="652" y="50"/>
                  </a:cubicBezTo>
                  <a:cubicBezTo>
                    <a:pt x="646" y="45"/>
                    <a:pt x="645" y="47"/>
                    <a:pt x="645" y="42"/>
                  </a:cubicBezTo>
                  <a:cubicBezTo>
                    <a:pt x="645" y="37"/>
                    <a:pt x="649" y="34"/>
                    <a:pt x="645" y="35"/>
                  </a:cubicBezTo>
                  <a:cubicBezTo>
                    <a:pt x="641" y="36"/>
                    <a:pt x="637" y="39"/>
                    <a:pt x="634" y="41"/>
                  </a:cubicBezTo>
                  <a:cubicBezTo>
                    <a:pt x="631" y="44"/>
                    <a:pt x="631" y="46"/>
                    <a:pt x="625" y="44"/>
                  </a:cubicBezTo>
                  <a:cubicBezTo>
                    <a:pt x="619" y="42"/>
                    <a:pt x="620" y="41"/>
                    <a:pt x="619" y="39"/>
                  </a:cubicBezTo>
                  <a:cubicBezTo>
                    <a:pt x="618" y="37"/>
                    <a:pt x="618" y="37"/>
                    <a:pt x="614" y="39"/>
                  </a:cubicBezTo>
                  <a:cubicBezTo>
                    <a:pt x="610" y="40"/>
                    <a:pt x="613" y="42"/>
                    <a:pt x="607" y="40"/>
                  </a:cubicBezTo>
                  <a:cubicBezTo>
                    <a:pt x="601" y="37"/>
                    <a:pt x="600" y="40"/>
                    <a:pt x="599" y="36"/>
                  </a:cubicBezTo>
                  <a:cubicBezTo>
                    <a:pt x="597" y="31"/>
                    <a:pt x="598" y="26"/>
                    <a:pt x="594" y="29"/>
                  </a:cubicBezTo>
                  <a:cubicBezTo>
                    <a:pt x="589" y="32"/>
                    <a:pt x="590" y="34"/>
                    <a:pt x="586" y="31"/>
                  </a:cubicBezTo>
                  <a:cubicBezTo>
                    <a:pt x="582" y="28"/>
                    <a:pt x="578" y="29"/>
                    <a:pt x="577" y="25"/>
                  </a:cubicBezTo>
                  <a:cubicBezTo>
                    <a:pt x="575" y="21"/>
                    <a:pt x="571" y="19"/>
                    <a:pt x="570" y="21"/>
                  </a:cubicBezTo>
                  <a:cubicBezTo>
                    <a:pt x="568" y="23"/>
                    <a:pt x="565" y="22"/>
                    <a:pt x="565" y="19"/>
                  </a:cubicBezTo>
                  <a:cubicBezTo>
                    <a:pt x="565" y="17"/>
                    <a:pt x="566" y="14"/>
                    <a:pt x="562" y="16"/>
                  </a:cubicBezTo>
                  <a:cubicBezTo>
                    <a:pt x="558" y="17"/>
                    <a:pt x="551" y="12"/>
                    <a:pt x="550" y="16"/>
                  </a:cubicBezTo>
                  <a:cubicBezTo>
                    <a:pt x="548" y="20"/>
                    <a:pt x="542" y="23"/>
                    <a:pt x="550" y="25"/>
                  </a:cubicBezTo>
                  <a:cubicBezTo>
                    <a:pt x="558" y="27"/>
                    <a:pt x="564" y="30"/>
                    <a:pt x="564" y="33"/>
                  </a:cubicBezTo>
                  <a:cubicBezTo>
                    <a:pt x="564" y="36"/>
                    <a:pt x="564" y="44"/>
                    <a:pt x="557" y="44"/>
                  </a:cubicBezTo>
                  <a:cubicBezTo>
                    <a:pt x="551" y="45"/>
                    <a:pt x="544" y="47"/>
                    <a:pt x="539" y="47"/>
                  </a:cubicBezTo>
                  <a:cubicBezTo>
                    <a:pt x="535" y="47"/>
                    <a:pt x="532" y="41"/>
                    <a:pt x="524" y="44"/>
                  </a:cubicBezTo>
                  <a:cubicBezTo>
                    <a:pt x="517" y="47"/>
                    <a:pt x="522" y="53"/>
                    <a:pt x="521" y="53"/>
                  </a:cubicBezTo>
                  <a:cubicBezTo>
                    <a:pt x="519" y="54"/>
                    <a:pt x="510" y="51"/>
                    <a:pt x="507" y="55"/>
                  </a:cubicBezTo>
                  <a:cubicBezTo>
                    <a:pt x="505" y="60"/>
                    <a:pt x="500" y="63"/>
                    <a:pt x="500" y="66"/>
                  </a:cubicBezTo>
                  <a:cubicBezTo>
                    <a:pt x="500" y="70"/>
                    <a:pt x="499" y="70"/>
                    <a:pt x="500" y="72"/>
                  </a:cubicBezTo>
                  <a:cubicBezTo>
                    <a:pt x="501" y="74"/>
                    <a:pt x="503" y="78"/>
                    <a:pt x="497" y="79"/>
                  </a:cubicBezTo>
                  <a:cubicBezTo>
                    <a:pt x="491" y="79"/>
                    <a:pt x="489" y="81"/>
                    <a:pt x="489" y="85"/>
                  </a:cubicBezTo>
                  <a:cubicBezTo>
                    <a:pt x="488" y="88"/>
                    <a:pt x="488" y="91"/>
                    <a:pt x="483" y="95"/>
                  </a:cubicBezTo>
                  <a:cubicBezTo>
                    <a:pt x="478" y="99"/>
                    <a:pt x="470" y="103"/>
                    <a:pt x="476" y="108"/>
                  </a:cubicBezTo>
                  <a:cubicBezTo>
                    <a:pt x="482" y="113"/>
                    <a:pt x="479" y="115"/>
                    <a:pt x="479" y="120"/>
                  </a:cubicBezTo>
                  <a:cubicBezTo>
                    <a:pt x="479" y="125"/>
                    <a:pt x="476" y="130"/>
                    <a:pt x="475" y="124"/>
                  </a:cubicBezTo>
                  <a:cubicBezTo>
                    <a:pt x="474" y="119"/>
                    <a:pt x="470" y="118"/>
                    <a:pt x="470" y="121"/>
                  </a:cubicBezTo>
                  <a:cubicBezTo>
                    <a:pt x="470" y="125"/>
                    <a:pt x="466" y="132"/>
                    <a:pt x="466" y="125"/>
                  </a:cubicBezTo>
                  <a:cubicBezTo>
                    <a:pt x="466" y="118"/>
                    <a:pt x="464" y="117"/>
                    <a:pt x="458" y="117"/>
                  </a:cubicBezTo>
                  <a:cubicBezTo>
                    <a:pt x="451" y="117"/>
                    <a:pt x="453" y="121"/>
                    <a:pt x="448" y="122"/>
                  </a:cubicBezTo>
                  <a:cubicBezTo>
                    <a:pt x="444" y="124"/>
                    <a:pt x="442" y="132"/>
                    <a:pt x="442" y="122"/>
                  </a:cubicBezTo>
                  <a:cubicBezTo>
                    <a:pt x="442" y="111"/>
                    <a:pt x="442" y="111"/>
                    <a:pt x="437" y="107"/>
                  </a:cubicBezTo>
                  <a:cubicBezTo>
                    <a:pt x="433" y="102"/>
                    <a:pt x="431" y="94"/>
                    <a:pt x="426" y="92"/>
                  </a:cubicBezTo>
                  <a:cubicBezTo>
                    <a:pt x="422" y="90"/>
                    <a:pt x="415" y="83"/>
                    <a:pt x="414" y="89"/>
                  </a:cubicBezTo>
                  <a:cubicBezTo>
                    <a:pt x="413" y="95"/>
                    <a:pt x="415" y="100"/>
                    <a:pt x="409" y="99"/>
                  </a:cubicBezTo>
                  <a:cubicBezTo>
                    <a:pt x="403" y="98"/>
                    <a:pt x="402" y="93"/>
                    <a:pt x="401" y="96"/>
                  </a:cubicBezTo>
                  <a:cubicBezTo>
                    <a:pt x="400" y="99"/>
                    <a:pt x="390" y="93"/>
                    <a:pt x="392" y="97"/>
                  </a:cubicBezTo>
                  <a:cubicBezTo>
                    <a:pt x="394" y="101"/>
                    <a:pt x="390" y="105"/>
                    <a:pt x="389" y="108"/>
                  </a:cubicBezTo>
                  <a:cubicBezTo>
                    <a:pt x="388" y="111"/>
                    <a:pt x="385" y="113"/>
                    <a:pt x="383" y="110"/>
                  </a:cubicBezTo>
                  <a:cubicBezTo>
                    <a:pt x="381" y="106"/>
                    <a:pt x="376" y="108"/>
                    <a:pt x="374" y="111"/>
                  </a:cubicBezTo>
                  <a:cubicBezTo>
                    <a:pt x="371" y="113"/>
                    <a:pt x="369" y="111"/>
                    <a:pt x="370" y="116"/>
                  </a:cubicBezTo>
                  <a:cubicBezTo>
                    <a:pt x="371" y="121"/>
                    <a:pt x="376" y="127"/>
                    <a:pt x="372" y="126"/>
                  </a:cubicBezTo>
                  <a:cubicBezTo>
                    <a:pt x="369" y="125"/>
                    <a:pt x="366" y="123"/>
                    <a:pt x="362" y="127"/>
                  </a:cubicBezTo>
                  <a:cubicBezTo>
                    <a:pt x="358" y="131"/>
                    <a:pt x="357" y="132"/>
                    <a:pt x="353" y="134"/>
                  </a:cubicBezTo>
                  <a:cubicBezTo>
                    <a:pt x="348" y="136"/>
                    <a:pt x="343" y="133"/>
                    <a:pt x="345" y="139"/>
                  </a:cubicBezTo>
                  <a:cubicBezTo>
                    <a:pt x="346" y="145"/>
                    <a:pt x="351" y="147"/>
                    <a:pt x="350" y="150"/>
                  </a:cubicBezTo>
                  <a:cubicBezTo>
                    <a:pt x="348" y="153"/>
                    <a:pt x="348" y="164"/>
                    <a:pt x="344" y="162"/>
                  </a:cubicBezTo>
                  <a:cubicBezTo>
                    <a:pt x="339" y="159"/>
                    <a:pt x="340" y="163"/>
                    <a:pt x="334" y="160"/>
                  </a:cubicBezTo>
                  <a:cubicBezTo>
                    <a:pt x="329" y="157"/>
                    <a:pt x="321" y="153"/>
                    <a:pt x="322" y="157"/>
                  </a:cubicBezTo>
                  <a:cubicBezTo>
                    <a:pt x="323" y="161"/>
                    <a:pt x="318" y="166"/>
                    <a:pt x="319" y="168"/>
                  </a:cubicBezTo>
                  <a:cubicBezTo>
                    <a:pt x="321" y="170"/>
                    <a:pt x="333" y="180"/>
                    <a:pt x="328" y="180"/>
                  </a:cubicBezTo>
                  <a:cubicBezTo>
                    <a:pt x="324" y="179"/>
                    <a:pt x="321" y="175"/>
                    <a:pt x="321" y="180"/>
                  </a:cubicBezTo>
                  <a:cubicBezTo>
                    <a:pt x="321" y="185"/>
                    <a:pt x="315" y="196"/>
                    <a:pt x="315" y="189"/>
                  </a:cubicBezTo>
                  <a:cubicBezTo>
                    <a:pt x="314" y="183"/>
                    <a:pt x="309" y="178"/>
                    <a:pt x="310" y="173"/>
                  </a:cubicBezTo>
                  <a:cubicBezTo>
                    <a:pt x="311" y="167"/>
                    <a:pt x="314" y="158"/>
                    <a:pt x="309" y="161"/>
                  </a:cubicBezTo>
                  <a:cubicBezTo>
                    <a:pt x="304" y="163"/>
                    <a:pt x="308" y="162"/>
                    <a:pt x="301" y="168"/>
                  </a:cubicBezTo>
                  <a:cubicBezTo>
                    <a:pt x="295" y="175"/>
                    <a:pt x="289" y="175"/>
                    <a:pt x="284" y="180"/>
                  </a:cubicBezTo>
                  <a:cubicBezTo>
                    <a:pt x="280" y="185"/>
                    <a:pt x="281" y="198"/>
                    <a:pt x="282" y="202"/>
                  </a:cubicBezTo>
                  <a:cubicBezTo>
                    <a:pt x="283" y="206"/>
                    <a:pt x="290" y="209"/>
                    <a:pt x="286" y="211"/>
                  </a:cubicBezTo>
                  <a:cubicBezTo>
                    <a:pt x="283" y="214"/>
                    <a:pt x="276" y="218"/>
                    <a:pt x="273" y="221"/>
                  </a:cubicBezTo>
                  <a:cubicBezTo>
                    <a:pt x="269" y="223"/>
                    <a:pt x="264" y="231"/>
                    <a:pt x="264" y="233"/>
                  </a:cubicBezTo>
                  <a:cubicBezTo>
                    <a:pt x="264" y="234"/>
                    <a:pt x="261" y="245"/>
                    <a:pt x="251" y="249"/>
                  </a:cubicBezTo>
                  <a:cubicBezTo>
                    <a:pt x="241" y="252"/>
                    <a:pt x="247" y="254"/>
                    <a:pt x="232" y="258"/>
                  </a:cubicBezTo>
                  <a:cubicBezTo>
                    <a:pt x="218" y="261"/>
                    <a:pt x="222" y="261"/>
                    <a:pt x="211" y="262"/>
                  </a:cubicBezTo>
                  <a:cubicBezTo>
                    <a:pt x="199" y="264"/>
                    <a:pt x="196" y="265"/>
                    <a:pt x="191" y="269"/>
                  </a:cubicBezTo>
                  <a:cubicBezTo>
                    <a:pt x="186" y="273"/>
                    <a:pt x="181" y="271"/>
                    <a:pt x="177" y="272"/>
                  </a:cubicBezTo>
                  <a:cubicBezTo>
                    <a:pt x="173" y="273"/>
                    <a:pt x="174" y="273"/>
                    <a:pt x="165" y="277"/>
                  </a:cubicBezTo>
                  <a:cubicBezTo>
                    <a:pt x="155" y="281"/>
                    <a:pt x="161" y="282"/>
                    <a:pt x="151" y="281"/>
                  </a:cubicBezTo>
                  <a:cubicBezTo>
                    <a:pt x="141" y="280"/>
                    <a:pt x="137" y="279"/>
                    <a:pt x="132" y="282"/>
                  </a:cubicBezTo>
                  <a:cubicBezTo>
                    <a:pt x="127" y="284"/>
                    <a:pt x="122" y="283"/>
                    <a:pt x="120" y="287"/>
                  </a:cubicBezTo>
                  <a:cubicBezTo>
                    <a:pt x="117" y="292"/>
                    <a:pt x="114" y="290"/>
                    <a:pt x="108" y="297"/>
                  </a:cubicBezTo>
                  <a:cubicBezTo>
                    <a:pt x="102" y="303"/>
                    <a:pt x="95" y="306"/>
                    <a:pt x="89" y="309"/>
                  </a:cubicBezTo>
                  <a:cubicBezTo>
                    <a:pt x="83" y="313"/>
                    <a:pt x="78" y="310"/>
                    <a:pt x="74" y="319"/>
                  </a:cubicBezTo>
                  <a:cubicBezTo>
                    <a:pt x="70" y="327"/>
                    <a:pt x="67" y="338"/>
                    <a:pt x="66" y="330"/>
                  </a:cubicBezTo>
                  <a:cubicBezTo>
                    <a:pt x="64" y="322"/>
                    <a:pt x="70" y="312"/>
                    <a:pt x="65" y="315"/>
                  </a:cubicBezTo>
                  <a:cubicBezTo>
                    <a:pt x="60" y="317"/>
                    <a:pt x="60" y="321"/>
                    <a:pt x="56" y="327"/>
                  </a:cubicBezTo>
                  <a:cubicBezTo>
                    <a:pt x="53" y="333"/>
                    <a:pt x="47" y="337"/>
                    <a:pt x="49" y="341"/>
                  </a:cubicBezTo>
                  <a:cubicBezTo>
                    <a:pt x="51" y="346"/>
                    <a:pt x="55" y="350"/>
                    <a:pt x="51" y="355"/>
                  </a:cubicBezTo>
                  <a:cubicBezTo>
                    <a:pt x="48" y="360"/>
                    <a:pt x="42" y="363"/>
                    <a:pt x="41" y="369"/>
                  </a:cubicBezTo>
                  <a:cubicBezTo>
                    <a:pt x="39" y="375"/>
                    <a:pt x="33" y="379"/>
                    <a:pt x="35" y="388"/>
                  </a:cubicBezTo>
                  <a:cubicBezTo>
                    <a:pt x="37" y="396"/>
                    <a:pt x="37" y="402"/>
                    <a:pt x="40" y="410"/>
                  </a:cubicBezTo>
                  <a:cubicBezTo>
                    <a:pt x="44" y="418"/>
                    <a:pt x="48" y="425"/>
                    <a:pt x="47" y="432"/>
                  </a:cubicBezTo>
                  <a:cubicBezTo>
                    <a:pt x="45" y="439"/>
                    <a:pt x="43" y="442"/>
                    <a:pt x="41" y="440"/>
                  </a:cubicBezTo>
                  <a:cubicBezTo>
                    <a:pt x="38" y="437"/>
                    <a:pt x="40" y="443"/>
                    <a:pt x="37" y="433"/>
                  </a:cubicBezTo>
                  <a:cubicBezTo>
                    <a:pt x="35" y="423"/>
                    <a:pt x="29" y="413"/>
                    <a:pt x="28" y="420"/>
                  </a:cubicBezTo>
                  <a:cubicBezTo>
                    <a:pt x="28" y="427"/>
                    <a:pt x="29" y="431"/>
                    <a:pt x="31" y="434"/>
                  </a:cubicBezTo>
                  <a:cubicBezTo>
                    <a:pt x="33" y="438"/>
                    <a:pt x="38" y="451"/>
                    <a:pt x="34" y="448"/>
                  </a:cubicBezTo>
                  <a:cubicBezTo>
                    <a:pt x="29" y="444"/>
                    <a:pt x="28" y="440"/>
                    <a:pt x="28" y="437"/>
                  </a:cubicBezTo>
                  <a:cubicBezTo>
                    <a:pt x="27" y="435"/>
                    <a:pt x="21" y="434"/>
                    <a:pt x="21" y="440"/>
                  </a:cubicBezTo>
                  <a:cubicBezTo>
                    <a:pt x="22" y="447"/>
                    <a:pt x="33" y="458"/>
                    <a:pt x="33" y="466"/>
                  </a:cubicBezTo>
                  <a:cubicBezTo>
                    <a:pt x="33" y="474"/>
                    <a:pt x="32" y="477"/>
                    <a:pt x="33" y="485"/>
                  </a:cubicBezTo>
                  <a:cubicBezTo>
                    <a:pt x="33" y="494"/>
                    <a:pt x="38" y="498"/>
                    <a:pt x="39" y="508"/>
                  </a:cubicBezTo>
                  <a:cubicBezTo>
                    <a:pt x="40" y="517"/>
                    <a:pt x="39" y="526"/>
                    <a:pt x="39" y="530"/>
                  </a:cubicBezTo>
                  <a:cubicBezTo>
                    <a:pt x="38" y="533"/>
                    <a:pt x="38" y="540"/>
                    <a:pt x="37" y="548"/>
                  </a:cubicBezTo>
                  <a:cubicBezTo>
                    <a:pt x="36" y="557"/>
                    <a:pt x="32" y="557"/>
                    <a:pt x="36" y="570"/>
                  </a:cubicBezTo>
                  <a:cubicBezTo>
                    <a:pt x="39" y="584"/>
                    <a:pt x="43" y="590"/>
                    <a:pt x="40" y="596"/>
                  </a:cubicBezTo>
                  <a:cubicBezTo>
                    <a:pt x="37" y="602"/>
                    <a:pt x="33" y="609"/>
                    <a:pt x="33" y="613"/>
                  </a:cubicBezTo>
                  <a:cubicBezTo>
                    <a:pt x="33" y="618"/>
                    <a:pt x="28" y="620"/>
                    <a:pt x="28" y="627"/>
                  </a:cubicBezTo>
                  <a:cubicBezTo>
                    <a:pt x="27" y="634"/>
                    <a:pt x="30" y="635"/>
                    <a:pt x="24" y="639"/>
                  </a:cubicBezTo>
                  <a:cubicBezTo>
                    <a:pt x="18" y="643"/>
                    <a:pt x="16" y="645"/>
                    <a:pt x="12" y="645"/>
                  </a:cubicBezTo>
                  <a:cubicBezTo>
                    <a:pt x="8" y="646"/>
                    <a:pt x="3" y="646"/>
                    <a:pt x="3" y="648"/>
                  </a:cubicBezTo>
                  <a:cubicBezTo>
                    <a:pt x="3" y="650"/>
                    <a:pt x="1" y="652"/>
                    <a:pt x="1" y="653"/>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195" name="Freeform 681">
              <a:extLst>
                <a:ext uri="{FF2B5EF4-FFF2-40B4-BE49-F238E27FC236}">
                  <a16:creationId xmlns:a16="http://schemas.microsoft.com/office/drawing/2014/main" id="{13644511-5BF3-C244-9EE3-5E95337F6079}"/>
                </a:ext>
              </a:extLst>
            </p:cNvPr>
            <p:cNvSpPr>
              <a:spLocks/>
            </p:cNvSpPr>
            <p:nvPr/>
          </p:nvSpPr>
          <p:spPr bwMode="auto">
            <a:xfrm>
              <a:off x="7202510" y="3721559"/>
              <a:ext cx="12700" cy="17463"/>
            </a:xfrm>
            <a:custGeom>
              <a:avLst/>
              <a:gdLst>
                <a:gd name="T0" fmla="*/ 7 w 13"/>
                <a:gd name="T1" fmla="*/ 3 h 19"/>
                <a:gd name="T2" fmla="*/ 2 w 13"/>
                <a:gd name="T3" fmla="*/ 8 h 19"/>
                <a:gd name="T4" fmla="*/ 1 w 13"/>
                <a:gd name="T5" fmla="*/ 15 h 19"/>
                <a:gd name="T6" fmla="*/ 5 w 13"/>
                <a:gd name="T7" fmla="*/ 16 h 19"/>
                <a:gd name="T8" fmla="*/ 11 w 13"/>
                <a:gd name="T9" fmla="*/ 10 h 19"/>
                <a:gd name="T10" fmla="*/ 11 w 13"/>
                <a:gd name="T11" fmla="*/ 3 h 19"/>
                <a:gd name="T12" fmla="*/ 7 w 13"/>
                <a:gd name="T13" fmla="*/ 3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7" y="3"/>
                  </a:moveTo>
                  <a:cubicBezTo>
                    <a:pt x="6" y="4"/>
                    <a:pt x="2" y="5"/>
                    <a:pt x="2" y="8"/>
                  </a:cubicBezTo>
                  <a:cubicBezTo>
                    <a:pt x="2" y="11"/>
                    <a:pt x="0" y="13"/>
                    <a:pt x="1" y="15"/>
                  </a:cubicBezTo>
                  <a:cubicBezTo>
                    <a:pt x="2" y="17"/>
                    <a:pt x="1" y="19"/>
                    <a:pt x="5" y="16"/>
                  </a:cubicBezTo>
                  <a:cubicBezTo>
                    <a:pt x="8" y="14"/>
                    <a:pt x="9" y="13"/>
                    <a:pt x="11" y="10"/>
                  </a:cubicBezTo>
                  <a:cubicBezTo>
                    <a:pt x="13" y="8"/>
                    <a:pt x="11" y="6"/>
                    <a:pt x="11" y="3"/>
                  </a:cubicBezTo>
                  <a:cubicBezTo>
                    <a:pt x="11" y="0"/>
                    <a:pt x="7" y="1"/>
                    <a:pt x="7" y="3"/>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196" name="Freeform 682">
              <a:extLst>
                <a:ext uri="{FF2B5EF4-FFF2-40B4-BE49-F238E27FC236}">
                  <a16:creationId xmlns:a16="http://schemas.microsoft.com/office/drawing/2014/main" id="{4372234B-467A-F64F-BB2F-CC65BAD6B8AD}"/>
                </a:ext>
              </a:extLst>
            </p:cNvPr>
            <p:cNvSpPr>
              <a:spLocks/>
            </p:cNvSpPr>
            <p:nvPr/>
          </p:nvSpPr>
          <p:spPr bwMode="auto">
            <a:xfrm>
              <a:off x="7289823" y="3723147"/>
              <a:ext cx="14288" cy="26988"/>
            </a:xfrm>
            <a:custGeom>
              <a:avLst/>
              <a:gdLst>
                <a:gd name="T0" fmla="*/ 5 w 15"/>
                <a:gd name="T1" fmla="*/ 9 h 28"/>
                <a:gd name="T2" fmla="*/ 5 w 15"/>
                <a:gd name="T3" fmla="*/ 18 h 28"/>
                <a:gd name="T4" fmla="*/ 1 w 15"/>
                <a:gd name="T5" fmla="*/ 23 h 28"/>
                <a:gd name="T6" fmla="*/ 4 w 15"/>
                <a:gd name="T7" fmla="*/ 27 h 28"/>
                <a:gd name="T8" fmla="*/ 10 w 15"/>
                <a:gd name="T9" fmla="*/ 22 h 28"/>
                <a:gd name="T10" fmla="*/ 13 w 15"/>
                <a:gd name="T11" fmla="*/ 14 h 28"/>
                <a:gd name="T12" fmla="*/ 12 w 15"/>
                <a:gd name="T13" fmla="*/ 5 h 28"/>
                <a:gd name="T14" fmla="*/ 4 w 15"/>
                <a:gd name="T15" fmla="*/ 3 h 28"/>
                <a:gd name="T16" fmla="*/ 5 w 15"/>
                <a:gd name="T17"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28">
                  <a:moveTo>
                    <a:pt x="5" y="9"/>
                  </a:moveTo>
                  <a:cubicBezTo>
                    <a:pt x="5" y="13"/>
                    <a:pt x="6" y="15"/>
                    <a:pt x="5" y="18"/>
                  </a:cubicBezTo>
                  <a:cubicBezTo>
                    <a:pt x="3" y="20"/>
                    <a:pt x="0" y="19"/>
                    <a:pt x="1" y="23"/>
                  </a:cubicBezTo>
                  <a:cubicBezTo>
                    <a:pt x="2" y="26"/>
                    <a:pt x="0" y="28"/>
                    <a:pt x="4" y="27"/>
                  </a:cubicBezTo>
                  <a:cubicBezTo>
                    <a:pt x="8" y="26"/>
                    <a:pt x="10" y="26"/>
                    <a:pt x="10" y="22"/>
                  </a:cubicBezTo>
                  <a:cubicBezTo>
                    <a:pt x="10" y="18"/>
                    <a:pt x="11" y="17"/>
                    <a:pt x="13" y="14"/>
                  </a:cubicBezTo>
                  <a:cubicBezTo>
                    <a:pt x="15" y="10"/>
                    <a:pt x="13" y="7"/>
                    <a:pt x="12" y="5"/>
                  </a:cubicBezTo>
                  <a:cubicBezTo>
                    <a:pt x="10" y="4"/>
                    <a:pt x="4" y="0"/>
                    <a:pt x="4" y="3"/>
                  </a:cubicBezTo>
                  <a:cubicBezTo>
                    <a:pt x="4" y="6"/>
                    <a:pt x="2" y="8"/>
                    <a:pt x="5" y="9"/>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197" name="Freeform 683">
              <a:extLst>
                <a:ext uri="{FF2B5EF4-FFF2-40B4-BE49-F238E27FC236}">
                  <a16:creationId xmlns:a16="http://schemas.microsoft.com/office/drawing/2014/main" id="{4655C648-1D23-8E40-9B80-2B4B9B3D9C23}"/>
                </a:ext>
              </a:extLst>
            </p:cNvPr>
            <p:cNvSpPr>
              <a:spLocks/>
            </p:cNvSpPr>
            <p:nvPr/>
          </p:nvSpPr>
          <p:spPr bwMode="auto">
            <a:xfrm>
              <a:off x="7096147" y="3618371"/>
              <a:ext cx="36513" cy="12700"/>
            </a:xfrm>
            <a:custGeom>
              <a:avLst/>
              <a:gdLst>
                <a:gd name="T0" fmla="*/ 11 w 39"/>
                <a:gd name="T1" fmla="*/ 2 h 13"/>
                <a:gd name="T2" fmla="*/ 2 w 39"/>
                <a:gd name="T3" fmla="*/ 6 h 13"/>
                <a:gd name="T4" fmla="*/ 5 w 39"/>
                <a:gd name="T5" fmla="*/ 13 h 13"/>
                <a:gd name="T6" fmla="*/ 15 w 39"/>
                <a:gd name="T7" fmla="*/ 11 h 13"/>
                <a:gd name="T8" fmla="*/ 18 w 39"/>
                <a:gd name="T9" fmla="*/ 9 h 13"/>
                <a:gd name="T10" fmla="*/ 25 w 39"/>
                <a:gd name="T11" fmla="*/ 12 h 13"/>
                <a:gd name="T12" fmla="*/ 29 w 39"/>
                <a:gd name="T13" fmla="*/ 7 h 13"/>
                <a:gd name="T14" fmla="*/ 37 w 39"/>
                <a:gd name="T15" fmla="*/ 7 h 13"/>
                <a:gd name="T16" fmla="*/ 35 w 39"/>
                <a:gd name="T17" fmla="*/ 3 h 13"/>
                <a:gd name="T18" fmla="*/ 29 w 39"/>
                <a:gd name="T19" fmla="*/ 2 h 13"/>
                <a:gd name="T20" fmla="*/ 21 w 39"/>
                <a:gd name="T21" fmla="*/ 0 h 13"/>
                <a:gd name="T22" fmla="*/ 11 w 39"/>
                <a:gd name="T23"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3">
                  <a:moveTo>
                    <a:pt x="11" y="2"/>
                  </a:moveTo>
                  <a:cubicBezTo>
                    <a:pt x="5" y="4"/>
                    <a:pt x="2" y="3"/>
                    <a:pt x="2" y="6"/>
                  </a:cubicBezTo>
                  <a:cubicBezTo>
                    <a:pt x="2" y="8"/>
                    <a:pt x="0" y="13"/>
                    <a:pt x="5" y="13"/>
                  </a:cubicBezTo>
                  <a:cubicBezTo>
                    <a:pt x="10" y="13"/>
                    <a:pt x="12" y="13"/>
                    <a:pt x="15" y="11"/>
                  </a:cubicBezTo>
                  <a:cubicBezTo>
                    <a:pt x="17" y="8"/>
                    <a:pt x="17" y="7"/>
                    <a:pt x="18" y="9"/>
                  </a:cubicBezTo>
                  <a:cubicBezTo>
                    <a:pt x="20" y="12"/>
                    <a:pt x="24" y="13"/>
                    <a:pt x="25" y="12"/>
                  </a:cubicBezTo>
                  <a:cubicBezTo>
                    <a:pt x="27" y="10"/>
                    <a:pt x="23" y="7"/>
                    <a:pt x="29" y="7"/>
                  </a:cubicBezTo>
                  <a:cubicBezTo>
                    <a:pt x="34" y="8"/>
                    <a:pt x="37" y="9"/>
                    <a:pt x="37" y="7"/>
                  </a:cubicBezTo>
                  <a:cubicBezTo>
                    <a:pt x="38" y="5"/>
                    <a:pt x="39" y="3"/>
                    <a:pt x="35" y="3"/>
                  </a:cubicBezTo>
                  <a:cubicBezTo>
                    <a:pt x="32" y="3"/>
                    <a:pt x="30" y="4"/>
                    <a:pt x="29" y="2"/>
                  </a:cubicBezTo>
                  <a:cubicBezTo>
                    <a:pt x="29" y="1"/>
                    <a:pt x="26" y="0"/>
                    <a:pt x="21" y="0"/>
                  </a:cubicBezTo>
                  <a:cubicBezTo>
                    <a:pt x="17" y="0"/>
                    <a:pt x="11" y="0"/>
                    <a:pt x="11" y="2"/>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198" name="Freeform 684">
              <a:extLst>
                <a:ext uri="{FF2B5EF4-FFF2-40B4-BE49-F238E27FC236}">
                  <a16:creationId xmlns:a16="http://schemas.microsoft.com/office/drawing/2014/main" id="{D7AEC2E6-3291-FF46-8C59-6609C7BCE90E}"/>
                </a:ext>
              </a:extLst>
            </p:cNvPr>
            <p:cNvSpPr>
              <a:spLocks/>
            </p:cNvSpPr>
            <p:nvPr/>
          </p:nvSpPr>
          <p:spPr bwMode="auto">
            <a:xfrm>
              <a:off x="7105672" y="2964320"/>
              <a:ext cx="38100" cy="23813"/>
            </a:xfrm>
            <a:custGeom>
              <a:avLst/>
              <a:gdLst>
                <a:gd name="T0" fmla="*/ 12 w 40"/>
                <a:gd name="T1" fmla="*/ 3 h 24"/>
                <a:gd name="T2" fmla="*/ 4 w 40"/>
                <a:gd name="T3" fmla="*/ 10 h 24"/>
                <a:gd name="T4" fmla="*/ 2 w 40"/>
                <a:gd name="T5" fmla="*/ 18 h 24"/>
                <a:gd name="T6" fmla="*/ 11 w 40"/>
                <a:gd name="T7" fmla="*/ 21 h 24"/>
                <a:gd name="T8" fmla="*/ 20 w 40"/>
                <a:gd name="T9" fmla="*/ 20 h 24"/>
                <a:gd name="T10" fmla="*/ 29 w 40"/>
                <a:gd name="T11" fmla="*/ 21 h 24"/>
                <a:gd name="T12" fmla="*/ 35 w 40"/>
                <a:gd name="T13" fmla="*/ 14 h 24"/>
                <a:gd name="T14" fmla="*/ 39 w 40"/>
                <a:gd name="T15" fmla="*/ 8 h 24"/>
                <a:gd name="T16" fmla="*/ 35 w 40"/>
                <a:gd name="T17" fmla="*/ 2 h 24"/>
                <a:gd name="T18" fmla="*/ 29 w 40"/>
                <a:gd name="T19" fmla="*/ 4 h 24"/>
                <a:gd name="T20" fmla="*/ 21 w 40"/>
                <a:gd name="T21" fmla="*/ 6 h 24"/>
                <a:gd name="T22" fmla="*/ 16 w 40"/>
                <a:gd name="T23" fmla="*/ 4 h 24"/>
                <a:gd name="T24" fmla="*/ 12 w 40"/>
                <a:gd name="T25"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24">
                  <a:moveTo>
                    <a:pt x="12" y="3"/>
                  </a:moveTo>
                  <a:cubicBezTo>
                    <a:pt x="8" y="7"/>
                    <a:pt x="4" y="7"/>
                    <a:pt x="4" y="10"/>
                  </a:cubicBezTo>
                  <a:cubicBezTo>
                    <a:pt x="3" y="13"/>
                    <a:pt x="0" y="15"/>
                    <a:pt x="2" y="18"/>
                  </a:cubicBezTo>
                  <a:cubicBezTo>
                    <a:pt x="4" y="21"/>
                    <a:pt x="8" y="21"/>
                    <a:pt x="11" y="21"/>
                  </a:cubicBezTo>
                  <a:cubicBezTo>
                    <a:pt x="14" y="20"/>
                    <a:pt x="17" y="19"/>
                    <a:pt x="20" y="20"/>
                  </a:cubicBezTo>
                  <a:cubicBezTo>
                    <a:pt x="22" y="21"/>
                    <a:pt x="24" y="24"/>
                    <a:pt x="29" y="21"/>
                  </a:cubicBezTo>
                  <a:cubicBezTo>
                    <a:pt x="34" y="18"/>
                    <a:pt x="32" y="19"/>
                    <a:pt x="35" y="14"/>
                  </a:cubicBezTo>
                  <a:cubicBezTo>
                    <a:pt x="37" y="10"/>
                    <a:pt x="40" y="12"/>
                    <a:pt x="39" y="8"/>
                  </a:cubicBezTo>
                  <a:cubicBezTo>
                    <a:pt x="38" y="4"/>
                    <a:pt x="39" y="0"/>
                    <a:pt x="35" y="2"/>
                  </a:cubicBezTo>
                  <a:cubicBezTo>
                    <a:pt x="31" y="3"/>
                    <a:pt x="32" y="3"/>
                    <a:pt x="29" y="4"/>
                  </a:cubicBezTo>
                  <a:cubicBezTo>
                    <a:pt x="26" y="6"/>
                    <a:pt x="25" y="6"/>
                    <a:pt x="21" y="6"/>
                  </a:cubicBezTo>
                  <a:cubicBezTo>
                    <a:pt x="17" y="6"/>
                    <a:pt x="19" y="6"/>
                    <a:pt x="16" y="4"/>
                  </a:cubicBezTo>
                  <a:cubicBezTo>
                    <a:pt x="14" y="2"/>
                    <a:pt x="13" y="1"/>
                    <a:pt x="12"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199" name="Freeform 685">
              <a:extLst>
                <a:ext uri="{FF2B5EF4-FFF2-40B4-BE49-F238E27FC236}">
                  <a16:creationId xmlns:a16="http://schemas.microsoft.com/office/drawing/2014/main" id="{C457BCEA-1776-324C-80D1-967A45CFC513}"/>
                </a:ext>
              </a:extLst>
            </p:cNvPr>
            <p:cNvSpPr>
              <a:spLocks/>
            </p:cNvSpPr>
            <p:nvPr/>
          </p:nvSpPr>
          <p:spPr bwMode="auto">
            <a:xfrm>
              <a:off x="7585099" y="3745372"/>
              <a:ext cx="269876" cy="166688"/>
            </a:xfrm>
            <a:custGeom>
              <a:avLst/>
              <a:gdLst>
                <a:gd name="T0" fmla="*/ 4 w 284"/>
                <a:gd name="T1" fmla="*/ 150 h 175"/>
                <a:gd name="T2" fmla="*/ 15 w 284"/>
                <a:gd name="T3" fmla="*/ 145 h 175"/>
                <a:gd name="T4" fmla="*/ 25 w 284"/>
                <a:gd name="T5" fmla="*/ 137 h 175"/>
                <a:gd name="T6" fmla="*/ 34 w 284"/>
                <a:gd name="T7" fmla="*/ 128 h 175"/>
                <a:gd name="T8" fmla="*/ 52 w 284"/>
                <a:gd name="T9" fmla="*/ 121 h 175"/>
                <a:gd name="T10" fmla="*/ 66 w 284"/>
                <a:gd name="T11" fmla="*/ 115 h 175"/>
                <a:gd name="T12" fmla="*/ 84 w 284"/>
                <a:gd name="T13" fmla="*/ 105 h 175"/>
                <a:gd name="T14" fmla="*/ 105 w 284"/>
                <a:gd name="T15" fmla="*/ 96 h 175"/>
                <a:gd name="T16" fmla="*/ 118 w 284"/>
                <a:gd name="T17" fmla="*/ 89 h 175"/>
                <a:gd name="T18" fmla="*/ 135 w 284"/>
                <a:gd name="T19" fmla="*/ 79 h 175"/>
                <a:gd name="T20" fmla="*/ 154 w 284"/>
                <a:gd name="T21" fmla="*/ 72 h 175"/>
                <a:gd name="T22" fmla="*/ 171 w 284"/>
                <a:gd name="T23" fmla="*/ 66 h 175"/>
                <a:gd name="T24" fmla="*/ 189 w 284"/>
                <a:gd name="T25" fmla="*/ 49 h 175"/>
                <a:gd name="T26" fmla="*/ 214 w 284"/>
                <a:gd name="T27" fmla="*/ 33 h 175"/>
                <a:gd name="T28" fmla="*/ 232 w 284"/>
                <a:gd name="T29" fmla="*/ 19 h 175"/>
                <a:gd name="T30" fmla="*/ 250 w 284"/>
                <a:gd name="T31" fmla="*/ 3 h 175"/>
                <a:gd name="T32" fmla="*/ 259 w 284"/>
                <a:gd name="T33" fmla="*/ 5 h 175"/>
                <a:gd name="T34" fmla="*/ 255 w 284"/>
                <a:gd name="T35" fmla="*/ 10 h 175"/>
                <a:gd name="T36" fmla="*/ 257 w 284"/>
                <a:gd name="T37" fmla="*/ 15 h 175"/>
                <a:gd name="T38" fmla="*/ 252 w 284"/>
                <a:gd name="T39" fmla="*/ 24 h 175"/>
                <a:gd name="T40" fmla="*/ 263 w 284"/>
                <a:gd name="T41" fmla="*/ 20 h 175"/>
                <a:gd name="T42" fmla="*/ 271 w 284"/>
                <a:gd name="T43" fmla="*/ 13 h 175"/>
                <a:gd name="T44" fmla="*/ 276 w 284"/>
                <a:gd name="T45" fmla="*/ 18 h 175"/>
                <a:gd name="T46" fmla="*/ 282 w 284"/>
                <a:gd name="T47" fmla="*/ 18 h 175"/>
                <a:gd name="T48" fmla="*/ 276 w 284"/>
                <a:gd name="T49" fmla="*/ 25 h 175"/>
                <a:gd name="T50" fmla="*/ 269 w 284"/>
                <a:gd name="T51" fmla="*/ 27 h 175"/>
                <a:gd name="T52" fmla="*/ 266 w 284"/>
                <a:gd name="T53" fmla="*/ 37 h 175"/>
                <a:gd name="T54" fmla="*/ 253 w 284"/>
                <a:gd name="T55" fmla="*/ 49 h 175"/>
                <a:gd name="T56" fmla="*/ 238 w 284"/>
                <a:gd name="T57" fmla="*/ 57 h 175"/>
                <a:gd name="T58" fmla="*/ 224 w 284"/>
                <a:gd name="T59" fmla="*/ 68 h 175"/>
                <a:gd name="T60" fmla="*/ 211 w 284"/>
                <a:gd name="T61" fmla="*/ 75 h 175"/>
                <a:gd name="T62" fmla="*/ 198 w 284"/>
                <a:gd name="T63" fmla="*/ 82 h 175"/>
                <a:gd name="T64" fmla="*/ 195 w 284"/>
                <a:gd name="T65" fmla="*/ 90 h 175"/>
                <a:gd name="T66" fmla="*/ 198 w 284"/>
                <a:gd name="T67" fmla="*/ 96 h 175"/>
                <a:gd name="T68" fmla="*/ 190 w 284"/>
                <a:gd name="T69" fmla="*/ 97 h 175"/>
                <a:gd name="T70" fmla="*/ 181 w 284"/>
                <a:gd name="T71" fmla="*/ 95 h 175"/>
                <a:gd name="T72" fmla="*/ 174 w 284"/>
                <a:gd name="T73" fmla="*/ 98 h 175"/>
                <a:gd name="T74" fmla="*/ 158 w 284"/>
                <a:gd name="T75" fmla="*/ 105 h 175"/>
                <a:gd name="T76" fmla="*/ 140 w 284"/>
                <a:gd name="T77" fmla="*/ 112 h 175"/>
                <a:gd name="T78" fmla="*/ 128 w 284"/>
                <a:gd name="T79" fmla="*/ 123 h 175"/>
                <a:gd name="T80" fmla="*/ 117 w 284"/>
                <a:gd name="T81" fmla="*/ 133 h 175"/>
                <a:gd name="T82" fmla="*/ 106 w 284"/>
                <a:gd name="T83" fmla="*/ 146 h 175"/>
                <a:gd name="T84" fmla="*/ 91 w 284"/>
                <a:gd name="T85" fmla="*/ 153 h 175"/>
                <a:gd name="T86" fmla="*/ 80 w 284"/>
                <a:gd name="T87" fmla="*/ 161 h 175"/>
                <a:gd name="T88" fmla="*/ 62 w 284"/>
                <a:gd name="T89" fmla="*/ 167 h 175"/>
                <a:gd name="T90" fmla="*/ 48 w 284"/>
                <a:gd name="T91" fmla="*/ 172 h 175"/>
                <a:gd name="T92" fmla="*/ 35 w 284"/>
                <a:gd name="T93" fmla="*/ 172 h 175"/>
                <a:gd name="T94" fmla="*/ 30 w 284"/>
                <a:gd name="T95" fmla="*/ 169 h 175"/>
                <a:gd name="T96" fmla="*/ 28 w 284"/>
                <a:gd name="T97" fmla="*/ 165 h 175"/>
                <a:gd name="T98" fmla="*/ 22 w 284"/>
                <a:gd name="T99" fmla="*/ 163 h 175"/>
                <a:gd name="T100" fmla="*/ 19 w 284"/>
                <a:gd name="T101" fmla="*/ 160 h 175"/>
                <a:gd name="T102" fmla="*/ 13 w 284"/>
                <a:gd name="T103" fmla="*/ 162 h 175"/>
                <a:gd name="T104" fmla="*/ 9 w 284"/>
                <a:gd name="T105" fmla="*/ 163 h 175"/>
                <a:gd name="T106" fmla="*/ 5 w 284"/>
                <a:gd name="T107" fmla="*/ 161 h 175"/>
                <a:gd name="T108" fmla="*/ 1 w 284"/>
                <a:gd name="T109" fmla="*/ 160 h 175"/>
                <a:gd name="T110" fmla="*/ 3 w 284"/>
                <a:gd name="T111" fmla="*/ 156 h 175"/>
                <a:gd name="T112" fmla="*/ 1 w 284"/>
                <a:gd name="T113" fmla="*/ 152 h 175"/>
                <a:gd name="T114" fmla="*/ 4 w 284"/>
                <a:gd name="T115" fmla="*/ 15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4" h="175">
                  <a:moveTo>
                    <a:pt x="4" y="150"/>
                  </a:moveTo>
                  <a:cubicBezTo>
                    <a:pt x="11" y="147"/>
                    <a:pt x="9" y="148"/>
                    <a:pt x="15" y="145"/>
                  </a:cubicBezTo>
                  <a:cubicBezTo>
                    <a:pt x="21" y="142"/>
                    <a:pt x="19" y="138"/>
                    <a:pt x="25" y="137"/>
                  </a:cubicBezTo>
                  <a:cubicBezTo>
                    <a:pt x="31" y="136"/>
                    <a:pt x="24" y="131"/>
                    <a:pt x="34" y="128"/>
                  </a:cubicBezTo>
                  <a:cubicBezTo>
                    <a:pt x="45" y="126"/>
                    <a:pt x="44" y="121"/>
                    <a:pt x="52" y="121"/>
                  </a:cubicBezTo>
                  <a:cubicBezTo>
                    <a:pt x="59" y="120"/>
                    <a:pt x="61" y="119"/>
                    <a:pt x="66" y="115"/>
                  </a:cubicBezTo>
                  <a:cubicBezTo>
                    <a:pt x="70" y="112"/>
                    <a:pt x="72" y="106"/>
                    <a:pt x="84" y="105"/>
                  </a:cubicBezTo>
                  <a:cubicBezTo>
                    <a:pt x="97" y="103"/>
                    <a:pt x="96" y="101"/>
                    <a:pt x="105" y="96"/>
                  </a:cubicBezTo>
                  <a:cubicBezTo>
                    <a:pt x="114" y="92"/>
                    <a:pt x="106" y="92"/>
                    <a:pt x="118" y="89"/>
                  </a:cubicBezTo>
                  <a:cubicBezTo>
                    <a:pt x="129" y="85"/>
                    <a:pt x="123" y="82"/>
                    <a:pt x="135" y="79"/>
                  </a:cubicBezTo>
                  <a:cubicBezTo>
                    <a:pt x="147" y="75"/>
                    <a:pt x="146" y="74"/>
                    <a:pt x="154" y="72"/>
                  </a:cubicBezTo>
                  <a:cubicBezTo>
                    <a:pt x="161" y="70"/>
                    <a:pt x="161" y="72"/>
                    <a:pt x="171" y="66"/>
                  </a:cubicBezTo>
                  <a:cubicBezTo>
                    <a:pt x="181" y="60"/>
                    <a:pt x="176" y="55"/>
                    <a:pt x="189" y="49"/>
                  </a:cubicBezTo>
                  <a:cubicBezTo>
                    <a:pt x="202" y="43"/>
                    <a:pt x="201" y="40"/>
                    <a:pt x="214" y="33"/>
                  </a:cubicBezTo>
                  <a:cubicBezTo>
                    <a:pt x="226" y="25"/>
                    <a:pt x="228" y="25"/>
                    <a:pt x="232" y="19"/>
                  </a:cubicBezTo>
                  <a:cubicBezTo>
                    <a:pt x="235" y="12"/>
                    <a:pt x="240" y="6"/>
                    <a:pt x="250" y="3"/>
                  </a:cubicBezTo>
                  <a:cubicBezTo>
                    <a:pt x="259" y="0"/>
                    <a:pt x="261" y="3"/>
                    <a:pt x="259" y="5"/>
                  </a:cubicBezTo>
                  <a:cubicBezTo>
                    <a:pt x="256" y="6"/>
                    <a:pt x="253" y="9"/>
                    <a:pt x="255" y="10"/>
                  </a:cubicBezTo>
                  <a:cubicBezTo>
                    <a:pt x="257" y="12"/>
                    <a:pt x="260" y="12"/>
                    <a:pt x="257" y="15"/>
                  </a:cubicBezTo>
                  <a:cubicBezTo>
                    <a:pt x="254" y="19"/>
                    <a:pt x="248" y="24"/>
                    <a:pt x="252" y="24"/>
                  </a:cubicBezTo>
                  <a:cubicBezTo>
                    <a:pt x="257" y="25"/>
                    <a:pt x="259" y="23"/>
                    <a:pt x="263" y="20"/>
                  </a:cubicBezTo>
                  <a:cubicBezTo>
                    <a:pt x="267" y="17"/>
                    <a:pt x="269" y="15"/>
                    <a:pt x="271" y="13"/>
                  </a:cubicBezTo>
                  <a:cubicBezTo>
                    <a:pt x="273" y="12"/>
                    <a:pt x="274" y="22"/>
                    <a:pt x="276" y="18"/>
                  </a:cubicBezTo>
                  <a:cubicBezTo>
                    <a:pt x="277" y="14"/>
                    <a:pt x="284" y="14"/>
                    <a:pt x="282" y="18"/>
                  </a:cubicBezTo>
                  <a:cubicBezTo>
                    <a:pt x="280" y="21"/>
                    <a:pt x="278" y="25"/>
                    <a:pt x="276" y="25"/>
                  </a:cubicBezTo>
                  <a:cubicBezTo>
                    <a:pt x="273" y="25"/>
                    <a:pt x="267" y="24"/>
                    <a:pt x="269" y="27"/>
                  </a:cubicBezTo>
                  <a:cubicBezTo>
                    <a:pt x="271" y="31"/>
                    <a:pt x="271" y="32"/>
                    <a:pt x="266" y="37"/>
                  </a:cubicBezTo>
                  <a:cubicBezTo>
                    <a:pt x="261" y="43"/>
                    <a:pt x="258" y="43"/>
                    <a:pt x="253" y="49"/>
                  </a:cubicBezTo>
                  <a:cubicBezTo>
                    <a:pt x="248" y="54"/>
                    <a:pt x="244" y="52"/>
                    <a:pt x="238" y="57"/>
                  </a:cubicBezTo>
                  <a:cubicBezTo>
                    <a:pt x="232" y="63"/>
                    <a:pt x="227" y="64"/>
                    <a:pt x="224" y="68"/>
                  </a:cubicBezTo>
                  <a:cubicBezTo>
                    <a:pt x="220" y="72"/>
                    <a:pt x="217" y="70"/>
                    <a:pt x="211" y="75"/>
                  </a:cubicBezTo>
                  <a:cubicBezTo>
                    <a:pt x="205" y="80"/>
                    <a:pt x="199" y="77"/>
                    <a:pt x="198" y="82"/>
                  </a:cubicBezTo>
                  <a:cubicBezTo>
                    <a:pt x="197" y="87"/>
                    <a:pt x="193" y="89"/>
                    <a:pt x="195" y="90"/>
                  </a:cubicBezTo>
                  <a:cubicBezTo>
                    <a:pt x="196" y="92"/>
                    <a:pt x="201" y="94"/>
                    <a:pt x="198" y="96"/>
                  </a:cubicBezTo>
                  <a:cubicBezTo>
                    <a:pt x="195" y="97"/>
                    <a:pt x="196" y="97"/>
                    <a:pt x="190" y="97"/>
                  </a:cubicBezTo>
                  <a:cubicBezTo>
                    <a:pt x="184" y="96"/>
                    <a:pt x="184" y="92"/>
                    <a:pt x="181" y="95"/>
                  </a:cubicBezTo>
                  <a:cubicBezTo>
                    <a:pt x="179" y="99"/>
                    <a:pt x="179" y="94"/>
                    <a:pt x="174" y="98"/>
                  </a:cubicBezTo>
                  <a:cubicBezTo>
                    <a:pt x="169" y="102"/>
                    <a:pt x="164" y="101"/>
                    <a:pt x="158" y="105"/>
                  </a:cubicBezTo>
                  <a:cubicBezTo>
                    <a:pt x="152" y="109"/>
                    <a:pt x="143" y="108"/>
                    <a:pt x="140" y="112"/>
                  </a:cubicBezTo>
                  <a:cubicBezTo>
                    <a:pt x="137" y="116"/>
                    <a:pt x="130" y="120"/>
                    <a:pt x="128" y="123"/>
                  </a:cubicBezTo>
                  <a:cubicBezTo>
                    <a:pt x="127" y="126"/>
                    <a:pt x="119" y="129"/>
                    <a:pt x="117" y="133"/>
                  </a:cubicBezTo>
                  <a:cubicBezTo>
                    <a:pt x="116" y="137"/>
                    <a:pt x="111" y="139"/>
                    <a:pt x="106" y="146"/>
                  </a:cubicBezTo>
                  <a:cubicBezTo>
                    <a:pt x="101" y="152"/>
                    <a:pt x="97" y="150"/>
                    <a:pt x="91" y="153"/>
                  </a:cubicBezTo>
                  <a:cubicBezTo>
                    <a:pt x="85" y="156"/>
                    <a:pt x="85" y="158"/>
                    <a:pt x="80" y="161"/>
                  </a:cubicBezTo>
                  <a:cubicBezTo>
                    <a:pt x="74" y="165"/>
                    <a:pt x="66" y="164"/>
                    <a:pt x="62" y="167"/>
                  </a:cubicBezTo>
                  <a:cubicBezTo>
                    <a:pt x="59" y="170"/>
                    <a:pt x="53" y="170"/>
                    <a:pt x="48" y="172"/>
                  </a:cubicBezTo>
                  <a:cubicBezTo>
                    <a:pt x="43" y="175"/>
                    <a:pt x="41" y="173"/>
                    <a:pt x="35" y="172"/>
                  </a:cubicBezTo>
                  <a:cubicBezTo>
                    <a:pt x="30" y="171"/>
                    <a:pt x="29" y="171"/>
                    <a:pt x="30" y="169"/>
                  </a:cubicBezTo>
                  <a:cubicBezTo>
                    <a:pt x="31" y="167"/>
                    <a:pt x="31" y="165"/>
                    <a:pt x="28" y="165"/>
                  </a:cubicBezTo>
                  <a:cubicBezTo>
                    <a:pt x="25" y="165"/>
                    <a:pt x="22" y="165"/>
                    <a:pt x="22" y="163"/>
                  </a:cubicBezTo>
                  <a:cubicBezTo>
                    <a:pt x="22" y="161"/>
                    <a:pt x="20" y="158"/>
                    <a:pt x="19" y="160"/>
                  </a:cubicBezTo>
                  <a:cubicBezTo>
                    <a:pt x="17" y="162"/>
                    <a:pt x="15" y="161"/>
                    <a:pt x="13" y="162"/>
                  </a:cubicBezTo>
                  <a:cubicBezTo>
                    <a:pt x="11" y="164"/>
                    <a:pt x="11" y="164"/>
                    <a:pt x="9" y="163"/>
                  </a:cubicBezTo>
                  <a:cubicBezTo>
                    <a:pt x="7" y="162"/>
                    <a:pt x="8" y="161"/>
                    <a:pt x="5" y="161"/>
                  </a:cubicBezTo>
                  <a:cubicBezTo>
                    <a:pt x="2" y="161"/>
                    <a:pt x="0" y="162"/>
                    <a:pt x="1" y="160"/>
                  </a:cubicBezTo>
                  <a:cubicBezTo>
                    <a:pt x="2" y="158"/>
                    <a:pt x="5" y="158"/>
                    <a:pt x="3" y="156"/>
                  </a:cubicBezTo>
                  <a:cubicBezTo>
                    <a:pt x="2" y="153"/>
                    <a:pt x="0" y="153"/>
                    <a:pt x="1" y="152"/>
                  </a:cubicBezTo>
                  <a:cubicBezTo>
                    <a:pt x="2" y="151"/>
                    <a:pt x="3" y="151"/>
                    <a:pt x="4" y="150"/>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00" name="Freeform 686">
              <a:extLst>
                <a:ext uri="{FF2B5EF4-FFF2-40B4-BE49-F238E27FC236}">
                  <a16:creationId xmlns:a16="http://schemas.microsoft.com/office/drawing/2014/main" id="{5C08EF89-2830-3F4C-BB77-CE71BCCCA21E}"/>
                </a:ext>
              </a:extLst>
            </p:cNvPr>
            <p:cNvSpPr>
              <a:spLocks/>
            </p:cNvSpPr>
            <p:nvPr/>
          </p:nvSpPr>
          <p:spPr bwMode="auto">
            <a:xfrm>
              <a:off x="7854975" y="3585034"/>
              <a:ext cx="157163" cy="196850"/>
            </a:xfrm>
            <a:custGeom>
              <a:avLst/>
              <a:gdLst>
                <a:gd name="T0" fmla="*/ 9 w 165"/>
                <a:gd name="T1" fmla="*/ 187 h 207"/>
                <a:gd name="T2" fmla="*/ 30 w 165"/>
                <a:gd name="T3" fmla="*/ 170 h 207"/>
                <a:gd name="T4" fmla="*/ 30 w 165"/>
                <a:gd name="T5" fmla="*/ 152 h 207"/>
                <a:gd name="T6" fmla="*/ 30 w 165"/>
                <a:gd name="T7" fmla="*/ 130 h 207"/>
                <a:gd name="T8" fmla="*/ 53 w 165"/>
                <a:gd name="T9" fmla="*/ 115 h 207"/>
                <a:gd name="T10" fmla="*/ 67 w 165"/>
                <a:gd name="T11" fmla="*/ 103 h 207"/>
                <a:gd name="T12" fmla="*/ 74 w 165"/>
                <a:gd name="T13" fmla="*/ 88 h 207"/>
                <a:gd name="T14" fmla="*/ 83 w 165"/>
                <a:gd name="T15" fmla="*/ 75 h 207"/>
                <a:gd name="T16" fmla="*/ 76 w 165"/>
                <a:gd name="T17" fmla="*/ 67 h 207"/>
                <a:gd name="T18" fmla="*/ 86 w 165"/>
                <a:gd name="T19" fmla="*/ 54 h 207"/>
                <a:gd name="T20" fmla="*/ 79 w 165"/>
                <a:gd name="T21" fmla="*/ 54 h 207"/>
                <a:gd name="T22" fmla="*/ 76 w 165"/>
                <a:gd name="T23" fmla="*/ 36 h 207"/>
                <a:gd name="T24" fmla="*/ 75 w 165"/>
                <a:gd name="T25" fmla="*/ 20 h 207"/>
                <a:gd name="T26" fmla="*/ 76 w 165"/>
                <a:gd name="T27" fmla="*/ 3 h 207"/>
                <a:gd name="T28" fmla="*/ 85 w 165"/>
                <a:gd name="T29" fmla="*/ 12 h 207"/>
                <a:gd name="T30" fmla="*/ 101 w 165"/>
                <a:gd name="T31" fmla="*/ 23 h 207"/>
                <a:gd name="T32" fmla="*/ 99 w 165"/>
                <a:gd name="T33" fmla="*/ 40 h 207"/>
                <a:gd name="T34" fmla="*/ 94 w 165"/>
                <a:gd name="T35" fmla="*/ 57 h 207"/>
                <a:gd name="T36" fmla="*/ 93 w 165"/>
                <a:gd name="T37" fmla="*/ 71 h 207"/>
                <a:gd name="T38" fmla="*/ 97 w 165"/>
                <a:gd name="T39" fmla="*/ 77 h 207"/>
                <a:gd name="T40" fmla="*/ 107 w 165"/>
                <a:gd name="T41" fmla="*/ 60 h 207"/>
                <a:gd name="T42" fmla="*/ 107 w 165"/>
                <a:gd name="T43" fmla="*/ 82 h 207"/>
                <a:gd name="T44" fmla="*/ 117 w 165"/>
                <a:gd name="T45" fmla="*/ 98 h 207"/>
                <a:gd name="T46" fmla="*/ 143 w 165"/>
                <a:gd name="T47" fmla="*/ 93 h 207"/>
                <a:gd name="T48" fmla="*/ 160 w 165"/>
                <a:gd name="T49" fmla="*/ 94 h 207"/>
                <a:gd name="T50" fmla="*/ 146 w 165"/>
                <a:gd name="T51" fmla="*/ 110 h 207"/>
                <a:gd name="T52" fmla="*/ 133 w 165"/>
                <a:gd name="T53" fmla="*/ 120 h 207"/>
                <a:gd name="T54" fmla="*/ 120 w 165"/>
                <a:gd name="T55" fmla="*/ 135 h 207"/>
                <a:gd name="T56" fmla="*/ 108 w 165"/>
                <a:gd name="T57" fmla="*/ 132 h 207"/>
                <a:gd name="T58" fmla="*/ 90 w 165"/>
                <a:gd name="T59" fmla="*/ 143 h 207"/>
                <a:gd name="T60" fmla="*/ 80 w 165"/>
                <a:gd name="T61" fmla="*/ 159 h 207"/>
                <a:gd name="T62" fmla="*/ 65 w 165"/>
                <a:gd name="T63" fmla="*/ 166 h 207"/>
                <a:gd name="T64" fmla="*/ 51 w 165"/>
                <a:gd name="T65" fmla="*/ 179 h 207"/>
                <a:gd name="T66" fmla="*/ 36 w 165"/>
                <a:gd name="T67" fmla="*/ 188 h 207"/>
                <a:gd name="T68" fmla="*/ 22 w 165"/>
                <a:gd name="T69" fmla="*/ 200 h 207"/>
                <a:gd name="T70" fmla="*/ 9 w 165"/>
                <a:gd name="T71" fmla="*/ 202 h 207"/>
                <a:gd name="T72" fmla="*/ 1 w 165"/>
                <a:gd name="T73" fmla="*/ 192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5" h="207">
                  <a:moveTo>
                    <a:pt x="1" y="192"/>
                  </a:moveTo>
                  <a:cubicBezTo>
                    <a:pt x="2" y="189"/>
                    <a:pt x="4" y="190"/>
                    <a:pt x="9" y="187"/>
                  </a:cubicBezTo>
                  <a:cubicBezTo>
                    <a:pt x="15" y="183"/>
                    <a:pt x="13" y="183"/>
                    <a:pt x="20" y="178"/>
                  </a:cubicBezTo>
                  <a:cubicBezTo>
                    <a:pt x="27" y="173"/>
                    <a:pt x="26" y="174"/>
                    <a:pt x="30" y="170"/>
                  </a:cubicBezTo>
                  <a:cubicBezTo>
                    <a:pt x="35" y="166"/>
                    <a:pt x="40" y="166"/>
                    <a:pt x="37" y="161"/>
                  </a:cubicBezTo>
                  <a:cubicBezTo>
                    <a:pt x="33" y="156"/>
                    <a:pt x="34" y="154"/>
                    <a:pt x="30" y="152"/>
                  </a:cubicBezTo>
                  <a:cubicBezTo>
                    <a:pt x="26" y="150"/>
                    <a:pt x="18" y="146"/>
                    <a:pt x="20" y="139"/>
                  </a:cubicBezTo>
                  <a:cubicBezTo>
                    <a:pt x="21" y="132"/>
                    <a:pt x="23" y="130"/>
                    <a:pt x="30" y="130"/>
                  </a:cubicBezTo>
                  <a:cubicBezTo>
                    <a:pt x="36" y="130"/>
                    <a:pt x="39" y="130"/>
                    <a:pt x="44" y="126"/>
                  </a:cubicBezTo>
                  <a:cubicBezTo>
                    <a:pt x="49" y="122"/>
                    <a:pt x="50" y="118"/>
                    <a:pt x="53" y="115"/>
                  </a:cubicBezTo>
                  <a:cubicBezTo>
                    <a:pt x="57" y="112"/>
                    <a:pt x="58" y="108"/>
                    <a:pt x="61" y="107"/>
                  </a:cubicBezTo>
                  <a:cubicBezTo>
                    <a:pt x="64" y="105"/>
                    <a:pt x="67" y="108"/>
                    <a:pt x="67" y="103"/>
                  </a:cubicBezTo>
                  <a:cubicBezTo>
                    <a:pt x="67" y="97"/>
                    <a:pt x="68" y="97"/>
                    <a:pt x="70" y="95"/>
                  </a:cubicBezTo>
                  <a:cubicBezTo>
                    <a:pt x="72" y="94"/>
                    <a:pt x="74" y="89"/>
                    <a:pt x="74" y="88"/>
                  </a:cubicBezTo>
                  <a:cubicBezTo>
                    <a:pt x="74" y="86"/>
                    <a:pt x="73" y="84"/>
                    <a:pt x="76" y="80"/>
                  </a:cubicBezTo>
                  <a:cubicBezTo>
                    <a:pt x="80" y="76"/>
                    <a:pt x="79" y="77"/>
                    <a:pt x="83" y="75"/>
                  </a:cubicBezTo>
                  <a:cubicBezTo>
                    <a:pt x="87" y="73"/>
                    <a:pt x="87" y="71"/>
                    <a:pt x="84" y="71"/>
                  </a:cubicBezTo>
                  <a:cubicBezTo>
                    <a:pt x="81" y="71"/>
                    <a:pt x="76" y="69"/>
                    <a:pt x="76" y="67"/>
                  </a:cubicBezTo>
                  <a:cubicBezTo>
                    <a:pt x="77" y="64"/>
                    <a:pt x="78" y="61"/>
                    <a:pt x="82" y="61"/>
                  </a:cubicBezTo>
                  <a:cubicBezTo>
                    <a:pt x="86" y="60"/>
                    <a:pt x="84" y="57"/>
                    <a:pt x="86" y="54"/>
                  </a:cubicBezTo>
                  <a:cubicBezTo>
                    <a:pt x="88" y="51"/>
                    <a:pt x="90" y="47"/>
                    <a:pt x="86" y="50"/>
                  </a:cubicBezTo>
                  <a:cubicBezTo>
                    <a:pt x="82" y="53"/>
                    <a:pt x="82" y="58"/>
                    <a:pt x="79" y="54"/>
                  </a:cubicBezTo>
                  <a:cubicBezTo>
                    <a:pt x="75" y="50"/>
                    <a:pt x="75" y="50"/>
                    <a:pt x="76" y="46"/>
                  </a:cubicBezTo>
                  <a:cubicBezTo>
                    <a:pt x="76" y="43"/>
                    <a:pt x="75" y="40"/>
                    <a:pt x="76" y="36"/>
                  </a:cubicBezTo>
                  <a:cubicBezTo>
                    <a:pt x="76" y="32"/>
                    <a:pt x="76" y="30"/>
                    <a:pt x="75" y="27"/>
                  </a:cubicBezTo>
                  <a:cubicBezTo>
                    <a:pt x="74" y="23"/>
                    <a:pt x="72" y="22"/>
                    <a:pt x="75" y="20"/>
                  </a:cubicBezTo>
                  <a:cubicBezTo>
                    <a:pt x="78" y="19"/>
                    <a:pt x="80" y="18"/>
                    <a:pt x="79" y="13"/>
                  </a:cubicBezTo>
                  <a:cubicBezTo>
                    <a:pt x="78" y="9"/>
                    <a:pt x="72" y="6"/>
                    <a:pt x="76" y="3"/>
                  </a:cubicBezTo>
                  <a:cubicBezTo>
                    <a:pt x="81" y="0"/>
                    <a:pt x="84" y="1"/>
                    <a:pt x="84" y="4"/>
                  </a:cubicBezTo>
                  <a:cubicBezTo>
                    <a:pt x="84" y="7"/>
                    <a:pt x="82" y="9"/>
                    <a:pt x="85" y="12"/>
                  </a:cubicBezTo>
                  <a:cubicBezTo>
                    <a:pt x="88" y="14"/>
                    <a:pt x="89" y="15"/>
                    <a:pt x="95" y="17"/>
                  </a:cubicBezTo>
                  <a:cubicBezTo>
                    <a:pt x="101" y="19"/>
                    <a:pt x="98" y="22"/>
                    <a:pt x="101" y="23"/>
                  </a:cubicBezTo>
                  <a:cubicBezTo>
                    <a:pt x="103" y="24"/>
                    <a:pt x="107" y="24"/>
                    <a:pt x="104" y="30"/>
                  </a:cubicBezTo>
                  <a:cubicBezTo>
                    <a:pt x="101" y="36"/>
                    <a:pt x="105" y="39"/>
                    <a:pt x="99" y="40"/>
                  </a:cubicBezTo>
                  <a:cubicBezTo>
                    <a:pt x="94" y="42"/>
                    <a:pt x="95" y="49"/>
                    <a:pt x="97" y="51"/>
                  </a:cubicBezTo>
                  <a:cubicBezTo>
                    <a:pt x="99" y="54"/>
                    <a:pt x="96" y="53"/>
                    <a:pt x="94" y="57"/>
                  </a:cubicBezTo>
                  <a:cubicBezTo>
                    <a:pt x="92" y="61"/>
                    <a:pt x="88" y="63"/>
                    <a:pt x="90" y="66"/>
                  </a:cubicBezTo>
                  <a:cubicBezTo>
                    <a:pt x="92" y="69"/>
                    <a:pt x="91" y="73"/>
                    <a:pt x="93" y="71"/>
                  </a:cubicBezTo>
                  <a:cubicBezTo>
                    <a:pt x="95" y="68"/>
                    <a:pt x="97" y="65"/>
                    <a:pt x="98" y="68"/>
                  </a:cubicBezTo>
                  <a:cubicBezTo>
                    <a:pt x="98" y="70"/>
                    <a:pt x="93" y="77"/>
                    <a:pt x="97" y="77"/>
                  </a:cubicBezTo>
                  <a:cubicBezTo>
                    <a:pt x="100" y="76"/>
                    <a:pt x="101" y="74"/>
                    <a:pt x="104" y="70"/>
                  </a:cubicBezTo>
                  <a:cubicBezTo>
                    <a:pt x="107" y="65"/>
                    <a:pt x="105" y="57"/>
                    <a:pt x="107" y="60"/>
                  </a:cubicBezTo>
                  <a:cubicBezTo>
                    <a:pt x="109" y="63"/>
                    <a:pt x="113" y="65"/>
                    <a:pt x="111" y="69"/>
                  </a:cubicBezTo>
                  <a:cubicBezTo>
                    <a:pt x="110" y="74"/>
                    <a:pt x="108" y="77"/>
                    <a:pt x="107" y="82"/>
                  </a:cubicBezTo>
                  <a:cubicBezTo>
                    <a:pt x="106" y="87"/>
                    <a:pt x="100" y="87"/>
                    <a:pt x="105" y="91"/>
                  </a:cubicBezTo>
                  <a:cubicBezTo>
                    <a:pt x="110" y="94"/>
                    <a:pt x="111" y="96"/>
                    <a:pt x="117" y="98"/>
                  </a:cubicBezTo>
                  <a:cubicBezTo>
                    <a:pt x="123" y="99"/>
                    <a:pt x="131" y="101"/>
                    <a:pt x="134" y="99"/>
                  </a:cubicBezTo>
                  <a:cubicBezTo>
                    <a:pt x="137" y="96"/>
                    <a:pt x="139" y="95"/>
                    <a:pt x="143" y="93"/>
                  </a:cubicBezTo>
                  <a:cubicBezTo>
                    <a:pt x="147" y="92"/>
                    <a:pt x="149" y="89"/>
                    <a:pt x="153" y="89"/>
                  </a:cubicBezTo>
                  <a:cubicBezTo>
                    <a:pt x="157" y="89"/>
                    <a:pt x="165" y="90"/>
                    <a:pt x="160" y="94"/>
                  </a:cubicBezTo>
                  <a:cubicBezTo>
                    <a:pt x="155" y="98"/>
                    <a:pt x="153" y="96"/>
                    <a:pt x="151" y="101"/>
                  </a:cubicBezTo>
                  <a:cubicBezTo>
                    <a:pt x="150" y="106"/>
                    <a:pt x="148" y="107"/>
                    <a:pt x="146" y="110"/>
                  </a:cubicBezTo>
                  <a:cubicBezTo>
                    <a:pt x="145" y="113"/>
                    <a:pt x="142" y="113"/>
                    <a:pt x="140" y="116"/>
                  </a:cubicBezTo>
                  <a:cubicBezTo>
                    <a:pt x="138" y="118"/>
                    <a:pt x="136" y="118"/>
                    <a:pt x="133" y="120"/>
                  </a:cubicBezTo>
                  <a:cubicBezTo>
                    <a:pt x="130" y="122"/>
                    <a:pt x="127" y="121"/>
                    <a:pt x="125" y="124"/>
                  </a:cubicBezTo>
                  <a:cubicBezTo>
                    <a:pt x="124" y="128"/>
                    <a:pt x="120" y="131"/>
                    <a:pt x="120" y="135"/>
                  </a:cubicBezTo>
                  <a:cubicBezTo>
                    <a:pt x="120" y="139"/>
                    <a:pt x="120" y="140"/>
                    <a:pt x="116" y="135"/>
                  </a:cubicBezTo>
                  <a:cubicBezTo>
                    <a:pt x="113" y="130"/>
                    <a:pt x="114" y="130"/>
                    <a:pt x="108" y="132"/>
                  </a:cubicBezTo>
                  <a:cubicBezTo>
                    <a:pt x="103" y="134"/>
                    <a:pt x="103" y="133"/>
                    <a:pt x="99" y="136"/>
                  </a:cubicBezTo>
                  <a:cubicBezTo>
                    <a:pt x="95" y="139"/>
                    <a:pt x="90" y="140"/>
                    <a:pt x="90" y="143"/>
                  </a:cubicBezTo>
                  <a:cubicBezTo>
                    <a:pt x="89" y="147"/>
                    <a:pt x="90" y="146"/>
                    <a:pt x="87" y="151"/>
                  </a:cubicBezTo>
                  <a:cubicBezTo>
                    <a:pt x="84" y="156"/>
                    <a:pt x="83" y="156"/>
                    <a:pt x="80" y="159"/>
                  </a:cubicBezTo>
                  <a:cubicBezTo>
                    <a:pt x="77" y="161"/>
                    <a:pt x="75" y="164"/>
                    <a:pt x="72" y="164"/>
                  </a:cubicBezTo>
                  <a:cubicBezTo>
                    <a:pt x="68" y="165"/>
                    <a:pt x="66" y="163"/>
                    <a:pt x="65" y="166"/>
                  </a:cubicBezTo>
                  <a:cubicBezTo>
                    <a:pt x="63" y="168"/>
                    <a:pt x="60" y="171"/>
                    <a:pt x="57" y="173"/>
                  </a:cubicBezTo>
                  <a:cubicBezTo>
                    <a:pt x="54" y="176"/>
                    <a:pt x="53" y="177"/>
                    <a:pt x="51" y="179"/>
                  </a:cubicBezTo>
                  <a:cubicBezTo>
                    <a:pt x="48" y="181"/>
                    <a:pt x="46" y="183"/>
                    <a:pt x="44" y="184"/>
                  </a:cubicBezTo>
                  <a:cubicBezTo>
                    <a:pt x="42" y="185"/>
                    <a:pt x="42" y="186"/>
                    <a:pt x="36" y="188"/>
                  </a:cubicBezTo>
                  <a:cubicBezTo>
                    <a:pt x="30" y="191"/>
                    <a:pt x="30" y="192"/>
                    <a:pt x="28" y="195"/>
                  </a:cubicBezTo>
                  <a:cubicBezTo>
                    <a:pt x="26" y="198"/>
                    <a:pt x="26" y="198"/>
                    <a:pt x="22" y="200"/>
                  </a:cubicBezTo>
                  <a:cubicBezTo>
                    <a:pt x="18" y="202"/>
                    <a:pt x="19" y="203"/>
                    <a:pt x="14" y="204"/>
                  </a:cubicBezTo>
                  <a:cubicBezTo>
                    <a:pt x="10" y="204"/>
                    <a:pt x="9" y="207"/>
                    <a:pt x="9" y="202"/>
                  </a:cubicBezTo>
                  <a:cubicBezTo>
                    <a:pt x="9" y="197"/>
                    <a:pt x="10" y="196"/>
                    <a:pt x="7" y="196"/>
                  </a:cubicBezTo>
                  <a:cubicBezTo>
                    <a:pt x="4" y="196"/>
                    <a:pt x="0" y="197"/>
                    <a:pt x="1" y="192"/>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01" name="Freeform 687">
              <a:extLst>
                <a:ext uri="{FF2B5EF4-FFF2-40B4-BE49-F238E27FC236}">
                  <a16:creationId xmlns:a16="http://schemas.microsoft.com/office/drawing/2014/main" id="{09C9CD9D-50B8-E44B-9195-91D7A6B162FB}"/>
                </a:ext>
              </a:extLst>
            </p:cNvPr>
            <p:cNvSpPr>
              <a:spLocks/>
            </p:cNvSpPr>
            <p:nvPr/>
          </p:nvSpPr>
          <p:spPr bwMode="auto">
            <a:xfrm>
              <a:off x="7985150" y="3832684"/>
              <a:ext cx="19050" cy="12700"/>
            </a:xfrm>
            <a:custGeom>
              <a:avLst/>
              <a:gdLst>
                <a:gd name="T0" fmla="*/ 6 w 20"/>
                <a:gd name="T1" fmla="*/ 3 h 14"/>
                <a:gd name="T2" fmla="*/ 6 w 20"/>
                <a:gd name="T3" fmla="*/ 8 h 14"/>
                <a:gd name="T4" fmla="*/ 4 w 20"/>
                <a:gd name="T5" fmla="*/ 13 h 14"/>
                <a:gd name="T6" fmla="*/ 11 w 20"/>
                <a:gd name="T7" fmla="*/ 10 h 14"/>
                <a:gd name="T8" fmla="*/ 14 w 20"/>
                <a:gd name="T9" fmla="*/ 6 h 14"/>
                <a:gd name="T10" fmla="*/ 18 w 20"/>
                <a:gd name="T11" fmla="*/ 1 h 14"/>
                <a:gd name="T12" fmla="*/ 13 w 20"/>
                <a:gd name="T13" fmla="*/ 1 h 14"/>
                <a:gd name="T14" fmla="*/ 6 w 20"/>
                <a:gd name="T15" fmla="*/ 1 h 14"/>
                <a:gd name="T16" fmla="*/ 6 w 20"/>
                <a:gd name="T17"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4">
                  <a:moveTo>
                    <a:pt x="6" y="3"/>
                  </a:moveTo>
                  <a:cubicBezTo>
                    <a:pt x="7" y="7"/>
                    <a:pt x="7" y="7"/>
                    <a:pt x="6" y="8"/>
                  </a:cubicBezTo>
                  <a:cubicBezTo>
                    <a:pt x="5" y="9"/>
                    <a:pt x="0" y="13"/>
                    <a:pt x="4" y="13"/>
                  </a:cubicBezTo>
                  <a:cubicBezTo>
                    <a:pt x="8" y="14"/>
                    <a:pt x="8" y="12"/>
                    <a:pt x="11" y="10"/>
                  </a:cubicBezTo>
                  <a:cubicBezTo>
                    <a:pt x="14" y="9"/>
                    <a:pt x="12" y="8"/>
                    <a:pt x="14" y="6"/>
                  </a:cubicBezTo>
                  <a:cubicBezTo>
                    <a:pt x="17" y="4"/>
                    <a:pt x="20" y="3"/>
                    <a:pt x="18" y="1"/>
                  </a:cubicBezTo>
                  <a:cubicBezTo>
                    <a:pt x="16" y="0"/>
                    <a:pt x="15" y="0"/>
                    <a:pt x="13" y="1"/>
                  </a:cubicBezTo>
                  <a:cubicBezTo>
                    <a:pt x="10" y="2"/>
                    <a:pt x="6" y="1"/>
                    <a:pt x="6" y="1"/>
                  </a:cubicBezTo>
                  <a:cubicBezTo>
                    <a:pt x="5" y="1"/>
                    <a:pt x="5" y="2"/>
                    <a:pt x="6" y="3"/>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02" name="Freeform 688">
              <a:extLst>
                <a:ext uri="{FF2B5EF4-FFF2-40B4-BE49-F238E27FC236}">
                  <a16:creationId xmlns:a16="http://schemas.microsoft.com/office/drawing/2014/main" id="{5655C454-C85E-094F-961C-4BC761EA5BE1}"/>
                </a:ext>
              </a:extLst>
            </p:cNvPr>
            <p:cNvSpPr>
              <a:spLocks/>
            </p:cNvSpPr>
            <p:nvPr/>
          </p:nvSpPr>
          <p:spPr bwMode="auto">
            <a:xfrm>
              <a:off x="7583511" y="3910472"/>
              <a:ext cx="20638" cy="17463"/>
            </a:xfrm>
            <a:custGeom>
              <a:avLst/>
              <a:gdLst>
                <a:gd name="T0" fmla="*/ 14 w 22"/>
                <a:gd name="T1" fmla="*/ 2 h 18"/>
                <a:gd name="T2" fmla="*/ 13 w 22"/>
                <a:gd name="T3" fmla="*/ 5 h 18"/>
                <a:gd name="T4" fmla="*/ 10 w 22"/>
                <a:gd name="T5" fmla="*/ 8 h 18"/>
                <a:gd name="T6" fmla="*/ 8 w 22"/>
                <a:gd name="T7" fmla="*/ 10 h 18"/>
                <a:gd name="T8" fmla="*/ 4 w 22"/>
                <a:gd name="T9" fmla="*/ 12 h 18"/>
                <a:gd name="T10" fmla="*/ 0 w 22"/>
                <a:gd name="T11" fmla="*/ 15 h 18"/>
                <a:gd name="T12" fmla="*/ 5 w 22"/>
                <a:gd name="T13" fmla="*/ 17 h 18"/>
                <a:gd name="T14" fmla="*/ 11 w 22"/>
                <a:gd name="T15" fmla="*/ 14 h 18"/>
                <a:gd name="T16" fmla="*/ 18 w 22"/>
                <a:gd name="T17" fmla="*/ 12 h 18"/>
                <a:gd name="T18" fmla="*/ 20 w 22"/>
                <a:gd name="T19" fmla="*/ 10 h 18"/>
                <a:gd name="T20" fmla="*/ 17 w 22"/>
                <a:gd name="T21" fmla="*/ 7 h 18"/>
                <a:gd name="T22" fmla="*/ 21 w 22"/>
                <a:gd name="T23" fmla="*/ 4 h 18"/>
                <a:gd name="T24" fmla="*/ 19 w 22"/>
                <a:gd name="T25" fmla="*/ 0 h 18"/>
                <a:gd name="T26" fmla="*/ 14 w 22"/>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18">
                  <a:moveTo>
                    <a:pt x="14" y="2"/>
                  </a:moveTo>
                  <a:cubicBezTo>
                    <a:pt x="14" y="4"/>
                    <a:pt x="15" y="4"/>
                    <a:pt x="13" y="5"/>
                  </a:cubicBezTo>
                  <a:cubicBezTo>
                    <a:pt x="12" y="6"/>
                    <a:pt x="10" y="7"/>
                    <a:pt x="10" y="8"/>
                  </a:cubicBezTo>
                  <a:cubicBezTo>
                    <a:pt x="9" y="8"/>
                    <a:pt x="9" y="9"/>
                    <a:pt x="8" y="10"/>
                  </a:cubicBezTo>
                  <a:cubicBezTo>
                    <a:pt x="7" y="11"/>
                    <a:pt x="5" y="10"/>
                    <a:pt x="4" y="12"/>
                  </a:cubicBezTo>
                  <a:cubicBezTo>
                    <a:pt x="3" y="13"/>
                    <a:pt x="0" y="14"/>
                    <a:pt x="0" y="15"/>
                  </a:cubicBezTo>
                  <a:cubicBezTo>
                    <a:pt x="0" y="16"/>
                    <a:pt x="2" y="18"/>
                    <a:pt x="5" y="17"/>
                  </a:cubicBezTo>
                  <a:cubicBezTo>
                    <a:pt x="7" y="16"/>
                    <a:pt x="8" y="14"/>
                    <a:pt x="11" y="14"/>
                  </a:cubicBezTo>
                  <a:cubicBezTo>
                    <a:pt x="14" y="14"/>
                    <a:pt x="17" y="13"/>
                    <a:pt x="18" y="12"/>
                  </a:cubicBezTo>
                  <a:cubicBezTo>
                    <a:pt x="19" y="11"/>
                    <a:pt x="22" y="11"/>
                    <a:pt x="20" y="10"/>
                  </a:cubicBezTo>
                  <a:cubicBezTo>
                    <a:pt x="19" y="8"/>
                    <a:pt x="14" y="8"/>
                    <a:pt x="17" y="7"/>
                  </a:cubicBezTo>
                  <a:cubicBezTo>
                    <a:pt x="20" y="6"/>
                    <a:pt x="21" y="6"/>
                    <a:pt x="21" y="4"/>
                  </a:cubicBezTo>
                  <a:cubicBezTo>
                    <a:pt x="21" y="1"/>
                    <a:pt x="21" y="1"/>
                    <a:pt x="19" y="0"/>
                  </a:cubicBezTo>
                  <a:cubicBezTo>
                    <a:pt x="17" y="0"/>
                    <a:pt x="14" y="0"/>
                    <a:pt x="14" y="2"/>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03" name="Freeform 689">
              <a:extLst>
                <a:ext uri="{FF2B5EF4-FFF2-40B4-BE49-F238E27FC236}">
                  <a16:creationId xmlns:a16="http://schemas.microsoft.com/office/drawing/2014/main" id="{22DDBEEA-55CF-BB4F-82D5-16B85768E870}"/>
                </a:ext>
              </a:extLst>
            </p:cNvPr>
            <p:cNvSpPr>
              <a:spLocks/>
            </p:cNvSpPr>
            <p:nvPr/>
          </p:nvSpPr>
          <p:spPr bwMode="auto">
            <a:xfrm>
              <a:off x="7467624" y="4008897"/>
              <a:ext cx="17463" cy="12700"/>
            </a:xfrm>
            <a:custGeom>
              <a:avLst/>
              <a:gdLst>
                <a:gd name="T0" fmla="*/ 5 w 19"/>
                <a:gd name="T1" fmla="*/ 7 h 14"/>
                <a:gd name="T2" fmla="*/ 3 w 19"/>
                <a:gd name="T3" fmla="*/ 13 h 14"/>
                <a:gd name="T4" fmla="*/ 9 w 19"/>
                <a:gd name="T5" fmla="*/ 11 h 14"/>
                <a:gd name="T6" fmla="*/ 14 w 19"/>
                <a:gd name="T7" fmla="*/ 7 h 14"/>
                <a:gd name="T8" fmla="*/ 18 w 19"/>
                <a:gd name="T9" fmla="*/ 3 h 14"/>
                <a:gd name="T10" fmla="*/ 14 w 19"/>
                <a:gd name="T11" fmla="*/ 2 h 14"/>
                <a:gd name="T12" fmla="*/ 8 w 19"/>
                <a:gd name="T13" fmla="*/ 4 h 14"/>
                <a:gd name="T14" fmla="*/ 5 w 19"/>
                <a:gd name="T15" fmla="*/ 7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4">
                  <a:moveTo>
                    <a:pt x="5" y="7"/>
                  </a:moveTo>
                  <a:cubicBezTo>
                    <a:pt x="5" y="10"/>
                    <a:pt x="0" y="11"/>
                    <a:pt x="3" y="13"/>
                  </a:cubicBezTo>
                  <a:cubicBezTo>
                    <a:pt x="7" y="14"/>
                    <a:pt x="7" y="13"/>
                    <a:pt x="9" y="11"/>
                  </a:cubicBezTo>
                  <a:cubicBezTo>
                    <a:pt x="11" y="9"/>
                    <a:pt x="12" y="9"/>
                    <a:pt x="14" y="7"/>
                  </a:cubicBezTo>
                  <a:cubicBezTo>
                    <a:pt x="16" y="5"/>
                    <a:pt x="19" y="5"/>
                    <a:pt x="18" y="3"/>
                  </a:cubicBezTo>
                  <a:cubicBezTo>
                    <a:pt x="16" y="1"/>
                    <a:pt x="16" y="0"/>
                    <a:pt x="14" y="2"/>
                  </a:cubicBezTo>
                  <a:cubicBezTo>
                    <a:pt x="12" y="4"/>
                    <a:pt x="9" y="1"/>
                    <a:pt x="8" y="4"/>
                  </a:cubicBezTo>
                  <a:cubicBezTo>
                    <a:pt x="6" y="6"/>
                    <a:pt x="4" y="6"/>
                    <a:pt x="5" y="7"/>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04" name="Freeform 690">
              <a:extLst>
                <a:ext uri="{FF2B5EF4-FFF2-40B4-BE49-F238E27FC236}">
                  <a16:creationId xmlns:a16="http://schemas.microsoft.com/office/drawing/2014/main" id="{6AFAFB49-C177-964F-9EE7-F323B67EA41F}"/>
                </a:ext>
              </a:extLst>
            </p:cNvPr>
            <p:cNvSpPr>
              <a:spLocks/>
            </p:cNvSpPr>
            <p:nvPr/>
          </p:nvSpPr>
          <p:spPr bwMode="auto">
            <a:xfrm>
              <a:off x="8226451" y="3094496"/>
              <a:ext cx="44450" cy="26988"/>
            </a:xfrm>
            <a:custGeom>
              <a:avLst/>
              <a:gdLst>
                <a:gd name="T0" fmla="*/ 2 w 46"/>
                <a:gd name="T1" fmla="*/ 19 h 28"/>
                <a:gd name="T2" fmla="*/ 13 w 46"/>
                <a:gd name="T3" fmla="*/ 14 h 28"/>
                <a:gd name="T4" fmla="*/ 24 w 46"/>
                <a:gd name="T5" fmla="*/ 11 h 28"/>
                <a:gd name="T6" fmla="*/ 35 w 46"/>
                <a:gd name="T7" fmla="*/ 5 h 28"/>
                <a:gd name="T8" fmla="*/ 44 w 46"/>
                <a:gd name="T9" fmla="*/ 5 h 28"/>
                <a:gd name="T10" fmla="*/ 38 w 46"/>
                <a:gd name="T11" fmla="*/ 15 h 28"/>
                <a:gd name="T12" fmla="*/ 30 w 46"/>
                <a:gd name="T13" fmla="*/ 19 h 28"/>
                <a:gd name="T14" fmla="*/ 23 w 46"/>
                <a:gd name="T15" fmla="*/ 25 h 28"/>
                <a:gd name="T16" fmla="*/ 19 w 46"/>
                <a:gd name="T17" fmla="*/ 23 h 28"/>
                <a:gd name="T18" fmla="*/ 13 w 46"/>
                <a:gd name="T19" fmla="*/ 26 h 28"/>
                <a:gd name="T20" fmla="*/ 7 w 46"/>
                <a:gd name="T21" fmla="*/ 26 h 28"/>
                <a:gd name="T22" fmla="*/ 2 w 46"/>
                <a:gd name="T23" fmla="*/ 25 h 28"/>
                <a:gd name="T24" fmla="*/ 2 w 46"/>
                <a:gd name="T25"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8">
                  <a:moveTo>
                    <a:pt x="2" y="19"/>
                  </a:moveTo>
                  <a:cubicBezTo>
                    <a:pt x="8" y="16"/>
                    <a:pt x="7" y="16"/>
                    <a:pt x="13" y="14"/>
                  </a:cubicBezTo>
                  <a:cubicBezTo>
                    <a:pt x="19" y="13"/>
                    <a:pt x="16" y="15"/>
                    <a:pt x="24" y="11"/>
                  </a:cubicBezTo>
                  <a:cubicBezTo>
                    <a:pt x="31" y="7"/>
                    <a:pt x="29" y="7"/>
                    <a:pt x="35" y="5"/>
                  </a:cubicBezTo>
                  <a:cubicBezTo>
                    <a:pt x="41" y="4"/>
                    <a:pt x="46" y="0"/>
                    <a:pt x="44" y="5"/>
                  </a:cubicBezTo>
                  <a:cubicBezTo>
                    <a:pt x="41" y="10"/>
                    <a:pt x="38" y="15"/>
                    <a:pt x="38" y="15"/>
                  </a:cubicBezTo>
                  <a:cubicBezTo>
                    <a:pt x="38" y="15"/>
                    <a:pt x="30" y="15"/>
                    <a:pt x="30" y="19"/>
                  </a:cubicBezTo>
                  <a:cubicBezTo>
                    <a:pt x="30" y="24"/>
                    <a:pt x="24" y="27"/>
                    <a:pt x="23" y="25"/>
                  </a:cubicBezTo>
                  <a:cubicBezTo>
                    <a:pt x="23" y="22"/>
                    <a:pt x="21" y="20"/>
                    <a:pt x="19" y="23"/>
                  </a:cubicBezTo>
                  <a:cubicBezTo>
                    <a:pt x="17" y="25"/>
                    <a:pt x="17" y="25"/>
                    <a:pt x="13" y="26"/>
                  </a:cubicBezTo>
                  <a:cubicBezTo>
                    <a:pt x="10" y="28"/>
                    <a:pt x="11" y="27"/>
                    <a:pt x="7" y="26"/>
                  </a:cubicBezTo>
                  <a:cubicBezTo>
                    <a:pt x="3" y="25"/>
                    <a:pt x="2" y="27"/>
                    <a:pt x="2" y="25"/>
                  </a:cubicBezTo>
                  <a:cubicBezTo>
                    <a:pt x="2" y="22"/>
                    <a:pt x="0" y="19"/>
                    <a:pt x="2" y="1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05" name="Freeform 691">
              <a:extLst>
                <a:ext uri="{FF2B5EF4-FFF2-40B4-BE49-F238E27FC236}">
                  <a16:creationId xmlns:a16="http://schemas.microsoft.com/office/drawing/2014/main" id="{BB84EC18-010F-FC42-A5F8-D80904D37CF0}"/>
                </a:ext>
              </a:extLst>
            </p:cNvPr>
            <p:cNvSpPr>
              <a:spLocks/>
            </p:cNvSpPr>
            <p:nvPr/>
          </p:nvSpPr>
          <p:spPr bwMode="auto">
            <a:xfrm>
              <a:off x="8193113" y="3129421"/>
              <a:ext cx="33338" cy="25400"/>
            </a:xfrm>
            <a:custGeom>
              <a:avLst/>
              <a:gdLst>
                <a:gd name="T0" fmla="*/ 16 w 36"/>
                <a:gd name="T1" fmla="*/ 3 h 27"/>
                <a:gd name="T2" fmla="*/ 10 w 36"/>
                <a:gd name="T3" fmla="*/ 6 h 27"/>
                <a:gd name="T4" fmla="*/ 5 w 36"/>
                <a:gd name="T5" fmla="*/ 9 h 27"/>
                <a:gd name="T6" fmla="*/ 3 w 36"/>
                <a:gd name="T7" fmla="*/ 13 h 27"/>
                <a:gd name="T8" fmla="*/ 1 w 36"/>
                <a:gd name="T9" fmla="*/ 18 h 27"/>
                <a:gd name="T10" fmla="*/ 3 w 36"/>
                <a:gd name="T11" fmla="*/ 24 h 27"/>
                <a:gd name="T12" fmla="*/ 9 w 36"/>
                <a:gd name="T13" fmla="*/ 25 h 27"/>
                <a:gd name="T14" fmla="*/ 18 w 36"/>
                <a:gd name="T15" fmla="*/ 26 h 27"/>
                <a:gd name="T16" fmla="*/ 26 w 36"/>
                <a:gd name="T17" fmla="*/ 25 h 27"/>
                <a:gd name="T18" fmla="*/ 31 w 36"/>
                <a:gd name="T19" fmla="*/ 23 h 27"/>
                <a:gd name="T20" fmla="*/ 35 w 36"/>
                <a:gd name="T21" fmla="*/ 21 h 27"/>
                <a:gd name="T22" fmla="*/ 34 w 36"/>
                <a:gd name="T23" fmla="*/ 16 h 27"/>
                <a:gd name="T24" fmla="*/ 33 w 36"/>
                <a:gd name="T25" fmla="*/ 9 h 27"/>
                <a:gd name="T26" fmla="*/ 33 w 36"/>
                <a:gd name="T27" fmla="*/ 4 h 27"/>
                <a:gd name="T28" fmla="*/ 29 w 36"/>
                <a:gd name="T29" fmla="*/ 2 h 27"/>
                <a:gd name="T30" fmla="*/ 22 w 36"/>
                <a:gd name="T31" fmla="*/ 2 h 27"/>
                <a:gd name="T32" fmla="*/ 18 w 36"/>
                <a:gd name="T33" fmla="*/ 3 h 27"/>
                <a:gd name="T34" fmla="*/ 16 w 36"/>
                <a:gd name="T35" fmla="*/ 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27">
                  <a:moveTo>
                    <a:pt x="16" y="3"/>
                  </a:moveTo>
                  <a:cubicBezTo>
                    <a:pt x="12" y="5"/>
                    <a:pt x="13" y="5"/>
                    <a:pt x="10" y="6"/>
                  </a:cubicBezTo>
                  <a:cubicBezTo>
                    <a:pt x="6" y="7"/>
                    <a:pt x="6" y="7"/>
                    <a:pt x="5" y="9"/>
                  </a:cubicBezTo>
                  <a:cubicBezTo>
                    <a:pt x="5" y="11"/>
                    <a:pt x="3" y="11"/>
                    <a:pt x="3" y="13"/>
                  </a:cubicBezTo>
                  <a:cubicBezTo>
                    <a:pt x="2" y="15"/>
                    <a:pt x="1" y="15"/>
                    <a:pt x="1" y="18"/>
                  </a:cubicBezTo>
                  <a:cubicBezTo>
                    <a:pt x="1" y="21"/>
                    <a:pt x="0" y="23"/>
                    <a:pt x="3" y="24"/>
                  </a:cubicBezTo>
                  <a:cubicBezTo>
                    <a:pt x="7" y="24"/>
                    <a:pt x="6" y="24"/>
                    <a:pt x="9" y="25"/>
                  </a:cubicBezTo>
                  <a:cubicBezTo>
                    <a:pt x="12" y="26"/>
                    <a:pt x="15" y="27"/>
                    <a:pt x="18" y="26"/>
                  </a:cubicBezTo>
                  <a:cubicBezTo>
                    <a:pt x="20" y="26"/>
                    <a:pt x="23" y="26"/>
                    <a:pt x="26" y="25"/>
                  </a:cubicBezTo>
                  <a:cubicBezTo>
                    <a:pt x="29" y="24"/>
                    <a:pt x="28" y="25"/>
                    <a:pt x="31" y="23"/>
                  </a:cubicBezTo>
                  <a:cubicBezTo>
                    <a:pt x="34" y="22"/>
                    <a:pt x="34" y="22"/>
                    <a:pt x="35" y="21"/>
                  </a:cubicBezTo>
                  <a:cubicBezTo>
                    <a:pt x="35" y="19"/>
                    <a:pt x="34" y="20"/>
                    <a:pt x="34" y="16"/>
                  </a:cubicBezTo>
                  <a:cubicBezTo>
                    <a:pt x="33" y="11"/>
                    <a:pt x="33" y="12"/>
                    <a:pt x="33" y="9"/>
                  </a:cubicBezTo>
                  <a:cubicBezTo>
                    <a:pt x="33" y="6"/>
                    <a:pt x="36" y="6"/>
                    <a:pt x="33" y="4"/>
                  </a:cubicBezTo>
                  <a:cubicBezTo>
                    <a:pt x="29" y="2"/>
                    <a:pt x="31" y="3"/>
                    <a:pt x="29" y="2"/>
                  </a:cubicBezTo>
                  <a:cubicBezTo>
                    <a:pt x="26" y="0"/>
                    <a:pt x="25" y="0"/>
                    <a:pt x="22" y="2"/>
                  </a:cubicBezTo>
                  <a:cubicBezTo>
                    <a:pt x="19" y="3"/>
                    <a:pt x="19" y="4"/>
                    <a:pt x="18" y="3"/>
                  </a:cubicBezTo>
                  <a:cubicBezTo>
                    <a:pt x="17" y="2"/>
                    <a:pt x="17" y="1"/>
                    <a:pt x="16"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06" name="Freeform 692">
              <a:extLst>
                <a:ext uri="{FF2B5EF4-FFF2-40B4-BE49-F238E27FC236}">
                  <a16:creationId xmlns:a16="http://schemas.microsoft.com/office/drawing/2014/main" id="{C556E1F4-3B38-2C4C-AAE1-9A4C9C2DB7FB}"/>
                </a:ext>
              </a:extLst>
            </p:cNvPr>
            <p:cNvSpPr>
              <a:spLocks/>
            </p:cNvSpPr>
            <p:nvPr/>
          </p:nvSpPr>
          <p:spPr bwMode="auto">
            <a:xfrm>
              <a:off x="7869262" y="3200858"/>
              <a:ext cx="58738" cy="66675"/>
            </a:xfrm>
            <a:custGeom>
              <a:avLst/>
              <a:gdLst>
                <a:gd name="T0" fmla="*/ 0 w 62"/>
                <a:gd name="T1" fmla="*/ 6 h 70"/>
                <a:gd name="T2" fmla="*/ 3 w 62"/>
                <a:gd name="T3" fmla="*/ 21 h 70"/>
                <a:gd name="T4" fmla="*/ 13 w 62"/>
                <a:gd name="T5" fmla="*/ 33 h 70"/>
                <a:gd name="T6" fmla="*/ 20 w 62"/>
                <a:gd name="T7" fmla="*/ 43 h 70"/>
                <a:gd name="T8" fmla="*/ 31 w 62"/>
                <a:gd name="T9" fmla="*/ 54 h 70"/>
                <a:gd name="T10" fmla="*/ 40 w 62"/>
                <a:gd name="T11" fmla="*/ 60 h 70"/>
                <a:gd name="T12" fmla="*/ 48 w 62"/>
                <a:gd name="T13" fmla="*/ 66 h 70"/>
                <a:gd name="T14" fmla="*/ 57 w 62"/>
                <a:gd name="T15" fmla="*/ 66 h 70"/>
                <a:gd name="T16" fmla="*/ 57 w 62"/>
                <a:gd name="T17" fmla="*/ 58 h 70"/>
                <a:gd name="T18" fmla="*/ 51 w 62"/>
                <a:gd name="T19" fmla="*/ 52 h 70"/>
                <a:gd name="T20" fmla="*/ 42 w 62"/>
                <a:gd name="T21" fmla="*/ 41 h 70"/>
                <a:gd name="T22" fmla="*/ 32 w 62"/>
                <a:gd name="T23" fmla="*/ 31 h 70"/>
                <a:gd name="T24" fmla="*/ 24 w 62"/>
                <a:gd name="T25" fmla="*/ 23 h 70"/>
                <a:gd name="T26" fmla="*/ 20 w 62"/>
                <a:gd name="T27" fmla="*/ 19 h 70"/>
                <a:gd name="T28" fmla="*/ 12 w 62"/>
                <a:gd name="T29" fmla="*/ 10 h 70"/>
                <a:gd name="T30" fmla="*/ 0 w 62"/>
                <a:gd name="T31" fmla="*/ 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 h="70">
                  <a:moveTo>
                    <a:pt x="0" y="6"/>
                  </a:moveTo>
                  <a:cubicBezTo>
                    <a:pt x="1" y="13"/>
                    <a:pt x="0" y="14"/>
                    <a:pt x="3" y="21"/>
                  </a:cubicBezTo>
                  <a:cubicBezTo>
                    <a:pt x="7" y="27"/>
                    <a:pt x="8" y="27"/>
                    <a:pt x="13" y="33"/>
                  </a:cubicBezTo>
                  <a:cubicBezTo>
                    <a:pt x="17" y="38"/>
                    <a:pt x="16" y="36"/>
                    <a:pt x="20" y="43"/>
                  </a:cubicBezTo>
                  <a:cubicBezTo>
                    <a:pt x="25" y="50"/>
                    <a:pt x="27" y="52"/>
                    <a:pt x="31" y="54"/>
                  </a:cubicBezTo>
                  <a:cubicBezTo>
                    <a:pt x="35" y="56"/>
                    <a:pt x="37" y="56"/>
                    <a:pt x="40" y="60"/>
                  </a:cubicBezTo>
                  <a:cubicBezTo>
                    <a:pt x="42" y="64"/>
                    <a:pt x="44" y="64"/>
                    <a:pt x="48" y="66"/>
                  </a:cubicBezTo>
                  <a:cubicBezTo>
                    <a:pt x="52" y="67"/>
                    <a:pt x="55" y="70"/>
                    <a:pt x="57" y="66"/>
                  </a:cubicBezTo>
                  <a:cubicBezTo>
                    <a:pt x="59" y="61"/>
                    <a:pt x="62" y="63"/>
                    <a:pt x="57" y="58"/>
                  </a:cubicBezTo>
                  <a:cubicBezTo>
                    <a:pt x="52" y="54"/>
                    <a:pt x="56" y="58"/>
                    <a:pt x="51" y="52"/>
                  </a:cubicBezTo>
                  <a:cubicBezTo>
                    <a:pt x="45" y="46"/>
                    <a:pt x="46" y="49"/>
                    <a:pt x="42" y="41"/>
                  </a:cubicBezTo>
                  <a:cubicBezTo>
                    <a:pt x="38" y="34"/>
                    <a:pt x="39" y="37"/>
                    <a:pt x="32" y="31"/>
                  </a:cubicBezTo>
                  <a:cubicBezTo>
                    <a:pt x="25" y="26"/>
                    <a:pt x="25" y="25"/>
                    <a:pt x="24" y="23"/>
                  </a:cubicBezTo>
                  <a:cubicBezTo>
                    <a:pt x="23" y="22"/>
                    <a:pt x="26" y="25"/>
                    <a:pt x="20" y="19"/>
                  </a:cubicBezTo>
                  <a:cubicBezTo>
                    <a:pt x="14" y="13"/>
                    <a:pt x="15" y="14"/>
                    <a:pt x="12" y="10"/>
                  </a:cubicBezTo>
                  <a:cubicBezTo>
                    <a:pt x="9" y="7"/>
                    <a:pt x="0" y="0"/>
                    <a:pt x="0"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07" name="Freeform 693">
              <a:extLst>
                <a:ext uri="{FF2B5EF4-FFF2-40B4-BE49-F238E27FC236}">
                  <a16:creationId xmlns:a16="http://schemas.microsoft.com/office/drawing/2014/main" id="{BEF43164-BECA-4C44-ABA5-4BB852E9CADF}"/>
                </a:ext>
              </a:extLst>
            </p:cNvPr>
            <p:cNvSpPr>
              <a:spLocks/>
            </p:cNvSpPr>
            <p:nvPr/>
          </p:nvSpPr>
          <p:spPr bwMode="auto">
            <a:xfrm>
              <a:off x="7932762" y="3215146"/>
              <a:ext cx="11113" cy="19050"/>
            </a:xfrm>
            <a:custGeom>
              <a:avLst/>
              <a:gdLst>
                <a:gd name="T0" fmla="*/ 2 w 11"/>
                <a:gd name="T1" fmla="*/ 3 h 19"/>
                <a:gd name="T2" fmla="*/ 2 w 11"/>
                <a:gd name="T3" fmla="*/ 12 h 19"/>
                <a:gd name="T4" fmla="*/ 3 w 11"/>
                <a:gd name="T5" fmla="*/ 18 h 19"/>
                <a:gd name="T6" fmla="*/ 9 w 11"/>
                <a:gd name="T7" fmla="*/ 18 h 19"/>
                <a:gd name="T8" fmla="*/ 9 w 11"/>
                <a:gd name="T9" fmla="*/ 11 h 19"/>
                <a:gd name="T10" fmla="*/ 7 w 11"/>
                <a:gd name="T11" fmla="*/ 5 h 19"/>
                <a:gd name="T12" fmla="*/ 2 w 11"/>
                <a:gd name="T13" fmla="*/ 3 h 19"/>
              </a:gdLst>
              <a:ahLst/>
              <a:cxnLst>
                <a:cxn ang="0">
                  <a:pos x="T0" y="T1"/>
                </a:cxn>
                <a:cxn ang="0">
                  <a:pos x="T2" y="T3"/>
                </a:cxn>
                <a:cxn ang="0">
                  <a:pos x="T4" y="T5"/>
                </a:cxn>
                <a:cxn ang="0">
                  <a:pos x="T6" y="T7"/>
                </a:cxn>
                <a:cxn ang="0">
                  <a:pos x="T8" y="T9"/>
                </a:cxn>
                <a:cxn ang="0">
                  <a:pos x="T10" y="T11"/>
                </a:cxn>
                <a:cxn ang="0">
                  <a:pos x="T12" y="T13"/>
                </a:cxn>
              </a:cxnLst>
              <a:rect l="0" t="0" r="r" b="b"/>
              <a:pathLst>
                <a:path w="11" h="19">
                  <a:moveTo>
                    <a:pt x="2" y="3"/>
                  </a:moveTo>
                  <a:cubicBezTo>
                    <a:pt x="3" y="9"/>
                    <a:pt x="4" y="9"/>
                    <a:pt x="2" y="12"/>
                  </a:cubicBezTo>
                  <a:cubicBezTo>
                    <a:pt x="0" y="15"/>
                    <a:pt x="1" y="17"/>
                    <a:pt x="3" y="18"/>
                  </a:cubicBezTo>
                  <a:cubicBezTo>
                    <a:pt x="5" y="19"/>
                    <a:pt x="8" y="19"/>
                    <a:pt x="9" y="18"/>
                  </a:cubicBezTo>
                  <a:cubicBezTo>
                    <a:pt x="11" y="17"/>
                    <a:pt x="8" y="14"/>
                    <a:pt x="9" y="11"/>
                  </a:cubicBezTo>
                  <a:cubicBezTo>
                    <a:pt x="10" y="8"/>
                    <a:pt x="8" y="6"/>
                    <a:pt x="7" y="5"/>
                  </a:cubicBezTo>
                  <a:cubicBezTo>
                    <a:pt x="6" y="3"/>
                    <a:pt x="2" y="0"/>
                    <a:pt x="2"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08" name="Freeform 694">
              <a:extLst>
                <a:ext uri="{FF2B5EF4-FFF2-40B4-BE49-F238E27FC236}">
                  <a16:creationId xmlns:a16="http://schemas.microsoft.com/office/drawing/2014/main" id="{FC3A7187-7CE0-8749-AD48-51A203CACACE}"/>
                </a:ext>
              </a:extLst>
            </p:cNvPr>
            <p:cNvSpPr>
              <a:spLocks/>
            </p:cNvSpPr>
            <p:nvPr/>
          </p:nvSpPr>
          <p:spPr bwMode="auto">
            <a:xfrm>
              <a:off x="7948638" y="3234196"/>
              <a:ext cx="11113" cy="11113"/>
            </a:xfrm>
            <a:custGeom>
              <a:avLst/>
              <a:gdLst>
                <a:gd name="T0" fmla="*/ 0 w 11"/>
                <a:gd name="T1" fmla="*/ 6 h 12"/>
                <a:gd name="T2" fmla="*/ 2 w 11"/>
                <a:gd name="T3" fmla="*/ 10 h 12"/>
                <a:gd name="T4" fmla="*/ 4 w 11"/>
                <a:gd name="T5" fmla="*/ 12 h 12"/>
                <a:gd name="T6" fmla="*/ 8 w 11"/>
                <a:gd name="T7" fmla="*/ 9 h 12"/>
                <a:gd name="T8" fmla="*/ 7 w 11"/>
                <a:gd name="T9" fmla="*/ 3 h 12"/>
                <a:gd name="T10" fmla="*/ 3 w 11"/>
                <a:gd name="T11" fmla="*/ 2 h 12"/>
                <a:gd name="T12" fmla="*/ 0 w 11"/>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11" h="12">
                  <a:moveTo>
                    <a:pt x="0" y="6"/>
                  </a:moveTo>
                  <a:cubicBezTo>
                    <a:pt x="1" y="8"/>
                    <a:pt x="0" y="7"/>
                    <a:pt x="2" y="10"/>
                  </a:cubicBezTo>
                  <a:cubicBezTo>
                    <a:pt x="4" y="12"/>
                    <a:pt x="0" y="11"/>
                    <a:pt x="4" y="12"/>
                  </a:cubicBezTo>
                  <a:cubicBezTo>
                    <a:pt x="7" y="12"/>
                    <a:pt x="8" y="11"/>
                    <a:pt x="8" y="9"/>
                  </a:cubicBezTo>
                  <a:cubicBezTo>
                    <a:pt x="8" y="7"/>
                    <a:pt x="11" y="5"/>
                    <a:pt x="7" y="3"/>
                  </a:cubicBezTo>
                  <a:cubicBezTo>
                    <a:pt x="3" y="2"/>
                    <a:pt x="3" y="2"/>
                    <a:pt x="3" y="2"/>
                  </a:cubicBezTo>
                  <a:cubicBezTo>
                    <a:pt x="3" y="2"/>
                    <a:pt x="0" y="0"/>
                    <a:pt x="0"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09" name="Freeform 695">
              <a:extLst>
                <a:ext uri="{FF2B5EF4-FFF2-40B4-BE49-F238E27FC236}">
                  <a16:creationId xmlns:a16="http://schemas.microsoft.com/office/drawing/2014/main" id="{1E5FE1D2-E9A1-FA4A-86F1-29784DA34919}"/>
                </a:ext>
              </a:extLst>
            </p:cNvPr>
            <p:cNvSpPr>
              <a:spLocks/>
            </p:cNvSpPr>
            <p:nvPr/>
          </p:nvSpPr>
          <p:spPr bwMode="auto">
            <a:xfrm>
              <a:off x="7988325" y="3164346"/>
              <a:ext cx="14288" cy="12700"/>
            </a:xfrm>
            <a:custGeom>
              <a:avLst/>
              <a:gdLst>
                <a:gd name="T0" fmla="*/ 5 w 14"/>
                <a:gd name="T1" fmla="*/ 3 h 13"/>
                <a:gd name="T2" fmla="*/ 3 w 14"/>
                <a:gd name="T3" fmla="*/ 8 h 13"/>
                <a:gd name="T4" fmla="*/ 9 w 14"/>
                <a:gd name="T5" fmla="*/ 11 h 13"/>
                <a:gd name="T6" fmla="*/ 13 w 14"/>
                <a:gd name="T7" fmla="*/ 9 h 13"/>
                <a:gd name="T8" fmla="*/ 11 w 14"/>
                <a:gd name="T9" fmla="*/ 2 h 13"/>
                <a:gd name="T10" fmla="*/ 7 w 14"/>
                <a:gd name="T11" fmla="*/ 0 h 13"/>
                <a:gd name="T12" fmla="*/ 5 w 14"/>
                <a:gd name="T13" fmla="*/ 3 h 13"/>
              </a:gdLst>
              <a:ahLst/>
              <a:cxnLst>
                <a:cxn ang="0">
                  <a:pos x="T0" y="T1"/>
                </a:cxn>
                <a:cxn ang="0">
                  <a:pos x="T2" y="T3"/>
                </a:cxn>
                <a:cxn ang="0">
                  <a:pos x="T4" y="T5"/>
                </a:cxn>
                <a:cxn ang="0">
                  <a:pos x="T6" y="T7"/>
                </a:cxn>
                <a:cxn ang="0">
                  <a:pos x="T8" y="T9"/>
                </a:cxn>
                <a:cxn ang="0">
                  <a:pos x="T10" y="T11"/>
                </a:cxn>
                <a:cxn ang="0">
                  <a:pos x="T12" y="T13"/>
                </a:cxn>
              </a:cxnLst>
              <a:rect l="0" t="0" r="r" b="b"/>
              <a:pathLst>
                <a:path w="14" h="13">
                  <a:moveTo>
                    <a:pt x="5" y="3"/>
                  </a:moveTo>
                  <a:cubicBezTo>
                    <a:pt x="3" y="6"/>
                    <a:pt x="0" y="6"/>
                    <a:pt x="3" y="8"/>
                  </a:cubicBezTo>
                  <a:cubicBezTo>
                    <a:pt x="6" y="10"/>
                    <a:pt x="5" y="11"/>
                    <a:pt x="9" y="11"/>
                  </a:cubicBezTo>
                  <a:cubicBezTo>
                    <a:pt x="13" y="12"/>
                    <a:pt x="14" y="13"/>
                    <a:pt x="13" y="9"/>
                  </a:cubicBezTo>
                  <a:cubicBezTo>
                    <a:pt x="12" y="5"/>
                    <a:pt x="12" y="3"/>
                    <a:pt x="11" y="2"/>
                  </a:cubicBezTo>
                  <a:cubicBezTo>
                    <a:pt x="11" y="1"/>
                    <a:pt x="9" y="0"/>
                    <a:pt x="7" y="0"/>
                  </a:cubicBezTo>
                  <a:cubicBezTo>
                    <a:pt x="6" y="0"/>
                    <a:pt x="4" y="1"/>
                    <a:pt x="5"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10" name="Freeform 696">
              <a:extLst>
                <a:ext uri="{FF2B5EF4-FFF2-40B4-BE49-F238E27FC236}">
                  <a16:creationId xmlns:a16="http://schemas.microsoft.com/office/drawing/2014/main" id="{7EEB5465-C5F9-3241-89EB-5D56A4A08437}"/>
                </a:ext>
              </a:extLst>
            </p:cNvPr>
            <p:cNvSpPr>
              <a:spLocks/>
            </p:cNvSpPr>
            <p:nvPr/>
          </p:nvSpPr>
          <p:spPr bwMode="auto">
            <a:xfrm>
              <a:off x="7993088" y="3183396"/>
              <a:ext cx="6350" cy="11113"/>
            </a:xfrm>
            <a:custGeom>
              <a:avLst/>
              <a:gdLst>
                <a:gd name="T0" fmla="*/ 5 w 6"/>
                <a:gd name="T1" fmla="*/ 2 h 12"/>
                <a:gd name="T2" fmla="*/ 6 w 6"/>
                <a:gd name="T3" fmla="*/ 8 h 12"/>
                <a:gd name="T4" fmla="*/ 3 w 6"/>
                <a:gd name="T5" fmla="*/ 10 h 12"/>
                <a:gd name="T6" fmla="*/ 1 w 6"/>
                <a:gd name="T7" fmla="*/ 5 h 12"/>
                <a:gd name="T8" fmla="*/ 1 w 6"/>
                <a:gd name="T9" fmla="*/ 0 h 12"/>
                <a:gd name="T10" fmla="*/ 5 w 6"/>
                <a:gd name="T11" fmla="*/ 2 h 12"/>
              </a:gdLst>
              <a:ahLst/>
              <a:cxnLst>
                <a:cxn ang="0">
                  <a:pos x="T0" y="T1"/>
                </a:cxn>
                <a:cxn ang="0">
                  <a:pos x="T2" y="T3"/>
                </a:cxn>
                <a:cxn ang="0">
                  <a:pos x="T4" y="T5"/>
                </a:cxn>
                <a:cxn ang="0">
                  <a:pos x="T6" y="T7"/>
                </a:cxn>
                <a:cxn ang="0">
                  <a:pos x="T8" y="T9"/>
                </a:cxn>
                <a:cxn ang="0">
                  <a:pos x="T10" y="T11"/>
                </a:cxn>
              </a:cxnLst>
              <a:rect l="0" t="0" r="r" b="b"/>
              <a:pathLst>
                <a:path w="6" h="12">
                  <a:moveTo>
                    <a:pt x="5" y="2"/>
                  </a:moveTo>
                  <a:cubicBezTo>
                    <a:pt x="6" y="4"/>
                    <a:pt x="6" y="5"/>
                    <a:pt x="6" y="8"/>
                  </a:cubicBezTo>
                  <a:cubicBezTo>
                    <a:pt x="6" y="10"/>
                    <a:pt x="5" y="12"/>
                    <a:pt x="3" y="10"/>
                  </a:cubicBezTo>
                  <a:cubicBezTo>
                    <a:pt x="1" y="7"/>
                    <a:pt x="1" y="7"/>
                    <a:pt x="1" y="5"/>
                  </a:cubicBezTo>
                  <a:cubicBezTo>
                    <a:pt x="0" y="3"/>
                    <a:pt x="0" y="1"/>
                    <a:pt x="1" y="0"/>
                  </a:cubicBezTo>
                  <a:cubicBezTo>
                    <a:pt x="2" y="0"/>
                    <a:pt x="5" y="0"/>
                    <a:pt x="5"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11" name="Freeform 697">
              <a:extLst>
                <a:ext uri="{FF2B5EF4-FFF2-40B4-BE49-F238E27FC236}">
                  <a16:creationId xmlns:a16="http://schemas.microsoft.com/office/drawing/2014/main" id="{2A0B8A3F-1D76-9945-AE85-150E84CF0CCA}"/>
                </a:ext>
              </a:extLst>
            </p:cNvPr>
            <p:cNvSpPr>
              <a:spLocks/>
            </p:cNvSpPr>
            <p:nvPr/>
          </p:nvSpPr>
          <p:spPr bwMode="auto">
            <a:xfrm>
              <a:off x="7951813" y="3053221"/>
              <a:ext cx="31750" cy="61913"/>
            </a:xfrm>
            <a:custGeom>
              <a:avLst/>
              <a:gdLst>
                <a:gd name="T0" fmla="*/ 6 w 32"/>
                <a:gd name="T1" fmla="*/ 20 h 66"/>
                <a:gd name="T2" fmla="*/ 10 w 32"/>
                <a:gd name="T3" fmla="*/ 5 h 66"/>
                <a:gd name="T4" fmla="*/ 15 w 32"/>
                <a:gd name="T5" fmla="*/ 20 h 66"/>
                <a:gd name="T6" fmla="*/ 20 w 32"/>
                <a:gd name="T7" fmla="*/ 25 h 66"/>
                <a:gd name="T8" fmla="*/ 16 w 32"/>
                <a:gd name="T9" fmla="*/ 33 h 66"/>
                <a:gd name="T10" fmla="*/ 20 w 32"/>
                <a:gd name="T11" fmla="*/ 42 h 66"/>
                <a:gd name="T12" fmla="*/ 31 w 32"/>
                <a:gd name="T13" fmla="*/ 52 h 66"/>
                <a:gd name="T14" fmla="*/ 23 w 32"/>
                <a:gd name="T15" fmla="*/ 60 h 66"/>
                <a:gd name="T16" fmla="*/ 18 w 32"/>
                <a:gd name="T17" fmla="*/ 51 h 66"/>
                <a:gd name="T18" fmla="*/ 5 w 32"/>
                <a:gd name="T19" fmla="*/ 36 h 66"/>
                <a:gd name="T20" fmla="*/ 5 w 32"/>
                <a:gd name="T21" fmla="*/ 25 h 66"/>
                <a:gd name="T22" fmla="*/ 6 w 32"/>
                <a:gd name="T23" fmla="*/ 2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66">
                  <a:moveTo>
                    <a:pt x="6" y="20"/>
                  </a:moveTo>
                  <a:cubicBezTo>
                    <a:pt x="5" y="9"/>
                    <a:pt x="5" y="0"/>
                    <a:pt x="10" y="5"/>
                  </a:cubicBezTo>
                  <a:cubicBezTo>
                    <a:pt x="14" y="10"/>
                    <a:pt x="12" y="20"/>
                    <a:pt x="15" y="20"/>
                  </a:cubicBezTo>
                  <a:cubicBezTo>
                    <a:pt x="18" y="19"/>
                    <a:pt x="20" y="22"/>
                    <a:pt x="20" y="25"/>
                  </a:cubicBezTo>
                  <a:cubicBezTo>
                    <a:pt x="20" y="28"/>
                    <a:pt x="15" y="29"/>
                    <a:pt x="16" y="33"/>
                  </a:cubicBezTo>
                  <a:cubicBezTo>
                    <a:pt x="16" y="37"/>
                    <a:pt x="15" y="38"/>
                    <a:pt x="20" y="42"/>
                  </a:cubicBezTo>
                  <a:cubicBezTo>
                    <a:pt x="26" y="47"/>
                    <a:pt x="30" y="46"/>
                    <a:pt x="31" y="52"/>
                  </a:cubicBezTo>
                  <a:cubicBezTo>
                    <a:pt x="32" y="59"/>
                    <a:pt x="29" y="66"/>
                    <a:pt x="23" y="60"/>
                  </a:cubicBezTo>
                  <a:cubicBezTo>
                    <a:pt x="17" y="53"/>
                    <a:pt x="22" y="57"/>
                    <a:pt x="18" y="51"/>
                  </a:cubicBezTo>
                  <a:cubicBezTo>
                    <a:pt x="14" y="45"/>
                    <a:pt x="11" y="42"/>
                    <a:pt x="5" y="36"/>
                  </a:cubicBezTo>
                  <a:cubicBezTo>
                    <a:pt x="0" y="29"/>
                    <a:pt x="5" y="31"/>
                    <a:pt x="5" y="25"/>
                  </a:cubicBezTo>
                  <a:cubicBezTo>
                    <a:pt x="6" y="20"/>
                    <a:pt x="0" y="18"/>
                    <a:pt x="6" y="20"/>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12" name="Freeform 698">
              <a:extLst>
                <a:ext uri="{FF2B5EF4-FFF2-40B4-BE49-F238E27FC236}">
                  <a16:creationId xmlns:a16="http://schemas.microsoft.com/office/drawing/2014/main" id="{D038148B-D94E-B343-B05F-3115158BF444}"/>
                </a:ext>
              </a:extLst>
            </p:cNvPr>
            <p:cNvSpPr>
              <a:spLocks/>
            </p:cNvSpPr>
            <p:nvPr/>
          </p:nvSpPr>
          <p:spPr bwMode="auto">
            <a:xfrm>
              <a:off x="7848625" y="2938920"/>
              <a:ext cx="31750" cy="19050"/>
            </a:xfrm>
            <a:custGeom>
              <a:avLst/>
              <a:gdLst>
                <a:gd name="T0" fmla="*/ 28 w 34"/>
                <a:gd name="T1" fmla="*/ 19 h 21"/>
                <a:gd name="T2" fmla="*/ 26 w 34"/>
                <a:gd name="T3" fmla="*/ 11 h 21"/>
                <a:gd name="T4" fmla="*/ 12 w 34"/>
                <a:gd name="T5" fmla="*/ 4 h 21"/>
                <a:gd name="T6" fmla="*/ 2 w 34"/>
                <a:gd name="T7" fmla="*/ 3 h 21"/>
                <a:gd name="T8" fmla="*/ 8 w 34"/>
                <a:gd name="T9" fmla="*/ 11 h 21"/>
                <a:gd name="T10" fmla="*/ 13 w 34"/>
                <a:gd name="T11" fmla="*/ 15 h 21"/>
                <a:gd name="T12" fmla="*/ 22 w 34"/>
                <a:gd name="T13" fmla="*/ 18 h 21"/>
                <a:gd name="T14" fmla="*/ 28 w 34"/>
                <a:gd name="T15" fmla="*/ 19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21">
                  <a:moveTo>
                    <a:pt x="28" y="19"/>
                  </a:moveTo>
                  <a:cubicBezTo>
                    <a:pt x="26" y="11"/>
                    <a:pt x="34" y="14"/>
                    <a:pt x="26" y="11"/>
                  </a:cubicBezTo>
                  <a:cubicBezTo>
                    <a:pt x="18" y="9"/>
                    <a:pt x="19" y="6"/>
                    <a:pt x="12" y="4"/>
                  </a:cubicBezTo>
                  <a:cubicBezTo>
                    <a:pt x="6" y="3"/>
                    <a:pt x="0" y="0"/>
                    <a:pt x="2" y="3"/>
                  </a:cubicBezTo>
                  <a:cubicBezTo>
                    <a:pt x="4" y="5"/>
                    <a:pt x="5" y="8"/>
                    <a:pt x="8" y="11"/>
                  </a:cubicBezTo>
                  <a:cubicBezTo>
                    <a:pt x="10" y="13"/>
                    <a:pt x="8" y="13"/>
                    <a:pt x="13" y="15"/>
                  </a:cubicBezTo>
                  <a:cubicBezTo>
                    <a:pt x="19" y="18"/>
                    <a:pt x="21" y="18"/>
                    <a:pt x="22" y="18"/>
                  </a:cubicBezTo>
                  <a:cubicBezTo>
                    <a:pt x="24" y="18"/>
                    <a:pt x="23" y="21"/>
                    <a:pt x="28" y="1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13" name="Freeform 699">
              <a:extLst>
                <a:ext uri="{FF2B5EF4-FFF2-40B4-BE49-F238E27FC236}">
                  <a16:creationId xmlns:a16="http://schemas.microsoft.com/office/drawing/2014/main" id="{F8788FE1-C800-9146-A52B-766769762DBE}"/>
                </a:ext>
              </a:extLst>
            </p:cNvPr>
            <p:cNvSpPr>
              <a:spLocks/>
            </p:cNvSpPr>
            <p:nvPr/>
          </p:nvSpPr>
          <p:spPr bwMode="auto">
            <a:xfrm>
              <a:off x="7840687" y="2884945"/>
              <a:ext cx="20638" cy="46038"/>
            </a:xfrm>
            <a:custGeom>
              <a:avLst/>
              <a:gdLst>
                <a:gd name="T0" fmla="*/ 2 w 23"/>
                <a:gd name="T1" fmla="*/ 6 h 48"/>
                <a:gd name="T2" fmla="*/ 2 w 23"/>
                <a:gd name="T3" fmla="*/ 16 h 48"/>
                <a:gd name="T4" fmla="*/ 2 w 23"/>
                <a:gd name="T5" fmla="*/ 23 h 48"/>
                <a:gd name="T6" fmla="*/ 4 w 23"/>
                <a:gd name="T7" fmla="*/ 28 h 48"/>
                <a:gd name="T8" fmla="*/ 13 w 23"/>
                <a:gd name="T9" fmla="*/ 35 h 48"/>
                <a:gd name="T10" fmla="*/ 19 w 23"/>
                <a:gd name="T11" fmla="*/ 43 h 48"/>
                <a:gd name="T12" fmla="*/ 22 w 23"/>
                <a:gd name="T13" fmla="*/ 43 h 48"/>
                <a:gd name="T14" fmla="*/ 20 w 23"/>
                <a:gd name="T15" fmla="*/ 35 h 48"/>
                <a:gd name="T16" fmla="*/ 17 w 23"/>
                <a:gd name="T17" fmla="*/ 27 h 48"/>
                <a:gd name="T18" fmla="*/ 12 w 23"/>
                <a:gd name="T19" fmla="*/ 19 h 48"/>
                <a:gd name="T20" fmla="*/ 10 w 23"/>
                <a:gd name="T21" fmla="*/ 10 h 48"/>
                <a:gd name="T22" fmla="*/ 4 w 23"/>
                <a:gd name="T23" fmla="*/ 5 h 48"/>
                <a:gd name="T24" fmla="*/ 2 w 23"/>
                <a:gd name="T25"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48">
                  <a:moveTo>
                    <a:pt x="2" y="6"/>
                  </a:moveTo>
                  <a:cubicBezTo>
                    <a:pt x="2" y="12"/>
                    <a:pt x="1" y="12"/>
                    <a:pt x="2" y="16"/>
                  </a:cubicBezTo>
                  <a:cubicBezTo>
                    <a:pt x="3" y="20"/>
                    <a:pt x="1" y="20"/>
                    <a:pt x="2" y="23"/>
                  </a:cubicBezTo>
                  <a:cubicBezTo>
                    <a:pt x="3" y="26"/>
                    <a:pt x="0" y="23"/>
                    <a:pt x="4" y="28"/>
                  </a:cubicBezTo>
                  <a:cubicBezTo>
                    <a:pt x="9" y="33"/>
                    <a:pt x="12" y="33"/>
                    <a:pt x="13" y="35"/>
                  </a:cubicBezTo>
                  <a:cubicBezTo>
                    <a:pt x="15" y="38"/>
                    <a:pt x="17" y="41"/>
                    <a:pt x="19" y="43"/>
                  </a:cubicBezTo>
                  <a:cubicBezTo>
                    <a:pt x="21" y="45"/>
                    <a:pt x="23" y="48"/>
                    <a:pt x="22" y="43"/>
                  </a:cubicBezTo>
                  <a:cubicBezTo>
                    <a:pt x="22" y="39"/>
                    <a:pt x="22" y="38"/>
                    <a:pt x="20" y="35"/>
                  </a:cubicBezTo>
                  <a:cubicBezTo>
                    <a:pt x="18" y="31"/>
                    <a:pt x="19" y="33"/>
                    <a:pt x="17" y="27"/>
                  </a:cubicBezTo>
                  <a:cubicBezTo>
                    <a:pt x="14" y="22"/>
                    <a:pt x="13" y="24"/>
                    <a:pt x="12" y="19"/>
                  </a:cubicBezTo>
                  <a:cubicBezTo>
                    <a:pt x="11" y="13"/>
                    <a:pt x="10" y="13"/>
                    <a:pt x="10" y="10"/>
                  </a:cubicBezTo>
                  <a:cubicBezTo>
                    <a:pt x="11" y="7"/>
                    <a:pt x="6" y="5"/>
                    <a:pt x="4" y="5"/>
                  </a:cubicBezTo>
                  <a:cubicBezTo>
                    <a:pt x="2" y="4"/>
                    <a:pt x="1" y="0"/>
                    <a:pt x="2"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14" name="Freeform 700">
              <a:extLst>
                <a:ext uri="{FF2B5EF4-FFF2-40B4-BE49-F238E27FC236}">
                  <a16:creationId xmlns:a16="http://schemas.microsoft.com/office/drawing/2014/main" id="{80CB4D12-96ED-9C41-BD63-AD9FD7861ECB}"/>
                </a:ext>
              </a:extLst>
            </p:cNvPr>
            <p:cNvSpPr>
              <a:spLocks/>
            </p:cNvSpPr>
            <p:nvPr/>
          </p:nvSpPr>
          <p:spPr bwMode="auto">
            <a:xfrm>
              <a:off x="7808937" y="2910345"/>
              <a:ext cx="33338" cy="22225"/>
            </a:xfrm>
            <a:custGeom>
              <a:avLst/>
              <a:gdLst>
                <a:gd name="T0" fmla="*/ 9 w 35"/>
                <a:gd name="T1" fmla="*/ 4 h 23"/>
                <a:gd name="T2" fmla="*/ 16 w 35"/>
                <a:gd name="T3" fmla="*/ 8 h 23"/>
                <a:gd name="T4" fmla="*/ 27 w 35"/>
                <a:gd name="T5" fmla="*/ 11 h 23"/>
                <a:gd name="T6" fmla="*/ 33 w 35"/>
                <a:gd name="T7" fmla="*/ 14 h 23"/>
                <a:gd name="T8" fmla="*/ 34 w 35"/>
                <a:gd name="T9" fmla="*/ 20 h 23"/>
                <a:gd name="T10" fmla="*/ 31 w 35"/>
                <a:gd name="T11" fmla="*/ 22 h 23"/>
                <a:gd name="T12" fmla="*/ 27 w 35"/>
                <a:gd name="T13" fmla="*/ 22 h 23"/>
                <a:gd name="T14" fmla="*/ 19 w 35"/>
                <a:gd name="T15" fmla="*/ 21 h 23"/>
                <a:gd name="T16" fmla="*/ 11 w 35"/>
                <a:gd name="T17" fmla="*/ 21 h 23"/>
                <a:gd name="T18" fmla="*/ 6 w 35"/>
                <a:gd name="T19" fmla="*/ 19 h 23"/>
                <a:gd name="T20" fmla="*/ 4 w 35"/>
                <a:gd name="T21" fmla="*/ 12 h 23"/>
                <a:gd name="T22" fmla="*/ 6 w 35"/>
                <a:gd name="T23" fmla="*/ 4 h 23"/>
                <a:gd name="T24" fmla="*/ 9 w 35"/>
                <a:gd name="T25"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23">
                  <a:moveTo>
                    <a:pt x="9" y="4"/>
                  </a:moveTo>
                  <a:cubicBezTo>
                    <a:pt x="13" y="7"/>
                    <a:pt x="9" y="7"/>
                    <a:pt x="16" y="8"/>
                  </a:cubicBezTo>
                  <a:cubicBezTo>
                    <a:pt x="23" y="10"/>
                    <a:pt x="25" y="10"/>
                    <a:pt x="27" y="11"/>
                  </a:cubicBezTo>
                  <a:cubicBezTo>
                    <a:pt x="29" y="11"/>
                    <a:pt x="33" y="12"/>
                    <a:pt x="33" y="14"/>
                  </a:cubicBezTo>
                  <a:cubicBezTo>
                    <a:pt x="33" y="17"/>
                    <a:pt x="35" y="18"/>
                    <a:pt x="34" y="20"/>
                  </a:cubicBezTo>
                  <a:cubicBezTo>
                    <a:pt x="33" y="21"/>
                    <a:pt x="34" y="22"/>
                    <a:pt x="31" y="22"/>
                  </a:cubicBezTo>
                  <a:cubicBezTo>
                    <a:pt x="29" y="22"/>
                    <a:pt x="30" y="23"/>
                    <a:pt x="27" y="22"/>
                  </a:cubicBezTo>
                  <a:cubicBezTo>
                    <a:pt x="23" y="21"/>
                    <a:pt x="21" y="21"/>
                    <a:pt x="19" y="21"/>
                  </a:cubicBezTo>
                  <a:cubicBezTo>
                    <a:pt x="17" y="21"/>
                    <a:pt x="13" y="21"/>
                    <a:pt x="11" y="21"/>
                  </a:cubicBezTo>
                  <a:cubicBezTo>
                    <a:pt x="10" y="21"/>
                    <a:pt x="6" y="23"/>
                    <a:pt x="6" y="19"/>
                  </a:cubicBezTo>
                  <a:cubicBezTo>
                    <a:pt x="6" y="14"/>
                    <a:pt x="9" y="16"/>
                    <a:pt x="4" y="12"/>
                  </a:cubicBezTo>
                  <a:cubicBezTo>
                    <a:pt x="0" y="8"/>
                    <a:pt x="6" y="4"/>
                    <a:pt x="6" y="4"/>
                  </a:cubicBezTo>
                  <a:cubicBezTo>
                    <a:pt x="6" y="4"/>
                    <a:pt x="7" y="0"/>
                    <a:pt x="9"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15" name="Freeform 701">
              <a:extLst>
                <a:ext uri="{FF2B5EF4-FFF2-40B4-BE49-F238E27FC236}">
                  <a16:creationId xmlns:a16="http://schemas.microsoft.com/office/drawing/2014/main" id="{685A964D-6954-5A42-AE00-0DCD303EE87E}"/>
                </a:ext>
              </a:extLst>
            </p:cNvPr>
            <p:cNvSpPr>
              <a:spLocks/>
            </p:cNvSpPr>
            <p:nvPr/>
          </p:nvSpPr>
          <p:spPr bwMode="auto">
            <a:xfrm>
              <a:off x="7789887" y="2869070"/>
              <a:ext cx="33338" cy="26988"/>
            </a:xfrm>
            <a:custGeom>
              <a:avLst/>
              <a:gdLst>
                <a:gd name="T0" fmla="*/ 5 w 36"/>
                <a:gd name="T1" fmla="*/ 1 h 28"/>
                <a:gd name="T2" fmla="*/ 14 w 36"/>
                <a:gd name="T3" fmla="*/ 6 h 28"/>
                <a:gd name="T4" fmla="*/ 23 w 36"/>
                <a:gd name="T5" fmla="*/ 11 h 28"/>
                <a:gd name="T6" fmla="*/ 30 w 36"/>
                <a:gd name="T7" fmla="*/ 15 h 28"/>
                <a:gd name="T8" fmla="*/ 35 w 36"/>
                <a:gd name="T9" fmla="*/ 21 h 28"/>
                <a:gd name="T10" fmla="*/ 35 w 36"/>
                <a:gd name="T11" fmla="*/ 27 h 28"/>
                <a:gd name="T12" fmla="*/ 29 w 36"/>
                <a:gd name="T13" fmla="*/ 26 h 28"/>
                <a:gd name="T14" fmla="*/ 24 w 36"/>
                <a:gd name="T15" fmla="*/ 24 h 28"/>
                <a:gd name="T16" fmla="*/ 18 w 36"/>
                <a:gd name="T17" fmla="*/ 20 h 28"/>
                <a:gd name="T18" fmla="*/ 15 w 36"/>
                <a:gd name="T19" fmla="*/ 16 h 28"/>
                <a:gd name="T20" fmla="*/ 10 w 36"/>
                <a:gd name="T21" fmla="*/ 10 h 28"/>
                <a:gd name="T22" fmla="*/ 5 w 36"/>
                <a:gd name="T23" fmla="*/ 7 h 28"/>
                <a:gd name="T24" fmla="*/ 5 w 36"/>
                <a:gd name="T25"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28">
                  <a:moveTo>
                    <a:pt x="5" y="1"/>
                  </a:moveTo>
                  <a:cubicBezTo>
                    <a:pt x="11" y="3"/>
                    <a:pt x="12" y="4"/>
                    <a:pt x="14" y="6"/>
                  </a:cubicBezTo>
                  <a:cubicBezTo>
                    <a:pt x="17" y="8"/>
                    <a:pt x="19" y="9"/>
                    <a:pt x="23" y="11"/>
                  </a:cubicBezTo>
                  <a:cubicBezTo>
                    <a:pt x="26" y="14"/>
                    <a:pt x="28" y="14"/>
                    <a:pt x="30" y="15"/>
                  </a:cubicBezTo>
                  <a:cubicBezTo>
                    <a:pt x="31" y="16"/>
                    <a:pt x="34" y="18"/>
                    <a:pt x="35" y="21"/>
                  </a:cubicBezTo>
                  <a:cubicBezTo>
                    <a:pt x="35" y="24"/>
                    <a:pt x="36" y="27"/>
                    <a:pt x="35" y="27"/>
                  </a:cubicBezTo>
                  <a:cubicBezTo>
                    <a:pt x="33" y="28"/>
                    <a:pt x="31" y="27"/>
                    <a:pt x="29" y="26"/>
                  </a:cubicBezTo>
                  <a:cubicBezTo>
                    <a:pt x="27" y="24"/>
                    <a:pt x="25" y="25"/>
                    <a:pt x="24" y="24"/>
                  </a:cubicBezTo>
                  <a:cubicBezTo>
                    <a:pt x="23" y="24"/>
                    <a:pt x="20" y="21"/>
                    <a:pt x="18" y="20"/>
                  </a:cubicBezTo>
                  <a:cubicBezTo>
                    <a:pt x="17" y="18"/>
                    <a:pt x="18" y="19"/>
                    <a:pt x="15" y="16"/>
                  </a:cubicBezTo>
                  <a:cubicBezTo>
                    <a:pt x="12" y="13"/>
                    <a:pt x="13" y="12"/>
                    <a:pt x="10" y="10"/>
                  </a:cubicBezTo>
                  <a:cubicBezTo>
                    <a:pt x="7" y="8"/>
                    <a:pt x="7" y="8"/>
                    <a:pt x="5" y="7"/>
                  </a:cubicBezTo>
                  <a:cubicBezTo>
                    <a:pt x="2" y="5"/>
                    <a:pt x="0" y="0"/>
                    <a:pt x="5" y="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16" name="Freeform 702">
              <a:extLst>
                <a:ext uri="{FF2B5EF4-FFF2-40B4-BE49-F238E27FC236}">
                  <a16:creationId xmlns:a16="http://schemas.microsoft.com/office/drawing/2014/main" id="{6B6BB9C7-3B1C-B04D-BEE7-E94076D75A5A}"/>
                </a:ext>
              </a:extLst>
            </p:cNvPr>
            <p:cNvSpPr>
              <a:spLocks/>
            </p:cNvSpPr>
            <p:nvPr/>
          </p:nvSpPr>
          <p:spPr bwMode="auto">
            <a:xfrm>
              <a:off x="7754962" y="2873833"/>
              <a:ext cx="28575" cy="30163"/>
            </a:xfrm>
            <a:custGeom>
              <a:avLst/>
              <a:gdLst>
                <a:gd name="T0" fmla="*/ 10 w 30"/>
                <a:gd name="T1" fmla="*/ 9 h 32"/>
                <a:gd name="T2" fmla="*/ 16 w 30"/>
                <a:gd name="T3" fmla="*/ 8 h 32"/>
                <a:gd name="T4" fmla="*/ 19 w 30"/>
                <a:gd name="T5" fmla="*/ 15 h 32"/>
                <a:gd name="T6" fmla="*/ 23 w 30"/>
                <a:gd name="T7" fmla="*/ 19 h 32"/>
                <a:gd name="T8" fmla="*/ 28 w 30"/>
                <a:gd name="T9" fmla="*/ 26 h 32"/>
                <a:gd name="T10" fmla="*/ 27 w 30"/>
                <a:gd name="T11" fmla="*/ 31 h 32"/>
                <a:gd name="T12" fmla="*/ 22 w 30"/>
                <a:gd name="T13" fmla="*/ 24 h 32"/>
                <a:gd name="T14" fmla="*/ 16 w 30"/>
                <a:gd name="T15" fmla="*/ 22 h 32"/>
                <a:gd name="T16" fmla="*/ 14 w 30"/>
                <a:gd name="T17" fmla="*/ 18 h 32"/>
                <a:gd name="T18" fmla="*/ 8 w 30"/>
                <a:gd name="T19" fmla="*/ 18 h 32"/>
                <a:gd name="T20" fmla="*/ 4 w 30"/>
                <a:gd name="T21" fmla="*/ 13 h 32"/>
                <a:gd name="T22" fmla="*/ 1 w 30"/>
                <a:gd name="T23" fmla="*/ 7 h 32"/>
                <a:gd name="T24" fmla="*/ 7 w 30"/>
                <a:gd name="T25" fmla="*/ 3 h 32"/>
                <a:gd name="T26" fmla="*/ 10 w 30"/>
                <a:gd name="T27"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2">
                  <a:moveTo>
                    <a:pt x="10" y="9"/>
                  </a:moveTo>
                  <a:cubicBezTo>
                    <a:pt x="11" y="8"/>
                    <a:pt x="16" y="6"/>
                    <a:pt x="16" y="8"/>
                  </a:cubicBezTo>
                  <a:cubicBezTo>
                    <a:pt x="16" y="10"/>
                    <a:pt x="17" y="13"/>
                    <a:pt x="19" y="15"/>
                  </a:cubicBezTo>
                  <a:cubicBezTo>
                    <a:pt x="22" y="16"/>
                    <a:pt x="22" y="15"/>
                    <a:pt x="23" y="19"/>
                  </a:cubicBezTo>
                  <a:cubicBezTo>
                    <a:pt x="24" y="22"/>
                    <a:pt x="27" y="22"/>
                    <a:pt x="28" y="26"/>
                  </a:cubicBezTo>
                  <a:cubicBezTo>
                    <a:pt x="29" y="30"/>
                    <a:pt x="30" y="32"/>
                    <a:pt x="27" y="31"/>
                  </a:cubicBezTo>
                  <a:cubicBezTo>
                    <a:pt x="24" y="30"/>
                    <a:pt x="25" y="26"/>
                    <a:pt x="22" y="24"/>
                  </a:cubicBezTo>
                  <a:cubicBezTo>
                    <a:pt x="18" y="23"/>
                    <a:pt x="18" y="26"/>
                    <a:pt x="16" y="22"/>
                  </a:cubicBezTo>
                  <a:cubicBezTo>
                    <a:pt x="14" y="18"/>
                    <a:pt x="17" y="19"/>
                    <a:pt x="14" y="18"/>
                  </a:cubicBezTo>
                  <a:cubicBezTo>
                    <a:pt x="11" y="18"/>
                    <a:pt x="13" y="19"/>
                    <a:pt x="8" y="18"/>
                  </a:cubicBezTo>
                  <a:cubicBezTo>
                    <a:pt x="4" y="16"/>
                    <a:pt x="8" y="15"/>
                    <a:pt x="4" y="13"/>
                  </a:cubicBezTo>
                  <a:cubicBezTo>
                    <a:pt x="1" y="11"/>
                    <a:pt x="0" y="9"/>
                    <a:pt x="1" y="7"/>
                  </a:cubicBezTo>
                  <a:cubicBezTo>
                    <a:pt x="2" y="5"/>
                    <a:pt x="7" y="0"/>
                    <a:pt x="7" y="3"/>
                  </a:cubicBezTo>
                  <a:cubicBezTo>
                    <a:pt x="7" y="6"/>
                    <a:pt x="6" y="11"/>
                    <a:pt x="10" y="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17" name="Freeform 703">
              <a:extLst>
                <a:ext uri="{FF2B5EF4-FFF2-40B4-BE49-F238E27FC236}">
                  <a16:creationId xmlns:a16="http://schemas.microsoft.com/office/drawing/2014/main" id="{AC4BF931-48BB-AB47-BA6B-F61A91E604F3}"/>
                </a:ext>
              </a:extLst>
            </p:cNvPr>
            <p:cNvSpPr>
              <a:spLocks/>
            </p:cNvSpPr>
            <p:nvPr/>
          </p:nvSpPr>
          <p:spPr bwMode="auto">
            <a:xfrm>
              <a:off x="7745437" y="2842083"/>
              <a:ext cx="26988" cy="23813"/>
            </a:xfrm>
            <a:custGeom>
              <a:avLst/>
              <a:gdLst>
                <a:gd name="T0" fmla="*/ 2 w 29"/>
                <a:gd name="T1" fmla="*/ 6 h 25"/>
                <a:gd name="T2" fmla="*/ 6 w 29"/>
                <a:gd name="T3" fmla="*/ 3 h 25"/>
                <a:gd name="T4" fmla="*/ 13 w 29"/>
                <a:gd name="T5" fmla="*/ 8 h 25"/>
                <a:gd name="T6" fmla="*/ 17 w 29"/>
                <a:gd name="T7" fmla="*/ 12 h 25"/>
                <a:gd name="T8" fmla="*/ 19 w 29"/>
                <a:gd name="T9" fmla="*/ 16 h 25"/>
                <a:gd name="T10" fmla="*/ 26 w 29"/>
                <a:gd name="T11" fmla="*/ 21 h 25"/>
                <a:gd name="T12" fmla="*/ 26 w 29"/>
                <a:gd name="T13" fmla="*/ 25 h 25"/>
                <a:gd name="T14" fmla="*/ 19 w 29"/>
                <a:gd name="T15" fmla="*/ 23 h 25"/>
                <a:gd name="T16" fmla="*/ 14 w 29"/>
                <a:gd name="T17" fmla="*/ 20 h 25"/>
                <a:gd name="T18" fmla="*/ 11 w 29"/>
                <a:gd name="T19" fmla="*/ 16 h 25"/>
                <a:gd name="T20" fmla="*/ 2 w 29"/>
                <a:gd name="T21" fmla="*/ 9 h 25"/>
                <a:gd name="T22" fmla="*/ 2 w 29"/>
                <a:gd name="T23"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5">
                  <a:moveTo>
                    <a:pt x="2" y="6"/>
                  </a:moveTo>
                  <a:cubicBezTo>
                    <a:pt x="2" y="3"/>
                    <a:pt x="4" y="0"/>
                    <a:pt x="6" y="3"/>
                  </a:cubicBezTo>
                  <a:cubicBezTo>
                    <a:pt x="9" y="6"/>
                    <a:pt x="12" y="5"/>
                    <a:pt x="13" y="8"/>
                  </a:cubicBezTo>
                  <a:cubicBezTo>
                    <a:pt x="14" y="10"/>
                    <a:pt x="17" y="10"/>
                    <a:pt x="17" y="12"/>
                  </a:cubicBezTo>
                  <a:cubicBezTo>
                    <a:pt x="17" y="14"/>
                    <a:pt x="16" y="14"/>
                    <a:pt x="19" y="16"/>
                  </a:cubicBezTo>
                  <a:cubicBezTo>
                    <a:pt x="22" y="18"/>
                    <a:pt x="26" y="20"/>
                    <a:pt x="26" y="21"/>
                  </a:cubicBezTo>
                  <a:cubicBezTo>
                    <a:pt x="25" y="22"/>
                    <a:pt x="29" y="25"/>
                    <a:pt x="26" y="25"/>
                  </a:cubicBezTo>
                  <a:cubicBezTo>
                    <a:pt x="22" y="25"/>
                    <a:pt x="21" y="25"/>
                    <a:pt x="19" y="23"/>
                  </a:cubicBezTo>
                  <a:cubicBezTo>
                    <a:pt x="16" y="21"/>
                    <a:pt x="17" y="22"/>
                    <a:pt x="14" y="20"/>
                  </a:cubicBezTo>
                  <a:cubicBezTo>
                    <a:pt x="12" y="18"/>
                    <a:pt x="15" y="19"/>
                    <a:pt x="11" y="16"/>
                  </a:cubicBezTo>
                  <a:cubicBezTo>
                    <a:pt x="8" y="13"/>
                    <a:pt x="2" y="10"/>
                    <a:pt x="2" y="9"/>
                  </a:cubicBezTo>
                  <a:cubicBezTo>
                    <a:pt x="2" y="9"/>
                    <a:pt x="0" y="6"/>
                    <a:pt x="2"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18" name="Freeform 704">
              <a:extLst>
                <a:ext uri="{FF2B5EF4-FFF2-40B4-BE49-F238E27FC236}">
                  <a16:creationId xmlns:a16="http://schemas.microsoft.com/office/drawing/2014/main" id="{0665F4D2-6142-DC4C-957E-FF33B2160046}"/>
                </a:ext>
              </a:extLst>
            </p:cNvPr>
            <p:cNvSpPr>
              <a:spLocks/>
            </p:cNvSpPr>
            <p:nvPr/>
          </p:nvSpPr>
          <p:spPr bwMode="auto">
            <a:xfrm>
              <a:off x="8142313" y="3240546"/>
              <a:ext cx="14288" cy="14288"/>
            </a:xfrm>
            <a:custGeom>
              <a:avLst/>
              <a:gdLst>
                <a:gd name="T0" fmla="*/ 4 w 14"/>
                <a:gd name="T1" fmla="*/ 5 h 16"/>
                <a:gd name="T2" fmla="*/ 4 w 14"/>
                <a:gd name="T3" fmla="*/ 13 h 16"/>
                <a:gd name="T4" fmla="*/ 14 w 14"/>
                <a:gd name="T5" fmla="*/ 10 h 16"/>
                <a:gd name="T6" fmla="*/ 4 w 14"/>
                <a:gd name="T7" fmla="*/ 5 h 16"/>
              </a:gdLst>
              <a:ahLst/>
              <a:cxnLst>
                <a:cxn ang="0">
                  <a:pos x="T0" y="T1"/>
                </a:cxn>
                <a:cxn ang="0">
                  <a:pos x="T2" y="T3"/>
                </a:cxn>
                <a:cxn ang="0">
                  <a:pos x="T4" y="T5"/>
                </a:cxn>
                <a:cxn ang="0">
                  <a:pos x="T6" y="T7"/>
                </a:cxn>
              </a:cxnLst>
              <a:rect l="0" t="0" r="r" b="b"/>
              <a:pathLst>
                <a:path w="14" h="16">
                  <a:moveTo>
                    <a:pt x="4" y="5"/>
                  </a:moveTo>
                  <a:cubicBezTo>
                    <a:pt x="4" y="5"/>
                    <a:pt x="0" y="11"/>
                    <a:pt x="4" y="13"/>
                  </a:cubicBezTo>
                  <a:cubicBezTo>
                    <a:pt x="8" y="16"/>
                    <a:pt x="14" y="14"/>
                    <a:pt x="14" y="10"/>
                  </a:cubicBezTo>
                  <a:cubicBezTo>
                    <a:pt x="14" y="6"/>
                    <a:pt x="2" y="0"/>
                    <a:pt x="4"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19" name="Freeform 705">
              <a:extLst>
                <a:ext uri="{FF2B5EF4-FFF2-40B4-BE49-F238E27FC236}">
                  <a16:creationId xmlns:a16="http://schemas.microsoft.com/office/drawing/2014/main" id="{98BF8A2E-FC7A-9745-B824-1D80F2D840EF}"/>
                </a:ext>
              </a:extLst>
            </p:cNvPr>
            <p:cNvSpPr>
              <a:spLocks/>
            </p:cNvSpPr>
            <p:nvPr/>
          </p:nvSpPr>
          <p:spPr bwMode="auto">
            <a:xfrm>
              <a:off x="7937525" y="2686508"/>
              <a:ext cx="14288" cy="14288"/>
            </a:xfrm>
            <a:custGeom>
              <a:avLst/>
              <a:gdLst>
                <a:gd name="T0" fmla="*/ 5 w 15"/>
                <a:gd name="T1" fmla="*/ 11 h 15"/>
                <a:gd name="T2" fmla="*/ 13 w 15"/>
                <a:gd name="T3" fmla="*/ 10 h 15"/>
                <a:gd name="T4" fmla="*/ 9 w 15"/>
                <a:gd name="T5" fmla="*/ 1 h 15"/>
                <a:gd name="T6" fmla="*/ 5 w 15"/>
                <a:gd name="T7" fmla="*/ 11 h 15"/>
              </a:gdLst>
              <a:ahLst/>
              <a:cxnLst>
                <a:cxn ang="0">
                  <a:pos x="T0" y="T1"/>
                </a:cxn>
                <a:cxn ang="0">
                  <a:pos x="T2" y="T3"/>
                </a:cxn>
                <a:cxn ang="0">
                  <a:pos x="T4" y="T5"/>
                </a:cxn>
                <a:cxn ang="0">
                  <a:pos x="T6" y="T7"/>
                </a:cxn>
              </a:cxnLst>
              <a:rect l="0" t="0" r="r" b="b"/>
              <a:pathLst>
                <a:path w="15" h="15">
                  <a:moveTo>
                    <a:pt x="5" y="11"/>
                  </a:moveTo>
                  <a:cubicBezTo>
                    <a:pt x="5" y="11"/>
                    <a:pt x="11" y="14"/>
                    <a:pt x="13" y="10"/>
                  </a:cubicBezTo>
                  <a:cubicBezTo>
                    <a:pt x="15" y="5"/>
                    <a:pt x="12" y="0"/>
                    <a:pt x="9" y="1"/>
                  </a:cubicBezTo>
                  <a:cubicBezTo>
                    <a:pt x="5" y="1"/>
                    <a:pt x="0" y="15"/>
                    <a:pt x="5" y="11"/>
                  </a:cubicBezTo>
                  <a:close/>
                </a:path>
              </a:pathLst>
            </a:custGeom>
            <a:solidFill>
              <a:schemeClr val="bg2">
                <a:alpha val="10000"/>
              </a:schemeClr>
            </a:solidFill>
            <a:ln w="0">
              <a:solidFill>
                <a:schemeClr val="tx2"/>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20" name="Freeform 706">
              <a:extLst>
                <a:ext uri="{FF2B5EF4-FFF2-40B4-BE49-F238E27FC236}">
                  <a16:creationId xmlns:a16="http://schemas.microsoft.com/office/drawing/2014/main" id="{77BF4857-0D4C-544B-A787-678A48AA93C7}"/>
                </a:ext>
              </a:extLst>
            </p:cNvPr>
            <p:cNvSpPr>
              <a:spLocks/>
            </p:cNvSpPr>
            <p:nvPr/>
          </p:nvSpPr>
          <p:spPr bwMode="auto">
            <a:xfrm>
              <a:off x="7793062" y="2515057"/>
              <a:ext cx="38100" cy="36513"/>
            </a:xfrm>
            <a:custGeom>
              <a:avLst/>
              <a:gdLst>
                <a:gd name="T0" fmla="*/ 9 w 40"/>
                <a:gd name="T1" fmla="*/ 9 h 38"/>
                <a:gd name="T2" fmla="*/ 9 w 40"/>
                <a:gd name="T3" fmla="*/ 15 h 38"/>
                <a:gd name="T4" fmla="*/ 4 w 40"/>
                <a:gd name="T5" fmla="*/ 19 h 38"/>
                <a:gd name="T6" fmla="*/ 7 w 40"/>
                <a:gd name="T7" fmla="*/ 26 h 38"/>
                <a:gd name="T8" fmla="*/ 8 w 40"/>
                <a:gd name="T9" fmla="*/ 32 h 38"/>
                <a:gd name="T10" fmla="*/ 19 w 40"/>
                <a:gd name="T11" fmla="*/ 33 h 38"/>
                <a:gd name="T12" fmla="*/ 29 w 40"/>
                <a:gd name="T13" fmla="*/ 30 h 38"/>
                <a:gd name="T14" fmla="*/ 31 w 40"/>
                <a:gd name="T15" fmla="*/ 21 h 38"/>
                <a:gd name="T16" fmla="*/ 33 w 40"/>
                <a:gd name="T17" fmla="*/ 11 h 38"/>
                <a:gd name="T18" fmla="*/ 28 w 40"/>
                <a:gd name="T19" fmla="*/ 2 h 38"/>
                <a:gd name="T20" fmla="*/ 8 w 40"/>
                <a:gd name="T21" fmla="*/ 0 h 38"/>
                <a:gd name="T22" fmla="*/ 9 w 40"/>
                <a:gd name="T23"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38">
                  <a:moveTo>
                    <a:pt x="9" y="9"/>
                  </a:moveTo>
                  <a:cubicBezTo>
                    <a:pt x="14" y="12"/>
                    <a:pt x="12" y="15"/>
                    <a:pt x="9" y="15"/>
                  </a:cubicBezTo>
                  <a:cubicBezTo>
                    <a:pt x="6" y="15"/>
                    <a:pt x="0" y="16"/>
                    <a:pt x="4" y="19"/>
                  </a:cubicBezTo>
                  <a:cubicBezTo>
                    <a:pt x="8" y="23"/>
                    <a:pt x="8" y="19"/>
                    <a:pt x="7" y="26"/>
                  </a:cubicBezTo>
                  <a:cubicBezTo>
                    <a:pt x="7" y="29"/>
                    <a:pt x="4" y="32"/>
                    <a:pt x="8" y="32"/>
                  </a:cubicBezTo>
                  <a:cubicBezTo>
                    <a:pt x="11" y="31"/>
                    <a:pt x="9" y="30"/>
                    <a:pt x="19" y="33"/>
                  </a:cubicBezTo>
                  <a:cubicBezTo>
                    <a:pt x="32" y="38"/>
                    <a:pt x="29" y="35"/>
                    <a:pt x="29" y="30"/>
                  </a:cubicBezTo>
                  <a:cubicBezTo>
                    <a:pt x="29" y="25"/>
                    <a:pt x="27" y="25"/>
                    <a:pt x="31" y="21"/>
                  </a:cubicBezTo>
                  <a:cubicBezTo>
                    <a:pt x="35" y="17"/>
                    <a:pt x="36" y="18"/>
                    <a:pt x="33" y="11"/>
                  </a:cubicBezTo>
                  <a:cubicBezTo>
                    <a:pt x="30" y="4"/>
                    <a:pt x="40" y="2"/>
                    <a:pt x="28" y="2"/>
                  </a:cubicBezTo>
                  <a:cubicBezTo>
                    <a:pt x="16" y="3"/>
                    <a:pt x="8" y="0"/>
                    <a:pt x="8" y="0"/>
                  </a:cubicBezTo>
                  <a:lnTo>
                    <a:pt x="9" y="9"/>
                  </a:ln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21" name="Freeform 707">
              <a:extLst>
                <a:ext uri="{FF2B5EF4-FFF2-40B4-BE49-F238E27FC236}">
                  <a16:creationId xmlns:a16="http://schemas.microsoft.com/office/drawing/2014/main" id="{C1FDB7FA-EB0E-0749-B7EC-011099872E55}"/>
                </a:ext>
              </a:extLst>
            </p:cNvPr>
            <p:cNvSpPr>
              <a:spLocks/>
            </p:cNvSpPr>
            <p:nvPr/>
          </p:nvSpPr>
          <p:spPr bwMode="auto">
            <a:xfrm>
              <a:off x="7980388" y="2465845"/>
              <a:ext cx="12700" cy="41275"/>
            </a:xfrm>
            <a:custGeom>
              <a:avLst/>
              <a:gdLst>
                <a:gd name="T0" fmla="*/ 5 w 13"/>
                <a:gd name="T1" fmla="*/ 6 h 42"/>
                <a:gd name="T2" fmla="*/ 1 w 13"/>
                <a:gd name="T3" fmla="*/ 14 h 42"/>
                <a:gd name="T4" fmla="*/ 1 w 13"/>
                <a:gd name="T5" fmla="*/ 30 h 42"/>
                <a:gd name="T6" fmla="*/ 5 w 13"/>
                <a:gd name="T7" fmla="*/ 33 h 42"/>
                <a:gd name="T8" fmla="*/ 5 w 13"/>
                <a:gd name="T9" fmla="*/ 21 h 42"/>
                <a:gd name="T10" fmla="*/ 8 w 13"/>
                <a:gd name="T11" fmla="*/ 8 h 42"/>
                <a:gd name="T12" fmla="*/ 5 w 13"/>
                <a:gd name="T13" fmla="*/ 6 h 42"/>
              </a:gdLst>
              <a:ahLst/>
              <a:cxnLst>
                <a:cxn ang="0">
                  <a:pos x="T0" y="T1"/>
                </a:cxn>
                <a:cxn ang="0">
                  <a:pos x="T2" y="T3"/>
                </a:cxn>
                <a:cxn ang="0">
                  <a:pos x="T4" y="T5"/>
                </a:cxn>
                <a:cxn ang="0">
                  <a:pos x="T6" y="T7"/>
                </a:cxn>
                <a:cxn ang="0">
                  <a:pos x="T8" y="T9"/>
                </a:cxn>
                <a:cxn ang="0">
                  <a:pos x="T10" y="T11"/>
                </a:cxn>
                <a:cxn ang="0">
                  <a:pos x="T12" y="T13"/>
                </a:cxn>
              </a:cxnLst>
              <a:rect l="0" t="0" r="r" b="b"/>
              <a:pathLst>
                <a:path w="13" h="42">
                  <a:moveTo>
                    <a:pt x="5" y="6"/>
                  </a:moveTo>
                  <a:cubicBezTo>
                    <a:pt x="3" y="8"/>
                    <a:pt x="2" y="9"/>
                    <a:pt x="1" y="14"/>
                  </a:cubicBezTo>
                  <a:cubicBezTo>
                    <a:pt x="0" y="19"/>
                    <a:pt x="1" y="24"/>
                    <a:pt x="1" y="30"/>
                  </a:cubicBezTo>
                  <a:cubicBezTo>
                    <a:pt x="2" y="35"/>
                    <a:pt x="3" y="42"/>
                    <a:pt x="5" y="33"/>
                  </a:cubicBezTo>
                  <a:cubicBezTo>
                    <a:pt x="6" y="25"/>
                    <a:pt x="3" y="29"/>
                    <a:pt x="5" y="21"/>
                  </a:cubicBezTo>
                  <a:cubicBezTo>
                    <a:pt x="7" y="13"/>
                    <a:pt x="4" y="10"/>
                    <a:pt x="8" y="8"/>
                  </a:cubicBezTo>
                  <a:cubicBezTo>
                    <a:pt x="13" y="6"/>
                    <a:pt x="11" y="0"/>
                    <a:pt x="5"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22" name="Freeform 708">
              <a:extLst>
                <a:ext uri="{FF2B5EF4-FFF2-40B4-BE49-F238E27FC236}">
                  <a16:creationId xmlns:a16="http://schemas.microsoft.com/office/drawing/2014/main" id="{D356FB3D-FBE9-6D4A-953D-24B18895BA03}"/>
                </a:ext>
              </a:extLst>
            </p:cNvPr>
            <p:cNvSpPr>
              <a:spLocks/>
            </p:cNvSpPr>
            <p:nvPr/>
          </p:nvSpPr>
          <p:spPr bwMode="auto">
            <a:xfrm>
              <a:off x="7985150" y="2502357"/>
              <a:ext cx="36513" cy="11113"/>
            </a:xfrm>
            <a:custGeom>
              <a:avLst/>
              <a:gdLst>
                <a:gd name="T0" fmla="*/ 4 w 39"/>
                <a:gd name="T1" fmla="*/ 8 h 12"/>
                <a:gd name="T2" fmla="*/ 8 w 39"/>
                <a:gd name="T3" fmla="*/ 11 h 12"/>
                <a:gd name="T4" fmla="*/ 17 w 39"/>
                <a:gd name="T5" fmla="*/ 9 h 12"/>
                <a:gd name="T6" fmla="*/ 30 w 39"/>
                <a:gd name="T7" fmla="*/ 5 h 12"/>
                <a:gd name="T8" fmla="*/ 33 w 39"/>
                <a:gd name="T9" fmla="*/ 1 h 12"/>
                <a:gd name="T10" fmla="*/ 23 w 39"/>
                <a:gd name="T11" fmla="*/ 1 h 12"/>
                <a:gd name="T12" fmla="*/ 17 w 39"/>
                <a:gd name="T13" fmla="*/ 3 h 12"/>
                <a:gd name="T14" fmla="*/ 6 w 39"/>
                <a:gd name="T15" fmla="*/ 3 h 12"/>
                <a:gd name="T16" fmla="*/ 4 w 39"/>
                <a:gd name="T1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12">
                  <a:moveTo>
                    <a:pt x="4" y="8"/>
                  </a:moveTo>
                  <a:cubicBezTo>
                    <a:pt x="4" y="8"/>
                    <a:pt x="0" y="12"/>
                    <a:pt x="8" y="11"/>
                  </a:cubicBezTo>
                  <a:cubicBezTo>
                    <a:pt x="15" y="10"/>
                    <a:pt x="10" y="10"/>
                    <a:pt x="17" y="9"/>
                  </a:cubicBezTo>
                  <a:cubicBezTo>
                    <a:pt x="25" y="8"/>
                    <a:pt x="28" y="8"/>
                    <a:pt x="30" y="5"/>
                  </a:cubicBezTo>
                  <a:cubicBezTo>
                    <a:pt x="33" y="3"/>
                    <a:pt x="39" y="1"/>
                    <a:pt x="33" y="1"/>
                  </a:cubicBezTo>
                  <a:cubicBezTo>
                    <a:pt x="27" y="1"/>
                    <a:pt x="25" y="2"/>
                    <a:pt x="23" y="1"/>
                  </a:cubicBezTo>
                  <a:cubicBezTo>
                    <a:pt x="21" y="0"/>
                    <a:pt x="19" y="3"/>
                    <a:pt x="17" y="3"/>
                  </a:cubicBezTo>
                  <a:cubicBezTo>
                    <a:pt x="15" y="4"/>
                    <a:pt x="9" y="4"/>
                    <a:pt x="6" y="3"/>
                  </a:cubicBezTo>
                  <a:cubicBezTo>
                    <a:pt x="4" y="3"/>
                    <a:pt x="4" y="8"/>
                    <a:pt x="4" y="8"/>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23" name="Freeform 709">
              <a:extLst>
                <a:ext uri="{FF2B5EF4-FFF2-40B4-BE49-F238E27FC236}">
                  <a16:creationId xmlns:a16="http://schemas.microsoft.com/office/drawing/2014/main" id="{AD996B63-6735-D04E-B515-0A82B08B633A}"/>
                </a:ext>
              </a:extLst>
            </p:cNvPr>
            <p:cNvSpPr>
              <a:spLocks/>
            </p:cNvSpPr>
            <p:nvPr/>
          </p:nvSpPr>
          <p:spPr bwMode="auto">
            <a:xfrm>
              <a:off x="8032775" y="2465845"/>
              <a:ext cx="19050" cy="41275"/>
            </a:xfrm>
            <a:custGeom>
              <a:avLst/>
              <a:gdLst>
                <a:gd name="T0" fmla="*/ 5 w 19"/>
                <a:gd name="T1" fmla="*/ 37 h 44"/>
                <a:gd name="T2" fmla="*/ 13 w 19"/>
                <a:gd name="T3" fmla="*/ 18 h 44"/>
                <a:gd name="T4" fmla="*/ 15 w 19"/>
                <a:gd name="T5" fmla="*/ 8 h 44"/>
                <a:gd name="T6" fmla="*/ 8 w 19"/>
                <a:gd name="T7" fmla="*/ 6 h 44"/>
                <a:gd name="T8" fmla="*/ 6 w 19"/>
                <a:gd name="T9" fmla="*/ 18 h 44"/>
                <a:gd name="T10" fmla="*/ 0 w 19"/>
                <a:gd name="T11" fmla="*/ 32 h 44"/>
                <a:gd name="T12" fmla="*/ 5 w 19"/>
                <a:gd name="T13" fmla="*/ 37 h 44"/>
              </a:gdLst>
              <a:ahLst/>
              <a:cxnLst>
                <a:cxn ang="0">
                  <a:pos x="T0" y="T1"/>
                </a:cxn>
                <a:cxn ang="0">
                  <a:pos x="T2" y="T3"/>
                </a:cxn>
                <a:cxn ang="0">
                  <a:pos x="T4" y="T5"/>
                </a:cxn>
                <a:cxn ang="0">
                  <a:pos x="T6" y="T7"/>
                </a:cxn>
                <a:cxn ang="0">
                  <a:pos x="T8" y="T9"/>
                </a:cxn>
                <a:cxn ang="0">
                  <a:pos x="T10" y="T11"/>
                </a:cxn>
                <a:cxn ang="0">
                  <a:pos x="T12" y="T13"/>
                </a:cxn>
              </a:cxnLst>
              <a:rect l="0" t="0" r="r" b="b"/>
              <a:pathLst>
                <a:path w="19" h="44">
                  <a:moveTo>
                    <a:pt x="5" y="37"/>
                  </a:moveTo>
                  <a:cubicBezTo>
                    <a:pt x="5" y="28"/>
                    <a:pt x="10" y="25"/>
                    <a:pt x="13" y="18"/>
                  </a:cubicBezTo>
                  <a:cubicBezTo>
                    <a:pt x="15" y="12"/>
                    <a:pt x="19" y="10"/>
                    <a:pt x="15" y="8"/>
                  </a:cubicBezTo>
                  <a:cubicBezTo>
                    <a:pt x="11" y="5"/>
                    <a:pt x="11" y="0"/>
                    <a:pt x="8" y="6"/>
                  </a:cubicBezTo>
                  <a:cubicBezTo>
                    <a:pt x="5" y="13"/>
                    <a:pt x="6" y="10"/>
                    <a:pt x="6" y="18"/>
                  </a:cubicBezTo>
                  <a:cubicBezTo>
                    <a:pt x="6" y="27"/>
                    <a:pt x="0" y="27"/>
                    <a:pt x="0" y="32"/>
                  </a:cubicBezTo>
                  <a:cubicBezTo>
                    <a:pt x="0" y="37"/>
                    <a:pt x="5" y="44"/>
                    <a:pt x="5" y="3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24" name="Freeform 710">
              <a:extLst>
                <a:ext uri="{FF2B5EF4-FFF2-40B4-BE49-F238E27FC236}">
                  <a16:creationId xmlns:a16="http://schemas.microsoft.com/office/drawing/2014/main" id="{37EEA9D4-4EDB-534E-B2CD-7E14C8B5FB67}"/>
                </a:ext>
              </a:extLst>
            </p:cNvPr>
            <p:cNvSpPr>
              <a:spLocks/>
            </p:cNvSpPr>
            <p:nvPr/>
          </p:nvSpPr>
          <p:spPr bwMode="auto">
            <a:xfrm>
              <a:off x="7373961" y="2211844"/>
              <a:ext cx="17463" cy="44450"/>
            </a:xfrm>
            <a:custGeom>
              <a:avLst/>
              <a:gdLst>
                <a:gd name="T0" fmla="*/ 11 w 18"/>
                <a:gd name="T1" fmla="*/ 16 h 47"/>
                <a:gd name="T2" fmla="*/ 4 w 18"/>
                <a:gd name="T3" fmla="*/ 41 h 47"/>
                <a:gd name="T4" fmla="*/ 11 w 18"/>
                <a:gd name="T5" fmla="*/ 39 h 47"/>
                <a:gd name="T6" fmla="*/ 11 w 18"/>
                <a:gd name="T7" fmla="*/ 16 h 47"/>
              </a:gdLst>
              <a:ahLst/>
              <a:cxnLst>
                <a:cxn ang="0">
                  <a:pos x="T0" y="T1"/>
                </a:cxn>
                <a:cxn ang="0">
                  <a:pos x="T2" y="T3"/>
                </a:cxn>
                <a:cxn ang="0">
                  <a:pos x="T4" y="T5"/>
                </a:cxn>
                <a:cxn ang="0">
                  <a:pos x="T6" y="T7"/>
                </a:cxn>
              </a:cxnLst>
              <a:rect l="0" t="0" r="r" b="b"/>
              <a:pathLst>
                <a:path w="18" h="47">
                  <a:moveTo>
                    <a:pt x="11" y="16"/>
                  </a:moveTo>
                  <a:cubicBezTo>
                    <a:pt x="4" y="26"/>
                    <a:pt x="7" y="39"/>
                    <a:pt x="4" y="41"/>
                  </a:cubicBezTo>
                  <a:cubicBezTo>
                    <a:pt x="0" y="43"/>
                    <a:pt x="5" y="47"/>
                    <a:pt x="11" y="39"/>
                  </a:cubicBezTo>
                  <a:cubicBezTo>
                    <a:pt x="18" y="31"/>
                    <a:pt x="17" y="0"/>
                    <a:pt x="11" y="16"/>
                  </a:cubicBezTo>
                  <a:close/>
                </a:path>
              </a:pathLst>
            </a:custGeom>
            <a:solidFill>
              <a:schemeClr val="bg2">
                <a:alpha val="10000"/>
              </a:schemeClr>
            </a:solidFill>
            <a:ln w="0">
              <a:solidFill>
                <a:schemeClr val="tx2"/>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25" name="Freeform 711">
              <a:extLst>
                <a:ext uri="{FF2B5EF4-FFF2-40B4-BE49-F238E27FC236}">
                  <a16:creationId xmlns:a16="http://schemas.microsoft.com/office/drawing/2014/main" id="{61FAD8E7-2911-A84A-B6D1-3B7DECF47EF3}"/>
                </a:ext>
              </a:extLst>
            </p:cNvPr>
            <p:cNvSpPr>
              <a:spLocks/>
            </p:cNvSpPr>
            <p:nvPr/>
          </p:nvSpPr>
          <p:spPr bwMode="auto">
            <a:xfrm>
              <a:off x="7342211" y="2289632"/>
              <a:ext cx="12700" cy="22225"/>
            </a:xfrm>
            <a:custGeom>
              <a:avLst/>
              <a:gdLst>
                <a:gd name="T0" fmla="*/ 7 w 14"/>
                <a:gd name="T1" fmla="*/ 1 h 22"/>
                <a:gd name="T2" fmla="*/ 2 w 14"/>
                <a:gd name="T3" fmla="*/ 20 h 22"/>
                <a:gd name="T4" fmla="*/ 10 w 14"/>
                <a:gd name="T5" fmla="*/ 18 h 22"/>
                <a:gd name="T6" fmla="*/ 13 w 14"/>
                <a:gd name="T7" fmla="*/ 8 h 22"/>
                <a:gd name="T8" fmla="*/ 7 w 14"/>
                <a:gd name="T9" fmla="*/ 1 h 22"/>
              </a:gdLst>
              <a:ahLst/>
              <a:cxnLst>
                <a:cxn ang="0">
                  <a:pos x="T0" y="T1"/>
                </a:cxn>
                <a:cxn ang="0">
                  <a:pos x="T2" y="T3"/>
                </a:cxn>
                <a:cxn ang="0">
                  <a:pos x="T4" y="T5"/>
                </a:cxn>
                <a:cxn ang="0">
                  <a:pos x="T6" y="T7"/>
                </a:cxn>
                <a:cxn ang="0">
                  <a:pos x="T8" y="T9"/>
                </a:cxn>
              </a:cxnLst>
              <a:rect l="0" t="0" r="r" b="b"/>
              <a:pathLst>
                <a:path w="14" h="22">
                  <a:moveTo>
                    <a:pt x="7" y="1"/>
                  </a:moveTo>
                  <a:cubicBezTo>
                    <a:pt x="3" y="10"/>
                    <a:pt x="0" y="19"/>
                    <a:pt x="2" y="20"/>
                  </a:cubicBezTo>
                  <a:cubicBezTo>
                    <a:pt x="5" y="22"/>
                    <a:pt x="7" y="22"/>
                    <a:pt x="10" y="18"/>
                  </a:cubicBezTo>
                  <a:cubicBezTo>
                    <a:pt x="13" y="14"/>
                    <a:pt x="14" y="12"/>
                    <a:pt x="13" y="8"/>
                  </a:cubicBezTo>
                  <a:cubicBezTo>
                    <a:pt x="13" y="3"/>
                    <a:pt x="8" y="0"/>
                    <a:pt x="7" y="1"/>
                  </a:cubicBezTo>
                  <a:close/>
                </a:path>
              </a:pathLst>
            </a:custGeom>
            <a:solidFill>
              <a:schemeClr val="bg2">
                <a:alpha val="10000"/>
              </a:schemeClr>
            </a:solidFill>
            <a:ln w="0">
              <a:solidFill>
                <a:schemeClr val="tx2"/>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26" name="Freeform 712">
              <a:extLst>
                <a:ext uri="{FF2B5EF4-FFF2-40B4-BE49-F238E27FC236}">
                  <a16:creationId xmlns:a16="http://schemas.microsoft.com/office/drawing/2014/main" id="{6524C979-7A46-F849-91CF-6138669467B4}"/>
                </a:ext>
              </a:extLst>
            </p:cNvPr>
            <p:cNvSpPr>
              <a:spLocks/>
            </p:cNvSpPr>
            <p:nvPr/>
          </p:nvSpPr>
          <p:spPr bwMode="auto">
            <a:xfrm>
              <a:off x="7199335" y="2461082"/>
              <a:ext cx="41275" cy="36513"/>
            </a:xfrm>
            <a:custGeom>
              <a:avLst/>
              <a:gdLst>
                <a:gd name="T0" fmla="*/ 36 w 44"/>
                <a:gd name="T1" fmla="*/ 4 h 38"/>
                <a:gd name="T2" fmla="*/ 12 w 44"/>
                <a:gd name="T3" fmla="*/ 27 h 38"/>
                <a:gd name="T4" fmla="*/ 16 w 44"/>
                <a:gd name="T5" fmla="*/ 33 h 38"/>
                <a:gd name="T6" fmla="*/ 33 w 44"/>
                <a:gd name="T7" fmla="*/ 19 h 38"/>
                <a:gd name="T8" fmla="*/ 44 w 44"/>
                <a:gd name="T9" fmla="*/ 4 h 38"/>
                <a:gd name="T10" fmla="*/ 36 w 44"/>
                <a:gd name="T11" fmla="*/ 4 h 38"/>
              </a:gdLst>
              <a:ahLst/>
              <a:cxnLst>
                <a:cxn ang="0">
                  <a:pos x="T0" y="T1"/>
                </a:cxn>
                <a:cxn ang="0">
                  <a:pos x="T2" y="T3"/>
                </a:cxn>
                <a:cxn ang="0">
                  <a:pos x="T4" y="T5"/>
                </a:cxn>
                <a:cxn ang="0">
                  <a:pos x="T6" y="T7"/>
                </a:cxn>
                <a:cxn ang="0">
                  <a:pos x="T8" y="T9"/>
                </a:cxn>
                <a:cxn ang="0">
                  <a:pos x="T10" y="T11"/>
                </a:cxn>
              </a:cxnLst>
              <a:rect l="0" t="0" r="r" b="b"/>
              <a:pathLst>
                <a:path w="44" h="38">
                  <a:moveTo>
                    <a:pt x="36" y="4"/>
                  </a:moveTo>
                  <a:cubicBezTo>
                    <a:pt x="30" y="14"/>
                    <a:pt x="12" y="27"/>
                    <a:pt x="12" y="27"/>
                  </a:cubicBezTo>
                  <a:cubicBezTo>
                    <a:pt x="12" y="27"/>
                    <a:pt x="0" y="38"/>
                    <a:pt x="16" y="33"/>
                  </a:cubicBezTo>
                  <a:cubicBezTo>
                    <a:pt x="31" y="27"/>
                    <a:pt x="24" y="24"/>
                    <a:pt x="33" y="19"/>
                  </a:cubicBezTo>
                  <a:cubicBezTo>
                    <a:pt x="41" y="14"/>
                    <a:pt x="44" y="7"/>
                    <a:pt x="44" y="4"/>
                  </a:cubicBezTo>
                  <a:cubicBezTo>
                    <a:pt x="44" y="1"/>
                    <a:pt x="39" y="0"/>
                    <a:pt x="36" y="4"/>
                  </a:cubicBezTo>
                  <a:close/>
                </a:path>
              </a:pathLst>
            </a:custGeom>
            <a:solidFill>
              <a:schemeClr val="bg2">
                <a:alpha val="10000"/>
              </a:schemeClr>
            </a:solidFill>
            <a:ln w="0">
              <a:solidFill>
                <a:schemeClr val="tx2"/>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27" name="Freeform 713">
              <a:extLst>
                <a:ext uri="{FF2B5EF4-FFF2-40B4-BE49-F238E27FC236}">
                  <a16:creationId xmlns:a16="http://schemas.microsoft.com/office/drawing/2014/main" id="{D233095C-C701-364F-B99A-221685ECFE71}"/>
                </a:ext>
              </a:extLst>
            </p:cNvPr>
            <p:cNvSpPr>
              <a:spLocks/>
            </p:cNvSpPr>
            <p:nvPr/>
          </p:nvSpPr>
          <p:spPr bwMode="auto">
            <a:xfrm>
              <a:off x="8053413" y="3111958"/>
              <a:ext cx="30163" cy="28575"/>
            </a:xfrm>
            <a:custGeom>
              <a:avLst/>
              <a:gdLst>
                <a:gd name="T0" fmla="*/ 8 w 32"/>
                <a:gd name="T1" fmla="*/ 12 h 30"/>
                <a:gd name="T2" fmla="*/ 7 w 32"/>
                <a:gd name="T3" fmla="*/ 1 h 30"/>
                <a:gd name="T4" fmla="*/ 16 w 32"/>
                <a:gd name="T5" fmla="*/ 3 h 30"/>
                <a:gd name="T6" fmla="*/ 23 w 32"/>
                <a:gd name="T7" fmla="*/ 7 h 30"/>
                <a:gd name="T8" fmla="*/ 22 w 32"/>
                <a:gd name="T9" fmla="*/ 13 h 30"/>
                <a:gd name="T10" fmla="*/ 29 w 32"/>
                <a:gd name="T11" fmla="*/ 17 h 30"/>
                <a:gd name="T12" fmla="*/ 23 w 32"/>
                <a:gd name="T13" fmla="*/ 20 h 30"/>
                <a:gd name="T14" fmla="*/ 19 w 32"/>
                <a:gd name="T15" fmla="*/ 27 h 30"/>
                <a:gd name="T16" fmla="*/ 14 w 32"/>
                <a:gd name="T17" fmla="*/ 25 h 30"/>
                <a:gd name="T18" fmla="*/ 7 w 32"/>
                <a:gd name="T19" fmla="*/ 23 h 30"/>
                <a:gd name="T20" fmla="*/ 1 w 32"/>
                <a:gd name="T21" fmla="*/ 19 h 30"/>
                <a:gd name="T22" fmla="*/ 8 w 32"/>
                <a:gd name="T23"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0">
                  <a:moveTo>
                    <a:pt x="8" y="12"/>
                  </a:moveTo>
                  <a:cubicBezTo>
                    <a:pt x="8" y="10"/>
                    <a:pt x="4" y="2"/>
                    <a:pt x="7" y="1"/>
                  </a:cubicBezTo>
                  <a:cubicBezTo>
                    <a:pt x="9" y="0"/>
                    <a:pt x="15" y="2"/>
                    <a:pt x="16" y="3"/>
                  </a:cubicBezTo>
                  <a:cubicBezTo>
                    <a:pt x="16" y="4"/>
                    <a:pt x="24" y="6"/>
                    <a:pt x="23" y="7"/>
                  </a:cubicBezTo>
                  <a:cubicBezTo>
                    <a:pt x="23" y="9"/>
                    <a:pt x="19" y="11"/>
                    <a:pt x="22" y="13"/>
                  </a:cubicBezTo>
                  <a:cubicBezTo>
                    <a:pt x="25" y="16"/>
                    <a:pt x="32" y="14"/>
                    <a:pt x="29" y="17"/>
                  </a:cubicBezTo>
                  <a:cubicBezTo>
                    <a:pt x="26" y="20"/>
                    <a:pt x="28" y="20"/>
                    <a:pt x="23" y="20"/>
                  </a:cubicBezTo>
                  <a:cubicBezTo>
                    <a:pt x="19" y="20"/>
                    <a:pt x="21" y="26"/>
                    <a:pt x="19" y="27"/>
                  </a:cubicBezTo>
                  <a:cubicBezTo>
                    <a:pt x="17" y="29"/>
                    <a:pt x="16" y="30"/>
                    <a:pt x="14" y="25"/>
                  </a:cubicBezTo>
                  <a:cubicBezTo>
                    <a:pt x="11" y="20"/>
                    <a:pt x="8" y="21"/>
                    <a:pt x="7" y="23"/>
                  </a:cubicBezTo>
                  <a:cubicBezTo>
                    <a:pt x="5" y="25"/>
                    <a:pt x="0" y="24"/>
                    <a:pt x="1" y="19"/>
                  </a:cubicBezTo>
                  <a:cubicBezTo>
                    <a:pt x="3" y="14"/>
                    <a:pt x="8" y="12"/>
                    <a:pt x="8" y="1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28" name="Freeform 714">
              <a:extLst>
                <a:ext uri="{FF2B5EF4-FFF2-40B4-BE49-F238E27FC236}">
                  <a16:creationId xmlns:a16="http://schemas.microsoft.com/office/drawing/2014/main" id="{7B07622D-85BA-2749-A84A-1E5673DBA65E}"/>
                </a:ext>
              </a:extLst>
            </p:cNvPr>
            <p:cNvSpPr>
              <a:spLocks/>
            </p:cNvSpPr>
            <p:nvPr/>
          </p:nvSpPr>
          <p:spPr bwMode="auto">
            <a:xfrm>
              <a:off x="3427424" y="2203907"/>
              <a:ext cx="20638" cy="19050"/>
            </a:xfrm>
            <a:custGeom>
              <a:avLst/>
              <a:gdLst>
                <a:gd name="T0" fmla="*/ 9 w 21"/>
                <a:gd name="T1" fmla="*/ 5 h 20"/>
                <a:gd name="T2" fmla="*/ 5 w 21"/>
                <a:gd name="T3" fmla="*/ 13 h 20"/>
                <a:gd name="T4" fmla="*/ 13 w 21"/>
                <a:gd name="T5" fmla="*/ 16 h 20"/>
                <a:gd name="T6" fmla="*/ 20 w 21"/>
                <a:gd name="T7" fmla="*/ 16 h 20"/>
                <a:gd name="T8" fmla="*/ 17 w 21"/>
                <a:gd name="T9" fmla="*/ 7 h 20"/>
                <a:gd name="T10" fmla="*/ 12 w 21"/>
                <a:gd name="T11" fmla="*/ 2 h 20"/>
                <a:gd name="T12" fmla="*/ 9 w 21"/>
                <a:gd name="T13" fmla="*/ 5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9" y="5"/>
                  </a:moveTo>
                  <a:cubicBezTo>
                    <a:pt x="6" y="9"/>
                    <a:pt x="0" y="10"/>
                    <a:pt x="5" y="13"/>
                  </a:cubicBezTo>
                  <a:cubicBezTo>
                    <a:pt x="11" y="16"/>
                    <a:pt x="9" y="12"/>
                    <a:pt x="13" y="16"/>
                  </a:cubicBezTo>
                  <a:cubicBezTo>
                    <a:pt x="17" y="19"/>
                    <a:pt x="21" y="20"/>
                    <a:pt x="20" y="16"/>
                  </a:cubicBezTo>
                  <a:cubicBezTo>
                    <a:pt x="19" y="12"/>
                    <a:pt x="17" y="11"/>
                    <a:pt x="17" y="7"/>
                  </a:cubicBezTo>
                  <a:cubicBezTo>
                    <a:pt x="17" y="3"/>
                    <a:pt x="12" y="2"/>
                    <a:pt x="12" y="2"/>
                  </a:cubicBezTo>
                  <a:cubicBezTo>
                    <a:pt x="12" y="2"/>
                    <a:pt x="7" y="0"/>
                    <a:pt x="9"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29" name="Freeform 715">
              <a:extLst>
                <a:ext uri="{FF2B5EF4-FFF2-40B4-BE49-F238E27FC236}">
                  <a16:creationId xmlns:a16="http://schemas.microsoft.com/office/drawing/2014/main" id="{F688D901-05C0-C349-9DDB-6821AD98C90F}"/>
                </a:ext>
              </a:extLst>
            </p:cNvPr>
            <p:cNvSpPr>
              <a:spLocks/>
            </p:cNvSpPr>
            <p:nvPr/>
          </p:nvSpPr>
          <p:spPr bwMode="auto">
            <a:xfrm>
              <a:off x="3486161" y="2230894"/>
              <a:ext cx="15875" cy="14288"/>
            </a:xfrm>
            <a:custGeom>
              <a:avLst/>
              <a:gdLst>
                <a:gd name="T0" fmla="*/ 4 w 16"/>
                <a:gd name="T1" fmla="*/ 4 h 16"/>
                <a:gd name="T2" fmla="*/ 3 w 16"/>
                <a:gd name="T3" fmla="*/ 10 h 16"/>
                <a:gd name="T4" fmla="*/ 12 w 16"/>
                <a:gd name="T5" fmla="*/ 12 h 16"/>
                <a:gd name="T6" fmla="*/ 12 w 16"/>
                <a:gd name="T7" fmla="*/ 3 h 16"/>
                <a:gd name="T8" fmla="*/ 4 w 16"/>
                <a:gd name="T9" fmla="*/ 4 h 16"/>
              </a:gdLst>
              <a:ahLst/>
              <a:cxnLst>
                <a:cxn ang="0">
                  <a:pos x="T0" y="T1"/>
                </a:cxn>
                <a:cxn ang="0">
                  <a:pos x="T2" y="T3"/>
                </a:cxn>
                <a:cxn ang="0">
                  <a:pos x="T4" y="T5"/>
                </a:cxn>
                <a:cxn ang="0">
                  <a:pos x="T6" y="T7"/>
                </a:cxn>
                <a:cxn ang="0">
                  <a:pos x="T8" y="T9"/>
                </a:cxn>
              </a:cxnLst>
              <a:rect l="0" t="0" r="r" b="b"/>
              <a:pathLst>
                <a:path w="16" h="16">
                  <a:moveTo>
                    <a:pt x="4" y="4"/>
                  </a:moveTo>
                  <a:cubicBezTo>
                    <a:pt x="5" y="8"/>
                    <a:pt x="0" y="6"/>
                    <a:pt x="3" y="10"/>
                  </a:cubicBezTo>
                  <a:cubicBezTo>
                    <a:pt x="6" y="15"/>
                    <a:pt x="9" y="16"/>
                    <a:pt x="12" y="12"/>
                  </a:cubicBezTo>
                  <a:cubicBezTo>
                    <a:pt x="14" y="9"/>
                    <a:pt x="16" y="6"/>
                    <a:pt x="12" y="3"/>
                  </a:cubicBezTo>
                  <a:cubicBezTo>
                    <a:pt x="7" y="0"/>
                    <a:pt x="5" y="3"/>
                    <a:pt x="4"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30" name="Freeform 716">
              <a:extLst>
                <a:ext uri="{FF2B5EF4-FFF2-40B4-BE49-F238E27FC236}">
                  <a16:creationId xmlns:a16="http://schemas.microsoft.com/office/drawing/2014/main" id="{84D02749-2247-1840-BC92-76AC79DC2351}"/>
                </a:ext>
              </a:extLst>
            </p:cNvPr>
            <p:cNvSpPr>
              <a:spLocks/>
            </p:cNvSpPr>
            <p:nvPr/>
          </p:nvSpPr>
          <p:spPr bwMode="auto">
            <a:xfrm>
              <a:off x="3468699" y="2254707"/>
              <a:ext cx="11113" cy="22225"/>
            </a:xfrm>
            <a:custGeom>
              <a:avLst/>
              <a:gdLst>
                <a:gd name="T0" fmla="*/ 2 w 12"/>
                <a:gd name="T1" fmla="*/ 5 h 23"/>
                <a:gd name="T2" fmla="*/ 2 w 12"/>
                <a:gd name="T3" fmla="*/ 13 h 23"/>
                <a:gd name="T4" fmla="*/ 8 w 12"/>
                <a:gd name="T5" fmla="*/ 18 h 23"/>
                <a:gd name="T6" fmla="*/ 9 w 12"/>
                <a:gd name="T7" fmla="*/ 7 h 23"/>
                <a:gd name="T8" fmla="*/ 4 w 12"/>
                <a:gd name="T9" fmla="*/ 1 h 23"/>
                <a:gd name="T10" fmla="*/ 2 w 12"/>
                <a:gd name="T11" fmla="*/ 5 h 23"/>
              </a:gdLst>
              <a:ahLst/>
              <a:cxnLst>
                <a:cxn ang="0">
                  <a:pos x="T0" y="T1"/>
                </a:cxn>
                <a:cxn ang="0">
                  <a:pos x="T2" y="T3"/>
                </a:cxn>
                <a:cxn ang="0">
                  <a:pos x="T4" y="T5"/>
                </a:cxn>
                <a:cxn ang="0">
                  <a:pos x="T6" y="T7"/>
                </a:cxn>
                <a:cxn ang="0">
                  <a:pos x="T8" y="T9"/>
                </a:cxn>
                <a:cxn ang="0">
                  <a:pos x="T10" y="T11"/>
                </a:cxn>
              </a:cxnLst>
              <a:rect l="0" t="0" r="r" b="b"/>
              <a:pathLst>
                <a:path w="12" h="23">
                  <a:moveTo>
                    <a:pt x="2" y="5"/>
                  </a:moveTo>
                  <a:cubicBezTo>
                    <a:pt x="3" y="8"/>
                    <a:pt x="1" y="9"/>
                    <a:pt x="2" y="13"/>
                  </a:cubicBezTo>
                  <a:cubicBezTo>
                    <a:pt x="4" y="17"/>
                    <a:pt x="6" y="23"/>
                    <a:pt x="8" y="18"/>
                  </a:cubicBezTo>
                  <a:cubicBezTo>
                    <a:pt x="10" y="13"/>
                    <a:pt x="12" y="11"/>
                    <a:pt x="9" y="7"/>
                  </a:cubicBezTo>
                  <a:cubicBezTo>
                    <a:pt x="7" y="3"/>
                    <a:pt x="5" y="1"/>
                    <a:pt x="4" y="1"/>
                  </a:cubicBezTo>
                  <a:cubicBezTo>
                    <a:pt x="2" y="0"/>
                    <a:pt x="0" y="4"/>
                    <a:pt x="2"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31" name="Freeform 717">
              <a:extLst>
                <a:ext uri="{FF2B5EF4-FFF2-40B4-BE49-F238E27FC236}">
                  <a16:creationId xmlns:a16="http://schemas.microsoft.com/office/drawing/2014/main" id="{4754A80E-7904-BB47-80A6-91E49ABF22F4}"/>
                </a:ext>
              </a:extLst>
            </p:cNvPr>
            <p:cNvSpPr>
              <a:spLocks/>
            </p:cNvSpPr>
            <p:nvPr/>
          </p:nvSpPr>
          <p:spPr bwMode="auto">
            <a:xfrm>
              <a:off x="3449649" y="2261057"/>
              <a:ext cx="9525" cy="17463"/>
            </a:xfrm>
            <a:custGeom>
              <a:avLst/>
              <a:gdLst>
                <a:gd name="T0" fmla="*/ 3 w 10"/>
                <a:gd name="T1" fmla="*/ 4 h 19"/>
                <a:gd name="T2" fmla="*/ 4 w 10"/>
                <a:gd name="T3" fmla="*/ 14 h 19"/>
                <a:gd name="T4" fmla="*/ 10 w 10"/>
                <a:gd name="T5" fmla="*/ 14 h 19"/>
                <a:gd name="T6" fmla="*/ 6 w 10"/>
                <a:gd name="T7" fmla="*/ 2 h 19"/>
                <a:gd name="T8" fmla="*/ 3 w 10"/>
                <a:gd name="T9" fmla="*/ 4 h 19"/>
              </a:gdLst>
              <a:ahLst/>
              <a:cxnLst>
                <a:cxn ang="0">
                  <a:pos x="T0" y="T1"/>
                </a:cxn>
                <a:cxn ang="0">
                  <a:pos x="T2" y="T3"/>
                </a:cxn>
                <a:cxn ang="0">
                  <a:pos x="T4" y="T5"/>
                </a:cxn>
                <a:cxn ang="0">
                  <a:pos x="T6" y="T7"/>
                </a:cxn>
                <a:cxn ang="0">
                  <a:pos x="T8" y="T9"/>
                </a:cxn>
              </a:cxnLst>
              <a:rect l="0" t="0" r="r" b="b"/>
              <a:pathLst>
                <a:path w="10" h="19">
                  <a:moveTo>
                    <a:pt x="3" y="4"/>
                  </a:moveTo>
                  <a:cubicBezTo>
                    <a:pt x="6" y="9"/>
                    <a:pt x="2" y="12"/>
                    <a:pt x="4" y="14"/>
                  </a:cubicBezTo>
                  <a:cubicBezTo>
                    <a:pt x="6" y="15"/>
                    <a:pt x="10" y="19"/>
                    <a:pt x="10" y="14"/>
                  </a:cubicBezTo>
                  <a:cubicBezTo>
                    <a:pt x="10" y="8"/>
                    <a:pt x="8" y="4"/>
                    <a:pt x="6" y="2"/>
                  </a:cubicBezTo>
                  <a:cubicBezTo>
                    <a:pt x="5" y="0"/>
                    <a:pt x="0" y="0"/>
                    <a:pt x="3"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32" name="Freeform 718">
              <a:extLst>
                <a:ext uri="{FF2B5EF4-FFF2-40B4-BE49-F238E27FC236}">
                  <a16:creationId xmlns:a16="http://schemas.microsoft.com/office/drawing/2014/main" id="{92C2609F-DFE1-8349-B679-6537DC50F585}"/>
                </a:ext>
              </a:extLst>
            </p:cNvPr>
            <p:cNvSpPr>
              <a:spLocks/>
            </p:cNvSpPr>
            <p:nvPr/>
          </p:nvSpPr>
          <p:spPr bwMode="auto">
            <a:xfrm>
              <a:off x="3454411" y="2218194"/>
              <a:ext cx="11113" cy="14288"/>
            </a:xfrm>
            <a:custGeom>
              <a:avLst/>
              <a:gdLst>
                <a:gd name="T0" fmla="*/ 10 w 13"/>
                <a:gd name="T1" fmla="*/ 6 h 16"/>
                <a:gd name="T2" fmla="*/ 1 w 13"/>
                <a:gd name="T3" fmla="*/ 6 h 16"/>
                <a:gd name="T4" fmla="*/ 5 w 13"/>
                <a:gd name="T5" fmla="*/ 14 h 16"/>
                <a:gd name="T6" fmla="*/ 13 w 13"/>
                <a:gd name="T7" fmla="*/ 12 h 16"/>
                <a:gd name="T8" fmla="*/ 10 w 13"/>
                <a:gd name="T9" fmla="*/ 6 h 16"/>
              </a:gdLst>
              <a:ahLst/>
              <a:cxnLst>
                <a:cxn ang="0">
                  <a:pos x="T0" y="T1"/>
                </a:cxn>
                <a:cxn ang="0">
                  <a:pos x="T2" y="T3"/>
                </a:cxn>
                <a:cxn ang="0">
                  <a:pos x="T4" y="T5"/>
                </a:cxn>
                <a:cxn ang="0">
                  <a:pos x="T6" y="T7"/>
                </a:cxn>
                <a:cxn ang="0">
                  <a:pos x="T8" y="T9"/>
                </a:cxn>
              </a:cxnLst>
              <a:rect l="0" t="0" r="r" b="b"/>
              <a:pathLst>
                <a:path w="13" h="16">
                  <a:moveTo>
                    <a:pt x="10" y="6"/>
                  </a:moveTo>
                  <a:cubicBezTo>
                    <a:pt x="5" y="5"/>
                    <a:pt x="0" y="0"/>
                    <a:pt x="1" y="6"/>
                  </a:cubicBezTo>
                  <a:cubicBezTo>
                    <a:pt x="2" y="13"/>
                    <a:pt x="2" y="14"/>
                    <a:pt x="5" y="14"/>
                  </a:cubicBezTo>
                  <a:cubicBezTo>
                    <a:pt x="9" y="14"/>
                    <a:pt x="12" y="16"/>
                    <a:pt x="13" y="12"/>
                  </a:cubicBezTo>
                  <a:cubicBezTo>
                    <a:pt x="13" y="8"/>
                    <a:pt x="11" y="10"/>
                    <a:pt x="10"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33" name="Freeform 719">
              <a:extLst>
                <a:ext uri="{FF2B5EF4-FFF2-40B4-BE49-F238E27FC236}">
                  <a16:creationId xmlns:a16="http://schemas.microsoft.com/office/drawing/2014/main" id="{BC2B6D88-A1E4-E24A-84C0-325ADC1A7FCE}"/>
                </a:ext>
              </a:extLst>
            </p:cNvPr>
            <p:cNvSpPr>
              <a:spLocks/>
            </p:cNvSpPr>
            <p:nvPr/>
          </p:nvSpPr>
          <p:spPr bwMode="auto">
            <a:xfrm>
              <a:off x="3482986" y="2254707"/>
              <a:ext cx="11113" cy="15875"/>
            </a:xfrm>
            <a:custGeom>
              <a:avLst/>
              <a:gdLst>
                <a:gd name="T0" fmla="*/ 1 w 12"/>
                <a:gd name="T1" fmla="*/ 5 h 16"/>
                <a:gd name="T2" fmla="*/ 5 w 12"/>
                <a:gd name="T3" fmla="*/ 15 h 16"/>
                <a:gd name="T4" fmla="*/ 10 w 12"/>
                <a:gd name="T5" fmla="*/ 10 h 16"/>
                <a:gd name="T6" fmla="*/ 5 w 12"/>
                <a:gd name="T7" fmla="*/ 4 h 16"/>
                <a:gd name="T8" fmla="*/ 1 w 12"/>
                <a:gd name="T9" fmla="*/ 5 h 16"/>
              </a:gdLst>
              <a:ahLst/>
              <a:cxnLst>
                <a:cxn ang="0">
                  <a:pos x="T0" y="T1"/>
                </a:cxn>
                <a:cxn ang="0">
                  <a:pos x="T2" y="T3"/>
                </a:cxn>
                <a:cxn ang="0">
                  <a:pos x="T4" y="T5"/>
                </a:cxn>
                <a:cxn ang="0">
                  <a:pos x="T6" y="T7"/>
                </a:cxn>
                <a:cxn ang="0">
                  <a:pos x="T8" y="T9"/>
                </a:cxn>
              </a:cxnLst>
              <a:rect l="0" t="0" r="r" b="b"/>
              <a:pathLst>
                <a:path w="12" h="16">
                  <a:moveTo>
                    <a:pt x="1" y="5"/>
                  </a:moveTo>
                  <a:cubicBezTo>
                    <a:pt x="1" y="9"/>
                    <a:pt x="2" y="14"/>
                    <a:pt x="5" y="15"/>
                  </a:cubicBezTo>
                  <a:cubicBezTo>
                    <a:pt x="8" y="16"/>
                    <a:pt x="12" y="13"/>
                    <a:pt x="10" y="10"/>
                  </a:cubicBezTo>
                  <a:cubicBezTo>
                    <a:pt x="8" y="7"/>
                    <a:pt x="10" y="8"/>
                    <a:pt x="5" y="4"/>
                  </a:cubicBezTo>
                  <a:cubicBezTo>
                    <a:pt x="0" y="0"/>
                    <a:pt x="4" y="1"/>
                    <a:pt x="1"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34" name="Freeform 720">
              <a:extLst>
                <a:ext uri="{FF2B5EF4-FFF2-40B4-BE49-F238E27FC236}">
                  <a16:creationId xmlns:a16="http://schemas.microsoft.com/office/drawing/2014/main" id="{94B9FF2A-61EC-3B40-ADE0-FD1E439081EF}"/>
                </a:ext>
              </a:extLst>
            </p:cNvPr>
            <p:cNvSpPr>
              <a:spLocks/>
            </p:cNvSpPr>
            <p:nvPr/>
          </p:nvSpPr>
          <p:spPr bwMode="auto">
            <a:xfrm>
              <a:off x="3703650" y="1884819"/>
              <a:ext cx="26988" cy="33338"/>
            </a:xfrm>
            <a:custGeom>
              <a:avLst/>
              <a:gdLst>
                <a:gd name="T0" fmla="*/ 9 w 27"/>
                <a:gd name="T1" fmla="*/ 17 h 35"/>
                <a:gd name="T2" fmla="*/ 6 w 27"/>
                <a:gd name="T3" fmla="*/ 25 h 35"/>
                <a:gd name="T4" fmla="*/ 1 w 27"/>
                <a:gd name="T5" fmla="*/ 32 h 35"/>
                <a:gd name="T6" fmla="*/ 6 w 27"/>
                <a:gd name="T7" fmla="*/ 34 h 35"/>
                <a:gd name="T8" fmla="*/ 16 w 27"/>
                <a:gd name="T9" fmla="*/ 30 h 35"/>
                <a:gd name="T10" fmla="*/ 16 w 27"/>
                <a:gd name="T11" fmla="*/ 21 h 35"/>
                <a:gd name="T12" fmla="*/ 15 w 27"/>
                <a:gd name="T13" fmla="*/ 16 h 35"/>
                <a:gd name="T14" fmla="*/ 17 w 27"/>
                <a:gd name="T15" fmla="*/ 12 h 35"/>
                <a:gd name="T16" fmla="*/ 24 w 27"/>
                <a:gd name="T17" fmla="*/ 10 h 35"/>
                <a:gd name="T18" fmla="*/ 22 w 27"/>
                <a:gd name="T19" fmla="*/ 2 h 35"/>
                <a:gd name="T20" fmla="*/ 14 w 27"/>
                <a:gd name="T21" fmla="*/ 7 h 35"/>
                <a:gd name="T22" fmla="*/ 11 w 27"/>
                <a:gd name="T23" fmla="*/ 12 h 35"/>
                <a:gd name="T24" fmla="*/ 9 w 27"/>
                <a:gd name="T25"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5">
                  <a:moveTo>
                    <a:pt x="9" y="17"/>
                  </a:moveTo>
                  <a:cubicBezTo>
                    <a:pt x="9" y="23"/>
                    <a:pt x="9" y="21"/>
                    <a:pt x="6" y="25"/>
                  </a:cubicBezTo>
                  <a:cubicBezTo>
                    <a:pt x="4" y="29"/>
                    <a:pt x="0" y="30"/>
                    <a:pt x="1" y="32"/>
                  </a:cubicBezTo>
                  <a:cubicBezTo>
                    <a:pt x="3" y="33"/>
                    <a:pt x="0" y="35"/>
                    <a:pt x="6" y="34"/>
                  </a:cubicBezTo>
                  <a:cubicBezTo>
                    <a:pt x="12" y="32"/>
                    <a:pt x="16" y="34"/>
                    <a:pt x="16" y="30"/>
                  </a:cubicBezTo>
                  <a:cubicBezTo>
                    <a:pt x="16" y="25"/>
                    <a:pt x="16" y="24"/>
                    <a:pt x="16" y="21"/>
                  </a:cubicBezTo>
                  <a:cubicBezTo>
                    <a:pt x="16" y="18"/>
                    <a:pt x="15" y="18"/>
                    <a:pt x="15" y="16"/>
                  </a:cubicBezTo>
                  <a:cubicBezTo>
                    <a:pt x="16" y="14"/>
                    <a:pt x="13" y="13"/>
                    <a:pt x="17" y="12"/>
                  </a:cubicBezTo>
                  <a:cubicBezTo>
                    <a:pt x="22" y="11"/>
                    <a:pt x="24" y="15"/>
                    <a:pt x="24" y="10"/>
                  </a:cubicBezTo>
                  <a:cubicBezTo>
                    <a:pt x="25" y="5"/>
                    <a:pt x="27" y="0"/>
                    <a:pt x="22" y="2"/>
                  </a:cubicBezTo>
                  <a:cubicBezTo>
                    <a:pt x="17" y="4"/>
                    <a:pt x="16" y="5"/>
                    <a:pt x="14" y="7"/>
                  </a:cubicBezTo>
                  <a:cubicBezTo>
                    <a:pt x="12" y="9"/>
                    <a:pt x="11" y="10"/>
                    <a:pt x="11" y="12"/>
                  </a:cubicBezTo>
                  <a:cubicBezTo>
                    <a:pt x="10" y="14"/>
                    <a:pt x="7" y="14"/>
                    <a:pt x="9" y="1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35" name="Freeform 721">
              <a:extLst>
                <a:ext uri="{FF2B5EF4-FFF2-40B4-BE49-F238E27FC236}">
                  <a16:creationId xmlns:a16="http://schemas.microsoft.com/office/drawing/2014/main" id="{E15280B5-BC66-3149-BAB9-C52EBD726829}"/>
                </a:ext>
              </a:extLst>
            </p:cNvPr>
            <p:cNvSpPr>
              <a:spLocks/>
            </p:cNvSpPr>
            <p:nvPr/>
          </p:nvSpPr>
          <p:spPr bwMode="auto">
            <a:xfrm>
              <a:off x="3670312" y="1914981"/>
              <a:ext cx="14288" cy="15875"/>
            </a:xfrm>
            <a:custGeom>
              <a:avLst/>
              <a:gdLst>
                <a:gd name="T0" fmla="*/ 2 w 14"/>
                <a:gd name="T1" fmla="*/ 3 h 16"/>
                <a:gd name="T2" fmla="*/ 2 w 14"/>
                <a:gd name="T3" fmla="*/ 10 h 16"/>
                <a:gd name="T4" fmla="*/ 7 w 14"/>
                <a:gd name="T5" fmla="*/ 13 h 16"/>
                <a:gd name="T6" fmla="*/ 12 w 14"/>
                <a:gd name="T7" fmla="*/ 7 h 16"/>
                <a:gd name="T8" fmla="*/ 12 w 14"/>
                <a:gd name="T9" fmla="*/ 0 h 16"/>
                <a:gd name="T10" fmla="*/ 6 w 14"/>
                <a:gd name="T11" fmla="*/ 0 h 16"/>
                <a:gd name="T12" fmla="*/ 2 w 14"/>
                <a:gd name="T13" fmla="*/ 3 h 16"/>
              </a:gdLst>
              <a:ahLst/>
              <a:cxnLst>
                <a:cxn ang="0">
                  <a:pos x="T0" y="T1"/>
                </a:cxn>
                <a:cxn ang="0">
                  <a:pos x="T2" y="T3"/>
                </a:cxn>
                <a:cxn ang="0">
                  <a:pos x="T4" y="T5"/>
                </a:cxn>
                <a:cxn ang="0">
                  <a:pos x="T6" y="T7"/>
                </a:cxn>
                <a:cxn ang="0">
                  <a:pos x="T8" y="T9"/>
                </a:cxn>
                <a:cxn ang="0">
                  <a:pos x="T10" y="T11"/>
                </a:cxn>
                <a:cxn ang="0">
                  <a:pos x="T12" y="T13"/>
                </a:cxn>
              </a:cxnLst>
              <a:rect l="0" t="0" r="r" b="b"/>
              <a:pathLst>
                <a:path w="14" h="16">
                  <a:moveTo>
                    <a:pt x="2" y="3"/>
                  </a:moveTo>
                  <a:cubicBezTo>
                    <a:pt x="1" y="5"/>
                    <a:pt x="0" y="8"/>
                    <a:pt x="2" y="10"/>
                  </a:cubicBezTo>
                  <a:cubicBezTo>
                    <a:pt x="5" y="13"/>
                    <a:pt x="4" y="16"/>
                    <a:pt x="7" y="13"/>
                  </a:cubicBezTo>
                  <a:cubicBezTo>
                    <a:pt x="10" y="10"/>
                    <a:pt x="10" y="9"/>
                    <a:pt x="12" y="7"/>
                  </a:cubicBezTo>
                  <a:cubicBezTo>
                    <a:pt x="13" y="4"/>
                    <a:pt x="14" y="1"/>
                    <a:pt x="12" y="0"/>
                  </a:cubicBezTo>
                  <a:cubicBezTo>
                    <a:pt x="10" y="0"/>
                    <a:pt x="8" y="0"/>
                    <a:pt x="6" y="0"/>
                  </a:cubicBezTo>
                  <a:cubicBezTo>
                    <a:pt x="4" y="0"/>
                    <a:pt x="1" y="1"/>
                    <a:pt x="2"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36" name="Freeform 722">
              <a:extLst>
                <a:ext uri="{FF2B5EF4-FFF2-40B4-BE49-F238E27FC236}">
                  <a16:creationId xmlns:a16="http://schemas.microsoft.com/office/drawing/2014/main" id="{1FFFB100-3C9D-4D48-A5ED-2B0A46E574CD}"/>
                </a:ext>
              </a:extLst>
            </p:cNvPr>
            <p:cNvSpPr>
              <a:spLocks/>
            </p:cNvSpPr>
            <p:nvPr/>
          </p:nvSpPr>
          <p:spPr bwMode="auto">
            <a:xfrm>
              <a:off x="3644912" y="1899106"/>
              <a:ext cx="25400" cy="23813"/>
            </a:xfrm>
            <a:custGeom>
              <a:avLst/>
              <a:gdLst>
                <a:gd name="T0" fmla="*/ 2 w 26"/>
                <a:gd name="T1" fmla="*/ 12 h 25"/>
                <a:gd name="T2" fmla="*/ 5 w 26"/>
                <a:gd name="T3" fmla="*/ 18 h 25"/>
                <a:gd name="T4" fmla="*/ 9 w 26"/>
                <a:gd name="T5" fmla="*/ 21 h 25"/>
                <a:gd name="T6" fmla="*/ 15 w 26"/>
                <a:gd name="T7" fmla="*/ 15 h 25"/>
                <a:gd name="T8" fmla="*/ 21 w 26"/>
                <a:gd name="T9" fmla="*/ 10 h 25"/>
                <a:gd name="T10" fmla="*/ 21 w 26"/>
                <a:gd name="T11" fmla="*/ 3 h 25"/>
                <a:gd name="T12" fmla="*/ 13 w 26"/>
                <a:gd name="T13" fmla="*/ 7 h 25"/>
                <a:gd name="T14" fmla="*/ 7 w 26"/>
                <a:gd name="T15" fmla="*/ 8 h 25"/>
                <a:gd name="T16" fmla="*/ 2 w 26"/>
                <a:gd name="T17"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5">
                  <a:moveTo>
                    <a:pt x="2" y="12"/>
                  </a:moveTo>
                  <a:cubicBezTo>
                    <a:pt x="4" y="16"/>
                    <a:pt x="4" y="14"/>
                    <a:pt x="5" y="18"/>
                  </a:cubicBezTo>
                  <a:cubicBezTo>
                    <a:pt x="6" y="21"/>
                    <a:pt x="5" y="25"/>
                    <a:pt x="9" y="21"/>
                  </a:cubicBezTo>
                  <a:cubicBezTo>
                    <a:pt x="13" y="18"/>
                    <a:pt x="12" y="18"/>
                    <a:pt x="15" y="15"/>
                  </a:cubicBezTo>
                  <a:cubicBezTo>
                    <a:pt x="19" y="12"/>
                    <a:pt x="19" y="16"/>
                    <a:pt x="21" y="10"/>
                  </a:cubicBezTo>
                  <a:cubicBezTo>
                    <a:pt x="22" y="4"/>
                    <a:pt x="26" y="0"/>
                    <a:pt x="21" y="3"/>
                  </a:cubicBezTo>
                  <a:cubicBezTo>
                    <a:pt x="15" y="6"/>
                    <a:pt x="15" y="7"/>
                    <a:pt x="13" y="7"/>
                  </a:cubicBezTo>
                  <a:cubicBezTo>
                    <a:pt x="10" y="7"/>
                    <a:pt x="10" y="7"/>
                    <a:pt x="7" y="8"/>
                  </a:cubicBezTo>
                  <a:cubicBezTo>
                    <a:pt x="3" y="10"/>
                    <a:pt x="0" y="9"/>
                    <a:pt x="2" y="1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37" name="Freeform 723">
              <a:extLst>
                <a:ext uri="{FF2B5EF4-FFF2-40B4-BE49-F238E27FC236}">
                  <a16:creationId xmlns:a16="http://schemas.microsoft.com/office/drawing/2014/main" id="{FDE0D97F-7222-5246-AA9D-185575FA7801}"/>
                </a:ext>
              </a:extLst>
            </p:cNvPr>
            <p:cNvSpPr>
              <a:spLocks/>
            </p:cNvSpPr>
            <p:nvPr/>
          </p:nvSpPr>
          <p:spPr bwMode="auto">
            <a:xfrm>
              <a:off x="3621099" y="1891169"/>
              <a:ext cx="9525" cy="17463"/>
            </a:xfrm>
            <a:custGeom>
              <a:avLst/>
              <a:gdLst>
                <a:gd name="T0" fmla="*/ 3 w 10"/>
                <a:gd name="T1" fmla="*/ 9 h 19"/>
                <a:gd name="T2" fmla="*/ 5 w 10"/>
                <a:gd name="T3" fmla="*/ 16 h 19"/>
                <a:gd name="T4" fmla="*/ 9 w 10"/>
                <a:gd name="T5" fmla="*/ 16 h 19"/>
                <a:gd name="T6" fmla="*/ 10 w 10"/>
                <a:gd name="T7" fmla="*/ 9 h 19"/>
                <a:gd name="T8" fmla="*/ 4 w 10"/>
                <a:gd name="T9" fmla="*/ 3 h 19"/>
                <a:gd name="T10" fmla="*/ 3 w 10"/>
                <a:gd name="T11" fmla="*/ 9 h 19"/>
              </a:gdLst>
              <a:ahLst/>
              <a:cxnLst>
                <a:cxn ang="0">
                  <a:pos x="T0" y="T1"/>
                </a:cxn>
                <a:cxn ang="0">
                  <a:pos x="T2" y="T3"/>
                </a:cxn>
                <a:cxn ang="0">
                  <a:pos x="T4" y="T5"/>
                </a:cxn>
                <a:cxn ang="0">
                  <a:pos x="T6" y="T7"/>
                </a:cxn>
                <a:cxn ang="0">
                  <a:pos x="T8" y="T9"/>
                </a:cxn>
                <a:cxn ang="0">
                  <a:pos x="T10" y="T11"/>
                </a:cxn>
              </a:cxnLst>
              <a:rect l="0" t="0" r="r" b="b"/>
              <a:pathLst>
                <a:path w="10" h="19">
                  <a:moveTo>
                    <a:pt x="3" y="9"/>
                  </a:moveTo>
                  <a:cubicBezTo>
                    <a:pt x="3" y="11"/>
                    <a:pt x="3" y="15"/>
                    <a:pt x="5" y="16"/>
                  </a:cubicBezTo>
                  <a:cubicBezTo>
                    <a:pt x="6" y="18"/>
                    <a:pt x="8" y="19"/>
                    <a:pt x="9" y="16"/>
                  </a:cubicBezTo>
                  <a:cubicBezTo>
                    <a:pt x="10" y="13"/>
                    <a:pt x="10" y="13"/>
                    <a:pt x="10" y="9"/>
                  </a:cubicBezTo>
                  <a:cubicBezTo>
                    <a:pt x="9" y="4"/>
                    <a:pt x="8" y="0"/>
                    <a:pt x="4" y="3"/>
                  </a:cubicBezTo>
                  <a:cubicBezTo>
                    <a:pt x="0" y="6"/>
                    <a:pt x="1" y="6"/>
                    <a:pt x="3" y="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38" name="Freeform 724">
              <a:extLst>
                <a:ext uri="{FF2B5EF4-FFF2-40B4-BE49-F238E27FC236}">
                  <a16:creationId xmlns:a16="http://schemas.microsoft.com/office/drawing/2014/main" id="{57253267-FD63-CA4F-8D93-18DDF4B5F41C}"/>
                </a:ext>
              </a:extLst>
            </p:cNvPr>
            <p:cNvSpPr>
              <a:spLocks/>
            </p:cNvSpPr>
            <p:nvPr/>
          </p:nvSpPr>
          <p:spPr bwMode="auto">
            <a:xfrm>
              <a:off x="3635387" y="1911806"/>
              <a:ext cx="9525" cy="11113"/>
            </a:xfrm>
            <a:custGeom>
              <a:avLst/>
              <a:gdLst>
                <a:gd name="T0" fmla="*/ 3 w 11"/>
                <a:gd name="T1" fmla="*/ 3 h 11"/>
                <a:gd name="T2" fmla="*/ 2 w 11"/>
                <a:gd name="T3" fmla="*/ 7 h 11"/>
                <a:gd name="T4" fmla="*/ 5 w 11"/>
                <a:gd name="T5" fmla="*/ 10 h 11"/>
                <a:gd name="T6" fmla="*/ 9 w 11"/>
                <a:gd name="T7" fmla="*/ 8 h 11"/>
                <a:gd name="T8" fmla="*/ 10 w 11"/>
                <a:gd name="T9" fmla="*/ 3 h 11"/>
                <a:gd name="T10" fmla="*/ 6 w 11"/>
                <a:gd name="T11" fmla="*/ 0 h 11"/>
                <a:gd name="T12" fmla="*/ 3 w 11"/>
                <a:gd name="T13" fmla="*/ 3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3" y="3"/>
                  </a:moveTo>
                  <a:cubicBezTo>
                    <a:pt x="2" y="6"/>
                    <a:pt x="0" y="6"/>
                    <a:pt x="2" y="7"/>
                  </a:cubicBezTo>
                  <a:cubicBezTo>
                    <a:pt x="4" y="8"/>
                    <a:pt x="3" y="11"/>
                    <a:pt x="5" y="10"/>
                  </a:cubicBezTo>
                  <a:cubicBezTo>
                    <a:pt x="8" y="9"/>
                    <a:pt x="8" y="11"/>
                    <a:pt x="9" y="8"/>
                  </a:cubicBezTo>
                  <a:cubicBezTo>
                    <a:pt x="10" y="5"/>
                    <a:pt x="11" y="6"/>
                    <a:pt x="10" y="3"/>
                  </a:cubicBezTo>
                  <a:cubicBezTo>
                    <a:pt x="8" y="1"/>
                    <a:pt x="7" y="1"/>
                    <a:pt x="6" y="0"/>
                  </a:cubicBezTo>
                  <a:cubicBezTo>
                    <a:pt x="5" y="0"/>
                    <a:pt x="1" y="2"/>
                    <a:pt x="3"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39" name="Freeform 725">
              <a:extLst>
                <a:ext uri="{FF2B5EF4-FFF2-40B4-BE49-F238E27FC236}">
                  <a16:creationId xmlns:a16="http://schemas.microsoft.com/office/drawing/2014/main" id="{C209C798-CFE3-9A4D-8F97-C144C048824C}"/>
                </a:ext>
              </a:extLst>
            </p:cNvPr>
            <p:cNvSpPr>
              <a:spLocks/>
            </p:cNvSpPr>
            <p:nvPr/>
          </p:nvSpPr>
          <p:spPr bwMode="auto">
            <a:xfrm>
              <a:off x="3617924" y="1921331"/>
              <a:ext cx="7938" cy="12700"/>
            </a:xfrm>
            <a:custGeom>
              <a:avLst/>
              <a:gdLst>
                <a:gd name="T0" fmla="*/ 2 w 8"/>
                <a:gd name="T1" fmla="*/ 3 h 13"/>
                <a:gd name="T2" fmla="*/ 2 w 8"/>
                <a:gd name="T3" fmla="*/ 7 h 13"/>
                <a:gd name="T4" fmla="*/ 5 w 8"/>
                <a:gd name="T5" fmla="*/ 11 h 13"/>
                <a:gd name="T6" fmla="*/ 7 w 8"/>
                <a:gd name="T7" fmla="*/ 7 h 13"/>
                <a:gd name="T8" fmla="*/ 7 w 8"/>
                <a:gd name="T9" fmla="*/ 0 h 13"/>
                <a:gd name="T10" fmla="*/ 2 w 8"/>
                <a:gd name="T11" fmla="*/ 3 h 13"/>
              </a:gdLst>
              <a:ahLst/>
              <a:cxnLst>
                <a:cxn ang="0">
                  <a:pos x="T0" y="T1"/>
                </a:cxn>
                <a:cxn ang="0">
                  <a:pos x="T2" y="T3"/>
                </a:cxn>
                <a:cxn ang="0">
                  <a:pos x="T4" y="T5"/>
                </a:cxn>
                <a:cxn ang="0">
                  <a:pos x="T6" y="T7"/>
                </a:cxn>
                <a:cxn ang="0">
                  <a:pos x="T8" y="T9"/>
                </a:cxn>
                <a:cxn ang="0">
                  <a:pos x="T10" y="T11"/>
                </a:cxn>
              </a:cxnLst>
              <a:rect l="0" t="0" r="r" b="b"/>
              <a:pathLst>
                <a:path w="8" h="13">
                  <a:moveTo>
                    <a:pt x="2" y="3"/>
                  </a:moveTo>
                  <a:cubicBezTo>
                    <a:pt x="2" y="5"/>
                    <a:pt x="0" y="4"/>
                    <a:pt x="2" y="7"/>
                  </a:cubicBezTo>
                  <a:cubicBezTo>
                    <a:pt x="3" y="11"/>
                    <a:pt x="4" y="13"/>
                    <a:pt x="5" y="11"/>
                  </a:cubicBezTo>
                  <a:cubicBezTo>
                    <a:pt x="7" y="9"/>
                    <a:pt x="6" y="11"/>
                    <a:pt x="7" y="7"/>
                  </a:cubicBezTo>
                  <a:cubicBezTo>
                    <a:pt x="8" y="4"/>
                    <a:pt x="8" y="0"/>
                    <a:pt x="7" y="0"/>
                  </a:cubicBezTo>
                  <a:cubicBezTo>
                    <a:pt x="5" y="1"/>
                    <a:pt x="0" y="1"/>
                    <a:pt x="2"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40" name="Freeform 726">
              <a:extLst>
                <a:ext uri="{FF2B5EF4-FFF2-40B4-BE49-F238E27FC236}">
                  <a16:creationId xmlns:a16="http://schemas.microsoft.com/office/drawing/2014/main" id="{BCACEA2D-E340-624D-9DCD-96CAC4942037}"/>
                </a:ext>
              </a:extLst>
            </p:cNvPr>
            <p:cNvSpPr>
              <a:spLocks/>
            </p:cNvSpPr>
            <p:nvPr/>
          </p:nvSpPr>
          <p:spPr bwMode="auto">
            <a:xfrm>
              <a:off x="4095763" y="1602243"/>
              <a:ext cx="30163" cy="19050"/>
            </a:xfrm>
            <a:custGeom>
              <a:avLst/>
              <a:gdLst>
                <a:gd name="T0" fmla="*/ 10 w 31"/>
                <a:gd name="T1" fmla="*/ 4 h 20"/>
                <a:gd name="T2" fmla="*/ 5 w 31"/>
                <a:gd name="T3" fmla="*/ 7 h 20"/>
                <a:gd name="T4" fmla="*/ 3 w 31"/>
                <a:gd name="T5" fmla="*/ 11 h 20"/>
                <a:gd name="T6" fmla="*/ 8 w 31"/>
                <a:gd name="T7" fmla="*/ 14 h 20"/>
                <a:gd name="T8" fmla="*/ 12 w 31"/>
                <a:gd name="T9" fmla="*/ 14 h 20"/>
                <a:gd name="T10" fmla="*/ 15 w 31"/>
                <a:gd name="T11" fmla="*/ 17 h 20"/>
                <a:gd name="T12" fmla="*/ 23 w 31"/>
                <a:gd name="T13" fmla="*/ 17 h 20"/>
                <a:gd name="T14" fmla="*/ 26 w 31"/>
                <a:gd name="T15" fmla="*/ 12 h 20"/>
                <a:gd name="T16" fmla="*/ 29 w 31"/>
                <a:gd name="T17" fmla="*/ 8 h 20"/>
                <a:gd name="T18" fmla="*/ 23 w 31"/>
                <a:gd name="T19" fmla="*/ 5 h 20"/>
                <a:gd name="T20" fmla="*/ 21 w 31"/>
                <a:gd name="T21" fmla="*/ 2 h 20"/>
                <a:gd name="T22" fmla="*/ 16 w 31"/>
                <a:gd name="T23" fmla="*/ 1 h 20"/>
                <a:gd name="T24" fmla="*/ 12 w 31"/>
                <a:gd name="T25" fmla="*/ 3 h 20"/>
                <a:gd name="T26" fmla="*/ 10 w 31"/>
                <a:gd name="T2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20">
                  <a:moveTo>
                    <a:pt x="10" y="4"/>
                  </a:moveTo>
                  <a:cubicBezTo>
                    <a:pt x="7" y="5"/>
                    <a:pt x="7" y="5"/>
                    <a:pt x="5" y="7"/>
                  </a:cubicBezTo>
                  <a:cubicBezTo>
                    <a:pt x="3" y="8"/>
                    <a:pt x="0" y="9"/>
                    <a:pt x="3" y="11"/>
                  </a:cubicBezTo>
                  <a:cubicBezTo>
                    <a:pt x="5" y="14"/>
                    <a:pt x="6" y="14"/>
                    <a:pt x="8" y="14"/>
                  </a:cubicBezTo>
                  <a:cubicBezTo>
                    <a:pt x="11" y="13"/>
                    <a:pt x="12" y="13"/>
                    <a:pt x="12" y="14"/>
                  </a:cubicBezTo>
                  <a:cubicBezTo>
                    <a:pt x="12" y="15"/>
                    <a:pt x="9" y="17"/>
                    <a:pt x="15" y="17"/>
                  </a:cubicBezTo>
                  <a:cubicBezTo>
                    <a:pt x="21" y="17"/>
                    <a:pt x="21" y="20"/>
                    <a:pt x="23" y="17"/>
                  </a:cubicBezTo>
                  <a:cubicBezTo>
                    <a:pt x="26" y="14"/>
                    <a:pt x="23" y="14"/>
                    <a:pt x="26" y="12"/>
                  </a:cubicBezTo>
                  <a:cubicBezTo>
                    <a:pt x="29" y="10"/>
                    <a:pt x="31" y="9"/>
                    <a:pt x="29" y="8"/>
                  </a:cubicBezTo>
                  <a:cubicBezTo>
                    <a:pt x="26" y="6"/>
                    <a:pt x="25" y="6"/>
                    <a:pt x="23" y="5"/>
                  </a:cubicBezTo>
                  <a:cubicBezTo>
                    <a:pt x="22" y="4"/>
                    <a:pt x="22" y="4"/>
                    <a:pt x="21" y="2"/>
                  </a:cubicBezTo>
                  <a:cubicBezTo>
                    <a:pt x="20" y="0"/>
                    <a:pt x="17" y="0"/>
                    <a:pt x="16" y="1"/>
                  </a:cubicBezTo>
                  <a:cubicBezTo>
                    <a:pt x="14" y="1"/>
                    <a:pt x="12" y="2"/>
                    <a:pt x="12" y="3"/>
                  </a:cubicBezTo>
                  <a:cubicBezTo>
                    <a:pt x="11" y="3"/>
                    <a:pt x="9" y="2"/>
                    <a:pt x="10"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41" name="Freeform 727">
              <a:extLst>
                <a:ext uri="{FF2B5EF4-FFF2-40B4-BE49-F238E27FC236}">
                  <a16:creationId xmlns:a16="http://schemas.microsoft.com/office/drawing/2014/main" id="{D5D67E47-2C8B-F246-8E78-2E1288E2680B}"/>
                </a:ext>
              </a:extLst>
            </p:cNvPr>
            <p:cNvSpPr>
              <a:spLocks/>
            </p:cNvSpPr>
            <p:nvPr/>
          </p:nvSpPr>
          <p:spPr bwMode="auto">
            <a:xfrm>
              <a:off x="4070363" y="1621294"/>
              <a:ext cx="14288" cy="15875"/>
            </a:xfrm>
            <a:custGeom>
              <a:avLst/>
              <a:gdLst>
                <a:gd name="T0" fmla="*/ 1 w 15"/>
                <a:gd name="T1" fmla="*/ 6 h 17"/>
                <a:gd name="T2" fmla="*/ 4 w 15"/>
                <a:gd name="T3" fmla="*/ 13 h 17"/>
                <a:gd name="T4" fmla="*/ 9 w 15"/>
                <a:gd name="T5" fmla="*/ 14 h 17"/>
                <a:gd name="T6" fmla="*/ 10 w 15"/>
                <a:gd name="T7" fmla="*/ 8 h 17"/>
                <a:gd name="T8" fmla="*/ 11 w 15"/>
                <a:gd name="T9" fmla="*/ 4 h 17"/>
                <a:gd name="T10" fmla="*/ 3 w 15"/>
                <a:gd name="T11" fmla="*/ 1 h 17"/>
                <a:gd name="T12" fmla="*/ 1 w 15"/>
                <a:gd name="T13" fmla="*/ 6 h 17"/>
              </a:gdLst>
              <a:ahLst/>
              <a:cxnLst>
                <a:cxn ang="0">
                  <a:pos x="T0" y="T1"/>
                </a:cxn>
                <a:cxn ang="0">
                  <a:pos x="T2" y="T3"/>
                </a:cxn>
                <a:cxn ang="0">
                  <a:pos x="T4" y="T5"/>
                </a:cxn>
                <a:cxn ang="0">
                  <a:pos x="T6" y="T7"/>
                </a:cxn>
                <a:cxn ang="0">
                  <a:pos x="T8" y="T9"/>
                </a:cxn>
                <a:cxn ang="0">
                  <a:pos x="T10" y="T11"/>
                </a:cxn>
                <a:cxn ang="0">
                  <a:pos x="T12" y="T13"/>
                </a:cxn>
              </a:cxnLst>
              <a:rect l="0" t="0" r="r" b="b"/>
              <a:pathLst>
                <a:path w="15" h="17">
                  <a:moveTo>
                    <a:pt x="1" y="6"/>
                  </a:moveTo>
                  <a:cubicBezTo>
                    <a:pt x="1" y="9"/>
                    <a:pt x="4" y="8"/>
                    <a:pt x="4" y="13"/>
                  </a:cubicBezTo>
                  <a:cubicBezTo>
                    <a:pt x="4" y="17"/>
                    <a:pt x="8" y="17"/>
                    <a:pt x="9" y="14"/>
                  </a:cubicBezTo>
                  <a:cubicBezTo>
                    <a:pt x="9" y="11"/>
                    <a:pt x="9" y="10"/>
                    <a:pt x="10" y="8"/>
                  </a:cubicBezTo>
                  <a:cubicBezTo>
                    <a:pt x="11" y="5"/>
                    <a:pt x="15" y="5"/>
                    <a:pt x="11" y="4"/>
                  </a:cubicBezTo>
                  <a:cubicBezTo>
                    <a:pt x="7" y="2"/>
                    <a:pt x="5" y="0"/>
                    <a:pt x="3" y="1"/>
                  </a:cubicBezTo>
                  <a:cubicBezTo>
                    <a:pt x="2" y="3"/>
                    <a:pt x="0" y="5"/>
                    <a:pt x="1"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42" name="Freeform 728">
              <a:extLst>
                <a:ext uri="{FF2B5EF4-FFF2-40B4-BE49-F238E27FC236}">
                  <a16:creationId xmlns:a16="http://schemas.microsoft.com/office/drawing/2014/main" id="{6BB9F8DE-3A00-3047-975F-0A231EF29BA5}"/>
                </a:ext>
              </a:extLst>
            </p:cNvPr>
            <p:cNvSpPr>
              <a:spLocks/>
            </p:cNvSpPr>
            <p:nvPr/>
          </p:nvSpPr>
          <p:spPr bwMode="auto">
            <a:xfrm>
              <a:off x="4127513" y="1597481"/>
              <a:ext cx="17463" cy="9525"/>
            </a:xfrm>
            <a:custGeom>
              <a:avLst/>
              <a:gdLst>
                <a:gd name="T0" fmla="*/ 4 w 18"/>
                <a:gd name="T1" fmla="*/ 1 h 9"/>
                <a:gd name="T2" fmla="*/ 12 w 18"/>
                <a:gd name="T3" fmla="*/ 2 h 9"/>
                <a:gd name="T4" fmla="*/ 17 w 18"/>
                <a:gd name="T5" fmla="*/ 4 h 9"/>
                <a:gd name="T6" fmla="*/ 15 w 18"/>
                <a:gd name="T7" fmla="*/ 8 h 9"/>
                <a:gd name="T8" fmla="*/ 10 w 18"/>
                <a:gd name="T9" fmla="*/ 8 h 9"/>
                <a:gd name="T10" fmla="*/ 0 w 18"/>
                <a:gd name="T11" fmla="*/ 5 h 9"/>
                <a:gd name="T12" fmla="*/ 4 w 18"/>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8" h="9">
                  <a:moveTo>
                    <a:pt x="4" y="1"/>
                  </a:moveTo>
                  <a:cubicBezTo>
                    <a:pt x="7" y="1"/>
                    <a:pt x="10" y="2"/>
                    <a:pt x="12" y="2"/>
                  </a:cubicBezTo>
                  <a:cubicBezTo>
                    <a:pt x="15" y="3"/>
                    <a:pt x="17" y="2"/>
                    <a:pt x="17" y="4"/>
                  </a:cubicBezTo>
                  <a:cubicBezTo>
                    <a:pt x="16" y="7"/>
                    <a:pt x="18" y="8"/>
                    <a:pt x="15" y="8"/>
                  </a:cubicBezTo>
                  <a:cubicBezTo>
                    <a:pt x="12" y="8"/>
                    <a:pt x="15" y="9"/>
                    <a:pt x="10" y="8"/>
                  </a:cubicBezTo>
                  <a:cubicBezTo>
                    <a:pt x="4" y="7"/>
                    <a:pt x="0" y="6"/>
                    <a:pt x="0" y="5"/>
                  </a:cubicBezTo>
                  <a:cubicBezTo>
                    <a:pt x="1" y="3"/>
                    <a:pt x="2" y="0"/>
                    <a:pt x="4" y="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43" name="Freeform 729">
              <a:extLst>
                <a:ext uri="{FF2B5EF4-FFF2-40B4-BE49-F238E27FC236}">
                  <a16:creationId xmlns:a16="http://schemas.microsoft.com/office/drawing/2014/main" id="{1AF14D87-F0A1-5749-9727-46B3DB85C2F6}"/>
                </a:ext>
              </a:extLst>
            </p:cNvPr>
            <p:cNvSpPr>
              <a:spLocks/>
            </p:cNvSpPr>
            <p:nvPr/>
          </p:nvSpPr>
          <p:spPr bwMode="auto">
            <a:xfrm>
              <a:off x="3000385" y="576717"/>
              <a:ext cx="957265" cy="514351"/>
            </a:xfrm>
            <a:custGeom>
              <a:avLst/>
              <a:gdLst>
                <a:gd name="T0" fmla="*/ 274 w 1005"/>
                <a:gd name="T1" fmla="*/ 519 h 540"/>
                <a:gd name="T2" fmla="*/ 308 w 1005"/>
                <a:gd name="T3" fmla="*/ 476 h 540"/>
                <a:gd name="T4" fmla="*/ 340 w 1005"/>
                <a:gd name="T5" fmla="*/ 449 h 540"/>
                <a:gd name="T6" fmla="*/ 364 w 1005"/>
                <a:gd name="T7" fmla="*/ 412 h 540"/>
                <a:gd name="T8" fmla="*/ 410 w 1005"/>
                <a:gd name="T9" fmla="*/ 394 h 540"/>
                <a:gd name="T10" fmla="*/ 469 w 1005"/>
                <a:gd name="T11" fmla="*/ 384 h 540"/>
                <a:gd name="T12" fmla="*/ 554 w 1005"/>
                <a:gd name="T13" fmla="*/ 340 h 540"/>
                <a:gd name="T14" fmla="*/ 637 w 1005"/>
                <a:gd name="T15" fmla="*/ 323 h 540"/>
                <a:gd name="T16" fmla="*/ 750 w 1005"/>
                <a:gd name="T17" fmla="*/ 286 h 540"/>
                <a:gd name="T18" fmla="*/ 662 w 1005"/>
                <a:gd name="T19" fmla="*/ 279 h 540"/>
                <a:gd name="T20" fmla="*/ 718 w 1005"/>
                <a:gd name="T21" fmla="*/ 258 h 540"/>
                <a:gd name="T22" fmla="*/ 769 w 1005"/>
                <a:gd name="T23" fmla="*/ 255 h 540"/>
                <a:gd name="T24" fmla="*/ 720 w 1005"/>
                <a:gd name="T25" fmla="*/ 208 h 540"/>
                <a:gd name="T26" fmla="*/ 772 w 1005"/>
                <a:gd name="T27" fmla="*/ 231 h 540"/>
                <a:gd name="T28" fmla="*/ 800 w 1005"/>
                <a:gd name="T29" fmla="*/ 208 h 540"/>
                <a:gd name="T30" fmla="*/ 842 w 1005"/>
                <a:gd name="T31" fmla="*/ 187 h 540"/>
                <a:gd name="T32" fmla="*/ 834 w 1005"/>
                <a:gd name="T33" fmla="*/ 172 h 540"/>
                <a:gd name="T34" fmla="*/ 809 w 1005"/>
                <a:gd name="T35" fmla="*/ 138 h 540"/>
                <a:gd name="T36" fmla="*/ 860 w 1005"/>
                <a:gd name="T37" fmla="*/ 140 h 540"/>
                <a:gd name="T38" fmla="*/ 854 w 1005"/>
                <a:gd name="T39" fmla="*/ 112 h 540"/>
                <a:gd name="T40" fmla="*/ 856 w 1005"/>
                <a:gd name="T41" fmla="*/ 93 h 540"/>
                <a:gd name="T42" fmla="*/ 897 w 1005"/>
                <a:gd name="T43" fmla="*/ 65 h 540"/>
                <a:gd name="T44" fmla="*/ 995 w 1005"/>
                <a:gd name="T45" fmla="*/ 42 h 540"/>
                <a:gd name="T46" fmla="*/ 891 w 1005"/>
                <a:gd name="T47" fmla="*/ 44 h 540"/>
                <a:gd name="T48" fmla="*/ 846 w 1005"/>
                <a:gd name="T49" fmla="*/ 36 h 540"/>
                <a:gd name="T50" fmla="*/ 799 w 1005"/>
                <a:gd name="T51" fmla="*/ 31 h 540"/>
                <a:gd name="T52" fmla="*/ 793 w 1005"/>
                <a:gd name="T53" fmla="*/ 10 h 540"/>
                <a:gd name="T54" fmla="*/ 633 w 1005"/>
                <a:gd name="T55" fmla="*/ 8 h 540"/>
                <a:gd name="T56" fmla="*/ 535 w 1005"/>
                <a:gd name="T57" fmla="*/ 17 h 540"/>
                <a:gd name="T58" fmla="*/ 446 w 1005"/>
                <a:gd name="T59" fmla="*/ 25 h 540"/>
                <a:gd name="T60" fmla="*/ 377 w 1005"/>
                <a:gd name="T61" fmla="*/ 36 h 540"/>
                <a:gd name="T62" fmla="*/ 271 w 1005"/>
                <a:gd name="T63" fmla="*/ 37 h 540"/>
                <a:gd name="T64" fmla="*/ 169 w 1005"/>
                <a:gd name="T65" fmla="*/ 58 h 540"/>
                <a:gd name="T66" fmla="*/ 100 w 1005"/>
                <a:gd name="T67" fmla="*/ 91 h 540"/>
                <a:gd name="T68" fmla="*/ 10 w 1005"/>
                <a:gd name="T69" fmla="*/ 116 h 540"/>
                <a:gd name="T70" fmla="*/ 33 w 1005"/>
                <a:gd name="T71" fmla="*/ 130 h 540"/>
                <a:gd name="T72" fmla="*/ 23 w 1005"/>
                <a:gd name="T73" fmla="*/ 146 h 540"/>
                <a:gd name="T74" fmla="*/ 171 w 1005"/>
                <a:gd name="T75" fmla="*/ 158 h 540"/>
                <a:gd name="T76" fmla="*/ 203 w 1005"/>
                <a:gd name="T77" fmla="*/ 214 h 540"/>
                <a:gd name="T78" fmla="*/ 213 w 1005"/>
                <a:gd name="T79" fmla="*/ 251 h 540"/>
                <a:gd name="T80" fmla="*/ 182 w 1005"/>
                <a:gd name="T81" fmla="*/ 273 h 540"/>
                <a:gd name="T82" fmla="*/ 212 w 1005"/>
                <a:gd name="T83" fmla="*/ 299 h 540"/>
                <a:gd name="T84" fmla="*/ 214 w 1005"/>
                <a:gd name="T85" fmla="*/ 309 h 540"/>
                <a:gd name="T86" fmla="*/ 147 w 1005"/>
                <a:gd name="T87" fmla="*/ 360 h 540"/>
                <a:gd name="T88" fmla="*/ 145 w 1005"/>
                <a:gd name="T89" fmla="*/ 429 h 540"/>
                <a:gd name="T90" fmla="*/ 165 w 1005"/>
                <a:gd name="T91" fmla="*/ 485 h 540"/>
                <a:gd name="T92" fmla="*/ 212 w 1005"/>
                <a:gd name="T93" fmla="*/ 518 h 540"/>
                <a:gd name="T94" fmla="*/ 250 w 1005"/>
                <a:gd name="T95"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5" h="540">
                  <a:moveTo>
                    <a:pt x="250" y="540"/>
                  </a:moveTo>
                  <a:cubicBezTo>
                    <a:pt x="256" y="536"/>
                    <a:pt x="253" y="540"/>
                    <a:pt x="262" y="535"/>
                  </a:cubicBezTo>
                  <a:cubicBezTo>
                    <a:pt x="271" y="530"/>
                    <a:pt x="271" y="533"/>
                    <a:pt x="271" y="527"/>
                  </a:cubicBezTo>
                  <a:cubicBezTo>
                    <a:pt x="271" y="521"/>
                    <a:pt x="268" y="520"/>
                    <a:pt x="274" y="519"/>
                  </a:cubicBezTo>
                  <a:cubicBezTo>
                    <a:pt x="280" y="518"/>
                    <a:pt x="279" y="518"/>
                    <a:pt x="283" y="513"/>
                  </a:cubicBezTo>
                  <a:cubicBezTo>
                    <a:pt x="287" y="507"/>
                    <a:pt x="289" y="503"/>
                    <a:pt x="295" y="500"/>
                  </a:cubicBezTo>
                  <a:cubicBezTo>
                    <a:pt x="300" y="496"/>
                    <a:pt x="298" y="493"/>
                    <a:pt x="303" y="488"/>
                  </a:cubicBezTo>
                  <a:cubicBezTo>
                    <a:pt x="309" y="483"/>
                    <a:pt x="310" y="479"/>
                    <a:pt x="308" y="476"/>
                  </a:cubicBezTo>
                  <a:cubicBezTo>
                    <a:pt x="306" y="473"/>
                    <a:pt x="299" y="467"/>
                    <a:pt x="304" y="466"/>
                  </a:cubicBezTo>
                  <a:cubicBezTo>
                    <a:pt x="308" y="464"/>
                    <a:pt x="319" y="463"/>
                    <a:pt x="321" y="463"/>
                  </a:cubicBezTo>
                  <a:cubicBezTo>
                    <a:pt x="322" y="463"/>
                    <a:pt x="324" y="466"/>
                    <a:pt x="331" y="460"/>
                  </a:cubicBezTo>
                  <a:cubicBezTo>
                    <a:pt x="338" y="455"/>
                    <a:pt x="334" y="450"/>
                    <a:pt x="340" y="449"/>
                  </a:cubicBezTo>
                  <a:cubicBezTo>
                    <a:pt x="346" y="448"/>
                    <a:pt x="346" y="448"/>
                    <a:pt x="351" y="444"/>
                  </a:cubicBezTo>
                  <a:cubicBezTo>
                    <a:pt x="356" y="439"/>
                    <a:pt x="358" y="432"/>
                    <a:pt x="356" y="429"/>
                  </a:cubicBezTo>
                  <a:cubicBezTo>
                    <a:pt x="354" y="427"/>
                    <a:pt x="362" y="422"/>
                    <a:pt x="364" y="422"/>
                  </a:cubicBezTo>
                  <a:cubicBezTo>
                    <a:pt x="366" y="422"/>
                    <a:pt x="370" y="415"/>
                    <a:pt x="364" y="412"/>
                  </a:cubicBezTo>
                  <a:cubicBezTo>
                    <a:pt x="358" y="410"/>
                    <a:pt x="359" y="405"/>
                    <a:pt x="367" y="405"/>
                  </a:cubicBezTo>
                  <a:cubicBezTo>
                    <a:pt x="374" y="405"/>
                    <a:pt x="378" y="406"/>
                    <a:pt x="383" y="402"/>
                  </a:cubicBezTo>
                  <a:cubicBezTo>
                    <a:pt x="389" y="398"/>
                    <a:pt x="385" y="395"/>
                    <a:pt x="390" y="394"/>
                  </a:cubicBezTo>
                  <a:cubicBezTo>
                    <a:pt x="396" y="393"/>
                    <a:pt x="404" y="394"/>
                    <a:pt x="410" y="394"/>
                  </a:cubicBezTo>
                  <a:cubicBezTo>
                    <a:pt x="416" y="394"/>
                    <a:pt x="437" y="371"/>
                    <a:pt x="434" y="377"/>
                  </a:cubicBezTo>
                  <a:cubicBezTo>
                    <a:pt x="430" y="382"/>
                    <a:pt x="427" y="394"/>
                    <a:pt x="431" y="394"/>
                  </a:cubicBezTo>
                  <a:cubicBezTo>
                    <a:pt x="436" y="393"/>
                    <a:pt x="440" y="383"/>
                    <a:pt x="445" y="386"/>
                  </a:cubicBezTo>
                  <a:cubicBezTo>
                    <a:pt x="450" y="389"/>
                    <a:pt x="463" y="386"/>
                    <a:pt x="469" y="384"/>
                  </a:cubicBezTo>
                  <a:cubicBezTo>
                    <a:pt x="475" y="381"/>
                    <a:pt x="484" y="378"/>
                    <a:pt x="492" y="376"/>
                  </a:cubicBezTo>
                  <a:cubicBezTo>
                    <a:pt x="501" y="373"/>
                    <a:pt x="502" y="367"/>
                    <a:pt x="513" y="360"/>
                  </a:cubicBezTo>
                  <a:cubicBezTo>
                    <a:pt x="525" y="354"/>
                    <a:pt x="521" y="352"/>
                    <a:pt x="531" y="347"/>
                  </a:cubicBezTo>
                  <a:cubicBezTo>
                    <a:pt x="542" y="341"/>
                    <a:pt x="553" y="343"/>
                    <a:pt x="554" y="340"/>
                  </a:cubicBezTo>
                  <a:cubicBezTo>
                    <a:pt x="556" y="337"/>
                    <a:pt x="549" y="321"/>
                    <a:pt x="554" y="323"/>
                  </a:cubicBezTo>
                  <a:cubicBezTo>
                    <a:pt x="560" y="326"/>
                    <a:pt x="567" y="335"/>
                    <a:pt x="576" y="335"/>
                  </a:cubicBezTo>
                  <a:cubicBezTo>
                    <a:pt x="585" y="335"/>
                    <a:pt x="591" y="329"/>
                    <a:pt x="604" y="329"/>
                  </a:cubicBezTo>
                  <a:cubicBezTo>
                    <a:pt x="618" y="328"/>
                    <a:pt x="626" y="325"/>
                    <a:pt x="637" y="323"/>
                  </a:cubicBezTo>
                  <a:cubicBezTo>
                    <a:pt x="648" y="322"/>
                    <a:pt x="660" y="316"/>
                    <a:pt x="675" y="314"/>
                  </a:cubicBezTo>
                  <a:cubicBezTo>
                    <a:pt x="689" y="313"/>
                    <a:pt x="689" y="306"/>
                    <a:pt x="703" y="303"/>
                  </a:cubicBezTo>
                  <a:cubicBezTo>
                    <a:pt x="716" y="301"/>
                    <a:pt x="719" y="298"/>
                    <a:pt x="732" y="295"/>
                  </a:cubicBezTo>
                  <a:cubicBezTo>
                    <a:pt x="745" y="292"/>
                    <a:pt x="759" y="287"/>
                    <a:pt x="750" y="286"/>
                  </a:cubicBezTo>
                  <a:cubicBezTo>
                    <a:pt x="741" y="285"/>
                    <a:pt x="731" y="282"/>
                    <a:pt x="721" y="282"/>
                  </a:cubicBezTo>
                  <a:cubicBezTo>
                    <a:pt x="712" y="282"/>
                    <a:pt x="703" y="279"/>
                    <a:pt x="695" y="279"/>
                  </a:cubicBezTo>
                  <a:cubicBezTo>
                    <a:pt x="687" y="279"/>
                    <a:pt x="675" y="283"/>
                    <a:pt x="668" y="283"/>
                  </a:cubicBezTo>
                  <a:cubicBezTo>
                    <a:pt x="661" y="283"/>
                    <a:pt x="657" y="281"/>
                    <a:pt x="662" y="279"/>
                  </a:cubicBezTo>
                  <a:cubicBezTo>
                    <a:pt x="668" y="278"/>
                    <a:pt x="683" y="274"/>
                    <a:pt x="689" y="273"/>
                  </a:cubicBezTo>
                  <a:cubicBezTo>
                    <a:pt x="696" y="272"/>
                    <a:pt x="707" y="271"/>
                    <a:pt x="701" y="268"/>
                  </a:cubicBezTo>
                  <a:cubicBezTo>
                    <a:pt x="695" y="265"/>
                    <a:pt x="694" y="258"/>
                    <a:pt x="698" y="258"/>
                  </a:cubicBezTo>
                  <a:cubicBezTo>
                    <a:pt x="702" y="258"/>
                    <a:pt x="714" y="252"/>
                    <a:pt x="718" y="258"/>
                  </a:cubicBezTo>
                  <a:cubicBezTo>
                    <a:pt x="722" y="265"/>
                    <a:pt x="726" y="275"/>
                    <a:pt x="730" y="277"/>
                  </a:cubicBezTo>
                  <a:cubicBezTo>
                    <a:pt x="733" y="278"/>
                    <a:pt x="744" y="272"/>
                    <a:pt x="749" y="274"/>
                  </a:cubicBezTo>
                  <a:cubicBezTo>
                    <a:pt x="754" y="275"/>
                    <a:pt x="764" y="279"/>
                    <a:pt x="764" y="274"/>
                  </a:cubicBezTo>
                  <a:cubicBezTo>
                    <a:pt x="764" y="269"/>
                    <a:pt x="773" y="257"/>
                    <a:pt x="769" y="255"/>
                  </a:cubicBezTo>
                  <a:cubicBezTo>
                    <a:pt x="765" y="253"/>
                    <a:pt x="763" y="252"/>
                    <a:pt x="754" y="245"/>
                  </a:cubicBezTo>
                  <a:cubicBezTo>
                    <a:pt x="744" y="238"/>
                    <a:pt x="736" y="235"/>
                    <a:pt x="729" y="232"/>
                  </a:cubicBezTo>
                  <a:cubicBezTo>
                    <a:pt x="722" y="230"/>
                    <a:pt x="727" y="224"/>
                    <a:pt x="723" y="220"/>
                  </a:cubicBezTo>
                  <a:cubicBezTo>
                    <a:pt x="719" y="216"/>
                    <a:pt x="713" y="208"/>
                    <a:pt x="720" y="208"/>
                  </a:cubicBezTo>
                  <a:cubicBezTo>
                    <a:pt x="727" y="208"/>
                    <a:pt x="737" y="203"/>
                    <a:pt x="736" y="210"/>
                  </a:cubicBezTo>
                  <a:cubicBezTo>
                    <a:pt x="736" y="216"/>
                    <a:pt x="727" y="222"/>
                    <a:pt x="733" y="225"/>
                  </a:cubicBezTo>
                  <a:cubicBezTo>
                    <a:pt x="739" y="228"/>
                    <a:pt x="751" y="237"/>
                    <a:pt x="760" y="237"/>
                  </a:cubicBezTo>
                  <a:cubicBezTo>
                    <a:pt x="768" y="237"/>
                    <a:pt x="776" y="235"/>
                    <a:pt x="772" y="231"/>
                  </a:cubicBezTo>
                  <a:cubicBezTo>
                    <a:pt x="769" y="227"/>
                    <a:pt x="780" y="225"/>
                    <a:pt x="775" y="221"/>
                  </a:cubicBezTo>
                  <a:cubicBezTo>
                    <a:pt x="770" y="218"/>
                    <a:pt x="744" y="204"/>
                    <a:pt x="754" y="206"/>
                  </a:cubicBezTo>
                  <a:cubicBezTo>
                    <a:pt x="765" y="209"/>
                    <a:pt x="779" y="211"/>
                    <a:pt x="782" y="211"/>
                  </a:cubicBezTo>
                  <a:cubicBezTo>
                    <a:pt x="785" y="211"/>
                    <a:pt x="792" y="211"/>
                    <a:pt x="800" y="208"/>
                  </a:cubicBezTo>
                  <a:cubicBezTo>
                    <a:pt x="808" y="206"/>
                    <a:pt x="815" y="202"/>
                    <a:pt x="812" y="200"/>
                  </a:cubicBezTo>
                  <a:cubicBezTo>
                    <a:pt x="808" y="198"/>
                    <a:pt x="798" y="195"/>
                    <a:pt x="804" y="193"/>
                  </a:cubicBezTo>
                  <a:cubicBezTo>
                    <a:pt x="811" y="190"/>
                    <a:pt x="813" y="190"/>
                    <a:pt x="821" y="191"/>
                  </a:cubicBezTo>
                  <a:cubicBezTo>
                    <a:pt x="829" y="192"/>
                    <a:pt x="839" y="188"/>
                    <a:pt x="842" y="187"/>
                  </a:cubicBezTo>
                  <a:cubicBezTo>
                    <a:pt x="844" y="187"/>
                    <a:pt x="839" y="183"/>
                    <a:pt x="831" y="182"/>
                  </a:cubicBezTo>
                  <a:cubicBezTo>
                    <a:pt x="822" y="181"/>
                    <a:pt x="818" y="181"/>
                    <a:pt x="817" y="176"/>
                  </a:cubicBezTo>
                  <a:cubicBezTo>
                    <a:pt x="816" y="171"/>
                    <a:pt x="808" y="167"/>
                    <a:pt x="816" y="167"/>
                  </a:cubicBezTo>
                  <a:cubicBezTo>
                    <a:pt x="823" y="167"/>
                    <a:pt x="830" y="173"/>
                    <a:pt x="834" y="172"/>
                  </a:cubicBezTo>
                  <a:cubicBezTo>
                    <a:pt x="839" y="171"/>
                    <a:pt x="841" y="159"/>
                    <a:pt x="836" y="155"/>
                  </a:cubicBezTo>
                  <a:cubicBezTo>
                    <a:pt x="832" y="152"/>
                    <a:pt x="832" y="141"/>
                    <a:pt x="827" y="143"/>
                  </a:cubicBezTo>
                  <a:cubicBezTo>
                    <a:pt x="822" y="146"/>
                    <a:pt x="813" y="146"/>
                    <a:pt x="809" y="146"/>
                  </a:cubicBezTo>
                  <a:cubicBezTo>
                    <a:pt x="805" y="146"/>
                    <a:pt x="798" y="135"/>
                    <a:pt x="809" y="138"/>
                  </a:cubicBezTo>
                  <a:cubicBezTo>
                    <a:pt x="820" y="141"/>
                    <a:pt x="814" y="133"/>
                    <a:pt x="830" y="133"/>
                  </a:cubicBezTo>
                  <a:cubicBezTo>
                    <a:pt x="846" y="133"/>
                    <a:pt x="856" y="133"/>
                    <a:pt x="853" y="139"/>
                  </a:cubicBezTo>
                  <a:cubicBezTo>
                    <a:pt x="850" y="146"/>
                    <a:pt x="848" y="157"/>
                    <a:pt x="853" y="157"/>
                  </a:cubicBezTo>
                  <a:cubicBezTo>
                    <a:pt x="859" y="156"/>
                    <a:pt x="857" y="146"/>
                    <a:pt x="860" y="140"/>
                  </a:cubicBezTo>
                  <a:cubicBezTo>
                    <a:pt x="864" y="135"/>
                    <a:pt x="882" y="133"/>
                    <a:pt x="872" y="128"/>
                  </a:cubicBezTo>
                  <a:cubicBezTo>
                    <a:pt x="863" y="124"/>
                    <a:pt x="857" y="125"/>
                    <a:pt x="848" y="123"/>
                  </a:cubicBezTo>
                  <a:cubicBezTo>
                    <a:pt x="839" y="122"/>
                    <a:pt x="832" y="114"/>
                    <a:pt x="841" y="115"/>
                  </a:cubicBezTo>
                  <a:cubicBezTo>
                    <a:pt x="850" y="115"/>
                    <a:pt x="863" y="114"/>
                    <a:pt x="854" y="112"/>
                  </a:cubicBezTo>
                  <a:cubicBezTo>
                    <a:pt x="846" y="109"/>
                    <a:pt x="830" y="108"/>
                    <a:pt x="826" y="112"/>
                  </a:cubicBezTo>
                  <a:cubicBezTo>
                    <a:pt x="822" y="115"/>
                    <a:pt x="810" y="113"/>
                    <a:pt x="816" y="109"/>
                  </a:cubicBezTo>
                  <a:cubicBezTo>
                    <a:pt x="822" y="106"/>
                    <a:pt x="834" y="98"/>
                    <a:pt x="836" y="95"/>
                  </a:cubicBezTo>
                  <a:cubicBezTo>
                    <a:pt x="838" y="91"/>
                    <a:pt x="851" y="95"/>
                    <a:pt x="856" y="93"/>
                  </a:cubicBezTo>
                  <a:cubicBezTo>
                    <a:pt x="860" y="90"/>
                    <a:pt x="863" y="78"/>
                    <a:pt x="869" y="77"/>
                  </a:cubicBezTo>
                  <a:cubicBezTo>
                    <a:pt x="876" y="76"/>
                    <a:pt x="892" y="73"/>
                    <a:pt x="896" y="73"/>
                  </a:cubicBezTo>
                  <a:cubicBezTo>
                    <a:pt x="900" y="73"/>
                    <a:pt x="910" y="72"/>
                    <a:pt x="903" y="70"/>
                  </a:cubicBezTo>
                  <a:cubicBezTo>
                    <a:pt x="895" y="68"/>
                    <a:pt x="893" y="65"/>
                    <a:pt x="897" y="65"/>
                  </a:cubicBezTo>
                  <a:cubicBezTo>
                    <a:pt x="901" y="65"/>
                    <a:pt x="919" y="65"/>
                    <a:pt x="926" y="62"/>
                  </a:cubicBezTo>
                  <a:cubicBezTo>
                    <a:pt x="932" y="59"/>
                    <a:pt x="939" y="63"/>
                    <a:pt x="952" y="58"/>
                  </a:cubicBezTo>
                  <a:cubicBezTo>
                    <a:pt x="965" y="53"/>
                    <a:pt x="962" y="51"/>
                    <a:pt x="972" y="49"/>
                  </a:cubicBezTo>
                  <a:cubicBezTo>
                    <a:pt x="983" y="47"/>
                    <a:pt x="1005" y="43"/>
                    <a:pt x="995" y="42"/>
                  </a:cubicBezTo>
                  <a:cubicBezTo>
                    <a:pt x="986" y="41"/>
                    <a:pt x="975" y="41"/>
                    <a:pt x="968" y="38"/>
                  </a:cubicBezTo>
                  <a:cubicBezTo>
                    <a:pt x="961" y="36"/>
                    <a:pt x="948" y="36"/>
                    <a:pt x="937" y="37"/>
                  </a:cubicBezTo>
                  <a:cubicBezTo>
                    <a:pt x="927" y="37"/>
                    <a:pt x="915" y="41"/>
                    <a:pt x="910" y="42"/>
                  </a:cubicBezTo>
                  <a:cubicBezTo>
                    <a:pt x="905" y="44"/>
                    <a:pt x="900" y="48"/>
                    <a:pt x="891" y="44"/>
                  </a:cubicBezTo>
                  <a:cubicBezTo>
                    <a:pt x="882" y="41"/>
                    <a:pt x="873" y="39"/>
                    <a:pt x="869" y="41"/>
                  </a:cubicBezTo>
                  <a:cubicBezTo>
                    <a:pt x="865" y="43"/>
                    <a:pt x="855" y="48"/>
                    <a:pt x="840" y="50"/>
                  </a:cubicBezTo>
                  <a:cubicBezTo>
                    <a:pt x="826" y="52"/>
                    <a:pt x="801" y="59"/>
                    <a:pt x="811" y="54"/>
                  </a:cubicBezTo>
                  <a:cubicBezTo>
                    <a:pt x="821" y="49"/>
                    <a:pt x="851" y="40"/>
                    <a:pt x="846" y="36"/>
                  </a:cubicBezTo>
                  <a:cubicBezTo>
                    <a:pt x="846" y="36"/>
                    <a:pt x="825" y="31"/>
                    <a:pt x="812" y="39"/>
                  </a:cubicBezTo>
                  <a:cubicBezTo>
                    <a:pt x="805" y="41"/>
                    <a:pt x="768" y="48"/>
                    <a:pt x="764" y="46"/>
                  </a:cubicBezTo>
                  <a:cubicBezTo>
                    <a:pt x="759" y="44"/>
                    <a:pt x="777" y="39"/>
                    <a:pt x="783" y="38"/>
                  </a:cubicBezTo>
                  <a:cubicBezTo>
                    <a:pt x="789" y="36"/>
                    <a:pt x="790" y="30"/>
                    <a:pt x="799" y="31"/>
                  </a:cubicBezTo>
                  <a:cubicBezTo>
                    <a:pt x="808" y="31"/>
                    <a:pt x="844" y="28"/>
                    <a:pt x="850" y="28"/>
                  </a:cubicBezTo>
                  <a:cubicBezTo>
                    <a:pt x="856" y="28"/>
                    <a:pt x="871" y="23"/>
                    <a:pt x="856" y="21"/>
                  </a:cubicBezTo>
                  <a:cubicBezTo>
                    <a:pt x="840" y="20"/>
                    <a:pt x="826" y="15"/>
                    <a:pt x="815" y="15"/>
                  </a:cubicBezTo>
                  <a:cubicBezTo>
                    <a:pt x="805" y="15"/>
                    <a:pt x="807" y="10"/>
                    <a:pt x="793" y="10"/>
                  </a:cubicBezTo>
                  <a:cubicBezTo>
                    <a:pt x="779" y="10"/>
                    <a:pt x="771" y="9"/>
                    <a:pt x="753" y="10"/>
                  </a:cubicBezTo>
                  <a:cubicBezTo>
                    <a:pt x="736" y="12"/>
                    <a:pt x="727" y="12"/>
                    <a:pt x="706" y="10"/>
                  </a:cubicBezTo>
                  <a:cubicBezTo>
                    <a:pt x="685" y="7"/>
                    <a:pt x="662" y="9"/>
                    <a:pt x="655" y="10"/>
                  </a:cubicBezTo>
                  <a:cubicBezTo>
                    <a:pt x="649" y="10"/>
                    <a:pt x="646" y="0"/>
                    <a:pt x="633" y="8"/>
                  </a:cubicBezTo>
                  <a:cubicBezTo>
                    <a:pt x="620" y="16"/>
                    <a:pt x="601" y="7"/>
                    <a:pt x="600" y="13"/>
                  </a:cubicBezTo>
                  <a:cubicBezTo>
                    <a:pt x="599" y="19"/>
                    <a:pt x="591" y="18"/>
                    <a:pt x="581" y="18"/>
                  </a:cubicBezTo>
                  <a:cubicBezTo>
                    <a:pt x="571" y="19"/>
                    <a:pt x="560" y="12"/>
                    <a:pt x="554" y="14"/>
                  </a:cubicBezTo>
                  <a:cubicBezTo>
                    <a:pt x="548" y="17"/>
                    <a:pt x="547" y="17"/>
                    <a:pt x="535" y="17"/>
                  </a:cubicBezTo>
                  <a:cubicBezTo>
                    <a:pt x="523" y="17"/>
                    <a:pt x="510" y="13"/>
                    <a:pt x="509" y="18"/>
                  </a:cubicBezTo>
                  <a:cubicBezTo>
                    <a:pt x="508" y="24"/>
                    <a:pt x="473" y="20"/>
                    <a:pt x="482" y="26"/>
                  </a:cubicBezTo>
                  <a:cubicBezTo>
                    <a:pt x="492" y="32"/>
                    <a:pt x="510" y="38"/>
                    <a:pt x="498" y="38"/>
                  </a:cubicBezTo>
                  <a:cubicBezTo>
                    <a:pt x="485" y="37"/>
                    <a:pt x="458" y="26"/>
                    <a:pt x="446" y="25"/>
                  </a:cubicBezTo>
                  <a:cubicBezTo>
                    <a:pt x="433" y="24"/>
                    <a:pt x="418" y="29"/>
                    <a:pt x="422" y="32"/>
                  </a:cubicBezTo>
                  <a:cubicBezTo>
                    <a:pt x="426" y="36"/>
                    <a:pt x="427" y="43"/>
                    <a:pt x="420" y="43"/>
                  </a:cubicBezTo>
                  <a:cubicBezTo>
                    <a:pt x="413" y="42"/>
                    <a:pt x="402" y="31"/>
                    <a:pt x="396" y="31"/>
                  </a:cubicBezTo>
                  <a:cubicBezTo>
                    <a:pt x="390" y="30"/>
                    <a:pt x="378" y="27"/>
                    <a:pt x="377" y="36"/>
                  </a:cubicBezTo>
                  <a:cubicBezTo>
                    <a:pt x="377" y="44"/>
                    <a:pt x="359" y="49"/>
                    <a:pt x="364" y="42"/>
                  </a:cubicBezTo>
                  <a:cubicBezTo>
                    <a:pt x="369" y="36"/>
                    <a:pt x="385" y="31"/>
                    <a:pt x="370" y="30"/>
                  </a:cubicBezTo>
                  <a:cubicBezTo>
                    <a:pt x="355" y="30"/>
                    <a:pt x="360" y="31"/>
                    <a:pt x="331" y="32"/>
                  </a:cubicBezTo>
                  <a:cubicBezTo>
                    <a:pt x="302" y="33"/>
                    <a:pt x="280" y="37"/>
                    <a:pt x="271" y="37"/>
                  </a:cubicBezTo>
                  <a:cubicBezTo>
                    <a:pt x="263" y="38"/>
                    <a:pt x="252" y="38"/>
                    <a:pt x="250" y="44"/>
                  </a:cubicBezTo>
                  <a:cubicBezTo>
                    <a:pt x="247" y="50"/>
                    <a:pt x="243" y="54"/>
                    <a:pt x="229" y="53"/>
                  </a:cubicBezTo>
                  <a:cubicBezTo>
                    <a:pt x="215" y="52"/>
                    <a:pt x="210" y="51"/>
                    <a:pt x="196" y="53"/>
                  </a:cubicBezTo>
                  <a:cubicBezTo>
                    <a:pt x="182" y="55"/>
                    <a:pt x="189" y="54"/>
                    <a:pt x="169" y="58"/>
                  </a:cubicBezTo>
                  <a:cubicBezTo>
                    <a:pt x="149" y="61"/>
                    <a:pt x="125" y="65"/>
                    <a:pt x="134" y="68"/>
                  </a:cubicBezTo>
                  <a:cubicBezTo>
                    <a:pt x="143" y="71"/>
                    <a:pt x="162" y="75"/>
                    <a:pt x="158" y="78"/>
                  </a:cubicBezTo>
                  <a:cubicBezTo>
                    <a:pt x="153" y="82"/>
                    <a:pt x="148" y="82"/>
                    <a:pt x="135" y="85"/>
                  </a:cubicBezTo>
                  <a:cubicBezTo>
                    <a:pt x="122" y="88"/>
                    <a:pt x="114" y="89"/>
                    <a:pt x="100" y="91"/>
                  </a:cubicBezTo>
                  <a:cubicBezTo>
                    <a:pt x="87" y="92"/>
                    <a:pt x="87" y="92"/>
                    <a:pt x="74" y="94"/>
                  </a:cubicBezTo>
                  <a:cubicBezTo>
                    <a:pt x="60" y="97"/>
                    <a:pt x="55" y="96"/>
                    <a:pt x="36" y="99"/>
                  </a:cubicBezTo>
                  <a:cubicBezTo>
                    <a:pt x="18" y="101"/>
                    <a:pt x="9" y="97"/>
                    <a:pt x="7" y="101"/>
                  </a:cubicBezTo>
                  <a:cubicBezTo>
                    <a:pt x="6" y="105"/>
                    <a:pt x="0" y="116"/>
                    <a:pt x="10" y="116"/>
                  </a:cubicBezTo>
                  <a:cubicBezTo>
                    <a:pt x="19" y="117"/>
                    <a:pt x="29" y="119"/>
                    <a:pt x="44" y="119"/>
                  </a:cubicBezTo>
                  <a:cubicBezTo>
                    <a:pt x="60" y="119"/>
                    <a:pt x="99" y="115"/>
                    <a:pt x="94" y="118"/>
                  </a:cubicBezTo>
                  <a:cubicBezTo>
                    <a:pt x="88" y="122"/>
                    <a:pt x="86" y="130"/>
                    <a:pt x="70" y="130"/>
                  </a:cubicBezTo>
                  <a:cubicBezTo>
                    <a:pt x="54" y="130"/>
                    <a:pt x="42" y="130"/>
                    <a:pt x="33" y="130"/>
                  </a:cubicBezTo>
                  <a:cubicBezTo>
                    <a:pt x="24" y="131"/>
                    <a:pt x="12" y="129"/>
                    <a:pt x="11" y="132"/>
                  </a:cubicBezTo>
                  <a:cubicBezTo>
                    <a:pt x="9" y="134"/>
                    <a:pt x="10" y="138"/>
                    <a:pt x="20" y="138"/>
                  </a:cubicBezTo>
                  <a:cubicBezTo>
                    <a:pt x="30" y="138"/>
                    <a:pt x="37" y="139"/>
                    <a:pt x="31" y="142"/>
                  </a:cubicBezTo>
                  <a:cubicBezTo>
                    <a:pt x="25" y="145"/>
                    <a:pt x="3" y="140"/>
                    <a:pt x="23" y="146"/>
                  </a:cubicBezTo>
                  <a:cubicBezTo>
                    <a:pt x="43" y="153"/>
                    <a:pt x="50" y="154"/>
                    <a:pt x="61" y="153"/>
                  </a:cubicBezTo>
                  <a:cubicBezTo>
                    <a:pt x="72" y="151"/>
                    <a:pt x="68" y="150"/>
                    <a:pt x="88" y="150"/>
                  </a:cubicBezTo>
                  <a:cubicBezTo>
                    <a:pt x="108" y="150"/>
                    <a:pt x="116" y="147"/>
                    <a:pt x="132" y="151"/>
                  </a:cubicBezTo>
                  <a:cubicBezTo>
                    <a:pt x="147" y="156"/>
                    <a:pt x="162" y="151"/>
                    <a:pt x="171" y="158"/>
                  </a:cubicBezTo>
                  <a:cubicBezTo>
                    <a:pt x="179" y="164"/>
                    <a:pt x="190" y="161"/>
                    <a:pt x="190" y="168"/>
                  </a:cubicBezTo>
                  <a:cubicBezTo>
                    <a:pt x="190" y="176"/>
                    <a:pt x="192" y="175"/>
                    <a:pt x="198" y="184"/>
                  </a:cubicBezTo>
                  <a:cubicBezTo>
                    <a:pt x="203" y="194"/>
                    <a:pt x="186" y="196"/>
                    <a:pt x="188" y="203"/>
                  </a:cubicBezTo>
                  <a:cubicBezTo>
                    <a:pt x="191" y="211"/>
                    <a:pt x="198" y="210"/>
                    <a:pt x="203" y="214"/>
                  </a:cubicBezTo>
                  <a:cubicBezTo>
                    <a:pt x="208" y="219"/>
                    <a:pt x="215" y="218"/>
                    <a:pt x="201" y="224"/>
                  </a:cubicBezTo>
                  <a:cubicBezTo>
                    <a:pt x="187" y="231"/>
                    <a:pt x="163" y="244"/>
                    <a:pt x="171" y="252"/>
                  </a:cubicBezTo>
                  <a:cubicBezTo>
                    <a:pt x="178" y="261"/>
                    <a:pt x="187" y="259"/>
                    <a:pt x="197" y="256"/>
                  </a:cubicBezTo>
                  <a:cubicBezTo>
                    <a:pt x="208" y="253"/>
                    <a:pt x="209" y="241"/>
                    <a:pt x="213" y="251"/>
                  </a:cubicBezTo>
                  <a:cubicBezTo>
                    <a:pt x="217" y="261"/>
                    <a:pt x="231" y="268"/>
                    <a:pt x="235" y="268"/>
                  </a:cubicBezTo>
                  <a:cubicBezTo>
                    <a:pt x="239" y="269"/>
                    <a:pt x="255" y="278"/>
                    <a:pt x="239" y="279"/>
                  </a:cubicBezTo>
                  <a:cubicBezTo>
                    <a:pt x="223" y="280"/>
                    <a:pt x="209" y="269"/>
                    <a:pt x="200" y="269"/>
                  </a:cubicBezTo>
                  <a:cubicBezTo>
                    <a:pt x="191" y="269"/>
                    <a:pt x="179" y="268"/>
                    <a:pt x="182" y="273"/>
                  </a:cubicBezTo>
                  <a:cubicBezTo>
                    <a:pt x="184" y="277"/>
                    <a:pt x="195" y="283"/>
                    <a:pt x="186" y="284"/>
                  </a:cubicBezTo>
                  <a:cubicBezTo>
                    <a:pt x="177" y="286"/>
                    <a:pt x="162" y="288"/>
                    <a:pt x="161" y="292"/>
                  </a:cubicBezTo>
                  <a:cubicBezTo>
                    <a:pt x="159" y="296"/>
                    <a:pt x="168" y="305"/>
                    <a:pt x="181" y="305"/>
                  </a:cubicBezTo>
                  <a:cubicBezTo>
                    <a:pt x="195" y="305"/>
                    <a:pt x="212" y="300"/>
                    <a:pt x="212" y="299"/>
                  </a:cubicBezTo>
                  <a:cubicBezTo>
                    <a:pt x="212" y="297"/>
                    <a:pt x="197" y="284"/>
                    <a:pt x="204" y="283"/>
                  </a:cubicBezTo>
                  <a:cubicBezTo>
                    <a:pt x="210" y="282"/>
                    <a:pt x="223" y="286"/>
                    <a:pt x="226" y="288"/>
                  </a:cubicBezTo>
                  <a:cubicBezTo>
                    <a:pt x="229" y="290"/>
                    <a:pt x="240" y="296"/>
                    <a:pt x="231" y="301"/>
                  </a:cubicBezTo>
                  <a:cubicBezTo>
                    <a:pt x="221" y="306"/>
                    <a:pt x="214" y="303"/>
                    <a:pt x="214" y="309"/>
                  </a:cubicBezTo>
                  <a:cubicBezTo>
                    <a:pt x="214" y="316"/>
                    <a:pt x="229" y="317"/>
                    <a:pt x="209" y="319"/>
                  </a:cubicBezTo>
                  <a:cubicBezTo>
                    <a:pt x="188" y="321"/>
                    <a:pt x="186" y="312"/>
                    <a:pt x="177" y="323"/>
                  </a:cubicBezTo>
                  <a:cubicBezTo>
                    <a:pt x="168" y="333"/>
                    <a:pt x="154" y="337"/>
                    <a:pt x="153" y="346"/>
                  </a:cubicBezTo>
                  <a:cubicBezTo>
                    <a:pt x="152" y="356"/>
                    <a:pt x="143" y="353"/>
                    <a:pt x="147" y="360"/>
                  </a:cubicBezTo>
                  <a:cubicBezTo>
                    <a:pt x="151" y="367"/>
                    <a:pt x="135" y="363"/>
                    <a:pt x="141" y="376"/>
                  </a:cubicBezTo>
                  <a:cubicBezTo>
                    <a:pt x="146" y="390"/>
                    <a:pt x="129" y="394"/>
                    <a:pt x="140" y="401"/>
                  </a:cubicBezTo>
                  <a:cubicBezTo>
                    <a:pt x="151" y="408"/>
                    <a:pt x="132" y="417"/>
                    <a:pt x="146" y="417"/>
                  </a:cubicBezTo>
                  <a:cubicBezTo>
                    <a:pt x="160" y="417"/>
                    <a:pt x="130" y="427"/>
                    <a:pt x="145" y="429"/>
                  </a:cubicBezTo>
                  <a:cubicBezTo>
                    <a:pt x="161" y="432"/>
                    <a:pt x="145" y="449"/>
                    <a:pt x="149" y="450"/>
                  </a:cubicBezTo>
                  <a:cubicBezTo>
                    <a:pt x="152" y="452"/>
                    <a:pt x="146" y="458"/>
                    <a:pt x="154" y="460"/>
                  </a:cubicBezTo>
                  <a:cubicBezTo>
                    <a:pt x="162" y="462"/>
                    <a:pt x="147" y="468"/>
                    <a:pt x="157" y="471"/>
                  </a:cubicBezTo>
                  <a:cubicBezTo>
                    <a:pt x="167" y="473"/>
                    <a:pt x="161" y="483"/>
                    <a:pt x="165" y="485"/>
                  </a:cubicBezTo>
                  <a:cubicBezTo>
                    <a:pt x="168" y="487"/>
                    <a:pt x="168" y="500"/>
                    <a:pt x="175" y="500"/>
                  </a:cubicBezTo>
                  <a:cubicBezTo>
                    <a:pt x="182" y="501"/>
                    <a:pt x="168" y="514"/>
                    <a:pt x="176" y="514"/>
                  </a:cubicBezTo>
                  <a:cubicBezTo>
                    <a:pt x="184" y="514"/>
                    <a:pt x="189" y="518"/>
                    <a:pt x="197" y="514"/>
                  </a:cubicBezTo>
                  <a:cubicBezTo>
                    <a:pt x="206" y="511"/>
                    <a:pt x="210" y="513"/>
                    <a:pt x="212" y="518"/>
                  </a:cubicBezTo>
                  <a:cubicBezTo>
                    <a:pt x="215" y="522"/>
                    <a:pt x="223" y="504"/>
                    <a:pt x="225" y="509"/>
                  </a:cubicBezTo>
                  <a:cubicBezTo>
                    <a:pt x="226" y="513"/>
                    <a:pt x="225" y="521"/>
                    <a:pt x="227" y="527"/>
                  </a:cubicBezTo>
                  <a:cubicBezTo>
                    <a:pt x="228" y="532"/>
                    <a:pt x="236" y="532"/>
                    <a:pt x="238" y="532"/>
                  </a:cubicBezTo>
                  <a:cubicBezTo>
                    <a:pt x="238" y="532"/>
                    <a:pt x="238" y="538"/>
                    <a:pt x="250" y="540"/>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44" name="Freeform 730">
              <a:extLst>
                <a:ext uri="{FF2B5EF4-FFF2-40B4-BE49-F238E27FC236}">
                  <a16:creationId xmlns:a16="http://schemas.microsoft.com/office/drawing/2014/main" id="{AB6876B0-D5BE-6A48-BDED-C1C279246604}"/>
                </a:ext>
              </a:extLst>
            </p:cNvPr>
            <p:cNvSpPr>
              <a:spLocks/>
            </p:cNvSpPr>
            <p:nvPr/>
          </p:nvSpPr>
          <p:spPr bwMode="auto">
            <a:xfrm>
              <a:off x="4235464" y="1519693"/>
              <a:ext cx="20638" cy="49213"/>
            </a:xfrm>
            <a:custGeom>
              <a:avLst/>
              <a:gdLst>
                <a:gd name="T0" fmla="*/ 16 w 23"/>
                <a:gd name="T1" fmla="*/ 5 h 52"/>
                <a:gd name="T2" fmla="*/ 13 w 23"/>
                <a:gd name="T3" fmla="*/ 10 h 52"/>
                <a:gd name="T4" fmla="*/ 6 w 23"/>
                <a:gd name="T5" fmla="*/ 12 h 52"/>
                <a:gd name="T6" fmla="*/ 1 w 23"/>
                <a:gd name="T7" fmla="*/ 15 h 52"/>
                <a:gd name="T8" fmla="*/ 0 w 23"/>
                <a:gd name="T9" fmla="*/ 23 h 52"/>
                <a:gd name="T10" fmla="*/ 3 w 23"/>
                <a:gd name="T11" fmla="*/ 30 h 52"/>
                <a:gd name="T12" fmla="*/ 3 w 23"/>
                <a:gd name="T13" fmla="*/ 36 h 52"/>
                <a:gd name="T14" fmla="*/ 7 w 23"/>
                <a:gd name="T15" fmla="*/ 42 h 52"/>
                <a:gd name="T16" fmla="*/ 11 w 23"/>
                <a:gd name="T17" fmla="*/ 47 h 52"/>
                <a:gd name="T18" fmla="*/ 15 w 23"/>
                <a:gd name="T19" fmla="*/ 46 h 52"/>
                <a:gd name="T20" fmla="*/ 19 w 23"/>
                <a:gd name="T21" fmla="*/ 36 h 52"/>
                <a:gd name="T22" fmla="*/ 22 w 23"/>
                <a:gd name="T23" fmla="*/ 30 h 52"/>
                <a:gd name="T24" fmla="*/ 23 w 23"/>
                <a:gd name="T25" fmla="*/ 25 h 52"/>
                <a:gd name="T26" fmla="*/ 23 w 23"/>
                <a:gd name="T27" fmla="*/ 15 h 52"/>
                <a:gd name="T28" fmla="*/ 21 w 23"/>
                <a:gd name="T29" fmla="*/ 5 h 52"/>
                <a:gd name="T30" fmla="*/ 19 w 23"/>
                <a:gd name="T31" fmla="*/ 0 h 52"/>
                <a:gd name="T32" fmla="*/ 16 w 23"/>
                <a:gd name="T33" fmla="*/ 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52">
                  <a:moveTo>
                    <a:pt x="16" y="5"/>
                  </a:moveTo>
                  <a:cubicBezTo>
                    <a:pt x="16" y="10"/>
                    <a:pt x="17" y="10"/>
                    <a:pt x="13" y="10"/>
                  </a:cubicBezTo>
                  <a:cubicBezTo>
                    <a:pt x="10" y="11"/>
                    <a:pt x="10" y="11"/>
                    <a:pt x="6" y="12"/>
                  </a:cubicBezTo>
                  <a:cubicBezTo>
                    <a:pt x="3" y="13"/>
                    <a:pt x="1" y="11"/>
                    <a:pt x="1" y="15"/>
                  </a:cubicBezTo>
                  <a:cubicBezTo>
                    <a:pt x="1" y="20"/>
                    <a:pt x="0" y="19"/>
                    <a:pt x="0" y="23"/>
                  </a:cubicBezTo>
                  <a:cubicBezTo>
                    <a:pt x="1" y="27"/>
                    <a:pt x="1" y="29"/>
                    <a:pt x="3" y="30"/>
                  </a:cubicBezTo>
                  <a:cubicBezTo>
                    <a:pt x="4" y="32"/>
                    <a:pt x="1" y="34"/>
                    <a:pt x="3" y="36"/>
                  </a:cubicBezTo>
                  <a:cubicBezTo>
                    <a:pt x="5" y="39"/>
                    <a:pt x="4" y="39"/>
                    <a:pt x="7" y="42"/>
                  </a:cubicBezTo>
                  <a:cubicBezTo>
                    <a:pt x="9" y="45"/>
                    <a:pt x="9" y="47"/>
                    <a:pt x="11" y="47"/>
                  </a:cubicBezTo>
                  <a:cubicBezTo>
                    <a:pt x="12" y="47"/>
                    <a:pt x="13" y="52"/>
                    <a:pt x="15" y="46"/>
                  </a:cubicBezTo>
                  <a:cubicBezTo>
                    <a:pt x="18" y="40"/>
                    <a:pt x="16" y="40"/>
                    <a:pt x="19" y="36"/>
                  </a:cubicBezTo>
                  <a:cubicBezTo>
                    <a:pt x="21" y="32"/>
                    <a:pt x="20" y="32"/>
                    <a:pt x="22" y="30"/>
                  </a:cubicBezTo>
                  <a:cubicBezTo>
                    <a:pt x="23" y="27"/>
                    <a:pt x="23" y="29"/>
                    <a:pt x="23" y="25"/>
                  </a:cubicBezTo>
                  <a:cubicBezTo>
                    <a:pt x="23" y="21"/>
                    <a:pt x="22" y="18"/>
                    <a:pt x="23" y="15"/>
                  </a:cubicBezTo>
                  <a:cubicBezTo>
                    <a:pt x="23" y="11"/>
                    <a:pt x="21" y="7"/>
                    <a:pt x="21" y="5"/>
                  </a:cubicBezTo>
                  <a:cubicBezTo>
                    <a:pt x="21" y="3"/>
                    <a:pt x="20" y="0"/>
                    <a:pt x="19" y="0"/>
                  </a:cubicBezTo>
                  <a:cubicBezTo>
                    <a:pt x="18" y="0"/>
                    <a:pt x="13" y="2"/>
                    <a:pt x="16"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45" name="Freeform 731">
              <a:extLst>
                <a:ext uri="{FF2B5EF4-FFF2-40B4-BE49-F238E27FC236}">
                  <a16:creationId xmlns:a16="http://schemas.microsoft.com/office/drawing/2014/main" id="{913ECA73-323C-0C4A-8323-48EAA46BA6DB}"/>
                </a:ext>
              </a:extLst>
            </p:cNvPr>
            <p:cNvSpPr>
              <a:spLocks/>
            </p:cNvSpPr>
            <p:nvPr/>
          </p:nvSpPr>
          <p:spPr bwMode="auto">
            <a:xfrm>
              <a:off x="4225939" y="1568906"/>
              <a:ext cx="39688" cy="63500"/>
            </a:xfrm>
            <a:custGeom>
              <a:avLst/>
              <a:gdLst>
                <a:gd name="T0" fmla="*/ 19 w 42"/>
                <a:gd name="T1" fmla="*/ 3 h 68"/>
                <a:gd name="T2" fmla="*/ 16 w 42"/>
                <a:gd name="T3" fmla="*/ 7 h 68"/>
                <a:gd name="T4" fmla="*/ 10 w 42"/>
                <a:gd name="T5" fmla="*/ 10 h 68"/>
                <a:gd name="T6" fmla="*/ 4 w 42"/>
                <a:gd name="T7" fmla="*/ 9 h 68"/>
                <a:gd name="T8" fmla="*/ 2 w 42"/>
                <a:gd name="T9" fmla="*/ 15 h 68"/>
                <a:gd name="T10" fmla="*/ 6 w 42"/>
                <a:gd name="T11" fmla="*/ 25 h 68"/>
                <a:gd name="T12" fmla="*/ 8 w 42"/>
                <a:gd name="T13" fmla="*/ 36 h 68"/>
                <a:gd name="T14" fmla="*/ 9 w 42"/>
                <a:gd name="T15" fmla="*/ 45 h 68"/>
                <a:gd name="T16" fmla="*/ 6 w 42"/>
                <a:gd name="T17" fmla="*/ 54 h 68"/>
                <a:gd name="T18" fmla="*/ 6 w 42"/>
                <a:gd name="T19" fmla="*/ 60 h 68"/>
                <a:gd name="T20" fmla="*/ 10 w 42"/>
                <a:gd name="T21" fmla="*/ 65 h 68"/>
                <a:gd name="T22" fmla="*/ 17 w 42"/>
                <a:gd name="T23" fmla="*/ 67 h 68"/>
                <a:gd name="T24" fmla="*/ 22 w 42"/>
                <a:gd name="T25" fmla="*/ 60 h 68"/>
                <a:gd name="T26" fmla="*/ 26 w 42"/>
                <a:gd name="T27" fmla="*/ 56 h 68"/>
                <a:gd name="T28" fmla="*/ 33 w 42"/>
                <a:gd name="T29" fmla="*/ 58 h 68"/>
                <a:gd name="T30" fmla="*/ 34 w 42"/>
                <a:gd name="T31" fmla="*/ 46 h 68"/>
                <a:gd name="T32" fmla="*/ 38 w 42"/>
                <a:gd name="T33" fmla="*/ 30 h 68"/>
                <a:gd name="T34" fmla="*/ 38 w 42"/>
                <a:gd name="T35" fmla="*/ 23 h 68"/>
                <a:gd name="T36" fmla="*/ 38 w 42"/>
                <a:gd name="T37" fmla="*/ 12 h 68"/>
                <a:gd name="T38" fmla="*/ 29 w 42"/>
                <a:gd name="T39" fmla="*/ 2 h 68"/>
                <a:gd name="T40" fmla="*/ 21 w 42"/>
                <a:gd name="T41" fmla="*/ 0 h 68"/>
                <a:gd name="T42" fmla="*/ 19 w 42"/>
                <a:gd name="T43" fmla="*/ 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68">
                  <a:moveTo>
                    <a:pt x="19" y="3"/>
                  </a:moveTo>
                  <a:cubicBezTo>
                    <a:pt x="17" y="5"/>
                    <a:pt x="18" y="6"/>
                    <a:pt x="16" y="7"/>
                  </a:cubicBezTo>
                  <a:cubicBezTo>
                    <a:pt x="14" y="9"/>
                    <a:pt x="14" y="10"/>
                    <a:pt x="10" y="10"/>
                  </a:cubicBezTo>
                  <a:cubicBezTo>
                    <a:pt x="6" y="10"/>
                    <a:pt x="6" y="8"/>
                    <a:pt x="4" y="9"/>
                  </a:cubicBezTo>
                  <a:cubicBezTo>
                    <a:pt x="1" y="11"/>
                    <a:pt x="0" y="11"/>
                    <a:pt x="2" y="15"/>
                  </a:cubicBezTo>
                  <a:cubicBezTo>
                    <a:pt x="4" y="19"/>
                    <a:pt x="6" y="19"/>
                    <a:pt x="6" y="25"/>
                  </a:cubicBezTo>
                  <a:cubicBezTo>
                    <a:pt x="7" y="31"/>
                    <a:pt x="7" y="32"/>
                    <a:pt x="8" y="36"/>
                  </a:cubicBezTo>
                  <a:cubicBezTo>
                    <a:pt x="8" y="40"/>
                    <a:pt x="11" y="41"/>
                    <a:pt x="9" y="45"/>
                  </a:cubicBezTo>
                  <a:cubicBezTo>
                    <a:pt x="7" y="48"/>
                    <a:pt x="4" y="52"/>
                    <a:pt x="6" y="54"/>
                  </a:cubicBezTo>
                  <a:cubicBezTo>
                    <a:pt x="8" y="56"/>
                    <a:pt x="6" y="56"/>
                    <a:pt x="6" y="60"/>
                  </a:cubicBezTo>
                  <a:cubicBezTo>
                    <a:pt x="5" y="65"/>
                    <a:pt x="6" y="67"/>
                    <a:pt x="10" y="65"/>
                  </a:cubicBezTo>
                  <a:cubicBezTo>
                    <a:pt x="13" y="64"/>
                    <a:pt x="16" y="66"/>
                    <a:pt x="17" y="67"/>
                  </a:cubicBezTo>
                  <a:cubicBezTo>
                    <a:pt x="18" y="68"/>
                    <a:pt x="20" y="62"/>
                    <a:pt x="22" y="60"/>
                  </a:cubicBezTo>
                  <a:cubicBezTo>
                    <a:pt x="23" y="57"/>
                    <a:pt x="25" y="54"/>
                    <a:pt x="26" y="56"/>
                  </a:cubicBezTo>
                  <a:cubicBezTo>
                    <a:pt x="28" y="59"/>
                    <a:pt x="32" y="62"/>
                    <a:pt x="33" y="58"/>
                  </a:cubicBezTo>
                  <a:cubicBezTo>
                    <a:pt x="35" y="54"/>
                    <a:pt x="32" y="51"/>
                    <a:pt x="34" y="46"/>
                  </a:cubicBezTo>
                  <a:cubicBezTo>
                    <a:pt x="36" y="40"/>
                    <a:pt x="39" y="32"/>
                    <a:pt x="38" y="30"/>
                  </a:cubicBezTo>
                  <a:cubicBezTo>
                    <a:pt x="36" y="28"/>
                    <a:pt x="36" y="26"/>
                    <a:pt x="38" y="23"/>
                  </a:cubicBezTo>
                  <a:cubicBezTo>
                    <a:pt x="40" y="20"/>
                    <a:pt x="42" y="16"/>
                    <a:pt x="38" y="12"/>
                  </a:cubicBezTo>
                  <a:cubicBezTo>
                    <a:pt x="34" y="8"/>
                    <a:pt x="32" y="2"/>
                    <a:pt x="29" y="2"/>
                  </a:cubicBezTo>
                  <a:cubicBezTo>
                    <a:pt x="26" y="1"/>
                    <a:pt x="22" y="0"/>
                    <a:pt x="21" y="0"/>
                  </a:cubicBezTo>
                  <a:cubicBezTo>
                    <a:pt x="20" y="1"/>
                    <a:pt x="16" y="1"/>
                    <a:pt x="19"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46" name="Freeform 732">
              <a:extLst>
                <a:ext uri="{FF2B5EF4-FFF2-40B4-BE49-F238E27FC236}">
                  <a16:creationId xmlns:a16="http://schemas.microsoft.com/office/drawing/2014/main" id="{92BFE9E5-A003-7049-B78C-8431D7B9447B}"/>
                </a:ext>
              </a:extLst>
            </p:cNvPr>
            <p:cNvSpPr>
              <a:spLocks/>
            </p:cNvSpPr>
            <p:nvPr/>
          </p:nvSpPr>
          <p:spPr bwMode="auto">
            <a:xfrm>
              <a:off x="4316426" y="1643519"/>
              <a:ext cx="77788" cy="49213"/>
            </a:xfrm>
            <a:custGeom>
              <a:avLst/>
              <a:gdLst>
                <a:gd name="T0" fmla="*/ 12 w 82"/>
                <a:gd name="T1" fmla="*/ 7 h 52"/>
                <a:gd name="T2" fmla="*/ 6 w 82"/>
                <a:gd name="T3" fmla="*/ 10 h 52"/>
                <a:gd name="T4" fmla="*/ 4 w 82"/>
                <a:gd name="T5" fmla="*/ 17 h 52"/>
                <a:gd name="T6" fmla="*/ 11 w 82"/>
                <a:gd name="T7" fmla="*/ 22 h 52"/>
                <a:gd name="T8" fmla="*/ 24 w 82"/>
                <a:gd name="T9" fmla="*/ 27 h 52"/>
                <a:gd name="T10" fmla="*/ 37 w 82"/>
                <a:gd name="T11" fmla="*/ 33 h 52"/>
                <a:gd name="T12" fmla="*/ 45 w 82"/>
                <a:gd name="T13" fmla="*/ 39 h 52"/>
                <a:gd name="T14" fmla="*/ 52 w 82"/>
                <a:gd name="T15" fmla="*/ 44 h 52"/>
                <a:gd name="T16" fmla="*/ 64 w 82"/>
                <a:gd name="T17" fmla="*/ 48 h 52"/>
                <a:gd name="T18" fmla="*/ 70 w 82"/>
                <a:gd name="T19" fmla="*/ 43 h 52"/>
                <a:gd name="T20" fmla="*/ 69 w 82"/>
                <a:gd name="T21" fmla="*/ 31 h 52"/>
                <a:gd name="T22" fmla="*/ 66 w 82"/>
                <a:gd name="T23" fmla="*/ 21 h 52"/>
                <a:gd name="T24" fmla="*/ 71 w 82"/>
                <a:gd name="T25" fmla="*/ 4 h 52"/>
                <a:gd name="T26" fmla="*/ 52 w 82"/>
                <a:gd name="T27" fmla="*/ 9 h 52"/>
                <a:gd name="T28" fmla="*/ 41 w 82"/>
                <a:gd name="T29" fmla="*/ 10 h 52"/>
                <a:gd name="T30" fmla="*/ 30 w 82"/>
                <a:gd name="T31" fmla="*/ 7 h 52"/>
                <a:gd name="T32" fmla="*/ 19 w 82"/>
                <a:gd name="T33" fmla="*/ 4 h 52"/>
                <a:gd name="T34" fmla="*/ 15 w 82"/>
                <a:gd name="T35" fmla="*/ 9 h 52"/>
                <a:gd name="T36" fmla="*/ 12 w 82"/>
                <a:gd name="T37"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2" h="52">
                  <a:moveTo>
                    <a:pt x="12" y="7"/>
                  </a:moveTo>
                  <a:cubicBezTo>
                    <a:pt x="9" y="5"/>
                    <a:pt x="7" y="7"/>
                    <a:pt x="6" y="10"/>
                  </a:cubicBezTo>
                  <a:cubicBezTo>
                    <a:pt x="5" y="13"/>
                    <a:pt x="0" y="12"/>
                    <a:pt x="4" y="17"/>
                  </a:cubicBezTo>
                  <a:cubicBezTo>
                    <a:pt x="8" y="21"/>
                    <a:pt x="3" y="20"/>
                    <a:pt x="11" y="22"/>
                  </a:cubicBezTo>
                  <a:cubicBezTo>
                    <a:pt x="19" y="24"/>
                    <a:pt x="21" y="24"/>
                    <a:pt x="24" y="27"/>
                  </a:cubicBezTo>
                  <a:cubicBezTo>
                    <a:pt x="27" y="31"/>
                    <a:pt x="32" y="29"/>
                    <a:pt x="37" y="33"/>
                  </a:cubicBezTo>
                  <a:cubicBezTo>
                    <a:pt x="41" y="36"/>
                    <a:pt x="41" y="34"/>
                    <a:pt x="45" y="39"/>
                  </a:cubicBezTo>
                  <a:cubicBezTo>
                    <a:pt x="49" y="43"/>
                    <a:pt x="47" y="40"/>
                    <a:pt x="52" y="44"/>
                  </a:cubicBezTo>
                  <a:cubicBezTo>
                    <a:pt x="57" y="49"/>
                    <a:pt x="59" y="49"/>
                    <a:pt x="64" y="48"/>
                  </a:cubicBezTo>
                  <a:cubicBezTo>
                    <a:pt x="68" y="47"/>
                    <a:pt x="71" y="52"/>
                    <a:pt x="70" y="43"/>
                  </a:cubicBezTo>
                  <a:cubicBezTo>
                    <a:pt x="70" y="33"/>
                    <a:pt x="73" y="37"/>
                    <a:pt x="69" y="31"/>
                  </a:cubicBezTo>
                  <a:cubicBezTo>
                    <a:pt x="66" y="24"/>
                    <a:pt x="63" y="30"/>
                    <a:pt x="66" y="21"/>
                  </a:cubicBezTo>
                  <a:cubicBezTo>
                    <a:pt x="69" y="13"/>
                    <a:pt x="82" y="2"/>
                    <a:pt x="71" y="4"/>
                  </a:cubicBezTo>
                  <a:cubicBezTo>
                    <a:pt x="60" y="5"/>
                    <a:pt x="56" y="8"/>
                    <a:pt x="52" y="9"/>
                  </a:cubicBezTo>
                  <a:cubicBezTo>
                    <a:pt x="48" y="10"/>
                    <a:pt x="48" y="9"/>
                    <a:pt x="41" y="10"/>
                  </a:cubicBezTo>
                  <a:cubicBezTo>
                    <a:pt x="34" y="11"/>
                    <a:pt x="32" y="10"/>
                    <a:pt x="30" y="7"/>
                  </a:cubicBezTo>
                  <a:cubicBezTo>
                    <a:pt x="28" y="5"/>
                    <a:pt x="20" y="0"/>
                    <a:pt x="19" y="4"/>
                  </a:cubicBezTo>
                  <a:cubicBezTo>
                    <a:pt x="18" y="9"/>
                    <a:pt x="16" y="11"/>
                    <a:pt x="15" y="9"/>
                  </a:cubicBezTo>
                  <a:cubicBezTo>
                    <a:pt x="15" y="8"/>
                    <a:pt x="12" y="12"/>
                    <a:pt x="12" y="7"/>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47" name="Freeform 733">
              <a:extLst>
                <a:ext uri="{FF2B5EF4-FFF2-40B4-BE49-F238E27FC236}">
                  <a16:creationId xmlns:a16="http://schemas.microsoft.com/office/drawing/2014/main" id="{99176DAB-2C1E-BE4B-A71A-1010164C8C79}"/>
                </a:ext>
              </a:extLst>
            </p:cNvPr>
            <p:cNvSpPr>
              <a:spLocks/>
            </p:cNvSpPr>
            <p:nvPr/>
          </p:nvSpPr>
          <p:spPr bwMode="auto">
            <a:xfrm>
              <a:off x="4360877" y="1702256"/>
              <a:ext cx="12700" cy="14288"/>
            </a:xfrm>
            <a:custGeom>
              <a:avLst/>
              <a:gdLst>
                <a:gd name="T0" fmla="*/ 1 w 12"/>
                <a:gd name="T1" fmla="*/ 7 h 15"/>
                <a:gd name="T2" fmla="*/ 2 w 12"/>
                <a:gd name="T3" fmla="*/ 13 h 15"/>
                <a:gd name="T4" fmla="*/ 6 w 12"/>
                <a:gd name="T5" fmla="*/ 14 h 15"/>
                <a:gd name="T6" fmla="*/ 11 w 12"/>
                <a:gd name="T7" fmla="*/ 9 h 15"/>
                <a:gd name="T8" fmla="*/ 7 w 12"/>
                <a:gd name="T9" fmla="*/ 4 h 15"/>
                <a:gd name="T10" fmla="*/ 0 w 12"/>
                <a:gd name="T11" fmla="*/ 2 h 15"/>
                <a:gd name="T12" fmla="*/ 1 w 12"/>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12" h="15">
                  <a:moveTo>
                    <a:pt x="1" y="7"/>
                  </a:moveTo>
                  <a:cubicBezTo>
                    <a:pt x="1" y="9"/>
                    <a:pt x="1" y="11"/>
                    <a:pt x="2" y="13"/>
                  </a:cubicBezTo>
                  <a:cubicBezTo>
                    <a:pt x="3" y="14"/>
                    <a:pt x="3" y="15"/>
                    <a:pt x="6" y="14"/>
                  </a:cubicBezTo>
                  <a:cubicBezTo>
                    <a:pt x="10" y="12"/>
                    <a:pt x="12" y="13"/>
                    <a:pt x="11" y="9"/>
                  </a:cubicBezTo>
                  <a:cubicBezTo>
                    <a:pt x="10" y="6"/>
                    <a:pt x="11" y="5"/>
                    <a:pt x="7" y="4"/>
                  </a:cubicBezTo>
                  <a:cubicBezTo>
                    <a:pt x="4" y="2"/>
                    <a:pt x="1" y="0"/>
                    <a:pt x="0" y="2"/>
                  </a:cubicBezTo>
                  <a:cubicBezTo>
                    <a:pt x="0" y="5"/>
                    <a:pt x="0" y="6"/>
                    <a:pt x="1" y="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48" name="Freeform 734">
              <a:extLst>
                <a:ext uri="{FF2B5EF4-FFF2-40B4-BE49-F238E27FC236}">
                  <a16:creationId xmlns:a16="http://schemas.microsoft.com/office/drawing/2014/main" id="{E1098E53-9961-6848-9348-4D14BCA78277}"/>
                </a:ext>
              </a:extLst>
            </p:cNvPr>
            <p:cNvSpPr>
              <a:spLocks/>
            </p:cNvSpPr>
            <p:nvPr/>
          </p:nvSpPr>
          <p:spPr bwMode="auto">
            <a:xfrm>
              <a:off x="4760928" y="1713369"/>
              <a:ext cx="58738" cy="33338"/>
            </a:xfrm>
            <a:custGeom>
              <a:avLst/>
              <a:gdLst>
                <a:gd name="T0" fmla="*/ 4 w 61"/>
                <a:gd name="T1" fmla="*/ 20 h 35"/>
                <a:gd name="T2" fmla="*/ 12 w 61"/>
                <a:gd name="T3" fmla="*/ 17 h 35"/>
                <a:gd name="T4" fmla="*/ 19 w 61"/>
                <a:gd name="T5" fmla="*/ 13 h 35"/>
                <a:gd name="T6" fmla="*/ 25 w 61"/>
                <a:gd name="T7" fmla="*/ 11 h 35"/>
                <a:gd name="T8" fmla="*/ 39 w 61"/>
                <a:gd name="T9" fmla="*/ 10 h 35"/>
                <a:gd name="T10" fmla="*/ 51 w 61"/>
                <a:gd name="T11" fmla="*/ 4 h 35"/>
                <a:gd name="T12" fmla="*/ 60 w 61"/>
                <a:gd name="T13" fmla="*/ 1 h 35"/>
                <a:gd name="T14" fmla="*/ 58 w 61"/>
                <a:gd name="T15" fmla="*/ 5 h 35"/>
                <a:gd name="T16" fmla="*/ 51 w 61"/>
                <a:gd name="T17" fmla="*/ 9 h 35"/>
                <a:gd name="T18" fmla="*/ 44 w 61"/>
                <a:gd name="T19" fmla="*/ 12 h 35"/>
                <a:gd name="T20" fmla="*/ 47 w 61"/>
                <a:gd name="T21" fmla="*/ 19 h 35"/>
                <a:gd name="T22" fmla="*/ 44 w 61"/>
                <a:gd name="T23" fmla="*/ 24 h 35"/>
                <a:gd name="T24" fmla="*/ 34 w 61"/>
                <a:gd name="T25" fmla="*/ 24 h 35"/>
                <a:gd name="T26" fmla="*/ 29 w 61"/>
                <a:gd name="T27" fmla="*/ 30 h 35"/>
                <a:gd name="T28" fmla="*/ 19 w 61"/>
                <a:gd name="T29" fmla="*/ 32 h 35"/>
                <a:gd name="T30" fmla="*/ 10 w 61"/>
                <a:gd name="T31" fmla="*/ 28 h 35"/>
                <a:gd name="T32" fmla="*/ 0 w 61"/>
                <a:gd name="T33" fmla="*/ 27 h 35"/>
                <a:gd name="T34" fmla="*/ 4 w 61"/>
                <a:gd name="T35" fmla="*/ 2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35">
                  <a:moveTo>
                    <a:pt x="4" y="20"/>
                  </a:moveTo>
                  <a:cubicBezTo>
                    <a:pt x="8" y="18"/>
                    <a:pt x="8" y="18"/>
                    <a:pt x="12" y="17"/>
                  </a:cubicBezTo>
                  <a:cubicBezTo>
                    <a:pt x="16" y="15"/>
                    <a:pt x="17" y="15"/>
                    <a:pt x="19" y="13"/>
                  </a:cubicBezTo>
                  <a:cubicBezTo>
                    <a:pt x="21" y="11"/>
                    <a:pt x="19" y="11"/>
                    <a:pt x="25" y="11"/>
                  </a:cubicBezTo>
                  <a:cubicBezTo>
                    <a:pt x="31" y="11"/>
                    <a:pt x="30" y="12"/>
                    <a:pt x="39" y="10"/>
                  </a:cubicBezTo>
                  <a:cubicBezTo>
                    <a:pt x="48" y="7"/>
                    <a:pt x="48" y="6"/>
                    <a:pt x="51" y="4"/>
                  </a:cubicBezTo>
                  <a:cubicBezTo>
                    <a:pt x="54" y="2"/>
                    <a:pt x="59" y="1"/>
                    <a:pt x="60" y="1"/>
                  </a:cubicBezTo>
                  <a:cubicBezTo>
                    <a:pt x="61" y="0"/>
                    <a:pt x="61" y="3"/>
                    <a:pt x="58" y="5"/>
                  </a:cubicBezTo>
                  <a:cubicBezTo>
                    <a:pt x="56" y="7"/>
                    <a:pt x="54" y="7"/>
                    <a:pt x="51" y="9"/>
                  </a:cubicBezTo>
                  <a:cubicBezTo>
                    <a:pt x="48" y="11"/>
                    <a:pt x="44" y="11"/>
                    <a:pt x="44" y="12"/>
                  </a:cubicBezTo>
                  <a:cubicBezTo>
                    <a:pt x="43" y="14"/>
                    <a:pt x="45" y="16"/>
                    <a:pt x="47" y="19"/>
                  </a:cubicBezTo>
                  <a:cubicBezTo>
                    <a:pt x="48" y="22"/>
                    <a:pt x="49" y="25"/>
                    <a:pt x="44" y="24"/>
                  </a:cubicBezTo>
                  <a:cubicBezTo>
                    <a:pt x="39" y="23"/>
                    <a:pt x="34" y="20"/>
                    <a:pt x="34" y="24"/>
                  </a:cubicBezTo>
                  <a:cubicBezTo>
                    <a:pt x="34" y="28"/>
                    <a:pt x="34" y="28"/>
                    <a:pt x="29" y="30"/>
                  </a:cubicBezTo>
                  <a:cubicBezTo>
                    <a:pt x="24" y="31"/>
                    <a:pt x="24" y="35"/>
                    <a:pt x="19" y="32"/>
                  </a:cubicBezTo>
                  <a:cubicBezTo>
                    <a:pt x="15" y="29"/>
                    <a:pt x="17" y="27"/>
                    <a:pt x="10" y="28"/>
                  </a:cubicBezTo>
                  <a:cubicBezTo>
                    <a:pt x="3" y="28"/>
                    <a:pt x="0" y="31"/>
                    <a:pt x="0" y="27"/>
                  </a:cubicBezTo>
                  <a:cubicBezTo>
                    <a:pt x="0" y="24"/>
                    <a:pt x="1" y="20"/>
                    <a:pt x="4" y="20"/>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49" name="Freeform 735">
              <a:extLst>
                <a:ext uri="{FF2B5EF4-FFF2-40B4-BE49-F238E27FC236}">
                  <a16:creationId xmlns:a16="http://schemas.microsoft.com/office/drawing/2014/main" id="{0F7A3321-FB93-1C4A-B0F5-65CF8678877E}"/>
                </a:ext>
              </a:extLst>
            </p:cNvPr>
            <p:cNvSpPr>
              <a:spLocks/>
            </p:cNvSpPr>
            <p:nvPr/>
          </p:nvSpPr>
          <p:spPr bwMode="auto">
            <a:xfrm>
              <a:off x="4498989" y="1103768"/>
              <a:ext cx="19050" cy="14288"/>
            </a:xfrm>
            <a:custGeom>
              <a:avLst/>
              <a:gdLst>
                <a:gd name="T0" fmla="*/ 3 w 21"/>
                <a:gd name="T1" fmla="*/ 4 h 15"/>
                <a:gd name="T2" fmla="*/ 6 w 21"/>
                <a:gd name="T3" fmla="*/ 9 h 15"/>
                <a:gd name="T4" fmla="*/ 15 w 21"/>
                <a:gd name="T5" fmla="*/ 11 h 15"/>
                <a:gd name="T6" fmla="*/ 18 w 21"/>
                <a:gd name="T7" fmla="*/ 4 h 15"/>
                <a:gd name="T8" fmla="*/ 10 w 21"/>
                <a:gd name="T9" fmla="*/ 1 h 15"/>
                <a:gd name="T10" fmla="*/ 3 w 21"/>
                <a:gd name="T11" fmla="*/ 4 h 15"/>
              </a:gdLst>
              <a:ahLst/>
              <a:cxnLst>
                <a:cxn ang="0">
                  <a:pos x="T0" y="T1"/>
                </a:cxn>
                <a:cxn ang="0">
                  <a:pos x="T2" y="T3"/>
                </a:cxn>
                <a:cxn ang="0">
                  <a:pos x="T4" y="T5"/>
                </a:cxn>
                <a:cxn ang="0">
                  <a:pos x="T6" y="T7"/>
                </a:cxn>
                <a:cxn ang="0">
                  <a:pos x="T8" y="T9"/>
                </a:cxn>
                <a:cxn ang="0">
                  <a:pos x="T10" y="T11"/>
                </a:cxn>
              </a:cxnLst>
              <a:rect l="0" t="0" r="r" b="b"/>
              <a:pathLst>
                <a:path w="21" h="15">
                  <a:moveTo>
                    <a:pt x="3" y="4"/>
                  </a:moveTo>
                  <a:cubicBezTo>
                    <a:pt x="2" y="7"/>
                    <a:pt x="4" y="7"/>
                    <a:pt x="6" y="9"/>
                  </a:cubicBezTo>
                  <a:cubicBezTo>
                    <a:pt x="8" y="10"/>
                    <a:pt x="12" y="15"/>
                    <a:pt x="15" y="11"/>
                  </a:cubicBezTo>
                  <a:cubicBezTo>
                    <a:pt x="17" y="7"/>
                    <a:pt x="21" y="6"/>
                    <a:pt x="18" y="4"/>
                  </a:cubicBezTo>
                  <a:cubicBezTo>
                    <a:pt x="15" y="2"/>
                    <a:pt x="14" y="0"/>
                    <a:pt x="10" y="1"/>
                  </a:cubicBezTo>
                  <a:cubicBezTo>
                    <a:pt x="6" y="2"/>
                    <a:pt x="0" y="2"/>
                    <a:pt x="3"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50" name="Freeform 736">
              <a:extLst>
                <a:ext uri="{FF2B5EF4-FFF2-40B4-BE49-F238E27FC236}">
                  <a16:creationId xmlns:a16="http://schemas.microsoft.com/office/drawing/2014/main" id="{EF0C094B-9B7F-3F43-9360-EDC55D82C5FA}"/>
                </a:ext>
              </a:extLst>
            </p:cNvPr>
            <p:cNvSpPr>
              <a:spLocks/>
            </p:cNvSpPr>
            <p:nvPr/>
          </p:nvSpPr>
          <p:spPr bwMode="auto">
            <a:xfrm>
              <a:off x="4495814" y="1119643"/>
              <a:ext cx="28575" cy="19050"/>
            </a:xfrm>
            <a:custGeom>
              <a:avLst/>
              <a:gdLst>
                <a:gd name="T0" fmla="*/ 5 w 31"/>
                <a:gd name="T1" fmla="*/ 4 h 21"/>
                <a:gd name="T2" fmla="*/ 1 w 31"/>
                <a:gd name="T3" fmla="*/ 7 h 21"/>
                <a:gd name="T4" fmla="*/ 3 w 31"/>
                <a:gd name="T5" fmla="*/ 12 h 21"/>
                <a:gd name="T6" fmla="*/ 5 w 31"/>
                <a:gd name="T7" fmla="*/ 19 h 21"/>
                <a:gd name="T8" fmla="*/ 10 w 31"/>
                <a:gd name="T9" fmla="*/ 12 h 21"/>
                <a:gd name="T10" fmla="*/ 16 w 31"/>
                <a:gd name="T11" fmla="*/ 10 h 21"/>
                <a:gd name="T12" fmla="*/ 24 w 31"/>
                <a:gd name="T13" fmla="*/ 7 h 21"/>
                <a:gd name="T14" fmla="*/ 27 w 31"/>
                <a:gd name="T15" fmla="*/ 4 h 21"/>
                <a:gd name="T16" fmla="*/ 20 w 31"/>
                <a:gd name="T17" fmla="*/ 1 h 21"/>
                <a:gd name="T18" fmla="*/ 11 w 31"/>
                <a:gd name="T19" fmla="*/ 1 h 21"/>
                <a:gd name="T20" fmla="*/ 5 w 31"/>
                <a:gd name="T21"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21">
                  <a:moveTo>
                    <a:pt x="5" y="4"/>
                  </a:moveTo>
                  <a:cubicBezTo>
                    <a:pt x="3" y="4"/>
                    <a:pt x="0" y="5"/>
                    <a:pt x="1" y="7"/>
                  </a:cubicBezTo>
                  <a:cubicBezTo>
                    <a:pt x="1" y="9"/>
                    <a:pt x="2" y="8"/>
                    <a:pt x="3" y="12"/>
                  </a:cubicBezTo>
                  <a:cubicBezTo>
                    <a:pt x="4" y="17"/>
                    <a:pt x="2" y="21"/>
                    <a:pt x="5" y="19"/>
                  </a:cubicBezTo>
                  <a:cubicBezTo>
                    <a:pt x="9" y="17"/>
                    <a:pt x="6" y="13"/>
                    <a:pt x="10" y="12"/>
                  </a:cubicBezTo>
                  <a:cubicBezTo>
                    <a:pt x="14" y="11"/>
                    <a:pt x="10" y="11"/>
                    <a:pt x="16" y="10"/>
                  </a:cubicBezTo>
                  <a:cubicBezTo>
                    <a:pt x="22" y="9"/>
                    <a:pt x="22" y="9"/>
                    <a:pt x="24" y="7"/>
                  </a:cubicBezTo>
                  <a:cubicBezTo>
                    <a:pt x="26" y="5"/>
                    <a:pt x="31" y="6"/>
                    <a:pt x="27" y="4"/>
                  </a:cubicBezTo>
                  <a:cubicBezTo>
                    <a:pt x="23" y="2"/>
                    <a:pt x="24" y="1"/>
                    <a:pt x="20" y="1"/>
                  </a:cubicBezTo>
                  <a:cubicBezTo>
                    <a:pt x="17" y="1"/>
                    <a:pt x="13" y="0"/>
                    <a:pt x="11" y="1"/>
                  </a:cubicBezTo>
                  <a:cubicBezTo>
                    <a:pt x="9" y="2"/>
                    <a:pt x="6" y="0"/>
                    <a:pt x="5"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51" name="Freeform 737">
              <a:extLst>
                <a:ext uri="{FF2B5EF4-FFF2-40B4-BE49-F238E27FC236}">
                  <a16:creationId xmlns:a16="http://schemas.microsoft.com/office/drawing/2014/main" id="{8EE116A1-8DEA-2E48-96DD-07B47356BF4B}"/>
                </a:ext>
              </a:extLst>
            </p:cNvPr>
            <p:cNvSpPr>
              <a:spLocks/>
            </p:cNvSpPr>
            <p:nvPr/>
          </p:nvSpPr>
          <p:spPr bwMode="auto">
            <a:xfrm>
              <a:off x="4422789" y="1137105"/>
              <a:ext cx="22225" cy="25400"/>
            </a:xfrm>
            <a:custGeom>
              <a:avLst/>
              <a:gdLst>
                <a:gd name="T0" fmla="*/ 1 w 23"/>
                <a:gd name="T1" fmla="*/ 13 h 27"/>
                <a:gd name="T2" fmla="*/ 2 w 23"/>
                <a:gd name="T3" fmla="*/ 20 h 27"/>
                <a:gd name="T4" fmla="*/ 3 w 23"/>
                <a:gd name="T5" fmla="*/ 26 h 27"/>
                <a:gd name="T6" fmla="*/ 8 w 23"/>
                <a:gd name="T7" fmla="*/ 24 h 27"/>
                <a:gd name="T8" fmla="*/ 13 w 23"/>
                <a:gd name="T9" fmla="*/ 18 h 27"/>
                <a:gd name="T10" fmla="*/ 17 w 23"/>
                <a:gd name="T11" fmla="*/ 11 h 27"/>
                <a:gd name="T12" fmla="*/ 18 w 23"/>
                <a:gd name="T13" fmla="*/ 5 h 27"/>
                <a:gd name="T14" fmla="*/ 20 w 23"/>
                <a:gd name="T15" fmla="*/ 0 h 27"/>
                <a:gd name="T16" fmla="*/ 11 w 23"/>
                <a:gd name="T17" fmla="*/ 2 h 27"/>
                <a:gd name="T18" fmla="*/ 3 w 23"/>
                <a:gd name="T19" fmla="*/ 6 h 27"/>
                <a:gd name="T20" fmla="*/ 1 w 23"/>
                <a:gd name="T21" fmla="*/ 10 h 27"/>
                <a:gd name="T22" fmla="*/ 1 w 23"/>
                <a:gd name="T23"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27">
                  <a:moveTo>
                    <a:pt x="1" y="13"/>
                  </a:moveTo>
                  <a:cubicBezTo>
                    <a:pt x="1" y="17"/>
                    <a:pt x="0" y="18"/>
                    <a:pt x="2" y="20"/>
                  </a:cubicBezTo>
                  <a:cubicBezTo>
                    <a:pt x="3" y="23"/>
                    <a:pt x="2" y="25"/>
                    <a:pt x="3" y="26"/>
                  </a:cubicBezTo>
                  <a:cubicBezTo>
                    <a:pt x="5" y="27"/>
                    <a:pt x="7" y="25"/>
                    <a:pt x="8" y="24"/>
                  </a:cubicBezTo>
                  <a:cubicBezTo>
                    <a:pt x="10" y="22"/>
                    <a:pt x="12" y="19"/>
                    <a:pt x="13" y="18"/>
                  </a:cubicBezTo>
                  <a:cubicBezTo>
                    <a:pt x="13" y="17"/>
                    <a:pt x="20" y="13"/>
                    <a:pt x="17" y="11"/>
                  </a:cubicBezTo>
                  <a:cubicBezTo>
                    <a:pt x="15" y="9"/>
                    <a:pt x="16" y="6"/>
                    <a:pt x="18" y="5"/>
                  </a:cubicBezTo>
                  <a:cubicBezTo>
                    <a:pt x="20" y="3"/>
                    <a:pt x="23" y="0"/>
                    <a:pt x="20" y="0"/>
                  </a:cubicBezTo>
                  <a:cubicBezTo>
                    <a:pt x="17" y="0"/>
                    <a:pt x="13" y="1"/>
                    <a:pt x="11" y="2"/>
                  </a:cubicBezTo>
                  <a:cubicBezTo>
                    <a:pt x="8" y="4"/>
                    <a:pt x="3" y="3"/>
                    <a:pt x="3" y="6"/>
                  </a:cubicBezTo>
                  <a:cubicBezTo>
                    <a:pt x="2" y="8"/>
                    <a:pt x="1" y="10"/>
                    <a:pt x="1" y="10"/>
                  </a:cubicBezTo>
                  <a:cubicBezTo>
                    <a:pt x="1" y="10"/>
                    <a:pt x="0" y="11"/>
                    <a:pt x="1" y="1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52" name="Freeform 738">
              <a:extLst>
                <a:ext uri="{FF2B5EF4-FFF2-40B4-BE49-F238E27FC236}">
                  <a16:creationId xmlns:a16="http://schemas.microsoft.com/office/drawing/2014/main" id="{03E4284D-37F1-C549-89B2-2F66EFE3CACA}"/>
                </a:ext>
              </a:extLst>
            </p:cNvPr>
            <p:cNvSpPr>
              <a:spLocks/>
            </p:cNvSpPr>
            <p:nvPr/>
          </p:nvSpPr>
          <p:spPr bwMode="auto">
            <a:xfrm>
              <a:off x="4392627" y="1151393"/>
              <a:ext cx="11113" cy="30163"/>
            </a:xfrm>
            <a:custGeom>
              <a:avLst/>
              <a:gdLst>
                <a:gd name="T0" fmla="*/ 12 w 13"/>
                <a:gd name="T1" fmla="*/ 5 h 31"/>
                <a:gd name="T2" fmla="*/ 9 w 13"/>
                <a:gd name="T3" fmla="*/ 19 h 31"/>
                <a:gd name="T4" fmla="*/ 6 w 13"/>
                <a:gd name="T5" fmla="*/ 28 h 31"/>
                <a:gd name="T6" fmla="*/ 0 w 13"/>
                <a:gd name="T7" fmla="*/ 28 h 31"/>
                <a:gd name="T8" fmla="*/ 3 w 13"/>
                <a:gd name="T9" fmla="*/ 19 h 31"/>
                <a:gd name="T10" fmla="*/ 6 w 13"/>
                <a:gd name="T11" fmla="*/ 12 h 31"/>
                <a:gd name="T12" fmla="*/ 9 w 13"/>
                <a:gd name="T13" fmla="*/ 3 h 31"/>
                <a:gd name="T14" fmla="*/ 12 w 13"/>
                <a:gd name="T15" fmla="*/ 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31">
                  <a:moveTo>
                    <a:pt x="12" y="5"/>
                  </a:moveTo>
                  <a:cubicBezTo>
                    <a:pt x="11" y="8"/>
                    <a:pt x="11" y="14"/>
                    <a:pt x="9" y="19"/>
                  </a:cubicBezTo>
                  <a:cubicBezTo>
                    <a:pt x="7" y="24"/>
                    <a:pt x="11" y="26"/>
                    <a:pt x="6" y="28"/>
                  </a:cubicBezTo>
                  <a:cubicBezTo>
                    <a:pt x="2" y="30"/>
                    <a:pt x="0" y="31"/>
                    <a:pt x="0" y="28"/>
                  </a:cubicBezTo>
                  <a:cubicBezTo>
                    <a:pt x="0" y="25"/>
                    <a:pt x="2" y="23"/>
                    <a:pt x="3" y="19"/>
                  </a:cubicBezTo>
                  <a:cubicBezTo>
                    <a:pt x="4" y="15"/>
                    <a:pt x="5" y="15"/>
                    <a:pt x="6" y="12"/>
                  </a:cubicBezTo>
                  <a:cubicBezTo>
                    <a:pt x="7" y="8"/>
                    <a:pt x="7" y="6"/>
                    <a:pt x="9" y="3"/>
                  </a:cubicBezTo>
                  <a:cubicBezTo>
                    <a:pt x="10" y="0"/>
                    <a:pt x="13" y="0"/>
                    <a:pt x="12"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53" name="Freeform 739">
              <a:extLst>
                <a:ext uri="{FF2B5EF4-FFF2-40B4-BE49-F238E27FC236}">
                  <a16:creationId xmlns:a16="http://schemas.microsoft.com/office/drawing/2014/main" id="{F86D8040-FAA2-7D4A-8012-23F9251A3359}"/>
                </a:ext>
              </a:extLst>
            </p:cNvPr>
            <p:cNvSpPr>
              <a:spLocks/>
            </p:cNvSpPr>
            <p:nvPr/>
          </p:nvSpPr>
          <p:spPr bwMode="auto">
            <a:xfrm>
              <a:off x="4283089" y="1181555"/>
              <a:ext cx="34925" cy="39688"/>
            </a:xfrm>
            <a:custGeom>
              <a:avLst/>
              <a:gdLst>
                <a:gd name="T0" fmla="*/ 9 w 38"/>
                <a:gd name="T1" fmla="*/ 20 h 42"/>
                <a:gd name="T2" fmla="*/ 6 w 38"/>
                <a:gd name="T3" fmla="*/ 12 h 42"/>
                <a:gd name="T4" fmla="*/ 13 w 38"/>
                <a:gd name="T5" fmla="*/ 5 h 42"/>
                <a:gd name="T6" fmla="*/ 21 w 38"/>
                <a:gd name="T7" fmla="*/ 11 h 42"/>
                <a:gd name="T8" fmla="*/ 29 w 38"/>
                <a:gd name="T9" fmla="*/ 3 h 42"/>
                <a:gd name="T10" fmla="*/ 35 w 38"/>
                <a:gd name="T11" fmla="*/ 11 h 42"/>
                <a:gd name="T12" fmla="*/ 29 w 38"/>
                <a:gd name="T13" fmla="*/ 23 h 42"/>
                <a:gd name="T14" fmla="*/ 28 w 38"/>
                <a:gd name="T15" fmla="*/ 29 h 42"/>
                <a:gd name="T16" fmla="*/ 26 w 38"/>
                <a:gd name="T17" fmla="*/ 40 h 42"/>
                <a:gd name="T18" fmla="*/ 15 w 38"/>
                <a:gd name="T19" fmla="*/ 40 h 42"/>
                <a:gd name="T20" fmla="*/ 6 w 38"/>
                <a:gd name="T21" fmla="*/ 32 h 42"/>
                <a:gd name="T22" fmla="*/ 21 w 38"/>
                <a:gd name="T23" fmla="*/ 35 h 42"/>
                <a:gd name="T24" fmla="*/ 16 w 38"/>
                <a:gd name="T25" fmla="*/ 25 h 42"/>
                <a:gd name="T26" fmla="*/ 9 w 38"/>
                <a:gd name="T27"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42">
                  <a:moveTo>
                    <a:pt x="9" y="20"/>
                  </a:moveTo>
                  <a:cubicBezTo>
                    <a:pt x="5" y="15"/>
                    <a:pt x="2" y="14"/>
                    <a:pt x="6" y="12"/>
                  </a:cubicBezTo>
                  <a:cubicBezTo>
                    <a:pt x="9" y="10"/>
                    <a:pt x="10" y="3"/>
                    <a:pt x="13" y="5"/>
                  </a:cubicBezTo>
                  <a:cubicBezTo>
                    <a:pt x="17" y="8"/>
                    <a:pt x="17" y="16"/>
                    <a:pt x="21" y="11"/>
                  </a:cubicBezTo>
                  <a:cubicBezTo>
                    <a:pt x="24" y="6"/>
                    <a:pt x="28" y="0"/>
                    <a:pt x="29" y="3"/>
                  </a:cubicBezTo>
                  <a:cubicBezTo>
                    <a:pt x="30" y="7"/>
                    <a:pt x="38" y="7"/>
                    <a:pt x="35" y="11"/>
                  </a:cubicBezTo>
                  <a:cubicBezTo>
                    <a:pt x="32" y="15"/>
                    <a:pt x="29" y="21"/>
                    <a:pt x="29" y="23"/>
                  </a:cubicBezTo>
                  <a:cubicBezTo>
                    <a:pt x="30" y="25"/>
                    <a:pt x="29" y="27"/>
                    <a:pt x="28" y="29"/>
                  </a:cubicBezTo>
                  <a:cubicBezTo>
                    <a:pt x="26" y="31"/>
                    <a:pt x="29" y="39"/>
                    <a:pt x="26" y="40"/>
                  </a:cubicBezTo>
                  <a:cubicBezTo>
                    <a:pt x="24" y="41"/>
                    <a:pt x="21" y="42"/>
                    <a:pt x="15" y="40"/>
                  </a:cubicBezTo>
                  <a:cubicBezTo>
                    <a:pt x="10" y="38"/>
                    <a:pt x="0" y="31"/>
                    <a:pt x="6" y="32"/>
                  </a:cubicBezTo>
                  <a:cubicBezTo>
                    <a:pt x="12" y="32"/>
                    <a:pt x="18" y="42"/>
                    <a:pt x="21" y="35"/>
                  </a:cubicBezTo>
                  <a:cubicBezTo>
                    <a:pt x="24" y="28"/>
                    <a:pt x="20" y="25"/>
                    <a:pt x="16" y="25"/>
                  </a:cubicBezTo>
                  <a:cubicBezTo>
                    <a:pt x="12" y="25"/>
                    <a:pt x="6" y="20"/>
                    <a:pt x="9" y="20"/>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54" name="Freeform 740">
              <a:extLst>
                <a:ext uri="{FF2B5EF4-FFF2-40B4-BE49-F238E27FC236}">
                  <a16:creationId xmlns:a16="http://schemas.microsoft.com/office/drawing/2014/main" id="{0AB5EBFA-F0A2-B94D-A454-08FB84F7902A}"/>
                </a:ext>
              </a:extLst>
            </p:cNvPr>
            <p:cNvSpPr>
              <a:spLocks/>
            </p:cNvSpPr>
            <p:nvPr/>
          </p:nvSpPr>
          <p:spPr bwMode="auto">
            <a:xfrm>
              <a:off x="4264039" y="1195843"/>
              <a:ext cx="17463" cy="19050"/>
            </a:xfrm>
            <a:custGeom>
              <a:avLst/>
              <a:gdLst>
                <a:gd name="T0" fmla="*/ 12 w 18"/>
                <a:gd name="T1" fmla="*/ 0 h 21"/>
                <a:gd name="T2" fmla="*/ 17 w 18"/>
                <a:gd name="T3" fmla="*/ 5 h 21"/>
                <a:gd name="T4" fmla="*/ 18 w 18"/>
                <a:gd name="T5" fmla="*/ 11 h 21"/>
                <a:gd name="T6" fmla="*/ 15 w 18"/>
                <a:gd name="T7" fmla="*/ 17 h 21"/>
                <a:gd name="T8" fmla="*/ 10 w 18"/>
                <a:gd name="T9" fmla="*/ 13 h 21"/>
                <a:gd name="T10" fmla="*/ 4 w 18"/>
                <a:gd name="T11" fmla="*/ 12 h 21"/>
                <a:gd name="T12" fmla="*/ 0 w 18"/>
                <a:gd name="T13" fmla="*/ 8 h 21"/>
                <a:gd name="T14" fmla="*/ 3 w 18"/>
                <a:gd name="T15" fmla="*/ 2 h 21"/>
                <a:gd name="T16" fmla="*/ 7 w 18"/>
                <a:gd name="T17" fmla="*/ 0 h 21"/>
                <a:gd name="T18" fmla="*/ 12 w 18"/>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1">
                  <a:moveTo>
                    <a:pt x="12" y="0"/>
                  </a:moveTo>
                  <a:cubicBezTo>
                    <a:pt x="15" y="3"/>
                    <a:pt x="17" y="1"/>
                    <a:pt x="17" y="5"/>
                  </a:cubicBezTo>
                  <a:cubicBezTo>
                    <a:pt x="17" y="8"/>
                    <a:pt x="18" y="7"/>
                    <a:pt x="18" y="11"/>
                  </a:cubicBezTo>
                  <a:cubicBezTo>
                    <a:pt x="18" y="15"/>
                    <a:pt x="18" y="21"/>
                    <a:pt x="15" y="17"/>
                  </a:cubicBezTo>
                  <a:cubicBezTo>
                    <a:pt x="12" y="13"/>
                    <a:pt x="13" y="13"/>
                    <a:pt x="10" y="13"/>
                  </a:cubicBezTo>
                  <a:cubicBezTo>
                    <a:pt x="8" y="13"/>
                    <a:pt x="7" y="13"/>
                    <a:pt x="4" y="12"/>
                  </a:cubicBezTo>
                  <a:cubicBezTo>
                    <a:pt x="1" y="10"/>
                    <a:pt x="0" y="12"/>
                    <a:pt x="0" y="8"/>
                  </a:cubicBezTo>
                  <a:cubicBezTo>
                    <a:pt x="0" y="5"/>
                    <a:pt x="2" y="3"/>
                    <a:pt x="3" y="2"/>
                  </a:cubicBezTo>
                  <a:cubicBezTo>
                    <a:pt x="5" y="2"/>
                    <a:pt x="5" y="0"/>
                    <a:pt x="7" y="0"/>
                  </a:cubicBezTo>
                  <a:cubicBezTo>
                    <a:pt x="9" y="1"/>
                    <a:pt x="10" y="2"/>
                    <a:pt x="12" y="0"/>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55" name="Freeform 741">
              <a:extLst>
                <a:ext uri="{FF2B5EF4-FFF2-40B4-BE49-F238E27FC236}">
                  <a16:creationId xmlns:a16="http://schemas.microsoft.com/office/drawing/2014/main" id="{645F7FD8-AB01-FA42-A720-8426B2B60D4C}"/>
                </a:ext>
              </a:extLst>
            </p:cNvPr>
            <p:cNvSpPr>
              <a:spLocks/>
            </p:cNvSpPr>
            <p:nvPr/>
          </p:nvSpPr>
          <p:spPr bwMode="auto">
            <a:xfrm>
              <a:off x="3922725" y="1119643"/>
              <a:ext cx="36513" cy="41275"/>
            </a:xfrm>
            <a:custGeom>
              <a:avLst/>
              <a:gdLst>
                <a:gd name="T0" fmla="*/ 7 w 38"/>
                <a:gd name="T1" fmla="*/ 40 h 42"/>
                <a:gd name="T2" fmla="*/ 7 w 38"/>
                <a:gd name="T3" fmla="*/ 32 h 42"/>
                <a:gd name="T4" fmla="*/ 9 w 38"/>
                <a:gd name="T5" fmla="*/ 26 h 42"/>
                <a:gd name="T6" fmla="*/ 17 w 38"/>
                <a:gd name="T7" fmla="*/ 23 h 42"/>
                <a:gd name="T8" fmla="*/ 26 w 38"/>
                <a:gd name="T9" fmla="*/ 17 h 42"/>
                <a:gd name="T10" fmla="*/ 31 w 38"/>
                <a:gd name="T11" fmla="*/ 9 h 42"/>
                <a:gd name="T12" fmla="*/ 32 w 38"/>
                <a:gd name="T13" fmla="*/ 3 h 42"/>
                <a:gd name="T14" fmla="*/ 16 w 38"/>
                <a:gd name="T15" fmla="*/ 9 h 42"/>
                <a:gd name="T16" fmla="*/ 12 w 38"/>
                <a:gd name="T17" fmla="*/ 15 h 42"/>
                <a:gd name="T18" fmla="*/ 11 w 38"/>
                <a:gd name="T19" fmla="*/ 19 h 42"/>
                <a:gd name="T20" fmla="*/ 1 w 38"/>
                <a:gd name="T21" fmla="*/ 27 h 42"/>
                <a:gd name="T22" fmla="*/ 4 w 38"/>
                <a:gd name="T23" fmla="*/ 40 h 42"/>
                <a:gd name="T24" fmla="*/ 7 w 38"/>
                <a:gd name="T25"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2">
                  <a:moveTo>
                    <a:pt x="7" y="40"/>
                  </a:moveTo>
                  <a:cubicBezTo>
                    <a:pt x="9" y="35"/>
                    <a:pt x="7" y="36"/>
                    <a:pt x="7" y="32"/>
                  </a:cubicBezTo>
                  <a:cubicBezTo>
                    <a:pt x="8" y="28"/>
                    <a:pt x="6" y="26"/>
                    <a:pt x="9" y="26"/>
                  </a:cubicBezTo>
                  <a:cubicBezTo>
                    <a:pt x="13" y="25"/>
                    <a:pt x="14" y="24"/>
                    <a:pt x="17" y="23"/>
                  </a:cubicBezTo>
                  <a:cubicBezTo>
                    <a:pt x="21" y="22"/>
                    <a:pt x="23" y="21"/>
                    <a:pt x="26" y="17"/>
                  </a:cubicBezTo>
                  <a:cubicBezTo>
                    <a:pt x="29" y="12"/>
                    <a:pt x="30" y="13"/>
                    <a:pt x="31" y="9"/>
                  </a:cubicBezTo>
                  <a:cubicBezTo>
                    <a:pt x="33" y="5"/>
                    <a:pt x="38" y="0"/>
                    <a:pt x="32" y="3"/>
                  </a:cubicBezTo>
                  <a:cubicBezTo>
                    <a:pt x="26" y="6"/>
                    <a:pt x="19" y="7"/>
                    <a:pt x="16" y="9"/>
                  </a:cubicBezTo>
                  <a:cubicBezTo>
                    <a:pt x="14" y="12"/>
                    <a:pt x="10" y="13"/>
                    <a:pt x="12" y="15"/>
                  </a:cubicBezTo>
                  <a:cubicBezTo>
                    <a:pt x="14" y="18"/>
                    <a:pt x="15" y="17"/>
                    <a:pt x="11" y="19"/>
                  </a:cubicBezTo>
                  <a:cubicBezTo>
                    <a:pt x="6" y="22"/>
                    <a:pt x="2" y="24"/>
                    <a:pt x="1" y="27"/>
                  </a:cubicBezTo>
                  <a:cubicBezTo>
                    <a:pt x="0" y="30"/>
                    <a:pt x="3" y="39"/>
                    <a:pt x="4" y="40"/>
                  </a:cubicBezTo>
                  <a:cubicBezTo>
                    <a:pt x="4" y="41"/>
                    <a:pt x="2" y="42"/>
                    <a:pt x="7" y="40"/>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56" name="Freeform 742">
              <a:extLst>
                <a:ext uri="{FF2B5EF4-FFF2-40B4-BE49-F238E27FC236}">
                  <a16:creationId xmlns:a16="http://schemas.microsoft.com/office/drawing/2014/main" id="{18D7275F-089F-E047-99FC-95DC8393BAA1}"/>
                </a:ext>
              </a:extLst>
            </p:cNvPr>
            <p:cNvSpPr>
              <a:spLocks/>
            </p:cNvSpPr>
            <p:nvPr/>
          </p:nvSpPr>
          <p:spPr bwMode="auto">
            <a:xfrm>
              <a:off x="4043376" y="1067255"/>
              <a:ext cx="20638" cy="19050"/>
            </a:xfrm>
            <a:custGeom>
              <a:avLst/>
              <a:gdLst>
                <a:gd name="T0" fmla="*/ 10 w 21"/>
                <a:gd name="T1" fmla="*/ 19 h 21"/>
                <a:gd name="T2" fmla="*/ 14 w 21"/>
                <a:gd name="T3" fmla="*/ 15 h 21"/>
                <a:gd name="T4" fmla="*/ 14 w 21"/>
                <a:gd name="T5" fmla="*/ 9 h 21"/>
                <a:gd name="T6" fmla="*/ 17 w 21"/>
                <a:gd name="T7" fmla="*/ 5 h 21"/>
                <a:gd name="T8" fmla="*/ 20 w 21"/>
                <a:gd name="T9" fmla="*/ 1 h 21"/>
                <a:gd name="T10" fmla="*/ 13 w 21"/>
                <a:gd name="T11" fmla="*/ 2 h 21"/>
                <a:gd name="T12" fmla="*/ 6 w 21"/>
                <a:gd name="T13" fmla="*/ 6 h 21"/>
                <a:gd name="T14" fmla="*/ 1 w 21"/>
                <a:gd name="T15" fmla="*/ 10 h 21"/>
                <a:gd name="T16" fmla="*/ 6 w 21"/>
                <a:gd name="T17" fmla="*/ 14 h 21"/>
                <a:gd name="T18" fmla="*/ 6 w 21"/>
                <a:gd name="T19" fmla="*/ 20 h 21"/>
                <a:gd name="T20" fmla="*/ 10 w 21"/>
                <a:gd name="T21"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1">
                  <a:moveTo>
                    <a:pt x="10" y="19"/>
                  </a:moveTo>
                  <a:cubicBezTo>
                    <a:pt x="12" y="17"/>
                    <a:pt x="13" y="18"/>
                    <a:pt x="14" y="15"/>
                  </a:cubicBezTo>
                  <a:cubicBezTo>
                    <a:pt x="14" y="12"/>
                    <a:pt x="10" y="11"/>
                    <a:pt x="14" y="9"/>
                  </a:cubicBezTo>
                  <a:cubicBezTo>
                    <a:pt x="17" y="7"/>
                    <a:pt x="15" y="3"/>
                    <a:pt x="17" y="5"/>
                  </a:cubicBezTo>
                  <a:cubicBezTo>
                    <a:pt x="19" y="6"/>
                    <a:pt x="21" y="2"/>
                    <a:pt x="20" y="1"/>
                  </a:cubicBezTo>
                  <a:cubicBezTo>
                    <a:pt x="19" y="0"/>
                    <a:pt x="14" y="1"/>
                    <a:pt x="13" y="2"/>
                  </a:cubicBezTo>
                  <a:cubicBezTo>
                    <a:pt x="11" y="3"/>
                    <a:pt x="7" y="3"/>
                    <a:pt x="6" y="6"/>
                  </a:cubicBezTo>
                  <a:cubicBezTo>
                    <a:pt x="6" y="8"/>
                    <a:pt x="0" y="7"/>
                    <a:pt x="1" y="10"/>
                  </a:cubicBezTo>
                  <a:cubicBezTo>
                    <a:pt x="3" y="13"/>
                    <a:pt x="7" y="11"/>
                    <a:pt x="6" y="14"/>
                  </a:cubicBezTo>
                  <a:cubicBezTo>
                    <a:pt x="5" y="17"/>
                    <a:pt x="4" y="19"/>
                    <a:pt x="6" y="20"/>
                  </a:cubicBezTo>
                  <a:cubicBezTo>
                    <a:pt x="8" y="21"/>
                    <a:pt x="9" y="19"/>
                    <a:pt x="10" y="1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57" name="Freeform 743">
              <a:extLst>
                <a:ext uri="{FF2B5EF4-FFF2-40B4-BE49-F238E27FC236}">
                  <a16:creationId xmlns:a16="http://schemas.microsoft.com/office/drawing/2014/main" id="{F8776D64-2DCE-684D-91B1-51AE56126FFC}"/>
                </a:ext>
              </a:extLst>
            </p:cNvPr>
            <p:cNvSpPr>
              <a:spLocks/>
            </p:cNvSpPr>
            <p:nvPr/>
          </p:nvSpPr>
          <p:spPr bwMode="auto">
            <a:xfrm>
              <a:off x="3967175" y="1224418"/>
              <a:ext cx="15875" cy="9525"/>
            </a:xfrm>
            <a:custGeom>
              <a:avLst/>
              <a:gdLst>
                <a:gd name="T0" fmla="*/ 8 w 17"/>
                <a:gd name="T1" fmla="*/ 11 h 11"/>
                <a:gd name="T2" fmla="*/ 13 w 17"/>
                <a:gd name="T3" fmla="*/ 7 h 11"/>
                <a:gd name="T4" fmla="*/ 13 w 17"/>
                <a:gd name="T5" fmla="*/ 2 h 11"/>
                <a:gd name="T6" fmla="*/ 8 w 17"/>
                <a:gd name="T7" fmla="*/ 1 h 11"/>
                <a:gd name="T8" fmla="*/ 1 w 17"/>
                <a:gd name="T9" fmla="*/ 4 h 11"/>
                <a:gd name="T10" fmla="*/ 2 w 17"/>
                <a:gd name="T11" fmla="*/ 10 h 11"/>
                <a:gd name="T12" fmla="*/ 8 w 17"/>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7" h="11">
                  <a:moveTo>
                    <a:pt x="8" y="11"/>
                  </a:moveTo>
                  <a:cubicBezTo>
                    <a:pt x="11" y="9"/>
                    <a:pt x="12" y="11"/>
                    <a:pt x="13" y="7"/>
                  </a:cubicBezTo>
                  <a:cubicBezTo>
                    <a:pt x="14" y="3"/>
                    <a:pt x="17" y="3"/>
                    <a:pt x="13" y="2"/>
                  </a:cubicBezTo>
                  <a:cubicBezTo>
                    <a:pt x="9" y="1"/>
                    <a:pt x="12" y="0"/>
                    <a:pt x="8" y="1"/>
                  </a:cubicBezTo>
                  <a:cubicBezTo>
                    <a:pt x="3" y="2"/>
                    <a:pt x="2" y="1"/>
                    <a:pt x="1" y="4"/>
                  </a:cubicBezTo>
                  <a:cubicBezTo>
                    <a:pt x="0" y="7"/>
                    <a:pt x="0" y="8"/>
                    <a:pt x="2" y="10"/>
                  </a:cubicBezTo>
                  <a:cubicBezTo>
                    <a:pt x="4" y="11"/>
                    <a:pt x="6" y="10"/>
                    <a:pt x="8" y="1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58" name="Freeform 744">
              <a:extLst>
                <a:ext uri="{FF2B5EF4-FFF2-40B4-BE49-F238E27FC236}">
                  <a16:creationId xmlns:a16="http://schemas.microsoft.com/office/drawing/2014/main" id="{4426626D-706A-264B-B5F7-AACBE9A84DA9}"/>
                </a:ext>
              </a:extLst>
            </p:cNvPr>
            <p:cNvSpPr>
              <a:spLocks/>
            </p:cNvSpPr>
            <p:nvPr/>
          </p:nvSpPr>
          <p:spPr bwMode="auto">
            <a:xfrm>
              <a:off x="7067572" y="1453018"/>
              <a:ext cx="122238" cy="111125"/>
            </a:xfrm>
            <a:custGeom>
              <a:avLst/>
              <a:gdLst>
                <a:gd name="T0" fmla="*/ 10 w 128"/>
                <a:gd name="T1" fmla="*/ 4 h 117"/>
                <a:gd name="T2" fmla="*/ 24 w 128"/>
                <a:gd name="T3" fmla="*/ 12 h 117"/>
                <a:gd name="T4" fmla="*/ 34 w 128"/>
                <a:gd name="T5" fmla="*/ 19 h 117"/>
                <a:gd name="T6" fmla="*/ 49 w 128"/>
                <a:gd name="T7" fmla="*/ 27 h 117"/>
                <a:gd name="T8" fmla="*/ 64 w 128"/>
                <a:gd name="T9" fmla="*/ 34 h 117"/>
                <a:gd name="T10" fmla="*/ 86 w 128"/>
                <a:gd name="T11" fmla="*/ 42 h 117"/>
                <a:gd name="T12" fmla="*/ 102 w 128"/>
                <a:gd name="T13" fmla="*/ 42 h 117"/>
                <a:gd name="T14" fmla="*/ 105 w 128"/>
                <a:gd name="T15" fmla="*/ 35 h 117"/>
                <a:gd name="T16" fmla="*/ 110 w 128"/>
                <a:gd name="T17" fmla="*/ 46 h 117"/>
                <a:gd name="T18" fmla="*/ 118 w 128"/>
                <a:gd name="T19" fmla="*/ 57 h 117"/>
                <a:gd name="T20" fmla="*/ 127 w 128"/>
                <a:gd name="T21" fmla="*/ 67 h 117"/>
                <a:gd name="T22" fmla="*/ 119 w 128"/>
                <a:gd name="T23" fmla="*/ 73 h 117"/>
                <a:gd name="T24" fmla="*/ 102 w 128"/>
                <a:gd name="T25" fmla="*/ 76 h 117"/>
                <a:gd name="T26" fmla="*/ 94 w 128"/>
                <a:gd name="T27" fmla="*/ 86 h 117"/>
                <a:gd name="T28" fmla="*/ 97 w 128"/>
                <a:gd name="T29" fmla="*/ 100 h 117"/>
                <a:gd name="T30" fmla="*/ 82 w 128"/>
                <a:gd name="T31" fmla="*/ 96 h 117"/>
                <a:gd name="T32" fmla="*/ 69 w 128"/>
                <a:gd name="T33" fmla="*/ 90 h 117"/>
                <a:gd name="T34" fmla="*/ 51 w 128"/>
                <a:gd name="T35" fmla="*/ 85 h 117"/>
                <a:gd name="T36" fmla="*/ 43 w 128"/>
                <a:gd name="T37" fmla="*/ 89 h 117"/>
                <a:gd name="T38" fmla="*/ 34 w 128"/>
                <a:gd name="T39" fmla="*/ 87 h 117"/>
                <a:gd name="T40" fmla="*/ 24 w 128"/>
                <a:gd name="T41" fmla="*/ 87 h 117"/>
                <a:gd name="T42" fmla="*/ 33 w 128"/>
                <a:gd name="T43" fmla="*/ 95 h 117"/>
                <a:gd name="T44" fmla="*/ 49 w 128"/>
                <a:gd name="T45" fmla="*/ 101 h 117"/>
                <a:gd name="T46" fmla="*/ 49 w 128"/>
                <a:gd name="T47" fmla="*/ 107 h 117"/>
                <a:gd name="T48" fmla="*/ 38 w 128"/>
                <a:gd name="T49" fmla="*/ 111 h 117"/>
                <a:gd name="T50" fmla="*/ 35 w 128"/>
                <a:gd name="T51" fmla="*/ 116 h 117"/>
                <a:gd name="T52" fmla="*/ 30 w 128"/>
                <a:gd name="T53" fmla="*/ 109 h 117"/>
                <a:gd name="T54" fmla="*/ 24 w 128"/>
                <a:gd name="T55" fmla="*/ 99 h 117"/>
                <a:gd name="T56" fmla="*/ 16 w 128"/>
                <a:gd name="T57" fmla="*/ 94 h 117"/>
                <a:gd name="T58" fmla="*/ 12 w 128"/>
                <a:gd name="T59" fmla="*/ 82 h 117"/>
                <a:gd name="T60" fmla="*/ 17 w 128"/>
                <a:gd name="T61" fmla="*/ 76 h 117"/>
                <a:gd name="T62" fmla="*/ 7 w 128"/>
                <a:gd name="T63" fmla="*/ 65 h 117"/>
                <a:gd name="T64" fmla="*/ 20 w 128"/>
                <a:gd name="T65" fmla="*/ 63 h 117"/>
                <a:gd name="T66" fmla="*/ 30 w 128"/>
                <a:gd name="T67" fmla="*/ 68 h 117"/>
                <a:gd name="T68" fmla="*/ 32 w 128"/>
                <a:gd name="T69" fmla="*/ 60 h 117"/>
                <a:gd name="T70" fmla="*/ 27 w 128"/>
                <a:gd name="T71" fmla="*/ 52 h 117"/>
                <a:gd name="T72" fmla="*/ 24 w 128"/>
                <a:gd name="T73" fmla="*/ 39 h 117"/>
                <a:gd name="T74" fmla="*/ 18 w 128"/>
                <a:gd name="T75" fmla="*/ 28 h 117"/>
                <a:gd name="T76" fmla="*/ 7 w 128"/>
                <a:gd name="T77" fmla="*/ 15 h 117"/>
                <a:gd name="T78" fmla="*/ 1 w 128"/>
                <a:gd name="T79" fmla="*/ 5 h 117"/>
                <a:gd name="T80" fmla="*/ 10 w 128"/>
                <a:gd name="T81" fmla="*/ 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117">
                  <a:moveTo>
                    <a:pt x="10" y="4"/>
                  </a:moveTo>
                  <a:cubicBezTo>
                    <a:pt x="13" y="5"/>
                    <a:pt x="20" y="9"/>
                    <a:pt x="24" y="12"/>
                  </a:cubicBezTo>
                  <a:cubicBezTo>
                    <a:pt x="29" y="16"/>
                    <a:pt x="29" y="15"/>
                    <a:pt x="34" y="19"/>
                  </a:cubicBezTo>
                  <a:cubicBezTo>
                    <a:pt x="40" y="24"/>
                    <a:pt x="40" y="22"/>
                    <a:pt x="49" y="27"/>
                  </a:cubicBezTo>
                  <a:cubicBezTo>
                    <a:pt x="58" y="33"/>
                    <a:pt x="50" y="27"/>
                    <a:pt x="64" y="34"/>
                  </a:cubicBezTo>
                  <a:cubicBezTo>
                    <a:pt x="78" y="40"/>
                    <a:pt x="82" y="42"/>
                    <a:pt x="86" y="42"/>
                  </a:cubicBezTo>
                  <a:cubicBezTo>
                    <a:pt x="90" y="43"/>
                    <a:pt x="102" y="48"/>
                    <a:pt x="102" y="42"/>
                  </a:cubicBezTo>
                  <a:cubicBezTo>
                    <a:pt x="102" y="37"/>
                    <a:pt x="104" y="32"/>
                    <a:pt x="105" y="35"/>
                  </a:cubicBezTo>
                  <a:cubicBezTo>
                    <a:pt x="107" y="38"/>
                    <a:pt x="108" y="39"/>
                    <a:pt x="110" y="46"/>
                  </a:cubicBezTo>
                  <a:cubicBezTo>
                    <a:pt x="112" y="53"/>
                    <a:pt x="112" y="53"/>
                    <a:pt x="118" y="57"/>
                  </a:cubicBezTo>
                  <a:cubicBezTo>
                    <a:pt x="124" y="62"/>
                    <a:pt x="128" y="65"/>
                    <a:pt x="127" y="67"/>
                  </a:cubicBezTo>
                  <a:cubicBezTo>
                    <a:pt x="127" y="70"/>
                    <a:pt x="124" y="70"/>
                    <a:pt x="119" y="73"/>
                  </a:cubicBezTo>
                  <a:cubicBezTo>
                    <a:pt x="114" y="75"/>
                    <a:pt x="105" y="73"/>
                    <a:pt x="102" y="76"/>
                  </a:cubicBezTo>
                  <a:cubicBezTo>
                    <a:pt x="99" y="79"/>
                    <a:pt x="92" y="79"/>
                    <a:pt x="94" y="86"/>
                  </a:cubicBezTo>
                  <a:cubicBezTo>
                    <a:pt x="95" y="93"/>
                    <a:pt x="104" y="99"/>
                    <a:pt x="97" y="100"/>
                  </a:cubicBezTo>
                  <a:cubicBezTo>
                    <a:pt x="90" y="100"/>
                    <a:pt x="88" y="100"/>
                    <a:pt x="82" y="96"/>
                  </a:cubicBezTo>
                  <a:cubicBezTo>
                    <a:pt x="75" y="93"/>
                    <a:pt x="77" y="92"/>
                    <a:pt x="69" y="90"/>
                  </a:cubicBezTo>
                  <a:cubicBezTo>
                    <a:pt x="60" y="88"/>
                    <a:pt x="55" y="83"/>
                    <a:pt x="51" y="85"/>
                  </a:cubicBezTo>
                  <a:cubicBezTo>
                    <a:pt x="47" y="87"/>
                    <a:pt x="47" y="87"/>
                    <a:pt x="43" y="89"/>
                  </a:cubicBezTo>
                  <a:cubicBezTo>
                    <a:pt x="38" y="91"/>
                    <a:pt x="38" y="90"/>
                    <a:pt x="34" y="87"/>
                  </a:cubicBezTo>
                  <a:cubicBezTo>
                    <a:pt x="29" y="84"/>
                    <a:pt x="24" y="83"/>
                    <a:pt x="24" y="87"/>
                  </a:cubicBezTo>
                  <a:cubicBezTo>
                    <a:pt x="24" y="90"/>
                    <a:pt x="24" y="90"/>
                    <a:pt x="33" y="95"/>
                  </a:cubicBezTo>
                  <a:cubicBezTo>
                    <a:pt x="42" y="99"/>
                    <a:pt x="47" y="98"/>
                    <a:pt x="49" y="101"/>
                  </a:cubicBezTo>
                  <a:cubicBezTo>
                    <a:pt x="51" y="105"/>
                    <a:pt x="54" y="107"/>
                    <a:pt x="49" y="107"/>
                  </a:cubicBezTo>
                  <a:cubicBezTo>
                    <a:pt x="44" y="107"/>
                    <a:pt x="38" y="109"/>
                    <a:pt x="38" y="111"/>
                  </a:cubicBezTo>
                  <a:cubicBezTo>
                    <a:pt x="38" y="114"/>
                    <a:pt x="42" y="117"/>
                    <a:pt x="35" y="116"/>
                  </a:cubicBezTo>
                  <a:cubicBezTo>
                    <a:pt x="28" y="116"/>
                    <a:pt x="30" y="112"/>
                    <a:pt x="30" y="109"/>
                  </a:cubicBezTo>
                  <a:cubicBezTo>
                    <a:pt x="31" y="107"/>
                    <a:pt x="28" y="101"/>
                    <a:pt x="24" y="99"/>
                  </a:cubicBezTo>
                  <a:cubicBezTo>
                    <a:pt x="20" y="97"/>
                    <a:pt x="20" y="101"/>
                    <a:pt x="16" y="94"/>
                  </a:cubicBezTo>
                  <a:cubicBezTo>
                    <a:pt x="11" y="88"/>
                    <a:pt x="11" y="86"/>
                    <a:pt x="12" y="82"/>
                  </a:cubicBezTo>
                  <a:cubicBezTo>
                    <a:pt x="13" y="77"/>
                    <a:pt x="18" y="80"/>
                    <a:pt x="17" y="76"/>
                  </a:cubicBezTo>
                  <a:cubicBezTo>
                    <a:pt x="17" y="71"/>
                    <a:pt x="6" y="66"/>
                    <a:pt x="7" y="65"/>
                  </a:cubicBezTo>
                  <a:cubicBezTo>
                    <a:pt x="8" y="63"/>
                    <a:pt x="16" y="60"/>
                    <a:pt x="20" y="63"/>
                  </a:cubicBezTo>
                  <a:cubicBezTo>
                    <a:pt x="24" y="66"/>
                    <a:pt x="27" y="69"/>
                    <a:pt x="30" y="68"/>
                  </a:cubicBezTo>
                  <a:cubicBezTo>
                    <a:pt x="33" y="66"/>
                    <a:pt x="35" y="64"/>
                    <a:pt x="32" y="60"/>
                  </a:cubicBezTo>
                  <a:cubicBezTo>
                    <a:pt x="29" y="57"/>
                    <a:pt x="27" y="60"/>
                    <a:pt x="27" y="52"/>
                  </a:cubicBezTo>
                  <a:cubicBezTo>
                    <a:pt x="26" y="45"/>
                    <a:pt x="26" y="42"/>
                    <a:pt x="24" y="39"/>
                  </a:cubicBezTo>
                  <a:cubicBezTo>
                    <a:pt x="22" y="35"/>
                    <a:pt x="22" y="33"/>
                    <a:pt x="18" y="28"/>
                  </a:cubicBezTo>
                  <a:cubicBezTo>
                    <a:pt x="14" y="24"/>
                    <a:pt x="11" y="19"/>
                    <a:pt x="7" y="15"/>
                  </a:cubicBezTo>
                  <a:cubicBezTo>
                    <a:pt x="4" y="11"/>
                    <a:pt x="0" y="7"/>
                    <a:pt x="1" y="5"/>
                  </a:cubicBezTo>
                  <a:cubicBezTo>
                    <a:pt x="2" y="3"/>
                    <a:pt x="8" y="0"/>
                    <a:pt x="10"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59" name="Freeform 745">
              <a:extLst>
                <a:ext uri="{FF2B5EF4-FFF2-40B4-BE49-F238E27FC236}">
                  <a16:creationId xmlns:a16="http://schemas.microsoft.com/office/drawing/2014/main" id="{6D83AEA2-7874-0B49-AC41-B13B12E17578}"/>
                </a:ext>
              </a:extLst>
            </p:cNvPr>
            <p:cNvSpPr>
              <a:spLocks/>
            </p:cNvSpPr>
            <p:nvPr/>
          </p:nvSpPr>
          <p:spPr bwMode="auto">
            <a:xfrm>
              <a:off x="7178698" y="1480006"/>
              <a:ext cx="12700" cy="17463"/>
            </a:xfrm>
            <a:custGeom>
              <a:avLst/>
              <a:gdLst>
                <a:gd name="T0" fmla="*/ 5 w 13"/>
                <a:gd name="T1" fmla="*/ 19 h 19"/>
                <a:gd name="T2" fmla="*/ 11 w 13"/>
                <a:gd name="T3" fmla="*/ 8 h 19"/>
                <a:gd name="T4" fmla="*/ 8 w 13"/>
                <a:gd name="T5" fmla="*/ 1 h 19"/>
                <a:gd name="T6" fmla="*/ 0 w 13"/>
                <a:gd name="T7" fmla="*/ 7 h 19"/>
                <a:gd name="T8" fmla="*/ 5 w 13"/>
                <a:gd name="T9" fmla="*/ 19 h 19"/>
              </a:gdLst>
              <a:ahLst/>
              <a:cxnLst>
                <a:cxn ang="0">
                  <a:pos x="T0" y="T1"/>
                </a:cxn>
                <a:cxn ang="0">
                  <a:pos x="T2" y="T3"/>
                </a:cxn>
                <a:cxn ang="0">
                  <a:pos x="T4" y="T5"/>
                </a:cxn>
                <a:cxn ang="0">
                  <a:pos x="T6" y="T7"/>
                </a:cxn>
                <a:cxn ang="0">
                  <a:pos x="T8" y="T9"/>
                </a:cxn>
              </a:cxnLst>
              <a:rect l="0" t="0" r="r" b="b"/>
              <a:pathLst>
                <a:path w="13" h="19">
                  <a:moveTo>
                    <a:pt x="5" y="19"/>
                  </a:moveTo>
                  <a:cubicBezTo>
                    <a:pt x="7" y="13"/>
                    <a:pt x="8" y="13"/>
                    <a:pt x="11" y="8"/>
                  </a:cubicBezTo>
                  <a:cubicBezTo>
                    <a:pt x="13" y="4"/>
                    <a:pt x="12" y="0"/>
                    <a:pt x="8" y="1"/>
                  </a:cubicBezTo>
                  <a:cubicBezTo>
                    <a:pt x="3" y="2"/>
                    <a:pt x="0" y="1"/>
                    <a:pt x="0" y="7"/>
                  </a:cubicBezTo>
                  <a:cubicBezTo>
                    <a:pt x="0" y="12"/>
                    <a:pt x="0" y="19"/>
                    <a:pt x="5" y="1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60" name="Freeform 746">
              <a:extLst>
                <a:ext uri="{FF2B5EF4-FFF2-40B4-BE49-F238E27FC236}">
                  <a16:creationId xmlns:a16="http://schemas.microsoft.com/office/drawing/2014/main" id="{D568A21E-2D56-5542-9F1B-9DF225FB4F73}"/>
                </a:ext>
              </a:extLst>
            </p:cNvPr>
            <p:cNvSpPr>
              <a:spLocks/>
            </p:cNvSpPr>
            <p:nvPr/>
          </p:nvSpPr>
          <p:spPr bwMode="auto">
            <a:xfrm>
              <a:off x="7194573" y="1451431"/>
              <a:ext cx="36513" cy="33338"/>
            </a:xfrm>
            <a:custGeom>
              <a:avLst/>
              <a:gdLst>
                <a:gd name="T0" fmla="*/ 7 w 38"/>
                <a:gd name="T1" fmla="*/ 35 h 35"/>
                <a:gd name="T2" fmla="*/ 11 w 38"/>
                <a:gd name="T3" fmla="*/ 25 h 35"/>
                <a:gd name="T4" fmla="*/ 16 w 38"/>
                <a:gd name="T5" fmla="*/ 18 h 35"/>
                <a:gd name="T6" fmla="*/ 29 w 38"/>
                <a:gd name="T7" fmla="*/ 9 h 35"/>
                <a:gd name="T8" fmla="*/ 29 w 38"/>
                <a:gd name="T9" fmla="*/ 2 h 35"/>
                <a:gd name="T10" fmla="*/ 17 w 38"/>
                <a:gd name="T11" fmla="*/ 4 h 35"/>
                <a:gd name="T12" fmla="*/ 7 w 38"/>
                <a:gd name="T13" fmla="*/ 11 h 35"/>
                <a:gd name="T14" fmla="*/ 1 w 38"/>
                <a:gd name="T15" fmla="*/ 25 h 35"/>
                <a:gd name="T16" fmla="*/ 7 w 38"/>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7" y="35"/>
                  </a:moveTo>
                  <a:cubicBezTo>
                    <a:pt x="7" y="29"/>
                    <a:pt x="7" y="26"/>
                    <a:pt x="11" y="25"/>
                  </a:cubicBezTo>
                  <a:cubicBezTo>
                    <a:pt x="14" y="23"/>
                    <a:pt x="9" y="20"/>
                    <a:pt x="16" y="18"/>
                  </a:cubicBezTo>
                  <a:cubicBezTo>
                    <a:pt x="22" y="15"/>
                    <a:pt x="25" y="12"/>
                    <a:pt x="29" y="9"/>
                  </a:cubicBezTo>
                  <a:cubicBezTo>
                    <a:pt x="34" y="7"/>
                    <a:pt x="38" y="0"/>
                    <a:pt x="29" y="2"/>
                  </a:cubicBezTo>
                  <a:cubicBezTo>
                    <a:pt x="21" y="5"/>
                    <a:pt x="19" y="0"/>
                    <a:pt x="17" y="4"/>
                  </a:cubicBezTo>
                  <a:cubicBezTo>
                    <a:pt x="15" y="8"/>
                    <a:pt x="8" y="7"/>
                    <a:pt x="7" y="11"/>
                  </a:cubicBezTo>
                  <a:cubicBezTo>
                    <a:pt x="5" y="16"/>
                    <a:pt x="1" y="19"/>
                    <a:pt x="1" y="25"/>
                  </a:cubicBezTo>
                  <a:cubicBezTo>
                    <a:pt x="0" y="31"/>
                    <a:pt x="2" y="34"/>
                    <a:pt x="7" y="3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61" name="Freeform 747">
              <a:extLst>
                <a:ext uri="{FF2B5EF4-FFF2-40B4-BE49-F238E27FC236}">
                  <a16:creationId xmlns:a16="http://schemas.microsoft.com/office/drawing/2014/main" id="{CBAA65FF-C49A-D444-91BA-C5C452028F56}"/>
                </a:ext>
              </a:extLst>
            </p:cNvPr>
            <p:cNvSpPr>
              <a:spLocks/>
            </p:cNvSpPr>
            <p:nvPr/>
          </p:nvSpPr>
          <p:spPr bwMode="auto">
            <a:xfrm>
              <a:off x="7229498" y="1432381"/>
              <a:ext cx="19050" cy="23813"/>
            </a:xfrm>
            <a:custGeom>
              <a:avLst/>
              <a:gdLst>
                <a:gd name="T0" fmla="*/ 7 w 19"/>
                <a:gd name="T1" fmla="*/ 22 h 25"/>
                <a:gd name="T2" fmla="*/ 14 w 19"/>
                <a:gd name="T3" fmla="*/ 14 h 25"/>
                <a:gd name="T4" fmla="*/ 17 w 19"/>
                <a:gd name="T5" fmla="*/ 4 h 25"/>
                <a:gd name="T6" fmla="*/ 9 w 19"/>
                <a:gd name="T7" fmla="*/ 4 h 25"/>
                <a:gd name="T8" fmla="*/ 3 w 19"/>
                <a:gd name="T9" fmla="*/ 12 h 25"/>
                <a:gd name="T10" fmla="*/ 0 w 19"/>
                <a:gd name="T11" fmla="*/ 22 h 25"/>
                <a:gd name="T12" fmla="*/ 7 w 19"/>
                <a:gd name="T13" fmla="*/ 22 h 25"/>
              </a:gdLst>
              <a:ahLst/>
              <a:cxnLst>
                <a:cxn ang="0">
                  <a:pos x="T0" y="T1"/>
                </a:cxn>
                <a:cxn ang="0">
                  <a:pos x="T2" y="T3"/>
                </a:cxn>
                <a:cxn ang="0">
                  <a:pos x="T4" y="T5"/>
                </a:cxn>
                <a:cxn ang="0">
                  <a:pos x="T6" y="T7"/>
                </a:cxn>
                <a:cxn ang="0">
                  <a:pos x="T8" y="T9"/>
                </a:cxn>
                <a:cxn ang="0">
                  <a:pos x="T10" y="T11"/>
                </a:cxn>
                <a:cxn ang="0">
                  <a:pos x="T12" y="T13"/>
                </a:cxn>
              </a:cxnLst>
              <a:rect l="0" t="0" r="r" b="b"/>
              <a:pathLst>
                <a:path w="19" h="25">
                  <a:moveTo>
                    <a:pt x="7" y="22"/>
                  </a:moveTo>
                  <a:cubicBezTo>
                    <a:pt x="12" y="18"/>
                    <a:pt x="10" y="20"/>
                    <a:pt x="14" y="14"/>
                  </a:cubicBezTo>
                  <a:cubicBezTo>
                    <a:pt x="17" y="8"/>
                    <a:pt x="19" y="5"/>
                    <a:pt x="17" y="4"/>
                  </a:cubicBezTo>
                  <a:cubicBezTo>
                    <a:pt x="15" y="3"/>
                    <a:pt x="13" y="0"/>
                    <a:pt x="9" y="4"/>
                  </a:cubicBezTo>
                  <a:cubicBezTo>
                    <a:pt x="6" y="8"/>
                    <a:pt x="5" y="9"/>
                    <a:pt x="3" y="12"/>
                  </a:cubicBezTo>
                  <a:cubicBezTo>
                    <a:pt x="2" y="15"/>
                    <a:pt x="0" y="22"/>
                    <a:pt x="0" y="22"/>
                  </a:cubicBezTo>
                  <a:cubicBezTo>
                    <a:pt x="1" y="22"/>
                    <a:pt x="3" y="25"/>
                    <a:pt x="7" y="2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62" name="Freeform 748">
              <a:extLst>
                <a:ext uri="{FF2B5EF4-FFF2-40B4-BE49-F238E27FC236}">
                  <a16:creationId xmlns:a16="http://schemas.microsoft.com/office/drawing/2014/main" id="{6D32E07C-AE22-DB4E-B358-1974665F3072}"/>
                </a:ext>
              </a:extLst>
            </p:cNvPr>
            <p:cNvSpPr>
              <a:spLocks/>
            </p:cNvSpPr>
            <p:nvPr/>
          </p:nvSpPr>
          <p:spPr bwMode="auto">
            <a:xfrm>
              <a:off x="7254898" y="1408568"/>
              <a:ext cx="9525" cy="15875"/>
            </a:xfrm>
            <a:custGeom>
              <a:avLst/>
              <a:gdLst>
                <a:gd name="T0" fmla="*/ 5 w 10"/>
                <a:gd name="T1" fmla="*/ 16 h 16"/>
                <a:gd name="T2" fmla="*/ 8 w 10"/>
                <a:gd name="T3" fmla="*/ 7 h 16"/>
                <a:gd name="T4" fmla="*/ 7 w 10"/>
                <a:gd name="T5" fmla="*/ 2 h 16"/>
                <a:gd name="T6" fmla="*/ 0 w 10"/>
                <a:gd name="T7" fmla="*/ 6 h 16"/>
                <a:gd name="T8" fmla="*/ 5 w 10"/>
                <a:gd name="T9" fmla="*/ 16 h 16"/>
              </a:gdLst>
              <a:ahLst/>
              <a:cxnLst>
                <a:cxn ang="0">
                  <a:pos x="T0" y="T1"/>
                </a:cxn>
                <a:cxn ang="0">
                  <a:pos x="T2" y="T3"/>
                </a:cxn>
                <a:cxn ang="0">
                  <a:pos x="T4" y="T5"/>
                </a:cxn>
                <a:cxn ang="0">
                  <a:pos x="T6" y="T7"/>
                </a:cxn>
                <a:cxn ang="0">
                  <a:pos x="T8" y="T9"/>
                </a:cxn>
              </a:cxnLst>
              <a:rect l="0" t="0" r="r" b="b"/>
              <a:pathLst>
                <a:path w="10" h="16">
                  <a:moveTo>
                    <a:pt x="5" y="16"/>
                  </a:moveTo>
                  <a:cubicBezTo>
                    <a:pt x="8" y="11"/>
                    <a:pt x="8" y="12"/>
                    <a:pt x="8" y="7"/>
                  </a:cubicBezTo>
                  <a:cubicBezTo>
                    <a:pt x="9" y="3"/>
                    <a:pt x="10" y="0"/>
                    <a:pt x="7" y="2"/>
                  </a:cubicBezTo>
                  <a:cubicBezTo>
                    <a:pt x="3" y="4"/>
                    <a:pt x="0" y="3"/>
                    <a:pt x="0" y="6"/>
                  </a:cubicBezTo>
                  <a:cubicBezTo>
                    <a:pt x="0" y="9"/>
                    <a:pt x="0" y="13"/>
                    <a:pt x="5" y="1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63" name="Freeform 749">
              <a:extLst>
                <a:ext uri="{FF2B5EF4-FFF2-40B4-BE49-F238E27FC236}">
                  <a16:creationId xmlns:a16="http://schemas.microsoft.com/office/drawing/2014/main" id="{F8C52F0A-9C41-3449-8C99-945D674C832C}"/>
                </a:ext>
              </a:extLst>
            </p:cNvPr>
            <p:cNvSpPr>
              <a:spLocks/>
            </p:cNvSpPr>
            <p:nvPr/>
          </p:nvSpPr>
          <p:spPr bwMode="auto">
            <a:xfrm>
              <a:off x="6962797" y="1557793"/>
              <a:ext cx="231776" cy="287338"/>
            </a:xfrm>
            <a:custGeom>
              <a:avLst/>
              <a:gdLst>
                <a:gd name="T0" fmla="*/ 185 w 243"/>
                <a:gd name="T1" fmla="*/ 23 h 301"/>
                <a:gd name="T2" fmla="*/ 211 w 243"/>
                <a:gd name="T3" fmla="*/ 44 h 301"/>
                <a:gd name="T4" fmla="*/ 220 w 243"/>
                <a:gd name="T5" fmla="*/ 73 h 301"/>
                <a:gd name="T6" fmla="*/ 222 w 243"/>
                <a:gd name="T7" fmla="*/ 91 h 301"/>
                <a:gd name="T8" fmla="*/ 226 w 243"/>
                <a:gd name="T9" fmla="*/ 111 h 301"/>
                <a:gd name="T10" fmla="*/ 233 w 243"/>
                <a:gd name="T11" fmla="*/ 142 h 301"/>
                <a:gd name="T12" fmla="*/ 241 w 243"/>
                <a:gd name="T13" fmla="*/ 171 h 301"/>
                <a:gd name="T14" fmla="*/ 231 w 243"/>
                <a:gd name="T15" fmla="*/ 186 h 301"/>
                <a:gd name="T16" fmla="*/ 229 w 243"/>
                <a:gd name="T17" fmla="*/ 166 h 301"/>
                <a:gd name="T18" fmla="*/ 221 w 243"/>
                <a:gd name="T19" fmla="*/ 179 h 301"/>
                <a:gd name="T20" fmla="*/ 210 w 243"/>
                <a:gd name="T21" fmla="*/ 195 h 301"/>
                <a:gd name="T22" fmla="*/ 199 w 243"/>
                <a:gd name="T23" fmla="*/ 182 h 301"/>
                <a:gd name="T24" fmla="*/ 177 w 243"/>
                <a:gd name="T25" fmla="*/ 195 h 301"/>
                <a:gd name="T26" fmla="*/ 157 w 243"/>
                <a:gd name="T27" fmla="*/ 193 h 301"/>
                <a:gd name="T28" fmla="*/ 156 w 243"/>
                <a:gd name="T29" fmla="*/ 213 h 301"/>
                <a:gd name="T30" fmla="*/ 139 w 243"/>
                <a:gd name="T31" fmla="*/ 223 h 301"/>
                <a:gd name="T32" fmla="*/ 127 w 243"/>
                <a:gd name="T33" fmla="*/ 202 h 301"/>
                <a:gd name="T34" fmla="*/ 121 w 243"/>
                <a:gd name="T35" fmla="*/ 196 h 301"/>
                <a:gd name="T36" fmla="*/ 120 w 243"/>
                <a:gd name="T37" fmla="*/ 216 h 301"/>
                <a:gd name="T38" fmla="*/ 108 w 243"/>
                <a:gd name="T39" fmla="*/ 230 h 301"/>
                <a:gd name="T40" fmla="*/ 94 w 243"/>
                <a:gd name="T41" fmla="*/ 233 h 301"/>
                <a:gd name="T42" fmla="*/ 86 w 243"/>
                <a:gd name="T43" fmla="*/ 246 h 301"/>
                <a:gd name="T44" fmla="*/ 72 w 243"/>
                <a:gd name="T45" fmla="*/ 232 h 301"/>
                <a:gd name="T46" fmla="*/ 77 w 243"/>
                <a:gd name="T47" fmla="*/ 215 h 301"/>
                <a:gd name="T48" fmla="*/ 102 w 243"/>
                <a:gd name="T49" fmla="*/ 203 h 301"/>
                <a:gd name="T50" fmla="*/ 108 w 243"/>
                <a:gd name="T51" fmla="*/ 191 h 301"/>
                <a:gd name="T52" fmla="*/ 85 w 243"/>
                <a:gd name="T53" fmla="*/ 202 h 301"/>
                <a:gd name="T54" fmla="*/ 63 w 243"/>
                <a:gd name="T55" fmla="*/ 206 h 301"/>
                <a:gd name="T56" fmla="*/ 43 w 243"/>
                <a:gd name="T57" fmla="*/ 211 h 301"/>
                <a:gd name="T58" fmla="*/ 50 w 243"/>
                <a:gd name="T59" fmla="*/ 225 h 301"/>
                <a:gd name="T60" fmla="*/ 61 w 243"/>
                <a:gd name="T61" fmla="*/ 236 h 301"/>
                <a:gd name="T62" fmla="*/ 66 w 243"/>
                <a:gd name="T63" fmla="*/ 256 h 301"/>
                <a:gd name="T64" fmla="*/ 68 w 243"/>
                <a:gd name="T65" fmla="*/ 286 h 301"/>
                <a:gd name="T66" fmla="*/ 54 w 243"/>
                <a:gd name="T67" fmla="*/ 286 h 301"/>
                <a:gd name="T68" fmla="*/ 42 w 243"/>
                <a:gd name="T69" fmla="*/ 288 h 301"/>
                <a:gd name="T70" fmla="*/ 37 w 243"/>
                <a:gd name="T71" fmla="*/ 261 h 301"/>
                <a:gd name="T72" fmla="*/ 24 w 243"/>
                <a:gd name="T73" fmla="*/ 238 h 301"/>
                <a:gd name="T74" fmla="*/ 33 w 243"/>
                <a:gd name="T75" fmla="*/ 258 h 301"/>
                <a:gd name="T76" fmla="*/ 19 w 243"/>
                <a:gd name="T77" fmla="*/ 246 h 301"/>
                <a:gd name="T78" fmla="*/ 5 w 243"/>
                <a:gd name="T79" fmla="*/ 230 h 301"/>
                <a:gd name="T80" fmla="*/ 28 w 243"/>
                <a:gd name="T81" fmla="*/ 206 h 301"/>
                <a:gd name="T82" fmla="*/ 53 w 243"/>
                <a:gd name="T83" fmla="*/ 178 h 301"/>
                <a:gd name="T84" fmla="*/ 74 w 243"/>
                <a:gd name="T85" fmla="*/ 169 h 301"/>
                <a:gd name="T86" fmla="*/ 100 w 243"/>
                <a:gd name="T87" fmla="*/ 167 h 301"/>
                <a:gd name="T88" fmla="*/ 123 w 243"/>
                <a:gd name="T89" fmla="*/ 170 h 301"/>
                <a:gd name="T90" fmla="*/ 126 w 243"/>
                <a:gd name="T91" fmla="*/ 145 h 301"/>
                <a:gd name="T92" fmla="*/ 127 w 243"/>
                <a:gd name="T93" fmla="*/ 118 h 301"/>
                <a:gd name="T94" fmla="*/ 136 w 243"/>
                <a:gd name="T95" fmla="*/ 126 h 301"/>
                <a:gd name="T96" fmla="*/ 163 w 243"/>
                <a:gd name="T97" fmla="*/ 122 h 301"/>
                <a:gd name="T98" fmla="*/ 177 w 243"/>
                <a:gd name="T99" fmla="*/ 98 h 301"/>
                <a:gd name="T100" fmla="*/ 176 w 243"/>
                <a:gd name="T101" fmla="*/ 71 h 301"/>
                <a:gd name="T102" fmla="*/ 164 w 243"/>
                <a:gd name="T103" fmla="*/ 48 h 301"/>
                <a:gd name="T104" fmla="*/ 155 w 243"/>
                <a:gd name="T105" fmla="*/ 31 h 301"/>
                <a:gd name="T106" fmla="*/ 156 w 243"/>
                <a:gd name="T107" fmla="*/ 15 h 301"/>
                <a:gd name="T108" fmla="*/ 169 w 243"/>
                <a:gd name="T109" fmla="*/ 19 h 301"/>
                <a:gd name="T110" fmla="*/ 169 w 243"/>
                <a:gd name="T111" fmla="*/ 11 h 301"/>
                <a:gd name="T112" fmla="*/ 177 w 243"/>
                <a:gd name="T113" fmla="*/ 6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3" h="301">
                  <a:moveTo>
                    <a:pt x="177" y="6"/>
                  </a:moveTo>
                  <a:cubicBezTo>
                    <a:pt x="179" y="15"/>
                    <a:pt x="182" y="20"/>
                    <a:pt x="185" y="23"/>
                  </a:cubicBezTo>
                  <a:cubicBezTo>
                    <a:pt x="188" y="27"/>
                    <a:pt x="191" y="28"/>
                    <a:pt x="198" y="33"/>
                  </a:cubicBezTo>
                  <a:cubicBezTo>
                    <a:pt x="205" y="38"/>
                    <a:pt x="209" y="37"/>
                    <a:pt x="211" y="44"/>
                  </a:cubicBezTo>
                  <a:cubicBezTo>
                    <a:pt x="213" y="51"/>
                    <a:pt x="214" y="54"/>
                    <a:pt x="216" y="60"/>
                  </a:cubicBezTo>
                  <a:cubicBezTo>
                    <a:pt x="217" y="65"/>
                    <a:pt x="221" y="67"/>
                    <a:pt x="220" y="73"/>
                  </a:cubicBezTo>
                  <a:cubicBezTo>
                    <a:pt x="220" y="79"/>
                    <a:pt x="224" y="84"/>
                    <a:pt x="225" y="87"/>
                  </a:cubicBezTo>
                  <a:cubicBezTo>
                    <a:pt x="225" y="90"/>
                    <a:pt x="228" y="91"/>
                    <a:pt x="222" y="91"/>
                  </a:cubicBezTo>
                  <a:cubicBezTo>
                    <a:pt x="217" y="92"/>
                    <a:pt x="216" y="100"/>
                    <a:pt x="216" y="102"/>
                  </a:cubicBezTo>
                  <a:cubicBezTo>
                    <a:pt x="216" y="104"/>
                    <a:pt x="224" y="104"/>
                    <a:pt x="226" y="111"/>
                  </a:cubicBezTo>
                  <a:cubicBezTo>
                    <a:pt x="227" y="118"/>
                    <a:pt x="225" y="121"/>
                    <a:pt x="229" y="129"/>
                  </a:cubicBezTo>
                  <a:cubicBezTo>
                    <a:pt x="232" y="136"/>
                    <a:pt x="231" y="134"/>
                    <a:pt x="233" y="142"/>
                  </a:cubicBezTo>
                  <a:cubicBezTo>
                    <a:pt x="235" y="150"/>
                    <a:pt x="239" y="153"/>
                    <a:pt x="241" y="159"/>
                  </a:cubicBezTo>
                  <a:cubicBezTo>
                    <a:pt x="243" y="166"/>
                    <a:pt x="242" y="165"/>
                    <a:pt x="241" y="171"/>
                  </a:cubicBezTo>
                  <a:cubicBezTo>
                    <a:pt x="240" y="176"/>
                    <a:pt x="240" y="182"/>
                    <a:pt x="238" y="184"/>
                  </a:cubicBezTo>
                  <a:cubicBezTo>
                    <a:pt x="236" y="185"/>
                    <a:pt x="231" y="190"/>
                    <a:pt x="231" y="186"/>
                  </a:cubicBezTo>
                  <a:cubicBezTo>
                    <a:pt x="230" y="183"/>
                    <a:pt x="229" y="181"/>
                    <a:pt x="229" y="174"/>
                  </a:cubicBezTo>
                  <a:cubicBezTo>
                    <a:pt x="229" y="166"/>
                    <a:pt x="234" y="165"/>
                    <a:pt x="229" y="166"/>
                  </a:cubicBezTo>
                  <a:cubicBezTo>
                    <a:pt x="223" y="168"/>
                    <a:pt x="219" y="174"/>
                    <a:pt x="219" y="175"/>
                  </a:cubicBezTo>
                  <a:cubicBezTo>
                    <a:pt x="219" y="177"/>
                    <a:pt x="227" y="179"/>
                    <a:pt x="221" y="179"/>
                  </a:cubicBezTo>
                  <a:cubicBezTo>
                    <a:pt x="215" y="180"/>
                    <a:pt x="210" y="176"/>
                    <a:pt x="212" y="182"/>
                  </a:cubicBezTo>
                  <a:cubicBezTo>
                    <a:pt x="214" y="189"/>
                    <a:pt x="213" y="195"/>
                    <a:pt x="210" y="195"/>
                  </a:cubicBezTo>
                  <a:cubicBezTo>
                    <a:pt x="207" y="195"/>
                    <a:pt x="207" y="193"/>
                    <a:pt x="205" y="188"/>
                  </a:cubicBezTo>
                  <a:cubicBezTo>
                    <a:pt x="202" y="183"/>
                    <a:pt x="203" y="174"/>
                    <a:pt x="199" y="182"/>
                  </a:cubicBezTo>
                  <a:cubicBezTo>
                    <a:pt x="196" y="189"/>
                    <a:pt x="209" y="193"/>
                    <a:pt x="194" y="195"/>
                  </a:cubicBezTo>
                  <a:cubicBezTo>
                    <a:pt x="179" y="196"/>
                    <a:pt x="188" y="199"/>
                    <a:pt x="177" y="195"/>
                  </a:cubicBezTo>
                  <a:cubicBezTo>
                    <a:pt x="167" y="190"/>
                    <a:pt x="169" y="189"/>
                    <a:pt x="165" y="190"/>
                  </a:cubicBezTo>
                  <a:cubicBezTo>
                    <a:pt x="161" y="190"/>
                    <a:pt x="154" y="189"/>
                    <a:pt x="157" y="193"/>
                  </a:cubicBezTo>
                  <a:cubicBezTo>
                    <a:pt x="159" y="197"/>
                    <a:pt x="166" y="202"/>
                    <a:pt x="165" y="205"/>
                  </a:cubicBezTo>
                  <a:cubicBezTo>
                    <a:pt x="164" y="208"/>
                    <a:pt x="158" y="206"/>
                    <a:pt x="156" y="213"/>
                  </a:cubicBezTo>
                  <a:cubicBezTo>
                    <a:pt x="155" y="220"/>
                    <a:pt x="157" y="227"/>
                    <a:pt x="151" y="228"/>
                  </a:cubicBezTo>
                  <a:cubicBezTo>
                    <a:pt x="146" y="229"/>
                    <a:pt x="142" y="226"/>
                    <a:pt x="139" y="223"/>
                  </a:cubicBezTo>
                  <a:cubicBezTo>
                    <a:pt x="135" y="219"/>
                    <a:pt x="134" y="214"/>
                    <a:pt x="131" y="210"/>
                  </a:cubicBezTo>
                  <a:cubicBezTo>
                    <a:pt x="129" y="206"/>
                    <a:pt x="126" y="204"/>
                    <a:pt x="127" y="202"/>
                  </a:cubicBezTo>
                  <a:cubicBezTo>
                    <a:pt x="129" y="200"/>
                    <a:pt x="132" y="196"/>
                    <a:pt x="129" y="194"/>
                  </a:cubicBezTo>
                  <a:cubicBezTo>
                    <a:pt x="127" y="193"/>
                    <a:pt x="121" y="192"/>
                    <a:pt x="121" y="196"/>
                  </a:cubicBezTo>
                  <a:cubicBezTo>
                    <a:pt x="121" y="199"/>
                    <a:pt x="118" y="204"/>
                    <a:pt x="118" y="207"/>
                  </a:cubicBezTo>
                  <a:cubicBezTo>
                    <a:pt x="118" y="211"/>
                    <a:pt x="121" y="212"/>
                    <a:pt x="120" y="216"/>
                  </a:cubicBezTo>
                  <a:cubicBezTo>
                    <a:pt x="120" y="219"/>
                    <a:pt x="118" y="219"/>
                    <a:pt x="117" y="225"/>
                  </a:cubicBezTo>
                  <a:cubicBezTo>
                    <a:pt x="117" y="232"/>
                    <a:pt x="108" y="230"/>
                    <a:pt x="108" y="230"/>
                  </a:cubicBezTo>
                  <a:cubicBezTo>
                    <a:pt x="108" y="230"/>
                    <a:pt x="104" y="224"/>
                    <a:pt x="101" y="227"/>
                  </a:cubicBezTo>
                  <a:cubicBezTo>
                    <a:pt x="99" y="229"/>
                    <a:pt x="96" y="227"/>
                    <a:pt x="94" y="233"/>
                  </a:cubicBezTo>
                  <a:cubicBezTo>
                    <a:pt x="93" y="239"/>
                    <a:pt x="92" y="240"/>
                    <a:pt x="93" y="244"/>
                  </a:cubicBezTo>
                  <a:cubicBezTo>
                    <a:pt x="94" y="247"/>
                    <a:pt x="87" y="247"/>
                    <a:pt x="86" y="246"/>
                  </a:cubicBezTo>
                  <a:cubicBezTo>
                    <a:pt x="85" y="245"/>
                    <a:pt x="81" y="243"/>
                    <a:pt x="78" y="241"/>
                  </a:cubicBezTo>
                  <a:cubicBezTo>
                    <a:pt x="75" y="239"/>
                    <a:pt x="77" y="236"/>
                    <a:pt x="72" y="232"/>
                  </a:cubicBezTo>
                  <a:cubicBezTo>
                    <a:pt x="66" y="228"/>
                    <a:pt x="63" y="228"/>
                    <a:pt x="69" y="225"/>
                  </a:cubicBezTo>
                  <a:cubicBezTo>
                    <a:pt x="75" y="221"/>
                    <a:pt x="69" y="220"/>
                    <a:pt x="77" y="215"/>
                  </a:cubicBezTo>
                  <a:cubicBezTo>
                    <a:pt x="85" y="209"/>
                    <a:pt x="87" y="212"/>
                    <a:pt x="92" y="211"/>
                  </a:cubicBezTo>
                  <a:cubicBezTo>
                    <a:pt x="96" y="210"/>
                    <a:pt x="98" y="204"/>
                    <a:pt x="102" y="203"/>
                  </a:cubicBezTo>
                  <a:cubicBezTo>
                    <a:pt x="105" y="202"/>
                    <a:pt x="114" y="208"/>
                    <a:pt x="114" y="202"/>
                  </a:cubicBezTo>
                  <a:cubicBezTo>
                    <a:pt x="114" y="195"/>
                    <a:pt x="112" y="191"/>
                    <a:pt x="108" y="191"/>
                  </a:cubicBezTo>
                  <a:cubicBezTo>
                    <a:pt x="103" y="191"/>
                    <a:pt x="101" y="192"/>
                    <a:pt x="97" y="196"/>
                  </a:cubicBezTo>
                  <a:cubicBezTo>
                    <a:pt x="93" y="199"/>
                    <a:pt x="91" y="201"/>
                    <a:pt x="85" y="202"/>
                  </a:cubicBezTo>
                  <a:cubicBezTo>
                    <a:pt x="79" y="202"/>
                    <a:pt x="80" y="202"/>
                    <a:pt x="74" y="204"/>
                  </a:cubicBezTo>
                  <a:cubicBezTo>
                    <a:pt x="68" y="206"/>
                    <a:pt x="66" y="200"/>
                    <a:pt x="63" y="206"/>
                  </a:cubicBezTo>
                  <a:cubicBezTo>
                    <a:pt x="60" y="211"/>
                    <a:pt x="70" y="213"/>
                    <a:pt x="58" y="212"/>
                  </a:cubicBezTo>
                  <a:cubicBezTo>
                    <a:pt x="46" y="212"/>
                    <a:pt x="45" y="210"/>
                    <a:pt x="43" y="211"/>
                  </a:cubicBezTo>
                  <a:cubicBezTo>
                    <a:pt x="40" y="212"/>
                    <a:pt x="31" y="215"/>
                    <a:pt x="35" y="218"/>
                  </a:cubicBezTo>
                  <a:cubicBezTo>
                    <a:pt x="38" y="221"/>
                    <a:pt x="48" y="225"/>
                    <a:pt x="50" y="225"/>
                  </a:cubicBezTo>
                  <a:cubicBezTo>
                    <a:pt x="52" y="224"/>
                    <a:pt x="56" y="228"/>
                    <a:pt x="55" y="230"/>
                  </a:cubicBezTo>
                  <a:cubicBezTo>
                    <a:pt x="55" y="231"/>
                    <a:pt x="57" y="234"/>
                    <a:pt x="61" y="236"/>
                  </a:cubicBezTo>
                  <a:cubicBezTo>
                    <a:pt x="65" y="238"/>
                    <a:pt x="71" y="240"/>
                    <a:pt x="69" y="245"/>
                  </a:cubicBezTo>
                  <a:cubicBezTo>
                    <a:pt x="67" y="250"/>
                    <a:pt x="65" y="249"/>
                    <a:pt x="66" y="256"/>
                  </a:cubicBezTo>
                  <a:cubicBezTo>
                    <a:pt x="67" y="264"/>
                    <a:pt x="67" y="264"/>
                    <a:pt x="69" y="272"/>
                  </a:cubicBezTo>
                  <a:cubicBezTo>
                    <a:pt x="70" y="279"/>
                    <a:pt x="71" y="283"/>
                    <a:pt x="68" y="286"/>
                  </a:cubicBezTo>
                  <a:cubicBezTo>
                    <a:pt x="66" y="288"/>
                    <a:pt x="68" y="301"/>
                    <a:pt x="61" y="296"/>
                  </a:cubicBezTo>
                  <a:cubicBezTo>
                    <a:pt x="54" y="291"/>
                    <a:pt x="57" y="291"/>
                    <a:pt x="54" y="286"/>
                  </a:cubicBezTo>
                  <a:cubicBezTo>
                    <a:pt x="51" y="281"/>
                    <a:pt x="54" y="283"/>
                    <a:pt x="50" y="286"/>
                  </a:cubicBezTo>
                  <a:cubicBezTo>
                    <a:pt x="47" y="290"/>
                    <a:pt x="44" y="294"/>
                    <a:pt x="42" y="288"/>
                  </a:cubicBezTo>
                  <a:cubicBezTo>
                    <a:pt x="40" y="282"/>
                    <a:pt x="41" y="284"/>
                    <a:pt x="40" y="275"/>
                  </a:cubicBezTo>
                  <a:cubicBezTo>
                    <a:pt x="38" y="267"/>
                    <a:pt x="36" y="266"/>
                    <a:pt x="37" y="261"/>
                  </a:cubicBezTo>
                  <a:cubicBezTo>
                    <a:pt x="37" y="255"/>
                    <a:pt x="44" y="258"/>
                    <a:pt x="37" y="249"/>
                  </a:cubicBezTo>
                  <a:cubicBezTo>
                    <a:pt x="31" y="241"/>
                    <a:pt x="21" y="233"/>
                    <a:pt x="24" y="238"/>
                  </a:cubicBezTo>
                  <a:cubicBezTo>
                    <a:pt x="26" y="243"/>
                    <a:pt x="28" y="248"/>
                    <a:pt x="30" y="251"/>
                  </a:cubicBezTo>
                  <a:cubicBezTo>
                    <a:pt x="32" y="253"/>
                    <a:pt x="38" y="258"/>
                    <a:pt x="33" y="258"/>
                  </a:cubicBezTo>
                  <a:cubicBezTo>
                    <a:pt x="28" y="258"/>
                    <a:pt x="28" y="265"/>
                    <a:pt x="25" y="256"/>
                  </a:cubicBezTo>
                  <a:cubicBezTo>
                    <a:pt x="21" y="247"/>
                    <a:pt x="25" y="249"/>
                    <a:pt x="19" y="246"/>
                  </a:cubicBezTo>
                  <a:cubicBezTo>
                    <a:pt x="12" y="243"/>
                    <a:pt x="14" y="245"/>
                    <a:pt x="10" y="238"/>
                  </a:cubicBezTo>
                  <a:cubicBezTo>
                    <a:pt x="5" y="232"/>
                    <a:pt x="0" y="233"/>
                    <a:pt x="5" y="230"/>
                  </a:cubicBezTo>
                  <a:cubicBezTo>
                    <a:pt x="10" y="228"/>
                    <a:pt x="12" y="237"/>
                    <a:pt x="20" y="223"/>
                  </a:cubicBezTo>
                  <a:cubicBezTo>
                    <a:pt x="28" y="209"/>
                    <a:pt x="29" y="212"/>
                    <a:pt x="28" y="206"/>
                  </a:cubicBezTo>
                  <a:cubicBezTo>
                    <a:pt x="27" y="200"/>
                    <a:pt x="28" y="198"/>
                    <a:pt x="34" y="195"/>
                  </a:cubicBezTo>
                  <a:cubicBezTo>
                    <a:pt x="40" y="192"/>
                    <a:pt x="48" y="183"/>
                    <a:pt x="53" y="178"/>
                  </a:cubicBezTo>
                  <a:cubicBezTo>
                    <a:pt x="57" y="172"/>
                    <a:pt x="53" y="170"/>
                    <a:pt x="60" y="169"/>
                  </a:cubicBezTo>
                  <a:cubicBezTo>
                    <a:pt x="67" y="168"/>
                    <a:pt x="67" y="168"/>
                    <a:pt x="74" y="169"/>
                  </a:cubicBezTo>
                  <a:cubicBezTo>
                    <a:pt x="80" y="170"/>
                    <a:pt x="79" y="170"/>
                    <a:pt x="86" y="170"/>
                  </a:cubicBezTo>
                  <a:cubicBezTo>
                    <a:pt x="92" y="169"/>
                    <a:pt x="93" y="167"/>
                    <a:pt x="100" y="167"/>
                  </a:cubicBezTo>
                  <a:cubicBezTo>
                    <a:pt x="107" y="166"/>
                    <a:pt x="115" y="163"/>
                    <a:pt x="115" y="165"/>
                  </a:cubicBezTo>
                  <a:cubicBezTo>
                    <a:pt x="114" y="167"/>
                    <a:pt x="116" y="173"/>
                    <a:pt x="123" y="170"/>
                  </a:cubicBezTo>
                  <a:cubicBezTo>
                    <a:pt x="129" y="166"/>
                    <a:pt x="132" y="169"/>
                    <a:pt x="129" y="162"/>
                  </a:cubicBezTo>
                  <a:cubicBezTo>
                    <a:pt x="126" y="156"/>
                    <a:pt x="124" y="149"/>
                    <a:pt x="126" y="145"/>
                  </a:cubicBezTo>
                  <a:cubicBezTo>
                    <a:pt x="129" y="140"/>
                    <a:pt x="137" y="139"/>
                    <a:pt x="134" y="134"/>
                  </a:cubicBezTo>
                  <a:cubicBezTo>
                    <a:pt x="131" y="129"/>
                    <a:pt x="125" y="120"/>
                    <a:pt x="127" y="118"/>
                  </a:cubicBezTo>
                  <a:cubicBezTo>
                    <a:pt x="129" y="117"/>
                    <a:pt x="141" y="111"/>
                    <a:pt x="141" y="115"/>
                  </a:cubicBezTo>
                  <a:cubicBezTo>
                    <a:pt x="140" y="119"/>
                    <a:pt x="134" y="124"/>
                    <a:pt x="136" y="126"/>
                  </a:cubicBezTo>
                  <a:cubicBezTo>
                    <a:pt x="138" y="128"/>
                    <a:pt x="136" y="138"/>
                    <a:pt x="144" y="136"/>
                  </a:cubicBezTo>
                  <a:cubicBezTo>
                    <a:pt x="152" y="133"/>
                    <a:pt x="157" y="127"/>
                    <a:pt x="163" y="122"/>
                  </a:cubicBezTo>
                  <a:cubicBezTo>
                    <a:pt x="169" y="116"/>
                    <a:pt x="169" y="111"/>
                    <a:pt x="171" y="106"/>
                  </a:cubicBezTo>
                  <a:cubicBezTo>
                    <a:pt x="173" y="101"/>
                    <a:pt x="176" y="103"/>
                    <a:pt x="177" y="98"/>
                  </a:cubicBezTo>
                  <a:cubicBezTo>
                    <a:pt x="178" y="94"/>
                    <a:pt x="176" y="88"/>
                    <a:pt x="175" y="84"/>
                  </a:cubicBezTo>
                  <a:cubicBezTo>
                    <a:pt x="175" y="80"/>
                    <a:pt x="176" y="76"/>
                    <a:pt x="176" y="71"/>
                  </a:cubicBezTo>
                  <a:cubicBezTo>
                    <a:pt x="176" y="66"/>
                    <a:pt x="178" y="67"/>
                    <a:pt x="173" y="61"/>
                  </a:cubicBezTo>
                  <a:cubicBezTo>
                    <a:pt x="169" y="56"/>
                    <a:pt x="166" y="50"/>
                    <a:pt x="164" y="48"/>
                  </a:cubicBezTo>
                  <a:cubicBezTo>
                    <a:pt x="161" y="46"/>
                    <a:pt x="160" y="45"/>
                    <a:pt x="160" y="40"/>
                  </a:cubicBezTo>
                  <a:cubicBezTo>
                    <a:pt x="160" y="34"/>
                    <a:pt x="158" y="35"/>
                    <a:pt x="155" y="31"/>
                  </a:cubicBezTo>
                  <a:cubicBezTo>
                    <a:pt x="151" y="27"/>
                    <a:pt x="146" y="29"/>
                    <a:pt x="152" y="25"/>
                  </a:cubicBezTo>
                  <a:cubicBezTo>
                    <a:pt x="158" y="22"/>
                    <a:pt x="156" y="17"/>
                    <a:pt x="156" y="15"/>
                  </a:cubicBezTo>
                  <a:cubicBezTo>
                    <a:pt x="156" y="14"/>
                    <a:pt x="156" y="5"/>
                    <a:pt x="158" y="9"/>
                  </a:cubicBezTo>
                  <a:cubicBezTo>
                    <a:pt x="160" y="13"/>
                    <a:pt x="166" y="17"/>
                    <a:pt x="169" y="19"/>
                  </a:cubicBezTo>
                  <a:cubicBezTo>
                    <a:pt x="171" y="21"/>
                    <a:pt x="174" y="19"/>
                    <a:pt x="174" y="16"/>
                  </a:cubicBezTo>
                  <a:cubicBezTo>
                    <a:pt x="174" y="12"/>
                    <a:pt x="169" y="11"/>
                    <a:pt x="169" y="11"/>
                  </a:cubicBezTo>
                  <a:cubicBezTo>
                    <a:pt x="169" y="11"/>
                    <a:pt x="159" y="6"/>
                    <a:pt x="165" y="5"/>
                  </a:cubicBezTo>
                  <a:cubicBezTo>
                    <a:pt x="172" y="5"/>
                    <a:pt x="178" y="0"/>
                    <a:pt x="177" y="6"/>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64" name="Freeform 750">
              <a:extLst>
                <a:ext uri="{FF2B5EF4-FFF2-40B4-BE49-F238E27FC236}">
                  <a16:creationId xmlns:a16="http://schemas.microsoft.com/office/drawing/2014/main" id="{6E4D2188-2210-2C47-8585-4774D66744FC}"/>
                </a:ext>
              </a:extLst>
            </p:cNvPr>
            <p:cNvSpPr>
              <a:spLocks/>
            </p:cNvSpPr>
            <p:nvPr/>
          </p:nvSpPr>
          <p:spPr bwMode="auto">
            <a:xfrm>
              <a:off x="4956191" y="698955"/>
              <a:ext cx="244476" cy="144463"/>
            </a:xfrm>
            <a:custGeom>
              <a:avLst/>
              <a:gdLst>
                <a:gd name="T0" fmla="*/ 195 w 257"/>
                <a:gd name="T1" fmla="*/ 9 h 152"/>
                <a:gd name="T2" fmla="*/ 188 w 257"/>
                <a:gd name="T3" fmla="*/ 12 h 152"/>
                <a:gd name="T4" fmla="*/ 176 w 257"/>
                <a:gd name="T5" fmla="*/ 16 h 152"/>
                <a:gd name="T6" fmla="*/ 159 w 257"/>
                <a:gd name="T7" fmla="*/ 18 h 152"/>
                <a:gd name="T8" fmla="*/ 133 w 257"/>
                <a:gd name="T9" fmla="*/ 18 h 152"/>
                <a:gd name="T10" fmla="*/ 112 w 257"/>
                <a:gd name="T11" fmla="*/ 18 h 152"/>
                <a:gd name="T12" fmla="*/ 103 w 257"/>
                <a:gd name="T13" fmla="*/ 25 h 152"/>
                <a:gd name="T14" fmla="*/ 91 w 257"/>
                <a:gd name="T15" fmla="*/ 28 h 152"/>
                <a:gd name="T16" fmla="*/ 75 w 257"/>
                <a:gd name="T17" fmla="*/ 32 h 152"/>
                <a:gd name="T18" fmla="*/ 66 w 257"/>
                <a:gd name="T19" fmla="*/ 39 h 152"/>
                <a:gd name="T20" fmla="*/ 56 w 257"/>
                <a:gd name="T21" fmla="*/ 45 h 152"/>
                <a:gd name="T22" fmla="*/ 50 w 257"/>
                <a:gd name="T23" fmla="*/ 48 h 152"/>
                <a:gd name="T24" fmla="*/ 47 w 257"/>
                <a:gd name="T25" fmla="*/ 60 h 152"/>
                <a:gd name="T26" fmla="*/ 32 w 257"/>
                <a:gd name="T27" fmla="*/ 75 h 152"/>
                <a:gd name="T28" fmla="*/ 38 w 257"/>
                <a:gd name="T29" fmla="*/ 82 h 152"/>
                <a:gd name="T30" fmla="*/ 21 w 257"/>
                <a:gd name="T31" fmla="*/ 91 h 152"/>
                <a:gd name="T32" fmla="*/ 10 w 257"/>
                <a:gd name="T33" fmla="*/ 99 h 152"/>
                <a:gd name="T34" fmla="*/ 21 w 257"/>
                <a:gd name="T35" fmla="*/ 109 h 152"/>
                <a:gd name="T36" fmla="*/ 3 w 257"/>
                <a:gd name="T37" fmla="*/ 117 h 152"/>
                <a:gd name="T38" fmla="*/ 21 w 257"/>
                <a:gd name="T39" fmla="*/ 127 h 152"/>
                <a:gd name="T40" fmla="*/ 41 w 257"/>
                <a:gd name="T41" fmla="*/ 130 h 152"/>
                <a:gd name="T42" fmla="*/ 53 w 257"/>
                <a:gd name="T43" fmla="*/ 139 h 152"/>
                <a:gd name="T44" fmla="*/ 78 w 257"/>
                <a:gd name="T45" fmla="*/ 148 h 152"/>
                <a:gd name="T46" fmla="*/ 109 w 257"/>
                <a:gd name="T47" fmla="*/ 150 h 152"/>
                <a:gd name="T48" fmla="*/ 122 w 257"/>
                <a:gd name="T49" fmla="*/ 144 h 152"/>
                <a:gd name="T50" fmla="*/ 106 w 257"/>
                <a:gd name="T51" fmla="*/ 133 h 152"/>
                <a:gd name="T52" fmla="*/ 87 w 257"/>
                <a:gd name="T53" fmla="*/ 125 h 152"/>
                <a:gd name="T54" fmla="*/ 77 w 257"/>
                <a:gd name="T55" fmla="*/ 113 h 152"/>
                <a:gd name="T56" fmla="*/ 67 w 257"/>
                <a:gd name="T57" fmla="*/ 96 h 152"/>
                <a:gd name="T58" fmla="*/ 82 w 257"/>
                <a:gd name="T59" fmla="*/ 87 h 152"/>
                <a:gd name="T60" fmla="*/ 90 w 257"/>
                <a:gd name="T61" fmla="*/ 71 h 152"/>
                <a:gd name="T62" fmla="*/ 103 w 257"/>
                <a:gd name="T63" fmla="*/ 62 h 152"/>
                <a:gd name="T64" fmla="*/ 110 w 257"/>
                <a:gd name="T65" fmla="*/ 53 h 152"/>
                <a:gd name="T66" fmla="*/ 125 w 257"/>
                <a:gd name="T67" fmla="*/ 48 h 152"/>
                <a:gd name="T68" fmla="*/ 138 w 257"/>
                <a:gd name="T69" fmla="*/ 41 h 152"/>
                <a:gd name="T70" fmla="*/ 159 w 257"/>
                <a:gd name="T71" fmla="*/ 38 h 152"/>
                <a:gd name="T72" fmla="*/ 168 w 257"/>
                <a:gd name="T73" fmla="*/ 35 h 152"/>
                <a:gd name="T74" fmla="*/ 180 w 257"/>
                <a:gd name="T75" fmla="*/ 29 h 152"/>
                <a:gd name="T76" fmla="*/ 198 w 257"/>
                <a:gd name="T77" fmla="*/ 29 h 152"/>
                <a:gd name="T78" fmla="*/ 220 w 257"/>
                <a:gd name="T79" fmla="*/ 25 h 152"/>
                <a:gd name="T80" fmla="*/ 234 w 257"/>
                <a:gd name="T81" fmla="*/ 20 h 152"/>
                <a:gd name="T82" fmla="*/ 247 w 257"/>
                <a:gd name="T83" fmla="*/ 14 h 152"/>
                <a:gd name="T84" fmla="*/ 236 w 257"/>
                <a:gd name="T85" fmla="*/ 6 h 152"/>
                <a:gd name="T86" fmla="*/ 219 w 257"/>
                <a:gd name="T87" fmla="*/ 2 h 152"/>
                <a:gd name="T88" fmla="*/ 207 w 257"/>
                <a:gd name="T89" fmla="*/ 2 h 152"/>
                <a:gd name="T90" fmla="*/ 195 w 257"/>
                <a:gd name="T91" fmla="*/ 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7" h="152">
                  <a:moveTo>
                    <a:pt x="195" y="9"/>
                  </a:moveTo>
                  <a:cubicBezTo>
                    <a:pt x="192" y="12"/>
                    <a:pt x="196" y="9"/>
                    <a:pt x="188" y="12"/>
                  </a:cubicBezTo>
                  <a:cubicBezTo>
                    <a:pt x="179" y="14"/>
                    <a:pt x="188" y="13"/>
                    <a:pt x="176" y="16"/>
                  </a:cubicBezTo>
                  <a:cubicBezTo>
                    <a:pt x="164" y="18"/>
                    <a:pt x="173" y="18"/>
                    <a:pt x="159" y="18"/>
                  </a:cubicBezTo>
                  <a:cubicBezTo>
                    <a:pt x="144" y="18"/>
                    <a:pt x="141" y="15"/>
                    <a:pt x="133" y="18"/>
                  </a:cubicBezTo>
                  <a:cubicBezTo>
                    <a:pt x="126" y="21"/>
                    <a:pt x="116" y="14"/>
                    <a:pt x="112" y="18"/>
                  </a:cubicBezTo>
                  <a:cubicBezTo>
                    <a:pt x="109" y="22"/>
                    <a:pt x="107" y="22"/>
                    <a:pt x="103" y="25"/>
                  </a:cubicBezTo>
                  <a:cubicBezTo>
                    <a:pt x="100" y="27"/>
                    <a:pt x="91" y="25"/>
                    <a:pt x="91" y="28"/>
                  </a:cubicBezTo>
                  <a:cubicBezTo>
                    <a:pt x="90" y="32"/>
                    <a:pt x="75" y="29"/>
                    <a:pt x="75" y="32"/>
                  </a:cubicBezTo>
                  <a:cubicBezTo>
                    <a:pt x="74" y="36"/>
                    <a:pt x="66" y="35"/>
                    <a:pt x="66" y="39"/>
                  </a:cubicBezTo>
                  <a:cubicBezTo>
                    <a:pt x="66" y="44"/>
                    <a:pt x="56" y="41"/>
                    <a:pt x="56" y="45"/>
                  </a:cubicBezTo>
                  <a:cubicBezTo>
                    <a:pt x="57" y="49"/>
                    <a:pt x="49" y="39"/>
                    <a:pt x="50" y="48"/>
                  </a:cubicBezTo>
                  <a:cubicBezTo>
                    <a:pt x="52" y="57"/>
                    <a:pt x="56" y="49"/>
                    <a:pt x="47" y="60"/>
                  </a:cubicBezTo>
                  <a:cubicBezTo>
                    <a:pt x="39" y="71"/>
                    <a:pt x="32" y="73"/>
                    <a:pt x="32" y="75"/>
                  </a:cubicBezTo>
                  <a:cubicBezTo>
                    <a:pt x="32" y="77"/>
                    <a:pt x="48" y="80"/>
                    <a:pt x="38" y="82"/>
                  </a:cubicBezTo>
                  <a:cubicBezTo>
                    <a:pt x="28" y="84"/>
                    <a:pt x="21" y="83"/>
                    <a:pt x="21" y="91"/>
                  </a:cubicBezTo>
                  <a:cubicBezTo>
                    <a:pt x="21" y="98"/>
                    <a:pt x="1" y="94"/>
                    <a:pt x="10" y="99"/>
                  </a:cubicBezTo>
                  <a:cubicBezTo>
                    <a:pt x="19" y="104"/>
                    <a:pt x="27" y="106"/>
                    <a:pt x="21" y="109"/>
                  </a:cubicBezTo>
                  <a:cubicBezTo>
                    <a:pt x="15" y="112"/>
                    <a:pt x="0" y="110"/>
                    <a:pt x="3" y="117"/>
                  </a:cubicBezTo>
                  <a:cubicBezTo>
                    <a:pt x="6" y="124"/>
                    <a:pt x="11" y="126"/>
                    <a:pt x="21" y="127"/>
                  </a:cubicBezTo>
                  <a:cubicBezTo>
                    <a:pt x="31" y="128"/>
                    <a:pt x="39" y="125"/>
                    <a:pt x="41" y="130"/>
                  </a:cubicBezTo>
                  <a:cubicBezTo>
                    <a:pt x="44" y="136"/>
                    <a:pt x="39" y="131"/>
                    <a:pt x="53" y="139"/>
                  </a:cubicBezTo>
                  <a:cubicBezTo>
                    <a:pt x="67" y="147"/>
                    <a:pt x="59" y="145"/>
                    <a:pt x="78" y="148"/>
                  </a:cubicBezTo>
                  <a:cubicBezTo>
                    <a:pt x="97" y="150"/>
                    <a:pt x="100" y="149"/>
                    <a:pt x="109" y="150"/>
                  </a:cubicBezTo>
                  <a:cubicBezTo>
                    <a:pt x="118" y="151"/>
                    <a:pt x="128" y="152"/>
                    <a:pt x="122" y="144"/>
                  </a:cubicBezTo>
                  <a:cubicBezTo>
                    <a:pt x="115" y="135"/>
                    <a:pt x="117" y="134"/>
                    <a:pt x="106" y="133"/>
                  </a:cubicBezTo>
                  <a:cubicBezTo>
                    <a:pt x="95" y="132"/>
                    <a:pt x="96" y="133"/>
                    <a:pt x="87" y="125"/>
                  </a:cubicBezTo>
                  <a:cubicBezTo>
                    <a:pt x="79" y="117"/>
                    <a:pt x="87" y="125"/>
                    <a:pt x="77" y="113"/>
                  </a:cubicBezTo>
                  <a:cubicBezTo>
                    <a:pt x="67" y="101"/>
                    <a:pt x="56" y="102"/>
                    <a:pt x="67" y="96"/>
                  </a:cubicBezTo>
                  <a:cubicBezTo>
                    <a:pt x="78" y="90"/>
                    <a:pt x="76" y="93"/>
                    <a:pt x="82" y="87"/>
                  </a:cubicBezTo>
                  <a:cubicBezTo>
                    <a:pt x="88" y="81"/>
                    <a:pt x="78" y="79"/>
                    <a:pt x="90" y="71"/>
                  </a:cubicBezTo>
                  <a:cubicBezTo>
                    <a:pt x="102" y="64"/>
                    <a:pt x="97" y="66"/>
                    <a:pt x="103" y="62"/>
                  </a:cubicBezTo>
                  <a:cubicBezTo>
                    <a:pt x="109" y="59"/>
                    <a:pt x="103" y="52"/>
                    <a:pt x="110" y="53"/>
                  </a:cubicBezTo>
                  <a:cubicBezTo>
                    <a:pt x="117" y="53"/>
                    <a:pt x="113" y="46"/>
                    <a:pt x="125" y="48"/>
                  </a:cubicBezTo>
                  <a:cubicBezTo>
                    <a:pt x="137" y="50"/>
                    <a:pt x="127" y="43"/>
                    <a:pt x="138" y="41"/>
                  </a:cubicBezTo>
                  <a:cubicBezTo>
                    <a:pt x="150" y="40"/>
                    <a:pt x="154" y="38"/>
                    <a:pt x="159" y="38"/>
                  </a:cubicBezTo>
                  <a:cubicBezTo>
                    <a:pt x="164" y="38"/>
                    <a:pt x="150" y="35"/>
                    <a:pt x="168" y="35"/>
                  </a:cubicBezTo>
                  <a:cubicBezTo>
                    <a:pt x="187" y="35"/>
                    <a:pt x="168" y="29"/>
                    <a:pt x="180" y="29"/>
                  </a:cubicBezTo>
                  <a:cubicBezTo>
                    <a:pt x="192" y="29"/>
                    <a:pt x="189" y="29"/>
                    <a:pt x="198" y="29"/>
                  </a:cubicBezTo>
                  <a:cubicBezTo>
                    <a:pt x="207" y="29"/>
                    <a:pt x="212" y="28"/>
                    <a:pt x="220" y="25"/>
                  </a:cubicBezTo>
                  <a:cubicBezTo>
                    <a:pt x="228" y="22"/>
                    <a:pt x="223" y="25"/>
                    <a:pt x="234" y="20"/>
                  </a:cubicBezTo>
                  <a:cubicBezTo>
                    <a:pt x="245" y="15"/>
                    <a:pt x="257" y="23"/>
                    <a:pt x="247" y="14"/>
                  </a:cubicBezTo>
                  <a:cubicBezTo>
                    <a:pt x="236" y="6"/>
                    <a:pt x="246" y="8"/>
                    <a:pt x="236" y="6"/>
                  </a:cubicBezTo>
                  <a:cubicBezTo>
                    <a:pt x="227" y="4"/>
                    <a:pt x="224" y="2"/>
                    <a:pt x="219" y="2"/>
                  </a:cubicBezTo>
                  <a:cubicBezTo>
                    <a:pt x="215" y="2"/>
                    <a:pt x="209" y="0"/>
                    <a:pt x="207" y="2"/>
                  </a:cubicBezTo>
                  <a:cubicBezTo>
                    <a:pt x="206" y="4"/>
                    <a:pt x="193" y="3"/>
                    <a:pt x="195" y="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65" name="Freeform 751">
              <a:extLst>
                <a:ext uri="{FF2B5EF4-FFF2-40B4-BE49-F238E27FC236}">
                  <a16:creationId xmlns:a16="http://schemas.microsoft.com/office/drawing/2014/main" id="{8C384EC6-2514-6E4C-AC4E-6781455D3E97}"/>
                </a:ext>
              </a:extLst>
            </p:cNvPr>
            <p:cNvSpPr>
              <a:spLocks/>
            </p:cNvSpPr>
            <p:nvPr/>
          </p:nvSpPr>
          <p:spPr bwMode="auto">
            <a:xfrm>
              <a:off x="4922853" y="860880"/>
              <a:ext cx="42863" cy="22225"/>
            </a:xfrm>
            <a:custGeom>
              <a:avLst/>
              <a:gdLst>
                <a:gd name="T0" fmla="*/ 5 w 45"/>
                <a:gd name="T1" fmla="*/ 8 h 23"/>
                <a:gd name="T2" fmla="*/ 7 w 45"/>
                <a:gd name="T3" fmla="*/ 15 h 23"/>
                <a:gd name="T4" fmla="*/ 11 w 45"/>
                <a:gd name="T5" fmla="*/ 19 h 23"/>
                <a:gd name="T6" fmla="*/ 18 w 45"/>
                <a:gd name="T7" fmla="*/ 21 h 23"/>
                <a:gd name="T8" fmla="*/ 25 w 45"/>
                <a:gd name="T9" fmla="*/ 19 h 23"/>
                <a:gd name="T10" fmla="*/ 30 w 45"/>
                <a:gd name="T11" fmla="*/ 16 h 23"/>
                <a:gd name="T12" fmla="*/ 38 w 45"/>
                <a:gd name="T13" fmla="*/ 14 h 23"/>
                <a:gd name="T14" fmla="*/ 40 w 45"/>
                <a:gd name="T15" fmla="*/ 7 h 23"/>
                <a:gd name="T16" fmla="*/ 31 w 45"/>
                <a:gd name="T17" fmla="*/ 4 h 23"/>
                <a:gd name="T18" fmla="*/ 21 w 45"/>
                <a:gd name="T19" fmla="*/ 1 h 23"/>
                <a:gd name="T20" fmla="*/ 12 w 45"/>
                <a:gd name="T21" fmla="*/ 1 h 23"/>
                <a:gd name="T22" fmla="*/ 6 w 45"/>
                <a:gd name="T23" fmla="*/ 3 h 23"/>
                <a:gd name="T24" fmla="*/ 5 w 45"/>
                <a:gd name="T25"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23">
                  <a:moveTo>
                    <a:pt x="5" y="8"/>
                  </a:moveTo>
                  <a:cubicBezTo>
                    <a:pt x="6" y="11"/>
                    <a:pt x="6" y="13"/>
                    <a:pt x="7" y="15"/>
                  </a:cubicBezTo>
                  <a:cubicBezTo>
                    <a:pt x="7" y="17"/>
                    <a:pt x="7" y="17"/>
                    <a:pt x="11" y="19"/>
                  </a:cubicBezTo>
                  <a:cubicBezTo>
                    <a:pt x="15" y="21"/>
                    <a:pt x="16" y="23"/>
                    <a:pt x="18" y="21"/>
                  </a:cubicBezTo>
                  <a:cubicBezTo>
                    <a:pt x="20" y="19"/>
                    <a:pt x="20" y="19"/>
                    <a:pt x="25" y="19"/>
                  </a:cubicBezTo>
                  <a:cubicBezTo>
                    <a:pt x="30" y="20"/>
                    <a:pt x="24" y="18"/>
                    <a:pt x="30" y="16"/>
                  </a:cubicBezTo>
                  <a:cubicBezTo>
                    <a:pt x="36" y="15"/>
                    <a:pt x="36" y="17"/>
                    <a:pt x="38" y="14"/>
                  </a:cubicBezTo>
                  <a:cubicBezTo>
                    <a:pt x="41" y="10"/>
                    <a:pt x="45" y="9"/>
                    <a:pt x="40" y="7"/>
                  </a:cubicBezTo>
                  <a:cubicBezTo>
                    <a:pt x="36" y="5"/>
                    <a:pt x="33" y="4"/>
                    <a:pt x="31" y="4"/>
                  </a:cubicBezTo>
                  <a:cubicBezTo>
                    <a:pt x="29" y="4"/>
                    <a:pt x="26" y="0"/>
                    <a:pt x="21" y="1"/>
                  </a:cubicBezTo>
                  <a:cubicBezTo>
                    <a:pt x="17" y="1"/>
                    <a:pt x="14" y="0"/>
                    <a:pt x="12" y="1"/>
                  </a:cubicBezTo>
                  <a:cubicBezTo>
                    <a:pt x="10" y="2"/>
                    <a:pt x="7" y="1"/>
                    <a:pt x="6" y="3"/>
                  </a:cubicBezTo>
                  <a:cubicBezTo>
                    <a:pt x="5" y="5"/>
                    <a:pt x="0" y="4"/>
                    <a:pt x="5" y="8"/>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66" name="Freeform 752">
              <a:extLst>
                <a:ext uri="{FF2B5EF4-FFF2-40B4-BE49-F238E27FC236}">
                  <a16:creationId xmlns:a16="http://schemas.microsoft.com/office/drawing/2014/main" id="{BBF165ED-CDC3-7444-999B-8A888C6BC2B3}"/>
                </a:ext>
              </a:extLst>
            </p:cNvPr>
            <p:cNvSpPr>
              <a:spLocks/>
            </p:cNvSpPr>
            <p:nvPr/>
          </p:nvSpPr>
          <p:spPr bwMode="auto">
            <a:xfrm>
              <a:off x="5457842" y="619580"/>
              <a:ext cx="168276" cy="52388"/>
            </a:xfrm>
            <a:custGeom>
              <a:avLst/>
              <a:gdLst>
                <a:gd name="T0" fmla="*/ 21 w 176"/>
                <a:gd name="T1" fmla="*/ 9 h 54"/>
                <a:gd name="T2" fmla="*/ 19 w 176"/>
                <a:gd name="T3" fmla="*/ 15 h 54"/>
                <a:gd name="T4" fmla="*/ 11 w 176"/>
                <a:gd name="T5" fmla="*/ 20 h 54"/>
                <a:gd name="T6" fmla="*/ 14 w 176"/>
                <a:gd name="T7" fmla="*/ 28 h 54"/>
                <a:gd name="T8" fmla="*/ 29 w 176"/>
                <a:gd name="T9" fmla="*/ 35 h 54"/>
                <a:gd name="T10" fmla="*/ 38 w 176"/>
                <a:gd name="T11" fmla="*/ 29 h 54"/>
                <a:gd name="T12" fmla="*/ 46 w 176"/>
                <a:gd name="T13" fmla="*/ 29 h 54"/>
                <a:gd name="T14" fmla="*/ 55 w 176"/>
                <a:gd name="T15" fmla="*/ 27 h 54"/>
                <a:gd name="T16" fmla="*/ 61 w 176"/>
                <a:gd name="T17" fmla="*/ 26 h 54"/>
                <a:gd name="T18" fmla="*/ 51 w 176"/>
                <a:gd name="T19" fmla="*/ 35 h 54"/>
                <a:gd name="T20" fmla="*/ 76 w 176"/>
                <a:gd name="T21" fmla="*/ 40 h 54"/>
                <a:gd name="T22" fmla="*/ 100 w 176"/>
                <a:gd name="T23" fmla="*/ 47 h 54"/>
                <a:gd name="T24" fmla="*/ 109 w 176"/>
                <a:gd name="T25" fmla="*/ 49 h 54"/>
                <a:gd name="T26" fmla="*/ 125 w 176"/>
                <a:gd name="T27" fmla="*/ 49 h 54"/>
                <a:gd name="T28" fmla="*/ 149 w 176"/>
                <a:gd name="T29" fmla="*/ 50 h 54"/>
                <a:gd name="T30" fmla="*/ 167 w 176"/>
                <a:gd name="T31" fmla="*/ 51 h 54"/>
                <a:gd name="T32" fmla="*/ 167 w 176"/>
                <a:gd name="T33" fmla="*/ 44 h 54"/>
                <a:gd name="T34" fmla="*/ 155 w 176"/>
                <a:gd name="T35" fmla="*/ 40 h 54"/>
                <a:gd name="T36" fmla="*/ 150 w 176"/>
                <a:gd name="T37" fmla="*/ 30 h 54"/>
                <a:gd name="T38" fmla="*/ 150 w 176"/>
                <a:gd name="T39" fmla="*/ 26 h 54"/>
                <a:gd name="T40" fmla="*/ 131 w 176"/>
                <a:gd name="T41" fmla="*/ 21 h 54"/>
                <a:gd name="T42" fmla="*/ 123 w 176"/>
                <a:gd name="T43" fmla="*/ 25 h 54"/>
                <a:gd name="T44" fmla="*/ 117 w 176"/>
                <a:gd name="T45" fmla="*/ 29 h 54"/>
                <a:gd name="T46" fmla="*/ 111 w 176"/>
                <a:gd name="T47" fmla="*/ 22 h 54"/>
                <a:gd name="T48" fmla="*/ 92 w 176"/>
                <a:gd name="T49" fmla="*/ 20 h 54"/>
                <a:gd name="T50" fmla="*/ 94 w 176"/>
                <a:gd name="T51" fmla="*/ 12 h 54"/>
                <a:gd name="T52" fmla="*/ 88 w 176"/>
                <a:gd name="T53" fmla="*/ 9 h 54"/>
                <a:gd name="T54" fmla="*/ 68 w 176"/>
                <a:gd name="T55" fmla="*/ 6 h 54"/>
                <a:gd name="T56" fmla="*/ 59 w 176"/>
                <a:gd name="T57" fmla="*/ 2 h 54"/>
                <a:gd name="T58" fmla="*/ 48 w 176"/>
                <a:gd name="T59" fmla="*/ 2 h 54"/>
                <a:gd name="T60" fmla="*/ 37 w 176"/>
                <a:gd name="T61" fmla="*/ 6 h 54"/>
                <a:gd name="T62" fmla="*/ 26 w 176"/>
                <a:gd name="T63" fmla="*/ 7 h 54"/>
                <a:gd name="T64" fmla="*/ 21 w 176"/>
                <a:gd name="T65" fmla="*/ 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54">
                  <a:moveTo>
                    <a:pt x="21" y="9"/>
                  </a:moveTo>
                  <a:cubicBezTo>
                    <a:pt x="24" y="13"/>
                    <a:pt x="17" y="11"/>
                    <a:pt x="19" y="15"/>
                  </a:cubicBezTo>
                  <a:cubicBezTo>
                    <a:pt x="21" y="19"/>
                    <a:pt x="7" y="17"/>
                    <a:pt x="11" y="20"/>
                  </a:cubicBezTo>
                  <a:cubicBezTo>
                    <a:pt x="15" y="24"/>
                    <a:pt x="0" y="20"/>
                    <a:pt x="14" y="28"/>
                  </a:cubicBezTo>
                  <a:cubicBezTo>
                    <a:pt x="29" y="35"/>
                    <a:pt x="27" y="35"/>
                    <a:pt x="29" y="35"/>
                  </a:cubicBezTo>
                  <a:cubicBezTo>
                    <a:pt x="31" y="35"/>
                    <a:pt x="38" y="26"/>
                    <a:pt x="38" y="29"/>
                  </a:cubicBezTo>
                  <a:cubicBezTo>
                    <a:pt x="38" y="32"/>
                    <a:pt x="45" y="27"/>
                    <a:pt x="46" y="29"/>
                  </a:cubicBezTo>
                  <a:cubicBezTo>
                    <a:pt x="47" y="31"/>
                    <a:pt x="54" y="26"/>
                    <a:pt x="55" y="27"/>
                  </a:cubicBezTo>
                  <a:cubicBezTo>
                    <a:pt x="55" y="28"/>
                    <a:pt x="64" y="18"/>
                    <a:pt x="61" y="26"/>
                  </a:cubicBezTo>
                  <a:cubicBezTo>
                    <a:pt x="59" y="33"/>
                    <a:pt x="38" y="30"/>
                    <a:pt x="51" y="35"/>
                  </a:cubicBezTo>
                  <a:cubicBezTo>
                    <a:pt x="65" y="40"/>
                    <a:pt x="66" y="35"/>
                    <a:pt x="76" y="40"/>
                  </a:cubicBezTo>
                  <a:cubicBezTo>
                    <a:pt x="86" y="45"/>
                    <a:pt x="91" y="46"/>
                    <a:pt x="100" y="47"/>
                  </a:cubicBezTo>
                  <a:cubicBezTo>
                    <a:pt x="109" y="49"/>
                    <a:pt x="97" y="48"/>
                    <a:pt x="109" y="49"/>
                  </a:cubicBezTo>
                  <a:cubicBezTo>
                    <a:pt x="122" y="50"/>
                    <a:pt x="104" y="46"/>
                    <a:pt x="125" y="49"/>
                  </a:cubicBezTo>
                  <a:cubicBezTo>
                    <a:pt x="146" y="52"/>
                    <a:pt x="137" y="50"/>
                    <a:pt x="149" y="50"/>
                  </a:cubicBezTo>
                  <a:cubicBezTo>
                    <a:pt x="161" y="50"/>
                    <a:pt x="164" y="54"/>
                    <a:pt x="167" y="51"/>
                  </a:cubicBezTo>
                  <a:cubicBezTo>
                    <a:pt x="170" y="48"/>
                    <a:pt x="176" y="44"/>
                    <a:pt x="167" y="44"/>
                  </a:cubicBezTo>
                  <a:cubicBezTo>
                    <a:pt x="158" y="44"/>
                    <a:pt x="161" y="46"/>
                    <a:pt x="155" y="40"/>
                  </a:cubicBezTo>
                  <a:cubicBezTo>
                    <a:pt x="149" y="33"/>
                    <a:pt x="146" y="31"/>
                    <a:pt x="150" y="30"/>
                  </a:cubicBezTo>
                  <a:cubicBezTo>
                    <a:pt x="154" y="30"/>
                    <a:pt x="160" y="29"/>
                    <a:pt x="150" y="26"/>
                  </a:cubicBezTo>
                  <a:cubicBezTo>
                    <a:pt x="139" y="22"/>
                    <a:pt x="134" y="19"/>
                    <a:pt x="131" y="21"/>
                  </a:cubicBezTo>
                  <a:cubicBezTo>
                    <a:pt x="127" y="24"/>
                    <a:pt x="125" y="22"/>
                    <a:pt x="123" y="25"/>
                  </a:cubicBezTo>
                  <a:cubicBezTo>
                    <a:pt x="120" y="29"/>
                    <a:pt x="119" y="36"/>
                    <a:pt x="117" y="29"/>
                  </a:cubicBezTo>
                  <a:cubicBezTo>
                    <a:pt x="114" y="22"/>
                    <a:pt x="122" y="21"/>
                    <a:pt x="111" y="22"/>
                  </a:cubicBezTo>
                  <a:cubicBezTo>
                    <a:pt x="100" y="22"/>
                    <a:pt x="100" y="22"/>
                    <a:pt x="92" y="20"/>
                  </a:cubicBezTo>
                  <a:cubicBezTo>
                    <a:pt x="83" y="18"/>
                    <a:pt x="91" y="12"/>
                    <a:pt x="94" y="12"/>
                  </a:cubicBezTo>
                  <a:cubicBezTo>
                    <a:pt x="97" y="12"/>
                    <a:pt x="99" y="10"/>
                    <a:pt x="88" y="9"/>
                  </a:cubicBezTo>
                  <a:cubicBezTo>
                    <a:pt x="76" y="7"/>
                    <a:pt x="73" y="7"/>
                    <a:pt x="68" y="6"/>
                  </a:cubicBezTo>
                  <a:cubicBezTo>
                    <a:pt x="64" y="6"/>
                    <a:pt x="63" y="2"/>
                    <a:pt x="59" y="2"/>
                  </a:cubicBezTo>
                  <a:cubicBezTo>
                    <a:pt x="56" y="2"/>
                    <a:pt x="51" y="0"/>
                    <a:pt x="48" y="2"/>
                  </a:cubicBezTo>
                  <a:cubicBezTo>
                    <a:pt x="45" y="5"/>
                    <a:pt x="40" y="3"/>
                    <a:pt x="37" y="6"/>
                  </a:cubicBezTo>
                  <a:cubicBezTo>
                    <a:pt x="35" y="8"/>
                    <a:pt x="27" y="5"/>
                    <a:pt x="26" y="7"/>
                  </a:cubicBezTo>
                  <a:cubicBezTo>
                    <a:pt x="25" y="9"/>
                    <a:pt x="16" y="3"/>
                    <a:pt x="21" y="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67" name="Freeform 753">
              <a:extLst>
                <a:ext uri="{FF2B5EF4-FFF2-40B4-BE49-F238E27FC236}">
                  <a16:creationId xmlns:a16="http://schemas.microsoft.com/office/drawing/2014/main" id="{466432D5-9215-D949-972D-484C81D66B84}"/>
                </a:ext>
              </a:extLst>
            </p:cNvPr>
            <p:cNvSpPr>
              <a:spLocks/>
            </p:cNvSpPr>
            <p:nvPr/>
          </p:nvSpPr>
          <p:spPr bwMode="auto">
            <a:xfrm>
              <a:off x="5627705" y="652917"/>
              <a:ext cx="93663" cy="33338"/>
            </a:xfrm>
            <a:custGeom>
              <a:avLst/>
              <a:gdLst>
                <a:gd name="T0" fmla="*/ 8 w 98"/>
                <a:gd name="T1" fmla="*/ 7 h 34"/>
                <a:gd name="T2" fmla="*/ 8 w 98"/>
                <a:gd name="T3" fmla="*/ 13 h 34"/>
                <a:gd name="T4" fmla="*/ 3 w 98"/>
                <a:gd name="T5" fmla="*/ 17 h 34"/>
                <a:gd name="T6" fmla="*/ 6 w 98"/>
                <a:gd name="T7" fmla="*/ 24 h 34"/>
                <a:gd name="T8" fmla="*/ 5 w 98"/>
                <a:gd name="T9" fmla="*/ 31 h 34"/>
                <a:gd name="T10" fmla="*/ 18 w 98"/>
                <a:gd name="T11" fmla="*/ 33 h 34"/>
                <a:gd name="T12" fmla="*/ 33 w 98"/>
                <a:gd name="T13" fmla="*/ 29 h 34"/>
                <a:gd name="T14" fmla="*/ 44 w 98"/>
                <a:gd name="T15" fmla="*/ 27 h 34"/>
                <a:gd name="T16" fmla="*/ 64 w 98"/>
                <a:gd name="T17" fmla="*/ 27 h 34"/>
                <a:gd name="T18" fmla="*/ 76 w 98"/>
                <a:gd name="T19" fmla="*/ 27 h 34"/>
                <a:gd name="T20" fmla="*/ 87 w 98"/>
                <a:gd name="T21" fmla="*/ 23 h 34"/>
                <a:gd name="T22" fmla="*/ 92 w 98"/>
                <a:gd name="T23" fmla="*/ 18 h 34"/>
                <a:gd name="T24" fmla="*/ 79 w 98"/>
                <a:gd name="T25" fmla="*/ 15 h 34"/>
                <a:gd name="T26" fmla="*/ 64 w 98"/>
                <a:gd name="T27" fmla="*/ 12 h 34"/>
                <a:gd name="T28" fmla="*/ 52 w 98"/>
                <a:gd name="T29" fmla="*/ 7 h 34"/>
                <a:gd name="T30" fmla="*/ 40 w 98"/>
                <a:gd name="T31" fmla="*/ 11 h 34"/>
                <a:gd name="T32" fmla="*/ 36 w 98"/>
                <a:gd name="T33" fmla="*/ 14 h 34"/>
                <a:gd name="T34" fmla="*/ 33 w 98"/>
                <a:gd name="T35" fmla="*/ 2 h 34"/>
                <a:gd name="T36" fmla="*/ 22 w 98"/>
                <a:gd name="T37" fmla="*/ 4 h 34"/>
                <a:gd name="T38" fmla="*/ 14 w 98"/>
                <a:gd name="T39" fmla="*/ 4 h 34"/>
                <a:gd name="T40" fmla="*/ 8 w 98"/>
                <a:gd name="T41"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 h="34">
                  <a:moveTo>
                    <a:pt x="8" y="7"/>
                  </a:moveTo>
                  <a:cubicBezTo>
                    <a:pt x="10" y="11"/>
                    <a:pt x="8" y="11"/>
                    <a:pt x="8" y="13"/>
                  </a:cubicBezTo>
                  <a:cubicBezTo>
                    <a:pt x="9" y="15"/>
                    <a:pt x="0" y="14"/>
                    <a:pt x="3" y="17"/>
                  </a:cubicBezTo>
                  <a:cubicBezTo>
                    <a:pt x="5" y="20"/>
                    <a:pt x="7" y="21"/>
                    <a:pt x="6" y="24"/>
                  </a:cubicBezTo>
                  <a:cubicBezTo>
                    <a:pt x="5" y="26"/>
                    <a:pt x="2" y="30"/>
                    <a:pt x="5" y="31"/>
                  </a:cubicBezTo>
                  <a:cubicBezTo>
                    <a:pt x="9" y="33"/>
                    <a:pt x="12" y="34"/>
                    <a:pt x="18" y="33"/>
                  </a:cubicBezTo>
                  <a:cubicBezTo>
                    <a:pt x="25" y="32"/>
                    <a:pt x="26" y="30"/>
                    <a:pt x="33" y="29"/>
                  </a:cubicBezTo>
                  <a:cubicBezTo>
                    <a:pt x="41" y="28"/>
                    <a:pt x="33" y="27"/>
                    <a:pt x="44" y="27"/>
                  </a:cubicBezTo>
                  <a:cubicBezTo>
                    <a:pt x="56" y="27"/>
                    <a:pt x="52" y="28"/>
                    <a:pt x="64" y="27"/>
                  </a:cubicBezTo>
                  <a:cubicBezTo>
                    <a:pt x="75" y="27"/>
                    <a:pt x="69" y="29"/>
                    <a:pt x="76" y="27"/>
                  </a:cubicBezTo>
                  <a:cubicBezTo>
                    <a:pt x="84" y="24"/>
                    <a:pt x="81" y="25"/>
                    <a:pt x="87" y="23"/>
                  </a:cubicBezTo>
                  <a:cubicBezTo>
                    <a:pt x="94" y="21"/>
                    <a:pt x="98" y="21"/>
                    <a:pt x="92" y="18"/>
                  </a:cubicBezTo>
                  <a:cubicBezTo>
                    <a:pt x="86" y="16"/>
                    <a:pt x="88" y="15"/>
                    <a:pt x="79" y="15"/>
                  </a:cubicBezTo>
                  <a:cubicBezTo>
                    <a:pt x="71" y="15"/>
                    <a:pt x="70" y="13"/>
                    <a:pt x="64" y="12"/>
                  </a:cubicBezTo>
                  <a:cubicBezTo>
                    <a:pt x="59" y="10"/>
                    <a:pt x="58" y="7"/>
                    <a:pt x="52" y="7"/>
                  </a:cubicBezTo>
                  <a:cubicBezTo>
                    <a:pt x="46" y="8"/>
                    <a:pt x="42" y="7"/>
                    <a:pt x="40" y="11"/>
                  </a:cubicBezTo>
                  <a:cubicBezTo>
                    <a:pt x="38" y="14"/>
                    <a:pt x="36" y="20"/>
                    <a:pt x="36" y="14"/>
                  </a:cubicBezTo>
                  <a:cubicBezTo>
                    <a:pt x="35" y="9"/>
                    <a:pt x="43" y="4"/>
                    <a:pt x="33" y="2"/>
                  </a:cubicBezTo>
                  <a:cubicBezTo>
                    <a:pt x="24" y="0"/>
                    <a:pt x="27" y="2"/>
                    <a:pt x="22" y="4"/>
                  </a:cubicBezTo>
                  <a:cubicBezTo>
                    <a:pt x="18" y="5"/>
                    <a:pt x="19" y="5"/>
                    <a:pt x="14" y="4"/>
                  </a:cubicBezTo>
                  <a:cubicBezTo>
                    <a:pt x="8" y="4"/>
                    <a:pt x="5" y="3"/>
                    <a:pt x="8" y="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68" name="Freeform 754">
              <a:extLst>
                <a:ext uri="{FF2B5EF4-FFF2-40B4-BE49-F238E27FC236}">
                  <a16:creationId xmlns:a16="http://schemas.microsoft.com/office/drawing/2014/main" id="{5D5F531A-693F-D042-8BD7-4365C116920B}"/>
                </a:ext>
              </a:extLst>
            </p:cNvPr>
            <p:cNvSpPr>
              <a:spLocks/>
            </p:cNvSpPr>
            <p:nvPr/>
          </p:nvSpPr>
          <p:spPr bwMode="auto">
            <a:xfrm>
              <a:off x="6276995" y="713242"/>
              <a:ext cx="153988" cy="42863"/>
            </a:xfrm>
            <a:custGeom>
              <a:avLst/>
              <a:gdLst>
                <a:gd name="T0" fmla="*/ 9 w 163"/>
                <a:gd name="T1" fmla="*/ 16 h 45"/>
                <a:gd name="T2" fmla="*/ 31 w 163"/>
                <a:gd name="T3" fmla="*/ 31 h 45"/>
                <a:gd name="T4" fmla="*/ 62 w 163"/>
                <a:gd name="T5" fmla="*/ 39 h 45"/>
                <a:gd name="T6" fmla="*/ 80 w 163"/>
                <a:gd name="T7" fmla="*/ 36 h 45"/>
                <a:gd name="T8" fmla="*/ 100 w 163"/>
                <a:gd name="T9" fmla="*/ 29 h 45"/>
                <a:gd name="T10" fmla="*/ 118 w 163"/>
                <a:gd name="T11" fmla="*/ 32 h 45"/>
                <a:gd name="T12" fmla="*/ 138 w 163"/>
                <a:gd name="T13" fmla="*/ 34 h 45"/>
                <a:gd name="T14" fmla="*/ 144 w 163"/>
                <a:gd name="T15" fmla="*/ 19 h 45"/>
                <a:gd name="T16" fmla="*/ 108 w 163"/>
                <a:gd name="T17" fmla="*/ 9 h 45"/>
                <a:gd name="T18" fmla="*/ 104 w 163"/>
                <a:gd name="T19" fmla="*/ 19 h 45"/>
                <a:gd name="T20" fmla="*/ 87 w 163"/>
                <a:gd name="T21" fmla="*/ 11 h 45"/>
                <a:gd name="T22" fmla="*/ 63 w 163"/>
                <a:gd name="T23" fmla="*/ 7 h 45"/>
                <a:gd name="T24" fmla="*/ 65 w 163"/>
                <a:gd name="T25" fmla="*/ 19 h 45"/>
                <a:gd name="T26" fmla="*/ 48 w 163"/>
                <a:gd name="T27" fmla="*/ 11 h 45"/>
                <a:gd name="T28" fmla="*/ 30 w 163"/>
                <a:gd name="T29" fmla="*/ 6 h 45"/>
                <a:gd name="T30" fmla="*/ 9 w 163"/>
                <a:gd name="T31" fmla="*/ 1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3" h="45">
                  <a:moveTo>
                    <a:pt x="9" y="16"/>
                  </a:moveTo>
                  <a:cubicBezTo>
                    <a:pt x="16" y="21"/>
                    <a:pt x="10" y="21"/>
                    <a:pt x="31" y="31"/>
                  </a:cubicBezTo>
                  <a:cubicBezTo>
                    <a:pt x="51" y="40"/>
                    <a:pt x="47" y="33"/>
                    <a:pt x="62" y="39"/>
                  </a:cubicBezTo>
                  <a:cubicBezTo>
                    <a:pt x="78" y="45"/>
                    <a:pt x="73" y="36"/>
                    <a:pt x="80" y="36"/>
                  </a:cubicBezTo>
                  <a:cubicBezTo>
                    <a:pt x="86" y="36"/>
                    <a:pt x="91" y="26"/>
                    <a:pt x="100" y="29"/>
                  </a:cubicBezTo>
                  <a:cubicBezTo>
                    <a:pt x="110" y="31"/>
                    <a:pt x="107" y="26"/>
                    <a:pt x="118" y="32"/>
                  </a:cubicBezTo>
                  <a:cubicBezTo>
                    <a:pt x="129" y="37"/>
                    <a:pt x="132" y="35"/>
                    <a:pt x="138" y="34"/>
                  </a:cubicBezTo>
                  <a:cubicBezTo>
                    <a:pt x="143" y="33"/>
                    <a:pt x="163" y="29"/>
                    <a:pt x="144" y="19"/>
                  </a:cubicBezTo>
                  <a:cubicBezTo>
                    <a:pt x="125" y="10"/>
                    <a:pt x="108" y="2"/>
                    <a:pt x="108" y="9"/>
                  </a:cubicBezTo>
                  <a:cubicBezTo>
                    <a:pt x="107" y="16"/>
                    <a:pt x="115" y="23"/>
                    <a:pt x="104" y="19"/>
                  </a:cubicBezTo>
                  <a:cubicBezTo>
                    <a:pt x="94" y="16"/>
                    <a:pt x="103" y="16"/>
                    <a:pt x="87" y="11"/>
                  </a:cubicBezTo>
                  <a:cubicBezTo>
                    <a:pt x="71" y="6"/>
                    <a:pt x="63" y="0"/>
                    <a:pt x="63" y="7"/>
                  </a:cubicBezTo>
                  <a:cubicBezTo>
                    <a:pt x="63" y="13"/>
                    <a:pt x="76" y="25"/>
                    <a:pt x="65" y="19"/>
                  </a:cubicBezTo>
                  <a:cubicBezTo>
                    <a:pt x="54" y="14"/>
                    <a:pt x="57" y="11"/>
                    <a:pt x="48" y="11"/>
                  </a:cubicBezTo>
                  <a:cubicBezTo>
                    <a:pt x="40" y="11"/>
                    <a:pt x="32" y="6"/>
                    <a:pt x="30" y="6"/>
                  </a:cubicBezTo>
                  <a:cubicBezTo>
                    <a:pt x="27" y="6"/>
                    <a:pt x="0" y="4"/>
                    <a:pt x="9" y="1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69" name="Freeform 755">
              <a:extLst>
                <a:ext uri="{FF2B5EF4-FFF2-40B4-BE49-F238E27FC236}">
                  <a16:creationId xmlns:a16="http://schemas.microsoft.com/office/drawing/2014/main" id="{DF2AFFC2-189F-4A42-9B2A-CB0358D03D88}"/>
                </a:ext>
              </a:extLst>
            </p:cNvPr>
            <p:cNvSpPr>
              <a:spLocks/>
            </p:cNvSpPr>
            <p:nvPr/>
          </p:nvSpPr>
          <p:spPr bwMode="auto">
            <a:xfrm>
              <a:off x="6434158" y="725942"/>
              <a:ext cx="90488" cy="23813"/>
            </a:xfrm>
            <a:custGeom>
              <a:avLst/>
              <a:gdLst>
                <a:gd name="T0" fmla="*/ 8 w 95"/>
                <a:gd name="T1" fmla="*/ 14 h 25"/>
                <a:gd name="T2" fmla="*/ 24 w 95"/>
                <a:gd name="T3" fmla="*/ 18 h 25"/>
                <a:gd name="T4" fmla="*/ 39 w 95"/>
                <a:gd name="T5" fmla="*/ 22 h 25"/>
                <a:gd name="T6" fmla="*/ 52 w 95"/>
                <a:gd name="T7" fmla="*/ 22 h 25"/>
                <a:gd name="T8" fmla="*/ 63 w 95"/>
                <a:gd name="T9" fmla="*/ 22 h 25"/>
                <a:gd name="T10" fmla="*/ 78 w 95"/>
                <a:gd name="T11" fmla="*/ 23 h 25"/>
                <a:gd name="T12" fmla="*/ 92 w 95"/>
                <a:gd name="T13" fmla="*/ 23 h 25"/>
                <a:gd name="T14" fmla="*/ 88 w 95"/>
                <a:gd name="T15" fmla="*/ 16 h 25"/>
                <a:gd name="T16" fmla="*/ 73 w 95"/>
                <a:gd name="T17" fmla="*/ 14 h 25"/>
                <a:gd name="T18" fmla="*/ 57 w 95"/>
                <a:gd name="T19" fmla="*/ 13 h 25"/>
                <a:gd name="T20" fmla="*/ 50 w 95"/>
                <a:gd name="T21" fmla="*/ 14 h 25"/>
                <a:gd name="T22" fmla="*/ 38 w 95"/>
                <a:gd name="T23" fmla="*/ 10 h 25"/>
                <a:gd name="T24" fmla="*/ 26 w 95"/>
                <a:gd name="T25" fmla="*/ 10 h 25"/>
                <a:gd name="T26" fmla="*/ 20 w 95"/>
                <a:gd name="T27" fmla="*/ 10 h 25"/>
                <a:gd name="T28" fmla="*/ 11 w 95"/>
                <a:gd name="T29" fmla="*/ 8 h 25"/>
                <a:gd name="T30" fmla="*/ 1 w 95"/>
                <a:gd name="T31" fmla="*/ 1 h 25"/>
                <a:gd name="T32" fmla="*/ 3 w 95"/>
                <a:gd name="T33" fmla="*/ 10 h 25"/>
                <a:gd name="T34" fmla="*/ 8 w 95"/>
                <a:gd name="T3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 h="25">
                  <a:moveTo>
                    <a:pt x="8" y="14"/>
                  </a:moveTo>
                  <a:cubicBezTo>
                    <a:pt x="12" y="17"/>
                    <a:pt x="17" y="15"/>
                    <a:pt x="24" y="18"/>
                  </a:cubicBezTo>
                  <a:cubicBezTo>
                    <a:pt x="31" y="21"/>
                    <a:pt x="31" y="21"/>
                    <a:pt x="39" y="22"/>
                  </a:cubicBezTo>
                  <a:cubicBezTo>
                    <a:pt x="47" y="22"/>
                    <a:pt x="47" y="20"/>
                    <a:pt x="52" y="22"/>
                  </a:cubicBezTo>
                  <a:cubicBezTo>
                    <a:pt x="58" y="23"/>
                    <a:pt x="51" y="20"/>
                    <a:pt x="63" y="22"/>
                  </a:cubicBezTo>
                  <a:cubicBezTo>
                    <a:pt x="74" y="23"/>
                    <a:pt x="71" y="23"/>
                    <a:pt x="78" y="23"/>
                  </a:cubicBezTo>
                  <a:cubicBezTo>
                    <a:pt x="86" y="23"/>
                    <a:pt x="90" y="25"/>
                    <a:pt x="92" y="23"/>
                  </a:cubicBezTo>
                  <a:cubicBezTo>
                    <a:pt x="94" y="22"/>
                    <a:pt x="95" y="16"/>
                    <a:pt x="88" y="16"/>
                  </a:cubicBezTo>
                  <a:cubicBezTo>
                    <a:pt x="80" y="16"/>
                    <a:pt x="77" y="14"/>
                    <a:pt x="73" y="14"/>
                  </a:cubicBezTo>
                  <a:cubicBezTo>
                    <a:pt x="68" y="14"/>
                    <a:pt x="60" y="13"/>
                    <a:pt x="57" y="13"/>
                  </a:cubicBezTo>
                  <a:cubicBezTo>
                    <a:pt x="54" y="13"/>
                    <a:pt x="55" y="15"/>
                    <a:pt x="50" y="14"/>
                  </a:cubicBezTo>
                  <a:cubicBezTo>
                    <a:pt x="44" y="13"/>
                    <a:pt x="41" y="10"/>
                    <a:pt x="38" y="10"/>
                  </a:cubicBezTo>
                  <a:cubicBezTo>
                    <a:pt x="34" y="9"/>
                    <a:pt x="30" y="10"/>
                    <a:pt x="26" y="10"/>
                  </a:cubicBezTo>
                  <a:cubicBezTo>
                    <a:pt x="23" y="9"/>
                    <a:pt x="26" y="10"/>
                    <a:pt x="20" y="10"/>
                  </a:cubicBezTo>
                  <a:cubicBezTo>
                    <a:pt x="15" y="9"/>
                    <a:pt x="12" y="9"/>
                    <a:pt x="11" y="8"/>
                  </a:cubicBezTo>
                  <a:cubicBezTo>
                    <a:pt x="11" y="7"/>
                    <a:pt x="1" y="0"/>
                    <a:pt x="1" y="1"/>
                  </a:cubicBezTo>
                  <a:cubicBezTo>
                    <a:pt x="0" y="3"/>
                    <a:pt x="2" y="6"/>
                    <a:pt x="3" y="10"/>
                  </a:cubicBezTo>
                  <a:cubicBezTo>
                    <a:pt x="4" y="13"/>
                    <a:pt x="6" y="9"/>
                    <a:pt x="8" y="1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70" name="Freeform 756">
              <a:extLst>
                <a:ext uri="{FF2B5EF4-FFF2-40B4-BE49-F238E27FC236}">
                  <a16:creationId xmlns:a16="http://schemas.microsoft.com/office/drawing/2014/main" id="{33D015D3-D842-D547-A8A9-940B4D73CA98}"/>
                </a:ext>
              </a:extLst>
            </p:cNvPr>
            <p:cNvSpPr>
              <a:spLocks/>
            </p:cNvSpPr>
            <p:nvPr/>
          </p:nvSpPr>
          <p:spPr bwMode="auto">
            <a:xfrm>
              <a:off x="6396058" y="762455"/>
              <a:ext cx="63500" cy="20638"/>
            </a:xfrm>
            <a:custGeom>
              <a:avLst/>
              <a:gdLst>
                <a:gd name="T0" fmla="*/ 7 w 66"/>
                <a:gd name="T1" fmla="*/ 4 h 21"/>
                <a:gd name="T2" fmla="*/ 1 w 66"/>
                <a:gd name="T3" fmla="*/ 14 h 21"/>
                <a:gd name="T4" fmla="*/ 9 w 66"/>
                <a:gd name="T5" fmla="*/ 18 h 21"/>
                <a:gd name="T6" fmla="*/ 21 w 66"/>
                <a:gd name="T7" fmla="*/ 15 h 21"/>
                <a:gd name="T8" fmla="*/ 32 w 66"/>
                <a:gd name="T9" fmla="*/ 19 h 21"/>
                <a:gd name="T10" fmla="*/ 50 w 66"/>
                <a:gd name="T11" fmla="*/ 20 h 21"/>
                <a:gd name="T12" fmla="*/ 63 w 66"/>
                <a:gd name="T13" fmla="*/ 18 h 21"/>
                <a:gd name="T14" fmla="*/ 56 w 66"/>
                <a:gd name="T15" fmla="*/ 12 h 21"/>
                <a:gd name="T16" fmla="*/ 45 w 66"/>
                <a:gd name="T17" fmla="*/ 8 h 21"/>
                <a:gd name="T18" fmla="*/ 30 w 66"/>
                <a:gd name="T19" fmla="*/ 4 h 21"/>
                <a:gd name="T20" fmla="*/ 15 w 66"/>
                <a:gd name="T21" fmla="*/ 3 h 21"/>
                <a:gd name="T22" fmla="*/ 7 w 66"/>
                <a:gd name="T23"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21">
                  <a:moveTo>
                    <a:pt x="7" y="4"/>
                  </a:moveTo>
                  <a:cubicBezTo>
                    <a:pt x="6" y="7"/>
                    <a:pt x="1" y="11"/>
                    <a:pt x="1" y="14"/>
                  </a:cubicBezTo>
                  <a:cubicBezTo>
                    <a:pt x="0" y="16"/>
                    <a:pt x="1" y="21"/>
                    <a:pt x="9" y="18"/>
                  </a:cubicBezTo>
                  <a:cubicBezTo>
                    <a:pt x="16" y="14"/>
                    <a:pt x="17" y="14"/>
                    <a:pt x="21" y="15"/>
                  </a:cubicBezTo>
                  <a:cubicBezTo>
                    <a:pt x="25" y="16"/>
                    <a:pt x="22" y="17"/>
                    <a:pt x="32" y="19"/>
                  </a:cubicBezTo>
                  <a:cubicBezTo>
                    <a:pt x="41" y="21"/>
                    <a:pt x="44" y="21"/>
                    <a:pt x="50" y="20"/>
                  </a:cubicBezTo>
                  <a:cubicBezTo>
                    <a:pt x="57" y="19"/>
                    <a:pt x="63" y="20"/>
                    <a:pt x="63" y="18"/>
                  </a:cubicBezTo>
                  <a:cubicBezTo>
                    <a:pt x="63" y="16"/>
                    <a:pt x="66" y="16"/>
                    <a:pt x="56" y="12"/>
                  </a:cubicBezTo>
                  <a:cubicBezTo>
                    <a:pt x="46" y="9"/>
                    <a:pt x="55" y="11"/>
                    <a:pt x="45" y="8"/>
                  </a:cubicBezTo>
                  <a:cubicBezTo>
                    <a:pt x="35" y="6"/>
                    <a:pt x="34" y="4"/>
                    <a:pt x="30" y="4"/>
                  </a:cubicBezTo>
                  <a:cubicBezTo>
                    <a:pt x="26" y="4"/>
                    <a:pt x="21" y="3"/>
                    <a:pt x="15" y="3"/>
                  </a:cubicBezTo>
                  <a:cubicBezTo>
                    <a:pt x="9" y="3"/>
                    <a:pt x="4" y="0"/>
                    <a:pt x="7"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71" name="Freeform 757">
              <a:extLst>
                <a:ext uri="{FF2B5EF4-FFF2-40B4-BE49-F238E27FC236}">
                  <a16:creationId xmlns:a16="http://schemas.microsoft.com/office/drawing/2014/main" id="{74ACEEE3-722A-DD4C-B3A7-FF566EF93D74}"/>
                </a:ext>
              </a:extLst>
            </p:cNvPr>
            <p:cNvSpPr>
              <a:spLocks/>
            </p:cNvSpPr>
            <p:nvPr/>
          </p:nvSpPr>
          <p:spPr bwMode="auto">
            <a:xfrm>
              <a:off x="4786328" y="624342"/>
              <a:ext cx="93663" cy="22225"/>
            </a:xfrm>
            <a:custGeom>
              <a:avLst/>
              <a:gdLst>
                <a:gd name="T0" fmla="*/ 4 w 99"/>
                <a:gd name="T1" fmla="*/ 11 h 23"/>
                <a:gd name="T2" fmla="*/ 23 w 99"/>
                <a:gd name="T3" fmla="*/ 6 h 23"/>
                <a:gd name="T4" fmla="*/ 35 w 99"/>
                <a:gd name="T5" fmla="*/ 6 h 23"/>
                <a:gd name="T6" fmla="*/ 48 w 99"/>
                <a:gd name="T7" fmla="*/ 6 h 23"/>
                <a:gd name="T8" fmla="*/ 61 w 99"/>
                <a:gd name="T9" fmla="*/ 6 h 23"/>
                <a:gd name="T10" fmla="*/ 80 w 99"/>
                <a:gd name="T11" fmla="*/ 4 h 23"/>
                <a:gd name="T12" fmla="*/ 88 w 99"/>
                <a:gd name="T13" fmla="*/ 11 h 23"/>
                <a:gd name="T14" fmla="*/ 65 w 99"/>
                <a:gd name="T15" fmla="*/ 11 h 23"/>
                <a:gd name="T16" fmla="*/ 57 w 99"/>
                <a:gd name="T17" fmla="*/ 18 h 23"/>
                <a:gd name="T18" fmla="*/ 44 w 99"/>
                <a:gd name="T19" fmla="*/ 21 h 23"/>
                <a:gd name="T20" fmla="*/ 34 w 99"/>
                <a:gd name="T21" fmla="*/ 15 h 23"/>
                <a:gd name="T22" fmla="*/ 13 w 99"/>
                <a:gd name="T23" fmla="*/ 12 h 23"/>
                <a:gd name="T24" fmla="*/ 4 w 99"/>
                <a:gd name="T25"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23">
                  <a:moveTo>
                    <a:pt x="4" y="11"/>
                  </a:moveTo>
                  <a:cubicBezTo>
                    <a:pt x="12" y="7"/>
                    <a:pt x="16" y="6"/>
                    <a:pt x="23" y="6"/>
                  </a:cubicBezTo>
                  <a:cubicBezTo>
                    <a:pt x="29" y="6"/>
                    <a:pt x="30" y="6"/>
                    <a:pt x="35" y="6"/>
                  </a:cubicBezTo>
                  <a:cubicBezTo>
                    <a:pt x="40" y="7"/>
                    <a:pt x="39" y="5"/>
                    <a:pt x="48" y="6"/>
                  </a:cubicBezTo>
                  <a:cubicBezTo>
                    <a:pt x="57" y="7"/>
                    <a:pt x="55" y="8"/>
                    <a:pt x="61" y="6"/>
                  </a:cubicBezTo>
                  <a:cubicBezTo>
                    <a:pt x="68" y="4"/>
                    <a:pt x="76" y="0"/>
                    <a:pt x="80" y="4"/>
                  </a:cubicBezTo>
                  <a:cubicBezTo>
                    <a:pt x="84" y="7"/>
                    <a:pt x="99" y="10"/>
                    <a:pt x="88" y="11"/>
                  </a:cubicBezTo>
                  <a:cubicBezTo>
                    <a:pt x="76" y="12"/>
                    <a:pt x="67" y="8"/>
                    <a:pt x="65" y="11"/>
                  </a:cubicBezTo>
                  <a:cubicBezTo>
                    <a:pt x="63" y="14"/>
                    <a:pt x="58" y="13"/>
                    <a:pt x="57" y="18"/>
                  </a:cubicBezTo>
                  <a:cubicBezTo>
                    <a:pt x="56" y="22"/>
                    <a:pt x="55" y="23"/>
                    <a:pt x="44" y="21"/>
                  </a:cubicBezTo>
                  <a:cubicBezTo>
                    <a:pt x="32" y="19"/>
                    <a:pt x="30" y="16"/>
                    <a:pt x="34" y="15"/>
                  </a:cubicBezTo>
                  <a:cubicBezTo>
                    <a:pt x="37" y="15"/>
                    <a:pt x="15" y="9"/>
                    <a:pt x="13" y="12"/>
                  </a:cubicBezTo>
                  <a:cubicBezTo>
                    <a:pt x="10" y="15"/>
                    <a:pt x="0" y="16"/>
                    <a:pt x="4" y="1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72" name="Freeform 758">
              <a:extLst>
                <a:ext uri="{FF2B5EF4-FFF2-40B4-BE49-F238E27FC236}">
                  <a16:creationId xmlns:a16="http://schemas.microsoft.com/office/drawing/2014/main" id="{6CAB1FD9-3318-DE47-A24E-0D5406AB9A50}"/>
                </a:ext>
              </a:extLst>
            </p:cNvPr>
            <p:cNvSpPr>
              <a:spLocks/>
            </p:cNvSpPr>
            <p:nvPr/>
          </p:nvSpPr>
          <p:spPr bwMode="auto">
            <a:xfrm>
              <a:off x="4900628" y="610055"/>
              <a:ext cx="130175" cy="36513"/>
            </a:xfrm>
            <a:custGeom>
              <a:avLst/>
              <a:gdLst>
                <a:gd name="T0" fmla="*/ 5 w 136"/>
                <a:gd name="T1" fmla="*/ 21 h 38"/>
                <a:gd name="T2" fmla="*/ 24 w 136"/>
                <a:gd name="T3" fmla="*/ 12 h 38"/>
                <a:gd name="T4" fmla="*/ 43 w 136"/>
                <a:gd name="T5" fmla="*/ 9 h 38"/>
                <a:gd name="T6" fmla="*/ 60 w 136"/>
                <a:gd name="T7" fmla="*/ 7 h 38"/>
                <a:gd name="T8" fmla="*/ 72 w 136"/>
                <a:gd name="T9" fmla="*/ 4 h 38"/>
                <a:gd name="T10" fmla="*/ 78 w 136"/>
                <a:gd name="T11" fmla="*/ 12 h 38"/>
                <a:gd name="T12" fmla="*/ 68 w 136"/>
                <a:gd name="T13" fmla="*/ 18 h 38"/>
                <a:gd name="T14" fmla="*/ 85 w 136"/>
                <a:gd name="T15" fmla="*/ 23 h 38"/>
                <a:gd name="T16" fmla="*/ 95 w 136"/>
                <a:gd name="T17" fmla="*/ 25 h 38"/>
                <a:gd name="T18" fmla="*/ 104 w 136"/>
                <a:gd name="T19" fmla="*/ 17 h 38"/>
                <a:gd name="T20" fmla="*/ 122 w 136"/>
                <a:gd name="T21" fmla="*/ 18 h 38"/>
                <a:gd name="T22" fmla="*/ 130 w 136"/>
                <a:gd name="T23" fmla="*/ 21 h 38"/>
                <a:gd name="T24" fmla="*/ 127 w 136"/>
                <a:gd name="T25" fmla="*/ 30 h 38"/>
                <a:gd name="T26" fmla="*/ 111 w 136"/>
                <a:gd name="T27" fmla="*/ 34 h 38"/>
                <a:gd name="T28" fmla="*/ 101 w 136"/>
                <a:gd name="T29" fmla="*/ 36 h 38"/>
                <a:gd name="T30" fmla="*/ 76 w 136"/>
                <a:gd name="T31" fmla="*/ 34 h 38"/>
                <a:gd name="T32" fmla="*/ 65 w 136"/>
                <a:gd name="T33" fmla="*/ 36 h 38"/>
                <a:gd name="T34" fmla="*/ 50 w 136"/>
                <a:gd name="T35" fmla="*/ 38 h 38"/>
                <a:gd name="T36" fmla="*/ 45 w 136"/>
                <a:gd name="T37" fmla="*/ 34 h 38"/>
                <a:gd name="T38" fmla="*/ 43 w 136"/>
                <a:gd name="T39" fmla="*/ 28 h 38"/>
                <a:gd name="T40" fmla="*/ 28 w 136"/>
                <a:gd name="T41" fmla="*/ 25 h 38"/>
                <a:gd name="T42" fmla="*/ 19 w 136"/>
                <a:gd name="T43" fmla="*/ 25 h 38"/>
                <a:gd name="T44" fmla="*/ 9 w 136"/>
                <a:gd name="T45" fmla="*/ 26 h 38"/>
                <a:gd name="T46" fmla="*/ 5 w 136"/>
                <a:gd name="T47" fmla="*/ 2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6" h="38">
                  <a:moveTo>
                    <a:pt x="5" y="21"/>
                  </a:moveTo>
                  <a:cubicBezTo>
                    <a:pt x="16" y="18"/>
                    <a:pt x="13" y="9"/>
                    <a:pt x="24" y="12"/>
                  </a:cubicBezTo>
                  <a:cubicBezTo>
                    <a:pt x="36" y="14"/>
                    <a:pt x="38" y="7"/>
                    <a:pt x="43" y="9"/>
                  </a:cubicBezTo>
                  <a:cubicBezTo>
                    <a:pt x="48" y="11"/>
                    <a:pt x="53" y="4"/>
                    <a:pt x="60" y="7"/>
                  </a:cubicBezTo>
                  <a:cubicBezTo>
                    <a:pt x="68" y="9"/>
                    <a:pt x="69" y="0"/>
                    <a:pt x="72" y="4"/>
                  </a:cubicBezTo>
                  <a:cubicBezTo>
                    <a:pt x="75" y="8"/>
                    <a:pt x="92" y="9"/>
                    <a:pt x="78" y="12"/>
                  </a:cubicBezTo>
                  <a:cubicBezTo>
                    <a:pt x="65" y="15"/>
                    <a:pt x="57" y="14"/>
                    <a:pt x="68" y="18"/>
                  </a:cubicBezTo>
                  <a:cubicBezTo>
                    <a:pt x="78" y="23"/>
                    <a:pt x="84" y="17"/>
                    <a:pt x="85" y="23"/>
                  </a:cubicBezTo>
                  <a:cubicBezTo>
                    <a:pt x="86" y="28"/>
                    <a:pt x="90" y="35"/>
                    <a:pt x="95" y="25"/>
                  </a:cubicBezTo>
                  <a:cubicBezTo>
                    <a:pt x="100" y="16"/>
                    <a:pt x="99" y="15"/>
                    <a:pt x="104" y="17"/>
                  </a:cubicBezTo>
                  <a:cubicBezTo>
                    <a:pt x="109" y="18"/>
                    <a:pt x="121" y="15"/>
                    <a:pt x="122" y="18"/>
                  </a:cubicBezTo>
                  <a:cubicBezTo>
                    <a:pt x="124" y="21"/>
                    <a:pt x="128" y="20"/>
                    <a:pt x="130" y="21"/>
                  </a:cubicBezTo>
                  <a:cubicBezTo>
                    <a:pt x="132" y="23"/>
                    <a:pt x="136" y="28"/>
                    <a:pt x="127" y="30"/>
                  </a:cubicBezTo>
                  <a:cubicBezTo>
                    <a:pt x="118" y="33"/>
                    <a:pt x="114" y="31"/>
                    <a:pt x="111" y="34"/>
                  </a:cubicBezTo>
                  <a:cubicBezTo>
                    <a:pt x="107" y="36"/>
                    <a:pt x="111" y="36"/>
                    <a:pt x="101" y="36"/>
                  </a:cubicBezTo>
                  <a:cubicBezTo>
                    <a:pt x="90" y="36"/>
                    <a:pt x="80" y="33"/>
                    <a:pt x="76" y="34"/>
                  </a:cubicBezTo>
                  <a:cubicBezTo>
                    <a:pt x="72" y="35"/>
                    <a:pt x="72" y="34"/>
                    <a:pt x="65" y="36"/>
                  </a:cubicBezTo>
                  <a:cubicBezTo>
                    <a:pt x="58" y="38"/>
                    <a:pt x="54" y="37"/>
                    <a:pt x="50" y="38"/>
                  </a:cubicBezTo>
                  <a:cubicBezTo>
                    <a:pt x="46" y="38"/>
                    <a:pt x="45" y="37"/>
                    <a:pt x="45" y="34"/>
                  </a:cubicBezTo>
                  <a:cubicBezTo>
                    <a:pt x="45" y="30"/>
                    <a:pt x="50" y="29"/>
                    <a:pt x="43" y="28"/>
                  </a:cubicBezTo>
                  <a:cubicBezTo>
                    <a:pt x="36" y="27"/>
                    <a:pt x="30" y="25"/>
                    <a:pt x="28" y="25"/>
                  </a:cubicBezTo>
                  <a:cubicBezTo>
                    <a:pt x="26" y="25"/>
                    <a:pt x="23" y="24"/>
                    <a:pt x="19" y="25"/>
                  </a:cubicBezTo>
                  <a:cubicBezTo>
                    <a:pt x="15" y="26"/>
                    <a:pt x="18" y="26"/>
                    <a:pt x="9" y="26"/>
                  </a:cubicBezTo>
                  <a:cubicBezTo>
                    <a:pt x="0" y="26"/>
                    <a:pt x="1" y="22"/>
                    <a:pt x="5" y="2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73" name="Freeform 759">
              <a:extLst>
                <a:ext uri="{FF2B5EF4-FFF2-40B4-BE49-F238E27FC236}">
                  <a16:creationId xmlns:a16="http://schemas.microsoft.com/office/drawing/2014/main" id="{070F491D-E370-0142-A31E-E95241241EBB}"/>
                </a:ext>
              </a:extLst>
            </p:cNvPr>
            <p:cNvSpPr>
              <a:spLocks/>
            </p:cNvSpPr>
            <p:nvPr/>
          </p:nvSpPr>
          <p:spPr bwMode="auto">
            <a:xfrm>
              <a:off x="7112022" y="814842"/>
              <a:ext cx="65088" cy="20638"/>
            </a:xfrm>
            <a:custGeom>
              <a:avLst/>
              <a:gdLst>
                <a:gd name="T0" fmla="*/ 12 w 67"/>
                <a:gd name="T1" fmla="*/ 2 h 21"/>
                <a:gd name="T2" fmla="*/ 32 w 67"/>
                <a:gd name="T3" fmla="*/ 2 h 21"/>
                <a:gd name="T4" fmla="*/ 42 w 67"/>
                <a:gd name="T5" fmla="*/ 3 h 21"/>
                <a:gd name="T6" fmla="*/ 53 w 67"/>
                <a:gd name="T7" fmla="*/ 5 h 21"/>
                <a:gd name="T8" fmla="*/ 66 w 67"/>
                <a:gd name="T9" fmla="*/ 9 h 21"/>
                <a:gd name="T10" fmla="*/ 64 w 67"/>
                <a:gd name="T11" fmla="*/ 14 h 21"/>
                <a:gd name="T12" fmla="*/ 54 w 67"/>
                <a:gd name="T13" fmla="*/ 17 h 21"/>
                <a:gd name="T14" fmla="*/ 44 w 67"/>
                <a:gd name="T15" fmla="*/ 17 h 21"/>
                <a:gd name="T16" fmla="*/ 33 w 67"/>
                <a:gd name="T17" fmla="*/ 14 h 21"/>
                <a:gd name="T18" fmla="*/ 22 w 67"/>
                <a:gd name="T19" fmla="*/ 19 h 21"/>
                <a:gd name="T20" fmla="*/ 15 w 67"/>
                <a:gd name="T21" fmla="*/ 19 h 21"/>
                <a:gd name="T22" fmla="*/ 7 w 67"/>
                <a:gd name="T23" fmla="*/ 15 h 21"/>
                <a:gd name="T24" fmla="*/ 3 w 67"/>
                <a:gd name="T25" fmla="*/ 9 h 21"/>
                <a:gd name="T26" fmla="*/ 12 w 67"/>
                <a:gd name="T2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1">
                  <a:moveTo>
                    <a:pt x="12" y="2"/>
                  </a:moveTo>
                  <a:cubicBezTo>
                    <a:pt x="22" y="2"/>
                    <a:pt x="26" y="1"/>
                    <a:pt x="32" y="2"/>
                  </a:cubicBezTo>
                  <a:cubicBezTo>
                    <a:pt x="38" y="2"/>
                    <a:pt x="35" y="2"/>
                    <a:pt x="42" y="3"/>
                  </a:cubicBezTo>
                  <a:cubicBezTo>
                    <a:pt x="48" y="5"/>
                    <a:pt x="44" y="4"/>
                    <a:pt x="53" y="5"/>
                  </a:cubicBezTo>
                  <a:cubicBezTo>
                    <a:pt x="63" y="6"/>
                    <a:pt x="66" y="8"/>
                    <a:pt x="66" y="9"/>
                  </a:cubicBezTo>
                  <a:cubicBezTo>
                    <a:pt x="66" y="11"/>
                    <a:pt x="67" y="14"/>
                    <a:pt x="64" y="14"/>
                  </a:cubicBezTo>
                  <a:cubicBezTo>
                    <a:pt x="61" y="14"/>
                    <a:pt x="59" y="16"/>
                    <a:pt x="54" y="17"/>
                  </a:cubicBezTo>
                  <a:cubicBezTo>
                    <a:pt x="49" y="18"/>
                    <a:pt x="52" y="18"/>
                    <a:pt x="44" y="17"/>
                  </a:cubicBezTo>
                  <a:cubicBezTo>
                    <a:pt x="36" y="15"/>
                    <a:pt x="40" y="13"/>
                    <a:pt x="33" y="14"/>
                  </a:cubicBezTo>
                  <a:cubicBezTo>
                    <a:pt x="27" y="15"/>
                    <a:pt x="26" y="19"/>
                    <a:pt x="22" y="19"/>
                  </a:cubicBezTo>
                  <a:cubicBezTo>
                    <a:pt x="18" y="20"/>
                    <a:pt x="18" y="21"/>
                    <a:pt x="15" y="19"/>
                  </a:cubicBezTo>
                  <a:cubicBezTo>
                    <a:pt x="12" y="18"/>
                    <a:pt x="10" y="17"/>
                    <a:pt x="7" y="15"/>
                  </a:cubicBezTo>
                  <a:cubicBezTo>
                    <a:pt x="5" y="13"/>
                    <a:pt x="0" y="14"/>
                    <a:pt x="3" y="9"/>
                  </a:cubicBezTo>
                  <a:cubicBezTo>
                    <a:pt x="6" y="3"/>
                    <a:pt x="10" y="0"/>
                    <a:pt x="12"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74" name="Freeform 760">
              <a:extLst>
                <a:ext uri="{FF2B5EF4-FFF2-40B4-BE49-F238E27FC236}">
                  <a16:creationId xmlns:a16="http://schemas.microsoft.com/office/drawing/2014/main" id="{F497EF26-C16B-C04C-A043-7D5CBBFF4C3E}"/>
                </a:ext>
              </a:extLst>
            </p:cNvPr>
            <p:cNvSpPr>
              <a:spLocks/>
            </p:cNvSpPr>
            <p:nvPr/>
          </p:nvSpPr>
          <p:spPr bwMode="auto">
            <a:xfrm>
              <a:off x="6916759" y="1222830"/>
              <a:ext cx="185738" cy="225425"/>
            </a:xfrm>
            <a:custGeom>
              <a:avLst/>
              <a:gdLst>
                <a:gd name="T0" fmla="*/ 5 w 194"/>
                <a:gd name="T1" fmla="*/ 3 h 237"/>
                <a:gd name="T2" fmla="*/ 25 w 194"/>
                <a:gd name="T3" fmla="*/ 20 h 237"/>
                <a:gd name="T4" fmla="*/ 45 w 194"/>
                <a:gd name="T5" fmla="*/ 39 h 237"/>
                <a:gd name="T6" fmla="*/ 62 w 194"/>
                <a:gd name="T7" fmla="*/ 57 h 237"/>
                <a:gd name="T8" fmla="*/ 76 w 194"/>
                <a:gd name="T9" fmla="*/ 77 h 237"/>
                <a:gd name="T10" fmla="*/ 108 w 194"/>
                <a:gd name="T11" fmla="*/ 103 h 237"/>
                <a:gd name="T12" fmla="*/ 135 w 194"/>
                <a:gd name="T13" fmla="*/ 128 h 237"/>
                <a:gd name="T14" fmla="*/ 167 w 194"/>
                <a:gd name="T15" fmla="*/ 160 h 237"/>
                <a:gd name="T16" fmla="*/ 127 w 194"/>
                <a:gd name="T17" fmla="*/ 142 h 237"/>
                <a:gd name="T18" fmla="*/ 130 w 194"/>
                <a:gd name="T19" fmla="*/ 162 h 237"/>
                <a:gd name="T20" fmla="*/ 139 w 194"/>
                <a:gd name="T21" fmla="*/ 190 h 237"/>
                <a:gd name="T22" fmla="*/ 169 w 194"/>
                <a:gd name="T23" fmla="*/ 207 h 237"/>
                <a:gd name="T24" fmla="*/ 187 w 194"/>
                <a:gd name="T25" fmla="*/ 223 h 237"/>
                <a:gd name="T26" fmla="*/ 171 w 194"/>
                <a:gd name="T27" fmla="*/ 217 h 237"/>
                <a:gd name="T28" fmla="*/ 157 w 194"/>
                <a:gd name="T29" fmla="*/ 219 h 237"/>
                <a:gd name="T30" fmla="*/ 160 w 194"/>
                <a:gd name="T31" fmla="*/ 233 h 237"/>
                <a:gd name="T32" fmla="*/ 143 w 194"/>
                <a:gd name="T33" fmla="*/ 220 h 237"/>
                <a:gd name="T34" fmla="*/ 130 w 194"/>
                <a:gd name="T35" fmla="*/ 195 h 237"/>
                <a:gd name="T36" fmla="*/ 116 w 194"/>
                <a:gd name="T37" fmla="*/ 167 h 237"/>
                <a:gd name="T38" fmla="*/ 97 w 194"/>
                <a:gd name="T39" fmla="*/ 148 h 237"/>
                <a:gd name="T40" fmla="*/ 82 w 194"/>
                <a:gd name="T41" fmla="*/ 112 h 237"/>
                <a:gd name="T42" fmla="*/ 60 w 194"/>
                <a:gd name="T43" fmla="*/ 89 h 237"/>
                <a:gd name="T44" fmla="*/ 37 w 194"/>
                <a:gd name="T45" fmla="*/ 71 h 237"/>
                <a:gd name="T46" fmla="*/ 22 w 194"/>
                <a:gd name="T47" fmla="*/ 52 h 237"/>
                <a:gd name="T48" fmla="*/ 11 w 194"/>
                <a:gd name="T49" fmla="*/ 30 h 237"/>
                <a:gd name="T50" fmla="*/ 17 w 194"/>
                <a:gd name="T51" fmla="*/ 23 h 237"/>
                <a:gd name="T52" fmla="*/ 0 w 194"/>
                <a:gd name="T53" fmla="*/ 10 h 237"/>
                <a:gd name="T54" fmla="*/ 5 w 194"/>
                <a:gd name="T55" fmla="*/ 3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4" h="237">
                  <a:moveTo>
                    <a:pt x="5" y="3"/>
                  </a:moveTo>
                  <a:cubicBezTo>
                    <a:pt x="15" y="10"/>
                    <a:pt x="21" y="11"/>
                    <a:pt x="25" y="20"/>
                  </a:cubicBezTo>
                  <a:cubicBezTo>
                    <a:pt x="29" y="29"/>
                    <a:pt x="40" y="32"/>
                    <a:pt x="45" y="39"/>
                  </a:cubicBezTo>
                  <a:cubicBezTo>
                    <a:pt x="50" y="46"/>
                    <a:pt x="51" y="45"/>
                    <a:pt x="62" y="57"/>
                  </a:cubicBezTo>
                  <a:cubicBezTo>
                    <a:pt x="73" y="69"/>
                    <a:pt x="62" y="64"/>
                    <a:pt x="76" y="77"/>
                  </a:cubicBezTo>
                  <a:cubicBezTo>
                    <a:pt x="91" y="89"/>
                    <a:pt x="99" y="90"/>
                    <a:pt x="108" y="103"/>
                  </a:cubicBezTo>
                  <a:cubicBezTo>
                    <a:pt x="118" y="116"/>
                    <a:pt x="122" y="118"/>
                    <a:pt x="135" y="128"/>
                  </a:cubicBezTo>
                  <a:cubicBezTo>
                    <a:pt x="149" y="138"/>
                    <a:pt x="177" y="162"/>
                    <a:pt x="167" y="160"/>
                  </a:cubicBezTo>
                  <a:cubicBezTo>
                    <a:pt x="158" y="157"/>
                    <a:pt x="129" y="136"/>
                    <a:pt x="127" y="142"/>
                  </a:cubicBezTo>
                  <a:cubicBezTo>
                    <a:pt x="125" y="147"/>
                    <a:pt x="122" y="150"/>
                    <a:pt x="130" y="162"/>
                  </a:cubicBezTo>
                  <a:cubicBezTo>
                    <a:pt x="138" y="175"/>
                    <a:pt x="130" y="182"/>
                    <a:pt x="139" y="190"/>
                  </a:cubicBezTo>
                  <a:cubicBezTo>
                    <a:pt x="148" y="198"/>
                    <a:pt x="166" y="203"/>
                    <a:pt x="169" y="207"/>
                  </a:cubicBezTo>
                  <a:cubicBezTo>
                    <a:pt x="173" y="211"/>
                    <a:pt x="194" y="222"/>
                    <a:pt x="187" y="223"/>
                  </a:cubicBezTo>
                  <a:cubicBezTo>
                    <a:pt x="180" y="223"/>
                    <a:pt x="177" y="217"/>
                    <a:pt x="171" y="217"/>
                  </a:cubicBezTo>
                  <a:cubicBezTo>
                    <a:pt x="165" y="217"/>
                    <a:pt x="156" y="216"/>
                    <a:pt x="157" y="219"/>
                  </a:cubicBezTo>
                  <a:cubicBezTo>
                    <a:pt x="159" y="223"/>
                    <a:pt x="165" y="237"/>
                    <a:pt x="160" y="233"/>
                  </a:cubicBezTo>
                  <a:cubicBezTo>
                    <a:pt x="154" y="230"/>
                    <a:pt x="151" y="229"/>
                    <a:pt x="143" y="220"/>
                  </a:cubicBezTo>
                  <a:cubicBezTo>
                    <a:pt x="134" y="210"/>
                    <a:pt x="139" y="201"/>
                    <a:pt x="130" y="195"/>
                  </a:cubicBezTo>
                  <a:cubicBezTo>
                    <a:pt x="122" y="189"/>
                    <a:pt x="121" y="170"/>
                    <a:pt x="116" y="167"/>
                  </a:cubicBezTo>
                  <a:cubicBezTo>
                    <a:pt x="111" y="165"/>
                    <a:pt x="104" y="162"/>
                    <a:pt x="97" y="148"/>
                  </a:cubicBezTo>
                  <a:cubicBezTo>
                    <a:pt x="90" y="135"/>
                    <a:pt x="90" y="122"/>
                    <a:pt x="82" y="112"/>
                  </a:cubicBezTo>
                  <a:cubicBezTo>
                    <a:pt x="74" y="102"/>
                    <a:pt x="69" y="95"/>
                    <a:pt x="60" y="89"/>
                  </a:cubicBezTo>
                  <a:cubicBezTo>
                    <a:pt x="51" y="83"/>
                    <a:pt x="42" y="77"/>
                    <a:pt x="37" y="71"/>
                  </a:cubicBezTo>
                  <a:cubicBezTo>
                    <a:pt x="32" y="64"/>
                    <a:pt x="25" y="58"/>
                    <a:pt x="22" y="52"/>
                  </a:cubicBezTo>
                  <a:cubicBezTo>
                    <a:pt x="19" y="45"/>
                    <a:pt x="4" y="27"/>
                    <a:pt x="11" y="30"/>
                  </a:cubicBezTo>
                  <a:cubicBezTo>
                    <a:pt x="18" y="34"/>
                    <a:pt x="21" y="28"/>
                    <a:pt x="17" y="23"/>
                  </a:cubicBezTo>
                  <a:cubicBezTo>
                    <a:pt x="13" y="18"/>
                    <a:pt x="0" y="14"/>
                    <a:pt x="0" y="10"/>
                  </a:cubicBezTo>
                  <a:cubicBezTo>
                    <a:pt x="0" y="5"/>
                    <a:pt x="0" y="0"/>
                    <a:pt x="5"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75" name="Freeform 761">
              <a:extLst>
                <a:ext uri="{FF2B5EF4-FFF2-40B4-BE49-F238E27FC236}">
                  <a16:creationId xmlns:a16="http://schemas.microsoft.com/office/drawing/2014/main" id="{83F9EFAD-FCBF-AC48-BAE1-D785C35D2FC5}"/>
                </a:ext>
              </a:extLst>
            </p:cNvPr>
            <p:cNvSpPr>
              <a:spLocks/>
            </p:cNvSpPr>
            <p:nvPr/>
          </p:nvSpPr>
          <p:spPr bwMode="auto">
            <a:xfrm>
              <a:off x="5918219" y="2403932"/>
              <a:ext cx="58738" cy="106363"/>
            </a:xfrm>
            <a:custGeom>
              <a:avLst/>
              <a:gdLst>
                <a:gd name="T0" fmla="*/ 25 w 62"/>
                <a:gd name="T1" fmla="*/ 9 h 112"/>
                <a:gd name="T2" fmla="*/ 31 w 62"/>
                <a:gd name="T3" fmla="*/ 22 h 112"/>
                <a:gd name="T4" fmla="*/ 39 w 62"/>
                <a:gd name="T5" fmla="*/ 36 h 112"/>
                <a:gd name="T6" fmla="*/ 50 w 62"/>
                <a:gd name="T7" fmla="*/ 56 h 112"/>
                <a:gd name="T8" fmla="*/ 61 w 62"/>
                <a:gd name="T9" fmla="*/ 71 h 112"/>
                <a:gd name="T10" fmla="*/ 56 w 62"/>
                <a:gd name="T11" fmla="*/ 87 h 112"/>
                <a:gd name="T12" fmla="*/ 49 w 62"/>
                <a:gd name="T13" fmla="*/ 101 h 112"/>
                <a:gd name="T14" fmla="*/ 35 w 62"/>
                <a:gd name="T15" fmla="*/ 111 h 112"/>
                <a:gd name="T16" fmla="*/ 27 w 62"/>
                <a:gd name="T17" fmla="*/ 111 h 112"/>
                <a:gd name="T18" fmla="*/ 13 w 62"/>
                <a:gd name="T19" fmla="*/ 103 h 112"/>
                <a:gd name="T20" fmla="*/ 10 w 62"/>
                <a:gd name="T21" fmla="*/ 88 h 112"/>
                <a:gd name="T22" fmla="*/ 7 w 62"/>
                <a:gd name="T23" fmla="*/ 72 h 112"/>
                <a:gd name="T24" fmla="*/ 4 w 62"/>
                <a:gd name="T25" fmla="*/ 56 h 112"/>
                <a:gd name="T26" fmla="*/ 4 w 62"/>
                <a:gd name="T27" fmla="*/ 43 h 112"/>
                <a:gd name="T28" fmla="*/ 9 w 62"/>
                <a:gd name="T29" fmla="*/ 31 h 112"/>
                <a:gd name="T30" fmla="*/ 11 w 62"/>
                <a:gd name="T31" fmla="*/ 19 h 112"/>
                <a:gd name="T32" fmla="*/ 12 w 62"/>
                <a:gd name="T33" fmla="*/ 10 h 112"/>
                <a:gd name="T34" fmla="*/ 7 w 62"/>
                <a:gd name="T35" fmla="*/ 3 h 112"/>
                <a:gd name="T36" fmla="*/ 15 w 62"/>
                <a:gd name="T37" fmla="*/ 2 h 112"/>
                <a:gd name="T38" fmla="*/ 25 w 62"/>
                <a:gd name="T39" fmla="*/ 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 h="112">
                  <a:moveTo>
                    <a:pt x="25" y="9"/>
                  </a:moveTo>
                  <a:cubicBezTo>
                    <a:pt x="27" y="12"/>
                    <a:pt x="28" y="18"/>
                    <a:pt x="31" y="22"/>
                  </a:cubicBezTo>
                  <a:cubicBezTo>
                    <a:pt x="34" y="27"/>
                    <a:pt x="36" y="29"/>
                    <a:pt x="39" y="36"/>
                  </a:cubicBezTo>
                  <a:cubicBezTo>
                    <a:pt x="42" y="42"/>
                    <a:pt x="44" y="46"/>
                    <a:pt x="50" y="56"/>
                  </a:cubicBezTo>
                  <a:cubicBezTo>
                    <a:pt x="57" y="66"/>
                    <a:pt x="61" y="65"/>
                    <a:pt x="61" y="71"/>
                  </a:cubicBezTo>
                  <a:cubicBezTo>
                    <a:pt x="62" y="77"/>
                    <a:pt x="58" y="79"/>
                    <a:pt x="56" y="87"/>
                  </a:cubicBezTo>
                  <a:cubicBezTo>
                    <a:pt x="54" y="95"/>
                    <a:pt x="55" y="96"/>
                    <a:pt x="49" y="101"/>
                  </a:cubicBezTo>
                  <a:cubicBezTo>
                    <a:pt x="44" y="105"/>
                    <a:pt x="40" y="110"/>
                    <a:pt x="35" y="111"/>
                  </a:cubicBezTo>
                  <a:cubicBezTo>
                    <a:pt x="31" y="112"/>
                    <a:pt x="36" y="111"/>
                    <a:pt x="27" y="111"/>
                  </a:cubicBezTo>
                  <a:cubicBezTo>
                    <a:pt x="18" y="111"/>
                    <a:pt x="14" y="110"/>
                    <a:pt x="13" y="103"/>
                  </a:cubicBezTo>
                  <a:cubicBezTo>
                    <a:pt x="12" y="97"/>
                    <a:pt x="12" y="96"/>
                    <a:pt x="10" y="88"/>
                  </a:cubicBezTo>
                  <a:cubicBezTo>
                    <a:pt x="9" y="80"/>
                    <a:pt x="9" y="82"/>
                    <a:pt x="7" y="72"/>
                  </a:cubicBezTo>
                  <a:cubicBezTo>
                    <a:pt x="6" y="62"/>
                    <a:pt x="4" y="65"/>
                    <a:pt x="4" y="56"/>
                  </a:cubicBezTo>
                  <a:cubicBezTo>
                    <a:pt x="4" y="48"/>
                    <a:pt x="0" y="52"/>
                    <a:pt x="4" y="43"/>
                  </a:cubicBezTo>
                  <a:cubicBezTo>
                    <a:pt x="8" y="34"/>
                    <a:pt x="7" y="36"/>
                    <a:pt x="9" y="31"/>
                  </a:cubicBezTo>
                  <a:cubicBezTo>
                    <a:pt x="10" y="27"/>
                    <a:pt x="10" y="23"/>
                    <a:pt x="11" y="19"/>
                  </a:cubicBezTo>
                  <a:cubicBezTo>
                    <a:pt x="12" y="15"/>
                    <a:pt x="15" y="13"/>
                    <a:pt x="12" y="10"/>
                  </a:cubicBezTo>
                  <a:cubicBezTo>
                    <a:pt x="9" y="7"/>
                    <a:pt x="6" y="4"/>
                    <a:pt x="7" y="3"/>
                  </a:cubicBezTo>
                  <a:cubicBezTo>
                    <a:pt x="8" y="2"/>
                    <a:pt x="12" y="0"/>
                    <a:pt x="15" y="2"/>
                  </a:cubicBezTo>
                  <a:cubicBezTo>
                    <a:pt x="18" y="5"/>
                    <a:pt x="26" y="3"/>
                    <a:pt x="25" y="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76" name="Freeform 762">
              <a:extLst>
                <a:ext uri="{FF2B5EF4-FFF2-40B4-BE49-F238E27FC236}">
                  <a16:creationId xmlns:a16="http://schemas.microsoft.com/office/drawing/2014/main" id="{5EFBAA8D-7587-F842-82A5-8F63BF0B89DF}"/>
                </a:ext>
              </a:extLst>
            </p:cNvPr>
            <p:cNvSpPr>
              <a:spLocks/>
            </p:cNvSpPr>
            <p:nvPr/>
          </p:nvSpPr>
          <p:spPr bwMode="auto">
            <a:xfrm>
              <a:off x="6821509" y="1989594"/>
              <a:ext cx="38100" cy="95250"/>
            </a:xfrm>
            <a:custGeom>
              <a:avLst/>
              <a:gdLst>
                <a:gd name="T0" fmla="*/ 12 w 41"/>
                <a:gd name="T1" fmla="*/ 12 h 101"/>
                <a:gd name="T2" fmla="*/ 10 w 41"/>
                <a:gd name="T3" fmla="*/ 29 h 101"/>
                <a:gd name="T4" fmla="*/ 5 w 41"/>
                <a:gd name="T5" fmla="*/ 58 h 101"/>
                <a:gd name="T6" fmla="*/ 9 w 41"/>
                <a:gd name="T7" fmla="*/ 71 h 101"/>
                <a:gd name="T8" fmla="*/ 20 w 41"/>
                <a:gd name="T9" fmla="*/ 87 h 101"/>
                <a:gd name="T10" fmla="*/ 30 w 41"/>
                <a:gd name="T11" fmla="*/ 98 h 101"/>
                <a:gd name="T12" fmla="*/ 30 w 41"/>
                <a:gd name="T13" fmla="*/ 84 h 101"/>
                <a:gd name="T14" fmla="*/ 37 w 41"/>
                <a:gd name="T15" fmla="*/ 73 h 101"/>
                <a:gd name="T16" fmla="*/ 38 w 41"/>
                <a:gd name="T17" fmla="*/ 59 h 101"/>
                <a:gd name="T18" fmla="*/ 38 w 41"/>
                <a:gd name="T19" fmla="*/ 36 h 101"/>
                <a:gd name="T20" fmla="*/ 39 w 41"/>
                <a:gd name="T21" fmla="*/ 24 h 101"/>
                <a:gd name="T22" fmla="*/ 39 w 41"/>
                <a:gd name="T23" fmla="*/ 9 h 101"/>
                <a:gd name="T24" fmla="*/ 33 w 41"/>
                <a:gd name="T25" fmla="*/ 3 h 101"/>
                <a:gd name="T26" fmla="*/ 21 w 41"/>
                <a:gd name="T27" fmla="*/ 3 h 101"/>
                <a:gd name="T28" fmla="*/ 12 w 41"/>
                <a:gd name="T29" fmla="*/ 1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 h="101">
                  <a:moveTo>
                    <a:pt x="12" y="12"/>
                  </a:moveTo>
                  <a:cubicBezTo>
                    <a:pt x="12" y="19"/>
                    <a:pt x="20" y="13"/>
                    <a:pt x="10" y="29"/>
                  </a:cubicBezTo>
                  <a:cubicBezTo>
                    <a:pt x="0" y="44"/>
                    <a:pt x="3" y="53"/>
                    <a:pt x="5" y="58"/>
                  </a:cubicBezTo>
                  <a:cubicBezTo>
                    <a:pt x="7" y="62"/>
                    <a:pt x="3" y="65"/>
                    <a:pt x="9" y="71"/>
                  </a:cubicBezTo>
                  <a:cubicBezTo>
                    <a:pt x="15" y="77"/>
                    <a:pt x="16" y="81"/>
                    <a:pt x="20" y="87"/>
                  </a:cubicBezTo>
                  <a:cubicBezTo>
                    <a:pt x="23" y="94"/>
                    <a:pt x="30" y="101"/>
                    <a:pt x="30" y="98"/>
                  </a:cubicBezTo>
                  <a:cubicBezTo>
                    <a:pt x="30" y="94"/>
                    <a:pt x="28" y="89"/>
                    <a:pt x="30" y="84"/>
                  </a:cubicBezTo>
                  <a:cubicBezTo>
                    <a:pt x="32" y="79"/>
                    <a:pt x="35" y="77"/>
                    <a:pt x="37" y="73"/>
                  </a:cubicBezTo>
                  <a:cubicBezTo>
                    <a:pt x="38" y="69"/>
                    <a:pt x="38" y="66"/>
                    <a:pt x="38" y="59"/>
                  </a:cubicBezTo>
                  <a:cubicBezTo>
                    <a:pt x="38" y="51"/>
                    <a:pt x="39" y="45"/>
                    <a:pt x="38" y="36"/>
                  </a:cubicBezTo>
                  <a:cubicBezTo>
                    <a:pt x="38" y="26"/>
                    <a:pt x="39" y="33"/>
                    <a:pt x="39" y="24"/>
                  </a:cubicBezTo>
                  <a:cubicBezTo>
                    <a:pt x="39" y="15"/>
                    <a:pt x="39" y="13"/>
                    <a:pt x="39" y="9"/>
                  </a:cubicBezTo>
                  <a:cubicBezTo>
                    <a:pt x="39" y="5"/>
                    <a:pt x="41" y="3"/>
                    <a:pt x="33" y="3"/>
                  </a:cubicBezTo>
                  <a:cubicBezTo>
                    <a:pt x="26" y="3"/>
                    <a:pt x="26" y="0"/>
                    <a:pt x="21" y="3"/>
                  </a:cubicBezTo>
                  <a:cubicBezTo>
                    <a:pt x="16" y="7"/>
                    <a:pt x="8" y="5"/>
                    <a:pt x="12" y="12"/>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77" name="Freeform 765">
              <a:extLst>
                <a:ext uri="{FF2B5EF4-FFF2-40B4-BE49-F238E27FC236}">
                  <a16:creationId xmlns:a16="http://schemas.microsoft.com/office/drawing/2014/main" id="{4BE8C239-D7C7-504D-BB95-5027E5CB6328}"/>
                </a:ext>
              </a:extLst>
            </p:cNvPr>
            <p:cNvSpPr>
              <a:spLocks/>
            </p:cNvSpPr>
            <p:nvPr/>
          </p:nvSpPr>
          <p:spPr bwMode="auto">
            <a:xfrm>
              <a:off x="6948509" y="2888120"/>
              <a:ext cx="103188" cy="57150"/>
            </a:xfrm>
            <a:custGeom>
              <a:avLst/>
              <a:gdLst>
                <a:gd name="T0" fmla="*/ 12 w 108"/>
                <a:gd name="T1" fmla="*/ 45 h 60"/>
                <a:gd name="T2" fmla="*/ 18 w 108"/>
                <a:gd name="T3" fmla="*/ 33 h 60"/>
                <a:gd name="T4" fmla="*/ 24 w 108"/>
                <a:gd name="T5" fmla="*/ 26 h 60"/>
                <a:gd name="T6" fmla="*/ 33 w 108"/>
                <a:gd name="T7" fmla="*/ 26 h 60"/>
                <a:gd name="T8" fmla="*/ 44 w 108"/>
                <a:gd name="T9" fmla="*/ 19 h 60"/>
                <a:gd name="T10" fmla="*/ 49 w 108"/>
                <a:gd name="T11" fmla="*/ 11 h 60"/>
                <a:gd name="T12" fmla="*/ 60 w 108"/>
                <a:gd name="T13" fmla="*/ 7 h 60"/>
                <a:gd name="T14" fmla="*/ 73 w 108"/>
                <a:gd name="T15" fmla="*/ 5 h 60"/>
                <a:gd name="T16" fmla="*/ 90 w 108"/>
                <a:gd name="T17" fmla="*/ 4 h 60"/>
                <a:gd name="T18" fmla="*/ 101 w 108"/>
                <a:gd name="T19" fmla="*/ 0 h 60"/>
                <a:gd name="T20" fmla="*/ 106 w 108"/>
                <a:gd name="T21" fmla="*/ 7 h 60"/>
                <a:gd name="T22" fmla="*/ 97 w 108"/>
                <a:gd name="T23" fmla="*/ 11 h 60"/>
                <a:gd name="T24" fmla="*/ 82 w 108"/>
                <a:gd name="T25" fmla="*/ 20 h 60"/>
                <a:gd name="T26" fmla="*/ 65 w 108"/>
                <a:gd name="T27" fmla="*/ 26 h 60"/>
                <a:gd name="T28" fmla="*/ 51 w 108"/>
                <a:gd name="T29" fmla="*/ 30 h 60"/>
                <a:gd name="T30" fmla="*/ 44 w 108"/>
                <a:gd name="T31" fmla="*/ 41 h 60"/>
                <a:gd name="T32" fmla="*/ 35 w 108"/>
                <a:gd name="T33" fmla="*/ 53 h 60"/>
                <a:gd name="T34" fmla="*/ 25 w 108"/>
                <a:gd name="T35" fmla="*/ 56 h 60"/>
                <a:gd name="T36" fmla="*/ 14 w 108"/>
                <a:gd name="T37" fmla="*/ 60 h 60"/>
                <a:gd name="T38" fmla="*/ 3 w 108"/>
                <a:gd name="T39" fmla="*/ 58 h 60"/>
                <a:gd name="T40" fmla="*/ 3 w 108"/>
                <a:gd name="T41" fmla="*/ 52 h 60"/>
                <a:gd name="T42" fmla="*/ 12 w 108"/>
                <a:gd name="T43" fmla="*/ 50 h 60"/>
                <a:gd name="T44" fmla="*/ 12 w 108"/>
                <a:gd name="T45" fmla="*/ 4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60">
                  <a:moveTo>
                    <a:pt x="12" y="45"/>
                  </a:moveTo>
                  <a:cubicBezTo>
                    <a:pt x="14" y="37"/>
                    <a:pt x="13" y="39"/>
                    <a:pt x="18" y="33"/>
                  </a:cubicBezTo>
                  <a:cubicBezTo>
                    <a:pt x="22" y="28"/>
                    <a:pt x="17" y="26"/>
                    <a:pt x="24" y="26"/>
                  </a:cubicBezTo>
                  <a:cubicBezTo>
                    <a:pt x="31" y="26"/>
                    <a:pt x="24" y="31"/>
                    <a:pt x="33" y="26"/>
                  </a:cubicBezTo>
                  <a:cubicBezTo>
                    <a:pt x="43" y="21"/>
                    <a:pt x="40" y="25"/>
                    <a:pt x="44" y="19"/>
                  </a:cubicBezTo>
                  <a:cubicBezTo>
                    <a:pt x="48" y="12"/>
                    <a:pt x="41" y="14"/>
                    <a:pt x="49" y="11"/>
                  </a:cubicBezTo>
                  <a:cubicBezTo>
                    <a:pt x="57" y="8"/>
                    <a:pt x="49" y="8"/>
                    <a:pt x="60" y="7"/>
                  </a:cubicBezTo>
                  <a:cubicBezTo>
                    <a:pt x="72" y="5"/>
                    <a:pt x="61" y="6"/>
                    <a:pt x="73" y="5"/>
                  </a:cubicBezTo>
                  <a:cubicBezTo>
                    <a:pt x="86" y="4"/>
                    <a:pt x="83" y="6"/>
                    <a:pt x="90" y="4"/>
                  </a:cubicBezTo>
                  <a:cubicBezTo>
                    <a:pt x="97" y="2"/>
                    <a:pt x="98" y="1"/>
                    <a:pt x="101" y="0"/>
                  </a:cubicBezTo>
                  <a:cubicBezTo>
                    <a:pt x="105" y="0"/>
                    <a:pt x="108" y="6"/>
                    <a:pt x="106" y="7"/>
                  </a:cubicBezTo>
                  <a:cubicBezTo>
                    <a:pt x="104" y="8"/>
                    <a:pt x="103" y="6"/>
                    <a:pt x="97" y="11"/>
                  </a:cubicBezTo>
                  <a:cubicBezTo>
                    <a:pt x="90" y="16"/>
                    <a:pt x="91" y="16"/>
                    <a:pt x="82" y="20"/>
                  </a:cubicBezTo>
                  <a:cubicBezTo>
                    <a:pt x="74" y="23"/>
                    <a:pt x="71" y="24"/>
                    <a:pt x="65" y="26"/>
                  </a:cubicBezTo>
                  <a:cubicBezTo>
                    <a:pt x="60" y="27"/>
                    <a:pt x="53" y="27"/>
                    <a:pt x="51" y="30"/>
                  </a:cubicBezTo>
                  <a:cubicBezTo>
                    <a:pt x="50" y="33"/>
                    <a:pt x="48" y="36"/>
                    <a:pt x="44" y="41"/>
                  </a:cubicBezTo>
                  <a:cubicBezTo>
                    <a:pt x="39" y="47"/>
                    <a:pt x="36" y="51"/>
                    <a:pt x="35" y="53"/>
                  </a:cubicBezTo>
                  <a:cubicBezTo>
                    <a:pt x="33" y="54"/>
                    <a:pt x="28" y="53"/>
                    <a:pt x="25" y="56"/>
                  </a:cubicBezTo>
                  <a:cubicBezTo>
                    <a:pt x="21" y="58"/>
                    <a:pt x="18" y="60"/>
                    <a:pt x="14" y="60"/>
                  </a:cubicBezTo>
                  <a:cubicBezTo>
                    <a:pt x="9" y="60"/>
                    <a:pt x="4" y="59"/>
                    <a:pt x="3" y="58"/>
                  </a:cubicBezTo>
                  <a:cubicBezTo>
                    <a:pt x="3" y="56"/>
                    <a:pt x="0" y="52"/>
                    <a:pt x="3" y="52"/>
                  </a:cubicBezTo>
                  <a:cubicBezTo>
                    <a:pt x="7" y="52"/>
                    <a:pt x="11" y="51"/>
                    <a:pt x="12" y="50"/>
                  </a:cubicBezTo>
                  <a:cubicBezTo>
                    <a:pt x="12" y="49"/>
                    <a:pt x="7" y="45"/>
                    <a:pt x="12" y="4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78" name="Freeform 766">
              <a:extLst>
                <a:ext uri="{FF2B5EF4-FFF2-40B4-BE49-F238E27FC236}">
                  <a16:creationId xmlns:a16="http://schemas.microsoft.com/office/drawing/2014/main" id="{3C0D7F75-8C14-514C-8D68-51D7D772E04C}"/>
                </a:ext>
              </a:extLst>
            </p:cNvPr>
            <p:cNvSpPr>
              <a:spLocks/>
            </p:cNvSpPr>
            <p:nvPr/>
          </p:nvSpPr>
          <p:spPr bwMode="auto">
            <a:xfrm>
              <a:off x="6575446" y="2130882"/>
              <a:ext cx="55563" cy="49213"/>
            </a:xfrm>
            <a:custGeom>
              <a:avLst/>
              <a:gdLst>
                <a:gd name="T0" fmla="*/ 11 w 58"/>
                <a:gd name="T1" fmla="*/ 15 h 53"/>
                <a:gd name="T2" fmla="*/ 2 w 58"/>
                <a:gd name="T3" fmla="*/ 23 h 53"/>
                <a:gd name="T4" fmla="*/ 5 w 58"/>
                <a:gd name="T5" fmla="*/ 37 h 53"/>
                <a:gd name="T6" fmla="*/ 7 w 58"/>
                <a:gd name="T7" fmla="*/ 47 h 53"/>
                <a:gd name="T8" fmla="*/ 18 w 58"/>
                <a:gd name="T9" fmla="*/ 51 h 53"/>
                <a:gd name="T10" fmla="*/ 31 w 58"/>
                <a:gd name="T11" fmla="*/ 51 h 53"/>
                <a:gd name="T12" fmla="*/ 42 w 58"/>
                <a:gd name="T13" fmla="*/ 44 h 53"/>
                <a:gd name="T14" fmla="*/ 48 w 58"/>
                <a:gd name="T15" fmla="*/ 34 h 53"/>
                <a:gd name="T16" fmla="*/ 51 w 58"/>
                <a:gd name="T17" fmla="*/ 25 h 53"/>
                <a:gd name="T18" fmla="*/ 58 w 58"/>
                <a:gd name="T19" fmla="*/ 12 h 53"/>
                <a:gd name="T20" fmla="*/ 50 w 58"/>
                <a:gd name="T21" fmla="*/ 1 h 53"/>
                <a:gd name="T22" fmla="*/ 43 w 58"/>
                <a:gd name="T23" fmla="*/ 5 h 53"/>
                <a:gd name="T24" fmla="*/ 34 w 58"/>
                <a:gd name="T25" fmla="*/ 3 h 53"/>
                <a:gd name="T26" fmla="*/ 24 w 58"/>
                <a:gd name="T27" fmla="*/ 5 h 53"/>
                <a:gd name="T28" fmla="*/ 13 w 58"/>
                <a:gd name="T29" fmla="*/ 6 h 53"/>
                <a:gd name="T30" fmla="*/ 11 w 58"/>
                <a:gd name="T31"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53">
                  <a:moveTo>
                    <a:pt x="11" y="15"/>
                  </a:moveTo>
                  <a:cubicBezTo>
                    <a:pt x="5" y="16"/>
                    <a:pt x="3" y="17"/>
                    <a:pt x="2" y="23"/>
                  </a:cubicBezTo>
                  <a:cubicBezTo>
                    <a:pt x="0" y="29"/>
                    <a:pt x="6" y="33"/>
                    <a:pt x="5" y="37"/>
                  </a:cubicBezTo>
                  <a:cubicBezTo>
                    <a:pt x="5" y="41"/>
                    <a:pt x="4" y="45"/>
                    <a:pt x="7" y="47"/>
                  </a:cubicBezTo>
                  <a:cubicBezTo>
                    <a:pt x="10" y="48"/>
                    <a:pt x="9" y="49"/>
                    <a:pt x="18" y="51"/>
                  </a:cubicBezTo>
                  <a:cubicBezTo>
                    <a:pt x="26" y="53"/>
                    <a:pt x="26" y="53"/>
                    <a:pt x="31" y="51"/>
                  </a:cubicBezTo>
                  <a:cubicBezTo>
                    <a:pt x="37" y="49"/>
                    <a:pt x="36" y="51"/>
                    <a:pt x="42" y="44"/>
                  </a:cubicBezTo>
                  <a:cubicBezTo>
                    <a:pt x="47" y="38"/>
                    <a:pt x="48" y="40"/>
                    <a:pt x="48" y="34"/>
                  </a:cubicBezTo>
                  <a:cubicBezTo>
                    <a:pt x="49" y="29"/>
                    <a:pt x="48" y="29"/>
                    <a:pt x="51" y="25"/>
                  </a:cubicBezTo>
                  <a:cubicBezTo>
                    <a:pt x="54" y="20"/>
                    <a:pt x="57" y="19"/>
                    <a:pt x="58" y="12"/>
                  </a:cubicBezTo>
                  <a:cubicBezTo>
                    <a:pt x="58" y="5"/>
                    <a:pt x="55" y="0"/>
                    <a:pt x="50" y="1"/>
                  </a:cubicBezTo>
                  <a:cubicBezTo>
                    <a:pt x="46" y="2"/>
                    <a:pt x="46" y="6"/>
                    <a:pt x="43" y="5"/>
                  </a:cubicBezTo>
                  <a:cubicBezTo>
                    <a:pt x="41" y="3"/>
                    <a:pt x="36" y="1"/>
                    <a:pt x="34" y="3"/>
                  </a:cubicBezTo>
                  <a:cubicBezTo>
                    <a:pt x="32" y="6"/>
                    <a:pt x="29" y="5"/>
                    <a:pt x="24" y="5"/>
                  </a:cubicBezTo>
                  <a:cubicBezTo>
                    <a:pt x="20" y="5"/>
                    <a:pt x="13" y="4"/>
                    <a:pt x="13" y="6"/>
                  </a:cubicBezTo>
                  <a:cubicBezTo>
                    <a:pt x="13" y="8"/>
                    <a:pt x="7" y="12"/>
                    <a:pt x="11" y="1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79" name="Freeform 767">
              <a:extLst>
                <a:ext uri="{FF2B5EF4-FFF2-40B4-BE49-F238E27FC236}">
                  <a16:creationId xmlns:a16="http://schemas.microsoft.com/office/drawing/2014/main" id="{B17D7E1E-BBC4-344A-81F0-90085647F491}"/>
                </a:ext>
              </a:extLst>
            </p:cNvPr>
            <p:cNvSpPr>
              <a:spLocks/>
            </p:cNvSpPr>
            <p:nvPr/>
          </p:nvSpPr>
          <p:spPr bwMode="auto">
            <a:xfrm>
              <a:off x="6805634" y="2365832"/>
              <a:ext cx="73025" cy="84138"/>
            </a:xfrm>
            <a:custGeom>
              <a:avLst/>
              <a:gdLst>
                <a:gd name="T0" fmla="*/ 5 w 77"/>
                <a:gd name="T1" fmla="*/ 72 h 89"/>
                <a:gd name="T2" fmla="*/ 18 w 77"/>
                <a:gd name="T3" fmla="*/ 61 h 89"/>
                <a:gd name="T4" fmla="*/ 32 w 77"/>
                <a:gd name="T5" fmla="*/ 43 h 89"/>
                <a:gd name="T6" fmla="*/ 43 w 77"/>
                <a:gd name="T7" fmla="*/ 33 h 89"/>
                <a:gd name="T8" fmla="*/ 47 w 77"/>
                <a:gd name="T9" fmla="*/ 27 h 89"/>
                <a:gd name="T10" fmla="*/ 51 w 77"/>
                <a:gd name="T11" fmla="*/ 19 h 89"/>
                <a:gd name="T12" fmla="*/ 50 w 77"/>
                <a:gd name="T13" fmla="*/ 10 h 89"/>
                <a:gd name="T14" fmla="*/ 56 w 77"/>
                <a:gd name="T15" fmla="*/ 5 h 89"/>
                <a:gd name="T16" fmla="*/ 60 w 77"/>
                <a:gd name="T17" fmla="*/ 18 h 89"/>
                <a:gd name="T18" fmla="*/ 71 w 77"/>
                <a:gd name="T19" fmla="*/ 22 h 89"/>
                <a:gd name="T20" fmla="*/ 61 w 77"/>
                <a:gd name="T21" fmla="*/ 26 h 89"/>
                <a:gd name="T22" fmla="*/ 53 w 77"/>
                <a:gd name="T23" fmla="*/ 33 h 89"/>
                <a:gd name="T24" fmla="*/ 47 w 77"/>
                <a:gd name="T25" fmla="*/ 40 h 89"/>
                <a:gd name="T26" fmla="*/ 40 w 77"/>
                <a:gd name="T27" fmla="*/ 47 h 89"/>
                <a:gd name="T28" fmla="*/ 35 w 77"/>
                <a:gd name="T29" fmla="*/ 58 h 89"/>
                <a:gd name="T30" fmla="*/ 26 w 77"/>
                <a:gd name="T31" fmla="*/ 65 h 89"/>
                <a:gd name="T32" fmla="*/ 18 w 77"/>
                <a:gd name="T33" fmla="*/ 72 h 89"/>
                <a:gd name="T34" fmla="*/ 13 w 77"/>
                <a:gd name="T35" fmla="*/ 80 h 89"/>
                <a:gd name="T36" fmla="*/ 5 w 77"/>
                <a:gd name="T37" fmla="*/ 83 h 89"/>
                <a:gd name="T38" fmla="*/ 5 w 77"/>
                <a:gd name="T39" fmla="*/ 7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7" h="89">
                  <a:moveTo>
                    <a:pt x="5" y="72"/>
                  </a:moveTo>
                  <a:cubicBezTo>
                    <a:pt x="12" y="64"/>
                    <a:pt x="6" y="73"/>
                    <a:pt x="18" y="61"/>
                  </a:cubicBezTo>
                  <a:cubicBezTo>
                    <a:pt x="31" y="48"/>
                    <a:pt x="28" y="49"/>
                    <a:pt x="32" y="43"/>
                  </a:cubicBezTo>
                  <a:cubicBezTo>
                    <a:pt x="37" y="38"/>
                    <a:pt x="40" y="36"/>
                    <a:pt x="43" y="33"/>
                  </a:cubicBezTo>
                  <a:cubicBezTo>
                    <a:pt x="46" y="31"/>
                    <a:pt x="44" y="30"/>
                    <a:pt x="47" y="27"/>
                  </a:cubicBezTo>
                  <a:cubicBezTo>
                    <a:pt x="50" y="25"/>
                    <a:pt x="53" y="23"/>
                    <a:pt x="51" y="19"/>
                  </a:cubicBezTo>
                  <a:cubicBezTo>
                    <a:pt x="50" y="15"/>
                    <a:pt x="45" y="14"/>
                    <a:pt x="50" y="10"/>
                  </a:cubicBezTo>
                  <a:cubicBezTo>
                    <a:pt x="54" y="5"/>
                    <a:pt x="56" y="0"/>
                    <a:pt x="56" y="5"/>
                  </a:cubicBezTo>
                  <a:cubicBezTo>
                    <a:pt x="56" y="11"/>
                    <a:pt x="56" y="16"/>
                    <a:pt x="60" y="18"/>
                  </a:cubicBezTo>
                  <a:cubicBezTo>
                    <a:pt x="64" y="20"/>
                    <a:pt x="77" y="20"/>
                    <a:pt x="71" y="22"/>
                  </a:cubicBezTo>
                  <a:cubicBezTo>
                    <a:pt x="66" y="24"/>
                    <a:pt x="64" y="23"/>
                    <a:pt x="61" y="26"/>
                  </a:cubicBezTo>
                  <a:cubicBezTo>
                    <a:pt x="58" y="30"/>
                    <a:pt x="54" y="29"/>
                    <a:pt x="53" y="33"/>
                  </a:cubicBezTo>
                  <a:cubicBezTo>
                    <a:pt x="52" y="37"/>
                    <a:pt x="48" y="37"/>
                    <a:pt x="47" y="40"/>
                  </a:cubicBezTo>
                  <a:cubicBezTo>
                    <a:pt x="45" y="43"/>
                    <a:pt x="40" y="42"/>
                    <a:pt x="40" y="47"/>
                  </a:cubicBezTo>
                  <a:cubicBezTo>
                    <a:pt x="41" y="53"/>
                    <a:pt x="37" y="54"/>
                    <a:pt x="35" y="58"/>
                  </a:cubicBezTo>
                  <a:cubicBezTo>
                    <a:pt x="33" y="61"/>
                    <a:pt x="30" y="61"/>
                    <a:pt x="26" y="65"/>
                  </a:cubicBezTo>
                  <a:cubicBezTo>
                    <a:pt x="23" y="68"/>
                    <a:pt x="20" y="68"/>
                    <a:pt x="18" y="72"/>
                  </a:cubicBezTo>
                  <a:cubicBezTo>
                    <a:pt x="16" y="76"/>
                    <a:pt x="16" y="76"/>
                    <a:pt x="13" y="80"/>
                  </a:cubicBezTo>
                  <a:cubicBezTo>
                    <a:pt x="10" y="85"/>
                    <a:pt x="4" y="89"/>
                    <a:pt x="5" y="83"/>
                  </a:cubicBezTo>
                  <a:cubicBezTo>
                    <a:pt x="5" y="78"/>
                    <a:pt x="0" y="72"/>
                    <a:pt x="5" y="72"/>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80" name="Freeform 768">
              <a:extLst>
                <a:ext uri="{FF2B5EF4-FFF2-40B4-BE49-F238E27FC236}">
                  <a16:creationId xmlns:a16="http://schemas.microsoft.com/office/drawing/2014/main" id="{8A95DF8A-7248-C143-8AAB-9643E5BED019}"/>
                </a:ext>
              </a:extLst>
            </p:cNvPr>
            <p:cNvSpPr>
              <a:spLocks/>
            </p:cNvSpPr>
            <p:nvPr/>
          </p:nvSpPr>
          <p:spPr bwMode="auto">
            <a:xfrm>
              <a:off x="6870722" y="2303920"/>
              <a:ext cx="34925" cy="39688"/>
            </a:xfrm>
            <a:custGeom>
              <a:avLst/>
              <a:gdLst>
                <a:gd name="T0" fmla="*/ 2 w 36"/>
                <a:gd name="T1" fmla="*/ 5 h 41"/>
                <a:gd name="T2" fmla="*/ 12 w 36"/>
                <a:gd name="T3" fmla="*/ 18 h 41"/>
                <a:gd name="T4" fmla="*/ 18 w 36"/>
                <a:gd name="T5" fmla="*/ 27 h 41"/>
                <a:gd name="T6" fmla="*/ 27 w 36"/>
                <a:gd name="T7" fmla="*/ 36 h 41"/>
                <a:gd name="T8" fmla="*/ 33 w 36"/>
                <a:gd name="T9" fmla="*/ 35 h 41"/>
                <a:gd name="T10" fmla="*/ 33 w 36"/>
                <a:gd name="T11" fmla="*/ 18 h 41"/>
                <a:gd name="T12" fmla="*/ 27 w 36"/>
                <a:gd name="T13" fmla="*/ 7 h 41"/>
                <a:gd name="T14" fmla="*/ 15 w 36"/>
                <a:gd name="T15" fmla="*/ 2 h 41"/>
                <a:gd name="T16" fmla="*/ 2 w 36"/>
                <a:gd name="T17"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1">
                  <a:moveTo>
                    <a:pt x="2" y="5"/>
                  </a:moveTo>
                  <a:cubicBezTo>
                    <a:pt x="6" y="11"/>
                    <a:pt x="12" y="14"/>
                    <a:pt x="12" y="18"/>
                  </a:cubicBezTo>
                  <a:cubicBezTo>
                    <a:pt x="12" y="22"/>
                    <a:pt x="15" y="21"/>
                    <a:pt x="18" y="27"/>
                  </a:cubicBezTo>
                  <a:cubicBezTo>
                    <a:pt x="21" y="33"/>
                    <a:pt x="25" y="32"/>
                    <a:pt x="27" y="36"/>
                  </a:cubicBezTo>
                  <a:cubicBezTo>
                    <a:pt x="30" y="41"/>
                    <a:pt x="32" y="39"/>
                    <a:pt x="33" y="35"/>
                  </a:cubicBezTo>
                  <a:cubicBezTo>
                    <a:pt x="35" y="30"/>
                    <a:pt x="36" y="23"/>
                    <a:pt x="33" y="18"/>
                  </a:cubicBezTo>
                  <a:cubicBezTo>
                    <a:pt x="31" y="14"/>
                    <a:pt x="30" y="8"/>
                    <a:pt x="27" y="7"/>
                  </a:cubicBezTo>
                  <a:cubicBezTo>
                    <a:pt x="24" y="5"/>
                    <a:pt x="18" y="2"/>
                    <a:pt x="15" y="2"/>
                  </a:cubicBezTo>
                  <a:cubicBezTo>
                    <a:pt x="12" y="2"/>
                    <a:pt x="0" y="0"/>
                    <a:pt x="2" y="5"/>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81" name="Freeform 769">
              <a:extLst>
                <a:ext uri="{FF2B5EF4-FFF2-40B4-BE49-F238E27FC236}">
                  <a16:creationId xmlns:a16="http://schemas.microsoft.com/office/drawing/2014/main" id="{D0CCC225-F1FC-3447-BEBC-0954A2537362}"/>
                </a:ext>
              </a:extLst>
            </p:cNvPr>
            <p:cNvSpPr>
              <a:spLocks/>
            </p:cNvSpPr>
            <p:nvPr/>
          </p:nvSpPr>
          <p:spPr bwMode="auto">
            <a:xfrm>
              <a:off x="6862784" y="2332495"/>
              <a:ext cx="17463" cy="23813"/>
            </a:xfrm>
            <a:custGeom>
              <a:avLst/>
              <a:gdLst>
                <a:gd name="T0" fmla="*/ 1 w 18"/>
                <a:gd name="T1" fmla="*/ 6 h 24"/>
                <a:gd name="T2" fmla="*/ 3 w 18"/>
                <a:gd name="T3" fmla="*/ 12 h 24"/>
                <a:gd name="T4" fmla="*/ 5 w 18"/>
                <a:gd name="T5" fmla="*/ 17 h 24"/>
                <a:gd name="T6" fmla="*/ 11 w 18"/>
                <a:gd name="T7" fmla="*/ 14 h 24"/>
                <a:gd name="T8" fmla="*/ 17 w 18"/>
                <a:gd name="T9" fmla="*/ 19 h 24"/>
                <a:gd name="T10" fmla="*/ 15 w 18"/>
                <a:gd name="T11" fmla="*/ 10 h 24"/>
                <a:gd name="T12" fmla="*/ 7 w 18"/>
                <a:gd name="T13" fmla="*/ 6 h 24"/>
                <a:gd name="T14" fmla="*/ 1 w 18"/>
                <a:gd name="T15" fmla="*/ 6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4">
                  <a:moveTo>
                    <a:pt x="1" y="6"/>
                  </a:moveTo>
                  <a:cubicBezTo>
                    <a:pt x="2" y="10"/>
                    <a:pt x="2" y="12"/>
                    <a:pt x="3" y="12"/>
                  </a:cubicBezTo>
                  <a:cubicBezTo>
                    <a:pt x="5" y="13"/>
                    <a:pt x="3" y="15"/>
                    <a:pt x="5" y="17"/>
                  </a:cubicBezTo>
                  <a:cubicBezTo>
                    <a:pt x="7" y="20"/>
                    <a:pt x="10" y="14"/>
                    <a:pt x="11" y="14"/>
                  </a:cubicBezTo>
                  <a:cubicBezTo>
                    <a:pt x="12" y="14"/>
                    <a:pt x="15" y="24"/>
                    <a:pt x="17" y="19"/>
                  </a:cubicBezTo>
                  <a:cubicBezTo>
                    <a:pt x="18" y="14"/>
                    <a:pt x="17" y="12"/>
                    <a:pt x="15" y="10"/>
                  </a:cubicBezTo>
                  <a:cubicBezTo>
                    <a:pt x="14" y="8"/>
                    <a:pt x="10" y="6"/>
                    <a:pt x="7" y="6"/>
                  </a:cubicBezTo>
                  <a:cubicBezTo>
                    <a:pt x="7" y="6"/>
                    <a:pt x="0" y="0"/>
                    <a:pt x="1" y="6"/>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82" name="Freeform 770">
              <a:extLst>
                <a:ext uri="{FF2B5EF4-FFF2-40B4-BE49-F238E27FC236}">
                  <a16:creationId xmlns:a16="http://schemas.microsoft.com/office/drawing/2014/main" id="{2F20D6CE-E3FB-C646-9C3A-6162509AA378}"/>
                </a:ext>
              </a:extLst>
            </p:cNvPr>
            <p:cNvSpPr>
              <a:spLocks/>
            </p:cNvSpPr>
            <p:nvPr/>
          </p:nvSpPr>
          <p:spPr bwMode="auto">
            <a:xfrm>
              <a:off x="6915172" y="2349957"/>
              <a:ext cx="30163" cy="41275"/>
            </a:xfrm>
            <a:custGeom>
              <a:avLst/>
              <a:gdLst>
                <a:gd name="T0" fmla="*/ 0 w 32"/>
                <a:gd name="T1" fmla="*/ 1 h 44"/>
                <a:gd name="T2" fmla="*/ 4 w 32"/>
                <a:gd name="T3" fmla="*/ 12 h 44"/>
                <a:gd name="T4" fmla="*/ 4 w 32"/>
                <a:gd name="T5" fmla="*/ 29 h 44"/>
                <a:gd name="T6" fmla="*/ 4 w 32"/>
                <a:gd name="T7" fmla="*/ 38 h 44"/>
                <a:gd name="T8" fmla="*/ 12 w 32"/>
                <a:gd name="T9" fmla="*/ 38 h 44"/>
                <a:gd name="T10" fmla="*/ 17 w 32"/>
                <a:gd name="T11" fmla="*/ 34 h 44"/>
                <a:gd name="T12" fmla="*/ 18 w 32"/>
                <a:gd name="T13" fmla="*/ 41 h 44"/>
                <a:gd name="T14" fmla="*/ 26 w 32"/>
                <a:gd name="T15" fmla="*/ 35 h 44"/>
                <a:gd name="T16" fmla="*/ 25 w 32"/>
                <a:gd name="T17" fmla="*/ 28 h 44"/>
                <a:gd name="T18" fmla="*/ 32 w 32"/>
                <a:gd name="T19" fmla="*/ 21 h 44"/>
                <a:gd name="T20" fmla="*/ 27 w 32"/>
                <a:gd name="T21" fmla="*/ 11 h 44"/>
                <a:gd name="T22" fmla="*/ 18 w 32"/>
                <a:gd name="T23" fmla="*/ 9 h 44"/>
                <a:gd name="T24" fmla="*/ 6 w 32"/>
                <a:gd name="T25" fmla="*/ 1 h 44"/>
                <a:gd name="T26" fmla="*/ 0 w 32"/>
                <a:gd name="T27" fmla="*/ 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44">
                  <a:moveTo>
                    <a:pt x="0" y="1"/>
                  </a:moveTo>
                  <a:cubicBezTo>
                    <a:pt x="1" y="6"/>
                    <a:pt x="5" y="5"/>
                    <a:pt x="4" y="12"/>
                  </a:cubicBezTo>
                  <a:cubicBezTo>
                    <a:pt x="3" y="18"/>
                    <a:pt x="7" y="27"/>
                    <a:pt x="4" y="29"/>
                  </a:cubicBezTo>
                  <a:cubicBezTo>
                    <a:pt x="2" y="32"/>
                    <a:pt x="2" y="35"/>
                    <a:pt x="4" y="38"/>
                  </a:cubicBezTo>
                  <a:cubicBezTo>
                    <a:pt x="5" y="40"/>
                    <a:pt x="9" y="40"/>
                    <a:pt x="12" y="38"/>
                  </a:cubicBezTo>
                  <a:cubicBezTo>
                    <a:pt x="15" y="35"/>
                    <a:pt x="16" y="31"/>
                    <a:pt x="17" y="34"/>
                  </a:cubicBezTo>
                  <a:cubicBezTo>
                    <a:pt x="18" y="36"/>
                    <a:pt x="13" y="44"/>
                    <a:pt x="18" y="41"/>
                  </a:cubicBezTo>
                  <a:cubicBezTo>
                    <a:pt x="23" y="39"/>
                    <a:pt x="26" y="38"/>
                    <a:pt x="26" y="35"/>
                  </a:cubicBezTo>
                  <a:cubicBezTo>
                    <a:pt x="26" y="32"/>
                    <a:pt x="22" y="30"/>
                    <a:pt x="25" y="28"/>
                  </a:cubicBezTo>
                  <a:cubicBezTo>
                    <a:pt x="27" y="25"/>
                    <a:pt x="32" y="25"/>
                    <a:pt x="32" y="21"/>
                  </a:cubicBezTo>
                  <a:cubicBezTo>
                    <a:pt x="32" y="18"/>
                    <a:pt x="29" y="11"/>
                    <a:pt x="27" y="11"/>
                  </a:cubicBezTo>
                  <a:cubicBezTo>
                    <a:pt x="24" y="11"/>
                    <a:pt x="22" y="13"/>
                    <a:pt x="18" y="9"/>
                  </a:cubicBezTo>
                  <a:cubicBezTo>
                    <a:pt x="14" y="6"/>
                    <a:pt x="10" y="2"/>
                    <a:pt x="6" y="1"/>
                  </a:cubicBezTo>
                  <a:cubicBezTo>
                    <a:pt x="1" y="0"/>
                    <a:pt x="0" y="0"/>
                    <a:pt x="0" y="1"/>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83" name="Freeform 771">
              <a:extLst>
                <a:ext uri="{FF2B5EF4-FFF2-40B4-BE49-F238E27FC236}">
                  <a16:creationId xmlns:a16="http://schemas.microsoft.com/office/drawing/2014/main" id="{3A728CE6-AD7E-064A-9BD9-9F765A07F32A}"/>
                </a:ext>
              </a:extLst>
            </p:cNvPr>
            <p:cNvSpPr>
              <a:spLocks/>
            </p:cNvSpPr>
            <p:nvPr/>
          </p:nvSpPr>
          <p:spPr bwMode="auto">
            <a:xfrm>
              <a:off x="6931047" y="2373770"/>
              <a:ext cx="26988" cy="52388"/>
            </a:xfrm>
            <a:custGeom>
              <a:avLst/>
              <a:gdLst>
                <a:gd name="T0" fmla="*/ 14 w 28"/>
                <a:gd name="T1" fmla="*/ 3 h 55"/>
                <a:gd name="T2" fmla="*/ 14 w 28"/>
                <a:gd name="T3" fmla="*/ 11 h 55"/>
                <a:gd name="T4" fmla="*/ 10 w 28"/>
                <a:gd name="T5" fmla="*/ 19 h 55"/>
                <a:gd name="T6" fmla="*/ 10 w 28"/>
                <a:gd name="T7" fmla="*/ 26 h 55"/>
                <a:gd name="T8" fmla="*/ 2 w 28"/>
                <a:gd name="T9" fmla="*/ 32 h 55"/>
                <a:gd name="T10" fmla="*/ 8 w 28"/>
                <a:gd name="T11" fmla="*/ 44 h 55"/>
                <a:gd name="T12" fmla="*/ 14 w 28"/>
                <a:gd name="T13" fmla="*/ 52 h 55"/>
                <a:gd name="T14" fmla="*/ 20 w 28"/>
                <a:gd name="T15" fmla="*/ 55 h 55"/>
                <a:gd name="T16" fmla="*/ 25 w 28"/>
                <a:gd name="T17" fmla="*/ 47 h 55"/>
                <a:gd name="T18" fmla="*/ 21 w 28"/>
                <a:gd name="T19" fmla="*/ 41 h 55"/>
                <a:gd name="T20" fmla="*/ 19 w 28"/>
                <a:gd name="T21" fmla="*/ 29 h 55"/>
                <a:gd name="T22" fmla="*/ 22 w 28"/>
                <a:gd name="T23" fmla="*/ 18 h 55"/>
                <a:gd name="T24" fmla="*/ 25 w 28"/>
                <a:gd name="T25" fmla="*/ 10 h 55"/>
                <a:gd name="T26" fmla="*/ 26 w 28"/>
                <a:gd name="T27" fmla="*/ 2 h 55"/>
                <a:gd name="T28" fmla="*/ 14 w 28"/>
                <a:gd name="T29" fmla="*/ 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55">
                  <a:moveTo>
                    <a:pt x="14" y="3"/>
                  </a:moveTo>
                  <a:cubicBezTo>
                    <a:pt x="12" y="6"/>
                    <a:pt x="16" y="9"/>
                    <a:pt x="14" y="11"/>
                  </a:cubicBezTo>
                  <a:cubicBezTo>
                    <a:pt x="11" y="14"/>
                    <a:pt x="9" y="17"/>
                    <a:pt x="10" y="19"/>
                  </a:cubicBezTo>
                  <a:cubicBezTo>
                    <a:pt x="12" y="21"/>
                    <a:pt x="13" y="23"/>
                    <a:pt x="10" y="26"/>
                  </a:cubicBezTo>
                  <a:cubicBezTo>
                    <a:pt x="7" y="28"/>
                    <a:pt x="0" y="28"/>
                    <a:pt x="2" y="32"/>
                  </a:cubicBezTo>
                  <a:cubicBezTo>
                    <a:pt x="4" y="37"/>
                    <a:pt x="6" y="41"/>
                    <a:pt x="8" y="44"/>
                  </a:cubicBezTo>
                  <a:cubicBezTo>
                    <a:pt x="10" y="47"/>
                    <a:pt x="15" y="49"/>
                    <a:pt x="14" y="52"/>
                  </a:cubicBezTo>
                  <a:cubicBezTo>
                    <a:pt x="14" y="54"/>
                    <a:pt x="17" y="55"/>
                    <a:pt x="20" y="55"/>
                  </a:cubicBezTo>
                  <a:cubicBezTo>
                    <a:pt x="23" y="55"/>
                    <a:pt x="26" y="51"/>
                    <a:pt x="25" y="47"/>
                  </a:cubicBezTo>
                  <a:cubicBezTo>
                    <a:pt x="23" y="43"/>
                    <a:pt x="21" y="47"/>
                    <a:pt x="21" y="41"/>
                  </a:cubicBezTo>
                  <a:cubicBezTo>
                    <a:pt x="20" y="35"/>
                    <a:pt x="18" y="34"/>
                    <a:pt x="19" y="29"/>
                  </a:cubicBezTo>
                  <a:cubicBezTo>
                    <a:pt x="20" y="24"/>
                    <a:pt x="20" y="22"/>
                    <a:pt x="22" y="18"/>
                  </a:cubicBezTo>
                  <a:cubicBezTo>
                    <a:pt x="24" y="14"/>
                    <a:pt x="23" y="12"/>
                    <a:pt x="25" y="10"/>
                  </a:cubicBezTo>
                  <a:cubicBezTo>
                    <a:pt x="26" y="8"/>
                    <a:pt x="28" y="4"/>
                    <a:pt x="26" y="2"/>
                  </a:cubicBezTo>
                  <a:cubicBezTo>
                    <a:pt x="24" y="0"/>
                    <a:pt x="14" y="0"/>
                    <a:pt x="14" y="3"/>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84" name="Freeform 772">
              <a:extLst>
                <a:ext uri="{FF2B5EF4-FFF2-40B4-BE49-F238E27FC236}">
                  <a16:creationId xmlns:a16="http://schemas.microsoft.com/office/drawing/2014/main" id="{243BB7EF-9E40-0C47-9CFA-78DCE6774EF2}"/>
                </a:ext>
              </a:extLst>
            </p:cNvPr>
            <p:cNvSpPr>
              <a:spLocks/>
            </p:cNvSpPr>
            <p:nvPr/>
          </p:nvSpPr>
          <p:spPr bwMode="auto">
            <a:xfrm>
              <a:off x="6953272" y="2364245"/>
              <a:ext cx="17463" cy="52388"/>
            </a:xfrm>
            <a:custGeom>
              <a:avLst/>
              <a:gdLst>
                <a:gd name="T0" fmla="*/ 16 w 19"/>
                <a:gd name="T1" fmla="*/ 4 h 54"/>
                <a:gd name="T2" fmla="*/ 15 w 19"/>
                <a:gd name="T3" fmla="*/ 20 h 54"/>
                <a:gd name="T4" fmla="*/ 15 w 19"/>
                <a:gd name="T5" fmla="*/ 29 h 54"/>
                <a:gd name="T6" fmla="*/ 8 w 19"/>
                <a:gd name="T7" fmla="*/ 38 h 54"/>
                <a:gd name="T8" fmla="*/ 7 w 19"/>
                <a:gd name="T9" fmla="*/ 49 h 54"/>
                <a:gd name="T10" fmla="*/ 2 w 19"/>
                <a:gd name="T11" fmla="*/ 49 h 54"/>
                <a:gd name="T12" fmla="*/ 2 w 19"/>
                <a:gd name="T13" fmla="*/ 38 h 54"/>
                <a:gd name="T14" fmla="*/ 5 w 19"/>
                <a:gd name="T15" fmla="*/ 28 h 54"/>
                <a:gd name="T16" fmla="*/ 11 w 19"/>
                <a:gd name="T17" fmla="*/ 18 h 54"/>
                <a:gd name="T18" fmla="*/ 12 w 19"/>
                <a:gd name="T19" fmla="*/ 8 h 54"/>
                <a:gd name="T20" fmla="*/ 16 w 19"/>
                <a:gd name="T21" fmla="*/ 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54">
                  <a:moveTo>
                    <a:pt x="16" y="4"/>
                  </a:moveTo>
                  <a:cubicBezTo>
                    <a:pt x="15" y="9"/>
                    <a:pt x="15" y="17"/>
                    <a:pt x="15" y="20"/>
                  </a:cubicBezTo>
                  <a:cubicBezTo>
                    <a:pt x="15" y="24"/>
                    <a:pt x="19" y="25"/>
                    <a:pt x="15" y="29"/>
                  </a:cubicBezTo>
                  <a:cubicBezTo>
                    <a:pt x="12" y="33"/>
                    <a:pt x="8" y="34"/>
                    <a:pt x="8" y="38"/>
                  </a:cubicBezTo>
                  <a:cubicBezTo>
                    <a:pt x="8" y="41"/>
                    <a:pt x="7" y="47"/>
                    <a:pt x="7" y="49"/>
                  </a:cubicBezTo>
                  <a:cubicBezTo>
                    <a:pt x="6" y="52"/>
                    <a:pt x="3" y="54"/>
                    <a:pt x="2" y="49"/>
                  </a:cubicBezTo>
                  <a:cubicBezTo>
                    <a:pt x="2" y="45"/>
                    <a:pt x="0" y="42"/>
                    <a:pt x="2" y="38"/>
                  </a:cubicBezTo>
                  <a:cubicBezTo>
                    <a:pt x="5" y="34"/>
                    <a:pt x="3" y="34"/>
                    <a:pt x="5" y="28"/>
                  </a:cubicBezTo>
                  <a:cubicBezTo>
                    <a:pt x="8" y="22"/>
                    <a:pt x="11" y="22"/>
                    <a:pt x="11" y="18"/>
                  </a:cubicBezTo>
                  <a:cubicBezTo>
                    <a:pt x="11" y="14"/>
                    <a:pt x="11" y="11"/>
                    <a:pt x="12" y="8"/>
                  </a:cubicBezTo>
                  <a:cubicBezTo>
                    <a:pt x="12" y="4"/>
                    <a:pt x="17" y="0"/>
                    <a:pt x="16" y="4"/>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85" name="Freeform 773">
              <a:extLst>
                <a:ext uri="{FF2B5EF4-FFF2-40B4-BE49-F238E27FC236}">
                  <a16:creationId xmlns:a16="http://schemas.microsoft.com/office/drawing/2014/main" id="{03A2FB39-BEDF-AB49-B131-2E21D8C577E7}"/>
                </a:ext>
              </a:extLst>
            </p:cNvPr>
            <p:cNvSpPr>
              <a:spLocks/>
            </p:cNvSpPr>
            <p:nvPr/>
          </p:nvSpPr>
          <p:spPr bwMode="auto">
            <a:xfrm>
              <a:off x="6961210" y="2394407"/>
              <a:ext cx="23813" cy="19050"/>
            </a:xfrm>
            <a:custGeom>
              <a:avLst/>
              <a:gdLst>
                <a:gd name="T0" fmla="*/ 10 w 25"/>
                <a:gd name="T1" fmla="*/ 4 h 20"/>
                <a:gd name="T2" fmla="*/ 5 w 25"/>
                <a:gd name="T3" fmla="*/ 11 h 20"/>
                <a:gd name="T4" fmla="*/ 5 w 25"/>
                <a:gd name="T5" fmla="*/ 17 h 20"/>
                <a:gd name="T6" fmla="*/ 14 w 25"/>
                <a:gd name="T7" fmla="*/ 17 h 20"/>
                <a:gd name="T8" fmla="*/ 24 w 25"/>
                <a:gd name="T9" fmla="*/ 13 h 20"/>
                <a:gd name="T10" fmla="*/ 22 w 25"/>
                <a:gd name="T11" fmla="*/ 6 h 20"/>
                <a:gd name="T12" fmla="*/ 14 w 25"/>
                <a:gd name="T13" fmla="*/ 2 h 20"/>
                <a:gd name="T14" fmla="*/ 10 w 25"/>
                <a:gd name="T15" fmla="*/ 4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0">
                  <a:moveTo>
                    <a:pt x="10" y="4"/>
                  </a:moveTo>
                  <a:cubicBezTo>
                    <a:pt x="9" y="6"/>
                    <a:pt x="6" y="7"/>
                    <a:pt x="5" y="11"/>
                  </a:cubicBezTo>
                  <a:cubicBezTo>
                    <a:pt x="4" y="14"/>
                    <a:pt x="0" y="18"/>
                    <a:pt x="5" y="17"/>
                  </a:cubicBezTo>
                  <a:cubicBezTo>
                    <a:pt x="10" y="17"/>
                    <a:pt x="11" y="20"/>
                    <a:pt x="14" y="17"/>
                  </a:cubicBezTo>
                  <a:cubicBezTo>
                    <a:pt x="17" y="15"/>
                    <a:pt x="23" y="17"/>
                    <a:pt x="24" y="13"/>
                  </a:cubicBezTo>
                  <a:cubicBezTo>
                    <a:pt x="25" y="10"/>
                    <a:pt x="23" y="10"/>
                    <a:pt x="22" y="6"/>
                  </a:cubicBezTo>
                  <a:cubicBezTo>
                    <a:pt x="21" y="2"/>
                    <a:pt x="20" y="2"/>
                    <a:pt x="14" y="2"/>
                  </a:cubicBezTo>
                  <a:cubicBezTo>
                    <a:pt x="9" y="2"/>
                    <a:pt x="10" y="0"/>
                    <a:pt x="10" y="4"/>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86" name="Freeform 774">
              <a:extLst>
                <a:ext uri="{FF2B5EF4-FFF2-40B4-BE49-F238E27FC236}">
                  <a16:creationId xmlns:a16="http://schemas.microsoft.com/office/drawing/2014/main" id="{2FF28747-D7F7-9C45-A970-166EAFF30D39}"/>
                </a:ext>
              </a:extLst>
            </p:cNvPr>
            <p:cNvSpPr>
              <a:spLocks/>
            </p:cNvSpPr>
            <p:nvPr/>
          </p:nvSpPr>
          <p:spPr bwMode="auto">
            <a:xfrm>
              <a:off x="6964385" y="2332495"/>
              <a:ext cx="47625" cy="71438"/>
            </a:xfrm>
            <a:custGeom>
              <a:avLst/>
              <a:gdLst>
                <a:gd name="T0" fmla="*/ 4 w 49"/>
                <a:gd name="T1" fmla="*/ 1 h 75"/>
                <a:gd name="T2" fmla="*/ 23 w 49"/>
                <a:gd name="T3" fmla="*/ 1 h 75"/>
                <a:gd name="T4" fmla="*/ 29 w 49"/>
                <a:gd name="T5" fmla="*/ 4 h 75"/>
                <a:gd name="T6" fmla="*/ 35 w 49"/>
                <a:gd name="T7" fmla="*/ 11 h 75"/>
                <a:gd name="T8" fmla="*/ 36 w 49"/>
                <a:gd name="T9" fmla="*/ 24 h 75"/>
                <a:gd name="T10" fmla="*/ 40 w 49"/>
                <a:gd name="T11" fmla="*/ 32 h 75"/>
                <a:gd name="T12" fmla="*/ 46 w 49"/>
                <a:gd name="T13" fmla="*/ 41 h 75"/>
                <a:gd name="T14" fmla="*/ 39 w 49"/>
                <a:gd name="T15" fmla="*/ 41 h 75"/>
                <a:gd name="T16" fmla="*/ 31 w 49"/>
                <a:gd name="T17" fmla="*/ 41 h 75"/>
                <a:gd name="T18" fmla="*/ 26 w 49"/>
                <a:gd name="T19" fmla="*/ 39 h 75"/>
                <a:gd name="T20" fmla="*/ 27 w 49"/>
                <a:gd name="T21" fmla="*/ 45 h 75"/>
                <a:gd name="T22" fmla="*/ 31 w 49"/>
                <a:gd name="T23" fmla="*/ 57 h 75"/>
                <a:gd name="T24" fmla="*/ 35 w 49"/>
                <a:gd name="T25" fmla="*/ 63 h 75"/>
                <a:gd name="T26" fmla="*/ 30 w 49"/>
                <a:gd name="T27" fmla="*/ 67 h 75"/>
                <a:gd name="T28" fmla="*/ 27 w 49"/>
                <a:gd name="T29" fmla="*/ 72 h 75"/>
                <a:gd name="T30" fmla="*/ 23 w 49"/>
                <a:gd name="T31" fmla="*/ 61 h 75"/>
                <a:gd name="T32" fmla="*/ 19 w 49"/>
                <a:gd name="T33" fmla="*/ 49 h 75"/>
                <a:gd name="T34" fmla="*/ 13 w 49"/>
                <a:gd name="T35" fmla="*/ 46 h 75"/>
                <a:gd name="T36" fmla="*/ 8 w 49"/>
                <a:gd name="T37" fmla="*/ 37 h 75"/>
                <a:gd name="T38" fmla="*/ 8 w 49"/>
                <a:gd name="T39" fmla="*/ 28 h 75"/>
                <a:gd name="T40" fmla="*/ 13 w 49"/>
                <a:gd name="T41" fmla="*/ 24 h 75"/>
                <a:gd name="T42" fmla="*/ 14 w 49"/>
                <a:gd name="T43" fmla="*/ 31 h 75"/>
                <a:gd name="T44" fmla="*/ 18 w 49"/>
                <a:gd name="T45" fmla="*/ 34 h 75"/>
                <a:gd name="T46" fmla="*/ 21 w 49"/>
                <a:gd name="T47" fmla="*/ 27 h 75"/>
                <a:gd name="T48" fmla="*/ 20 w 49"/>
                <a:gd name="T49" fmla="*/ 22 h 75"/>
                <a:gd name="T50" fmla="*/ 13 w 49"/>
                <a:gd name="T51" fmla="*/ 13 h 75"/>
                <a:gd name="T52" fmla="*/ 3 w 49"/>
                <a:gd name="T53" fmla="*/ 3 h 75"/>
                <a:gd name="T54" fmla="*/ 4 w 49"/>
                <a:gd name="T55" fmla="*/ 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 h="75">
                  <a:moveTo>
                    <a:pt x="4" y="1"/>
                  </a:moveTo>
                  <a:cubicBezTo>
                    <a:pt x="8" y="1"/>
                    <a:pt x="20" y="0"/>
                    <a:pt x="23" y="1"/>
                  </a:cubicBezTo>
                  <a:cubicBezTo>
                    <a:pt x="27" y="1"/>
                    <a:pt x="29" y="3"/>
                    <a:pt x="29" y="4"/>
                  </a:cubicBezTo>
                  <a:cubicBezTo>
                    <a:pt x="29" y="6"/>
                    <a:pt x="36" y="9"/>
                    <a:pt x="35" y="11"/>
                  </a:cubicBezTo>
                  <a:cubicBezTo>
                    <a:pt x="34" y="13"/>
                    <a:pt x="34" y="22"/>
                    <a:pt x="36" y="24"/>
                  </a:cubicBezTo>
                  <a:cubicBezTo>
                    <a:pt x="39" y="27"/>
                    <a:pt x="39" y="31"/>
                    <a:pt x="40" y="32"/>
                  </a:cubicBezTo>
                  <a:cubicBezTo>
                    <a:pt x="41" y="34"/>
                    <a:pt x="49" y="39"/>
                    <a:pt x="46" y="41"/>
                  </a:cubicBezTo>
                  <a:cubicBezTo>
                    <a:pt x="43" y="43"/>
                    <a:pt x="41" y="42"/>
                    <a:pt x="39" y="41"/>
                  </a:cubicBezTo>
                  <a:cubicBezTo>
                    <a:pt x="36" y="40"/>
                    <a:pt x="34" y="42"/>
                    <a:pt x="31" y="41"/>
                  </a:cubicBezTo>
                  <a:cubicBezTo>
                    <a:pt x="29" y="39"/>
                    <a:pt x="25" y="36"/>
                    <a:pt x="26" y="39"/>
                  </a:cubicBezTo>
                  <a:cubicBezTo>
                    <a:pt x="27" y="42"/>
                    <a:pt x="25" y="40"/>
                    <a:pt x="27" y="45"/>
                  </a:cubicBezTo>
                  <a:cubicBezTo>
                    <a:pt x="29" y="49"/>
                    <a:pt x="30" y="56"/>
                    <a:pt x="31" y="57"/>
                  </a:cubicBezTo>
                  <a:cubicBezTo>
                    <a:pt x="32" y="59"/>
                    <a:pt x="36" y="61"/>
                    <a:pt x="35" y="63"/>
                  </a:cubicBezTo>
                  <a:cubicBezTo>
                    <a:pt x="34" y="64"/>
                    <a:pt x="30" y="65"/>
                    <a:pt x="30" y="67"/>
                  </a:cubicBezTo>
                  <a:cubicBezTo>
                    <a:pt x="30" y="69"/>
                    <a:pt x="29" y="75"/>
                    <a:pt x="27" y="72"/>
                  </a:cubicBezTo>
                  <a:cubicBezTo>
                    <a:pt x="25" y="69"/>
                    <a:pt x="22" y="68"/>
                    <a:pt x="23" y="61"/>
                  </a:cubicBezTo>
                  <a:cubicBezTo>
                    <a:pt x="23" y="55"/>
                    <a:pt x="19" y="49"/>
                    <a:pt x="19" y="49"/>
                  </a:cubicBezTo>
                  <a:cubicBezTo>
                    <a:pt x="19" y="49"/>
                    <a:pt x="16" y="52"/>
                    <a:pt x="13" y="46"/>
                  </a:cubicBezTo>
                  <a:cubicBezTo>
                    <a:pt x="11" y="41"/>
                    <a:pt x="9" y="42"/>
                    <a:pt x="8" y="37"/>
                  </a:cubicBezTo>
                  <a:cubicBezTo>
                    <a:pt x="8" y="31"/>
                    <a:pt x="8" y="31"/>
                    <a:pt x="8" y="28"/>
                  </a:cubicBezTo>
                  <a:cubicBezTo>
                    <a:pt x="8" y="24"/>
                    <a:pt x="11" y="23"/>
                    <a:pt x="13" y="24"/>
                  </a:cubicBezTo>
                  <a:cubicBezTo>
                    <a:pt x="14" y="25"/>
                    <a:pt x="13" y="29"/>
                    <a:pt x="14" y="31"/>
                  </a:cubicBezTo>
                  <a:cubicBezTo>
                    <a:pt x="15" y="34"/>
                    <a:pt x="16" y="36"/>
                    <a:pt x="18" y="34"/>
                  </a:cubicBezTo>
                  <a:cubicBezTo>
                    <a:pt x="20" y="32"/>
                    <a:pt x="20" y="28"/>
                    <a:pt x="21" y="27"/>
                  </a:cubicBezTo>
                  <a:cubicBezTo>
                    <a:pt x="23" y="25"/>
                    <a:pt x="22" y="24"/>
                    <a:pt x="20" y="22"/>
                  </a:cubicBezTo>
                  <a:cubicBezTo>
                    <a:pt x="18" y="20"/>
                    <a:pt x="16" y="15"/>
                    <a:pt x="13" y="13"/>
                  </a:cubicBezTo>
                  <a:cubicBezTo>
                    <a:pt x="10" y="11"/>
                    <a:pt x="3" y="5"/>
                    <a:pt x="3" y="3"/>
                  </a:cubicBezTo>
                  <a:cubicBezTo>
                    <a:pt x="3" y="2"/>
                    <a:pt x="0" y="1"/>
                    <a:pt x="4" y="1"/>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87" name="Freeform 775">
              <a:extLst>
                <a:ext uri="{FF2B5EF4-FFF2-40B4-BE49-F238E27FC236}">
                  <a16:creationId xmlns:a16="http://schemas.microsoft.com/office/drawing/2014/main" id="{6A341035-51DA-3948-A99B-667EFE317C33}"/>
                </a:ext>
              </a:extLst>
            </p:cNvPr>
            <p:cNvSpPr>
              <a:spLocks/>
            </p:cNvSpPr>
            <p:nvPr/>
          </p:nvSpPr>
          <p:spPr bwMode="auto">
            <a:xfrm>
              <a:off x="6848497" y="2168982"/>
              <a:ext cx="115888" cy="185738"/>
            </a:xfrm>
            <a:custGeom>
              <a:avLst/>
              <a:gdLst>
                <a:gd name="T0" fmla="*/ 12 w 122"/>
                <a:gd name="T1" fmla="*/ 6 h 195"/>
                <a:gd name="T2" fmla="*/ 12 w 122"/>
                <a:gd name="T3" fmla="*/ 17 h 195"/>
                <a:gd name="T4" fmla="*/ 12 w 122"/>
                <a:gd name="T5" fmla="*/ 26 h 195"/>
                <a:gd name="T6" fmla="*/ 10 w 122"/>
                <a:gd name="T7" fmla="*/ 40 h 195"/>
                <a:gd name="T8" fmla="*/ 14 w 122"/>
                <a:gd name="T9" fmla="*/ 53 h 195"/>
                <a:gd name="T10" fmla="*/ 16 w 122"/>
                <a:gd name="T11" fmla="*/ 67 h 195"/>
                <a:gd name="T12" fmla="*/ 12 w 122"/>
                <a:gd name="T13" fmla="*/ 72 h 195"/>
                <a:gd name="T14" fmla="*/ 5 w 122"/>
                <a:gd name="T15" fmla="*/ 66 h 195"/>
                <a:gd name="T16" fmla="*/ 2 w 122"/>
                <a:gd name="T17" fmla="*/ 77 h 195"/>
                <a:gd name="T18" fmla="*/ 7 w 122"/>
                <a:gd name="T19" fmla="*/ 89 h 195"/>
                <a:gd name="T20" fmla="*/ 11 w 122"/>
                <a:gd name="T21" fmla="*/ 102 h 195"/>
                <a:gd name="T22" fmla="*/ 19 w 122"/>
                <a:gd name="T23" fmla="*/ 113 h 195"/>
                <a:gd name="T24" fmla="*/ 28 w 122"/>
                <a:gd name="T25" fmla="*/ 119 h 195"/>
                <a:gd name="T26" fmla="*/ 28 w 122"/>
                <a:gd name="T27" fmla="*/ 109 h 195"/>
                <a:gd name="T28" fmla="*/ 34 w 122"/>
                <a:gd name="T29" fmla="*/ 112 h 195"/>
                <a:gd name="T30" fmla="*/ 33 w 122"/>
                <a:gd name="T31" fmla="*/ 119 h 195"/>
                <a:gd name="T32" fmla="*/ 30 w 122"/>
                <a:gd name="T33" fmla="*/ 129 h 195"/>
                <a:gd name="T34" fmla="*/ 32 w 122"/>
                <a:gd name="T35" fmla="*/ 138 h 195"/>
                <a:gd name="T36" fmla="*/ 39 w 122"/>
                <a:gd name="T37" fmla="*/ 138 h 195"/>
                <a:gd name="T38" fmla="*/ 47 w 122"/>
                <a:gd name="T39" fmla="*/ 142 h 195"/>
                <a:gd name="T40" fmla="*/ 54 w 122"/>
                <a:gd name="T41" fmla="*/ 134 h 195"/>
                <a:gd name="T42" fmla="*/ 63 w 122"/>
                <a:gd name="T43" fmla="*/ 135 h 195"/>
                <a:gd name="T44" fmla="*/ 71 w 122"/>
                <a:gd name="T45" fmla="*/ 140 h 195"/>
                <a:gd name="T46" fmla="*/ 76 w 122"/>
                <a:gd name="T47" fmla="*/ 146 h 195"/>
                <a:gd name="T48" fmla="*/ 81 w 122"/>
                <a:gd name="T49" fmla="*/ 152 h 195"/>
                <a:gd name="T50" fmla="*/ 84 w 122"/>
                <a:gd name="T51" fmla="*/ 143 h 195"/>
                <a:gd name="T52" fmla="*/ 83 w 122"/>
                <a:gd name="T53" fmla="*/ 135 h 195"/>
                <a:gd name="T54" fmla="*/ 95 w 122"/>
                <a:gd name="T55" fmla="*/ 146 h 195"/>
                <a:gd name="T56" fmla="*/ 100 w 122"/>
                <a:gd name="T57" fmla="*/ 156 h 195"/>
                <a:gd name="T58" fmla="*/ 92 w 122"/>
                <a:gd name="T59" fmla="*/ 162 h 195"/>
                <a:gd name="T60" fmla="*/ 103 w 122"/>
                <a:gd name="T61" fmla="*/ 166 h 195"/>
                <a:gd name="T62" fmla="*/ 110 w 122"/>
                <a:gd name="T63" fmla="*/ 172 h 195"/>
                <a:gd name="T64" fmla="*/ 101 w 122"/>
                <a:gd name="T65" fmla="*/ 181 h 195"/>
                <a:gd name="T66" fmla="*/ 107 w 122"/>
                <a:gd name="T67" fmla="*/ 188 h 195"/>
                <a:gd name="T68" fmla="*/ 116 w 122"/>
                <a:gd name="T69" fmla="*/ 190 h 195"/>
                <a:gd name="T70" fmla="*/ 122 w 122"/>
                <a:gd name="T71" fmla="*/ 190 h 195"/>
                <a:gd name="T72" fmla="*/ 117 w 122"/>
                <a:gd name="T73" fmla="*/ 176 h 195"/>
                <a:gd name="T74" fmla="*/ 122 w 122"/>
                <a:gd name="T75" fmla="*/ 169 h 195"/>
                <a:gd name="T76" fmla="*/ 119 w 122"/>
                <a:gd name="T77" fmla="*/ 156 h 195"/>
                <a:gd name="T78" fmla="*/ 115 w 122"/>
                <a:gd name="T79" fmla="*/ 150 h 195"/>
                <a:gd name="T80" fmla="*/ 106 w 122"/>
                <a:gd name="T81" fmla="*/ 143 h 195"/>
                <a:gd name="T82" fmla="*/ 114 w 122"/>
                <a:gd name="T83" fmla="*/ 138 h 195"/>
                <a:gd name="T84" fmla="*/ 96 w 122"/>
                <a:gd name="T85" fmla="*/ 129 h 195"/>
                <a:gd name="T86" fmla="*/ 92 w 122"/>
                <a:gd name="T87" fmla="*/ 137 h 195"/>
                <a:gd name="T88" fmla="*/ 83 w 122"/>
                <a:gd name="T89" fmla="*/ 123 h 195"/>
                <a:gd name="T90" fmla="*/ 75 w 122"/>
                <a:gd name="T91" fmla="*/ 125 h 195"/>
                <a:gd name="T92" fmla="*/ 63 w 122"/>
                <a:gd name="T93" fmla="*/ 129 h 195"/>
                <a:gd name="T94" fmla="*/ 57 w 122"/>
                <a:gd name="T95" fmla="*/ 113 h 195"/>
                <a:gd name="T96" fmla="*/ 51 w 122"/>
                <a:gd name="T97" fmla="*/ 104 h 195"/>
                <a:gd name="T98" fmla="*/ 47 w 122"/>
                <a:gd name="T99" fmla="*/ 89 h 195"/>
                <a:gd name="T100" fmla="*/ 53 w 122"/>
                <a:gd name="T101" fmla="*/ 76 h 195"/>
                <a:gd name="T102" fmla="*/ 63 w 122"/>
                <a:gd name="T103" fmla="*/ 66 h 195"/>
                <a:gd name="T104" fmla="*/ 67 w 122"/>
                <a:gd name="T105" fmla="*/ 45 h 195"/>
                <a:gd name="T106" fmla="*/ 58 w 122"/>
                <a:gd name="T107" fmla="*/ 33 h 195"/>
                <a:gd name="T108" fmla="*/ 53 w 122"/>
                <a:gd name="T109" fmla="*/ 21 h 195"/>
                <a:gd name="T110" fmla="*/ 58 w 122"/>
                <a:gd name="T111" fmla="*/ 13 h 195"/>
                <a:gd name="T112" fmla="*/ 51 w 122"/>
                <a:gd name="T113" fmla="*/ 4 h 195"/>
                <a:gd name="T114" fmla="*/ 45 w 122"/>
                <a:gd name="T115" fmla="*/ 10 h 195"/>
                <a:gd name="T116" fmla="*/ 34 w 122"/>
                <a:gd name="T117" fmla="*/ 6 h 195"/>
                <a:gd name="T118" fmla="*/ 21 w 122"/>
                <a:gd name="T119" fmla="*/ 2 h 195"/>
                <a:gd name="T120" fmla="*/ 12 w 122"/>
                <a:gd name="T121" fmla="*/ 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2" h="195">
                  <a:moveTo>
                    <a:pt x="12" y="6"/>
                  </a:moveTo>
                  <a:cubicBezTo>
                    <a:pt x="11" y="9"/>
                    <a:pt x="12" y="16"/>
                    <a:pt x="12" y="17"/>
                  </a:cubicBezTo>
                  <a:cubicBezTo>
                    <a:pt x="11" y="19"/>
                    <a:pt x="11" y="21"/>
                    <a:pt x="12" y="26"/>
                  </a:cubicBezTo>
                  <a:cubicBezTo>
                    <a:pt x="13" y="31"/>
                    <a:pt x="7" y="36"/>
                    <a:pt x="10" y="40"/>
                  </a:cubicBezTo>
                  <a:cubicBezTo>
                    <a:pt x="12" y="44"/>
                    <a:pt x="14" y="49"/>
                    <a:pt x="14" y="53"/>
                  </a:cubicBezTo>
                  <a:cubicBezTo>
                    <a:pt x="14" y="58"/>
                    <a:pt x="15" y="63"/>
                    <a:pt x="16" y="67"/>
                  </a:cubicBezTo>
                  <a:cubicBezTo>
                    <a:pt x="16" y="71"/>
                    <a:pt x="18" y="74"/>
                    <a:pt x="12" y="72"/>
                  </a:cubicBezTo>
                  <a:cubicBezTo>
                    <a:pt x="7" y="71"/>
                    <a:pt x="8" y="61"/>
                    <a:pt x="5" y="66"/>
                  </a:cubicBezTo>
                  <a:cubicBezTo>
                    <a:pt x="2" y="70"/>
                    <a:pt x="0" y="72"/>
                    <a:pt x="2" y="77"/>
                  </a:cubicBezTo>
                  <a:cubicBezTo>
                    <a:pt x="4" y="81"/>
                    <a:pt x="7" y="88"/>
                    <a:pt x="7" y="89"/>
                  </a:cubicBezTo>
                  <a:cubicBezTo>
                    <a:pt x="7" y="90"/>
                    <a:pt x="8" y="96"/>
                    <a:pt x="11" y="102"/>
                  </a:cubicBezTo>
                  <a:cubicBezTo>
                    <a:pt x="14" y="107"/>
                    <a:pt x="16" y="110"/>
                    <a:pt x="19" y="113"/>
                  </a:cubicBezTo>
                  <a:cubicBezTo>
                    <a:pt x="21" y="116"/>
                    <a:pt x="26" y="120"/>
                    <a:pt x="28" y="119"/>
                  </a:cubicBezTo>
                  <a:cubicBezTo>
                    <a:pt x="30" y="119"/>
                    <a:pt x="27" y="112"/>
                    <a:pt x="28" y="109"/>
                  </a:cubicBezTo>
                  <a:cubicBezTo>
                    <a:pt x="29" y="106"/>
                    <a:pt x="33" y="110"/>
                    <a:pt x="34" y="112"/>
                  </a:cubicBezTo>
                  <a:cubicBezTo>
                    <a:pt x="36" y="114"/>
                    <a:pt x="36" y="115"/>
                    <a:pt x="33" y="119"/>
                  </a:cubicBezTo>
                  <a:cubicBezTo>
                    <a:pt x="30" y="124"/>
                    <a:pt x="30" y="125"/>
                    <a:pt x="30" y="129"/>
                  </a:cubicBezTo>
                  <a:cubicBezTo>
                    <a:pt x="30" y="132"/>
                    <a:pt x="28" y="137"/>
                    <a:pt x="32" y="138"/>
                  </a:cubicBezTo>
                  <a:cubicBezTo>
                    <a:pt x="37" y="138"/>
                    <a:pt x="37" y="133"/>
                    <a:pt x="39" y="138"/>
                  </a:cubicBezTo>
                  <a:cubicBezTo>
                    <a:pt x="42" y="142"/>
                    <a:pt x="42" y="142"/>
                    <a:pt x="47" y="142"/>
                  </a:cubicBezTo>
                  <a:cubicBezTo>
                    <a:pt x="51" y="142"/>
                    <a:pt x="49" y="136"/>
                    <a:pt x="54" y="134"/>
                  </a:cubicBezTo>
                  <a:cubicBezTo>
                    <a:pt x="58" y="133"/>
                    <a:pt x="60" y="133"/>
                    <a:pt x="63" y="135"/>
                  </a:cubicBezTo>
                  <a:cubicBezTo>
                    <a:pt x="65" y="137"/>
                    <a:pt x="66" y="135"/>
                    <a:pt x="71" y="140"/>
                  </a:cubicBezTo>
                  <a:cubicBezTo>
                    <a:pt x="76" y="145"/>
                    <a:pt x="74" y="142"/>
                    <a:pt x="76" y="146"/>
                  </a:cubicBezTo>
                  <a:cubicBezTo>
                    <a:pt x="79" y="151"/>
                    <a:pt x="78" y="154"/>
                    <a:pt x="81" y="152"/>
                  </a:cubicBezTo>
                  <a:cubicBezTo>
                    <a:pt x="85" y="150"/>
                    <a:pt x="86" y="148"/>
                    <a:pt x="84" y="143"/>
                  </a:cubicBezTo>
                  <a:cubicBezTo>
                    <a:pt x="82" y="137"/>
                    <a:pt x="78" y="132"/>
                    <a:pt x="83" y="135"/>
                  </a:cubicBezTo>
                  <a:cubicBezTo>
                    <a:pt x="87" y="138"/>
                    <a:pt x="92" y="143"/>
                    <a:pt x="95" y="146"/>
                  </a:cubicBezTo>
                  <a:cubicBezTo>
                    <a:pt x="98" y="150"/>
                    <a:pt x="100" y="156"/>
                    <a:pt x="100" y="156"/>
                  </a:cubicBezTo>
                  <a:cubicBezTo>
                    <a:pt x="100" y="156"/>
                    <a:pt x="88" y="159"/>
                    <a:pt x="92" y="162"/>
                  </a:cubicBezTo>
                  <a:cubicBezTo>
                    <a:pt x="96" y="165"/>
                    <a:pt x="103" y="171"/>
                    <a:pt x="103" y="166"/>
                  </a:cubicBezTo>
                  <a:cubicBezTo>
                    <a:pt x="102" y="161"/>
                    <a:pt x="115" y="171"/>
                    <a:pt x="110" y="172"/>
                  </a:cubicBezTo>
                  <a:cubicBezTo>
                    <a:pt x="105" y="174"/>
                    <a:pt x="100" y="177"/>
                    <a:pt x="101" y="181"/>
                  </a:cubicBezTo>
                  <a:cubicBezTo>
                    <a:pt x="102" y="185"/>
                    <a:pt x="105" y="190"/>
                    <a:pt x="107" y="188"/>
                  </a:cubicBezTo>
                  <a:cubicBezTo>
                    <a:pt x="109" y="185"/>
                    <a:pt x="114" y="188"/>
                    <a:pt x="116" y="190"/>
                  </a:cubicBezTo>
                  <a:cubicBezTo>
                    <a:pt x="118" y="192"/>
                    <a:pt x="122" y="195"/>
                    <a:pt x="122" y="190"/>
                  </a:cubicBezTo>
                  <a:cubicBezTo>
                    <a:pt x="122" y="185"/>
                    <a:pt x="115" y="181"/>
                    <a:pt x="117" y="176"/>
                  </a:cubicBezTo>
                  <a:cubicBezTo>
                    <a:pt x="118" y="171"/>
                    <a:pt x="121" y="175"/>
                    <a:pt x="122" y="169"/>
                  </a:cubicBezTo>
                  <a:cubicBezTo>
                    <a:pt x="122" y="162"/>
                    <a:pt x="119" y="160"/>
                    <a:pt x="119" y="156"/>
                  </a:cubicBezTo>
                  <a:cubicBezTo>
                    <a:pt x="119" y="152"/>
                    <a:pt x="117" y="150"/>
                    <a:pt x="115" y="150"/>
                  </a:cubicBezTo>
                  <a:cubicBezTo>
                    <a:pt x="114" y="150"/>
                    <a:pt x="102" y="145"/>
                    <a:pt x="106" y="143"/>
                  </a:cubicBezTo>
                  <a:cubicBezTo>
                    <a:pt x="110" y="141"/>
                    <a:pt x="118" y="142"/>
                    <a:pt x="114" y="138"/>
                  </a:cubicBezTo>
                  <a:cubicBezTo>
                    <a:pt x="110" y="135"/>
                    <a:pt x="96" y="129"/>
                    <a:pt x="96" y="129"/>
                  </a:cubicBezTo>
                  <a:cubicBezTo>
                    <a:pt x="96" y="129"/>
                    <a:pt x="93" y="140"/>
                    <a:pt x="92" y="137"/>
                  </a:cubicBezTo>
                  <a:cubicBezTo>
                    <a:pt x="92" y="134"/>
                    <a:pt x="87" y="122"/>
                    <a:pt x="83" y="123"/>
                  </a:cubicBezTo>
                  <a:cubicBezTo>
                    <a:pt x="78" y="123"/>
                    <a:pt x="76" y="122"/>
                    <a:pt x="75" y="125"/>
                  </a:cubicBezTo>
                  <a:cubicBezTo>
                    <a:pt x="74" y="129"/>
                    <a:pt x="68" y="134"/>
                    <a:pt x="63" y="129"/>
                  </a:cubicBezTo>
                  <a:cubicBezTo>
                    <a:pt x="57" y="124"/>
                    <a:pt x="58" y="119"/>
                    <a:pt x="57" y="113"/>
                  </a:cubicBezTo>
                  <a:cubicBezTo>
                    <a:pt x="56" y="108"/>
                    <a:pt x="54" y="109"/>
                    <a:pt x="51" y="104"/>
                  </a:cubicBezTo>
                  <a:cubicBezTo>
                    <a:pt x="47" y="98"/>
                    <a:pt x="45" y="99"/>
                    <a:pt x="47" y="89"/>
                  </a:cubicBezTo>
                  <a:cubicBezTo>
                    <a:pt x="49" y="80"/>
                    <a:pt x="49" y="80"/>
                    <a:pt x="53" y="76"/>
                  </a:cubicBezTo>
                  <a:cubicBezTo>
                    <a:pt x="57" y="72"/>
                    <a:pt x="60" y="78"/>
                    <a:pt x="63" y="66"/>
                  </a:cubicBezTo>
                  <a:cubicBezTo>
                    <a:pt x="66" y="53"/>
                    <a:pt x="70" y="50"/>
                    <a:pt x="67" y="45"/>
                  </a:cubicBezTo>
                  <a:cubicBezTo>
                    <a:pt x="63" y="41"/>
                    <a:pt x="62" y="37"/>
                    <a:pt x="58" y="33"/>
                  </a:cubicBezTo>
                  <a:cubicBezTo>
                    <a:pt x="54" y="30"/>
                    <a:pt x="54" y="25"/>
                    <a:pt x="53" y="21"/>
                  </a:cubicBezTo>
                  <a:cubicBezTo>
                    <a:pt x="52" y="17"/>
                    <a:pt x="58" y="18"/>
                    <a:pt x="58" y="13"/>
                  </a:cubicBezTo>
                  <a:cubicBezTo>
                    <a:pt x="58" y="8"/>
                    <a:pt x="52" y="0"/>
                    <a:pt x="51" y="4"/>
                  </a:cubicBezTo>
                  <a:cubicBezTo>
                    <a:pt x="50" y="8"/>
                    <a:pt x="51" y="12"/>
                    <a:pt x="45" y="10"/>
                  </a:cubicBezTo>
                  <a:cubicBezTo>
                    <a:pt x="40" y="9"/>
                    <a:pt x="39" y="8"/>
                    <a:pt x="34" y="6"/>
                  </a:cubicBezTo>
                  <a:cubicBezTo>
                    <a:pt x="29" y="4"/>
                    <a:pt x="26" y="1"/>
                    <a:pt x="21" y="2"/>
                  </a:cubicBezTo>
                  <a:cubicBezTo>
                    <a:pt x="16" y="3"/>
                    <a:pt x="9" y="2"/>
                    <a:pt x="12" y="6"/>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88" name="Freeform 776">
              <a:extLst>
                <a:ext uri="{FF2B5EF4-FFF2-40B4-BE49-F238E27FC236}">
                  <a16:creationId xmlns:a16="http://schemas.microsoft.com/office/drawing/2014/main" id="{F6345D8F-1C3E-7141-8D37-CE0C507F3C32}"/>
                </a:ext>
              </a:extLst>
            </p:cNvPr>
            <p:cNvSpPr>
              <a:spLocks/>
            </p:cNvSpPr>
            <p:nvPr/>
          </p:nvSpPr>
          <p:spPr bwMode="auto">
            <a:xfrm>
              <a:off x="6924697" y="2405520"/>
              <a:ext cx="111125" cy="115888"/>
            </a:xfrm>
            <a:custGeom>
              <a:avLst/>
              <a:gdLst>
                <a:gd name="T0" fmla="*/ 0 w 117"/>
                <a:gd name="T1" fmla="*/ 78 h 121"/>
                <a:gd name="T2" fmla="*/ 5 w 117"/>
                <a:gd name="T3" fmla="*/ 62 h 121"/>
                <a:gd name="T4" fmla="*/ 11 w 117"/>
                <a:gd name="T5" fmla="*/ 47 h 121"/>
                <a:gd name="T6" fmla="*/ 23 w 117"/>
                <a:gd name="T7" fmla="*/ 44 h 121"/>
                <a:gd name="T8" fmla="*/ 30 w 117"/>
                <a:gd name="T9" fmla="*/ 34 h 121"/>
                <a:gd name="T10" fmla="*/ 44 w 117"/>
                <a:gd name="T11" fmla="*/ 36 h 121"/>
                <a:gd name="T12" fmla="*/ 46 w 117"/>
                <a:gd name="T13" fmla="*/ 44 h 121"/>
                <a:gd name="T14" fmla="*/ 55 w 117"/>
                <a:gd name="T15" fmla="*/ 44 h 121"/>
                <a:gd name="T16" fmla="*/ 59 w 117"/>
                <a:gd name="T17" fmla="*/ 36 h 121"/>
                <a:gd name="T18" fmla="*/ 66 w 117"/>
                <a:gd name="T19" fmla="*/ 30 h 121"/>
                <a:gd name="T20" fmla="*/ 66 w 117"/>
                <a:gd name="T21" fmla="*/ 18 h 121"/>
                <a:gd name="T22" fmla="*/ 76 w 117"/>
                <a:gd name="T23" fmla="*/ 25 h 121"/>
                <a:gd name="T24" fmla="*/ 79 w 117"/>
                <a:gd name="T25" fmla="*/ 22 h 121"/>
                <a:gd name="T26" fmla="*/ 87 w 117"/>
                <a:gd name="T27" fmla="*/ 21 h 121"/>
                <a:gd name="T28" fmla="*/ 84 w 117"/>
                <a:gd name="T29" fmla="*/ 12 h 121"/>
                <a:gd name="T30" fmla="*/ 82 w 117"/>
                <a:gd name="T31" fmla="*/ 1 h 121"/>
                <a:gd name="T32" fmla="*/ 86 w 117"/>
                <a:gd name="T33" fmla="*/ 3 h 121"/>
                <a:gd name="T34" fmla="*/ 91 w 117"/>
                <a:gd name="T35" fmla="*/ 7 h 121"/>
                <a:gd name="T36" fmla="*/ 98 w 117"/>
                <a:gd name="T37" fmla="*/ 12 h 121"/>
                <a:gd name="T38" fmla="*/ 103 w 117"/>
                <a:gd name="T39" fmla="*/ 20 h 121"/>
                <a:gd name="T40" fmla="*/ 107 w 117"/>
                <a:gd name="T41" fmla="*/ 30 h 121"/>
                <a:gd name="T42" fmla="*/ 106 w 117"/>
                <a:gd name="T43" fmla="*/ 37 h 121"/>
                <a:gd name="T44" fmla="*/ 111 w 117"/>
                <a:gd name="T45" fmla="*/ 43 h 121"/>
                <a:gd name="T46" fmla="*/ 113 w 117"/>
                <a:gd name="T47" fmla="*/ 48 h 121"/>
                <a:gd name="T48" fmla="*/ 112 w 117"/>
                <a:gd name="T49" fmla="*/ 54 h 121"/>
                <a:gd name="T50" fmla="*/ 116 w 117"/>
                <a:gd name="T51" fmla="*/ 60 h 121"/>
                <a:gd name="T52" fmla="*/ 117 w 117"/>
                <a:gd name="T53" fmla="*/ 72 h 121"/>
                <a:gd name="T54" fmla="*/ 111 w 117"/>
                <a:gd name="T55" fmla="*/ 80 h 121"/>
                <a:gd name="T56" fmla="*/ 108 w 117"/>
                <a:gd name="T57" fmla="*/ 90 h 121"/>
                <a:gd name="T58" fmla="*/ 108 w 117"/>
                <a:gd name="T59" fmla="*/ 96 h 121"/>
                <a:gd name="T60" fmla="*/ 102 w 117"/>
                <a:gd name="T61" fmla="*/ 81 h 121"/>
                <a:gd name="T62" fmla="*/ 99 w 117"/>
                <a:gd name="T63" fmla="*/ 76 h 121"/>
                <a:gd name="T64" fmla="*/ 92 w 117"/>
                <a:gd name="T65" fmla="*/ 73 h 121"/>
                <a:gd name="T66" fmla="*/ 91 w 117"/>
                <a:gd name="T67" fmla="*/ 81 h 121"/>
                <a:gd name="T68" fmla="*/ 89 w 117"/>
                <a:gd name="T69" fmla="*/ 88 h 121"/>
                <a:gd name="T70" fmla="*/ 96 w 117"/>
                <a:gd name="T71" fmla="*/ 98 h 121"/>
                <a:gd name="T72" fmla="*/ 96 w 117"/>
                <a:gd name="T73" fmla="*/ 107 h 121"/>
                <a:gd name="T74" fmla="*/ 94 w 117"/>
                <a:gd name="T75" fmla="*/ 114 h 121"/>
                <a:gd name="T76" fmla="*/ 91 w 117"/>
                <a:gd name="T77" fmla="*/ 119 h 121"/>
                <a:gd name="T78" fmla="*/ 85 w 117"/>
                <a:gd name="T79" fmla="*/ 117 h 121"/>
                <a:gd name="T80" fmla="*/ 86 w 117"/>
                <a:gd name="T81" fmla="*/ 108 h 121"/>
                <a:gd name="T82" fmla="*/ 83 w 117"/>
                <a:gd name="T83" fmla="*/ 106 h 121"/>
                <a:gd name="T84" fmla="*/ 77 w 117"/>
                <a:gd name="T85" fmla="*/ 112 h 121"/>
                <a:gd name="T86" fmla="*/ 69 w 117"/>
                <a:gd name="T87" fmla="*/ 109 h 121"/>
                <a:gd name="T88" fmla="*/ 59 w 117"/>
                <a:gd name="T89" fmla="*/ 102 h 121"/>
                <a:gd name="T90" fmla="*/ 53 w 117"/>
                <a:gd name="T91" fmla="*/ 90 h 121"/>
                <a:gd name="T92" fmla="*/ 53 w 117"/>
                <a:gd name="T93" fmla="*/ 77 h 121"/>
                <a:gd name="T94" fmla="*/ 54 w 117"/>
                <a:gd name="T95" fmla="*/ 63 h 121"/>
                <a:gd name="T96" fmla="*/ 48 w 117"/>
                <a:gd name="T97" fmla="*/ 61 h 121"/>
                <a:gd name="T98" fmla="*/ 39 w 117"/>
                <a:gd name="T99" fmla="*/ 56 h 121"/>
                <a:gd name="T100" fmla="*/ 37 w 117"/>
                <a:gd name="T101" fmla="*/ 63 h 121"/>
                <a:gd name="T102" fmla="*/ 37 w 117"/>
                <a:gd name="T103" fmla="*/ 68 h 121"/>
                <a:gd name="T104" fmla="*/ 29 w 117"/>
                <a:gd name="T105" fmla="*/ 64 h 121"/>
                <a:gd name="T106" fmla="*/ 24 w 117"/>
                <a:gd name="T107" fmla="*/ 69 h 121"/>
                <a:gd name="T108" fmla="*/ 21 w 117"/>
                <a:gd name="T109" fmla="*/ 66 h 121"/>
                <a:gd name="T110" fmla="*/ 18 w 117"/>
                <a:gd name="T111" fmla="*/ 59 h 121"/>
                <a:gd name="T112" fmla="*/ 14 w 117"/>
                <a:gd name="T113" fmla="*/ 64 h 121"/>
                <a:gd name="T114" fmla="*/ 12 w 117"/>
                <a:gd name="T115" fmla="*/ 70 h 121"/>
                <a:gd name="T116" fmla="*/ 9 w 117"/>
                <a:gd name="T117" fmla="*/ 76 h 121"/>
                <a:gd name="T118" fmla="*/ 5 w 117"/>
                <a:gd name="T119" fmla="*/ 81 h 121"/>
                <a:gd name="T120" fmla="*/ 0 w 117"/>
                <a:gd name="T121" fmla="*/ 7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7" h="121">
                  <a:moveTo>
                    <a:pt x="0" y="78"/>
                  </a:moveTo>
                  <a:cubicBezTo>
                    <a:pt x="0" y="69"/>
                    <a:pt x="6" y="73"/>
                    <a:pt x="5" y="62"/>
                  </a:cubicBezTo>
                  <a:cubicBezTo>
                    <a:pt x="5" y="51"/>
                    <a:pt x="4" y="47"/>
                    <a:pt x="11" y="47"/>
                  </a:cubicBezTo>
                  <a:cubicBezTo>
                    <a:pt x="18" y="47"/>
                    <a:pt x="20" y="50"/>
                    <a:pt x="23" y="44"/>
                  </a:cubicBezTo>
                  <a:cubicBezTo>
                    <a:pt x="26" y="38"/>
                    <a:pt x="27" y="34"/>
                    <a:pt x="30" y="34"/>
                  </a:cubicBezTo>
                  <a:cubicBezTo>
                    <a:pt x="33" y="34"/>
                    <a:pt x="43" y="33"/>
                    <a:pt x="44" y="36"/>
                  </a:cubicBezTo>
                  <a:cubicBezTo>
                    <a:pt x="44" y="38"/>
                    <a:pt x="41" y="42"/>
                    <a:pt x="46" y="44"/>
                  </a:cubicBezTo>
                  <a:cubicBezTo>
                    <a:pt x="51" y="46"/>
                    <a:pt x="55" y="47"/>
                    <a:pt x="55" y="44"/>
                  </a:cubicBezTo>
                  <a:cubicBezTo>
                    <a:pt x="55" y="41"/>
                    <a:pt x="55" y="36"/>
                    <a:pt x="59" y="36"/>
                  </a:cubicBezTo>
                  <a:cubicBezTo>
                    <a:pt x="63" y="36"/>
                    <a:pt x="66" y="35"/>
                    <a:pt x="66" y="30"/>
                  </a:cubicBezTo>
                  <a:cubicBezTo>
                    <a:pt x="66" y="26"/>
                    <a:pt x="64" y="19"/>
                    <a:pt x="66" y="18"/>
                  </a:cubicBezTo>
                  <a:cubicBezTo>
                    <a:pt x="69" y="17"/>
                    <a:pt x="71" y="24"/>
                    <a:pt x="76" y="25"/>
                  </a:cubicBezTo>
                  <a:cubicBezTo>
                    <a:pt x="80" y="27"/>
                    <a:pt x="75" y="21"/>
                    <a:pt x="79" y="22"/>
                  </a:cubicBezTo>
                  <a:cubicBezTo>
                    <a:pt x="84" y="23"/>
                    <a:pt x="88" y="24"/>
                    <a:pt x="87" y="21"/>
                  </a:cubicBezTo>
                  <a:cubicBezTo>
                    <a:pt x="87" y="17"/>
                    <a:pt x="86" y="15"/>
                    <a:pt x="84" y="12"/>
                  </a:cubicBezTo>
                  <a:cubicBezTo>
                    <a:pt x="82" y="8"/>
                    <a:pt x="81" y="3"/>
                    <a:pt x="82" y="1"/>
                  </a:cubicBezTo>
                  <a:cubicBezTo>
                    <a:pt x="82" y="0"/>
                    <a:pt x="86" y="1"/>
                    <a:pt x="86" y="3"/>
                  </a:cubicBezTo>
                  <a:cubicBezTo>
                    <a:pt x="87" y="5"/>
                    <a:pt x="87" y="6"/>
                    <a:pt x="91" y="7"/>
                  </a:cubicBezTo>
                  <a:cubicBezTo>
                    <a:pt x="95" y="9"/>
                    <a:pt x="94" y="8"/>
                    <a:pt x="98" y="12"/>
                  </a:cubicBezTo>
                  <a:cubicBezTo>
                    <a:pt x="102" y="15"/>
                    <a:pt x="101" y="15"/>
                    <a:pt x="103" y="20"/>
                  </a:cubicBezTo>
                  <a:cubicBezTo>
                    <a:pt x="105" y="24"/>
                    <a:pt x="109" y="29"/>
                    <a:pt x="107" y="30"/>
                  </a:cubicBezTo>
                  <a:cubicBezTo>
                    <a:pt x="106" y="32"/>
                    <a:pt x="103" y="35"/>
                    <a:pt x="106" y="37"/>
                  </a:cubicBezTo>
                  <a:cubicBezTo>
                    <a:pt x="109" y="39"/>
                    <a:pt x="111" y="40"/>
                    <a:pt x="111" y="43"/>
                  </a:cubicBezTo>
                  <a:cubicBezTo>
                    <a:pt x="110" y="45"/>
                    <a:pt x="113" y="48"/>
                    <a:pt x="113" y="48"/>
                  </a:cubicBezTo>
                  <a:cubicBezTo>
                    <a:pt x="113" y="49"/>
                    <a:pt x="109" y="50"/>
                    <a:pt x="112" y="54"/>
                  </a:cubicBezTo>
                  <a:cubicBezTo>
                    <a:pt x="114" y="57"/>
                    <a:pt x="116" y="55"/>
                    <a:pt x="116" y="60"/>
                  </a:cubicBezTo>
                  <a:cubicBezTo>
                    <a:pt x="116" y="64"/>
                    <a:pt x="117" y="71"/>
                    <a:pt x="117" y="72"/>
                  </a:cubicBezTo>
                  <a:cubicBezTo>
                    <a:pt x="117" y="73"/>
                    <a:pt x="113" y="78"/>
                    <a:pt x="111" y="80"/>
                  </a:cubicBezTo>
                  <a:cubicBezTo>
                    <a:pt x="110" y="83"/>
                    <a:pt x="108" y="86"/>
                    <a:pt x="108" y="90"/>
                  </a:cubicBezTo>
                  <a:cubicBezTo>
                    <a:pt x="109" y="94"/>
                    <a:pt x="112" y="102"/>
                    <a:pt x="108" y="96"/>
                  </a:cubicBezTo>
                  <a:cubicBezTo>
                    <a:pt x="104" y="89"/>
                    <a:pt x="103" y="83"/>
                    <a:pt x="102" y="81"/>
                  </a:cubicBezTo>
                  <a:cubicBezTo>
                    <a:pt x="102" y="79"/>
                    <a:pt x="100" y="78"/>
                    <a:pt x="99" y="76"/>
                  </a:cubicBezTo>
                  <a:cubicBezTo>
                    <a:pt x="98" y="74"/>
                    <a:pt x="93" y="70"/>
                    <a:pt x="92" y="73"/>
                  </a:cubicBezTo>
                  <a:cubicBezTo>
                    <a:pt x="92" y="76"/>
                    <a:pt x="91" y="77"/>
                    <a:pt x="91" y="81"/>
                  </a:cubicBezTo>
                  <a:cubicBezTo>
                    <a:pt x="91" y="85"/>
                    <a:pt x="86" y="81"/>
                    <a:pt x="89" y="88"/>
                  </a:cubicBezTo>
                  <a:cubicBezTo>
                    <a:pt x="93" y="94"/>
                    <a:pt x="96" y="95"/>
                    <a:pt x="96" y="98"/>
                  </a:cubicBezTo>
                  <a:cubicBezTo>
                    <a:pt x="96" y="102"/>
                    <a:pt x="97" y="104"/>
                    <a:pt x="96" y="107"/>
                  </a:cubicBezTo>
                  <a:cubicBezTo>
                    <a:pt x="96" y="110"/>
                    <a:pt x="95" y="110"/>
                    <a:pt x="94" y="114"/>
                  </a:cubicBezTo>
                  <a:cubicBezTo>
                    <a:pt x="93" y="117"/>
                    <a:pt x="93" y="118"/>
                    <a:pt x="91" y="119"/>
                  </a:cubicBezTo>
                  <a:cubicBezTo>
                    <a:pt x="88" y="119"/>
                    <a:pt x="86" y="121"/>
                    <a:pt x="85" y="117"/>
                  </a:cubicBezTo>
                  <a:cubicBezTo>
                    <a:pt x="84" y="113"/>
                    <a:pt x="86" y="111"/>
                    <a:pt x="86" y="108"/>
                  </a:cubicBezTo>
                  <a:cubicBezTo>
                    <a:pt x="86" y="106"/>
                    <a:pt x="85" y="102"/>
                    <a:pt x="83" y="106"/>
                  </a:cubicBezTo>
                  <a:cubicBezTo>
                    <a:pt x="80" y="111"/>
                    <a:pt x="82" y="113"/>
                    <a:pt x="77" y="112"/>
                  </a:cubicBezTo>
                  <a:cubicBezTo>
                    <a:pt x="72" y="111"/>
                    <a:pt x="74" y="112"/>
                    <a:pt x="69" y="109"/>
                  </a:cubicBezTo>
                  <a:cubicBezTo>
                    <a:pt x="64" y="106"/>
                    <a:pt x="63" y="105"/>
                    <a:pt x="59" y="102"/>
                  </a:cubicBezTo>
                  <a:cubicBezTo>
                    <a:pt x="54" y="99"/>
                    <a:pt x="53" y="94"/>
                    <a:pt x="53" y="90"/>
                  </a:cubicBezTo>
                  <a:cubicBezTo>
                    <a:pt x="52" y="87"/>
                    <a:pt x="52" y="80"/>
                    <a:pt x="53" y="77"/>
                  </a:cubicBezTo>
                  <a:cubicBezTo>
                    <a:pt x="55" y="73"/>
                    <a:pt x="54" y="64"/>
                    <a:pt x="54" y="63"/>
                  </a:cubicBezTo>
                  <a:cubicBezTo>
                    <a:pt x="53" y="63"/>
                    <a:pt x="52" y="63"/>
                    <a:pt x="48" y="61"/>
                  </a:cubicBezTo>
                  <a:cubicBezTo>
                    <a:pt x="44" y="59"/>
                    <a:pt x="40" y="54"/>
                    <a:pt x="39" y="56"/>
                  </a:cubicBezTo>
                  <a:cubicBezTo>
                    <a:pt x="38" y="58"/>
                    <a:pt x="35" y="60"/>
                    <a:pt x="37" y="63"/>
                  </a:cubicBezTo>
                  <a:cubicBezTo>
                    <a:pt x="39" y="67"/>
                    <a:pt x="41" y="69"/>
                    <a:pt x="37" y="68"/>
                  </a:cubicBezTo>
                  <a:cubicBezTo>
                    <a:pt x="34" y="67"/>
                    <a:pt x="32" y="63"/>
                    <a:pt x="29" y="64"/>
                  </a:cubicBezTo>
                  <a:cubicBezTo>
                    <a:pt x="25" y="65"/>
                    <a:pt x="25" y="66"/>
                    <a:pt x="24" y="69"/>
                  </a:cubicBezTo>
                  <a:cubicBezTo>
                    <a:pt x="23" y="71"/>
                    <a:pt x="21" y="68"/>
                    <a:pt x="21" y="66"/>
                  </a:cubicBezTo>
                  <a:cubicBezTo>
                    <a:pt x="21" y="64"/>
                    <a:pt x="19" y="59"/>
                    <a:pt x="18" y="59"/>
                  </a:cubicBezTo>
                  <a:cubicBezTo>
                    <a:pt x="17" y="59"/>
                    <a:pt x="15" y="61"/>
                    <a:pt x="14" y="64"/>
                  </a:cubicBezTo>
                  <a:cubicBezTo>
                    <a:pt x="13" y="67"/>
                    <a:pt x="13" y="68"/>
                    <a:pt x="12" y="70"/>
                  </a:cubicBezTo>
                  <a:cubicBezTo>
                    <a:pt x="11" y="73"/>
                    <a:pt x="10" y="73"/>
                    <a:pt x="9" y="76"/>
                  </a:cubicBezTo>
                  <a:cubicBezTo>
                    <a:pt x="8" y="80"/>
                    <a:pt x="8" y="81"/>
                    <a:pt x="5" y="81"/>
                  </a:cubicBezTo>
                  <a:cubicBezTo>
                    <a:pt x="2" y="81"/>
                    <a:pt x="0" y="83"/>
                    <a:pt x="0" y="78"/>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89" name="Freeform 777">
              <a:extLst>
                <a:ext uri="{FF2B5EF4-FFF2-40B4-BE49-F238E27FC236}">
                  <a16:creationId xmlns:a16="http://schemas.microsoft.com/office/drawing/2014/main" id="{FEB829E6-3672-BE4C-8F49-F096D45B930F}"/>
                </a:ext>
              </a:extLst>
            </p:cNvPr>
            <p:cNvSpPr>
              <a:spLocks/>
            </p:cNvSpPr>
            <p:nvPr/>
          </p:nvSpPr>
          <p:spPr bwMode="auto">
            <a:xfrm>
              <a:off x="6921522" y="2484895"/>
              <a:ext cx="14288" cy="12700"/>
            </a:xfrm>
            <a:custGeom>
              <a:avLst/>
              <a:gdLst>
                <a:gd name="T0" fmla="*/ 1 w 14"/>
                <a:gd name="T1" fmla="*/ 4 h 13"/>
                <a:gd name="T2" fmla="*/ 3 w 14"/>
                <a:gd name="T3" fmla="*/ 11 h 13"/>
                <a:gd name="T4" fmla="*/ 10 w 14"/>
                <a:gd name="T5" fmla="*/ 11 h 13"/>
                <a:gd name="T6" fmla="*/ 13 w 14"/>
                <a:gd name="T7" fmla="*/ 7 h 13"/>
                <a:gd name="T8" fmla="*/ 11 w 14"/>
                <a:gd name="T9" fmla="*/ 3 h 13"/>
                <a:gd name="T10" fmla="*/ 3 w 14"/>
                <a:gd name="T11" fmla="*/ 2 h 13"/>
                <a:gd name="T12" fmla="*/ 1 w 14"/>
                <a:gd name="T13" fmla="*/ 4 h 13"/>
              </a:gdLst>
              <a:ahLst/>
              <a:cxnLst>
                <a:cxn ang="0">
                  <a:pos x="T0" y="T1"/>
                </a:cxn>
                <a:cxn ang="0">
                  <a:pos x="T2" y="T3"/>
                </a:cxn>
                <a:cxn ang="0">
                  <a:pos x="T4" y="T5"/>
                </a:cxn>
                <a:cxn ang="0">
                  <a:pos x="T6" y="T7"/>
                </a:cxn>
                <a:cxn ang="0">
                  <a:pos x="T8" y="T9"/>
                </a:cxn>
                <a:cxn ang="0">
                  <a:pos x="T10" y="T11"/>
                </a:cxn>
                <a:cxn ang="0">
                  <a:pos x="T12" y="T13"/>
                </a:cxn>
              </a:cxnLst>
              <a:rect l="0" t="0" r="r" b="b"/>
              <a:pathLst>
                <a:path w="14" h="13">
                  <a:moveTo>
                    <a:pt x="1" y="4"/>
                  </a:moveTo>
                  <a:cubicBezTo>
                    <a:pt x="2" y="9"/>
                    <a:pt x="1" y="11"/>
                    <a:pt x="3" y="11"/>
                  </a:cubicBezTo>
                  <a:cubicBezTo>
                    <a:pt x="6" y="11"/>
                    <a:pt x="8" y="13"/>
                    <a:pt x="10" y="11"/>
                  </a:cubicBezTo>
                  <a:cubicBezTo>
                    <a:pt x="12" y="9"/>
                    <a:pt x="12" y="9"/>
                    <a:pt x="13" y="7"/>
                  </a:cubicBezTo>
                  <a:cubicBezTo>
                    <a:pt x="13" y="5"/>
                    <a:pt x="14" y="3"/>
                    <a:pt x="11" y="3"/>
                  </a:cubicBezTo>
                  <a:cubicBezTo>
                    <a:pt x="9" y="3"/>
                    <a:pt x="6" y="0"/>
                    <a:pt x="3" y="2"/>
                  </a:cubicBezTo>
                  <a:cubicBezTo>
                    <a:pt x="1" y="4"/>
                    <a:pt x="0" y="2"/>
                    <a:pt x="1" y="4"/>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90" name="Freeform 778">
              <a:extLst>
                <a:ext uri="{FF2B5EF4-FFF2-40B4-BE49-F238E27FC236}">
                  <a16:creationId xmlns:a16="http://schemas.microsoft.com/office/drawing/2014/main" id="{76D1913F-ECFE-DC4B-9D62-100C02F237A9}"/>
                </a:ext>
              </a:extLst>
            </p:cNvPr>
            <p:cNvSpPr>
              <a:spLocks/>
            </p:cNvSpPr>
            <p:nvPr/>
          </p:nvSpPr>
          <p:spPr bwMode="auto">
            <a:xfrm>
              <a:off x="7080272" y="2594432"/>
              <a:ext cx="11113" cy="22225"/>
            </a:xfrm>
            <a:custGeom>
              <a:avLst/>
              <a:gdLst>
                <a:gd name="T0" fmla="*/ 2 w 12"/>
                <a:gd name="T1" fmla="*/ 7 h 23"/>
                <a:gd name="T2" fmla="*/ 4 w 12"/>
                <a:gd name="T3" fmla="*/ 21 h 23"/>
                <a:gd name="T4" fmla="*/ 8 w 12"/>
                <a:gd name="T5" fmla="*/ 18 h 23"/>
                <a:gd name="T6" fmla="*/ 12 w 12"/>
                <a:gd name="T7" fmla="*/ 13 h 23"/>
                <a:gd name="T8" fmla="*/ 11 w 12"/>
                <a:gd name="T9" fmla="*/ 5 h 23"/>
                <a:gd name="T10" fmla="*/ 8 w 12"/>
                <a:gd name="T11" fmla="*/ 2 h 23"/>
                <a:gd name="T12" fmla="*/ 3 w 12"/>
                <a:gd name="T13" fmla="*/ 5 h 23"/>
                <a:gd name="T14" fmla="*/ 2 w 12"/>
                <a:gd name="T15" fmla="*/ 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3">
                  <a:moveTo>
                    <a:pt x="2" y="7"/>
                  </a:moveTo>
                  <a:cubicBezTo>
                    <a:pt x="2" y="7"/>
                    <a:pt x="1" y="23"/>
                    <a:pt x="4" y="21"/>
                  </a:cubicBezTo>
                  <a:cubicBezTo>
                    <a:pt x="6" y="20"/>
                    <a:pt x="5" y="20"/>
                    <a:pt x="8" y="18"/>
                  </a:cubicBezTo>
                  <a:cubicBezTo>
                    <a:pt x="10" y="16"/>
                    <a:pt x="12" y="17"/>
                    <a:pt x="12" y="13"/>
                  </a:cubicBezTo>
                  <a:cubicBezTo>
                    <a:pt x="12" y="10"/>
                    <a:pt x="11" y="7"/>
                    <a:pt x="11" y="5"/>
                  </a:cubicBezTo>
                  <a:cubicBezTo>
                    <a:pt x="11" y="3"/>
                    <a:pt x="10" y="0"/>
                    <a:pt x="8" y="2"/>
                  </a:cubicBezTo>
                  <a:cubicBezTo>
                    <a:pt x="7" y="5"/>
                    <a:pt x="4" y="5"/>
                    <a:pt x="3" y="5"/>
                  </a:cubicBezTo>
                  <a:cubicBezTo>
                    <a:pt x="1" y="6"/>
                    <a:pt x="0" y="5"/>
                    <a:pt x="2" y="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91" name="Freeform 779">
              <a:extLst>
                <a:ext uri="{FF2B5EF4-FFF2-40B4-BE49-F238E27FC236}">
                  <a16:creationId xmlns:a16="http://schemas.microsoft.com/office/drawing/2014/main" id="{104B202C-048E-3D43-9121-72A78A01AB6C}"/>
                </a:ext>
              </a:extLst>
            </p:cNvPr>
            <p:cNvSpPr>
              <a:spLocks/>
            </p:cNvSpPr>
            <p:nvPr/>
          </p:nvSpPr>
          <p:spPr bwMode="auto">
            <a:xfrm>
              <a:off x="5289567" y="2326145"/>
              <a:ext cx="30163" cy="14288"/>
            </a:xfrm>
            <a:custGeom>
              <a:avLst/>
              <a:gdLst>
                <a:gd name="T0" fmla="*/ 19 w 31"/>
                <a:gd name="T1" fmla="*/ 1 h 14"/>
                <a:gd name="T2" fmla="*/ 16 w 31"/>
                <a:gd name="T3" fmla="*/ 4 h 14"/>
                <a:gd name="T4" fmla="*/ 10 w 31"/>
                <a:gd name="T5" fmla="*/ 2 h 14"/>
                <a:gd name="T6" fmla="*/ 7 w 31"/>
                <a:gd name="T7" fmla="*/ 1 h 14"/>
                <a:gd name="T8" fmla="*/ 3 w 31"/>
                <a:gd name="T9" fmla="*/ 4 h 14"/>
                <a:gd name="T10" fmla="*/ 2 w 31"/>
                <a:gd name="T11" fmla="*/ 9 h 14"/>
                <a:gd name="T12" fmla="*/ 8 w 31"/>
                <a:gd name="T13" fmla="*/ 13 h 14"/>
                <a:gd name="T14" fmla="*/ 18 w 31"/>
                <a:gd name="T15" fmla="*/ 12 h 14"/>
                <a:gd name="T16" fmla="*/ 25 w 31"/>
                <a:gd name="T17" fmla="*/ 10 h 14"/>
                <a:gd name="T18" fmla="*/ 29 w 31"/>
                <a:gd name="T19" fmla="*/ 7 h 14"/>
                <a:gd name="T20" fmla="*/ 26 w 31"/>
                <a:gd name="T21" fmla="*/ 2 h 14"/>
                <a:gd name="T22" fmla="*/ 19 w 31"/>
                <a:gd name="T23"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14">
                  <a:moveTo>
                    <a:pt x="19" y="1"/>
                  </a:moveTo>
                  <a:cubicBezTo>
                    <a:pt x="19" y="2"/>
                    <a:pt x="19" y="4"/>
                    <a:pt x="16" y="4"/>
                  </a:cubicBezTo>
                  <a:cubicBezTo>
                    <a:pt x="13" y="4"/>
                    <a:pt x="11" y="3"/>
                    <a:pt x="10" y="2"/>
                  </a:cubicBezTo>
                  <a:cubicBezTo>
                    <a:pt x="9" y="2"/>
                    <a:pt x="8" y="1"/>
                    <a:pt x="7" y="1"/>
                  </a:cubicBezTo>
                  <a:cubicBezTo>
                    <a:pt x="5" y="2"/>
                    <a:pt x="4" y="3"/>
                    <a:pt x="3" y="4"/>
                  </a:cubicBezTo>
                  <a:cubicBezTo>
                    <a:pt x="3" y="5"/>
                    <a:pt x="0" y="7"/>
                    <a:pt x="2" y="9"/>
                  </a:cubicBezTo>
                  <a:cubicBezTo>
                    <a:pt x="4" y="10"/>
                    <a:pt x="4" y="12"/>
                    <a:pt x="8" y="13"/>
                  </a:cubicBezTo>
                  <a:cubicBezTo>
                    <a:pt x="13" y="14"/>
                    <a:pt x="13" y="13"/>
                    <a:pt x="18" y="12"/>
                  </a:cubicBezTo>
                  <a:cubicBezTo>
                    <a:pt x="24" y="11"/>
                    <a:pt x="22" y="10"/>
                    <a:pt x="25" y="10"/>
                  </a:cubicBezTo>
                  <a:cubicBezTo>
                    <a:pt x="29" y="10"/>
                    <a:pt x="29" y="10"/>
                    <a:pt x="29" y="7"/>
                  </a:cubicBezTo>
                  <a:cubicBezTo>
                    <a:pt x="29" y="4"/>
                    <a:pt x="31" y="3"/>
                    <a:pt x="26" y="2"/>
                  </a:cubicBezTo>
                  <a:cubicBezTo>
                    <a:pt x="21" y="1"/>
                    <a:pt x="19" y="0"/>
                    <a:pt x="19" y="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92" name="Freeform 780">
              <a:extLst>
                <a:ext uri="{FF2B5EF4-FFF2-40B4-BE49-F238E27FC236}">
                  <a16:creationId xmlns:a16="http://schemas.microsoft.com/office/drawing/2014/main" id="{034F28CE-3380-5440-8FE0-BCF1E1836969}"/>
                </a:ext>
              </a:extLst>
            </p:cNvPr>
            <p:cNvSpPr>
              <a:spLocks/>
            </p:cNvSpPr>
            <p:nvPr/>
          </p:nvSpPr>
          <p:spPr bwMode="auto">
            <a:xfrm>
              <a:off x="5297504" y="2697620"/>
              <a:ext cx="20638" cy="11113"/>
            </a:xfrm>
            <a:custGeom>
              <a:avLst/>
              <a:gdLst>
                <a:gd name="T0" fmla="*/ 8 w 22"/>
                <a:gd name="T1" fmla="*/ 8 h 11"/>
                <a:gd name="T2" fmla="*/ 10 w 22"/>
                <a:gd name="T3" fmla="*/ 7 h 11"/>
                <a:gd name="T4" fmla="*/ 14 w 22"/>
                <a:gd name="T5" fmla="*/ 9 h 11"/>
                <a:gd name="T6" fmla="*/ 16 w 22"/>
                <a:gd name="T7" fmla="*/ 10 h 11"/>
                <a:gd name="T8" fmla="*/ 19 w 22"/>
                <a:gd name="T9" fmla="*/ 9 h 11"/>
                <a:gd name="T10" fmla="*/ 21 w 22"/>
                <a:gd name="T11" fmla="*/ 7 h 11"/>
                <a:gd name="T12" fmla="*/ 17 w 22"/>
                <a:gd name="T13" fmla="*/ 3 h 11"/>
                <a:gd name="T14" fmla="*/ 11 w 22"/>
                <a:gd name="T15" fmla="*/ 1 h 11"/>
                <a:gd name="T16" fmla="*/ 6 w 22"/>
                <a:gd name="T17" fmla="*/ 1 h 11"/>
                <a:gd name="T18" fmla="*/ 2 w 22"/>
                <a:gd name="T19" fmla="*/ 2 h 11"/>
                <a:gd name="T20" fmla="*/ 3 w 22"/>
                <a:gd name="T21" fmla="*/ 6 h 11"/>
                <a:gd name="T22" fmla="*/ 8 w 22"/>
                <a:gd name="T23"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11">
                  <a:moveTo>
                    <a:pt x="8" y="8"/>
                  </a:moveTo>
                  <a:cubicBezTo>
                    <a:pt x="8" y="7"/>
                    <a:pt x="8" y="6"/>
                    <a:pt x="10" y="7"/>
                  </a:cubicBezTo>
                  <a:cubicBezTo>
                    <a:pt x="12" y="8"/>
                    <a:pt x="14" y="8"/>
                    <a:pt x="14" y="9"/>
                  </a:cubicBezTo>
                  <a:cubicBezTo>
                    <a:pt x="15" y="10"/>
                    <a:pt x="15" y="11"/>
                    <a:pt x="16" y="10"/>
                  </a:cubicBezTo>
                  <a:cubicBezTo>
                    <a:pt x="17" y="10"/>
                    <a:pt x="18" y="10"/>
                    <a:pt x="19" y="9"/>
                  </a:cubicBezTo>
                  <a:cubicBezTo>
                    <a:pt x="19" y="9"/>
                    <a:pt x="22" y="8"/>
                    <a:pt x="21" y="7"/>
                  </a:cubicBezTo>
                  <a:cubicBezTo>
                    <a:pt x="20" y="5"/>
                    <a:pt x="20" y="4"/>
                    <a:pt x="17" y="3"/>
                  </a:cubicBezTo>
                  <a:cubicBezTo>
                    <a:pt x="15" y="1"/>
                    <a:pt x="14" y="2"/>
                    <a:pt x="11" y="1"/>
                  </a:cubicBezTo>
                  <a:cubicBezTo>
                    <a:pt x="7" y="0"/>
                    <a:pt x="8" y="2"/>
                    <a:pt x="6" y="1"/>
                  </a:cubicBezTo>
                  <a:cubicBezTo>
                    <a:pt x="3" y="0"/>
                    <a:pt x="3" y="0"/>
                    <a:pt x="2" y="2"/>
                  </a:cubicBezTo>
                  <a:cubicBezTo>
                    <a:pt x="2" y="4"/>
                    <a:pt x="0" y="5"/>
                    <a:pt x="3" y="6"/>
                  </a:cubicBezTo>
                  <a:cubicBezTo>
                    <a:pt x="6" y="8"/>
                    <a:pt x="7" y="9"/>
                    <a:pt x="8" y="8"/>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93" name="Freeform 781">
              <a:extLst>
                <a:ext uri="{FF2B5EF4-FFF2-40B4-BE49-F238E27FC236}">
                  <a16:creationId xmlns:a16="http://schemas.microsoft.com/office/drawing/2014/main" id="{4A446BAF-B2DC-6B44-B841-C53000AE1390}"/>
                </a:ext>
              </a:extLst>
            </p:cNvPr>
            <p:cNvSpPr>
              <a:spLocks/>
            </p:cNvSpPr>
            <p:nvPr/>
          </p:nvSpPr>
          <p:spPr bwMode="auto">
            <a:xfrm>
              <a:off x="5318142" y="2688095"/>
              <a:ext cx="19050" cy="7938"/>
            </a:xfrm>
            <a:custGeom>
              <a:avLst/>
              <a:gdLst>
                <a:gd name="T0" fmla="*/ 6 w 19"/>
                <a:gd name="T1" fmla="*/ 7 h 9"/>
                <a:gd name="T2" fmla="*/ 10 w 19"/>
                <a:gd name="T3" fmla="*/ 8 h 9"/>
                <a:gd name="T4" fmla="*/ 12 w 19"/>
                <a:gd name="T5" fmla="*/ 8 h 9"/>
                <a:gd name="T6" fmla="*/ 14 w 19"/>
                <a:gd name="T7" fmla="*/ 9 h 9"/>
                <a:gd name="T8" fmla="*/ 16 w 19"/>
                <a:gd name="T9" fmla="*/ 8 h 9"/>
                <a:gd name="T10" fmla="*/ 18 w 19"/>
                <a:gd name="T11" fmla="*/ 6 h 9"/>
                <a:gd name="T12" fmla="*/ 15 w 19"/>
                <a:gd name="T13" fmla="*/ 2 h 9"/>
                <a:gd name="T14" fmla="*/ 10 w 19"/>
                <a:gd name="T15" fmla="*/ 2 h 9"/>
                <a:gd name="T16" fmla="*/ 4 w 19"/>
                <a:gd name="T17" fmla="*/ 0 h 9"/>
                <a:gd name="T18" fmla="*/ 4 w 19"/>
                <a:gd name="T19" fmla="*/ 3 h 9"/>
                <a:gd name="T20" fmla="*/ 2 w 19"/>
                <a:gd name="T21" fmla="*/ 5 h 9"/>
                <a:gd name="T22" fmla="*/ 6 w 19"/>
                <a:gd name="T23"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9">
                  <a:moveTo>
                    <a:pt x="6" y="7"/>
                  </a:moveTo>
                  <a:cubicBezTo>
                    <a:pt x="7" y="6"/>
                    <a:pt x="8" y="8"/>
                    <a:pt x="10" y="8"/>
                  </a:cubicBezTo>
                  <a:cubicBezTo>
                    <a:pt x="11" y="9"/>
                    <a:pt x="12" y="7"/>
                    <a:pt x="12" y="8"/>
                  </a:cubicBezTo>
                  <a:cubicBezTo>
                    <a:pt x="12" y="8"/>
                    <a:pt x="13" y="9"/>
                    <a:pt x="14" y="9"/>
                  </a:cubicBezTo>
                  <a:cubicBezTo>
                    <a:pt x="15" y="9"/>
                    <a:pt x="16" y="9"/>
                    <a:pt x="16" y="8"/>
                  </a:cubicBezTo>
                  <a:cubicBezTo>
                    <a:pt x="16" y="7"/>
                    <a:pt x="19" y="7"/>
                    <a:pt x="18" y="6"/>
                  </a:cubicBezTo>
                  <a:cubicBezTo>
                    <a:pt x="17" y="4"/>
                    <a:pt x="17" y="3"/>
                    <a:pt x="15" y="2"/>
                  </a:cubicBezTo>
                  <a:cubicBezTo>
                    <a:pt x="12" y="1"/>
                    <a:pt x="13" y="3"/>
                    <a:pt x="10" y="2"/>
                  </a:cubicBezTo>
                  <a:cubicBezTo>
                    <a:pt x="7" y="2"/>
                    <a:pt x="6" y="1"/>
                    <a:pt x="4" y="0"/>
                  </a:cubicBezTo>
                  <a:cubicBezTo>
                    <a:pt x="2" y="0"/>
                    <a:pt x="5" y="1"/>
                    <a:pt x="4" y="3"/>
                  </a:cubicBezTo>
                  <a:cubicBezTo>
                    <a:pt x="4" y="5"/>
                    <a:pt x="0" y="4"/>
                    <a:pt x="2" y="5"/>
                  </a:cubicBezTo>
                  <a:cubicBezTo>
                    <a:pt x="5" y="7"/>
                    <a:pt x="6" y="7"/>
                    <a:pt x="6" y="7"/>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94" name="Freeform 782">
              <a:extLst>
                <a:ext uri="{FF2B5EF4-FFF2-40B4-BE49-F238E27FC236}">
                  <a16:creationId xmlns:a16="http://schemas.microsoft.com/office/drawing/2014/main" id="{E26CB720-B741-A243-8D94-1461E4383E66}"/>
                </a:ext>
              </a:extLst>
            </p:cNvPr>
            <p:cNvSpPr>
              <a:spLocks/>
            </p:cNvSpPr>
            <p:nvPr/>
          </p:nvSpPr>
          <p:spPr bwMode="auto">
            <a:xfrm>
              <a:off x="5048266" y="2964320"/>
              <a:ext cx="11113" cy="23813"/>
            </a:xfrm>
            <a:custGeom>
              <a:avLst/>
              <a:gdLst>
                <a:gd name="T0" fmla="*/ 4 w 11"/>
                <a:gd name="T1" fmla="*/ 7 h 26"/>
                <a:gd name="T2" fmla="*/ 10 w 11"/>
                <a:gd name="T3" fmla="*/ 10 h 26"/>
                <a:gd name="T4" fmla="*/ 10 w 11"/>
                <a:gd name="T5" fmla="*/ 24 h 26"/>
                <a:gd name="T6" fmla="*/ 6 w 11"/>
                <a:gd name="T7" fmla="*/ 23 h 26"/>
                <a:gd name="T8" fmla="*/ 1 w 11"/>
                <a:gd name="T9" fmla="*/ 16 h 26"/>
                <a:gd name="T10" fmla="*/ 4 w 11"/>
                <a:gd name="T11" fmla="*/ 7 h 26"/>
              </a:gdLst>
              <a:ahLst/>
              <a:cxnLst>
                <a:cxn ang="0">
                  <a:pos x="T0" y="T1"/>
                </a:cxn>
                <a:cxn ang="0">
                  <a:pos x="T2" y="T3"/>
                </a:cxn>
                <a:cxn ang="0">
                  <a:pos x="T4" y="T5"/>
                </a:cxn>
                <a:cxn ang="0">
                  <a:pos x="T6" y="T7"/>
                </a:cxn>
                <a:cxn ang="0">
                  <a:pos x="T8" y="T9"/>
                </a:cxn>
                <a:cxn ang="0">
                  <a:pos x="T10" y="T11"/>
                </a:cxn>
              </a:cxnLst>
              <a:rect l="0" t="0" r="r" b="b"/>
              <a:pathLst>
                <a:path w="11" h="26">
                  <a:moveTo>
                    <a:pt x="4" y="7"/>
                  </a:moveTo>
                  <a:cubicBezTo>
                    <a:pt x="8" y="7"/>
                    <a:pt x="9" y="0"/>
                    <a:pt x="10" y="10"/>
                  </a:cubicBezTo>
                  <a:cubicBezTo>
                    <a:pt x="11" y="20"/>
                    <a:pt x="10" y="22"/>
                    <a:pt x="10" y="24"/>
                  </a:cubicBezTo>
                  <a:cubicBezTo>
                    <a:pt x="9" y="26"/>
                    <a:pt x="8" y="26"/>
                    <a:pt x="6" y="23"/>
                  </a:cubicBezTo>
                  <a:cubicBezTo>
                    <a:pt x="4" y="20"/>
                    <a:pt x="0" y="19"/>
                    <a:pt x="1" y="16"/>
                  </a:cubicBezTo>
                  <a:cubicBezTo>
                    <a:pt x="3" y="13"/>
                    <a:pt x="4" y="7"/>
                    <a:pt x="4" y="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95" name="Freeform 783">
              <a:extLst>
                <a:ext uri="{FF2B5EF4-FFF2-40B4-BE49-F238E27FC236}">
                  <a16:creationId xmlns:a16="http://schemas.microsoft.com/office/drawing/2014/main" id="{F9CF7019-195D-2144-BD25-35A6355B6067}"/>
                </a:ext>
              </a:extLst>
            </p:cNvPr>
            <p:cNvSpPr>
              <a:spLocks/>
            </p:cNvSpPr>
            <p:nvPr/>
          </p:nvSpPr>
          <p:spPr bwMode="auto">
            <a:xfrm>
              <a:off x="5075254" y="2988133"/>
              <a:ext cx="11113" cy="12700"/>
            </a:xfrm>
            <a:custGeom>
              <a:avLst/>
              <a:gdLst>
                <a:gd name="T0" fmla="*/ 1 w 13"/>
                <a:gd name="T1" fmla="*/ 6 h 12"/>
                <a:gd name="T2" fmla="*/ 6 w 13"/>
                <a:gd name="T3" fmla="*/ 9 h 12"/>
                <a:gd name="T4" fmla="*/ 10 w 13"/>
                <a:gd name="T5" fmla="*/ 9 h 12"/>
                <a:gd name="T6" fmla="*/ 9 w 13"/>
                <a:gd name="T7" fmla="*/ 3 h 12"/>
                <a:gd name="T8" fmla="*/ 1 w 13"/>
                <a:gd name="T9" fmla="*/ 2 h 12"/>
                <a:gd name="T10" fmla="*/ 1 w 13"/>
                <a:gd name="T11" fmla="*/ 6 h 12"/>
              </a:gdLst>
              <a:ahLst/>
              <a:cxnLst>
                <a:cxn ang="0">
                  <a:pos x="T0" y="T1"/>
                </a:cxn>
                <a:cxn ang="0">
                  <a:pos x="T2" y="T3"/>
                </a:cxn>
                <a:cxn ang="0">
                  <a:pos x="T4" y="T5"/>
                </a:cxn>
                <a:cxn ang="0">
                  <a:pos x="T6" y="T7"/>
                </a:cxn>
                <a:cxn ang="0">
                  <a:pos x="T8" y="T9"/>
                </a:cxn>
                <a:cxn ang="0">
                  <a:pos x="T10" y="T11"/>
                </a:cxn>
              </a:cxnLst>
              <a:rect l="0" t="0" r="r" b="b"/>
              <a:pathLst>
                <a:path w="13" h="12">
                  <a:moveTo>
                    <a:pt x="1" y="6"/>
                  </a:moveTo>
                  <a:cubicBezTo>
                    <a:pt x="3" y="7"/>
                    <a:pt x="4" y="7"/>
                    <a:pt x="6" y="9"/>
                  </a:cubicBezTo>
                  <a:cubicBezTo>
                    <a:pt x="8" y="12"/>
                    <a:pt x="10" y="12"/>
                    <a:pt x="10" y="9"/>
                  </a:cubicBezTo>
                  <a:cubicBezTo>
                    <a:pt x="10" y="7"/>
                    <a:pt x="13" y="4"/>
                    <a:pt x="9" y="3"/>
                  </a:cubicBezTo>
                  <a:cubicBezTo>
                    <a:pt x="6" y="1"/>
                    <a:pt x="1" y="0"/>
                    <a:pt x="1" y="2"/>
                  </a:cubicBezTo>
                  <a:cubicBezTo>
                    <a:pt x="0" y="3"/>
                    <a:pt x="0" y="3"/>
                    <a:pt x="1"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96" name="Freeform 784">
              <a:extLst>
                <a:ext uri="{FF2B5EF4-FFF2-40B4-BE49-F238E27FC236}">
                  <a16:creationId xmlns:a16="http://schemas.microsoft.com/office/drawing/2014/main" id="{8FC889DE-9D1F-CD4F-9936-0534C10D716B}"/>
                </a:ext>
              </a:extLst>
            </p:cNvPr>
            <p:cNvSpPr>
              <a:spLocks/>
            </p:cNvSpPr>
            <p:nvPr/>
          </p:nvSpPr>
          <p:spPr bwMode="auto">
            <a:xfrm>
              <a:off x="5091129" y="3004008"/>
              <a:ext cx="9525" cy="11113"/>
            </a:xfrm>
            <a:custGeom>
              <a:avLst/>
              <a:gdLst>
                <a:gd name="T0" fmla="*/ 3 w 10"/>
                <a:gd name="T1" fmla="*/ 2 h 12"/>
                <a:gd name="T2" fmla="*/ 3 w 10"/>
                <a:gd name="T3" fmla="*/ 12 h 12"/>
                <a:gd name="T4" fmla="*/ 7 w 10"/>
                <a:gd name="T5" fmla="*/ 10 h 12"/>
                <a:gd name="T6" fmla="*/ 8 w 10"/>
                <a:gd name="T7" fmla="*/ 4 h 12"/>
                <a:gd name="T8" fmla="*/ 3 w 10"/>
                <a:gd name="T9" fmla="*/ 2 h 12"/>
              </a:gdLst>
              <a:ahLst/>
              <a:cxnLst>
                <a:cxn ang="0">
                  <a:pos x="T0" y="T1"/>
                </a:cxn>
                <a:cxn ang="0">
                  <a:pos x="T2" y="T3"/>
                </a:cxn>
                <a:cxn ang="0">
                  <a:pos x="T4" y="T5"/>
                </a:cxn>
                <a:cxn ang="0">
                  <a:pos x="T6" y="T7"/>
                </a:cxn>
                <a:cxn ang="0">
                  <a:pos x="T8" y="T9"/>
                </a:cxn>
              </a:cxnLst>
              <a:rect l="0" t="0" r="r" b="b"/>
              <a:pathLst>
                <a:path w="10" h="12">
                  <a:moveTo>
                    <a:pt x="3" y="2"/>
                  </a:moveTo>
                  <a:cubicBezTo>
                    <a:pt x="3" y="5"/>
                    <a:pt x="0" y="11"/>
                    <a:pt x="3" y="12"/>
                  </a:cubicBezTo>
                  <a:cubicBezTo>
                    <a:pt x="6" y="12"/>
                    <a:pt x="5" y="12"/>
                    <a:pt x="7" y="10"/>
                  </a:cubicBezTo>
                  <a:cubicBezTo>
                    <a:pt x="8" y="8"/>
                    <a:pt x="10" y="6"/>
                    <a:pt x="8" y="4"/>
                  </a:cubicBezTo>
                  <a:cubicBezTo>
                    <a:pt x="6" y="2"/>
                    <a:pt x="2" y="0"/>
                    <a:pt x="3"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97" name="Freeform 785">
              <a:extLst>
                <a:ext uri="{FF2B5EF4-FFF2-40B4-BE49-F238E27FC236}">
                  <a16:creationId xmlns:a16="http://schemas.microsoft.com/office/drawing/2014/main" id="{DD289DB7-BE3F-9442-9752-386E1C39977B}"/>
                </a:ext>
              </a:extLst>
            </p:cNvPr>
            <p:cNvSpPr>
              <a:spLocks/>
            </p:cNvSpPr>
            <p:nvPr/>
          </p:nvSpPr>
          <p:spPr bwMode="auto">
            <a:xfrm>
              <a:off x="5059379" y="2992896"/>
              <a:ext cx="7938" cy="7938"/>
            </a:xfrm>
            <a:custGeom>
              <a:avLst/>
              <a:gdLst>
                <a:gd name="T0" fmla="*/ 1 w 8"/>
                <a:gd name="T1" fmla="*/ 1 h 7"/>
                <a:gd name="T2" fmla="*/ 8 w 8"/>
                <a:gd name="T3" fmla="*/ 2 h 7"/>
                <a:gd name="T4" fmla="*/ 4 w 8"/>
                <a:gd name="T5" fmla="*/ 5 h 7"/>
                <a:gd name="T6" fmla="*/ 1 w 8"/>
                <a:gd name="T7" fmla="*/ 1 h 7"/>
              </a:gdLst>
              <a:ahLst/>
              <a:cxnLst>
                <a:cxn ang="0">
                  <a:pos x="T0" y="T1"/>
                </a:cxn>
                <a:cxn ang="0">
                  <a:pos x="T2" y="T3"/>
                </a:cxn>
                <a:cxn ang="0">
                  <a:pos x="T4" y="T5"/>
                </a:cxn>
                <a:cxn ang="0">
                  <a:pos x="T6" y="T7"/>
                </a:cxn>
              </a:cxnLst>
              <a:rect l="0" t="0" r="r" b="b"/>
              <a:pathLst>
                <a:path w="8" h="7">
                  <a:moveTo>
                    <a:pt x="1" y="1"/>
                  </a:moveTo>
                  <a:cubicBezTo>
                    <a:pt x="3" y="1"/>
                    <a:pt x="8" y="0"/>
                    <a:pt x="8" y="2"/>
                  </a:cubicBezTo>
                  <a:cubicBezTo>
                    <a:pt x="8" y="5"/>
                    <a:pt x="6" y="7"/>
                    <a:pt x="4" y="5"/>
                  </a:cubicBezTo>
                  <a:cubicBezTo>
                    <a:pt x="2" y="3"/>
                    <a:pt x="0" y="4"/>
                    <a:pt x="1" y="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98" name="Freeform 786">
              <a:extLst>
                <a:ext uri="{FF2B5EF4-FFF2-40B4-BE49-F238E27FC236}">
                  <a16:creationId xmlns:a16="http://schemas.microsoft.com/office/drawing/2014/main" id="{92B72D46-CDED-7B4B-B197-CE978FACE65C}"/>
                </a:ext>
              </a:extLst>
            </p:cNvPr>
            <p:cNvSpPr>
              <a:spLocks/>
            </p:cNvSpPr>
            <p:nvPr/>
          </p:nvSpPr>
          <p:spPr bwMode="auto">
            <a:xfrm>
              <a:off x="5319729" y="3221496"/>
              <a:ext cx="19050" cy="19050"/>
            </a:xfrm>
            <a:custGeom>
              <a:avLst/>
              <a:gdLst>
                <a:gd name="T0" fmla="*/ 2 w 19"/>
                <a:gd name="T1" fmla="*/ 6 h 20"/>
                <a:gd name="T2" fmla="*/ 7 w 19"/>
                <a:gd name="T3" fmla="*/ 19 h 20"/>
                <a:gd name="T4" fmla="*/ 18 w 19"/>
                <a:gd name="T5" fmla="*/ 15 h 20"/>
                <a:gd name="T6" fmla="*/ 16 w 19"/>
                <a:gd name="T7" fmla="*/ 6 h 20"/>
                <a:gd name="T8" fmla="*/ 8 w 19"/>
                <a:gd name="T9" fmla="*/ 2 h 20"/>
                <a:gd name="T10" fmla="*/ 2 w 19"/>
                <a:gd name="T11" fmla="*/ 6 h 20"/>
              </a:gdLst>
              <a:ahLst/>
              <a:cxnLst>
                <a:cxn ang="0">
                  <a:pos x="T0" y="T1"/>
                </a:cxn>
                <a:cxn ang="0">
                  <a:pos x="T2" y="T3"/>
                </a:cxn>
                <a:cxn ang="0">
                  <a:pos x="T4" y="T5"/>
                </a:cxn>
                <a:cxn ang="0">
                  <a:pos x="T6" y="T7"/>
                </a:cxn>
                <a:cxn ang="0">
                  <a:pos x="T8" y="T9"/>
                </a:cxn>
                <a:cxn ang="0">
                  <a:pos x="T10" y="T11"/>
                </a:cxn>
              </a:cxnLst>
              <a:rect l="0" t="0" r="r" b="b"/>
              <a:pathLst>
                <a:path w="19" h="20">
                  <a:moveTo>
                    <a:pt x="2" y="6"/>
                  </a:moveTo>
                  <a:cubicBezTo>
                    <a:pt x="2" y="11"/>
                    <a:pt x="3" y="17"/>
                    <a:pt x="7" y="19"/>
                  </a:cubicBezTo>
                  <a:cubicBezTo>
                    <a:pt x="12" y="20"/>
                    <a:pt x="18" y="19"/>
                    <a:pt x="18" y="15"/>
                  </a:cubicBezTo>
                  <a:cubicBezTo>
                    <a:pt x="18" y="10"/>
                    <a:pt x="19" y="11"/>
                    <a:pt x="16" y="6"/>
                  </a:cubicBezTo>
                  <a:cubicBezTo>
                    <a:pt x="13" y="2"/>
                    <a:pt x="11" y="1"/>
                    <a:pt x="8" y="2"/>
                  </a:cubicBezTo>
                  <a:cubicBezTo>
                    <a:pt x="6" y="3"/>
                    <a:pt x="0" y="0"/>
                    <a:pt x="2"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299" name="Freeform 787">
              <a:extLst>
                <a:ext uri="{FF2B5EF4-FFF2-40B4-BE49-F238E27FC236}">
                  <a16:creationId xmlns:a16="http://schemas.microsoft.com/office/drawing/2014/main" id="{0DB96057-E0CB-734C-99D5-2C765DA29E38}"/>
                </a:ext>
              </a:extLst>
            </p:cNvPr>
            <p:cNvSpPr>
              <a:spLocks/>
            </p:cNvSpPr>
            <p:nvPr/>
          </p:nvSpPr>
          <p:spPr bwMode="auto">
            <a:xfrm>
              <a:off x="5372117" y="3197683"/>
              <a:ext cx="12700" cy="17463"/>
            </a:xfrm>
            <a:custGeom>
              <a:avLst/>
              <a:gdLst>
                <a:gd name="T0" fmla="*/ 6 w 14"/>
                <a:gd name="T1" fmla="*/ 6 h 18"/>
                <a:gd name="T2" fmla="*/ 1 w 14"/>
                <a:gd name="T3" fmla="*/ 15 h 18"/>
                <a:gd name="T4" fmla="*/ 9 w 14"/>
                <a:gd name="T5" fmla="*/ 18 h 18"/>
                <a:gd name="T6" fmla="*/ 13 w 14"/>
                <a:gd name="T7" fmla="*/ 12 h 18"/>
                <a:gd name="T8" fmla="*/ 6 w 14"/>
                <a:gd name="T9" fmla="*/ 6 h 18"/>
              </a:gdLst>
              <a:ahLst/>
              <a:cxnLst>
                <a:cxn ang="0">
                  <a:pos x="T0" y="T1"/>
                </a:cxn>
                <a:cxn ang="0">
                  <a:pos x="T2" y="T3"/>
                </a:cxn>
                <a:cxn ang="0">
                  <a:pos x="T4" y="T5"/>
                </a:cxn>
                <a:cxn ang="0">
                  <a:pos x="T6" y="T7"/>
                </a:cxn>
                <a:cxn ang="0">
                  <a:pos x="T8" y="T9"/>
                </a:cxn>
              </a:cxnLst>
              <a:rect l="0" t="0" r="r" b="b"/>
              <a:pathLst>
                <a:path w="14" h="18">
                  <a:moveTo>
                    <a:pt x="6" y="6"/>
                  </a:moveTo>
                  <a:cubicBezTo>
                    <a:pt x="4" y="8"/>
                    <a:pt x="0" y="12"/>
                    <a:pt x="1" y="15"/>
                  </a:cubicBezTo>
                  <a:cubicBezTo>
                    <a:pt x="2" y="18"/>
                    <a:pt x="6" y="18"/>
                    <a:pt x="9" y="18"/>
                  </a:cubicBezTo>
                  <a:cubicBezTo>
                    <a:pt x="11" y="17"/>
                    <a:pt x="14" y="17"/>
                    <a:pt x="13" y="12"/>
                  </a:cubicBezTo>
                  <a:cubicBezTo>
                    <a:pt x="12" y="7"/>
                    <a:pt x="11" y="0"/>
                    <a:pt x="6" y="6"/>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00" name="Freeform 788">
              <a:extLst>
                <a:ext uri="{FF2B5EF4-FFF2-40B4-BE49-F238E27FC236}">
                  <a16:creationId xmlns:a16="http://schemas.microsoft.com/office/drawing/2014/main" id="{C40540F8-88F8-8343-B5F7-0554169BABC4}"/>
                </a:ext>
              </a:extLst>
            </p:cNvPr>
            <p:cNvSpPr>
              <a:spLocks/>
            </p:cNvSpPr>
            <p:nvPr/>
          </p:nvSpPr>
          <p:spPr bwMode="auto">
            <a:xfrm>
              <a:off x="4564077" y="1713369"/>
              <a:ext cx="73025" cy="22225"/>
            </a:xfrm>
            <a:custGeom>
              <a:avLst/>
              <a:gdLst>
                <a:gd name="T0" fmla="*/ 6 w 76"/>
                <a:gd name="T1" fmla="*/ 5 h 24"/>
                <a:gd name="T2" fmla="*/ 10 w 76"/>
                <a:gd name="T3" fmla="*/ 17 h 24"/>
                <a:gd name="T4" fmla="*/ 34 w 76"/>
                <a:gd name="T5" fmla="*/ 17 h 24"/>
                <a:gd name="T6" fmla="*/ 44 w 76"/>
                <a:gd name="T7" fmla="*/ 23 h 24"/>
                <a:gd name="T8" fmla="*/ 59 w 76"/>
                <a:gd name="T9" fmla="*/ 21 h 24"/>
                <a:gd name="T10" fmla="*/ 73 w 76"/>
                <a:gd name="T11" fmla="*/ 20 h 24"/>
                <a:gd name="T12" fmla="*/ 71 w 76"/>
                <a:gd name="T13" fmla="*/ 14 h 24"/>
                <a:gd name="T14" fmla="*/ 60 w 76"/>
                <a:gd name="T15" fmla="*/ 14 h 24"/>
                <a:gd name="T16" fmla="*/ 52 w 76"/>
                <a:gd name="T17" fmla="*/ 10 h 24"/>
                <a:gd name="T18" fmla="*/ 42 w 76"/>
                <a:gd name="T19" fmla="*/ 11 h 24"/>
                <a:gd name="T20" fmla="*/ 29 w 76"/>
                <a:gd name="T21" fmla="*/ 9 h 24"/>
                <a:gd name="T22" fmla="*/ 18 w 76"/>
                <a:gd name="T23" fmla="*/ 7 h 24"/>
                <a:gd name="T24" fmla="*/ 13 w 76"/>
                <a:gd name="T25" fmla="*/ 5 h 24"/>
                <a:gd name="T26" fmla="*/ 6 w 76"/>
                <a:gd name="T27"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24">
                  <a:moveTo>
                    <a:pt x="6" y="5"/>
                  </a:moveTo>
                  <a:cubicBezTo>
                    <a:pt x="5" y="13"/>
                    <a:pt x="0" y="16"/>
                    <a:pt x="10" y="17"/>
                  </a:cubicBezTo>
                  <a:cubicBezTo>
                    <a:pt x="20" y="18"/>
                    <a:pt x="31" y="14"/>
                    <a:pt x="34" y="17"/>
                  </a:cubicBezTo>
                  <a:cubicBezTo>
                    <a:pt x="37" y="20"/>
                    <a:pt x="38" y="24"/>
                    <a:pt x="44" y="23"/>
                  </a:cubicBezTo>
                  <a:cubicBezTo>
                    <a:pt x="50" y="22"/>
                    <a:pt x="54" y="19"/>
                    <a:pt x="59" y="21"/>
                  </a:cubicBezTo>
                  <a:cubicBezTo>
                    <a:pt x="63" y="22"/>
                    <a:pt x="73" y="22"/>
                    <a:pt x="73" y="20"/>
                  </a:cubicBezTo>
                  <a:cubicBezTo>
                    <a:pt x="74" y="18"/>
                    <a:pt x="76" y="13"/>
                    <a:pt x="71" y="14"/>
                  </a:cubicBezTo>
                  <a:cubicBezTo>
                    <a:pt x="65" y="15"/>
                    <a:pt x="61" y="18"/>
                    <a:pt x="60" y="14"/>
                  </a:cubicBezTo>
                  <a:cubicBezTo>
                    <a:pt x="58" y="10"/>
                    <a:pt x="56" y="9"/>
                    <a:pt x="52" y="10"/>
                  </a:cubicBezTo>
                  <a:cubicBezTo>
                    <a:pt x="48" y="11"/>
                    <a:pt x="45" y="11"/>
                    <a:pt x="42" y="11"/>
                  </a:cubicBezTo>
                  <a:cubicBezTo>
                    <a:pt x="39" y="11"/>
                    <a:pt x="35" y="9"/>
                    <a:pt x="29" y="9"/>
                  </a:cubicBezTo>
                  <a:cubicBezTo>
                    <a:pt x="24" y="9"/>
                    <a:pt x="18" y="10"/>
                    <a:pt x="18" y="7"/>
                  </a:cubicBezTo>
                  <a:cubicBezTo>
                    <a:pt x="18" y="5"/>
                    <a:pt x="16" y="5"/>
                    <a:pt x="13" y="5"/>
                  </a:cubicBezTo>
                  <a:cubicBezTo>
                    <a:pt x="11" y="4"/>
                    <a:pt x="4" y="0"/>
                    <a:pt x="6"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01" name="Freeform 789">
              <a:extLst>
                <a:ext uri="{FF2B5EF4-FFF2-40B4-BE49-F238E27FC236}">
                  <a16:creationId xmlns:a16="http://schemas.microsoft.com/office/drawing/2014/main" id="{C52DEA4C-BC29-6A4A-8950-CD2DEE87B2FB}"/>
                </a:ext>
              </a:extLst>
            </p:cNvPr>
            <p:cNvSpPr>
              <a:spLocks/>
            </p:cNvSpPr>
            <p:nvPr/>
          </p:nvSpPr>
          <p:spPr bwMode="auto">
            <a:xfrm>
              <a:off x="4660915" y="1694319"/>
              <a:ext cx="11113" cy="17463"/>
            </a:xfrm>
            <a:custGeom>
              <a:avLst/>
              <a:gdLst>
                <a:gd name="T0" fmla="*/ 4 w 13"/>
                <a:gd name="T1" fmla="*/ 4 h 18"/>
                <a:gd name="T2" fmla="*/ 1 w 13"/>
                <a:gd name="T3" fmla="*/ 10 h 18"/>
                <a:gd name="T4" fmla="*/ 3 w 13"/>
                <a:gd name="T5" fmla="*/ 16 h 18"/>
                <a:gd name="T6" fmla="*/ 9 w 13"/>
                <a:gd name="T7" fmla="*/ 16 h 18"/>
                <a:gd name="T8" fmla="*/ 10 w 13"/>
                <a:gd name="T9" fmla="*/ 11 h 18"/>
                <a:gd name="T10" fmla="*/ 13 w 13"/>
                <a:gd name="T11" fmla="*/ 6 h 18"/>
                <a:gd name="T12" fmla="*/ 12 w 13"/>
                <a:gd name="T13" fmla="*/ 1 h 18"/>
                <a:gd name="T14" fmla="*/ 7 w 13"/>
                <a:gd name="T15" fmla="*/ 3 h 18"/>
                <a:gd name="T16" fmla="*/ 4 w 13"/>
                <a:gd name="T1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4" y="4"/>
                  </a:moveTo>
                  <a:cubicBezTo>
                    <a:pt x="1" y="7"/>
                    <a:pt x="0" y="6"/>
                    <a:pt x="1" y="10"/>
                  </a:cubicBezTo>
                  <a:cubicBezTo>
                    <a:pt x="1" y="14"/>
                    <a:pt x="0" y="15"/>
                    <a:pt x="3" y="16"/>
                  </a:cubicBezTo>
                  <a:cubicBezTo>
                    <a:pt x="5" y="16"/>
                    <a:pt x="8" y="18"/>
                    <a:pt x="9" y="16"/>
                  </a:cubicBezTo>
                  <a:cubicBezTo>
                    <a:pt x="9" y="13"/>
                    <a:pt x="9" y="12"/>
                    <a:pt x="10" y="11"/>
                  </a:cubicBezTo>
                  <a:cubicBezTo>
                    <a:pt x="11" y="9"/>
                    <a:pt x="13" y="9"/>
                    <a:pt x="13" y="6"/>
                  </a:cubicBezTo>
                  <a:cubicBezTo>
                    <a:pt x="13" y="3"/>
                    <a:pt x="13" y="1"/>
                    <a:pt x="12" y="1"/>
                  </a:cubicBezTo>
                  <a:cubicBezTo>
                    <a:pt x="10" y="0"/>
                    <a:pt x="8" y="1"/>
                    <a:pt x="7" y="3"/>
                  </a:cubicBezTo>
                  <a:cubicBezTo>
                    <a:pt x="7" y="3"/>
                    <a:pt x="1" y="2"/>
                    <a:pt x="4"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02" name="Freeform 790">
              <a:extLst>
                <a:ext uri="{FF2B5EF4-FFF2-40B4-BE49-F238E27FC236}">
                  <a16:creationId xmlns:a16="http://schemas.microsoft.com/office/drawing/2014/main" id="{583E2BA0-0724-8C41-BC62-DC61C1EA659B}"/>
                </a:ext>
              </a:extLst>
            </p:cNvPr>
            <p:cNvSpPr>
              <a:spLocks/>
            </p:cNvSpPr>
            <p:nvPr/>
          </p:nvSpPr>
          <p:spPr bwMode="auto">
            <a:xfrm>
              <a:off x="4613290" y="1618119"/>
              <a:ext cx="19050" cy="11113"/>
            </a:xfrm>
            <a:custGeom>
              <a:avLst/>
              <a:gdLst>
                <a:gd name="T0" fmla="*/ 2 w 19"/>
                <a:gd name="T1" fmla="*/ 3 h 12"/>
                <a:gd name="T2" fmla="*/ 5 w 19"/>
                <a:gd name="T3" fmla="*/ 6 h 12"/>
                <a:gd name="T4" fmla="*/ 8 w 19"/>
                <a:gd name="T5" fmla="*/ 8 h 12"/>
                <a:gd name="T6" fmla="*/ 11 w 19"/>
                <a:gd name="T7" fmla="*/ 11 h 12"/>
                <a:gd name="T8" fmla="*/ 17 w 19"/>
                <a:gd name="T9" fmla="*/ 11 h 12"/>
                <a:gd name="T10" fmla="*/ 18 w 19"/>
                <a:gd name="T11" fmla="*/ 7 h 12"/>
                <a:gd name="T12" fmla="*/ 13 w 19"/>
                <a:gd name="T13" fmla="*/ 3 h 12"/>
                <a:gd name="T14" fmla="*/ 4 w 19"/>
                <a:gd name="T15" fmla="*/ 1 h 12"/>
                <a:gd name="T16" fmla="*/ 2 w 19"/>
                <a:gd name="T17"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2">
                  <a:moveTo>
                    <a:pt x="2" y="3"/>
                  </a:moveTo>
                  <a:cubicBezTo>
                    <a:pt x="2" y="6"/>
                    <a:pt x="3" y="5"/>
                    <a:pt x="5" y="6"/>
                  </a:cubicBezTo>
                  <a:cubicBezTo>
                    <a:pt x="8" y="6"/>
                    <a:pt x="8" y="6"/>
                    <a:pt x="8" y="8"/>
                  </a:cubicBezTo>
                  <a:cubicBezTo>
                    <a:pt x="9" y="10"/>
                    <a:pt x="7" y="10"/>
                    <a:pt x="11" y="11"/>
                  </a:cubicBezTo>
                  <a:cubicBezTo>
                    <a:pt x="15" y="12"/>
                    <a:pt x="16" y="12"/>
                    <a:pt x="17" y="11"/>
                  </a:cubicBezTo>
                  <a:cubicBezTo>
                    <a:pt x="18" y="10"/>
                    <a:pt x="19" y="8"/>
                    <a:pt x="18" y="7"/>
                  </a:cubicBezTo>
                  <a:cubicBezTo>
                    <a:pt x="17" y="5"/>
                    <a:pt x="17" y="4"/>
                    <a:pt x="13" y="3"/>
                  </a:cubicBezTo>
                  <a:cubicBezTo>
                    <a:pt x="10" y="2"/>
                    <a:pt x="7" y="0"/>
                    <a:pt x="4" y="1"/>
                  </a:cubicBezTo>
                  <a:cubicBezTo>
                    <a:pt x="2" y="2"/>
                    <a:pt x="0" y="1"/>
                    <a:pt x="2"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03" name="Freeform 791">
              <a:extLst>
                <a:ext uri="{FF2B5EF4-FFF2-40B4-BE49-F238E27FC236}">
                  <a16:creationId xmlns:a16="http://schemas.microsoft.com/office/drawing/2014/main" id="{AC890214-190B-A845-B53D-AC5DB17314E6}"/>
                </a:ext>
              </a:extLst>
            </p:cNvPr>
            <p:cNvSpPr>
              <a:spLocks/>
            </p:cNvSpPr>
            <p:nvPr/>
          </p:nvSpPr>
          <p:spPr bwMode="auto">
            <a:xfrm>
              <a:off x="4476764" y="1607006"/>
              <a:ext cx="12700" cy="14288"/>
            </a:xfrm>
            <a:custGeom>
              <a:avLst/>
              <a:gdLst>
                <a:gd name="T0" fmla="*/ 1 w 13"/>
                <a:gd name="T1" fmla="*/ 2 h 14"/>
                <a:gd name="T2" fmla="*/ 3 w 13"/>
                <a:gd name="T3" fmla="*/ 9 h 14"/>
                <a:gd name="T4" fmla="*/ 8 w 13"/>
                <a:gd name="T5" fmla="*/ 13 h 14"/>
                <a:gd name="T6" fmla="*/ 10 w 13"/>
                <a:gd name="T7" fmla="*/ 9 h 14"/>
                <a:gd name="T8" fmla="*/ 5 w 13"/>
                <a:gd name="T9" fmla="*/ 2 h 14"/>
                <a:gd name="T10" fmla="*/ 1 w 13"/>
                <a:gd name="T11" fmla="*/ 2 h 14"/>
              </a:gdLst>
              <a:ahLst/>
              <a:cxnLst>
                <a:cxn ang="0">
                  <a:pos x="T0" y="T1"/>
                </a:cxn>
                <a:cxn ang="0">
                  <a:pos x="T2" y="T3"/>
                </a:cxn>
                <a:cxn ang="0">
                  <a:pos x="T4" y="T5"/>
                </a:cxn>
                <a:cxn ang="0">
                  <a:pos x="T6" y="T7"/>
                </a:cxn>
                <a:cxn ang="0">
                  <a:pos x="T8" y="T9"/>
                </a:cxn>
                <a:cxn ang="0">
                  <a:pos x="T10" y="T11"/>
                </a:cxn>
              </a:cxnLst>
              <a:rect l="0" t="0" r="r" b="b"/>
              <a:pathLst>
                <a:path w="13" h="14">
                  <a:moveTo>
                    <a:pt x="1" y="2"/>
                  </a:moveTo>
                  <a:cubicBezTo>
                    <a:pt x="1" y="5"/>
                    <a:pt x="2" y="5"/>
                    <a:pt x="3" y="9"/>
                  </a:cubicBezTo>
                  <a:cubicBezTo>
                    <a:pt x="4" y="12"/>
                    <a:pt x="7" y="14"/>
                    <a:pt x="8" y="13"/>
                  </a:cubicBezTo>
                  <a:cubicBezTo>
                    <a:pt x="10" y="12"/>
                    <a:pt x="13" y="12"/>
                    <a:pt x="10" y="9"/>
                  </a:cubicBezTo>
                  <a:cubicBezTo>
                    <a:pt x="7" y="5"/>
                    <a:pt x="7" y="4"/>
                    <a:pt x="5" y="2"/>
                  </a:cubicBezTo>
                  <a:cubicBezTo>
                    <a:pt x="2" y="1"/>
                    <a:pt x="0" y="0"/>
                    <a:pt x="1"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04" name="Freeform 792">
              <a:extLst>
                <a:ext uri="{FF2B5EF4-FFF2-40B4-BE49-F238E27FC236}">
                  <a16:creationId xmlns:a16="http://schemas.microsoft.com/office/drawing/2014/main" id="{BE89B89F-5A47-EE44-80DE-8A336805A8EB}"/>
                </a:ext>
              </a:extLst>
            </p:cNvPr>
            <p:cNvSpPr>
              <a:spLocks/>
            </p:cNvSpPr>
            <p:nvPr/>
          </p:nvSpPr>
          <p:spPr bwMode="auto">
            <a:xfrm>
              <a:off x="4492639" y="1640344"/>
              <a:ext cx="14288" cy="12700"/>
            </a:xfrm>
            <a:custGeom>
              <a:avLst/>
              <a:gdLst>
                <a:gd name="T0" fmla="*/ 2 w 15"/>
                <a:gd name="T1" fmla="*/ 7 h 13"/>
                <a:gd name="T2" fmla="*/ 5 w 15"/>
                <a:gd name="T3" fmla="*/ 11 h 13"/>
                <a:gd name="T4" fmla="*/ 8 w 15"/>
                <a:gd name="T5" fmla="*/ 13 h 13"/>
                <a:gd name="T6" fmla="*/ 12 w 15"/>
                <a:gd name="T7" fmla="*/ 12 h 13"/>
                <a:gd name="T8" fmla="*/ 14 w 15"/>
                <a:gd name="T9" fmla="*/ 9 h 13"/>
                <a:gd name="T10" fmla="*/ 11 w 15"/>
                <a:gd name="T11" fmla="*/ 4 h 13"/>
                <a:gd name="T12" fmla="*/ 5 w 15"/>
                <a:gd name="T13" fmla="*/ 1 h 13"/>
                <a:gd name="T14" fmla="*/ 1 w 15"/>
                <a:gd name="T15" fmla="*/ 3 h 13"/>
                <a:gd name="T16" fmla="*/ 2 w 15"/>
                <a:gd name="T17"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3">
                  <a:moveTo>
                    <a:pt x="2" y="7"/>
                  </a:moveTo>
                  <a:cubicBezTo>
                    <a:pt x="3" y="9"/>
                    <a:pt x="3" y="10"/>
                    <a:pt x="5" y="11"/>
                  </a:cubicBezTo>
                  <a:cubicBezTo>
                    <a:pt x="7" y="12"/>
                    <a:pt x="6" y="12"/>
                    <a:pt x="8" y="13"/>
                  </a:cubicBezTo>
                  <a:cubicBezTo>
                    <a:pt x="10" y="13"/>
                    <a:pt x="10" y="13"/>
                    <a:pt x="12" y="12"/>
                  </a:cubicBezTo>
                  <a:cubicBezTo>
                    <a:pt x="14" y="11"/>
                    <a:pt x="15" y="11"/>
                    <a:pt x="14" y="9"/>
                  </a:cubicBezTo>
                  <a:cubicBezTo>
                    <a:pt x="13" y="7"/>
                    <a:pt x="12" y="6"/>
                    <a:pt x="11" y="4"/>
                  </a:cubicBezTo>
                  <a:cubicBezTo>
                    <a:pt x="10" y="2"/>
                    <a:pt x="9" y="0"/>
                    <a:pt x="5" y="1"/>
                  </a:cubicBezTo>
                  <a:cubicBezTo>
                    <a:pt x="2" y="2"/>
                    <a:pt x="0" y="0"/>
                    <a:pt x="1" y="3"/>
                  </a:cubicBezTo>
                  <a:cubicBezTo>
                    <a:pt x="1" y="5"/>
                    <a:pt x="1" y="5"/>
                    <a:pt x="2" y="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05" name="Freeform 793">
              <a:extLst>
                <a:ext uri="{FF2B5EF4-FFF2-40B4-BE49-F238E27FC236}">
                  <a16:creationId xmlns:a16="http://schemas.microsoft.com/office/drawing/2014/main" id="{5BD29ECA-879A-F541-AE4D-A073C275EA3E}"/>
                </a:ext>
              </a:extLst>
            </p:cNvPr>
            <p:cNvSpPr>
              <a:spLocks/>
            </p:cNvSpPr>
            <p:nvPr/>
          </p:nvSpPr>
          <p:spPr bwMode="auto">
            <a:xfrm>
              <a:off x="4594240" y="1600656"/>
              <a:ext cx="14288" cy="6350"/>
            </a:xfrm>
            <a:custGeom>
              <a:avLst/>
              <a:gdLst>
                <a:gd name="T0" fmla="*/ 2 w 15"/>
                <a:gd name="T1" fmla="*/ 4 h 6"/>
                <a:gd name="T2" fmla="*/ 12 w 15"/>
                <a:gd name="T3" fmla="*/ 4 h 6"/>
                <a:gd name="T4" fmla="*/ 11 w 15"/>
                <a:gd name="T5" fmla="*/ 0 h 6"/>
                <a:gd name="T6" fmla="*/ 1 w 15"/>
                <a:gd name="T7" fmla="*/ 0 h 6"/>
                <a:gd name="T8" fmla="*/ 2 w 15"/>
                <a:gd name="T9" fmla="*/ 4 h 6"/>
              </a:gdLst>
              <a:ahLst/>
              <a:cxnLst>
                <a:cxn ang="0">
                  <a:pos x="T0" y="T1"/>
                </a:cxn>
                <a:cxn ang="0">
                  <a:pos x="T2" y="T3"/>
                </a:cxn>
                <a:cxn ang="0">
                  <a:pos x="T4" y="T5"/>
                </a:cxn>
                <a:cxn ang="0">
                  <a:pos x="T6" y="T7"/>
                </a:cxn>
                <a:cxn ang="0">
                  <a:pos x="T8" y="T9"/>
                </a:cxn>
              </a:cxnLst>
              <a:rect l="0" t="0" r="r" b="b"/>
              <a:pathLst>
                <a:path w="15" h="6">
                  <a:moveTo>
                    <a:pt x="2" y="4"/>
                  </a:moveTo>
                  <a:cubicBezTo>
                    <a:pt x="9" y="6"/>
                    <a:pt x="12" y="6"/>
                    <a:pt x="12" y="4"/>
                  </a:cubicBezTo>
                  <a:cubicBezTo>
                    <a:pt x="12" y="2"/>
                    <a:pt x="15" y="0"/>
                    <a:pt x="11" y="0"/>
                  </a:cubicBezTo>
                  <a:cubicBezTo>
                    <a:pt x="7" y="0"/>
                    <a:pt x="1" y="0"/>
                    <a:pt x="1" y="0"/>
                  </a:cubicBezTo>
                  <a:cubicBezTo>
                    <a:pt x="1" y="1"/>
                    <a:pt x="0" y="3"/>
                    <a:pt x="2"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06" name="Freeform 794">
              <a:extLst>
                <a:ext uri="{FF2B5EF4-FFF2-40B4-BE49-F238E27FC236}">
                  <a16:creationId xmlns:a16="http://schemas.microsoft.com/office/drawing/2014/main" id="{A5CB28D3-E40F-0245-BA8B-B5DCC7F918B0}"/>
                </a:ext>
              </a:extLst>
            </p:cNvPr>
            <p:cNvSpPr>
              <a:spLocks/>
            </p:cNvSpPr>
            <p:nvPr/>
          </p:nvSpPr>
          <p:spPr bwMode="auto">
            <a:xfrm>
              <a:off x="4581540" y="1626056"/>
              <a:ext cx="9525" cy="9525"/>
            </a:xfrm>
            <a:custGeom>
              <a:avLst/>
              <a:gdLst>
                <a:gd name="T0" fmla="*/ 3 w 11"/>
                <a:gd name="T1" fmla="*/ 4 h 10"/>
                <a:gd name="T2" fmla="*/ 5 w 11"/>
                <a:gd name="T3" fmla="*/ 7 h 10"/>
                <a:gd name="T4" fmla="*/ 11 w 11"/>
                <a:gd name="T5" fmla="*/ 7 h 10"/>
                <a:gd name="T6" fmla="*/ 7 w 11"/>
                <a:gd name="T7" fmla="*/ 1 h 10"/>
                <a:gd name="T8" fmla="*/ 3 w 11"/>
                <a:gd name="T9" fmla="*/ 4 h 10"/>
              </a:gdLst>
              <a:ahLst/>
              <a:cxnLst>
                <a:cxn ang="0">
                  <a:pos x="T0" y="T1"/>
                </a:cxn>
                <a:cxn ang="0">
                  <a:pos x="T2" y="T3"/>
                </a:cxn>
                <a:cxn ang="0">
                  <a:pos x="T4" y="T5"/>
                </a:cxn>
                <a:cxn ang="0">
                  <a:pos x="T6" y="T7"/>
                </a:cxn>
                <a:cxn ang="0">
                  <a:pos x="T8" y="T9"/>
                </a:cxn>
              </a:cxnLst>
              <a:rect l="0" t="0" r="r" b="b"/>
              <a:pathLst>
                <a:path w="11" h="10">
                  <a:moveTo>
                    <a:pt x="3" y="4"/>
                  </a:moveTo>
                  <a:cubicBezTo>
                    <a:pt x="3" y="4"/>
                    <a:pt x="4" y="5"/>
                    <a:pt x="5" y="7"/>
                  </a:cubicBezTo>
                  <a:cubicBezTo>
                    <a:pt x="7" y="10"/>
                    <a:pt x="11" y="9"/>
                    <a:pt x="11" y="7"/>
                  </a:cubicBezTo>
                  <a:cubicBezTo>
                    <a:pt x="11" y="6"/>
                    <a:pt x="9" y="1"/>
                    <a:pt x="7" y="1"/>
                  </a:cubicBezTo>
                  <a:cubicBezTo>
                    <a:pt x="5" y="1"/>
                    <a:pt x="0" y="0"/>
                    <a:pt x="3"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07" name="Freeform 795">
              <a:extLst>
                <a:ext uri="{FF2B5EF4-FFF2-40B4-BE49-F238E27FC236}">
                  <a16:creationId xmlns:a16="http://schemas.microsoft.com/office/drawing/2014/main" id="{99573EBF-BA2F-2941-B43D-5B2116045A66}"/>
                </a:ext>
              </a:extLst>
            </p:cNvPr>
            <p:cNvSpPr>
              <a:spLocks/>
            </p:cNvSpPr>
            <p:nvPr/>
          </p:nvSpPr>
          <p:spPr bwMode="auto">
            <a:xfrm>
              <a:off x="4591065" y="1653044"/>
              <a:ext cx="17463" cy="15875"/>
            </a:xfrm>
            <a:custGeom>
              <a:avLst/>
              <a:gdLst>
                <a:gd name="T0" fmla="*/ 6 w 19"/>
                <a:gd name="T1" fmla="*/ 8 h 16"/>
                <a:gd name="T2" fmla="*/ 9 w 19"/>
                <a:gd name="T3" fmla="*/ 13 h 16"/>
                <a:gd name="T4" fmla="*/ 17 w 19"/>
                <a:gd name="T5" fmla="*/ 15 h 16"/>
                <a:gd name="T6" fmla="*/ 17 w 19"/>
                <a:gd name="T7" fmla="*/ 10 h 16"/>
                <a:gd name="T8" fmla="*/ 10 w 19"/>
                <a:gd name="T9" fmla="*/ 6 h 16"/>
                <a:gd name="T10" fmla="*/ 6 w 19"/>
                <a:gd name="T11" fmla="*/ 8 h 16"/>
              </a:gdLst>
              <a:ahLst/>
              <a:cxnLst>
                <a:cxn ang="0">
                  <a:pos x="T0" y="T1"/>
                </a:cxn>
                <a:cxn ang="0">
                  <a:pos x="T2" y="T3"/>
                </a:cxn>
                <a:cxn ang="0">
                  <a:pos x="T4" y="T5"/>
                </a:cxn>
                <a:cxn ang="0">
                  <a:pos x="T6" y="T7"/>
                </a:cxn>
                <a:cxn ang="0">
                  <a:pos x="T8" y="T9"/>
                </a:cxn>
                <a:cxn ang="0">
                  <a:pos x="T10" y="T11"/>
                </a:cxn>
              </a:cxnLst>
              <a:rect l="0" t="0" r="r" b="b"/>
              <a:pathLst>
                <a:path w="19" h="16">
                  <a:moveTo>
                    <a:pt x="6" y="8"/>
                  </a:moveTo>
                  <a:cubicBezTo>
                    <a:pt x="7" y="10"/>
                    <a:pt x="5" y="12"/>
                    <a:pt x="9" y="13"/>
                  </a:cubicBezTo>
                  <a:cubicBezTo>
                    <a:pt x="14" y="15"/>
                    <a:pt x="14" y="15"/>
                    <a:pt x="17" y="15"/>
                  </a:cubicBezTo>
                  <a:cubicBezTo>
                    <a:pt x="19" y="16"/>
                    <a:pt x="19" y="11"/>
                    <a:pt x="17" y="10"/>
                  </a:cubicBezTo>
                  <a:cubicBezTo>
                    <a:pt x="14" y="9"/>
                    <a:pt x="14" y="8"/>
                    <a:pt x="10" y="6"/>
                  </a:cubicBezTo>
                  <a:cubicBezTo>
                    <a:pt x="7" y="4"/>
                    <a:pt x="0" y="0"/>
                    <a:pt x="6" y="8"/>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08" name="Freeform 796">
              <a:extLst>
                <a:ext uri="{FF2B5EF4-FFF2-40B4-BE49-F238E27FC236}">
                  <a16:creationId xmlns:a16="http://schemas.microsoft.com/office/drawing/2014/main" id="{21885DBE-F968-EA4F-A2E3-A5375D69A1C5}"/>
                </a:ext>
              </a:extLst>
            </p:cNvPr>
            <p:cNvSpPr>
              <a:spLocks/>
            </p:cNvSpPr>
            <p:nvPr/>
          </p:nvSpPr>
          <p:spPr bwMode="auto">
            <a:xfrm>
              <a:off x="4616465" y="1633994"/>
              <a:ext cx="6350" cy="20638"/>
            </a:xfrm>
            <a:custGeom>
              <a:avLst/>
              <a:gdLst>
                <a:gd name="T0" fmla="*/ 0 w 7"/>
                <a:gd name="T1" fmla="*/ 12 h 22"/>
                <a:gd name="T2" fmla="*/ 5 w 7"/>
                <a:gd name="T3" fmla="*/ 20 h 22"/>
                <a:gd name="T4" fmla="*/ 5 w 7"/>
                <a:gd name="T5" fmla="*/ 8 h 22"/>
                <a:gd name="T6" fmla="*/ 0 w 7"/>
                <a:gd name="T7" fmla="*/ 12 h 22"/>
              </a:gdLst>
              <a:ahLst/>
              <a:cxnLst>
                <a:cxn ang="0">
                  <a:pos x="T0" y="T1"/>
                </a:cxn>
                <a:cxn ang="0">
                  <a:pos x="T2" y="T3"/>
                </a:cxn>
                <a:cxn ang="0">
                  <a:pos x="T4" y="T5"/>
                </a:cxn>
                <a:cxn ang="0">
                  <a:pos x="T6" y="T7"/>
                </a:cxn>
              </a:cxnLst>
              <a:rect l="0" t="0" r="r" b="b"/>
              <a:pathLst>
                <a:path w="7" h="22">
                  <a:moveTo>
                    <a:pt x="0" y="12"/>
                  </a:moveTo>
                  <a:cubicBezTo>
                    <a:pt x="2" y="21"/>
                    <a:pt x="5" y="22"/>
                    <a:pt x="5" y="20"/>
                  </a:cubicBezTo>
                  <a:cubicBezTo>
                    <a:pt x="5" y="18"/>
                    <a:pt x="7" y="9"/>
                    <a:pt x="5" y="8"/>
                  </a:cubicBezTo>
                  <a:cubicBezTo>
                    <a:pt x="3" y="6"/>
                    <a:pt x="0" y="0"/>
                    <a:pt x="0" y="1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09" name="Freeform 797">
              <a:extLst>
                <a:ext uri="{FF2B5EF4-FFF2-40B4-BE49-F238E27FC236}">
                  <a16:creationId xmlns:a16="http://schemas.microsoft.com/office/drawing/2014/main" id="{FB04AD5A-C972-0841-9C61-27262C90920B}"/>
                </a:ext>
              </a:extLst>
            </p:cNvPr>
            <p:cNvSpPr>
              <a:spLocks/>
            </p:cNvSpPr>
            <p:nvPr/>
          </p:nvSpPr>
          <p:spPr bwMode="auto">
            <a:xfrm>
              <a:off x="4618052" y="1660981"/>
              <a:ext cx="11113" cy="7938"/>
            </a:xfrm>
            <a:custGeom>
              <a:avLst/>
              <a:gdLst>
                <a:gd name="T0" fmla="*/ 3 w 11"/>
                <a:gd name="T1" fmla="*/ 5 h 8"/>
                <a:gd name="T2" fmla="*/ 10 w 11"/>
                <a:gd name="T3" fmla="*/ 5 h 8"/>
                <a:gd name="T4" fmla="*/ 9 w 11"/>
                <a:gd name="T5" fmla="*/ 0 h 8"/>
                <a:gd name="T6" fmla="*/ 3 w 11"/>
                <a:gd name="T7" fmla="*/ 5 h 8"/>
              </a:gdLst>
              <a:ahLst/>
              <a:cxnLst>
                <a:cxn ang="0">
                  <a:pos x="T0" y="T1"/>
                </a:cxn>
                <a:cxn ang="0">
                  <a:pos x="T2" y="T3"/>
                </a:cxn>
                <a:cxn ang="0">
                  <a:pos x="T4" y="T5"/>
                </a:cxn>
                <a:cxn ang="0">
                  <a:pos x="T6" y="T7"/>
                </a:cxn>
              </a:cxnLst>
              <a:rect l="0" t="0" r="r" b="b"/>
              <a:pathLst>
                <a:path w="11" h="8">
                  <a:moveTo>
                    <a:pt x="3" y="5"/>
                  </a:moveTo>
                  <a:cubicBezTo>
                    <a:pt x="4" y="6"/>
                    <a:pt x="9" y="8"/>
                    <a:pt x="10" y="5"/>
                  </a:cubicBezTo>
                  <a:cubicBezTo>
                    <a:pt x="10" y="3"/>
                    <a:pt x="11" y="0"/>
                    <a:pt x="9" y="0"/>
                  </a:cubicBezTo>
                  <a:cubicBezTo>
                    <a:pt x="6" y="0"/>
                    <a:pt x="0" y="3"/>
                    <a:pt x="3"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10" name="Freeform 798">
              <a:extLst>
                <a:ext uri="{FF2B5EF4-FFF2-40B4-BE49-F238E27FC236}">
                  <a16:creationId xmlns:a16="http://schemas.microsoft.com/office/drawing/2014/main" id="{E6F2939F-D8CE-8F4B-A6F9-FF289063CB93}"/>
                </a:ext>
              </a:extLst>
            </p:cNvPr>
            <p:cNvSpPr>
              <a:spLocks/>
            </p:cNvSpPr>
            <p:nvPr/>
          </p:nvSpPr>
          <p:spPr bwMode="auto">
            <a:xfrm>
              <a:off x="4579952" y="1684794"/>
              <a:ext cx="11113" cy="6350"/>
            </a:xfrm>
            <a:custGeom>
              <a:avLst/>
              <a:gdLst>
                <a:gd name="T0" fmla="*/ 6 w 12"/>
                <a:gd name="T1" fmla="*/ 1 h 6"/>
                <a:gd name="T2" fmla="*/ 12 w 12"/>
                <a:gd name="T3" fmla="*/ 2 h 6"/>
                <a:gd name="T4" fmla="*/ 9 w 12"/>
                <a:gd name="T5" fmla="*/ 6 h 6"/>
                <a:gd name="T6" fmla="*/ 2 w 12"/>
                <a:gd name="T7" fmla="*/ 2 h 6"/>
                <a:gd name="T8" fmla="*/ 6 w 12"/>
                <a:gd name="T9" fmla="*/ 1 h 6"/>
              </a:gdLst>
              <a:ahLst/>
              <a:cxnLst>
                <a:cxn ang="0">
                  <a:pos x="T0" y="T1"/>
                </a:cxn>
                <a:cxn ang="0">
                  <a:pos x="T2" y="T3"/>
                </a:cxn>
                <a:cxn ang="0">
                  <a:pos x="T4" y="T5"/>
                </a:cxn>
                <a:cxn ang="0">
                  <a:pos x="T6" y="T7"/>
                </a:cxn>
                <a:cxn ang="0">
                  <a:pos x="T8" y="T9"/>
                </a:cxn>
              </a:cxnLst>
              <a:rect l="0" t="0" r="r" b="b"/>
              <a:pathLst>
                <a:path w="12" h="6">
                  <a:moveTo>
                    <a:pt x="6" y="1"/>
                  </a:moveTo>
                  <a:cubicBezTo>
                    <a:pt x="9" y="1"/>
                    <a:pt x="11" y="1"/>
                    <a:pt x="12" y="2"/>
                  </a:cubicBezTo>
                  <a:cubicBezTo>
                    <a:pt x="12" y="4"/>
                    <a:pt x="12" y="6"/>
                    <a:pt x="9" y="6"/>
                  </a:cubicBezTo>
                  <a:cubicBezTo>
                    <a:pt x="6" y="6"/>
                    <a:pt x="0" y="3"/>
                    <a:pt x="2" y="2"/>
                  </a:cubicBezTo>
                  <a:cubicBezTo>
                    <a:pt x="3" y="2"/>
                    <a:pt x="4" y="0"/>
                    <a:pt x="6" y="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11" name="Freeform 799">
              <a:extLst>
                <a:ext uri="{FF2B5EF4-FFF2-40B4-BE49-F238E27FC236}">
                  <a16:creationId xmlns:a16="http://schemas.microsoft.com/office/drawing/2014/main" id="{143601F5-D02E-DC47-BA63-50C151E8AAFB}"/>
                </a:ext>
              </a:extLst>
            </p:cNvPr>
            <p:cNvSpPr>
              <a:spLocks/>
            </p:cNvSpPr>
            <p:nvPr/>
          </p:nvSpPr>
          <p:spPr bwMode="auto">
            <a:xfrm>
              <a:off x="4606940" y="1675269"/>
              <a:ext cx="6350" cy="9525"/>
            </a:xfrm>
            <a:custGeom>
              <a:avLst/>
              <a:gdLst>
                <a:gd name="T0" fmla="*/ 1 w 6"/>
                <a:gd name="T1" fmla="*/ 5 h 11"/>
                <a:gd name="T2" fmla="*/ 3 w 6"/>
                <a:gd name="T3" fmla="*/ 9 h 11"/>
                <a:gd name="T4" fmla="*/ 6 w 6"/>
                <a:gd name="T5" fmla="*/ 5 h 11"/>
                <a:gd name="T6" fmla="*/ 0 w 6"/>
                <a:gd name="T7" fmla="*/ 1 h 11"/>
                <a:gd name="T8" fmla="*/ 1 w 6"/>
                <a:gd name="T9" fmla="*/ 5 h 11"/>
              </a:gdLst>
              <a:ahLst/>
              <a:cxnLst>
                <a:cxn ang="0">
                  <a:pos x="T0" y="T1"/>
                </a:cxn>
                <a:cxn ang="0">
                  <a:pos x="T2" y="T3"/>
                </a:cxn>
                <a:cxn ang="0">
                  <a:pos x="T4" y="T5"/>
                </a:cxn>
                <a:cxn ang="0">
                  <a:pos x="T6" y="T7"/>
                </a:cxn>
                <a:cxn ang="0">
                  <a:pos x="T8" y="T9"/>
                </a:cxn>
              </a:cxnLst>
              <a:rect l="0" t="0" r="r" b="b"/>
              <a:pathLst>
                <a:path w="6" h="11">
                  <a:moveTo>
                    <a:pt x="1" y="5"/>
                  </a:moveTo>
                  <a:cubicBezTo>
                    <a:pt x="2" y="6"/>
                    <a:pt x="2" y="11"/>
                    <a:pt x="3" y="9"/>
                  </a:cubicBezTo>
                  <a:cubicBezTo>
                    <a:pt x="5" y="8"/>
                    <a:pt x="5" y="7"/>
                    <a:pt x="6" y="5"/>
                  </a:cubicBezTo>
                  <a:cubicBezTo>
                    <a:pt x="6" y="2"/>
                    <a:pt x="0" y="0"/>
                    <a:pt x="0" y="1"/>
                  </a:cubicBezTo>
                  <a:cubicBezTo>
                    <a:pt x="0" y="3"/>
                    <a:pt x="1" y="3"/>
                    <a:pt x="1"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12" name="Freeform 800">
              <a:extLst>
                <a:ext uri="{FF2B5EF4-FFF2-40B4-BE49-F238E27FC236}">
                  <a16:creationId xmlns:a16="http://schemas.microsoft.com/office/drawing/2014/main" id="{98F4F79A-77C0-744E-9FD4-9BA665865D8F}"/>
                </a:ext>
              </a:extLst>
            </p:cNvPr>
            <p:cNvSpPr>
              <a:spLocks/>
            </p:cNvSpPr>
            <p:nvPr/>
          </p:nvSpPr>
          <p:spPr bwMode="auto">
            <a:xfrm>
              <a:off x="7062810" y="2740483"/>
              <a:ext cx="84138" cy="33338"/>
            </a:xfrm>
            <a:custGeom>
              <a:avLst/>
              <a:gdLst>
                <a:gd name="T0" fmla="*/ 4 w 88"/>
                <a:gd name="T1" fmla="*/ 13 h 34"/>
                <a:gd name="T2" fmla="*/ 15 w 88"/>
                <a:gd name="T3" fmla="*/ 8 h 34"/>
                <a:gd name="T4" fmla="*/ 24 w 88"/>
                <a:gd name="T5" fmla="*/ 3 h 34"/>
                <a:gd name="T6" fmla="*/ 33 w 88"/>
                <a:gd name="T7" fmla="*/ 1 h 34"/>
                <a:gd name="T8" fmla="*/ 43 w 88"/>
                <a:gd name="T9" fmla="*/ 4 h 34"/>
                <a:gd name="T10" fmla="*/ 52 w 88"/>
                <a:gd name="T11" fmla="*/ 3 h 34"/>
                <a:gd name="T12" fmla="*/ 61 w 88"/>
                <a:gd name="T13" fmla="*/ 4 h 34"/>
                <a:gd name="T14" fmla="*/ 69 w 88"/>
                <a:gd name="T15" fmla="*/ 7 h 34"/>
                <a:gd name="T16" fmla="*/ 78 w 88"/>
                <a:gd name="T17" fmla="*/ 8 h 34"/>
                <a:gd name="T18" fmla="*/ 79 w 88"/>
                <a:gd name="T19" fmla="*/ 16 h 34"/>
                <a:gd name="T20" fmla="*/ 86 w 88"/>
                <a:gd name="T21" fmla="*/ 22 h 34"/>
                <a:gd name="T22" fmla="*/ 84 w 88"/>
                <a:gd name="T23" fmla="*/ 30 h 34"/>
                <a:gd name="T24" fmla="*/ 78 w 88"/>
                <a:gd name="T25" fmla="*/ 30 h 34"/>
                <a:gd name="T26" fmla="*/ 73 w 88"/>
                <a:gd name="T27" fmla="*/ 25 h 34"/>
                <a:gd name="T28" fmla="*/ 63 w 88"/>
                <a:gd name="T29" fmla="*/ 23 h 34"/>
                <a:gd name="T30" fmla="*/ 53 w 88"/>
                <a:gd name="T31" fmla="*/ 17 h 34"/>
                <a:gd name="T32" fmla="*/ 50 w 88"/>
                <a:gd name="T33" fmla="*/ 19 h 34"/>
                <a:gd name="T34" fmla="*/ 41 w 88"/>
                <a:gd name="T35" fmla="*/ 19 h 34"/>
                <a:gd name="T36" fmla="*/ 31 w 88"/>
                <a:gd name="T37" fmla="*/ 14 h 34"/>
                <a:gd name="T38" fmla="*/ 29 w 88"/>
                <a:gd name="T39" fmla="*/ 20 h 34"/>
                <a:gd name="T40" fmla="*/ 26 w 88"/>
                <a:gd name="T41" fmla="*/ 24 h 34"/>
                <a:gd name="T42" fmla="*/ 22 w 88"/>
                <a:gd name="T43" fmla="*/ 17 h 34"/>
                <a:gd name="T44" fmla="*/ 16 w 88"/>
                <a:gd name="T45" fmla="*/ 13 h 34"/>
                <a:gd name="T46" fmla="*/ 12 w 88"/>
                <a:gd name="T47" fmla="*/ 16 h 34"/>
                <a:gd name="T48" fmla="*/ 13 w 88"/>
                <a:gd name="T49" fmla="*/ 22 h 34"/>
                <a:gd name="T50" fmla="*/ 17 w 88"/>
                <a:gd name="T51" fmla="*/ 25 h 34"/>
                <a:gd name="T52" fmla="*/ 10 w 88"/>
                <a:gd name="T53" fmla="*/ 27 h 34"/>
                <a:gd name="T54" fmla="*/ 6 w 88"/>
                <a:gd name="T55" fmla="*/ 20 h 34"/>
                <a:gd name="T56" fmla="*/ 4 w 88"/>
                <a:gd name="T57"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8" h="34">
                  <a:moveTo>
                    <a:pt x="4" y="13"/>
                  </a:moveTo>
                  <a:cubicBezTo>
                    <a:pt x="11" y="12"/>
                    <a:pt x="7" y="11"/>
                    <a:pt x="15" y="8"/>
                  </a:cubicBezTo>
                  <a:cubicBezTo>
                    <a:pt x="22" y="5"/>
                    <a:pt x="19" y="3"/>
                    <a:pt x="24" y="3"/>
                  </a:cubicBezTo>
                  <a:cubicBezTo>
                    <a:pt x="30" y="2"/>
                    <a:pt x="27" y="0"/>
                    <a:pt x="33" y="1"/>
                  </a:cubicBezTo>
                  <a:cubicBezTo>
                    <a:pt x="38" y="3"/>
                    <a:pt x="38" y="3"/>
                    <a:pt x="43" y="4"/>
                  </a:cubicBezTo>
                  <a:cubicBezTo>
                    <a:pt x="48" y="4"/>
                    <a:pt x="47" y="2"/>
                    <a:pt x="52" y="3"/>
                  </a:cubicBezTo>
                  <a:cubicBezTo>
                    <a:pt x="57" y="4"/>
                    <a:pt x="59" y="3"/>
                    <a:pt x="61" y="4"/>
                  </a:cubicBezTo>
                  <a:cubicBezTo>
                    <a:pt x="64" y="5"/>
                    <a:pt x="62" y="6"/>
                    <a:pt x="69" y="7"/>
                  </a:cubicBezTo>
                  <a:cubicBezTo>
                    <a:pt x="76" y="8"/>
                    <a:pt x="76" y="5"/>
                    <a:pt x="78" y="8"/>
                  </a:cubicBezTo>
                  <a:cubicBezTo>
                    <a:pt x="79" y="12"/>
                    <a:pt x="78" y="11"/>
                    <a:pt x="79" y="16"/>
                  </a:cubicBezTo>
                  <a:cubicBezTo>
                    <a:pt x="81" y="20"/>
                    <a:pt x="87" y="18"/>
                    <a:pt x="86" y="22"/>
                  </a:cubicBezTo>
                  <a:cubicBezTo>
                    <a:pt x="85" y="25"/>
                    <a:pt x="88" y="30"/>
                    <a:pt x="84" y="30"/>
                  </a:cubicBezTo>
                  <a:cubicBezTo>
                    <a:pt x="80" y="31"/>
                    <a:pt x="82" y="34"/>
                    <a:pt x="78" y="30"/>
                  </a:cubicBezTo>
                  <a:cubicBezTo>
                    <a:pt x="75" y="26"/>
                    <a:pt x="77" y="25"/>
                    <a:pt x="73" y="25"/>
                  </a:cubicBezTo>
                  <a:cubicBezTo>
                    <a:pt x="68" y="25"/>
                    <a:pt x="68" y="25"/>
                    <a:pt x="63" y="23"/>
                  </a:cubicBezTo>
                  <a:cubicBezTo>
                    <a:pt x="58" y="20"/>
                    <a:pt x="54" y="17"/>
                    <a:pt x="53" y="17"/>
                  </a:cubicBezTo>
                  <a:cubicBezTo>
                    <a:pt x="53" y="17"/>
                    <a:pt x="56" y="18"/>
                    <a:pt x="50" y="19"/>
                  </a:cubicBezTo>
                  <a:cubicBezTo>
                    <a:pt x="45" y="20"/>
                    <a:pt x="43" y="20"/>
                    <a:pt x="41" y="19"/>
                  </a:cubicBezTo>
                  <a:cubicBezTo>
                    <a:pt x="38" y="18"/>
                    <a:pt x="33" y="13"/>
                    <a:pt x="31" y="14"/>
                  </a:cubicBezTo>
                  <a:cubicBezTo>
                    <a:pt x="30" y="16"/>
                    <a:pt x="28" y="18"/>
                    <a:pt x="29" y="20"/>
                  </a:cubicBezTo>
                  <a:cubicBezTo>
                    <a:pt x="29" y="22"/>
                    <a:pt x="27" y="29"/>
                    <a:pt x="26" y="24"/>
                  </a:cubicBezTo>
                  <a:cubicBezTo>
                    <a:pt x="25" y="19"/>
                    <a:pt x="25" y="17"/>
                    <a:pt x="22" y="17"/>
                  </a:cubicBezTo>
                  <a:cubicBezTo>
                    <a:pt x="20" y="17"/>
                    <a:pt x="20" y="12"/>
                    <a:pt x="16" y="13"/>
                  </a:cubicBezTo>
                  <a:cubicBezTo>
                    <a:pt x="13" y="14"/>
                    <a:pt x="12" y="13"/>
                    <a:pt x="12" y="16"/>
                  </a:cubicBezTo>
                  <a:cubicBezTo>
                    <a:pt x="13" y="18"/>
                    <a:pt x="11" y="21"/>
                    <a:pt x="13" y="22"/>
                  </a:cubicBezTo>
                  <a:cubicBezTo>
                    <a:pt x="16" y="23"/>
                    <a:pt x="21" y="22"/>
                    <a:pt x="17" y="25"/>
                  </a:cubicBezTo>
                  <a:cubicBezTo>
                    <a:pt x="14" y="27"/>
                    <a:pt x="14" y="31"/>
                    <a:pt x="10" y="27"/>
                  </a:cubicBezTo>
                  <a:cubicBezTo>
                    <a:pt x="7" y="23"/>
                    <a:pt x="8" y="22"/>
                    <a:pt x="6" y="20"/>
                  </a:cubicBezTo>
                  <a:cubicBezTo>
                    <a:pt x="3" y="18"/>
                    <a:pt x="0" y="12"/>
                    <a:pt x="4" y="1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13" name="Freeform 801">
              <a:extLst>
                <a:ext uri="{FF2B5EF4-FFF2-40B4-BE49-F238E27FC236}">
                  <a16:creationId xmlns:a16="http://schemas.microsoft.com/office/drawing/2014/main" id="{FD65077C-A104-E843-910F-68DB2E576F6F}"/>
                </a:ext>
              </a:extLst>
            </p:cNvPr>
            <p:cNvSpPr>
              <a:spLocks/>
            </p:cNvSpPr>
            <p:nvPr/>
          </p:nvSpPr>
          <p:spPr bwMode="auto">
            <a:xfrm>
              <a:off x="7026297" y="2748420"/>
              <a:ext cx="33338" cy="23813"/>
            </a:xfrm>
            <a:custGeom>
              <a:avLst/>
              <a:gdLst>
                <a:gd name="T0" fmla="*/ 2 w 35"/>
                <a:gd name="T1" fmla="*/ 6 h 26"/>
                <a:gd name="T2" fmla="*/ 5 w 35"/>
                <a:gd name="T3" fmla="*/ 15 h 26"/>
                <a:gd name="T4" fmla="*/ 9 w 35"/>
                <a:gd name="T5" fmla="*/ 21 h 26"/>
                <a:gd name="T6" fmla="*/ 18 w 35"/>
                <a:gd name="T7" fmla="*/ 24 h 26"/>
                <a:gd name="T8" fmla="*/ 23 w 35"/>
                <a:gd name="T9" fmla="*/ 24 h 26"/>
                <a:gd name="T10" fmla="*/ 30 w 35"/>
                <a:gd name="T11" fmla="*/ 18 h 26"/>
                <a:gd name="T12" fmla="*/ 33 w 35"/>
                <a:gd name="T13" fmla="*/ 12 h 26"/>
                <a:gd name="T14" fmla="*/ 30 w 35"/>
                <a:gd name="T15" fmla="*/ 7 h 26"/>
                <a:gd name="T16" fmla="*/ 24 w 35"/>
                <a:gd name="T17" fmla="*/ 3 h 26"/>
                <a:gd name="T18" fmla="*/ 12 w 35"/>
                <a:gd name="T19" fmla="*/ 1 h 26"/>
                <a:gd name="T20" fmla="*/ 4 w 35"/>
                <a:gd name="T21" fmla="*/ 4 h 26"/>
                <a:gd name="T22" fmla="*/ 2 w 35"/>
                <a:gd name="T23"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26">
                  <a:moveTo>
                    <a:pt x="2" y="6"/>
                  </a:moveTo>
                  <a:cubicBezTo>
                    <a:pt x="2" y="10"/>
                    <a:pt x="2" y="13"/>
                    <a:pt x="5" y="15"/>
                  </a:cubicBezTo>
                  <a:cubicBezTo>
                    <a:pt x="7" y="18"/>
                    <a:pt x="6" y="19"/>
                    <a:pt x="9" y="21"/>
                  </a:cubicBezTo>
                  <a:cubicBezTo>
                    <a:pt x="11" y="24"/>
                    <a:pt x="14" y="24"/>
                    <a:pt x="18" y="24"/>
                  </a:cubicBezTo>
                  <a:cubicBezTo>
                    <a:pt x="21" y="24"/>
                    <a:pt x="19" y="26"/>
                    <a:pt x="23" y="24"/>
                  </a:cubicBezTo>
                  <a:cubicBezTo>
                    <a:pt x="27" y="21"/>
                    <a:pt x="27" y="22"/>
                    <a:pt x="30" y="18"/>
                  </a:cubicBezTo>
                  <a:cubicBezTo>
                    <a:pt x="33" y="14"/>
                    <a:pt x="35" y="15"/>
                    <a:pt x="33" y="12"/>
                  </a:cubicBezTo>
                  <a:cubicBezTo>
                    <a:pt x="31" y="9"/>
                    <a:pt x="35" y="11"/>
                    <a:pt x="30" y="7"/>
                  </a:cubicBezTo>
                  <a:cubicBezTo>
                    <a:pt x="25" y="4"/>
                    <a:pt x="27" y="3"/>
                    <a:pt x="24" y="3"/>
                  </a:cubicBezTo>
                  <a:cubicBezTo>
                    <a:pt x="20" y="2"/>
                    <a:pt x="15" y="0"/>
                    <a:pt x="12" y="1"/>
                  </a:cubicBezTo>
                  <a:cubicBezTo>
                    <a:pt x="8" y="2"/>
                    <a:pt x="5" y="3"/>
                    <a:pt x="4" y="4"/>
                  </a:cubicBezTo>
                  <a:cubicBezTo>
                    <a:pt x="3" y="4"/>
                    <a:pt x="0" y="5"/>
                    <a:pt x="2"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14" name="Freeform 802">
              <a:extLst>
                <a:ext uri="{FF2B5EF4-FFF2-40B4-BE49-F238E27FC236}">
                  <a16:creationId xmlns:a16="http://schemas.microsoft.com/office/drawing/2014/main" id="{2F4535FC-C2DF-2941-A091-FB4DFA288B71}"/>
                </a:ext>
              </a:extLst>
            </p:cNvPr>
            <p:cNvSpPr>
              <a:spLocks/>
            </p:cNvSpPr>
            <p:nvPr/>
          </p:nvSpPr>
          <p:spPr bwMode="auto">
            <a:xfrm>
              <a:off x="7115197" y="2710320"/>
              <a:ext cx="20638" cy="14288"/>
            </a:xfrm>
            <a:custGeom>
              <a:avLst/>
              <a:gdLst>
                <a:gd name="T0" fmla="*/ 16 w 22"/>
                <a:gd name="T1" fmla="*/ 2 h 14"/>
                <a:gd name="T2" fmla="*/ 21 w 22"/>
                <a:gd name="T3" fmla="*/ 8 h 14"/>
                <a:gd name="T4" fmla="*/ 16 w 22"/>
                <a:gd name="T5" fmla="*/ 13 h 14"/>
                <a:gd name="T6" fmla="*/ 9 w 22"/>
                <a:gd name="T7" fmla="*/ 12 h 14"/>
                <a:gd name="T8" fmla="*/ 3 w 22"/>
                <a:gd name="T9" fmla="*/ 7 h 14"/>
                <a:gd name="T10" fmla="*/ 12 w 22"/>
                <a:gd name="T11" fmla="*/ 3 h 14"/>
                <a:gd name="T12" fmla="*/ 16 w 22"/>
                <a:gd name="T13" fmla="*/ 2 h 14"/>
              </a:gdLst>
              <a:ahLst/>
              <a:cxnLst>
                <a:cxn ang="0">
                  <a:pos x="T0" y="T1"/>
                </a:cxn>
                <a:cxn ang="0">
                  <a:pos x="T2" y="T3"/>
                </a:cxn>
                <a:cxn ang="0">
                  <a:pos x="T4" y="T5"/>
                </a:cxn>
                <a:cxn ang="0">
                  <a:pos x="T6" y="T7"/>
                </a:cxn>
                <a:cxn ang="0">
                  <a:pos x="T8" y="T9"/>
                </a:cxn>
                <a:cxn ang="0">
                  <a:pos x="T10" y="T11"/>
                </a:cxn>
                <a:cxn ang="0">
                  <a:pos x="T12" y="T13"/>
                </a:cxn>
              </a:cxnLst>
              <a:rect l="0" t="0" r="r" b="b"/>
              <a:pathLst>
                <a:path w="22" h="14">
                  <a:moveTo>
                    <a:pt x="16" y="2"/>
                  </a:moveTo>
                  <a:cubicBezTo>
                    <a:pt x="19" y="2"/>
                    <a:pt x="22" y="4"/>
                    <a:pt x="21" y="8"/>
                  </a:cubicBezTo>
                  <a:cubicBezTo>
                    <a:pt x="20" y="11"/>
                    <a:pt x="20" y="12"/>
                    <a:pt x="16" y="13"/>
                  </a:cubicBezTo>
                  <a:cubicBezTo>
                    <a:pt x="13" y="14"/>
                    <a:pt x="13" y="12"/>
                    <a:pt x="9" y="12"/>
                  </a:cubicBezTo>
                  <a:cubicBezTo>
                    <a:pt x="6" y="12"/>
                    <a:pt x="0" y="10"/>
                    <a:pt x="3" y="7"/>
                  </a:cubicBezTo>
                  <a:cubicBezTo>
                    <a:pt x="6" y="5"/>
                    <a:pt x="10" y="4"/>
                    <a:pt x="12" y="3"/>
                  </a:cubicBezTo>
                  <a:cubicBezTo>
                    <a:pt x="14" y="3"/>
                    <a:pt x="14" y="0"/>
                    <a:pt x="16"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15" name="Freeform 803">
              <a:extLst>
                <a:ext uri="{FF2B5EF4-FFF2-40B4-BE49-F238E27FC236}">
                  <a16:creationId xmlns:a16="http://schemas.microsoft.com/office/drawing/2014/main" id="{F0A146C4-C640-E749-9D3F-135D7FAD3882}"/>
                </a:ext>
              </a:extLst>
            </p:cNvPr>
            <p:cNvSpPr>
              <a:spLocks/>
            </p:cNvSpPr>
            <p:nvPr/>
          </p:nvSpPr>
          <p:spPr bwMode="auto">
            <a:xfrm>
              <a:off x="7058047" y="2700795"/>
              <a:ext cx="22225" cy="15875"/>
            </a:xfrm>
            <a:custGeom>
              <a:avLst/>
              <a:gdLst>
                <a:gd name="T0" fmla="*/ 20 w 23"/>
                <a:gd name="T1" fmla="*/ 7 h 16"/>
                <a:gd name="T2" fmla="*/ 13 w 23"/>
                <a:gd name="T3" fmla="*/ 5 h 16"/>
                <a:gd name="T4" fmla="*/ 8 w 23"/>
                <a:gd name="T5" fmla="*/ 2 h 16"/>
                <a:gd name="T6" fmla="*/ 5 w 23"/>
                <a:gd name="T7" fmla="*/ 6 h 16"/>
                <a:gd name="T8" fmla="*/ 4 w 23"/>
                <a:gd name="T9" fmla="*/ 8 h 16"/>
                <a:gd name="T10" fmla="*/ 6 w 23"/>
                <a:gd name="T11" fmla="*/ 13 h 16"/>
                <a:gd name="T12" fmla="*/ 14 w 23"/>
                <a:gd name="T13" fmla="*/ 14 h 16"/>
                <a:gd name="T14" fmla="*/ 17 w 23"/>
                <a:gd name="T15" fmla="*/ 13 h 16"/>
                <a:gd name="T16" fmla="*/ 21 w 23"/>
                <a:gd name="T17" fmla="*/ 13 h 16"/>
                <a:gd name="T18" fmla="*/ 20 w 23"/>
                <a:gd name="T19" fmla="*/ 7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16">
                  <a:moveTo>
                    <a:pt x="20" y="7"/>
                  </a:moveTo>
                  <a:cubicBezTo>
                    <a:pt x="16" y="5"/>
                    <a:pt x="14" y="5"/>
                    <a:pt x="13" y="5"/>
                  </a:cubicBezTo>
                  <a:cubicBezTo>
                    <a:pt x="13" y="4"/>
                    <a:pt x="10" y="0"/>
                    <a:pt x="8" y="2"/>
                  </a:cubicBezTo>
                  <a:cubicBezTo>
                    <a:pt x="7" y="4"/>
                    <a:pt x="5" y="6"/>
                    <a:pt x="5" y="6"/>
                  </a:cubicBezTo>
                  <a:cubicBezTo>
                    <a:pt x="5" y="6"/>
                    <a:pt x="3" y="6"/>
                    <a:pt x="4" y="8"/>
                  </a:cubicBezTo>
                  <a:cubicBezTo>
                    <a:pt x="5" y="11"/>
                    <a:pt x="0" y="12"/>
                    <a:pt x="6" y="13"/>
                  </a:cubicBezTo>
                  <a:cubicBezTo>
                    <a:pt x="11" y="14"/>
                    <a:pt x="11" y="15"/>
                    <a:pt x="14" y="14"/>
                  </a:cubicBezTo>
                  <a:cubicBezTo>
                    <a:pt x="16" y="13"/>
                    <a:pt x="16" y="11"/>
                    <a:pt x="17" y="13"/>
                  </a:cubicBezTo>
                  <a:cubicBezTo>
                    <a:pt x="19" y="14"/>
                    <a:pt x="20" y="16"/>
                    <a:pt x="21" y="13"/>
                  </a:cubicBezTo>
                  <a:cubicBezTo>
                    <a:pt x="22" y="10"/>
                    <a:pt x="23" y="7"/>
                    <a:pt x="20" y="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16" name="Freeform 804">
              <a:extLst>
                <a:ext uri="{FF2B5EF4-FFF2-40B4-BE49-F238E27FC236}">
                  <a16:creationId xmlns:a16="http://schemas.microsoft.com/office/drawing/2014/main" id="{9F3A57F2-DAB3-4845-9B57-63DFC9C3E08E}"/>
                </a:ext>
              </a:extLst>
            </p:cNvPr>
            <p:cNvSpPr>
              <a:spLocks/>
            </p:cNvSpPr>
            <p:nvPr/>
          </p:nvSpPr>
          <p:spPr bwMode="auto">
            <a:xfrm>
              <a:off x="6985022" y="2710320"/>
              <a:ext cx="52388" cy="26988"/>
            </a:xfrm>
            <a:custGeom>
              <a:avLst/>
              <a:gdLst>
                <a:gd name="T0" fmla="*/ 5 w 55"/>
                <a:gd name="T1" fmla="*/ 4 h 29"/>
                <a:gd name="T2" fmla="*/ 13 w 55"/>
                <a:gd name="T3" fmla="*/ 2 h 29"/>
                <a:gd name="T4" fmla="*/ 22 w 55"/>
                <a:gd name="T5" fmla="*/ 4 h 29"/>
                <a:gd name="T6" fmla="*/ 31 w 55"/>
                <a:gd name="T7" fmla="*/ 6 h 29"/>
                <a:gd name="T8" fmla="*/ 46 w 55"/>
                <a:gd name="T9" fmla="*/ 7 h 29"/>
                <a:gd name="T10" fmla="*/ 54 w 55"/>
                <a:gd name="T11" fmla="*/ 8 h 29"/>
                <a:gd name="T12" fmla="*/ 47 w 55"/>
                <a:gd name="T13" fmla="*/ 12 h 29"/>
                <a:gd name="T14" fmla="*/ 48 w 55"/>
                <a:gd name="T15" fmla="*/ 20 h 29"/>
                <a:gd name="T16" fmla="*/ 47 w 55"/>
                <a:gd name="T17" fmla="*/ 27 h 29"/>
                <a:gd name="T18" fmla="*/ 43 w 55"/>
                <a:gd name="T19" fmla="*/ 22 h 29"/>
                <a:gd name="T20" fmla="*/ 41 w 55"/>
                <a:gd name="T21" fmla="*/ 15 h 29"/>
                <a:gd name="T22" fmla="*/ 36 w 55"/>
                <a:gd name="T23" fmla="*/ 9 h 29"/>
                <a:gd name="T24" fmla="*/ 29 w 55"/>
                <a:gd name="T25" fmla="*/ 9 h 29"/>
                <a:gd name="T26" fmla="*/ 22 w 55"/>
                <a:gd name="T27" fmla="*/ 10 h 29"/>
                <a:gd name="T28" fmla="*/ 13 w 55"/>
                <a:gd name="T29" fmla="*/ 12 h 29"/>
                <a:gd name="T30" fmla="*/ 6 w 55"/>
                <a:gd name="T31" fmla="*/ 11 h 29"/>
                <a:gd name="T32" fmla="*/ 5 w 55"/>
                <a:gd name="T3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 h="29">
                  <a:moveTo>
                    <a:pt x="5" y="4"/>
                  </a:moveTo>
                  <a:cubicBezTo>
                    <a:pt x="7" y="2"/>
                    <a:pt x="10" y="0"/>
                    <a:pt x="13" y="2"/>
                  </a:cubicBezTo>
                  <a:cubicBezTo>
                    <a:pt x="17" y="3"/>
                    <a:pt x="19" y="3"/>
                    <a:pt x="22" y="4"/>
                  </a:cubicBezTo>
                  <a:cubicBezTo>
                    <a:pt x="25" y="6"/>
                    <a:pt x="26" y="5"/>
                    <a:pt x="31" y="6"/>
                  </a:cubicBezTo>
                  <a:cubicBezTo>
                    <a:pt x="37" y="6"/>
                    <a:pt x="40" y="7"/>
                    <a:pt x="46" y="7"/>
                  </a:cubicBezTo>
                  <a:cubicBezTo>
                    <a:pt x="51" y="7"/>
                    <a:pt x="55" y="6"/>
                    <a:pt x="54" y="8"/>
                  </a:cubicBezTo>
                  <a:cubicBezTo>
                    <a:pt x="52" y="10"/>
                    <a:pt x="47" y="9"/>
                    <a:pt x="47" y="12"/>
                  </a:cubicBezTo>
                  <a:cubicBezTo>
                    <a:pt x="46" y="14"/>
                    <a:pt x="47" y="17"/>
                    <a:pt x="48" y="20"/>
                  </a:cubicBezTo>
                  <a:cubicBezTo>
                    <a:pt x="49" y="23"/>
                    <a:pt x="49" y="29"/>
                    <a:pt x="47" y="27"/>
                  </a:cubicBezTo>
                  <a:cubicBezTo>
                    <a:pt x="45" y="25"/>
                    <a:pt x="46" y="25"/>
                    <a:pt x="43" y="22"/>
                  </a:cubicBezTo>
                  <a:cubicBezTo>
                    <a:pt x="41" y="19"/>
                    <a:pt x="41" y="17"/>
                    <a:pt x="41" y="15"/>
                  </a:cubicBezTo>
                  <a:cubicBezTo>
                    <a:pt x="41" y="13"/>
                    <a:pt x="38" y="9"/>
                    <a:pt x="36" y="9"/>
                  </a:cubicBezTo>
                  <a:cubicBezTo>
                    <a:pt x="34" y="9"/>
                    <a:pt x="33" y="9"/>
                    <a:pt x="29" y="9"/>
                  </a:cubicBezTo>
                  <a:cubicBezTo>
                    <a:pt x="25" y="9"/>
                    <a:pt x="27" y="9"/>
                    <a:pt x="22" y="10"/>
                  </a:cubicBezTo>
                  <a:cubicBezTo>
                    <a:pt x="18" y="12"/>
                    <a:pt x="15" y="11"/>
                    <a:pt x="13" y="12"/>
                  </a:cubicBezTo>
                  <a:cubicBezTo>
                    <a:pt x="11" y="13"/>
                    <a:pt x="9" y="15"/>
                    <a:pt x="6" y="11"/>
                  </a:cubicBezTo>
                  <a:cubicBezTo>
                    <a:pt x="6" y="11"/>
                    <a:pt x="0" y="3"/>
                    <a:pt x="5"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17" name="Freeform 805">
              <a:extLst>
                <a:ext uri="{FF2B5EF4-FFF2-40B4-BE49-F238E27FC236}">
                  <a16:creationId xmlns:a16="http://schemas.microsoft.com/office/drawing/2014/main" id="{A7DA8729-8314-9A4D-AA33-779F6ED6F24C}"/>
                </a:ext>
              </a:extLst>
            </p:cNvPr>
            <p:cNvSpPr>
              <a:spLocks/>
            </p:cNvSpPr>
            <p:nvPr/>
          </p:nvSpPr>
          <p:spPr bwMode="auto">
            <a:xfrm>
              <a:off x="7212035" y="2811920"/>
              <a:ext cx="22225" cy="39688"/>
            </a:xfrm>
            <a:custGeom>
              <a:avLst/>
              <a:gdLst>
                <a:gd name="T0" fmla="*/ 22 w 23"/>
                <a:gd name="T1" fmla="*/ 5 h 42"/>
                <a:gd name="T2" fmla="*/ 20 w 23"/>
                <a:gd name="T3" fmla="*/ 17 h 42"/>
                <a:gd name="T4" fmla="*/ 22 w 23"/>
                <a:gd name="T5" fmla="*/ 26 h 42"/>
                <a:gd name="T6" fmla="*/ 16 w 23"/>
                <a:gd name="T7" fmla="*/ 32 h 42"/>
                <a:gd name="T8" fmla="*/ 12 w 23"/>
                <a:gd name="T9" fmla="*/ 35 h 42"/>
                <a:gd name="T10" fmla="*/ 8 w 23"/>
                <a:gd name="T11" fmla="*/ 41 h 42"/>
                <a:gd name="T12" fmla="*/ 1 w 23"/>
                <a:gd name="T13" fmla="*/ 38 h 42"/>
                <a:gd name="T14" fmla="*/ 6 w 23"/>
                <a:gd name="T15" fmla="*/ 29 h 42"/>
                <a:gd name="T16" fmla="*/ 5 w 23"/>
                <a:gd name="T17" fmla="*/ 21 h 42"/>
                <a:gd name="T18" fmla="*/ 10 w 23"/>
                <a:gd name="T19" fmla="*/ 17 h 42"/>
                <a:gd name="T20" fmla="*/ 10 w 23"/>
                <a:gd name="T21" fmla="*/ 10 h 42"/>
                <a:gd name="T22" fmla="*/ 14 w 23"/>
                <a:gd name="T23" fmla="*/ 4 h 42"/>
                <a:gd name="T24" fmla="*/ 18 w 23"/>
                <a:gd name="T25" fmla="*/ 0 h 42"/>
                <a:gd name="T26" fmla="*/ 22 w 23"/>
                <a:gd name="T27" fmla="*/ 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42">
                  <a:moveTo>
                    <a:pt x="22" y="5"/>
                  </a:moveTo>
                  <a:cubicBezTo>
                    <a:pt x="22" y="13"/>
                    <a:pt x="19" y="12"/>
                    <a:pt x="20" y="17"/>
                  </a:cubicBezTo>
                  <a:cubicBezTo>
                    <a:pt x="21" y="23"/>
                    <a:pt x="23" y="19"/>
                    <a:pt x="22" y="26"/>
                  </a:cubicBezTo>
                  <a:cubicBezTo>
                    <a:pt x="20" y="33"/>
                    <a:pt x="17" y="31"/>
                    <a:pt x="16" y="32"/>
                  </a:cubicBezTo>
                  <a:cubicBezTo>
                    <a:pt x="14" y="32"/>
                    <a:pt x="12" y="34"/>
                    <a:pt x="12" y="35"/>
                  </a:cubicBezTo>
                  <a:cubicBezTo>
                    <a:pt x="12" y="37"/>
                    <a:pt x="11" y="40"/>
                    <a:pt x="8" y="41"/>
                  </a:cubicBezTo>
                  <a:cubicBezTo>
                    <a:pt x="6" y="42"/>
                    <a:pt x="0" y="40"/>
                    <a:pt x="1" y="38"/>
                  </a:cubicBezTo>
                  <a:cubicBezTo>
                    <a:pt x="2" y="35"/>
                    <a:pt x="5" y="32"/>
                    <a:pt x="6" y="29"/>
                  </a:cubicBezTo>
                  <a:cubicBezTo>
                    <a:pt x="7" y="27"/>
                    <a:pt x="2" y="24"/>
                    <a:pt x="5" y="21"/>
                  </a:cubicBezTo>
                  <a:cubicBezTo>
                    <a:pt x="8" y="18"/>
                    <a:pt x="10" y="20"/>
                    <a:pt x="10" y="17"/>
                  </a:cubicBezTo>
                  <a:cubicBezTo>
                    <a:pt x="11" y="14"/>
                    <a:pt x="9" y="14"/>
                    <a:pt x="10" y="10"/>
                  </a:cubicBezTo>
                  <a:cubicBezTo>
                    <a:pt x="11" y="5"/>
                    <a:pt x="12" y="5"/>
                    <a:pt x="14" y="4"/>
                  </a:cubicBezTo>
                  <a:cubicBezTo>
                    <a:pt x="16" y="2"/>
                    <a:pt x="17" y="0"/>
                    <a:pt x="18" y="0"/>
                  </a:cubicBezTo>
                  <a:cubicBezTo>
                    <a:pt x="19" y="1"/>
                    <a:pt x="22" y="1"/>
                    <a:pt x="22"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18" name="Freeform 806">
              <a:extLst>
                <a:ext uri="{FF2B5EF4-FFF2-40B4-BE49-F238E27FC236}">
                  <a16:creationId xmlns:a16="http://schemas.microsoft.com/office/drawing/2014/main" id="{A4D9D54A-253A-BC42-85C4-E2F9C464F205}"/>
                </a:ext>
              </a:extLst>
            </p:cNvPr>
            <p:cNvSpPr>
              <a:spLocks/>
            </p:cNvSpPr>
            <p:nvPr/>
          </p:nvSpPr>
          <p:spPr bwMode="auto">
            <a:xfrm>
              <a:off x="7142185" y="2856370"/>
              <a:ext cx="15875" cy="30163"/>
            </a:xfrm>
            <a:custGeom>
              <a:avLst/>
              <a:gdLst>
                <a:gd name="T0" fmla="*/ 9 w 17"/>
                <a:gd name="T1" fmla="*/ 4 h 31"/>
                <a:gd name="T2" fmla="*/ 6 w 17"/>
                <a:gd name="T3" fmla="*/ 10 h 31"/>
                <a:gd name="T4" fmla="*/ 2 w 17"/>
                <a:gd name="T5" fmla="*/ 17 h 31"/>
                <a:gd name="T6" fmla="*/ 0 w 17"/>
                <a:gd name="T7" fmla="*/ 24 h 31"/>
                <a:gd name="T8" fmla="*/ 3 w 17"/>
                <a:gd name="T9" fmla="*/ 27 h 31"/>
                <a:gd name="T10" fmla="*/ 9 w 17"/>
                <a:gd name="T11" fmla="*/ 22 h 31"/>
                <a:gd name="T12" fmla="*/ 14 w 17"/>
                <a:gd name="T13" fmla="*/ 16 h 31"/>
                <a:gd name="T14" fmla="*/ 14 w 17"/>
                <a:gd name="T15" fmla="*/ 9 h 31"/>
                <a:gd name="T16" fmla="*/ 16 w 17"/>
                <a:gd name="T17" fmla="*/ 4 h 31"/>
                <a:gd name="T18" fmla="*/ 10 w 17"/>
                <a:gd name="T19" fmla="*/ 2 h 31"/>
                <a:gd name="T20" fmla="*/ 9 w 17"/>
                <a:gd name="T21"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31">
                  <a:moveTo>
                    <a:pt x="9" y="4"/>
                  </a:moveTo>
                  <a:cubicBezTo>
                    <a:pt x="7" y="8"/>
                    <a:pt x="7" y="7"/>
                    <a:pt x="6" y="10"/>
                  </a:cubicBezTo>
                  <a:cubicBezTo>
                    <a:pt x="4" y="13"/>
                    <a:pt x="2" y="14"/>
                    <a:pt x="2" y="17"/>
                  </a:cubicBezTo>
                  <a:cubicBezTo>
                    <a:pt x="1" y="19"/>
                    <a:pt x="0" y="21"/>
                    <a:pt x="0" y="24"/>
                  </a:cubicBezTo>
                  <a:cubicBezTo>
                    <a:pt x="1" y="26"/>
                    <a:pt x="0" y="31"/>
                    <a:pt x="3" y="27"/>
                  </a:cubicBezTo>
                  <a:cubicBezTo>
                    <a:pt x="7" y="24"/>
                    <a:pt x="4" y="26"/>
                    <a:pt x="9" y="22"/>
                  </a:cubicBezTo>
                  <a:cubicBezTo>
                    <a:pt x="13" y="18"/>
                    <a:pt x="14" y="21"/>
                    <a:pt x="14" y="16"/>
                  </a:cubicBezTo>
                  <a:cubicBezTo>
                    <a:pt x="15" y="12"/>
                    <a:pt x="13" y="12"/>
                    <a:pt x="14" y="9"/>
                  </a:cubicBezTo>
                  <a:cubicBezTo>
                    <a:pt x="16" y="6"/>
                    <a:pt x="17" y="5"/>
                    <a:pt x="16" y="4"/>
                  </a:cubicBezTo>
                  <a:cubicBezTo>
                    <a:pt x="14" y="3"/>
                    <a:pt x="11" y="2"/>
                    <a:pt x="10" y="2"/>
                  </a:cubicBezTo>
                  <a:cubicBezTo>
                    <a:pt x="10" y="2"/>
                    <a:pt x="7" y="0"/>
                    <a:pt x="9"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19" name="Freeform 807">
              <a:extLst>
                <a:ext uri="{FF2B5EF4-FFF2-40B4-BE49-F238E27FC236}">
                  <a16:creationId xmlns:a16="http://schemas.microsoft.com/office/drawing/2014/main" id="{966F696B-C71C-B543-8EB6-2DCB023B113F}"/>
                </a:ext>
              </a:extLst>
            </p:cNvPr>
            <p:cNvSpPr>
              <a:spLocks/>
            </p:cNvSpPr>
            <p:nvPr/>
          </p:nvSpPr>
          <p:spPr bwMode="auto">
            <a:xfrm>
              <a:off x="7062810" y="2607132"/>
              <a:ext cx="39688" cy="87313"/>
            </a:xfrm>
            <a:custGeom>
              <a:avLst/>
              <a:gdLst>
                <a:gd name="T0" fmla="*/ 8 w 42"/>
                <a:gd name="T1" fmla="*/ 5 h 92"/>
                <a:gd name="T2" fmla="*/ 5 w 42"/>
                <a:gd name="T3" fmla="*/ 15 h 92"/>
                <a:gd name="T4" fmla="*/ 1 w 42"/>
                <a:gd name="T5" fmla="*/ 25 h 92"/>
                <a:gd name="T6" fmla="*/ 1 w 42"/>
                <a:gd name="T7" fmla="*/ 32 h 92"/>
                <a:gd name="T8" fmla="*/ 3 w 42"/>
                <a:gd name="T9" fmla="*/ 43 h 92"/>
                <a:gd name="T10" fmla="*/ 4 w 42"/>
                <a:gd name="T11" fmla="*/ 52 h 92"/>
                <a:gd name="T12" fmla="*/ 7 w 42"/>
                <a:gd name="T13" fmla="*/ 62 h 92"/>
                <a:gd name="T14" fmla="*/ 7 w 42"/>
                <a:gd name="T15" fmla="*/ 73 h 92"/>
                <a:gd name="T16" fmla="*/ 14 w 42"/>
                <a:gd name="T17" fmla="*/ 84 h 92"/>
                <a:gd name="T18" fmla="*/ 23 w 42"/>
                <a:gd name="T19" fmla="*/ 89 h 92"/>
                <a:gd name="T20" fmla="*/ 26 w 42"/>
                <a:gd name="T21" fmla="*/ 86 h 92"/>
                <a:gd name="T22" fmla="*/ 20 w 42"/>
                <a:gd name="T23" fmla="*/ 78 h 92"/>
                <a:gd name="T24" fmla="*/ 16 w 42"/>
                <a:gd name="T25" fmla="*/ 66 h 92"/>
                <a:gd name="T26" fmla="*/ 19 w 42"/>
                <a:gd name="T27" fmla="*/ 52 h 92"/>
                <a:gd name="T28" fmla="*/ 31 w 42"/>
                <a:gd name="T29" fmla="*/ 56 h 92"/>
                <a:gd name="T30" fmla="*/ 38 w 42"/>
                <a:gd name="T31" fmla="*/ 53 h 92"/>
                <a:gd name="T32" fmla="*/ 32 w 42"/>
                <a:gd name="T33" fmla="*/ 47 h 92"/>
                <a:gd name="T34" fmla="*/ 23 w 42"/>
                <a:gd name="T35" fmla="*/ 42 h 92"/>
                <a:gd name="T36" fmla="*/ 33 w 42"/>
                <a:gd name="T37" fmla="*/ 34 h 92"/>
                <a:gd name="T38" fmla="*/ 33 w 42"/>
                <a:gd name="T39" fmla="*/ 27 h 92"/>
                <a:gd name="T40" fmla="*/ 30 w 42"/>
                <a:gd name="T41" fmla="*/ 19 h 92"/>
                <a:gd name="T42" fmla="*/ 22 w 42"/>
                <a:gd name="T43" fmla="*/ 24 h 92"/>
                <a:gd name="T44" fmla="*/ 18 w 42"/>
                <a:gd name="T45" fmla="*/ 32 h 92"/>
                <a:gd name="T46" fmla="*/ 15 w 42"/>
                <a:gd name="T47" fmla="*/ 39 h 92"/>
                <a:gd name="T48" fmla="*/ 10 w 42"/>
                <a:gd name="T49" fmla="*/ 38 h 92"/>
                <a:gd name="T50" fmla="*/ 9 w 42"/>
                <a:gd name="T51" fmla="*/ 33 h 92"/>
                <a:gd name="T52" fmla="*/ 15 w 42"/>
                <a:gd name="T53" fmla="*/ 23 h 92"/>
                <a:gd name="T54" fmla="*/ 16 w 42"/>
                <a:gd name="T55" fmla="*/ 16 h 92"/>
                <a:gd name="T56" fmla="*/ 14 w 42"/>
                <a:gd name="T57" fmla="*/ 10 h 92"/>
                <a:gd name="T58" fmla="*/ 12 w 42"/>
                <a:gd name="T59" fmla="*/ 1 h 92"/>
                <a:gd name="T60" fmla="*/ 8 w 42"/>
                <a:gd name="T61"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2" h="92">
                  <a:moveTo>
                    <a:pt x="8" y="5"/>
                  </a:moveTo>
                  <a:cubicBezTo>
                    <a:pt x="7" y="12"/>
                    <a:pt x="7" y="10"/>
                    <a:pt x="5" y="15"/>
                  </a:cubicBezTo>
                  <a:cubicBezTo>
                    <a:pt x="3" y="20"/>
                    <a:pt x="1" y="21"/>
                    <a:pt x="1" y="25"/>
                  </a:cubicBezTo>
                  <a:cubicBezTo>
                    <a:pt x="1" y="28"/>
                    <a:pt x="0" y="30"/>
                    <a:pt x="1" y="32"/>
                  </a:cubicBezTo>
                  <a:cubicBezTo>
                    <a:pt x="2" y="35"/>
                    <a:pt x="3" y="39"/>
                    <a:pt x="3" y="43"/>
                  </a:cubicBezTo>
                  <a:cubicBezTo>
                    <a:pt x="3" y="46"/>
                    <a:pt x="4" y="50"/>
                    <a:pt x="4" y="52"/>
                  </a:cubicBezTo>
                  <a:cubicBezTo>
                    <a:pt x="5" y="55"/>
                    <a:pt x="7" y="59"/>
                    <a:pt x="7" y="62"/>
                  </a:cubicBezTo>
                  <a:cubicBezTo>
                    <a:pt x="7" y="64"/>
                    <a:pt x="6" y="70"/>
                    <a:pt x="7" y="73"/>
                  </a:cubicBezTo>
                  <a:cubicBezTo>
                    <a:pt x="8" y="76"/>
                    <a:pt x="14" y="84"/>
                    <a:pt x="14" y="84"/>
                  </a:cubicBezTo>
                  <a:cubicBezTo>
                    <a:pt x="15" y="85"/>
                    <a:pt x="20" y="89"/>
                    <a:pt x="23" y="89"/>
                  </a:cubicBezTo>
                  <a:cubicBezTo>
                    <a:pt x="27" y="90"/>
                    <a:pt x="30" y="92"/>
                    <a:pt x="26" y="86"/>
                  </a:cubicBezTo>
                  <a:cubicBezTo>
                    <a:pt x="21" y="81"/>
                    <a:pt x="23" y="88"/>
                    <a:pt x="20" y="78"/>
                  </a:cubicBezTo>
                  <a:cubicBezTo>
                    <a:pt x="17" y="67"/>
                    <a:pt x="16" y="77"/>
                    <a:pt x="16" y="66"/>
                  </a:cubicBezTo>
                  <a:cubicBezTo>
                    <a:pt x="16" y="55"/>
                    <a:pt x="17" y="50"/>
                    <a:pt x="19" y="52"/>
                  </a:cubicBezTo>
                  <a:cubicBezTo>
                    <a:pt x="22" y="54"/>
                    <a:pt x="25" y="56"/>
                    <a:pt x="31" y="56"/>
                  </a:cubicBezTo>
                  <a:cubicBezTo>
                    <a:pt x="37" y="57"/>
                    <a:pt x="42" y="59"/>
                    <a:pt x="38" y="53"/>
                  </a:cubicBezTo>
                  <a:cubicBezTo>
                    <a:pt x="34" y="48"/>
                    <a:pt x="39" y="51"/>
                    <a:pt x="32" y="47"/>
                  </a:cubicBezTo>
                  <a:cubicBezTo>
                    <a:pt x="26" y="44"/>
                    <a:pt x="14" y="49"/>
                    <a:pt x="23" y="42"/>
                  </a:cubicBezTo>
                  <a:cubicBezTo>
                    <a:pt x="32" y="35"/>
                    <a:pt x="33" y="37"/>
                    <a:pt x="33" y="34"/>
                  </a:cubicBezTo>
                  <a:cubicBezTo>
                    <a:pt x="33" y="31"/>
                    <a:pt x="33" y="31"/>
                    <a:pt x="33" y="27"/>
                  </a:cubicBezTo>
                  <a:cubicBezTo>
                    <a:pt x="33" y="23"/>
                    <a:pt x="35" y="17"/>
                    <a:pt x="30" y="19"/>
                  </a:cubicBezTo>
                  <a:cubicBezTo>
                    <a:pt x="25" y="21"/>
                    <a:pt x="23" y="22"/>
                    <a:pt x="22" y="24"/>
                  </a:cubicBezTo>
                  <a:cubicBezTo>
                    <a:pt x="20" y="26"/>
                    <a:pt x="19" y="29"/>
                    <a:pt x="18" y="32"/>
                  </a:cubicBezTo>
                  <a:cubicBezTo>
                    <a:pt x="17" y="36"/>
                    <a:pt x="16" y="38"/>
                    <a:pt x="15" y="39"/>
                  </a:cubicBezTo>
                  <a:cubicBezTo>
                    <a:pt x="13" y="40"/>
                    <a:pt x="10" y="40"/>
                    <a:pt x="10" y="38"/>
                  </a:cubicBezTo>
                  <a:cubicBezTo>
                    <a:pt x="9" y="35"/>
                    <a:pt x="6" y="38"/>
                    <a:pt x="9" y="33"/>
                  </a:cubicBezTo>
                  <a:cubicBezTo>
                    <a:pt x="13" y="28"/>
                    <a:pt x="13" y="31"/>
                    <a:pt x="15" y="23"/>
                  </a:cubicBezTo>
                  <a:cubicBezTo>
                    <a:pt x="16" y="16"/>
                    <a:pt x="18" y="19"/>
                    <a:pt x="16" y="16"/>
                  </a:cubicBezTo>
                  <a:cubicBezTo>
                    <a:pt x="14" y="12"/>
                    <a:pt x="12" y="16"/>
                    <a:pt x="14" y="10"/>
                  </a:cubicBezTo>
                  <a:cubicBezTo>
                    <a:pt x="15" y="4"/>
                    <a:pt x="15" y="1"/>
                    <a:pt x="12" y="1"/>
                  </a:cubicBezTo>
                  <a:cubicBezTo>
                    <a:pt x="10" y="1"/>
                    <a:pt x="8" y="0"/>
                    <a:pt x="8"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20" name="Freeform 808">
              <a:extLst>
                <a:ext uri="{FF2B5EF4-FFF2-40B4-BE49-F238E27FC236}">
                  <a16:creationId xmlns:a16="http://schemas.microsoft.com/office/drawing/2014/main" id="{A6E28179-EB1D-9E40-AE37-FA925D98DD67}"/>
                </a:ext>
              </a:extLst>
            </p:cNvPr>
            <p:cNvSpPr>
              <a:spLocks/>
            </p:cNvSpPr>
            <p:nvPr/>
          </p:nvSpPr>
          <p:spPr bwMode="auto">
            <a:xfrm>
              <a:off x="7129485" y="2667458"/>
              <a:ext cx="25400" cy="15875"/>
            </a:xfrm>
            <a:custGeom>
              <a:avLst/>
              <a:gdLst>
                <a:gd name="T0" fmla="*/ 22 w 26"/>
                <a:gd name="T1" fmla="*/ 3 h 17"/>
                <a:gd name="T2" fmla="*/ 14 w 26"/>
                <a:gd name="T3" fmla="*/ 1 h 17"/>
                <a:gd name="T4" fmla="*/ 6 w 26"/>
                <a:gd name="T5" fmla="*/ 1 h 17"/>
                <a:gd name="T6" fmla="*/ 2 w 26"/>
                <a:gd name="T7" fmla="*/ 4 h 17"/>
                <a:gd name="T8" fmla="*/ 6 w 26"/>
                <a:gd name="T9" fmla="*/ 9 h 17"/>
                <a:gd name="T10" fmla="*/ 8 w 26"/>
                <a:gd name="T11" fmla="*/ 12 h 17"/>
                <a:gd name="T12" fmla="*/ 13 w 26"/>
                <a:gd name="T13" fmla="*/ 14 h 17"/>
                <a:gd name="T14" fmla="*/ 17 w 26"/>
                <a:gd name="T15" fmla="*/ 10 h 17"/>
                <a:gd name="T16" fmla="*/ 23 w 26"/>
                <a:gd name="T17" fmla="*/ 11 h 17"/>
                <a:gd name="T18" fmla="*/ 26 w 26"/>
                <a:gd name="T19" fmla="*/ 9 h 17"/>
                <a:gd name="T20" fmla="*/ 25 w 26"/>
                <a:gd name="T21" fmla="*/ 2 h 17"/>
                <a:gd name="T22" fmla="*/ 22 w 26"/>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17">
                  <a:moveTo>
                    <a:pt x="22" y="3"/>
                  </a:moveTo>
                  <a:cubicBezTo>
                    <a:pt x="18" y="3"/>
                    <a:pt x="18" y="1"/>
                    <a:pt x="14" y="1"/>
                  </a:cubicBezTo>
                  <a:cubicBezTo>
                    <a:pt x="10" y="1"/>
                    <a:pt x="8" y="0"/>
                    <a:pt x="6" y="1"/>
                  </a:cubicBezTo>
                  <a:cubicBezTo>
                    <a:pt x="4" y="2"/>
                    <a:pt x="0" y="1"/>
                    <a:pt x="2" y="4"/>
                  </a:cubicBezTo>
                  <a:cubicBezTo>
                    <a:pt x="4" y="7"/>
                    <a:pt x="5" y="7"/>
                    <a:pt x="6" y="9"/>
                  </a:cubicBezTo>
                  <a:cubicBezTo>
                    <a:pt x="7" y="10"/>
                    <a:pt x="5" y="10"/>
                    <a:pt x="8" y="12"/>
                  </a:cubicBezTo>
                  <a:cubicBezTo>
                    <a:pt x="11" y="15"/>
                    <a:pt x="10" y="17"/>
                    <a:pt x="13" y="14"/>
                  </a:cubicBezTo>
                  <a:cubicBezTo>
                    <a:pt x="16" y="12"/>
                    <a:pt x="14" y="10"/>
                    <a:pt x="17" y="10"/>
                  </a:cubicBezTo>
                  <a:cubicBezTo>
                    <a:pt x="19" y="11"/>
                    <a:pt x="20" y="11"/>
                    <a:pt x="23" y="11"/>
                  </a:cubicBezTo>
                  <a:cubicBezTo>
                    <a:pt x="25" y="10"/>
                    <a:pt x="25" y="11"/>
                    <a:pt x="26" y="9"/>
                  </a:cubicBezTo>
                  <a:cubicBezTo>
                    <a:pt x="26" y="6"/>
                    <a:pt x="25" y="2"/>
                    <a:pt x="25" y="2"/>
                  </a:cubicBezTo>
                  <a:cubicBezTo>
                    <a:pt x="24" y="2"/>
                    <a:pt x="22" y="1"/>
                    <a:pt x="22"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21" name="Freeform 809">
              <a:extLst>
                <a:ext uri="{FF2B5EF4-FFF2-40B4-BE49-F238E27FC236}">
                  <a16:creationId xmlns:a16="http://schemas.microsoft.com/office/drawing/2014/main" id="{A584D3F9-D930-0046-9578-C1672FF0D10B}"/>
                </a:ext>
              </a:extLst>
            </p:cNvPr>
            <p:cNvSpPr>
              <a:spLocks/>
            </p:cNvSpPr>
            <p:nvPr/>
          </p:nvSpPr>
          <p:spPr bwMode="auto">
            <a:xfrm>
              <a:off x="6289695" y="2513470"/>
              <a:ext cx="263526" cy="320675"/>
            </a:xfrm>
            <a:custGeom>
              <a:avLst/>
              <a:gdLst>
                <a:gd name="T0" fmla="*/ 18 w 276"/>
                <a:gd name="T1" fmla="*/ 7 h 335"/>
                <a:gd name="T2" fmla="*/ 49 w 276"/>
                <a:gd name="T3" fmla="*/ 15 h 335"/>
                <a:gd name="T4" fmla="*/ 79 w 276"/>
                <a:gd name="T5" fmla="*/ 30 h 335"/>
                <a:gd name="T6" fmla="*/ 94 w 276"/>
                <a:gd name="T7" fmla="*/ 52 h 335"/>
                <a:gd name="T8" fmla="*/ 114 w 276"/>
                <a:gd name="T9" fmla="*/ 68 h 335"/>
                <a:gd name="T10" fmla="*/ 127 w 276"/>
                <a:gd name="T11" fmla="*/ 86 h 335"/>
                <a:gd name="T12" fmla="*/ 146 w 276"/>
                <a:gd name="T13" fmla="*/ 101 h 335"/>
                <a:gd name="T14" fmla="*/ 161 w 276"/>
                <a:gd name="T15" fmla="*/ 106 h 335"/>
                <a:gd name="T16" fmla="*/ 172 w 276"/>
                <a:gd name="T17" fmla="*/ 117 h 335"/>
                <a:gd name="T18" fmla="*/ 192 w 276"/>
                <a:gd name="T19" fmla="*/ 133 h 335"/>
                <a:gd name="T20" fmla="*/ 207 w 276"/>
                <a:gd name="T21" fmla="*/ 149 h 335"/>
                <a:gd name="T22" fmla="*/ 216 w 276"/>
                <a:gd name="T23" fmla="*/ 163 h 335"/>
                <a:gd name="T24" fmla="*/ 214 w 276"/>
                <a:gd name="T25" fmla="*/ 176 h 335"/>
                <a:gd name="T26" fmla="*/ 234 w 276"/>
                <a:gd name="T27" fmla="*/ 193 h 335"/>
                <a:gd name="T28" fmla="*/ 242 w 276"/>
                <a:gd name="T29" fmla="*/ 218 h 335"/>
                <a:gd name="T30" fmla="*/ 259 w 276"/>
                <a:gd name="T31" fmla="*/ 229 h 335"/>
                <a:gd name="T32" fmla="*/ 272 w 276"/>
                <a:gd name="T33" fmla="*/ 244 h 335"/>
                <a:gd name="T34" fmla="*/ 270 w 276"/>
                <a:gd name="T35" fmla="*/ 263 h 335"/>
                <a:gd name="T36" fmla="*/ 270 w 276"/>
                <a:gd name="T37" fmla="*/ 284 h 335"/>
                <a:gd name="T38" fmla="*/ 268 w 276"/>
                <a:gd name="T39" fmla="*/ 302 h 335"/>
                <a:gd name="T40" fmla="*/ 265 w 276"/>
                <a:gd name="T41" fmla="*/ 322 h 335"/>
                <a:gd name="T42" fmla="*/ 254 w 276"/>
                <a:gd name="T43" fmla="*/ 317 h 335"/>
                <a:gd name="T44" fmla="*/ 238 w 276"/>
                <a:gd name="T45" fmla="*/ 317 h 335"/>
                <a:gd name="T46" fmla="*/ 221 w 276"/>
                <a:gd name="T47" fmla="*/ 308 h 335"/>
                <a:gd name="T48" fmla="*/ 194 w 276"/>
                <a:gd name="T49" fmla="*/ 286 h 335"/>
                <a:gd name="T50" fmla="*/ 176 w 276"/>
                <a:gd name="T51" fmla="*/ 261 h 335"/>
                <a:gd name="T52" fmla="*/ 159 w 276"/>
                <a:gd name="T53" fmla="*/ 241 h 335"/>
                <a:gd name="T54" fmla="*/ 147 w 276"/>
                <a:gd name="T55" fmla="*/ 215 h 335"/>
                <a:gd name="T56" fmla="*/ 135 w 276"/>
                <a:gd name="T57" fmla="*/ 191 h 335"/>
                <a:gd name="T58" fmla="*/ 123 w 276"/>
                <a:gd name="T59" fmla="*/ 173 h 335"/>
                <a:gd name="T60" fmla="*/ 103 w 276"/>
                <a:gd name="T61" fmla="*/ 150 h 335"/>
                <a:gd name="T62" fmla="*/ 95 w 276"/>
                <a:gd name="T63" fmla="*/ 121 h 335"/>
                <a:gd name="T64" fmla="*/ 81 w 276"/>
                <a:gd name="T65" fmla="*/ 104 h 335"/>
                <a:gd name="T66" fmla="*/ 64 w 276"/>
                <a:gd name="T67" fmla="*/ 81 h 335"/>
                <a:gd name="T68" fmla="*/ 51 w 276"/>
                <a:gd name="T69" fmla="*/ 65 h 335"/>
                <a:gd name="T70" fmla="*/ 33 w 276"/>
                <a:gd name="T71" fmla="*/ 51 h 335"/>
                <a:gd name="T72" fmla="*/ 8 w 276"/>
                <a:gd name="T73" fmla="*/ 25 h 335"/>
                <a:gd name="T74" fmla="*/ 5 w 276"/>
                <a:gd name="T75" fmla="*/ 2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6" h="335">
                  <a:moveTo>
                    <a:pt x="5" y="2"/>
                  </a:moveTo>
                  <a:cubicBezTo>
                    <a:pt x="12" y="4"/>
                    <a:pt x="12" y="1"/>
                    <a:pt x="18" y="7"/>
                  </a:cubicBezTo>
                  <a:cubicBezTo>
                    <a:pt x="24" y="13"/>
                    <a:pt x="13" y="14"/>
                    <a:pt x="28" y="15"/>
                  </a:cubicBezTo>
                  <a:cubicBezTo>
                    <a:pt x="43" y="15"/>
                    <a:pt x="45" y="14"/>
                    <a:pt x="49" y="15"/>
                  </a:cubicBezTo>
                  <a:cubicBezTo>
                    <a:pt x="54" y="15"/>
                    <a:pt x="61" y="7"/>
                    <a:pt x="64" y="15"/>
                  </a:cubicBezTo>
                  <a:cubicBezTo>
                    <a:pt x="67" y="23"/>
                    <a:pt x="79" y="23"/>
                    <a:pt x="79" y="30"/>
                  </a:cubicBezTo>
                  <a:cubicBezTo>
                    <a:pt x="79" y="37"/>
                    <a:pt x="76" y="37"/>
                    <a:pt x="82" y="43"/>
                  </a:cubicBezTo>
                  <a:cubicBezTo>
                    <a:pt x="89" y="49"/>
                    <a:pt x="91" y="49"/>
                    <a:pt x="94" y="52"/>
                  </a:cubicBezTo>
                  <a:cubicBezTo>
                    <a:pt x="97" y="56"/>
                    <a:pt x="99" y="57"/>
                    <a:pt x="103" y="61"/>
                  </a:cubicBezTo>
                  <a:cubicBezTo>
                    <a:pt x="108" y="64"/>
                    <a:pt x="108" y="61"/>
                    <a:pt x="114" y="68"/>
                  </a:cubicBezTo>
                  <a:cubicBezTo>
                    <a:pt x="119" y="74"/>
                    <a:pt x="123" y="76"/>
                    <a:pt x="124" y="79"/>
                  </a:cubicBezTo>
                  <a:cubicBezTo>
                    <a:pt x="125" y="81"/>
                    <a:pt x="124" y="83"/>
                    <a:pt x="127" y="86"/>
                  </a:cubicBezTo>
                  <a:cubicBezTo>
                    <a:pt x="130" y="89"/>
                    <a:pt x="134" y="96"/>
                    <a:pt x="139" y="100"/>
                  </a:cubicBezTo>
                  <a:cubicBezTo>
                    <a:pt x="144" y="103"/>
                    <a:pt x="146" y="105"/>
                    <a:pt x="146" y="101"/>
                  </a:cubicBezTo>
                  <a:cubicBezTo>
                    <a:pt x="147" y="97"/>
                    <a:pt x="152" y="97"/>
                    <a:pt x="155" y="99"/>
                  </a:cubicBezTo>
                  <a:cubicBezTo>
                    <a:pt x="159" y="101"/>
                    <a:pt x="155" y="108"/>
                    <a:pt x="161" y="106"/>
                  </a:cubicBezTo>
                  <a:cubicBezTo>
                    <a:pt x="166" y="104"/>
                    <a:pt x="172" y="106"/>
                    <a:pt x="172" y="109"/>
                  </a:cubicBezTo>
                  <a:cubicBezTo>
                    <a:pt x="173" y="112"/>
                    <a:pt x="165" y="115"/>
                    <a:pt x="172" y="117"/>
                  </a:cubicBezTo>
                  <a:cubicBezTo>
                    <a:pt x="180" y="120"/>
                    <a:pt x="185" y="117"/>
                    <a:pt x="186" y="121"/>
                  </a:cubicBezTo>
                  <a:cubicBezTo>
                    <a:pt x="187" y="125"/>
                    <a:pt x="190" y="128"/>
                    <a:pt x="192" y="133"/>
                  </a:cubicBezTo>
                  <a:cubicBezTo>
                    <a:pt x="194" y="138"/>
                    <a:pt x="194" y="141"/>
                    <a:pt x="200" y="143"/>
                  </a:cubicBezTo>
                  <a:cubicBezTo>
                    <a:pt x="205" y="145"/>
                    <a:pt x="204" y="152"/>
                    <a:pt x="207" y="149"/>
                  </a:cubicBezTo>
                  <a:cubicBezTo>
                    <a:pt x="210" y="146"/>
                    <a:pt x="219" y="150"/>
                    <a:pt x="220" y="154"/>
                  </a:cubicBezTo>
                  <a:cubicBezTo>
                    <a:pt x="221" y="157"/>
                    <a:pt x="219" y="158"/>
                    <a:pt x="216" y="163"/>
                  </a:cubicBezTo>
                  <a:cubicBezTo>
                    <a:pt x="213" y="167"/>
                    <a:pt x="212" y="166"/>
                    <a:pt x="214" y="169"/>
                  </a:cubicBezTo>
                  <a:cubicBezTo>
                    <a:pt x="217" y="171"/>
                    <a:pt x="216" y="174"/>
                    <a:pt x="214" y="176"/>
                  </a:cubicBezTo>
                  <a:cubicBezTo>
                    <a:pt x="211" y="178"/>
                    <a:pt x="206" y="179"/>
                    <a:pt x="212" y="183"/>
                  </a:cubicBezTo>
                  <a:cubicBezTo>
                    <a:pt x="218" y="188"/>
                    <a:pt x="232" y="188"/>
                    <a:pt x="234" y="193"/>
                  </a:cubicBezTo>
                  <a:cubicBezTo>
                    <a:pt x="235" y="198"/>
                    <a:pt x="241" y="201"/>
                    <a:pt x="241" y="207"/>
                  </a:cubicBezTo>
                  <a:cubicBezTo>
                    <a:pt x="241" y="214"/>
                    <a:pt x="237" y="215"/>
                    <a:pt x="242" y="218"/>
                  </a:cubicBezTo>
                  <a:cubicBezTo>
                    <a:pt x="247" y="222"/>
                    <a:pt x="245" y="223"/>
                    <a:pt x="248" y="225"/>
                  </a:cubicBezTo>
                  <a:cubicBezTo>
                    <a:pt x="252" y="227"/>
                    <a:pt x="254" y="227"/>
                    <a:pt x="259" y="229"/>
                  </a:cubicBezTo>
                  <a:cubicBezTo>
                    <a:pt x="265" y="231"/>
                    <a:pt x="266" y="230"/>
                    <a:pt x="268" y="235"/>
                  </a:cubicBezTo>
                  <a:cubicBezTo>
                    <a:pt x="270" y="240"/>
                    <a:pt x="268" y="238"/>
                    <a:pt x="272" y="244"/>
                  </a:cubicBezTo>
                  <a:cubicBezTo>
                    <a:pt x="276" y="250"/>
                    <a:pt x="276" y="250"/>
                    <a:pt x="274" y="254"/>
                  </a:cubicBezTo>
                  <a:cubicBezTo>
                    <a:pt x="271" y="258"/>
                    <a:pt x="268" y="260"/>
                    <a:pt x="270" y="263"/>
                  </a:cubicBezTo>
                  <a:cubicBezTo>
                    <a:pt x="272" y="267"/>
                    <a:pt x="273" y="267"/>
                    <a:pt x="272" y="273"/>
                  </a:cubicBezTo>
                  <a:cubicBezTo>
                    <a:pt x="270" y="279"/>
                    <a:pt x="268" y="279"/>
                    <a:pt x="270" y="284"/>
                  </a:cubicBezTo>
                  <a:cubicBezTo>
                    <a:pt x="272" y="288"/>
                    <a:pt x="272" y="290"/>
                    <a:pt x="271" y="293"/>
                  </a:cubicBezTo>
                  <a:cubicBezTo>
                    <a:pt x="270" y="296"/>
                    <a:pt x="268" y="297"/>
                    <a:pt x="268" y="302"/>
                  </a:cubicBezTo>
                  <a:cubicBezTo>
                    <a:pt x="268" y="306"/>
                    <a:pt x="269" y="304"/>
                    <a:pt x="268" y="310"/>
                  </a:cubicBezTo>
                  <a:cubicBezTo>
                    <a:pt x="268" y="317"/>
                    <a:pt x="266" y="321"/>
                    <a:pt x="265" y="322"/>
                  </a:cubicBezTo>
                  <a:cubicBezTo>
                    <a:pt x="265" y="323"/>
                    <a:pt x="261" y="328"/>
                    <a:pt x="258" y="322"/>
                  </a:cubicBezTo>
                  <a:cubicBezTo>
                    <a:pt x="256" y="316"/>
                    <a:pt x="255" y="311"/>
                    <a:pt x="254" y="317"/>
                  </a:cubicBezTo>
                  <a:cubicBezTo>
                    <a:pt x="253" y="322"/>
                    <a:pt x="252" y="325"/>
                    <a:pt x="249" y="324"/>
                  </a:cubicBezTo>
                  <a:cubicBezTo>
                    <a:pt x="246" y="322"/>
                    <a:pt x="237" y="312"/>
                    <a:pt x="238" y="317"/>
                  </a:cubicBezTo>
                  <a:cubicBezTo>
                    <a:pt x="239" y="323"/>
                    <a:pt x="244" y="335"/>
                    <a:pt x="236" y="326"/>
                  </a:cubicBezTo>
                  <a:cubicBezTo>
                    <a:pt x="227" y="316"/>
                    <a:pt x="224" y="311"/>
                    <a:pt x="221" y="308"/>
                  </a:cubicBezTo>
                  <a:cubicBezTo>
                    <a:pt x="218" y="304"/>
                    <a:pt x="220" y="302"/>
                    <a:pt x="212" y="299"/>
                  </a:cubicBezTo>
                  <a:cubicBezTo>
                    <a:pt x="204" y="296"/>
                    <a:pt x="195" y="286"/>
                    <a:pt x="194" y="286"/>
                  </a:cubicBezTo>
                  <a:cubicBezTo>
                    <a:pt x="193" y="285"/>
                    <a:pt x="186" y="277"/>
                    <a:pt x="183" y="272"/>
                  </a:cubicBezTo>
                  <a:cubicBezTo>
                    <a:pt x="180" y="268"/>
                    <a:pt x="181" y="265"/>
                    <a:pt x="176" y="261"/>
                  </a:cubicBezTo>
                  <a:cubicBezTo>
                    <a:pt x="171" y="256"/>
                    <a:pt x="166" y="256"/>
                    <a:pt x="164" y="251"/>
                  </a:cubicBezTo>
                  <a:cubicBezTo>
                    <a:pt x="162" y="246"/>
                    <a:pt x="163" y="244"/>
                    <a:pt x="159" y="241"/>
                  </a:cubicBezTo>
                  <a:cubicBezTo>
                    <a:pt x="156" y="237"/>
                    <a:pt x="152" y="233"/>
                    <a:pt x="149" y="230"/>
                  </a:cubicBezTo>
                  <a:cubicBezTo>
                    <a:pt x="147" y="227"/>
                    <a:pt x="148" y="221"/>
                    <a:pt x="147" y="215"/>
                  </a:cubicBezTo>
                  <a:cubicBezTo>
                    <a:pt x="147" y="208"/>
                    <a:pt x="142" y="204"/>
                    <a:pt x="139" y="199"/>
                  </a:cubicBezTo>
                  <a:cubicBezTo>
                    <a:pt x="136" y="195"/>
                    <a:pt x="134" y="195"/>
                    <a:pt x="135" y="191"/>
                  </a:cubicBezTo>
                  <a:cubicBezTo>
                    <a:pt x="135" y="187"/>
                    <a:pt x="136" y="187"/>
                    <a:pt x="132" y="182"/>
                  </a:cubicBezTo>
                  <a:cubicBezTo>
                    <a:pt x="127" y="178"/>
                    <a:pt x="129" y="176"/>
                    <a:pt x="123" y="173"/>
                  </a:cubicBezTo>
                  <a:cubicBezTo>
                    <a:pt x="118" y="169"/>
                    <a:pt x="119" y="160"/>
                    <a:pt x="115" y="158"/>
                  </a:cubicBezTo>
                  <a:cubicBezTo>
                    <a:pt x="110" y="156"/>
                    <a:pt x="104" y="153"/>
                    <a:pt x="103" y="150"/>
                  </a:cubicBezTo>
                  <a:cubicBezTo>
                    <a:pt x="103" y="148"/>
                    <a:pt x="104" y="139"/>
                    <a:pt x="101" y="135"/>
                  </a:cubicBezTo>
                  <a:cubicBezTo>
                    <a:pt x="98" y="130"/>
                    <a:pt x="95" y="125"/>
                    <a:pt x="95" y="121"/>
                  </a:cubicBezTo>
                  <a:cubicBezTo>
                    <a:pt x="95" y="117"/>
                    <a:pt x="94" y="113"/>
                    <a:pt x="92" y="111"/>
                  </a:cubicBezTo>
                  <a:cubicBezTo>
                    <a:pt x="89" y="109"/>
                    <a:pt x="88" y="108"/>
                    <a:pt x="81" y="104"/>
                  </a:cubicBezTo>
                  <a:cubicBezTo>
                    <a:pt x="74" y="100"/>
                    <a:pt x="65" y="95"/>
                    <a:pt x="64" y="92"/>
                  </a:cubicBezTo>
                  <a:cubicBezTo>
                    <a:pt x="64" y="88"/>
                    <a:pt x="67" y="83"/>
                    <a:pt x="64" y="81"/>
                  </a:cubicBezTo>
                  <a:cubicBezTo>
                    <a:pt x="62" y="79"/>
                    <a:pt x="60" y="79"/>
                    <a:pt x="58" y="75"/>
                  </a:cubicBezTo>
                  <a:cubicBezTo>
                    <a:pt x="55" y="71"/>
                    <a:pt x="55" y="70"/>
                    <a:pt x="51" y="65"/>
                  </a:cubicBezTo>
                  <a:cubicBezTo>
                    <a:pt x="47" y="60"/>
                    <a:pt x="48" y="56"/>
                    <a:pt x="44" y="55"/>
                  </a:cubicBezTo>
                  <a:cubicBezTo>
                    <a:pt x="40" y="54"/>
                    <a:pt x="38" y="57"/>
                    <a:pt x="33" y="51"/>
                  </a:cubicBezTo>
                  <a:cubicBezTo>
                    <a:pt x="27" y="46"/>
                    <a:pt x="24" y="42"/>
                    <a:pt x="21" y="39"/>
                  </a:cubicBezTo>
                  <a:cubicBezTo>
                    <a:pt x="19" y="36"/>
                    <a:pt x="9" y="27"/>
                    <a:pt x="8" y="25"/>
                  </a:cubicBezTo>
                  <a:cubicBezTo>
                    <a:pt x="7" y="22"/>
                    <a:pt x="1" y="15"/>
                    <a:pt x="1" y="11"/>
                  </a:cubicBezTo>
                  <a:cubicBezTo>
                    <a:pt x="1" y="7"/>
                    <a:pt x="0" y="0"/>
                    <a:pt x="5"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22" name="Freeform 810">
              <a:extLst>
                <a:ext uri="{FF2B5EF4-FFF2-40B4-BE49-F238E27FC236}">
                  <a16:creationId xmlns:a16="http://schemas.microsoft.com/office/drawing/2014/main" id="{89E73196-9D1A-A348-A33F-76BF3944B74E}"/>
                </a:ext>
              </a:extLst>
            </p:cNvPr>
            <p:cNvSpPr>
              <a:spLocks/>
            </p:cNvSpPr>
            <p:nvPr/>
          </p:nvSpPr>
          <p:spPr bwMode="auto">
            <a:xfrm>
              <a:off x="6854847" y="2621420"/>
              <a:ext cx="157163" cy="198438"/>
            </a:xfrm>
            <a:custGeom>
              <a:avLst/>
              <a:gdLst>
                <a:gd name="T0" fmla="*/ 4 w 165"/>
                <a:gd name="T1" fmla="*/ 147 h 208"/>
                <a:gd name="T2" fmla="*/ 19 w 165"/>
                <a:gd name="T3" fmla="*/ 150 h 208"/>
                <a:gd name="T4" fmla="*/ 18 w 165"/>
                <a:gd name="T5" fmla="*/ 183 h 208"/>
                <a:gd name="T6" fmla="*/ 13 w 165"/>
                <a:gd name="T7" fmla="*/ 199 h 208"/>
                <a:gd name="T8" fmla="*/ 29 w 165"/>
                <a:gd name="T9" fmla="*/ 206 h 208"/>
                <a:gd name="T10" fmla="*/ 38 w 165"/>
                <a:gd name="T11" fmla="*/ 197 h 208"/>
                <a:gd name="T12" fmla="*/ 39 w 165"/>
                <a:gd name="T13" fmla="*/ 181 h 208"/>
                <a:gd name="T14" fmla="*/ 41 w 165"/>
                <a:gd name="T15" fmla="*/ 152 h 208"/>
                <a:gd name="T16" fmla="*/ 41 w 165"/>
                <a:gd name="T17" fmla="*/ 128 h 208"/>
                <a:gd name="T18" fmla="*/ 56 w 165"/>
                <a:gd name="T19" fmla="*/ 128 h 208"/>
                <a:gd name="T20" fmla="*/ 60 w 165"/>
                <a:gd name="T21" fmla="*/ 155 h 208"/>
                <a:gd name="T22" fmla="*/ 69 w 165"/>
                <a:gd name="T23" fmla="*/ 179 h 208"/>
                <a:gd name="T24" fmla="*/ 96 w 165"/>
                <a:gd name="T25" fmla="*/ 173 h 208"/>
                <a:gd name="T26" fmla="*/ 87 w 165"/>
                <a:gd name="T27" fmla="*/ 189 h 208"/>
                <a:gd name="T28" fmla="*/ 97 w 165"/>
                <a:gd name="T29" fmla="*/ 206 h 208"/>
                <a:gd name="T30" fmla="*/ 108 w 165"/>
                <a:gd name="T31" fmla="*/ 193 h 208"/>
                <a:gd name="T32" fmla="*/ 110 w 165"/>
                <a:gd name="T33" fmla="*/ 175 h 208"/>
                <a:gd name="T34" fmla="*/ 102 w 165"/>
                <a:gd name="T35" fmla="*/ 159 h 208"/>
                <a:gd name="T36" fmla="*/ 92 w 165"/>
                <a:gd name="T37" fmla="*/ 141 h 208"/>
                <a:gd name="T38" fmla="*/ 77 w 165"/>
                <a:gd name="T39" fmla="*/ 112 h 208"/>
                <a:gd name="T40" fmla="*/ 80 w 165"/>
                <a:gd name="T41" fmla="*/ 98 h 208"/>
                <a:gd name="T42" fmla="*/ 101 w 165"/>
                <a:gd name="T43" fmla="*/ 79 h 208"/>
                <a:gd name="T44" fmla="*/ 114 w 165"/>
                <a:gd name="T45" fmla="*/ 77 h 208"/>
                <a:gd name="T46" fmla="*/ 114 w 165"/>
                <a:gd name="T47" fmla="*/ 63 h 208"/>
                <a:gd name="T48" fmla="*/ 93 w 165"/>
                <a:gd name="T49" fmla="*/ 69 h 208"/>
                <a:gd name="T50" fmla="*/ 78 w 165"/>
                <a:gd name="T51" fmla="*/ 73 h 208"/>
                <a:gd name="T52" fmla="*/ 61 w 165"/>
                <a:gd name="T53" fmla="*/ 83 h 208"/>
                <a:gd name="T54" fmla="*/ 48 w 165"/>
                <a:gd name="T55" fmla="*/ 79 h 208"/>
                <a:gd name="T56" fmla="*/ 34 w 165"/>
                <a:gd name="T57" fmla="*/ 54 h 208"/>
                <a:gd name="T58" fmla="*/ 46 w 165"/>
                <a:gd name="T59" fmla="*/ 35 h 208"/>
                <a:gd name="T60" fmla="*/ 70 w 165"/>
                <a:gd name="T61" fmla="*/ 35 h 208"/>
                <a:gd name="T62" fmla="*/ 96 w 165"/>
                <a:gd name="T63" fmla="*/ 34 h 208"/>
                <a:gd name="T64" fmla="*/ 131 w 165"/>
                <a:gd name="T65" fmla="*/ 41 h 208"/>
                <a:gd name="T66" fmla="*/ 152 w 165"/>
                <a:gd name="T67" fmla="*/ 25 h 208"/>
                <a:gd name="T68" fmla="*/ 164 w 165"/>
                <a:gd name="T69" fmla="*/ 5 h 208"/>
                <a:gd name="T70" fmla="*/ 149 w 165"/>
                <a:gd name="T71" fmla="*/ 9 h 208"/>
                <a:gd name="T72" fmla="*/ 113 w 165"/>
                <a:gd name="T73" fmla="*/ 24 h 208"/>
                <a:gd name="T74" fmla="*/ 87 w 165"/>
                <a:gd name="T75" fmla="*/ 18 h 208"/>
                <a:gd name="T76" fmla="*/ 60 w 165"/>
                <a:gd name="T77" fmla="*/ 11 h 208"/>
                <a:gd name="T78" fmla="*/ 49 w 165"/>
                <a:gd name="T79" fmla="*/ 22 h 208"/>
                <a:gd name="T80" fmla="*/ 34 w 165"/>
                <a:gd name="T81" fmla="*/ 29 h 208"/>
                <a:gd name="T82" fmla="*/ 25 w 165"/>
                <a:gd name="T83" fmla="*/ 52 h 208"/>
                <a:gd name="T84" fmla="*/ 24 w 165"/>
                <a:gd name="T85" fmla="*/ 71 h 208"/>
                <a:gd name="T86" fmla="*/ 16 w 165"/>
                <a:gd name="T87" fmla="*/ 97 h 208"/>
                <a:gd name="T88" fmla="*/ 4 w 165"/>
                <a:gd name="T89" fmla="*/ 12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5" h="208">
                  <a:moveTo>
                    <a:pt x="2" y="133"/>
                  </a:moveTo>
                  <a:cubicBezTo>
                    <a:pt x="2" y="138"/>
                    <a:pt x="2" y="147"/>
                    <a:pt x="4" y="147"/>
                  </a:cubicBezTo>
                  <a:cubicBezTo>
                    <a:pt x="7" y="147"/>
                    <a:pt x="10" y="146"/>
                    <a:pt x="13" y="145"/>
                  </a:cubicBezTo>
                  <a:cubicBezTo>
                    <a:pt x="16" y="145"/>
                    <a:pt x="19" y="143"/>
                    <a:pt x="19" y="150"/>
                  </a:cubicBezTo>
                  <a:cubicBezTo>
                    <a:pt x="19" y="156"/>
                    <a:pt x="22" y="163"/>
                    <a:pt x="21" y="170"/>
                  </a:cubicBezTo>
                  <a:cubicBezTo>
                    <a:pt x="21" y="177"/>
                    <a:pt x="19" y="181"/>
                    <a:pt x="18" y="183"/>
                  </a:cubicBezTo>
                  <a:cubicBezTo>
                    <a:pt x="18" y="186"/>
                    <a:pt x="18" y="186"/>
                    <a:pt x="16" y="190"/>
                  </a:cubicBezTo>
                  <a:cubicBezTo>
                    <a:pt x="14" y="194"/>
                    <a:pt x="11" y="194"/>
                    <a:pt x="13" y="199"/>
                  </a:cubicBezTo>
                  <a:cubicBezTo>
                    <a:pt x="15" y="204"/>
                    <a:pt x="14" y="207"/>
                    <a:pt x="19" y="207"/>
                  </a:cubicBezTo>
                  <a:cubicBezTo>
                    <a:pt x="24" y="208"/>
                    <a:pt x="26" y="208"/>
                    <a:pt x="29" y="206"/>
                  </a:cubicBezTo>
                  <a:cubicBezTo>
                    <a:pt x="31" y="205"/>
                    <a:pt x="37" y="204"/>
                    <a:pt x="38" y="203"/>
                  </a:cubicBezTo>
                  <a:cubicBezTo>
                    <a:pt x="39" y="202"/>
                    <a:pt x="40" y="201"/>
                    <a:pt x="38" y="197"/>
                  </a:cubicBezTo>
                  <a:cubicBezTo>
                    <a:pt x="36" y="193"/>
                    <a:pt x="34" y="193"/>
                    <a:pt x="36" y="189"/>
                  </a:cubicBezTo>
                  <a:cubicBezTo>
                    <a:pt x="38" y="185"/>
                    <a:pt x="37" y="184"/>
                    <a:pt x="39" y="181"/>
                  </a:cubicBezTo>
                  <a:cubicBezTo>
                    <a:pt x="41" y="179"/>
                    <a:pt x="41" y="172"/>
                    <a:pt x="41" y="170"/>
                  </a:cubicBezTo>
                  <a:cubicBezTo>
                    <a:pt x="41" y="168"/>
                    <a:pt x="40" y="158"/>
                    <a:pt x="41" y="152"/>
                  </a:cubicBezTo>
                  <a:cubicBezTo>
                    <a:pt x="41" y="146"/>
                    <a:pt x="42" y="142"/>
                    <a:pt x="41" y="139"/>
                  </a:cubicBezTo>
                  <a:cubicBezTo>
                    <a:pt x="39" y="135"/>
                    <a:pt x="37" y="131"/>
                    <a:pt x="41" y="128"/>
                  </a:cubicBezTo>
                  <a:cubicBezTo>
                    <a:pt x="44" y="126"/>
                    <a:pt x="44" y="124"/>
                    <a:pt x="50" y="123"/>
                  </a:cubicBezTo>
                  <a:cubicBezTo>
                    <a:pt x="56" y="122"/>
                    <a:pt x="56" y="125"/>
                    <a:pt x="56" y="128"/>
                  </a:cubicBezTo>
                  <a:cubicBezTo>
                    <a:pt x="57" y="131"/>
                    <a:pt x="58" y="139"/>
                    <a:pt x="56" y="143"/>
                  </a:cubicBezTo>
                  <a:cubicBezTo>
                    <a:pt x="55" y="146"/>
                    <a:pt x="58" y="154"/>
                    <a:pt x="60" y="155"/>
                  </a:cubicBezTo>
                  <a:cubicBezTo>
                    <a:pt x="61" y="157"/>
                    <a:pt x="70" y="163"/>
                    <a:pt x="69" y="165"/>
                  </a:cubicBezTo>
                  <a:cubicBezTo>
                    <a:pt x="68" y="168"/>
                    <a:pt x="65" y="174"/>
                    <a:pt x="69" y="179"/>
                  </a:cubicBezTo>
                  <a:cubicBezTo>
                    <a:pt x="73" y="184"/>
                    <a:pt x="78" y="193"/>
                    <a:pt x="79" y="186"/>
                  </a:cubicBezTo>
                  <a:cubicBezTo>
                    <a:pt x="81" y="180"/>
                    <a:pt x="95" y="172"/>
                    <a:pt x="96" y="173"/>
                  </a:cubicBezTo>
                  <a:cubicBezTo>
                    <a:pt x="98" y="174"/>
                    <a:pt x="102" y="179"/>
                    <a:pt x="98" y="180"/>
                  </a:cubicBezTo>
                  <a:cubicBezTo>
                    <a:pt x="95" y="181"/>
                    <a:pt x="87" y="185"/>
                    <a:pt x="87" y="189"/>
                  </a:cubicBezTo>
                  <a:cubicBezTo>
                    <a:pt x="87" y="192"/>
                    <a:pt x="86" y="198"/>
                    <a:pt x="88" y="199"/>
                  </a:cubicBezTo>
                  <a:cubicBezTo>
                    <a:pt x="91" y="200"/>
                    <a:pt x="94" y="205"/>
                    <a:pt x="97" y="206"/>
                  </a:cubicBezTo>
                  <a:cubicBezTo>
                    <a:pt x="100" y="208"/>
                    <a:pt x="106" y="202"/>
                    <a:pt x="107" y="199"/>
                  </a:cubicBezTo>
                  <a:cubicBezTo>
                    <a:pt x="109" y="197"/>
                    <a:pt x="110" y="195"/>
                    <a:pt x="108" y="193"/>
                  </a:cubicBezTo>
                  <a:cubicBezTo>
                    <a:pt x="106" y="191"/>
                    <a:pt x="103" y="186"/>
                    <a:pt x="106" y="184"/>
                  </a:cubicBezTo>
                  <a:cubicBezTo>
                    <a:pt x="109" y="182"/>
                    <a:pt x="111" y="177"/>
                    <a:pt x="110" y="175"/>
                  </a:cubicBezTo>
                  <a:cubicBezTo>
                    <a:pt x="108" y="173"/>
                    <a:pt x="103" y="169"/>
                    <a:pt x="104" y="166"/>
                  </a:cubicBezTo>
                  <a:cubicBezTo>
                    <a:pt x="105" y="164"/>
                    <a:pt x="106" y="159"/>
                    <a:pt x="102" y="159"/>
                  </a:cubicBezTo>
                  <a:cubicBezTo>
                    <a:pt x="97" y="159"/>
                    <a:pt x="95" y="155"/>
                    <a:pt x="93" y="153"/>
                  </a:cubicBezTo>
                  <a:cubicBezTo>
                    <a:pt x="90" y="150"/>
                    <a:pt x="92" y="147"/>
                    <a:pt x="92" y="141"/>
                  </a:cubicBezTo>
                  <a:cubicBezTo>
                    <a:pt x="92" y="134"/>
                    <a:pt x="94" y="136"/>
                    <a:pt x="88" y="129"/>
                  </a:cubicBezTo>
                  <a:cubicBezTo>
                    <a:pt x="83" y="122"/>
                    <a:pt x="81" y="118"/>
                    <a:pt x="77" y="112"/>
                  </a:cubicBezTo>
                  <a:cubicBezTo>
                    <a:pt x="73" y="107"/>
                    <a:pt x="62" y="100"/>
                    <a:pt x="69" y="101"/>
                  </a:cubicBezTo>
                  <a:cubicBezTo>
                    <a:pt x="76" y="102"/>
                    <a:pt x="79" y="100"/>
                    <a:pt x="80" y="98"/>
                  </a:cubicBezTo>
                  <a:cubicBezTo>
                    <a:pt x="82" y="96"/>
                    <a:pt x="89" y="95"/>
                    <a:pt x="93" y="90"/>
                  </a:cubicBezTo>
                  <a:cubicBezTo>
                    <a:pt x="97" y="84"/>
                    <a:pt x="96" y="82"/>
                    <a:pt x="101" y="79"/>
                  </a:cubicBezTo>
                  <a:cubicBezTo>
                    <a:pt x="105" y="75"/>
                    <a:pt x="108" y="70"/>
                    <a:pt x="109" y="72"/>
                  </a:cubicBezTo>
                  <a:cubicBezTo>
                    <a:pt x="109" y="74"/>
                    <a:pt x="111" y="78"/>
                    <a:pt x="114" y="77"/>
                  </a:cubicBezTo>
                  <a:cubicBezTo>
                    <a:pt x="118" y="75"/>
                    <a:pt x="120" y="71"/>
                    <a:pt x="120" y="69"/>
                  </a:cubicBezTo>
                  <a:cubicBezTo>
                    <a:pt x="121" y="67"/>
                    <a:pt x="121" y="63"/>
                    <a:pt x="114" y="63"/>
                  </a:cubicBezTo>
                  <a:cubicBezTo>
                    <a:pt x="107" y="63"/>
                    <a:pt x="106" y="59"/>
                    <a:pt x="102" y="64"/>
                  </a:cubicBezTo>
                  <a:cubicBezTo>
                    <a:pt x="98" y="69"/>
                    <a:pt x="98" y="68"/>
                    <a:pt x="93" y="69"/>
                  </a:cubicBezTo>
                  <a:cubicBezTo>
                    <a:pt x="89" y="71"/>
                    <a:pt x="89" y="71"/>
                    <a:pt x="85" y="73"/>
                  </a:cubicBezTo>
                  <a:cubicBezTo>
                    <a:pt x="81" y="74"/>
                    <a:pt x="80" y="76"/>
                    <a:pt x="78" y="73"/>
                  </a:cubicBezTo>
                  <a:cubicBezTo>
                    <a:pt x="75" y="70"/>
                    <a:pt x="71" y="72"/>
                    <a:pt x="69" y="74"/>
                  </a:cubicBezTo>
                  <a:cubicBezTo>
                    <a:pt x="67" y="76"/>
                    <a:pt x="63" y="79"/>
                    <a:pt x="61" y="83"/>
                  </a:cubicBezTo>
                  <a:cubicBezTo>
                    <a:pt x="59" y="87"/>
                    <a:pt x="64" y="93"/>
                    <a:pt x="57" y="87"/>
                  </a:cubicBezTo>
                  <a:cubicBezTo>
                    <a:pt x="50" y="81"/>
                    <a:pt x="51" y="83"/>
                    <a:pt x="48" y="79"/>
                  </a:cubicBezTo>
                  <a:cubicBezTo>
                    <a:pt x="44" y="75"/>
                    <a:pt x="42" y="72"/>
                    <a:pt x="39" y="70"/>
                  </a:cubicBezTo>
                  <a:cubicBezTo>
                    <a:pt x="36" y="67"/>
                    <a:pt x="33" y="60"/>
                    <a:pt x="34" y="54"/>
                  </a:cubicBezTo>
                  <a:cubicBezTo>
                    <a:pt x="36" y="47"/>
                    <a:pt x="39" y="45"/>
                    <a:pt x="41" y="41"/>
                  </a:cubicBezTo>
                  <a:cubicBezTo>
                    <a:pt x="42" y="37"/>
                    <a:pt x="42" y="35"/>
                    <a:pt x="46" y="35"/>
                  </a:cubicBezTo>
                  <a:cubicBezTo>
                    <a:pt x="50" y="35"/>
                    <a:pt x="51" y="32"/>
                    <a:pt x="58" y="35"/>
                  </a:cubicBezTo>
                  <a:cubicBezTo>
                    <a:pt x="65" y="37"/>
                    <a:pt x="66" y="36"/>
                    <a:pt x="70" y="35"/>
                  </a:cubicBezTo>
                  <a:cubicBezTo>
                    <a:pt x="74" y="34"/>
                    <a:pt x="77" y="35"/>
                    <a:pt x="83" y="35"/>
                  </a:cubicBezTo>
                  <a:cubicBezTo>
                    <a:pt x="89" y="35"/>
                    <a:pt x="92" y="35"/>
                    <a:pt x="96" y="34"/>
                  </a:cubicBezTo>
                  <a:cubicBezTo>
                    <a:pt x="101" y="34"/>
                    <a:pt x="108" y="37"/>
                    <a:pt x="112" y="38"/>
                  </a:cubicBezTo>
                  <a:cubicBezTo>
                    <a:pt x="116" y="40"/>
                    <a:pt x="128" y="43"/>
                    <a:pt x="131" y="41"/>
                  </a:cubicBezTo>
                  <a:cubicBezTo>
                    <a:pt x="135" y="40"/>
                    <a:pt x="136" y="42"/>
                    <a:pt x="142" y="37"/>
                  </a:cubicBezTo>
                  <a:cubicBezTo>
                    <a:pt x="148" y="31"/>
                    <a:pt x="150" y="28"/>
                    <a:pt x="152" y="25"/>
                  </a:cubicBezTo>
                  <a:cubicBezTo>
                    <a:pt x="155" y="22"/>
                    <a:pt x="155" y="19"/>
                    <a:pt x="159" y="15"/>
                  </a:cubicBezTo>
                  <a:cubicBezTo>
                    <a:pt x="162" y="12"/>
                    <a:pt x="163" y="8"/>
                    <a:pt x="164" y="5"/>
                  </a:cubicBezTo>
                  <a:cubicBezTo>
                    <a:pt x="165" y="3"/>
                    <a:pt x="165" y="0"/>
                    <a:pt x="159" y="2"/>
                  </a:cubicBezTo>
                  <a:cubicBezTo>
                    <a:pt x="154" y="4"/>
                    <a:pt x="157" y="0"/>
                    <a:pt x="149" y="9"/>
                  </a:cubicBezTo>
                  <a:cubicBezTo>
                    <a:pt x="142" y="17"/>
                    <a:pt x="135" y="21"/>
                    <a:pt x="130" y="24"/>
                  </a:cubicBezTo>
                  <a:cubicBezTo>
                    <a:pt x="126" y="27"/>
                    <a:pt x="119" y="24"/>
                    <a:pt x="113" y="24"/>
                  </a:cubicBezTo>
                  <a:cubicBezTo>
                    <a:pt x="106" y="23"/>
                    <a:pt x="105" y="26"/>
                    <a:pt x="98" y="23"/>
                  </a:cubicBezTo>
                  <a:cubicBezTo>
                    <a:pt x="91" y="20"/>
                    <a:pt x="89" y="17"/>
                    <a:pt x="87" y="18"/>
                  </a:cubicBezTo>
                  <a:cubicBezTo>
                    <a:pt x="84" y="18"/>
                    <a:pt x="81" y="20"/>
                    <a:pt x="75" y="17"/>
                  </a:cubicBezTo>
                  <a:cubicBezTo>
                    <a:pt x="69" y="13"/>
                    <a:pt x="64" y="11"/>
                    <a:pt x="60" y="11"/>
                  </a:cubicBezTo>
                  <a:cubicBezTo>
                    <a:pt x="57" y="11"/>
                    <a:pt x="53" y="12"/>
                    <a:pt x="53" y="16"/>
                  </a:cubicBezTo>
                  <a:cubicBezTo>
                    <a:pt x="52" y="20"/>
                    <a:pt x="52" y="22"/>
                    <a:pt x="49" y="22"/>
                  </a:cubicBezTo>
                  <a:cubicBezTo>
                    <a:pt x="45" y="23"/>
                    <a:pt x="43" y="22"/>
                    <a:pt x="41" y="21"/>
                  </a:cubicBezTo>
                  <a:cubicBezTo>
                    <a:pt x="38" y="21"/>
                    <a:pt x="37" y="25"/>
                    <a:pt x="34" y="29"/>
                  </a:cubicBezTo>
                  <a:cubicBezTo>
                    <a:pt x="30" y="33"/>
                    <a:pt x="29" y="30"/>
                    <a:pt x="28" y="38"/>
                  </a:cubicBezTo>
                  <a:cubicBezTo>
                    <a:pt x="26" y="45"/>
                    <a:pt x="23" y="49"/>
                    <a:pt x="25" y="52"/>
                  </a:cubicBezTo>
                  <a:cubicBezTo>
                    <a:pt x="28" y="56"/>
                    <a:pt x="25" y="63"/>
                    <a:pt x="26" y="65"/>
                  </a:cubicBezTo>
                  <a:cubicBezTo>
                    <a:pt x="27" y="67"/>
                    <a:pt x="28" y="65"/>
                    <a:pt x="24" y="71"/>
                  </a:cubicBezTo>
                  <a:cubicBezTo>
                    <a:pt x="20" y="78"/>
                    <a:pt x="18" y="78"/>
                    <a:pt x="17" y="83"/>
                  </a:cubicBezTo>
                  <a:cubicBezTo>
                    <a:pt x="16" y="89"/>
                    <a:pt x="17" y="89"/>
                    <a:pt x="16" y="97"/>
                  </a:cubicBezTo>
                  <a:cubicBezTo>
                    <a:pt x="14" y="106"/>
                    <a:pt x="11" y="109"/>
                    <a:pt x="10" y="113"/>
                  </a:cubicBezTo>
                  <a:cubicBezTo>
                    <a:pt x="9" y="117"/>
                    <a:pt x="7" y="118"/>
                    <a:pt x="4" y="121"/>
                  </a:cubicBezTo>
                  <a:cubicBezTo>
                    <a:pt x="0" y="124"/>
                    <a:pt x="1" y="129"/>
                    <a:pt x="2" y="13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23" name="Freeform 811">
              <a:extLst>
                <a:ext uri="{FF2B5EF4-FFF2-40B4-BE49-F238E27FC236}">
                  <a16:creationId xmlns:a16="http://schemas.microsoft.com/office/drawing/2014/main" id="{B456E02D-917E-2F42-A0C5-0E86BCABFF9B}"/>
                </a:ext>
              </a:extLst>
            </p:cNvPr>
            <p:cNvSpPr>
              <a:spLocks/>
            </p:cNvSpPr>
            <p:nvPr/>
          </p:nvSpPr>
          <p:spPr bwMode="auto">
            <a:xfrm>
              <a:off x="6530996" y="2819858"/>
              <a:ext cx="246063" cy="85725"/>
            </a:xfrm>
            <a:custGeom>
              <a:avLst/>
              <a:gdLst>
                <a:gd name="T0" fmla="*/ 14 w 259"/>
                <a:gd name="T1" fmla="*/ 19 h 89"/>
                <a:gd name="T2" fmla="*/ 22 w 259"/>
                <a:gd name="T3" fmla="*/ 3 h 89"/>
                <a:gd name="T4" fmla="*/ 39 w 259"/>
                <a:gd name="T5" fmla="*/ 10 h 89"/>
                <a:gd name="T6" fmla="*/ 49 w 259"/>
                <a:gd name="T7" fmla="*/ 8 h 89"/>
                <a:gd name="T8" fmla="*/ 71 w 259"/>
                <a:gd name="T9" fmla="*/ 15 h 89"/>
                <a:gd name="T10" fmla="*/ 83 w 259"/>
                <a:gd name="T11" fmla="*/ 24 h 89"/>
                <a:gd name="T12" fmla="*/ 93 w 259"/>
                <a:gd name="T13" fmla="*/ 32 h 89"/>
                <a:gd name="T14" fmla="*/ 117 w 259"/>
                <a:gd name="T15" fmla="*/ 33 h 89"/>
                <a:gd name="T16" fmla="*/ 129 w 259"/>
                <a:gd name="T17" fmla="*/ 33 h 89"/>
                <a:gd name="T18" fmla="*/ 137 w 259"/>
                <a:gd name="T19" fmla="*/ 19 h 89"/>
                <a:gd name="T20" fmla="*/ 152 w 259"/>
                <a:gd name="T21" fmla="*/ 30 h 89"/>
                <a:gd name="T22" fmla="*/ 166 w 259"/>
                <a:gd name="T23" fmla="*/ 32 h 89"/>
                <a:gd name="T24" fmla="*/ 182 w 259"/>
                <a:gd name="T25" fmla="*/ 34 h 89"/>
                <a:gd name="T26" fmla="*/ 216 w 259"/>
                <a:gd name="T27" fmla="*/ 35 h 89"/>
                <a:gd name="T28" fmla="*/ 199 w 259"/>
                <a:gd name="T29" fmla="*/ 42 h 89"/>
                <a:gd name="T30" fmla="*/ 186 w 259"/>
                <a:gd name="T31" fmla="*/ 48 h 89"/>
                <a:gd name="T32" fmla="*/ 199 w 259"/>
                <a:gd name="T33" fmla="*/ 56 h 89"/>
                <a:gd name="T34" fmla="*/ 226 w 259"/>
                <a:gd name="T35" fmla="*/ 56 h 89"/>
                <a:gd name="T36" fmla="*/ 229 w 259"/>
                <a:gd name="T37" fmla="*/ 69 h 89"/>
                <a:gd name="T38" fmla="*/ 258 w 259"/>
                <a:gd name="T39" fmla="*/ 74 h 89"/>
                <a:gd name="T40" fmla="*/ 250 w 259"/>
                <a:gd name="T41" fmla="*/ 82 h 89"/>
                <a:gd name="T42" fmla="*/ 241 w 259"/>
                <a:gd name="T43" fmla="*/ 85 h 89"/>
                <a:gd name="T44" fmla="*/ 226 w 259"/>
                <a:gd name="T45" fmla="*/ 77 h 89"/>
                <a:gd name="T46" fmla="*/ 217 w 259"/>
                <a:gd name="T47" fmla="*/ 79 h 89"/>
                <a:gd name="T48" fmla="*/ 202 w 259"/>
                <a:gd name="T49" fmla="*/ 76 h 89"/>
                <a:gd name="T50" fmla="*/ 189 w 259"/>
                <a:gd name="T51" fmla="*/ 73 h 89"/>
                <a:gd name="T52" fmla="*/ 174 w 259"/>
                <a:gd name="T53" fmla="*/ 76 h 89"/>
                <a:gd name="T54" fmla="*/ 150 w 259"/>
                <a:gd name="T55" fmla="*/ 70 h 89"/>
                <a:gd name="T56" fmla="*/ 127 w 259"/>
                <a:gd name="T57" fmla="*/ 66 h 89"/>
                <a:gd name="T58" fmla="*/ 98 w 259"/>
                <a:gd name="T59" fmla="*/ 56 h 89"/>
                <a:gd name="T60" fmla="*/ 84 w 259"/>
                <a:gd name="T61" fmla="*/ 58 h 89"/>
                <a:gd name="T62" fmla="*/ 67 w 259"/>
                <a:gd name="T63" fmla="*/ 57 h 89"/>
                <a:gd name="T64" fmla="*/ 43 w 259"/>
                <a:gd name="T65" fmla="*/ 51 h 89"/>
                <a:gd name="T66" fmla="*/ 28 w 259"/>
                <a:gd name="T67" fmla="*/ 44 h 89"/>
                <a:gd name="T68" fmla="*/ 25 w 259"/>
                <a:gd name="T69" fmla="*/ 34 h 89"/>
                <a:gd name="T70" fmla="*/ 7 w 259"/>
                <a:gd name="T71" fmla="*/ 29 h 89"/>
                <a:gd name="T72" fmla="*/ 5 w 259"/>
                <a:gd name="T73" fmla="*/ 24 h 89"/>
                <a:gd name="T74" fmla="*/ 14 w 259"/>
                <a:gd name="T75" fmla="*/ 1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9" h="89">
                  <a:moveTo>
                    <a:pt x="14" y="19"/>
                  </a:moveTo>
                  <a:cubicBezTo>
                    <a:pt x="19" y="8"/>
                    <a:pt x="18" y="0"/>
                    <a:pt x="22" y="3"/>
                  </a:cubicBezTo>
                  <a:cubicBezTo>
                    <a:pt x="26" y="6"/>
                    <a:pt x="33" y="12"/>
                    <a:pt x="39" y="10"/>
                  </a:cubicBezTo>
                  <a:cubicBezTo>
                    <a:pt x="44" y="9"/>
                    <a:pt x="40" y="6"/>
                    <a:pt x="49" y="8"/>
                  </a:cubicBezTo>
                  <a:cubicBezTo>
                    <a:pt x="57" y="11"/>
                    <a:pt x="65" y="11"/>
                    <a:pt x="71" y="15"/>
                  </a:cubicBezTo>
                  <a:cubicBezTo>
                    <a:pt x="76" y="20"/>
                    <a:pt x="81" y="19"/>
                    <a:pt x="83" y="24"/>
                  </a:cubicBezTo>
                  <a:cubicBezTo>
                    <a:pt x="85" y="29"/>
                    <a:pt x="80" y="30"/>
                    <a:pt x="93" y="32"/>
                  </a:cubicBezTo>
                  <a:cubicBezTo>
                    <a:pt x="106" y="33"/>
                    <a:pt x="106" y="33"/>
                    <a:pt x="117" y="33"/>
                  </a:cubicBezTo>
                  <a:cubicBezTo>
                    <a:pt x="127" y="33"/>
                    <a:pt x="125" y="38"/>
                    <a:pt x="129" y="33"/>
                  </a:cubicBezTo>
                  <a:cubicBezTo>
                    <a:pt x="132" y="28"/>
                    <a:pt x="134" y="16"/>
                    <a:pt x="137" y="19"/>
                  </a:cubicBezTo>
                  <a:cubicBezTo>
                    <a:pt x="139" y="22"/>
                    <a:pt x="147" y="28"/>
                    <a:pt x="152" y="30"/>
                  </a:cubicBezTo>
                  <a:cubicBezTo>
                    <a:pt x="157" y="32"/>
                    <a:pt x="158" y="29"/>
                    <a:pt x="166" y="32"/>
                  </a:cubicBezTo>
                  <a:cubicBezTo>
                    <a:pt x="174" y="34"/>
                    <a:pt x="174" y="34"/>
                    <a:pt x="182" y="34"/>
                  </a:cubicBezTo>
                  <a:cubicBezTo>
                    <a:pt x="190" y="34"/>
                    <a:pt x="220" y="29"/>
                    <a:pt x="216" y="35"/>
                  </a:cubicBezTo>
                  <a:cubicBezTo>
                    <a:pt x="212" y="42"/>
                    <a:pt x="209" y="41"/>
                    <a:pt x="199" y="42"/>
                  </a:cubicBezTo>
                  <a:cubicBezTo>
                    <a:pt x="189" y="44"/>
                    <a:pt x="182" y="42"/>
                    <a:pt x="186" y="48"/>
                  </a:cubicBezTo>
                  <a:cubicBezTo>
                    <a:pt x="190" y="55"/>
                    <a:pt x="191" y="56"/>
                    <a:pt x="199" y="56"/>
                  </a:cubicBezTo>
                  <a:cubicBezTo>
                    <a:pt x="207" y="56"/>
                    <a:pt x="226" y="51"/>
                    <a:pt x="226" y="56"/>
                  </a:cubicBezTo>
                  <a:cubicBezTo>
                    <a:pt x="227" y="62"/>
                    <a:pt x="217" y="67"/>
                    <a:pt x="229" y="69"/>
                  </a:cubicBezTo>
                  <a:cubicBezTo>
                    <a:pt x="241" y="70"/>
                    <a:pt x="259" y="70"/>
                    <a:pt x="258" y="74"/>
                  </a:cubicBezTo>
                  <a:cubicBezTo>
                    <a:pt x="258" y="78"/>
                    <a:pt x="252" y="79"/>
                    <a:pt x="250" y="82"/>
                  </a:cubicBezTo>
                  <a:cubicBezTo>
                    <a:pt x="248" y="84"/>
                    <a:pt x="248" y="89"/>
                    <a:pt x="241" y="85"/>
                  </a:cubicBezTo>
                  <a:cubicBezTo>
                    <a:pt x="235" y="81"/>
                    <a:pt x="227" y="72"/>
                    <a:pt x="226" y="77"/>
                  </a:cubicBezTo>
                  <a:cubicBezTo>
                    <a:pt x="225" y="82"/>
                    <a:pt x="220" y="81"/>
                    <a:pt x="217" y="79"/>
                  </a:cubicBezTo>
                  <a:cubicBezTo>
                    <a:pt x="215" y="78"/>
                    <a:pt x="209" y="79"/>
                    <a:pt x="202" y="76"/>
                  </a:cubicBezTo>
                  <a:cubicBezTo>
                    <a:pt x="195" y="73"/>
                    <a:pt x="194" y="69"/>
                    <a:pt x="189" y="73"/>
                  </a:cubicBezTo>
                  <a:cubicBezTo>
                    <a:pt x="184" y="76"/>
                    <a:pt x="189" y="80"/>
                    <a:pt x="174" y="76"/>
                  </a:cubicBezTo>
                  <a:cubicBezTo>
                    <a:pt x="158" y="72"/>
                    <a:pt x="166" y="71"/>
                    <a:pt x="150" y="70"/>
                  </a:cubicBezTo>
                  <a:cubicBezTo>
                    <a:pt x="135" y="69"/>
                    <a:pt x="137" y="72"/>
                    <a:pt x="127" y="66"/>
                  </a:cubicBezTo>
                  <a:cubicBezTo>
                    <a:pt x="118" y="61"/>
                    <a:pt x="100" y="56"/>
                    <a:pt x="98" y="56"/>
                  </a:cubicBezTo>
                  <a:cubicBezTo>
                    <a:pt x="95" y="56"/>
                    <a:pt x="94" y="56"/>
                    <a:pt x="84" y="58"/>
                  </a:cubicBezTo>
                  <a:cubicBezTo>
                    <a:pt x="73" y="59"/>
                    <a:pt x="77" y="61"/>
                    <a:pt x="67" y="57"/>
                  </a:cubicBezTo>
                  <a:cubicBezTo>
                    <a:pt x="56" y="54"/>
                    <a:pt x="52" y="51"/>
                    <a:pt x="43" y="51"/>
                  </a:cubicBezTo>
                  <a:cubicBezTo>
                    <a:pt x="33" y="51"/>
                    <a:pt x="27" y="50"/>
                    <a:pt x="28" y="44"/>
                  </a:cubicBezTo>
                  <a:cubicBezTo>
                    <a:pt x="29" y="39"/>
                    <a:pt x="33" y="38"/>
                    <a:pt x="25" y="34"/>
                  </a:cubicBezTo>
                  <a:cubicBezTo>
                    <a:pt x="16" y="31"/>
                    <a:pt x="14" y="29"/>
                    <a:pt x="7" y="29"/>
                  </a:cubicBezTo>
                  <a:cubicBezTo>
                    <a:pt x="0" y="29"/>
                    <a:pt x="0" y="26"/>
                    <a:pt x="5" y="24"/>
                  </a:cubicBezTo>
                  <a:cubicBezTo>
                    <a:pt x="9" y="22"/>
                    <a:pt x="16" y="23"/>
                    <a:pt x="14" y="1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24" name="Freeform 812">
              <a:extLst>
                <a:ext uri="{FF2B5EF4-FFF2-40B4-BE49-F238E27FC236}">
                  <a16:creationId xmlns:a16="http://schemas.microsoft.com/office/drawing/2014/main" id="{AF2EDC4F-091B-2B43-8822-8C6889CACAF5}"/>
                </a:ext>
              </a:extLst>
            </p:cNvPr>
            <p:cNvSpPr>
              <a:spLocks/>
            </p:cNvSpPr>
            <p:nvPr/>
          </p:nvSpPr>
          <p:spPr bwMode="auto">
            <a:xfrm>
              <a:off x="6777059" y="2886533"/>
              <a:ext cx="23813" cy="20638"/>
            </a:xfrm>
            <a:custGeom>
              <a:avLst/>
              <a:gdLst>
                <a:gd name="T0" fmla="*/ 3 w 25"/>
                <a:gd name="T1" fmla="*/ 16 h 22"/>
                <a:gd name="T2" fmla="*/ 7 w 25"/>
                <a:gd name="T3" fmla="*/ 10 h 22"/>
                <a:gd name="T4" fmla="*/ 10 w 25"/>
                <a:gd name="T5" fmla="*/ 3 h 22"/>
                <a:gd name="T6" fmla="*/ 16 w 25"/>
                <a:gd name="T7" fmla="*/ 0 h 22"/>
                <a:gd name="T8" fmla="*/ 21 w 25"/>
                <a:gd name="T9" fmla="*/ 3 h 22"/>
                <a:gd name="T10" fmla="*/ 23 w 25"/>
                <a:gd name="T11" fmla="*/ 8 h 22"/>
                <a:gd name="T12" fmla="*/ 18 w 25"/>
                <a:gd name="T13" fmla="*/ 15 h 22"/>
                <a:gd name="T14" fmla="*/ 15 w 25"/>
                <a:gd name="T15" fmla="*/ 20 h 22"/>
                <a:gd name="T16" fmla="*/ 6 w 25"/>
                <a:gd name="T17" fmla="*/ 18 h 22"/>
                <a:gd name="T18" fmla="*/ 3 w 25"/>
                <a:gd name="T19"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2">
                  <a:moveTo>
                    <a:pt x="3" y="16"/>
                  </a:moveTo>
                  <a:cubicBezTo>
                    <a:pt x="6" y="13"/>
                    <a:pt x="7" y="14"/>
                    <a:pt x="7" y="10"/>
                  </a:cubicBezTo>
                  <a:cubicBezTo>
                    <a:pt x="7" y="6"/>
                    <a:pt x="7" y="5"/>
                    <a:pt x="10" y="3"/>
                  </a:cubicBezTo>
                  <a:cubicBezTo>
                    <a:pt x="12" y="0"/>
                    <a:pt x="14" y="0"/>
                    <a:pt x="16" y="0"/>
                  </a:cubicBezTo>
                  <a:cubicBezTo>
                    <a:pt x="18" y="1"/>
                    <a:pt x="21" y="1"/>
                    <a:pt x="21" y="3"/>
                  </a:cubicBezTo>
                  <a:cubicBezTo>
                    <a:pt x="22" y="5"/>
                    <a:pt x="25" y="5"/>
                    <a:pt x="23" y="8"/>
                  </a:cubicBezTo>
                  <a:cubicBezTo>
                    <a:pt x="20" y="10"/>
                    <a:pt x="18" y="11"/>
                    <a:pt x="18" y="15"/>
                  </a:cubicBezTo>
                  <a:cubicBezTo>
                    <a:pt x="17" y="18"/>
                    <a:pt x="20" y="22"/>
                    <a:pt x="15" y="20"/>
                  </a:cubicBezTo>
                  <a:cubicBezTo>
                    <a:pt x="9" y="18"/>
                    <a:pt x="10" y="18"/>
                    <a:pt x="6" y="18"/>
                  </a:cubicBezTo>
                  <a:cubicBezTo>
                    <a:pt x="3" y="19"/>
                    <a:pt x="0" y="16"/>
                    <a:pt x="3" y="1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25" name="Freeform 813">
              <a:extLst>
                <a:ext uri="{FF2B5EF4-FFF2-40B4-BE49-F238E27FC236}">
                  <a16:creationId xmlns:a16="http://schemas.microsoft.com/office/drawing/2014/main" id="{1EC61C7A-EF2A-A542-9BD4-1AAE206386D5}"/>
                </a:ext>
              </a:extLst>
            </p:cNvPr>
            <p:cNvSpPr>
              <a:spLocks/>
            </p:cNvSpPr>
            <p:nvPr/>
          </p:nvSpPr>
          <p:spPr bwMode="auto">
            <a:xfrm>
              <a:off x="6796109" y="2881770"/>
              <a:ext cx="61913" cy="28575"/>
            </a:xfrm>
            <a:custGeom>
              <a:avLst/>
              <a:gdLst>
                <a:gd name="T0" fmla="*/ 4 w 65"/>
                <a:gd name="T1" fmla="*/ 26 h 30"/>
                <a:gd name="T2" fmla="*/ 7 w 65"/>
                <a:gd name="T3" fmla="*/ 15 h 30"/>
                <a:gd name="T4" fmla="*/ 14 w 65"/>
                <a:gd name="T5" fmla="*/ 12 h 30"/>
                <a:gd name="T6" fmla="*/ 23 w 65"/>
                <a:gd name="T7" fmla="*/ 10 h 30"/>
                <a:gd name="T8" fmla="*/ 28 w 65"/>
                <a:gd name="T9" fmla="*/ 4 h 30"/>
                <a:gd name="T10" fmla="*/ 39 w 65"/>
                <a:gd name="T11" fmla="*/ 3 h 30"/>
                <a:gd name="T12" fmla="*/ 45 w 65"/>
                <a:gd name="T13" fmla="*/ 10 h 30"/>
                <a:gd name="T14" fmla="*/ 54 w 65"/>
                <a:gd name="T15" fmla="*/ 8 h 30"/>
                <a:gd name="T16" fmla="*/ 61 w 65"/>
                <a:gd name="T17" fmla="*/ 7 h 30"/>
                <a:gd name="T18" fmla="*/ 62 w 65"/>
                <a:gd name="T19" fmla="*/ 15 h 30"/>
                <a:gd name="T20" fmla="*/ 63 w 65"/>
                <a:gd name="T21" fmla="*/ 19 h 30"/>
                <a:gd name="T22" fmla="*/ 54 w 65"/>
                <a:gd name="T23" fmla="*/ 22 h 30"/>
                <a:gd name="T24" fmla="*/ 45 w 65"/>
                <a:gd name="T25" fmla="*/ 19 h 30"/>
                <a:gd name="T26" fmla="*/ 40 w 65"/>
                <a:gd name="T27" fmla="*/ 19 h 30"/>
                <a:gd name="T28" fmla="*/ 31 w 65"/>
                <a:gd name="T29" fmla="*/ 24 h 30"/>
                <a:gd name="T30" fmla="*/ 18 w 65"/>
                <a:gd name="T31" fmla="*/ 29 h 30"/>
                <a:gd name="T32" fmla="*/ 7 w 65"/>
                <a:gd name="T33" fmla="*/ 29 h 30"/>
                <a:gd name="T34" fmla="*/ 4 w 65"/>
                <a:gd name="T35"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30">
                  <a:moveTo>
                    <a:pt x="4" y="26"/>
                  </a:moveTo>
                  <a:cubicBezTo>
                    <a:pt x="6" y="21"/>
                    <a:pt x="4" y="18"/>
                    <a:pt x="7" y="15"/>
                  </a:cubicBezTo>
                  <a:cubicBezTo>
                    <a:pt x="10" y="13"/>
                    <a:pt x="8" y="12"/>
                    <a:pt x="14" y="12"/>
                  </a:cubicBezTo>
                  <a:cubicBezTo>
                    <a:pt x="19" y="11"/>
                    <a:pt x="20" y="14"/>
                    <a:pt x="23" y="10"/>
                  </a:cubicBezTo>
                  <a:cubicBezTo>
                    <a:pt x="26" y="6"/>
                    <a:pt x="22" y="5"/>
                    <a:pt x="28" y="4"/>
                  </a:cubicBezTo>
                  <a:cubicBezTo>
                    <a:pt x="33" y="4"/>
                    <a:pt x="36" y="0"/>
                    <a:pt x="39" y="3"/>
                  </a:cubicBezTo>
                  <a:cubicBezTo>
                    <a:pt x="41" y="7"/>
                    <a:pt x="43" y="11"/>
                    <a:pt x="45" y="10"/>
                  </a:cubicBezTo>
                  <a:cubicBezTo>
                    <a:pt x="46" y="9"/>
                    <a:pt x="52" y="8"/>
                    <a:pt x="54" y="8"/>
                  </a:cubicBezTo>
                  <a:cubicBezTo>
                    <a:pt x="57" y="8"/>
                    <a:pt x="62" y="4"/>
                    <a:pt x="61" y="7"/>
                  </a:cubicBezTo>
                  <a:cubicBezTo>
                    <a:pt x="61" y="10"/>
                    <a:pt x="60" y="13"/>
                    <a:pt x="62" y="15"/>
                  </a:cubicBezTo>
                  <a:cubicBezTo>
                    <a:pt x="65" y="17"/>
                    <a:pt x="65" y="18"/>
                    <a:pt x="63" y="19"/>
                  </a:cubicBezTo>
                  <a:cubicBezTo>
                    <a:pt x="61" y="20"/>
                    <a:pt x="59" y="22"/>
                    <a:pt x="54" y="22"/>
                  </a:cubicBezTo>
                  <a:cubicBezTo>
                    <a:pt x="49" y="21"/>
                    <a:pt x="45" y="21"/>
                    <a:pt x="45" y="19"/>
                  </a:cubicBezTo>
                  <a:cubicBezTo>
                    <a:pt x="44" y="17"/>
                    <a:pt x="42" y="15"/>
                    <a:pt x="40" y="19"/>
                  </a:cubicBezTo>
                  <a:cubicBezTo>
                    <a:pt x="38" y="22"/>
                    <a:pt x="38" y="21"/>
                    <a:pt x="31" y="24"/>
                  </a:cubicBezTo>
                  <a:cubicBezTo>
                    <a:pt x="25" y="26"/>
                    <a:pt x="22" y="28"/>
                    <a:pt x="18" y="29"/>
                  </a:cubicBezTo>
                  <a:cubicBezTo>
                    <a:pt x="13" y="29"/>
                    <a:pt x="10" y="30"/>
                    <a:pt x="7" y="29"/>
                  </a:cubicBezTo>
                  <a:cubicBezTo>
                    <a:pt x="4" y="27"/>
                    <a:pt x="0" y="26"/>
                    <a:pt x="4" y="2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26" name="Freeform 814">
              <a:extLst>
                <a:ext uri="{FF2B5EF4-FFF2-40B4-BE49-F238E27FC236}">
                  <a16:creationId xmlns:a16="http://schemas.microsoft.com/office/drawing/2014/main" id="{D4844D62-9C60-5746-8363-A7C0D61CAE98}"/>
                </a:ext>
              </a:extLst>
            </p:cNvPr>
            <p:cNvSpPr>
              <a:spLocks/>
            </p:cNvSpPr>
            <p:nvPr/>
          </p:nvSpPr>
          <p:spPr bwMode="auto">
            <a:xfrm>
              <a:off x="6845322" y="2916695"/>
              <a:ext cx="50800" cy="28575"/>
            </a:xfrm>
            <a:custGeom>
              <a:avLst/>
              <a:gdLst>
                <a:gd name="T0" fmla="*/ 17 w 52"/>
                <a:gd name="T1" fmla="*/ 2 h 29"/>
                <a:gd name="T2" fmla="*/ 31 w 52"/>
                <a:gd name="T3" fmla="*/ 1 h 29"/>
                <a:gd name="T4" fmla="*/ 35 w 52"/>
                <a:gd name="T5" fmla="*/ 4 h 29"/>
                <a:gd name="T6" fmla="*/ 41 w 52"/>
                <a:gd name="T7" fmla="*/ 9 h 29"/>
                <a:gd name="T8" fmla="*/ 51 w 52"/>
                <a:gd name="T9" fmla="*/ 18 h 29"/>
                <a:gd name="T10" fmla="*/ 49 w 52"/>
                <a:gd name="T11" fmla="*/ 24 h 29"/>
                <a:gd name="T12" fmla="*/ 43 w 52"/>
                <a:gd name="T13" fmla="*/ 26 h 29"/>
                <a:gd name="T14" fmla="*/ 36 w 52"/>
                <a:gd name="T15" fmla="*/ 25 h 29"/>
                <a:gd name="T16" fmla="*/ 29 w 52"/>
                <a:gd name="T17" fmla="*/ 20 h 29"/>
                <a:gd name="T18" fmla="*/ 23 w 52"/>
                <a:gd name="T19" fmla="*/ 13 h 29"/>
                <a:gd name="T20" fmla="*/ 17 w 52"/>
                <a:gd name="T21" fmla="*/ 11 h 29"/>
                <a:gd name="T22" fmla="*/ 9 w 52"/>
                <a:gd name="T23" fmla="*/ 9 h 29"/>
                <a:gd name="T24" fmla="*/ 5 w 52"/>
                <a:gd name="T25" fmla="*/ 5 h 29"/>
                <a:gd name="T26" fmla="*/ 13 w 52"/>
                <a:gd name="T27" fmla="*/ 1 h 29"/>
                <a:gd name="T28" fmla="*/ 17 w 52"/>
                <a:gd name="T29"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29">
                  <a:moveTo>
                    <a:pt x="17" y="2"/>
                  </a:moveTo>
                  <a:cubicBezTo>
                    <a:pt x="22" y="1"/>
                    <a:pt x="29" y="1"/>
                    <a:pt x="31" y="1"/>
                  </a:cubicBezTo>
                  <a:cubicBezTo>
                    <a:pt x="34" y="1"/>
                    <a:pt x="34" y="1"/>
                    <a:pt x="35" y="4"/>
                  </a:cubicBezTo>
                  <a:cubicBezTo>
                    <a:pt x="37" y="7"/>
                    <a:pt x="33" y="3"/>
                    <a:pt x="41" y="9"/>
                  </a:cubicBezTo>
                  <a:cubicBezTo>
                    <a:pt x="49" y="14"/>
                    <a:pt x="50" y="14"/>
                    <a:pt x="51" y="18"/>
                  </a:cubicBezTo>
                  <a:cubicBezTo>
                    <a:pt x="51" y="21"/>
                    <a:pt x="52" y="23"/>
                    <a:pt x="49" y="24"/>
                  </a:cubicBezTo>
                  <a:cubicBezTo>
                    <a:pt x="47" y="26"/>
                    <a:pt x="45" y="26"/>
                    <a:pt x="43" y="26"/>
                  </a:cubicBezTo>
                  <a:cubicBezTo>
                    <a:pt x="40" y="26"/>
                    <a:pt x="41" y="29"/>
                    <a:pt x="36" y="25"/>
                  </a:cubicBezTo>
                  <a:cubicBezTo>
                    <a:pt x="30" y="22"/>
                    <a:pt x="34" y="28"/>
                    <a:pt x="29" y="20"/>
                  </a:cubicBezTo>
                  <a:cubicBezTo>
                    <a:pt x="23" y="13"/>
                    <a:pt x="26" y="14"/>
                    <a:pt x="23" y="13"/>
                  </a:cubicBezTo>
                  <a:cubicBezTo>
                    <a:pt x="19" y="12"/>
                    <a:pt x="21" y="11"/>
                    <a:pt x="17" y="11"/>
                  </a:cubicBezTo>
                  <a:cubicBezTo>
                    <a:pt x="13" y="11"/>
                    <a:pt x="11" y="12"/>
                    <a:pt x="9" y="9"/>
                  </a:cubicBezTo>
                  <a:cubicBezTo>
                    <a:pt x="6" y="7"/>
                    <a:pt x="0" y="7"/>
                    <a:pt x="5" y="5"/>
                  </a:cubicBezTo>
                  <a:cubicBezTo>
                    <a:pt x="10" y="2"/>
                    <a:pt x="13" y="1"/>
                    <a:pt x="13" y="1"/>
                  </a:cubicBezTo>
                  <a:cubicBezTo>
                    <a:pt x="14" y="1"/>
                    <a:pt x="15" y="0"/>
                    <a:pt x="17"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27" name="Freeform 815">
              <a:extLst>
                <a:ext uri="{FF2B5EF4-FFF2-40B4-BE49-F238E27FC236}">
                  <a16:creationId xmlns:a16="http://schemas.microsoft.com/office/drawing/2014/main" id="{E2621232-7A94-9F4F-8EF6-C77022915DF2}"/>
                </a:ext>
              </a:extLst>
            </p:cNvPr>
            <p:cNvSpPr>
              <a:spLocks/>
            </p:cNvSpPr>
            <p:nvPr/>
          </p:nvSpPr>
          <p:spPr bwMode="auto">
            <a:xfrm>
              <a:off x="6867547" y="2883358"/>
              <a:ext cx="130175" cy="25400"/>
            </a:xfrm>
            <a:custGeom>
              <a:avLst/>
              <a:gdLst>
                <a:gd name="T0" fmla="*/ 3 w 137"/>
                <a:gd name="T1" fmla="*/ 15 h 27"/>
                <a:gd name="T2" fmla="*/ 12 w 137"/>
                <a:gd name="T3" fmla="*/ 10 h 27"/>
                <a:gd name="T4" fmla="*/ 18 w 137"/>
                <a:gd name="T5" fmla="*/ 7 h 27"/>
                <a:gd name="T6" fmla="*/ 29 w 137"/>
                <a:gd name="T7" fmla="*/ 7 h 27"/>
                <a:gd name="T8" fmla="*/ 37 w 137"/>
                <a:gd name="T9" fmla="*/ 9 h 27"/>
                <a:gd name="T10" fmla="*/ 48 w 137"/>
                <a:gd name="T11" fmla="*/ 13 h 27"/>
                <a:gd name="T12" fmla="*/ 55 w 137"/>
                <a:gd name="T13" fmla="*/ 13 h 27"/>
                <a:gd name="T14" fmla="*/ 69 w 137"/>
                <a:gd name="T15" fmla="*/ 13 h 27"/>
                <a:gd name="T16" fmla="*/ 78 w 137"/>
                <a:gd name="T17" fmla="*/ 8 h 27"/>
                <a:gd name="T18" fmla="*/ 82 w 137"/>
                <a:gd name="T19" fmla="*/ 0 h 27"/>
                <a:gd name="T20" fmla="*/ 91 w 137"/>
                <a:gd name="T21" fmla="*/ 5 h 27"/>
                <a:gd name="T22" fmla="*/ 97 w 137"/>
                <a:gd name="T23" fmla="*/ 4 h 27"/>
                <a:gd name="T24" fmla="*/ 104 w 137"/>
                <a:gd name="T25" fmla="*/ 5 h 27"/>
                <a:gd name="T26" fmla="*/ 113 w 137"/>
                <a:gd name="T27" fmla="*/ 4 h 27"/>
                <a:gd name="T28" fmla="*/ 122 w 137"/>
                <a:gd name="T29" fmla="*/ 6 h 27"/>
                <a:gd name="T30" fmla="*/ 137 w 137"/>
                <a:gd name="T31" fmla="*/ 4 h 27"/>
                <a:gd name="T32" fmla="*/ 130 w 137"/>
                <a:gd name="T33" fmla="*/ 9 h 27"/>
                <a:gd name="T34" fmla="*/ 121 w 137"/>
                <a:gd name="T35" fmla="*/ 11 h 27"/>
                <a:gd name="T36" fmla="*/ 111 w 137"/>
                <a:gd name="T37" fmla="*/ 14 h 27"/>
                <a:gd name="T38" fmla="*/ 105 w 137"/>
                <a:gd name="T39" fmla="*/ 11 h 27"/>
                <a:gd name="T40" fmla="*/ 96 w 137"/>
                <a:gd name="T41" fmla="*/ 15 h 27"/>
                <a:gd name="T42" fmla="*/ 89 w 137"/>
                <a:gd name="T43" fmla="*/ 13 h 27"/>
                <a:gd name="T44" fmla="*/ 80 w 137"/>
                <a:gd name="T45" fmla="*/ 16 h 27"/>
                <a:gd name="T46" fmla="*/ 69 w 137"/>
                <a:gd name="T47" fmla="*/ 20 h 27"/>
                <a:gd name="T48" fmla="*/ 54 w 137"/>
                <a:gd name="T49" fmla="*/ 22 h 27"/>
                <a:gd name="T50" fmla="*/ 45 w 137"/>
                <a:gd name="T51" fmla="*/ 24 h 27"/>
                <a:gd name="T52" fmla="*/ 32 w 137"/>
                <a:gd name="T53" fmla="*/ 24 h 27"/>
                <a:gd name="T54" fmla="*/ 20 w 137"/>
                <a:gd name="T55" fmla="*/ 21 h 27"/>
                <a:gd name="T56" fmla="*/ 10 w 137"/>
                <a:gd name="T57" fmla="*/ 22 h 27"/>
                <a:gd name="T58" fmla="*/ 1 w 137"/>
                <a:gd name="T59" fmla="*/ 20 h 27"/>
                <a:gd name="T60" fmla="*/ 3 w 137"/>
                <a:gd name="T61" fmla="*/ 1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7" h="27">
                  <a:moveTo>
                    <a:pt x="3" y="15"/>
                  </a:moveTo>
                  <a:cubicBezTo>
                    <a:pt x="6" y="14"/>
                    <a:pt x="7" y="13"/>
                    <a:pt x="12" y="10"/>
                  </a:cubicBezTo>
                  <a:cubicBezTo>
                    <a:pt x="17" y="8"/>
                    <a:pt x="13" y="8"/>
                    <a:pt x="18" y="7"/>
                  </a:cubicBezTo>
                  <a:cubicBezTo>
                    <a:pt x="24" y="6"/>
                    <a:pt x="24" y="6"/>
                    <a:pt x="29" y="7"/>
                  </a:cubicBezTo>
                  <a:cubicBezTo>
                    <a:pt x="33" y="8"/>
                    <a:pt x="32" y="7"/>
                    <a:pt x="37" y="9"/>
                  </a:cubicBezTo>
                  <a:cubicBezTo>
                    <a:pt x="42" y="11"/>
                    <a:pt x="45" y="13"/>
                    <a:pt x="48" y="13"/>
                  </a:cubicBezTo>
                  <a:cubicBezTo>
                    <a:pt x="51" y="14"/>
                    <a:pt x="51" y="13"/>
                    <a:pt x="55" y="13"/>
                  </a:cubicBezTo>
                  <a:cubicBezTo>
                    <a:pt x="60" y="13"/>
                    <a:pt x="65" y="16"/>
                    <a:pt x="69" y="13"/>
                  </a:cubicBezTo>
                  <a:cubicBezTo>
                    <a:pt x="73" y="10"/>
                    <a:pt x="76" y="11"/>
                    <a:pt x="78" y="8"/>
                  </a:cubicBezTo>
                  <a:cubicBezTo>
                    <a:pt x="79" y="6"/>
                    <a:pt x="79" y="0"/>
                    <a:pt x="82" y="0"/>
                  </a:cubicBezTo>
                  <a:cubicBezTo>
                    <a:pt x="86" y="0"/>
                    <a:pt x="91" y="4"/>
                    <a:pt x="91" y="5"/>
                  </a:cubicBezTo>
                  <a:cubicBezTo>
                    <a:pt x="92" y="5"/>
                    <a:pt x="93" y="3"/>
                    <a:pt x="97" y="4"/>
                  </a:cubicBezTo>
                  <a:cubicBezTo>
                    <a:pt x="101" y="6"/>
                    <a:pt x="101" y="4"/>
                    <a:pt x="104" y="5"/>
                  </a:cubicBezTo>
                  <a:cubicBezTo>
                    <a:pt x="107" y="5"/>
                    <a:pt x="111" y="2"/>
                    <a:pt x="113" y="4"/>
                  </a:cubicBezTo>
                  <a:cubicBezTo>
                    <a:pt x="114" y="5"/>
                    <a:pt x="117" y="9"/>
                    <a:pt x="122" y="6"/>
                  </a:cubicBezTo>
                  <a:cubicBezTo>
                    <a:pt x="127" y="4"/>
                    <a:pt x="137" y="1"/>
                    <a:pt x="137" y="4"/>
                  </a:cubicBezTo>
                  <a:cubicBezTo>
                    <a:pt x="137" y="6"/>
                    <a:pt x="136" y="8"/>
                    <a:pt x="130" y="9"/>
                  </a:cubicBezTo>
                  <a:cubicBezTo>
                    <a:pt x="125" y="10"/>
                    <a:pt x="126" y="8"/>
                    <a:pt x="121" y="11"/>
                  </a:cubicBezTo>
                  <a:cubicBezTo>
                    <a:pt x="116" y="14"/>
                    <a:pt x="114" y="16"/>
                    <a:pt x="111" y="14"/>
                  </a:cubicBezTo>
                  <a:cubicBezTo>
                    <a:pt x="108" y="11"/>
                    <a:pt x="110" y="9"/>
                    <a:pt x="105" y="11"/>
                  </a:cubicBezTo>
                  <a:cubicBezTo>
                    <a:pt x="100" y="12"/>
                    <a:pt x="100" y="14"/>
                    <a:pt x="96" y="15"/>
                  </a:cubicBezTo>
                  <a:cubicBezTo>
                    <a:pt x="91" y="16"/>
                    <a:pt x="92" y="14"/>
                    <a:pt x="89" y="13"/>
                  </a:cubicBezTo>
                  <a:cubicBezTo>
                    <a:pt x="86" y="12"/>
                    <a:pt x="82" y="13"/>
                    <a:pt x="80" y="16"/>
                  </a:cubicBezTo>
                  <a:cubicBezTo>
                    <a:pt x="77" y="19"/>
                    <a:pt x="75" y="19"/>
                    <a:pt x="69" y="20"/>
                  </a:cubicBezTo>
                  <a:cubicBezTo>
                    <a:pt x="62" y="21"/>
                    <a:pt x="58" y="21"/>
                    <a:pt x="54" y="22"/>
                  </a:cubicBezTo>
                  <a:cubicBezTo>
                    <a:pt x="49" y="24"/>
                    <a:pt x="52" y="22"/>
                    <a:pt x="45" y="24"/>
                  </a:cubicBezTo>
                  <a:cubicBezTo>
                    <a:pt x="37" y="25"/>
                    <a:pt x="38" y="27"/>
                    <a:pt x="32" y="24"/>
                  </a:cubicBezTo>
                  <a:cubicBezTo>
                    <a:pt x="27" y="22"/>
                    <a:pt x="24" y="20"/>
                    <a:pt x="20" y="21"/>
                  </a:cubicBezTo>
                  <a:cubicBezTo>
                    <a:pt x="15" y="22"/>
                    <a:pt x="17" y="22"/>
                    <a:pt x="10" y="22"/>
                  </a:cubicBezTo>
                  <a:cubicBezTo>
                    <a:pt x="3" y="22"/>
                    <a:pt x="1" y="22"/>
                    <a:pt x="1" y="20"/>
                  </a:cubicBezTo>
                  <a:cubicBezTo>
                    <a:pt x="2" y="18"/>
                    <a:pt x="0" y="15"/>
                    <a:pt x="3" y="1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28" name="Freeform 816">
              <a:extLst>
                <a:ext uri="{FF2B5EF4-FFF2-40B4-BE49-F238E27FC236}">
                  <a16:creationId xmlns:a16="http://schemas.microsoft.com/office/drawing/2014/main" id="{FBEF5E84-3F73-EE44-BF1E-D281760D26B9}"/>
                </a:ext>
              </a:extLst>
            </p:cNvPr>
            <p:cNvSpPr>
              <a:spLocks/>
            </p:cNvSpPr>
            <p:nvPr/>
          </p:nvSpPr>
          <p:spPr bwMode="auto">
            <a:xfrm>
              <a:off x="7015185" y="2869070"/>
              <a:ext cx="25400" cy="14288"/>
            </a:xfrm>
            <a:custGeom>
              <a:avLst/>
              <a:gdLst>
                <a:gd name="T0" fmla="*/ 6 w 27"/>
                <a:gd name="T1" fmla="*/ 5 h 16"/>
                <a:gd name="T2" fmla="*/ 16 w 27"/>
                <a:gd name="T3" fmla="*/ 3 h 16"/>
                <a:gd name="T4" fmla="*/ 22 w 27"/>
                <a:gd name="T5" fmla="*/ 1 h 16"/>
                <a:gd name="T6" fmla="*/ 23 w 27"/>
                <a:gd name="T7" fmla="*/ 4 h 16"/>
                <a:gd name="T8" fmla="*/ 25 w 27"/>
                <a:gd name="T9" fmla="*/ 6 h 16"/>
                <a:gd name="T10" fmla="*/ 20 w 27"/>
                <a:gd name="T11" fmla="*/ 8 h 16"/>
                <a:gd name="T12" fmla="*/ 17 w 27"/>
                <a:gd name="T13" fmla="*/ 12 h 16"/>
                <a:gd name="T14" fmla="*/ 11 w 27"/>
                <a:gd name="T15" fmla="*/ 11 h 16"/>
                <a:gd name="T16" fmla="*/ 5 w 27"/>
                <a:gd name="T17" fmla="*/ 11 h 16"/>
                <a:gd name="T18" fmla="*/ 2 w 27"/>
                <a:gd name="T19" fmla="*/ 13 h 16"/>
                <a:gd name="T20" fmla="*/ 1 w 27"/>
                <a:gd name="T21" fmla="*/ 7 h 16"/>
                <a:gd name="T22" fmla="*/ 6 w 27"/>
                <a:gd name="T23"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6">
                  <a:moveTo>
                    <a:pt x="6" y="5"/>
                  </a:moveTo>
                  <a:cubicBezTo>
                    <a:pt x="10" y="8"/>
                    <a:pt x="14" y="4"/>
                    <a:pt x="16" y="3"/>
                  </a:cubicBezTo>
                  <a:cubicBezTo>
                    <a:pt x="19" y="2"/>
                    <a:pt x="21" y="0"/>
                    <a:pt x="22" y="1"/>
                  </a:cubicBezTo>
                  <a:cubicBezTo>
                    <a:pt x="22" y="2"/>
                    <a:pt x="20" y="3"/>
                    <a:pt x="23" y="4"/>
                  </a:cubicBezTo>
                  <a:cubicBezTo>
                    <a:pt x="25" y="5"/>
                    <a:pt x="27" y="5"/>
                    <a:pt x="25" y="6"/>
                  </a:cubicBezTo>
                  <a:cubicBezTo>
                    <a:pt x="24" y="7"/>
                    <a:pt x="22" y="6"/>
                    <a:pt x="20" y="8"/>
                  </a:cubicBezTo>
                  <a:cubicBezTo>
                    <a:pt x="18" y="10"/>
                    <a:pt x="19" y="12"/>
                    <a:pt x="17" y="12"/>
                  </a:cubicBezTo>
                  <a:cubicBezTo>
                    <a:pt x="14" y="12"/>
                    <a:pt x="14" y="12"/>
                    <a:pt x="11" y="11"/>
                  </a:cubicBezTo>
                  <a:cubicBezTo>
                    <a:pt x="7" y="10"/>
                    <a:pt x="7" y="9"/>
                    <a:pt x="5" y="11"/>
                  </a:cubicBezTo>
                  <a:cubicBezTo>
                    <a:pt x="4" y="13"/>
                    <a:pt x="4" y="16"/>
                    <a:pt x="2" y="13"/>
                  </a:cubicBezTo>
                  <a:cubicBezTo>
                    <a:pt x="0" y="10"/>
                    <a:pt x="0" y="9"/>
                    <a:pt x="1" y="7"/>
                  </a:cubicBezTo>
                  <a:cubicBezTo>
                    <a:pt x="3" y="6"/>
                    <a:pt x="4" y="4"/>
                    <a:pt x="6"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29" name="Freeform 817">
              <a:extLst>
                <a:ext uri="{FF2B5EF4-FFF2-40B4-BE49-F238E27FC236}">
                  <a16:creationId xmlns:a16="http://schemas.microsoft.com/office/drawing/2014/main" id="{686F3543-02AE-8442-BD25-2F1A88B87807}"/>
                </a:ext>
              </a:extLst>
            </p:cNvPr>
            <p:cNvSpPr>
              <a:spLocks/>
            </p:cNvSpPr>
            <p:nvPr/>
          </p:nvSpPr>
          <p:spPr bwMode="auto">
            <a:xfrm>
              <a:off x="6953272" y="2697620"/>
              <a:ext cx="15875" cy="17463"/>
            </a:xfrm>
            <a:custGeom>
              <a:avLst/>
              <a:gdLst>
                <a:gd name="T0" fmla="*/ 1 w 18"/>
                <a:gd name="T1" fmla="*/ 9 h 18"/>
                <a:gd name="T2" fmla="*/ 2 w 18"/>
                <a:gd name="T3" fmla="*/ 3 h 18"/>
                <a:gd name="T4" fmla="*/ 7 w 18"/>
                <a:gd name="T5" fmla="*/ 2 h 18"/>
                <a:gd name="T6" fmla="*/ 10 w 18"/>
                <a:gd name="T7" fmla="*/ 2 h 18"/>
                <a:gd name="T8" fmla="*/ 15 w 18"/>
                <a:gd name="T9" fmla="*/ 5 h 18"/>
                <a:gd name="T10" fmla="*/ 18 w 18"/>
                <a:gd name="T11" fmla="*/ 6 h 18"/>
                <a:gd name="T12" fmla="*/ 15 w 18"/>
                <a:gd name="T13" fmla="*/ 11 h 18"/>
                <a:gd name="T14" fmla="*/ 12 w 18"/>
                <a:gd name="T15" fmla="*/ 13 h 18"/>
                <a:gd name="T16" fmla="*/ 9 w 18"/>
                <a:gd name="T17" fmla="*/ 15 h 18"/>
                <a:gd name="T18" fmla="*/ 8 w 18"/>
                <a:gd name="T19" fmla="*/ 12 h 18"/>
                <a:gd name="T20" fmla="*/ 4 w 18"/>
                <a:gd name="T21" fmla="*/ 15 h 18"/>
                <a:gd name="T22" fmla="*/ 1 w 18"/>
                <a:gd name="T23" fmla="*/ 12 h 18"/>
                <a:gd name="T24" fmla="*/ 1 w 18"/>
                <a:gd name="T25"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8">
                  <a:moveTo>
                    <a:pt x="1" y="9"/>
                  </a:moveTo>
                  <a:cubicBezTo>
                    <a:pt x="1" y="6"/>
                    <a:pt x="0" y="4"/>
                    <a:pt x="2" y="3"/>
                  </a:cubicBezTo>
                  <a:cubicBezTo>
                    <a:pt x="5" y="2"/>
                    <a:pt x="4" y="3"/>
                    <a:pt x="7" y="2"/>
                  </a:cubicBezTo>
                  <a:cubicBezTo>
                    <a:pt x="9" y="1"/>
                    <a:pt x="8" y="0"/>
                    <a:pt x="10" y="2"/>
                  </a:cubicBezTo>
                  <a:cubicBezTo>
                    <a:pt x="12" y="4"/>
                    <a:pt x="14" y="5"/>
                    <a:pt x="15" y="5"/>
                  </a:cubicBezTo>
                  <a:cubicBezTo>
                    <a:pt x="17" y="6"/>
                    <a:pt x="18" y="4"/>
                    <a:pt x="18" y="6"/>
                  </a:cubicBezTo>
                  <a:cubicBezTo>
                    <a:pt x="18" y="8"/>
                    <a:pt x="17" y="9"/>
                    <a:pt x="15" y="11"/>
                  </a:cubicBezTo>
                  <a:cubicBezTo>
                    <a:pt x="13" y="12"/>
                    <a:pt x="12" y="11"/>
                    <a:pt x="12" y="13"/>
                  </a:cubicBezTo>
                  <a:cubicBezTo>
                    <a:pt x="11" y="15"/>
                    <a:pt x="11" y="18"/>
                    <a:pt x="9" y="15"/>
                  </a:cubicBezTo>
                  <a:cubicBezTo>
                    <a:pt x="8" y="12"/>
                    <a:pt x="9" y="10"/>
                    <a:pt x="8" y="12"/>
                  </a:cubicBezTo>
                  <a:cubicBezTo>
                    <a:pt x="6" y="13"/>
                    <a:pt x="6" y="16"/>
                    <a:pt x="4" y="15"/>
                  </a:cubicBezTo>
                  <a:cubicBezTo>
                    <a:pt x="1" y="14"/>
                    <a:pt x="1" y="14"/>
                    <a:pt x="1" y="12"/>
                  </a:cubicBezTo>
                  <a:cubicBezTo>
                    <a:pt x="1" y="11"/>
                    <a:pt x="0" y="9"/>
                    <a:pt x="1" y="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30" name="Freeform 818">
              <a:extLst>
                <a:ext uri="{FF2B5EF4-FFF2-40B4-BE49-F238E27FC236}">
                  <a16:creationId xmlns:a16="http://schemas.microsoft.com/office/drawing/2014/main" id="{D035F041-0351-0644-A0C9-854150B5A039}"/>
                </a:ext>
              </a:extLst>
            </p:cNvPr>
            <p:cNvSpPr>
              <a:spLocks/>
            </p:cNvSpPr>
            <p:nvPr/>
          </p:nvSpPr>
          <p:spPr bwMode="auto">
            <a:xfrm>
              <a:off x="6529408" y="2703970"/>
              <a:ext cx="44450" cy="49213"/>
            </a:xfrm>
            <a:custGeom>
              <a:avLst/>
              <a:gdLst>
                <a:gd name="T0" fmla="*/ 7 w 47"/>
                <a:gd name="T1" fmla="*/ 13 h 51"/>
                <a:gd name="T2" fmla="*/ 12 w 47"/>
                <a:gd name="T3" fmla="*/ 3 h 51"/>
                <a:gd name="T4" fmla="*/ 18 w 47"/>
                <a:gd name="T5" fmla="*/ 8 h 51"/>
                <a:gd name="T6" fmla="*/ 25 w 47"/>
                <a:gd name="T7" fmla="*/ 6 h 51"/>
                <a:gd name="T8" fmla="*/ 26 w 47"/>
                <a:gd name="T9" fmla="*/ 15 h 51"/>
                <a:gd name="T10" fmla="*/ 33 w 47"/>
                <a:gd name="T11" fmla="*/ 26 h 51"/>
                <a:gd name="T12" fmla="*/ 35 w 47"/>
                <a:gd name="T13" fmla="*/ 33 h 51"/>
                <a:gd name="T14" fmla="*/ 43 w 47"/>
                <a:gd name="T15" fmla="*/ 36 h 51"/>
                <a:gd name="T16" fmla="*/ 40 w 47"/>
                <a:gd name="T17" fmla="*/ 43 h 51"/>
                <a:gd name="T18" fmla="*/ 42 w 47"/>
                <a:gd name="T19" fmla="*/ 48 h 51"/>
                <a:gd name="T20" fmla="*/ 33 w 47"/>
                <a:gd name="T21" fmla="*/ 48 h 51"/>
                <a:gd name="T22" fmla="*/ 25 w 47"/>
                <a:gd name="T23" fmla="*/ 43 h 51"/>
                <a:gd name="T24" fmla="*/ 22 w 47"/>
                <a:gd name="T25" fmla="*/ 34 h 51"/>
                <a:gd name="T26" fmla="*/ 18 w 47"/>
                <a:gd name="T27" fmla="*/ 26 h 51"/>
                <a:gd name="T28" fmla="*/ 11 w 47"/>
                <a:gd name="T29" fmla="*/ 24 h 51"/>
                <a:gd name="T30" fmla="*/ 2 w 47"/>
                <a:gd name="T31" fmla="*/ 21 h 51"/>
                <a:gd name="T32" fmla="*/ 7 w 47"/>
                <a:gd name="T33"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51">
                  <a:moveTo>
                    <a:pt x="7" y="13"/>
                  </a:moveTo>
                  <a:cubicBezTo>
                    <a:pt x="9" y="7"/>
                    <a:pt x="10" y="0"/>
                    <a:pt x="12" y="3"/>
                  </a:cubicBezTo>
                  <a:cubicBezTo>
                    <a:pt x="15" y="7"/>
                    <a:pt x="17" y="10"/>
                    <a:pt x="18" y="8"/>
                  </a:cubicBezTo>
                  <a:cubicBezTo>
                    <a:pt x="20" y="5"/>
                    <a:pt x="24" y="4"/>
                    <a:pt x="25" y="6"/>
                  </a:cubicBezTo>
                  <a:cubicBezTo>
                    <a:pt x="25" y="9"/>
                    <a:pt x="24" y="10"/>
                    <a:pt x="26" y="15"/>
                  </a:cubicBezTo>
                  <a:cubicBezTo>
                    <a:pt x="29" y="20"/>
                    <a:pt x="33" y="23"/>
                    <a:pt x="33" y="26"/>
                  </a:cubicBezTo>
                  <a:cubicBezTo>
                    <a:pt x="33" y="29"/>
                    <a:pt x="32" y="32"/>
                    <a:pt x="35" y="33"/>
                  </a:cubicBezTo>
                  <a:cubicBezTo>
                    <a:pt x="39" y="33"/>
                    <a:pt x="44" y="34"/>
                    <a:pt x="43" y="36"/>
                  </a:cubicBezTo>
                  <a:cubicBezTo>
                    <a:pt x="42" y="38"/>
                    <a:pt x="39" y="43"/>
                    <a:pt x="40" y="43"/>
                  </a:cubicBezTo>
                  <a:cubicBezTo>
                    <a:pt x="41" y="43"/>
                    <a:pt x="47" y="46"/>
                    <a:pt x="42" y="48"/>
                  </a:cubicBezTo>
                  <a:cubicBezTo>
                    <a:pt x="37" y="50"/>
                    <a:pt x="37" y="51"/>
                    <a:pt x="33" y="48"/>
                  </a:cubicBezTo>
                  <a:cubicBezTo>
                    <a:pt x="29" y="44"/>
                    <a:pt x="31" y="49"/>
                    <a:pt x="25" y="43"/>
                  </a:cubicBezTo>
                  <a:cubicBezTo>
                    <a:pt x="19" y="37"/>
                    <a:pt x="24" y="41"/>
                    <a:pt x="22" y="34"/>
                  </a:cubicBezTo>
                  <a:cubicBezTo>
                    <a:pt x="19" y="27"/>
                    <a:pt x="20" y="29"/>
                    <a:pt x="18" y="26"/>
                  </a:cubicBezTo>
                  <a:cubicBezTo>
                    <a:pt x="16" y="24"/>
                    <a:pt x="15" y="24"/>
                    <a:pt x="11" y="24"/>
                  </a:cubicBezTo>
                  <a:cubicBezTo>
                    <a:pt x="7" y="24"/>
                    <a:pt x="0" y="25"/>
                    <a:pt x="2" y="21"/>
                  </a:cubicBezTo>
                  <a:cubicBezTo>
                    <a:pt x="5" y="16"/>
                    <a:pt x="2" y="12"/>
                    <a:pt x="7" y="1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31" name="Freeform 819">
              <a:extLst>
                <a:ext uri="{FF2B5EF4-FFF2-40B4-BE49-F238E27FC236}">
                  <a16:creationId xmlns:a16="http://schemas.microsoft.com/office/drawing/2014/main" id="{5B41B468-40FD-204E-B5BA-70B3E7A00855}"/>
                </a:ext>
              </a:extLst>
            </p:cNvPr>
            <p:cNvSpPr>
              <a:spLocks/>
            </p:cNvSpPr>
            <p:nvPr/>
          </p:nvSpPr>
          <p:spPr bwMode="auto">
            <a:xfrm>
              <a:off x="6588146" y="2734133"/>
              <a:ext cx="17463" cy="20638"/>
            </a:xfrm>
            <a:custGeom>
              <a:avLst/>
              <a:gdLst>
                <a:gd name="T0" fmla="*/ 3 w 19"/>
                <a:gd name="T1" fmla="*/ 12 h 22"/>
                <a:gd name="T2" fmla="*/ 6 w 19"/>
                <a:gd name="T3" fmla="*/ 2 h 22"/>
                <a:gd name="T4" fmla="*/ 13 w 19"/>
                <a:gd name="T5" fmla="*/ 2 h 22"/>
                <a:gd name="T6" fmla="*/ 18 w 19"/>
                <a:gd name="T7" fmla="*/ 9 h 22"/>
                <a:gd name="T8" fmla="*/ 16 w 19"/>
                <a:gd name="T9" fmla="*/ 18 h 22"/>
                <a:gd name="T10" fmla="*/ 9 w 19"/>
                <a:gd name="T11" fmla="*/ 20 h 22"/>
                <a:gd name="T12" fmla="*/ 4 w 19"/>
                <a:gd name="T13" fmla="*/ 19 h 22"/>
                <a:gd name="T14" fmla="*/ 1 w 19"/>
                <a:gd name="T15" fmla="*/ 16 h 22"/>
                <a:gd name="T16" fmla="*/ 3 w 19"/>
                <a:gd name="T1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2">
                  <a:moveTo>
                    <a:pt x="3" y="12"/>
                  </a:moveTo>
                  <a:cubicBezTo>
                    <a:pt x="3" y="7"/>
                    <a:pt x="3" y="2"/>
                    <a:pt x="6" y="2"/>
                  </a:cubicBezTo>
                  <a:cubicBezTo>
                    <a:pt x="9" y="2"/>
                    <a:pt x="11" y="0"/>
                    <a:pt x="13" y="2"/>
                  </a:cubicBezTo>
                  <a:cubicBezTo>
                    <a:pt x="16" y="4"/>
                    <a:pt x="19" y="5"/>
                    <a:pt x="18" y="9"/>
                  </a:cubicBezTo>
                  <a:cubicBezTo>
                    <a:pt x="17" y="13"/>
                    <a:pt x="17" y="14"/>
                    <a:pt x="16" y="18"/>
                  </a:cubicBezTo>
                  <a:cubicBezTo>
                    <a:pt x="14" y="21"/>
                    <a:pt x="11" y="22"/>
                    <a:pt x="9" y="20"/>
                  </a:cubicBezTo>
                  <a:cubicBezTo>
                    <a:pt x="8" y="18"/>
                    <a:pt x="6" y="20"/>
                    <a:pt x="4" y="19"/>
                  </a:cubicBezTo>
                  <a:cubicBezTo>
                    <a:pt x="1" y="18"/>
                    <a:pt x="0" y="17"/>
                    <a:pt x="1" y="16"/>
                  </a:cubicBezTo>
                  <a:cubicBezTo>
                    <a:pt x="1" y="14"/>
                    <a:pt x="1" y="11"/>
                    <a:pt x="3" y="1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32" name="Freeform 820">
              <a:extLst>
                <a:ext uri="{FF2B5EF4-FFF2-40B4-BE49-F238E27FC236}">
                  <a16:creationId xmlns:a16="http://schemas.microsoft.com/office/drawing/2014/main" id="{62418F36-B195-A844-932E-E3AA4F938A8A}"/>
                </a:ext>
              </a:extLst>
            </p:cNvPr>
            <p:cNvSpPr>
              <a:spLocks/>
            </p:cNvSpPr>
            <p:nvPr/>
          </p:nvSpPr>
          <p:spPr bwMode="auto">
            <a:xfrm>
              <a:off x="6307158" y="2588082"/>
              <a:ext cx="20638" cy="17463"/>
            </a:xfrm>
            <a:custGeom>
              <a:avLst/>
              <a:gdLst>
                <a:gd name="T0" fmla="*/ 4 w 22"/>
                <a:gd name="T1" fmla="*/ 10 h 18"/>
                <a:gd name="T2" fmla="*/ 1 w 22"/>
                <a:gd name="T3" fmla="*/ 5 h 18"/>
                <a:gd name="T4" fmla="*/ 4 w 22"/>
                <a:gd name="T5" fmla="*/ 1 h 18"/>
                <a:gd name="T6" fmla="*/ 6 w 22"/>
                <a:gd name="T7" fmla="*/ 4 h 18"/>
                <a:gd name="T8" fmla="*/ 10 w 22"/>
                <a:gd name="T9" fmla="*/ 6 h 18"/>
                <a:gd name="T10" fmla="*/ 16 w 22"/>
                <a:gd name="T11" fmla="*/ 11 h 18"/>
                <a:gd name="T12" fmla="*/ 19 w 22"/>
                <a:gd name="T13" fmla="*/ 14 h 18"/>
                <a:gd name="T14" fmla="*/ 17 w 22"/>
                <a:gd name="T15" fmla="*/ 17 h 18"/>
                <a:gd name="T16" fmla="*/ 12 w 22"/>
                <a:gd name="T17" fmla="*/ 14 h 18"/>
                <a:gd name="T18" fmla="*/ 8 w 22"/>
                <a:gd name="T19" fmla="*/ 11 h 18"/>
                <a:gd name="T20" fmla="*/ 4 w 22"/>
                <a:gd name="T21"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18">
                  <a:moveTo>
                    <a:pt x="4" y="10"/>
                  </a:moveTo>
                  <a:cubicBezTo>
                    <a:pt x="2" y="7"/>
                    <a:pt x="0" y="7"/>
                    <a:pt x="1" y="5"/>
                  </a:cubicBezTo>
                  <a:cubicBezTo>
                    <a:pt x="2" y="2"/>
                    <a:pt x="3" y="0"/>
                    <a:pt x="4" y="1"/>
                  </a:cubicBezTo>
                  <a:cubicBezTo>
                    <a:pt x="5" y="3"/>
                    <a:pt x="3" y="3"/>
                    <a:pt x="6" y="4"/>
                  </a:cubicBezTo>
                  <a:cubicBezTo>
                    <a:pt x="8" y="5"/>
                    <a:pt x="8" y="4"/>
                    <a:pt x="10" y="6"/>
                  </a:cubicBezTo>
                  <a:cubicBezTo>
                    <a:pt x="12" y="9"/>
                    <a:pt x="14" y="11"/>
                    <a:pt x="16" y="11"/>
                  </a:cubicBezTo>
                  <a:cubicBezTo>
                    <a:pt x="18" y="12"/>
                    <a:pt x="19" y="12"/>
                    <a:pt x="19" y="14"/>
                  </a:cubicBezTo>
                  <a:cubicBezTo>
                    <a:pt x="20" y="16"/>
                    <a:pt x="22" y="18"/>
                    <a:pt x="17" y="17"/>
                  </a:cubicBezTo>
                  <a:cubicBezTo>
                    <a:pt x="13" y="15"/>
                    <a:pt x="14" y="16"/>
                    <a:pt x="12" y="14"/>
                  </a:cubicBezTo>
                  <a:cubicBezTo>
                    <a:pt x="10" y="12"/>
                    <a:pt x="10" y="11"/>
                    <a:pt x="8" y="11"/>
                  </a:cubicBezTo>
                  <a:cubicBezTo>
                    <a:pt x="5" y="11"/>
                    <a:pt x="6" y="9"/>
                    <a:pt x="4" y="10"/>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33" name="Freeform 821">
              <a:extLst>
                <a:ext uri="{FF2B5EF4-FFF2-40B4-BE49-F238E27FC236}">
                  <a16:creationId xmlns:a16="http://schemas.microsoft.com/office/drawing/2014/main" id="{69B94F59-7085-674A-9DBF-7F7F9B6AB25C}"/>
                </a:ext>
              </a:extLst>
            </p:cNvPr>
            <p:cNvSpPr>
              <a:spLocks/>
            </p:cNvSpPr>
            <p:nvPr/>
          </p:nvSpPr>
          <p:spPr bwMode="auto">
            <a:xfrm>
              <a:off x="6340495" y="2626182"/>
              <a:ext cx="19050" cy="28575"/>
            </a:xfrm>
            <a:custGeom>
              <a:avLst/>
              <a:gdLst>
                <a:gd name="T0" fmla="*/ 6 w 21"/>
                <a:gd name="T1" fmla="*/ 1 h 29"/>
                <a:gd name="T2" fmla="*/ 11 w 21"/>
                <a:gd name="T3" fmla="*/ 2 h 29"/>
                <a:gd name="T4" fmla="*/ 15 w 21"/>
                <a:gd name="T5" fmla="*/ 5 h 29"/>
                <a:gd name="T6" fmla="*/ 18 w 21"/>
                <a:gd name="T7" fmla="*/ 10 h 29"/>
                <a:gd name="T8" fmla="*/ 20 w 21"/>
                <a:gd name="T9" fmla="*/ 16 h 29"/>
                <a:gd name="T10" fmla="*/ 19 w 21"/>
                <a:gd name="T11" fmla="*/ 23 h 29"/>
                <a:gd name="T12" fmla="*/ 17 w 21"/>
                <a:gd name="T13" fmla="*/ 27 h 29"/>
                <a:gd name="T14" fmla="*/ 13 w 21"/>
                <a:gd name="T15" fmla="*/ 22 h 29"/>
                <a:gd name="T16" fmla="*/ 10 w 21"/>
                <a:gd name="T17" fmla="*/ 18 h 29"/>
                <a:gd name="T18" fmla="*/ 6 w 21"/>
                <a:gd name="T19" fmla="*/ 13 h 29"/>
                <a:gd name="T20" fmla="*/ 3 w 21"/>
                <a:gd name="T21" fmla="*/ 10 h 29"/>
                <a:gd name="T22" fmla="*/ 2 w 21"/>
                <a:gd name="T23" fmla="*/ 4 h 29"/>
                <a:gd name="T24" fmla="*/ 6 w 21"/>
                <a:gd name="T25"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9">
                  <a:moveTo>
                    <a:pt x="6" y="1"/>
                  </a:moveTo>
                  <a:cubicBezTo>
                    <a:pt x="9" y="1"/>
                    <a:pt x="9" y="1"/>
                    <a:pt x="11" y="2"/>
                  </a:cubicBezTo>
                  <a:cubicBezTo>
                    <a:pt x="13" y="4"/>
                    <a:pt x="13" y="3"/>
                    <a:pt x="15" y="5"/>
                  </a:cubicBezTo>
                  <a:cubicBezTo>
                    <a:pt x="16" y="8"/>
                    <a:pt x="15" y="6"/>
                    <a:pt x="18" y="10"/>
                  </a:cubicBezTo>
                  <a:cubicBezTo>
                    <a:pt x="20" y="13"/>
                    <a:pt x="21" y="12"/>
                    <a:pt x="20" y="16"/>
                  </a:cubicBezTo>
                  <a:cubicBezTo>
                    <a:pt x="20" y="19"/>
                    <a:pt x="20" y="21"/>
                    <a:pt x="19" y="23"/>
                  </a:cubicBezTo>
                  <a:cubicBezTo>
                    <a:pt x="18" y="26"/>
                    <a:pt x="19" y="29"/>
                    <a:pt x="17" y="27"/>
                  </a:cubicBezTo>
                  <a:cubicBezTo>
                    <a:pt x="15" y="25"/>
                    <a:pt x="15" y="24"/>
                    <a:pt x="13" y="22"/>
                  </a:cubicBezTo>
                  <a:cubicBezTo>
                    <a:pt x="12" y="20"/>
                    <a:pt x="12" y="20"/>
                    <a:pt x="10" y="18"/>
                  </a:cubicBezTo>
                  <a:cubicBezTo>
                    <a:pt x="9" y="16"/>
                    <a:pt x="9" y="15"/>
                    <a:pt x="6" y="13"/>
                  </a:cubicBezTo>
                  <a:cubicBezTo>
                    <a:pt x="4" y="11"/>
                    <a:pt x="5" y="12"/>
                    <a:pt x="3" y="10"/>
                  </a:cubicBezTo>
                  <a:cubicBezTo>
                    <a:pt x="2" y="8"/>
                    <a:pt x="0" y="6"/>
                    <a:pt x="2" y="4"/>
                  </a:cubicBezTo>
                  <a:cubicBezTo>
                    <a:pt x="4" y="3"/>
                    <a:pt x="5" y="0"/>
                    <a:pt x="6" y="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34" name="Freeform 822">
              <a:extLst>
                <a:ext uri="{FF2B5EF4-FFF2-40B4-BE49-F238E27FC236}">
                  <a16:creationId xmlns:a16="http://schemas.microsoft.com/office/drawing/2014/main" id="{98819BC1-2613-264F-9DF9-5F5CB42E0214}"/>
                </a:ext>
              </a:extLst>
            </p:cNvPr>
            <p:cNvSpPr>
              <a:spLocks/>
            </p:cNvSpPr>
            <p:nvPr/>
          </p:nvSpPr>
          <p:spPr bwMode="auto">
            <a:xfrm>
              <a:off x="6369070" y="2664283"/>
              <a:ext cx="7938" cy="22225"/>
            </a:xfrm>
            <a:custGeom>
              <a:avLst/>
              <a:gdLst>
                <a:gd name="T0" fmla="*/ 3 w 8"/>
                <a:gd name="T1" fmla="*/ 3 h 23"/>
                <a:gd name="T2" fmla="*/ 5 w 8"/>
                <a:gd name="T3" fmla="*/ 7 h 23"/>
                <a:gd name="T4" fmla="*/ 7 w 8"/>
                <a:gd name="T5" fmla="*/ 15 h 23"/>
                <a:gd name="T6" fmla="*/ 4 w 8"/>
                <a:gd name="T7" fmla="*/ 22 h 23"/>
                <a:gd name="T8" fmla="*/ 1 w 8"/>
                <a:gd name="T9" fmla="*/ 17 h 23"/>
                <a:gd name="T10" fmla="*/ 2 w 8"/>
                <a:gd name="T11" fmla="*/ 11 h 23"/>
                <a:gd name="T12" fmla="*/ 0 w 8"/>
                <a:gd name="T13" fmla="*/ 5 h 23"/>
                <a:gd name="T14" fmla="*/ 3 w 8"/>
                <a:gd name="T15" fmla="*/ 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3">
                  <a:moveTo>
                    <a:pt x="3" y="3"/>
                  </a:moveTo>
                  <a:cubicBezTo>
                    <a:pt x="5" y="4"/>
                    <a:pt x="5" y="5"/>
                    <a:pt x="5" y="7"/>
                  </a:cubicBezTo>
                  <a:cubicBezTo>
                    <a:pt x="5" y="10"/>
                    <a:pt x="8" y="12"/>
                    <a:pt x="7" y="15"/>
                  </a:cubicBezTo>
                  <a:cubicBezTo>
                    <a:pt x="6" y="18"/>
                    <a:pt x="6" y="23"/>
                    <a:pt x="4" y="22"/>
                  </a:cubicBezTo>
                  <a:cubicBezTo>
                    <a:pt x="2" y="21"/>
                    <a:pt x="0" y="20"/>
                    <a:pt x="1" y="17"/>
                  </a:cubicBezTo>
                  <a:cubicBezTo>
                    <a:pt x="1" y="15"/>
                    <a:pt x="2" y="14"/>
                    <a:pt x="2" y="11"/>
                  </a:cubicBezTo>
                  <a:cubicBezTo>
                    <a:pt x="2" y="9"/>
                    <a:pt x="0" y="7"/>
                    <a:pt x="0" y="5"/>
                  </a:cubicBezTo>
                  <a:cubicBezTo>
                    <a:pt x="0" y="3"/>
                    <a:pt x="1" y="0"/>
                    <a:pt x="3"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35" name="Freeform 823">
              <a:extLst>
                <a:ext uri="{FF2B5EF4-FFF2-40B4-BE49-F238E27FC236}">
                  <a16:creationId xmlns:a16="http://schemas.microsoft.com/office/drawing/2014/main" id="{93D20C28-C507-434F-AA62-E14A228536B4}"/>
                </a:ext>
              </a:extLst>
            </p:cNvPr>
            <p:cNvSpPr>
              <a:spLocks/>
            </p:cNvSpPr>
            <p:nvPr/>
          </p:nvSpPr>
          <p:spPr bwMode="auto">
            <a:xfrm>
              <a:off x="6375420" y="2691270"/>
              <a:ext cx="17463" cy="28575"/>
            </a:xfrm>
            <a:custGeom>
              <a:avLst/>
              <a:gdLst>
                <a:gd name="T0" fmla="*/ 7 w 18"/>
                <a:gd name="T1" fmla="*/ 2 h 29"/>
                <a:gd name="T2" fmla="*/ 10 w 18"/>
                <a:gd name="T3" fmla="*/ 6 h 29"/>
                <a:gd name="T4" fmla="*/ 14 w 18"/>
                <a:gd name="T5" fmla="*/ 11 h 29"/>
                <a:gd name="T6" fmla="*/ 16 w 18"/>
                <a:gd name="T7" fmla="*/ 16 h 29"/>
                <a:gd name="T8" fmla="*/ 18 w 18"/>
                <a:gd name="T9" fmla="*/ 23 h 29"/>
                <a:gd name="T10" fmla="*/ 14 w 18"/>
                <a:gd name="T11" fmla="*/ 25 h 29"/>
                <a:gd name="T12" fmla="*/ 9 w 18"/>
                <a:gd name="T13" fmla="*/ 25 h 29"/>
                <a:gd name="T14" fmla="*/ 5 w 18"/>
                <a:gd name="T15" fmla="*/ 18 h 29"/>
                <a:gd name="T16" fmla="*/ 1 w 18"/>
                <a:gd name="T17" fmla="*/ 12 h 29"/>
                <a:gd name="T18" fmla="*/ 1 w 18"/>
                <a:gd name="T19" fmla="*/ 6 h 29"/>
                <a:gd name="T20" fmla="*/ 3 w 18"/>
                <a:gd name="T21" fmla="*/ 2 h 29"/>
                <a:gd name="T22" fmla="*/ 7 w 18"/>
                <a:gd name="T23"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9">
                  <a:moveTo>
                    <a:pt x="7" y="2"/>
                  </a:moveTo>
                  <a:cubicBezTo>
                    <a:pt x="9" y="3"/>
                    <a:pt x="10" y="4"/>
                    <a:pt x="10" y="6"/>
                  </a:cubicBezTo>
                  <a:cubicBezTo>
                    <a:pt x="10" y="8"/>
                    <a:pt x="13" y="9"/>
                    <a:pt x="14" y="11"/>
                  </a:cubicBezTo>
                  <a:cubicBezTo>
                    <a:pt x="15" y="13"/>
                    <a:pt x="15" y="13"/>
                    <a:pt x="16" y="16"/>
                  </a:cubicBezTo>
                  <a:cubicBezTo>
                    <a:pt x="17" y="19"/>
                    <a:pt x="18" y="21"/>
                    <a:pt x="18" y="23"/>
                  </a:cubicBezTo>
                  <a:cubicBezTo>
                    <a:pt x="17" y="24"/>
                    <a:pt x="16" y="25"/>
                    <a:pt x="14" y="25"/>
                  </a:cubicBezTo>
                  <a:cubicBezTo>
                    <a:pt x="11" y="25"/>
                    <a:pt x="12" y="29"/>
                    <a:pt x="9" y="25"/>
                  </a:cubicBezTo>
                  <a:cubicBezTo>
                    <a:pt x="7" y="21"/>
                    <a:pt x="7" y="22"/>
                    <a:pt x="5" y="18"/>
                  </a:cubicBezTo>
                  <a:cubicBezTo>
                    <a:pt x="3" y="15"/>
                    <a:pt x="3" y="15"/>
                    <a:pt x="1" y="12"/>
                  </a:cubicBezTo>
                  <a:cubicBezTo>
                    <a:pt x="0" y="10"/>
                    <a:pt x="0" y="8"/>
                    <a:pt x="1" y="6"/>
                  </a:cubicBezTo>
                  <a:cubicBezTo>
                    <a:pt x="2" y="4"/>
                    <a:pt x="2" y="2"/>
                    <a:pt x="3" y="2"/>
                  </a:cubicBezTo>
                  <a:cubicBezTo>
                    <a:pt x="3" y="2"/>
                    <a:pt x="6" y="0"/>
                    <a:pt x="7"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36" name="Freeform 824">
              <a:extLst>
                <a:ext uri="{FF2B5EF4-FFF2-40B4-BE49-F238E27FC236}">
                  <a16:creationId xmlns:a16="http://schemas.microsoft.com/office/drawing/2014/main" id="{D9F41F0D-5A21-E949-B20E-64F2E3816657}"/>
                </a:ext>
              </a:extLst>
            </p:cNvPr>
            <p:cNvSpPr>
              <a:spLocks/>
            </p:cNvSpPr>
            <p:nvPr/>
          </p:nvSpPr>
          <p:spPr bwMode="auto">
            <a:xfrm>
              <a:off x="6394470" y="2719845"/>
              <a:ext cx="11113" cy="14288"/>
            </a:xfrm>
            <a:custGeom>
              <a:avLst/>
              <a:gdLst>
                <a:gd name="T0" fmla="*/ 7 w 12"/>
                <a:gd name="T1" fmla="*/ 2 h 14"/>
                <a:gd name="T2" fmla="*/ 10 w 12"/>
                <a:gd name="T3" fmla="*/ 6 h 14"/>
                <a:gd name="T4" fmla="*/ 12 w 12"/>
                <a:gd name="T5" fmla="*/ 10 h 14"/>
                <a:gd name="T6" fmla="*/ 8 w 12"/>
                <a:gd name="T7" fmla="*/ 11 h 14"/>
                <a:gd name="T8" fmla="*/ 4 w 12"/>
                <a:gd name="T9" fmla="*/ 7 h 14"/>
                <a:gd name="T10" fmla="*/ 2 w 12"/>
                <a:gd name="T11" fmla="*/ 1 h 14"/>
                <a:gd name="T12" fmla="*/ 7 w 12"/>
                <a:gd name="T13" fmla="*/ 2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7" y="2"/>
                  </a:moveTo>
                  <a:cubicBezTo>
                    <a:pt x="9" y="4"/>
                    <a:pt x="9" y="4"/>
                    <a:pt x="10" y="6"/>
                  </a:cubicBezTo>
                  <a:cubicBezTo>
                    <a:pt x="11" y="8"/>
                    <a:pt x="12" y="8"/>
                    <a:pt x="12" y="10"/>
                  </a:cubicBezTo>
                  <a:cubicBezTo>
                    <a:pt x="11" y="12"/>
                    <a:pt x="11" y="14"/>
                    <a:pt x="8" y="11"/>
                  </a:cubicBezTo>
                  <a:cubicBezTo>
                    <a:pt x="5" y="7"/>
                    <a:pt x="7" y="9"/>
                    <a:pt x="4" y="7"/>
                  </a:cubicBezTo>
                  <a:cubicBezTo>
                    <a:pt x="1" y="4"/>
                    <a:pt x="0" y="2"/>
                    <a:pt x="2" y="1"/>
                  </a:cubicBezTo>
                  <a:cubicBezTo>
                    <a:pt x="4" y="0"/>
                    <a:pt x="6" y="0"/>
                    <a:pt x="7"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37" name="Freeform 825">
              <a:extLst>
                <a:ext uri="{FF2B5EF4-FFF2-40B4-BE49-F238E27FC236}">
                  <a16:creationId xmlns:a16="http://schemas.microsoft.com/office/drawing/2014/main" id="{50C93D64-7E8B-0645-9090-AD81E64BEBF0}"/>
                </a:ext>
              </a:extLst>
            </p:cNvPr>
            <p:cNvSpPr>
              <a:spLocks/>
            </p:cNvSpPr>
            <p:nvPr/>
          </p:nvSpPr>
          <p:spPr bwMode="auto">
            <a:xfrm>
              <a:off x="6407170" y="2734133"/>
              <a:ext cx="15875" cy="23813"/>
            </a:xfrm>
            <a:custGeom>
              <a:avLst/>
              <a:gdLst>
                <a:gd name="T0" fmla="*/ 6 w 17"/>
                <a:gd name="T1" fmla="*/ 5 h 26"/>
                <a:gd name="T2" fmla="*/ 7 w 17"/>
                <a:gd name="T3" fmla="*/ 9 h 26"/>
                <a:gd name="T4" fmla="*/ 12 w 17"/>
                <a:gd name="T5" fmla="*/ 12 h 26"/>
                <a:gd name="T6" fmla="*/ 14 w 17"/>
                <a:gd name="T7" fmla="*/ 18 h 26"/>
                <a:gd name="T8" fmla="*/ 14 w 17"/>
                <a:gd name="T9" fmla="*/ 24 h 26"/>
                <a:gd name="T10" fmla="*/ 9 w 17"/>
                <a:gd name="T11" fmla="*/ 21 h 26"/>
                <a:gd name="T12" fmla="*/ 7 w 17"/>
                <a:gd name="T13" fmla="*/ 17 h 26"/>
                <a:gd name="T14" fmla="*/ 4 w 17"/>
                <a:gd name="T15" fmla="*/ 11 h 26"/>
                <a:gd name="T16" fmla="*/ 0 w 17"/>
                <a:gd name="T17" fmla="*/ 4 h 26"/>
                <a:gd name="T18" fmla="*/ 3 w 17"/>
                <a:gd name="T19" fmla="*/ 0 h 26"/>
                <a:gd name="T20" fmla="*/ 6 w 17"/>
                <a:gd name="T21"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6">
                  <a:moveTo>
                    <a:pt x="6" y="5"/>
                  </a:moveTo>
                  <a:cubicBezTo>
                    <a:pt x="7" y="7"/>
                    <a:pt x="4" y="6"/>
                    <a:pt x="7" y="9"/>
                  </a:cubicBezTo>
                  <a:cubicBezTo>
                    <a:pt x="10" y="11"/>
                    <a:pt x="10" y="9"/>
                    <a:pt x="12" y="12"/>
                  </a:cubicBezTo>
                  <a:cubicBezTo>
                    <a:pt x="13" y="15"/>
                    <a:pt x="14" y="15"/>
                    <a:pt x="14" y="18"/>
                  </a:cubicBezTo>
                  <a:cubicBezTo>
                    <a:pt x="14" y="21"/>
                    <a:pt x="17" y="26"/>
                    <a:pt x="14" y="24"/>
                  </a:cubicBezTo>
                  <a:cubicBezTo>
                    <a:pt x="10" y="22"/>
                    <a:pt x="11" y="24"/>
                    <a:pt x="9" y="21"/>
                  </a:cubicBezTo>
                  <a:cubicBezTo>
                    <a:pt x="8" y="17"/>
                    <a:pt x="10" y="20"/>
                    <a:pt x="7" y="17"/>
                  </a:cubicBezTo>
                  <a:cubicBezTo>
                    <a:pt x="5" y="13"/>
                    <a:pt x="6" y="15"/>
                    <a:pt x="4" y="11"/>
                  </a:cubicBezTo>
                  <a:cubicBezTo>
                    <a:pt x="1" y="7"/>
                    <a:pt x="0" y="7"/>
                    <a:pt x="0" y="4"/>
                  </a:cubicBezTo>
                  <a:cubicBezTo>
                    <a:pt x="0" y="2"/>
                    <a:pt x="1" y="0"/>
                    <a:pt x="3" y="0"/>
                  </a:cubicBezTo>
                  <a:cubicBezTo>
                    <a:pt x="4" y="0"/>
                    <a:pt x="6" y="3"/>
                    <a:pt x="6"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38" name="Freeform 826">
              <a:extLst>
                <a:ext uri="{FF2B5EF4-FFF2-40B4-BE49-F238E27FC236}">
                  <a16:creationId xmlns:a16="http://schemas.microsoft.com/office/drawing/2014/main" id="{D94BA3E8-FC10-6946-9F98-3D925EBA39AD}"/>
                </a:ext>
              </a:extLst>
            </p:cNvPr>
            <p:cNvSpPr>
              <a:spLocks/>
            </p:cNvSpPr>
            <p:nvPr/>
          </p:nvSpPr>
          <p:spPr bwMode="auto">
            <a:xfrm>
              <a:off x="6507183" y="2661108"/>
              <a:ext cx="25400" cy="28575"/>
            </a:xfrm>
            <a:custGeom>
              <a:avLst/>
              <a:gdLst>
                <a:gd name="T0" fmla="*/ 14 w 26"/>
                <a:gd name="T1" fmla="*/ 4 h 30"/>
                <a:gd name="T2" fmla="*/ 16 w 26"/>
                <a:gd name="T3" fmla="*/ 10 h 30"/>
                <a:gd name="T4" fmla="*/ 23 w 26"/>
                <a:gd name="T5" fmla="*/ 15 h 30"/>
                <a:gd name="T6" fmla="*/ 20 w 26"/>
                <a:gd name="T7" fmla="*/ 18 h 30"/>
                <a:gd name="T8" fmla="*/ 11 w 26"/>
                <a:gd name="T9" fmla="*/ 15 h 30"/>
                <a:gd name="T10" fmla="*/ 11 w 26"/>
                <a:gd name="T11" fmla="*/ 22 h 30"/>
                <a:gd name="T12" fmla="*/ 4 w 26"/>
                <a:gd name="T13" fmla="*/ 26 h 30"/>
                <a:gd name="T14" fmla="*/ 4 w 26"/>
                <a:gd name="T15" fmla="*/ 17 h 30"/>
                <a:gd name="T16" fmla="*/ 9 w 26"/>
                <a:gd name="T17" fmla="*/ 11 h 30"/>
                <a:gd name="T18" fmla="*/ 6 w 26"/>
                <a:gd name="T19" fmla="*/ 2 h 30"/>
                <a:gd name="T20" fmla="*/ 14 w 26"/>
                <a:gd name="T21"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0">
                  <a:moveTo>
                    <a:pt x="14" y="4"/>
                  </a:moveTo>
                  <a:cubicBezTo>
                    <a:pt x="15" y="7"/>
                    <a:pt x="12" y="8"/>
                    <a:pt x="16" y="10"/>
                  </a:cubicBezTo>
                  <a:cubicBezTo>
                    <a:pt x="19" y="12"/>
                    <a:pt x="26" y="13"/>
                    <a:pt x="23" y="15"/>
                  </a:cubicBezTo>
                  <a:cubicBezTo>
                    <a:pt x="21" y="18"/>
                    <a:pt x="26" y="20"/>
                    <a:pt x="20" y="18"/>
                  </a:cubicBezTo>
                  <a:cubicBezTo>
                    <a:pt x="14" y="16"/>
                    <a:pt x="10" y="12"/>
                    <a:pt x="11" y="15"/>
                  </a:cubicBezTo>
                  <a:cubicBezTo>
                    <a:pt x="13" y="18"/>
                    <a:pt x="12" y="19"/>
                    <a:pt x="11" y="22"/>
                  </a:cubicBezTo>
                  <a:cubicBezTo>
                    <a:pt x="10" y="26"/>
                    <a:pt x="4" y="30"/>
                    <a:pt x="4" y="26"/>
                  </a:cubicBezTo>
                  <a:cubicBezTo>
                    <a:pt x="3" y="21"/>
                    <a:pt x="0" y="18"/>
                    <a:pt x="4" y="17"/>
                  </a:cubicBezTo>
                  <a:cubicBezTo>
                    <a:pt x="7" y="16"/>
                    <a:pt x="11" y="14"/>
                    <a:pt x="9" y="11"/>
                  </a:cubicBezTo>
                  <a:cubicBezTo>
                    <a:pt x="8" y="7"/>
                    <a:pt x="5" y="5"/>
                    <a:pt x="6" y="2"/>
                  </a:cubicBezTo>
                  <a:cubicBezTo>
                    <a:pt x="7" y="0"/>
                    <a:pt x="15" y="0"/>
                    <a:pt x="14"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39" name="Freeform 827">
              <a:extLst>
                <a:ext uri="{FF2B5EF4-FFF2-40B4-BE49-F238E27FC236}">
                  <a16:creationId xmlns:a16="http://schemas.microsoft.com/office/drawing/2014/main" id="{D9AF9C9E-12B1-2147-8310-621868D46AE4}"/>
                </a:ext>
              </a:extLst>
            </p:cNvPr>
            <p:cNvSpPr>
              <a:spLocks/>
            </p:cNvSpPr>
            <p:nvPr/>
          </p:nvSpPr>
          <p:spPr bwMode="auto">
            <a:xfrm>
              <a:off x="6511946" y="2637295"/>
              <a:ext cx="14288" cy="12700"/>
            </a:xfrm>
            <a:custGeom>
              <a:avLst/>
              <a:gdLst>
                <a:gd name="T0" fmla="*/ 4 w 15"/>
                <a:gd name="T1" fmla="*/ 4 h 13"/>
                <a:gd name="T2" fmla="*/ 10 w 15"/>
                <a:gd name="T3" fmla="*/ 2 h 13"/>
                <a:gd name="T4" fmla="*/ 13 w 15"/>
                <a:gd name="T5" fmla="*/ 5 h 13"/>
                <a:gd name="T6" fmla="*/ 12 w 15"/>
                <a:gd name="T7" fmla="*/ 12 h 13"/>
                <a:gd name="T8" fmla="*/ 8 w 15"/>
                <a:gd name="T9" fmla="*/ 9 h 13"/>
                <a:gd name="T10" fmla="*/ 4 w 15"/>
                <a:gd name="T11" fmla="*/ 9 h 13"/>
                <a:gd name="T12" fmla="*/ 4 w 15"/>
                <a:gd name="T13" fmla="*/ 4 h 13"/>
              </a:gdLst>
              <a:ahLst/>
              <a:cxnLst>
                <a:cxn ang="0">
                  <a:pos x="T0" y="T1"/>
                </a:cxn>
                <a:cxn ang="0">
                  <a:pos x="T2" y="T3"/>
                </a:cxn>
                <a:cxn ang="0">
                  <a:pos x="T4" y="T5"/>
                </a:cxn>
                <a:cxn ang="0">
                  <a:pos x="T6" y="T7"/>
                </a:cxn>
                <a:cxn ang="0">
                  <a:pos x="T8" y="T9"/>
                </a:cxn>
                <a:cxn ang="0">
                  <a:pos x="T10" y="T11"/>
                </a:cxn>
                <a:cxn ang="0">
                  <a:pos x="T12" y="T13"/>
                </a:cxn>
              </a:cxnLst>
              <a:rect l="0" t="0" r="r" b="b"/>
              <a:pathLst>
                <a:path w="15" h="13">
                  <a:moveTo>
                    <a:pt x="4" y="4"/>
                  </a:moveTo>
                  <a:cubicBezTo>
                    <a:pt x="7" y="1"/>
                    <a:pt x="8" y="0"/>
                    <a:pt x="10" y="2"/>
                  </a:cubicBezTo>
                  <a:cubicBezTo>
                    <a:pt x="12" y="4"/>
                    <a:pt x="14" y="2"/>
                    <a:pt x="13" y="5"/>
                  </a:cubicBezTo>
                  <a:cubicBezTo>
                    <a:pt x="12" y="9"/>
                    <a:pt x="15" y="13"/>
                    <a:pt x="12" y="12"/>
                  </a:cubicBezTo>
                  <a:cubicBezTo>
                    <a:pt x="9" y="11"/>
                    <a:pt x="10" y="10"/>
                    <a:pt x="8" y="9"/>
                  </a:cubicBezTo>
                  <a:cubicBezTo>
                    <a:pt x="6" y="9"/>
                    <a:pt x="5" y="9"/>
                    <a:pt x="4" y="9"/>
                  </a:cubicBezTo>
                  <a:cubicBezTo>
                    <a:pt x="4" y="9"/>
                    <a:pt x="0" y="4"/>
                    <a:pt x="4"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40" name="Freeform 828">
              <a:extLst>
                <a:ext uri="{FF2B5EF4-FFF2-40B4-BE49-F238E27FC236}">
                  <a16:creationId xmlns:a16="http://schemas.microsoft.com/office/drawing/2014/main" id="{39AA71A9-4976-CC4C-B0DF-6ACF3DF2539B}"/>
                </a:ext>
              </a:extLst>
            </p:cNvPr>
            <p:cNvSpPr>
              <a:spLocks/>
            </p:cNvSpPr>
            <p:nvPr/>
          </p:nvSpPr>
          <p:spPr bwMode="auto">
            <a:xfrm>
              <a:off x="6931047" y="2948445"/>
              <a:ext cx="23813" cy="14288"/>
            </a:xfrm>
            <a:custGeom>
              <a:avLst/>
              <a:gdLst>
                <a:gd name="T0" fmla="*/ 13 w 25"/>
                <a:gd name="T1" fmla="*/ 1 h 15"/>
                <a:gd name="T2" fmla="*/ 8 w 25"/>
                <a:gd name="T3" fmla="*/ 14 h 15"/>
                <a:gd name="T4" fmla="*/ 21 w 25"/>
                <a:gd name="T5" fmla="*/ 9 h 15"/>
                <a:gd name="T6" fmla="*/ 23 w 25"/>
                <a:gd name="T7" fmla="*/ 1 h 15"/>
                <a:gd name="T8" fmla="*/ 13 w 25"/>
                <a:gd name="T9" fmla="*/ 1 h 15"/>
              </a:gdLst>
              <a:ahLst/>
              <a:cxnLst>
                <a:cxn ang="0">
                  <a:pos x="T0" y="T1"/>
                </a:cxn>
                <a:cxn ang="0">
                  <a:pos x="T2" y="T3"/>
                </a:cxn>
                <a:cxn ang="0">
                  <a:pos x="T4" y="T5"/>
                </a:cxn>
                <a:cxn ang="0">
                  <a:pos x="T6" y="T7"/>
                </a:cxn>
                <a:cxn ang="0">
                  <a:pos x="T8" y="T9"/>
                </a:cxn>
              </a:cxnLst>
              <a:rect l="0" t="0" r="r" b="b"/>
              <a:pathLst>
                <a:path w="25" h="15">
                  <a:moveTo>
                    <a:pt x="13" y="1"/>
                  </a:moveTo>
                  <a:cubicBezTo>
                    <a:pt x="10" y="4"/>
                    <a:pt x="0" y="15"/>
                    <a:pt x="8" y="14"/>
                  </a:cubicBezTo>
                  <a:cubicBezTo>
                    <a:pt x="16" y="14"/>
                    <a:pt x="17" y="14"/>
                    <a:pt x="21" y="9"/>
                  </a:cubicBezTo>
                  <a:cubicBezTo>
                    <a:pt x="24" y="5"/>
                    <a:pt x="25" y="2"/>
                    <a:pt x="23" y="1"/>
                  </a:cubicBezTo>
                  <a:cubicBezTo>
                    <a:pt x="20" y="0"/>
                    <a:pt x="13" y="1"/>
                    <a:pt x="13" y="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41" name="Freeform 829">
              <a:extLst>
                <a:ext uri="{FF2B5EF4-FFF2-40B4-BE49-F238E27FC236}">
                  <a16:creationId xmlns:a16="http://schemas.microsoft.com/office/drawing/2014/main" id="{3CE65613-E11A-6740-9798-2ABC72B1A4F1}"/>
                </a:ext>
              </a:extLst>
            </p:cNvPr>
            <p:cNvSpPr>
              <a:spLocks/>
            </p:cNvSpPr>
            <p:nvPr/>
          </p:nvSpPr>
          <p:spPr bwMode="auto">
            <a:xfrm>
              <a:off x="7254898" y="2707145"/>
              <a:ext cx="33338" cy="12700"/>
            </a:xfrm>
            <a:custGeom>
              <a:avLst/>
              <a:gdLst>
                <a:gd name="T0" fmla="*/ 7 w 36"/>
                <a:gd name="T1" fmla="*/ 2 h 13"/>
                <a:gd name="T2" fmla="*/ 20 w 36"/>
                <a:gd name="T3" fmla="*/ 5 h 13"/>
                <a:gd name="T4" fmla="*/ 32 w 36"/>
                <a:gd name="T5" fmla="*/ 9 h 13"/>
                <a:gd name="T6" fmla="*/ 18 w 36"/>
                <a:gd name="T7" fmla="*/ 12 h 13"/>
                <a:gd name="T8" fmla="*/ 1 w 36"/>
                <a:gd name="T9" fmla="*/ 4 h 13"/>
                <a:gd name="T10" fmla="*/ 7 w 36"/>
                <a:gd name="T11" fmla="*/ 2 h 13"/>
              </a:gdLst>
              <a:ahLst/>
              <a:cxnLst>
                <a:cxn ang="0">
                  <a:pos x="T0" y="T1"/>
                </a:cxn>
                <a:cxn ang="0">
                  <a:pos x="T2" y="T3"/>
                </a:cxn>
                <a:cxn ang="0">
                  <a:pos x="T4" y="T5"/>
                </a:cxn>
                <a:cxn ang="0">
                  <a:pos x="T6" y="T7"/>
                </a:cxn>
                <a:cxn ang="0">
                  <a:pos x="T8" y="T9"/>
                </a:cxn>
                <a:cxn ang="0">
                  <a:pos x="T10" y="T11"/>
                </a:cxn>
              </a:cxnLst>
              <a:rect l="0" t="0" r="r" b="b"/>
              <a:pathLst>
                <a:path w="36" h="13">
                  <a:moveTo>
                    <a:pt x="7" y="2"/>
                  </a:moveTo>
                  <a:cubicBezTo>
                    <a:pt x="15" y="5"/>
                    <a:pt x="16" y="5"/>
                    <a:pt x="20" y="5"/>
                  </a:cubicBezTo>
                  <a:cubicBezTo>
                    <a:pt x="24" y="5"/>
                    <a:pt x="36" y="7"/>
                    <a:pt x="32" y="9"/>
                  </a:cubicBezTo>
                  <a:cubicBezTo>
                    <a:pt x="28" y="11"/>
                    <a:pt x="27" y="13"/>
                    <a:pt x="18" y="12"/>
                  </a:cubicBezTo>
                  <a:cubicBezTo>
                    <a:pt x="10" y="11"/>
                    <a:pt x="0" y="7"/>
                    <a:pt x="1" y="4"/>
                  </a:cubicBezTo>
                  <a:cubicBezTo>
                    <a:pt x="1" y="1"/>
                    <a:pt x="3" y="0"/>
                    <a:pt x="7"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42" name="Freeform 830">
              <a:extLst>
                <a:ext uri="{FF2B5EF4-FFF2-40B4-BE49-F238E27FC236}">
                  <a16:creationId xmlns:a16="http://schemas.microsoft.com/office/drawing/2014/main" id="{69467F4D-90A0-5045-A95B-047C76BD694B}"/>
                </a:ext>
              </a:extLst>
            </p:cNvPr>
            <p:cNvSpPr>
              <a:spLocks/>
            </p:cNvSpPr>
            <p:nvPr/>
          </p:nvSpPr>
          <p:spPr bwMode="auto">
            <a:xfrm>
              <a:off x="7250135" y="2681745"/>
              <a:ext cx="12700" cy="12700"/>
            </a:xfrm>
            <a:custGeom>
              <a:avLst/>
              <a:gdLst>
                <a:gd name="T0" fmla="*/ 3 w 13"/>
                <a:gd name="T1" fmla="*/ 7 h 13"/>
                <a:gd name="T2" fmla="*/ 11 w 13"/>
                <a:gd name="T3" fmla="*/ 10 h 13"/>
                <a:gd name="T4" fmla="*/ 11 w 13"/>
                <a:gd name="T5" fmla="*/ 3 h 13"/>
                <a:gd name="T6" fmla="*/ 2 w 13"/>
                <a:gd name="T7" fmla="*/ 2 h 13"/>
                <a:gd name="T8" fmla="*/ 3 w 13"/>
                <a:gd name="T9" fmla="*/ 7 h 13"/>
              </a:gdLst>
              <a:ahLst/>
              <a:cxnLst>
                <a:cxn ang="0">
                  <a:pos x="T0" y="T1"/>
                </a:cxn>
                <a:cxn ang="0">
                  <a:pos x="T2" y="T3"/>
                </a:cxn>
                <a:cxn ang="0">
                  <a:pos x="T4" y="T5"/>
                </a:cxn>
                <a:cxn ang="0">
                  <a:pos x="T6" y="T7"/>
                </a:cxn>
                <a:cxn ang="0">
                  <a:pos x="T8" y="T9"/>
                </a:cxn>
              </a:cxnLst>
              <a:rect l="0" t="0" r="r" b="b"/>
              <a:pathLst>
                <a:path w="13" h="13">
                  <a:moveTo>
                    <a:pt x="3" y="7"/>
                  </a:moveTo>
                  <a:cubicBezTo>
                    <a:pt x="6" y="9"/>
                    <a:pt x="9" y="13"/>
                    <a:pt x="11" y="10"/>
                  </a:cubicBezTo>
                  <a:cubicBezTo>
                    <a:pt x="12" y="7"/>
                    <a:pt x="13" y="4"/>
                    <a:pt x="11" y="3"/>
                  </a:cubicBezTo>
                  <a:cubicBezTo>
                    <a:pt x="8" y="2"/>
                    <a:pt x="2" y="0"/>
                    <a:pt x="2" y="2"/>
                  </a:cubicBezTo>
                  <a:cubicBezTo>
                    <a:pt x="2" y="4"/>
                    <a:pt x="0" y="4"/>
                    <a:pt x="3" y="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43" name="Freeform 831">
              <a:extLst>
                <a:ext uri="{FF2B5EF4-FFF2-40B4-BE49-F238E27FC236}">
                  <a16:creationId xmlns:a16="http://schemas.microsoft.com/office/drawing/2014/main" id="{F9088EC7-CC75-B344-92B5-47DE747608AF}"/>
                </a:ext>
              </a:extLst>
            </p:cNvPr>
            <p:cNvSpPr>
              <a:spLocks/>
            </p:cNvSpPr>
            <p:nvPr/>
          </p:nvSpPr>
          <p:spPr bwMode="auto">
            <a:xfrm>
              <a:off x="4156088" y="2670633"/>
              <a:ext cx="31750" cy="30163"/>
            </a:xfrm>
            <a:custGeom>
              <a:avLst/>
              <a:gdLst>
                <a:gd name="T0" fmla="*/ 22 w 34"/>
                <a:gd name="T1" fmla="*/ 2 h 32"/>
                <a:gd name="T2" fmla="*/ 33 w 34"/>
                <a:gd name="T3" fmla="*/ 11 h 32"/>
                <a:gd name="T4" fmla="*/ 28 w 34"/>
                <a:gd name="T5" fmla="*/ 25 h 32"/>
                <a:gd name="T6" fmla="*/ 11 w 34"/>
                <a:gd name="T7" fmla="*/ 32 h 32"/>
                <a:gd name="T8" fmla="*/ 1 w 34"/>
                <a:gd name="T9" fmla="*/ 26 h 32"/>
                <a:gd name="T10" fmla="*/ 1 w 34"/>
                <a:gd name="T11" fmla="*/ 6 h 32"/>
                <a:gd name="T12" fmla="*/ 22 w 34"/>
                <a:gd name="T13" fmla="*/ 2 h 32"/>
              </a:gdLst>
              <a:ahLst/>
              <a:cxnLst>
                <a:cxn ang="0">
                  <a:pos x="T0" y="T1"/>
                </a:cxn>
                <a:cxn ang="0">
                  <a:pos x="T2" y="T3"/>
                </a:cxn>
                <a:cxn ang="0">
                  <a:pos x="T4" y="T5"/>
                </a:cxn>
                <a:cxn ang="0">
                  <a:pos x="T6" y="T7"/>
                </a:cxn>
                <a:cxn ang="0">
                  <a:pos x="T8" y="T9"/>
                </a:cxn>
                <a:cxn ang="0">
                  <a:pos x="T10" y="T11"/>
                </a:cxn>
                <a:cxn ang="0">
                  <a:pos x="T12" y="T13"/>
                </a:cxn>
              </a:cxnLst>
              <a:rect l="0" t="0" r="r" b="b"/>
              <a:pathLst>
                <a:path w="34" h="32">
                  <a:moveTo>
                    <a:pt x="22" y="2"/>
                  </a:moveTo>
                  <a:cubicBezTo>
                    <a:pt x="28" y="5"/>
                    <a:pt x="31" y="7"/>
                    <a:pt x="33" y="11"/>
                  </a:cubicBezTo>
                  <a:cubicBezTo>
                    <a:pt x="34" y="15"/>
                    <a:pt x="31" y="22"/>
                    <a:pt x="28" y="25"/>
                  </a:cubicBezTo>
                  <a:cubicBezTo>
                    <a:pt x="25" y="27"/>
                    <a:pt x="19" y="32"/>
                    <a:pt x="11" y="32"/>
                  </a:cubicBezTo>
                  <a:cubicBezTo>
                    <a:pt x="4" y="31"/>
                    <a:pt x="1" y="32"/>
                    <a:pt x="1" y="26"/>
                  </a:cubicBezTo>
                  <a:cubicBezTo>
                    <a:pt x="2" y="20"/>
                    <a:pt x="0" y="8"/>
                    <a:pt x="1" y="6"/>
                  </a:cubicBezTo>
                  <a:cubicBezTo>
                    <a:pt x="3" y="4"/>
                    <a:pt x="20" y="0"/>
                    <a:pt x="22"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44" name="Freeform 832">
              <a:extLst>
                <a:ext uri="{FF2B5EF4-FFF2-40B4-BE49-F238E27FC236}">
                  <a16:creationId xmlns:a16="http://schemas.microsoft.com/office/drawing/2014/main" id="{F8F0C01A-DD6F-4340-9772-575B99AE80EF}"/>
                </a:ext>
              </a:extLst>
            </p:cNvPr>
            <p:cNvSpPr>
              <a:spLocks/>
            </p:cNvSpPr>
            <p:nvPr/>
          </p:nvSpPr>
          <p:spPr bwMode="auto">
            <a:xfrm>
              <a:off x="5707081" y="2608720"/>
              <a:ext cx="17463" cy="39688"/>
            </a:xfrm>
            <a:custGeom>
              <a:avLst/>
              <a:gdLst>
                <a:gd name="T0" fmla="*/ 4 w 18"/>
                <a:gd name="T1" fmla="*/ 15 h 41"/>
                <a:gd name="T2" fmla="*/ 6 w 18"/>
                <a:gd name="T3" fmla="*/ 24 h 41"/>
                <a:gd name="T4" fmla="*/ 9 w 18"/>
                <a:gd name="T5" fmla="*/ 30 h 41"/>
                <a:gd name="T6" fmla="*/ 10 w 18"/>
                <a:gd name="T7" fmla="*/ 36 h 41"/>
                <a:gd name="T8" fmla="*/ 16 w 18"/>
                <a:gd name="T9" fmla="*/ 40 h 41"/>
                <a:gd name="T10" fmla="*/ 17 w 18"/>
                <a:gd name="T11" fmla="*/ 38 h 41"/>
                <a:gd name="T12" fmla="*/ 15 w 18"/>
                <a:gd name="T13" fmla="*/ 34 h 41"/>
                <a:gd name="T14" fmla="*/ 13 w 18"/>
                <a:gd name="T15" fmla="*/ 27 h 41"/>
                <a:gd name="T16" fmla="*/ 9 w 18"/>
                <a:gd name="T17" fmla="*/ 17 h 41"/>
                <a:gd name="T18" fmla="*/ 7 w 18"/>
                <a:gd name="T19" fmla="*/ 9 h 41"/>
                <a:gd name="T20" fmla="*/ 2 w 18"/>
                <a:gd name="T21" fmla="*/ 3 h 41"/>
                <a:gd name="T22" fmla="*/ 4 w 18"/>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1">
                  <a:moveTo>
                    <a:pt x="4" y="15"/>
                  </a:moveTo>
                  <a:cubicBezTo>
                    <a:pt x="4" y="19"/>
                    <a:pt x="5" y="23"/>
                    <a:pt x="6" y="24"/>
                  </a:cubicBezTo>
                  <a:cubicBezTo>
                    <a:pt x="7" y="26"/>
                    <a:pt x="8" y="28"/>
                    <a:pt x="9" y="30"/>
                  </a:cubicBezTo>
                  <a:cubicBezTo>
                    <a:pt x="9" y="32"/>
                    <a:pt x="7" y="32"/>
                    <a:pt x="10" y="36"/>
                  </a:cubicBezTo>
                  <a:cubicBezTo>
                    <a:pt x="13" y="39"/>
                    <a:pt x="14" y="40"/>
                    <a:pt x="16" y="40"/>
                  </a:cubicBezTo>
                  <a:cubicBezTo>
                    <a:pt x="17" y="40"/>
                    <a:pt x="18" y="41"/>
                    <a:pt x="17" y="38"/>
                  </a:cubicBezTo>
                  <a:cubicBezTo>
                    <a:pt x="16" y="36"/>
                    <a:pt x="17" y="37"/>
                    <a:pt x="15" y="34"/>
                  </a:cubicBezTo>
                  <a:cubicBezTo>
                    <a:pt x="14" y="30"/>
                    <a:pt x="14" y="32"/>
                    <a:pt x="13" y="27"/>
                  </a:cubicBezTo>
                  <a:cubicBezTo>
                    <a:pt x="12" y="22"/>
                    <a:pt x="11" y="21"/>
                    <a:pt x="9" y="17"/>
                  </a:cubicBezTo>
                  <a:cubicBezTo>
                    <a:pt x="7" y="13"/>
                    <a:pt x="7" y="13"/>
                    <a:pt x="7" y="9"/>
                  </a:cubicBezTo>
                  <a:cubicBezTo>
                    <a:pt x="5" y="2"/>
                    <a:pt x="0" y="0"/>
                    <a:pt x="2" y="3"/>
                  </a:cubicBezTo>
                  <a:cubicBezTo>
                    <a:pt x="4" y="7"/>
                    <a:pt x="4" y="15"/>
                    <a:pt x="4" y="1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45" name="Freeform 833">
              <a:extLst>
                <a:ext uri="{FF2B5EF4-FFF2-40B4-BE49-F238E27FC236}">
                  <a16:creationId xmlns:a16="http://schemas.microsoft.com/office/drawing/2014/main" id="{564F83DB-2BCC-BF4A-8F45-9F64D51D8507}"/>
                </a:ext>
              </a:extLst>
            </p:cNvPr>
            <p:cNvSpPr>
              <a:spLocks/>
            </p:cNvSpPr>
            <p:nvPr/>
          </p:nvSpPr>
          <p:spPr bwMode="auto">
            <a:xfrm>
              <a:off x="6488133" y="2634120"/>
              <a:ext cx="22225" cy="9525"/>
            </a:xfrm>
            <a:custGeom>
              <a:avLst/>
              <a:gdLst>
                <a:gd name="T0" fmla="*/ 12 w 23"/>
                <a:gd name="T1" fmla="*/ 2 h 10"/>
                <a:gd name="T2" fmla="*/ 8 w 23"/>
                <a:gd name="T3" fmla="*/ 1 h 10"/>
                <a:gd name="T4" fmla="*/ 4 w 23"/>
                <a:gd name="T5" fmla="*/ 1 h 10"/>
                <a:gd name="T6" fmla="*/ 1 w 23"/>
                <a:gd name="T7" fmla="*/ 3 h 10"/>
                <a:gd name="T8" fmla="*/ 5 w 23"/>
                <a:gd name="T9" fmla="*/ 7 h 10"/>
                <a:gd name="T10" fmla="*/ 15 w 23"/>
                <a:gd name="T11" fmla="*/ 10 h 10"/>
                <a:gd name="T12" fmla="*/ 20 w 23"/>
                <a:gd name="T13" fmla="*/ 8 h 10"/>
                <a:gd name="T14" fmla="*/ 19 w 23"/>
                <a:gd name="T15" fmla="*/ 3 h 10"/>
                <a:gd name="T16" fmla="*/ 21 w 23"/>
                <a:gd name="T17" fmla="*/ 0 h 10"/>
                <a:gd name="T18" fmla="*/ 12 w 2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10">
                  <a:moveTo>
                    <a:pt x="12" y="2"/>
                  </a:moveTo>
                  <a:cubicBezTo>
                    <a:pt x="10" y="2"/>
                    <a:pt x="9" y="1"/>
                    <a:pt x="8" y="1"/>
                  </a:cubicBezTo>
                  <a:cubicBezTo>
                    <a:pt x="7" y="1"/>
                    <a:pt x="5" y="0"/>
                    <a:pt x="4" y="1"/>
                  </a:cubicBezTo>
                  <a:cubicBezTo>
                    <a:pt x="3" y="1"/>
                    <a:pt x="0" y="1"/>
                    <a:pt x="1" y="3"/>
                  </a:cubicBezTo>
                  <a:cubicBezTo>
                    <a:pt x="1" y="4"/>
                    <a:pt x="1" y="6"/>
                    <a:pt x="5" y="7"/>
                  </a:cubicBezTo>
                  <a:cubicBezTo>
                    <a:pt x="8" y="9"/>
                    <a:pt x="11" y="10"/>
                    <a:pt x="15" y="10"/>
                  </a:cubicBezTo>
                  <a:cubicBezTo>
                    <a:pt x="18" y="10"/>
                    <a:pt x="21" y="10"/>
                    <a:pt x="20" y="8"/>
                  </a:cubicBezTo>
                  <a:cubicBezTo>
                    <a:pt x="20" y="6"/>
                    <a:pt x="18" y="4"/>
                    <a:pt x="19" y="3"/>
                  </a:cubicBezTo>
                  <a:cubicBezTo>
                    <a:pt x="20" y="2"/>
                    <a:pt x="23" y="1"/>
                    <a:pt x="21" y="0"/>
                  </a:cubicBezTo>
                  <a:cubicBezTo>
                    <a:pt x="19" y="0"/>
                    <a:pt x="15" y="0"/>
                    <a:pt x="12"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46" name="Freeform 834">
              <a:extLst>
                <a:ext uri="{FF2B5EF4-FFF2-40B4-BE49-F238E27FC236}">
                  <a16:creationId xmlns:a16="http://schemas.microsoft.com/office/drawing/2014/main" id="{F58C6D7E-11EC-634D-9B2C-CC942A52B832}"/>
                </a:ext>
              </a:extLst>
            </p:cNvPr>
            <p:cNvSpPr>
              <a:spLocks/>
            </p:cNvSpPr>
            <p:nvPr/>
          </p:nvSpPr>
          <p:spPr bwMode="auto">
            <a:xfrm>
              <a:off x="2054232" y="2046744"/>
              <a:ext cx="246063" cy="93663"/>
            </a:xfrm>
            <a:custGeom>
              <a:avLst/>
              <a:gdLst>
                <a:gd name="T0" fmla="*/ 0 w 259"/>
                <a:gd name="T1" fmla="*/ 39 h 99"/>
                <a:gd name="T2" fmla="*/ 8 w 259"/>
                <a:gd name="T3" fmla="*/ 35 h 99"/>
                <a:gd name="T4" fmla="*/ 13 w 259"/>
                <a:gd name="T5" fmla="*/ 31 h 99"/>
                <a:gd name="T6" fmla="*/ 22 w 259"/>
                <a:gd name="T7" fmla="*/ 18 h 99"/>
                <a:gd name="T8" fmla="*/ 32 w 259"/>
                <a:gd name="T9" fmla="*/ 13 h 99"/>
                <a:gd name="T10" fmla="*/ 52 w 259"/>
                <a:gd name="T11" fmla="*/ 6 h 99"/>
                <a:gd name="T12" fmla="*/ 67 w 259"/>
                <a:gd name="T13" fmla="*/ 2 h 99"/>
                <a:gd name="T14" fmla="*/ 83 w 259"/>
                <a:gd name="T15" fmla="*/ 2 h 99"/>
                <a:gd name="T16" fmla="*/ 95 w 259"/>
                <a:gd name="T17" fmla="*/ 3 h 99"/>
                <a:gd name="T18" fmla="*/ 105 w 259"/>
                <a:gd name="T19" fmla="*/ 5 h 99"/>
                <a:gd name="T20" fmla="*/ 128 w 259"/>
                <a:gd name="T21" fmla="*/ 13 h 99"/>
                <a:gd name="T22" fmla="*/ 140 w 259"/>
                <a:gd name="T23" fmla="*/ 23 h 99"/>
                <a:gd name="T24" fmla="*/ 154 w 259"/>
                <a:gd name="T25" fmla="*/ 27 h 99"/>
                <a:gd name="T26" fmla="*/ 169 w 259"/>
                <a:gd name="T27" fmla="*/ 33 h 99"/>
                <a:gd name="T28" fmla="*/ 177 w 259"/>
                <a:gd name="T29" fmla="*/ 34 h 99"/>
                <a:gd name="T30" fmla="*/ 177 w 259"/>
                <a:gd name="T31" fmla="*/ 42 h 99"/>
                <a:gd name="T32" fmla="*/ 191 w 259"/>
                <a:gd name="T33" fmla="*/ 47 h 99"/>
                <a:gd name="T34" fmla="*/ 199 w 259"/>
                <a:gd name="T35" fmla="*/ 54 h 99"/>
                <a:gd name="T36" fmla="*/ 211 w 259"/>
                <a:gd name="T37" fmla="*/ 57 h 99"/>
                <a:gd name="T38" fmla="*/ 223 w 259"/>
                <a:gd name="T39" fmla="*/ 63 h 99"/>
                <a:gd name="T40" fmla="*/ 234 w 259"/>
                <a:gd name="T41" fmla="*/ 73 h 99"/>
                <a:gd name="T42" fmla="*/ 247 w 259"/>
                <a:gd name="T43" fmla="*/ 80 h 99"/>
                <a:gd name="T44" fmla="*/ 257 w 259"/>
                <a:gd name="T45" fmla="*/ 86 h 99"/>
                <a:gd name="T46" fmla="*/ 248 w 259"/>
                <a:gd name="T47" fmla="*/ 91 h 99"/>
                <a:gd name="T48" fmla="*/ 230 w 259"/>
                <a:gd name="T49" fmla="*/ 92 h 99"/>
                <a:gd name="T50" fmla="*/ 224 w 259"/>
                <a:gd name="T51" fmla="*/ 96 h 99"/>
                <a:gd name="T52" fmla="*/ 210 w 259"/>
                <a:gd name="T53" fmla="*/ 93 h 99"/>
                <a:gd name="T54" fmla="*/ 192 w 259"/>
                <a:gd name="T55" fmla="*/ 95 h 99"/>
                <a:gd name="T56" fmla="*/ 167 w 259"/>
                <a:gd name="T57" fmla="*/ 93 h 99"/>
                <a:gd name="T58" fmla="*/ 181 w 259"/>
                <a:gd name="T59" fmla="*/ 81 h 99"/>
                <a:gd name="T60" fmla="*/ 179 w 259"/>
                <a:gd name="T61" fmla="*/ 74 h 99"/>
                <a:gd name="T62" fmla="*/ 160 w 259"/>
                <a:gd name="T63" fmla="*/ 71 h 99"/>
                <a:gd name="T64" fmla="*/ 153 w 259"/>
                <a:gd name="T65" fmla="*/ 62 h 99"/>
                <a:gd name="T66" fmla="*/ 150 w 259"/>
                <a:gd name="T67" fmla="*/ 49 h 99"/>
                <a:gd name="T68" fmla="*/ 136 w 259"/>
                <a:gd name="T69" fmla="*/ 49 h 99"/>
                <a:gd name="T70" fmla="*/ 126 w 259"/>
                <a:gd name="T71" fmla="*/ 46 h 99"/>
                <a:gd name="T72" fmla="*/ 114 w 259"/>
                <a:gd name="T73" fmla="*/ 38 h 99"/>
                <a:gd name="T74" fmla="*/ 99 w 259"/>
                <a:gd name="T75" fmla="*/ 34 h 99"/>
                <a:gd name="T76" fmla="*/ 90 w 259"/>
                <a:gd name="T77" fmla="*/ 34 h 99"/>
                <a:gd name="T78" fmla="*/ 77 w 259"/>
                <a:gd name="T79" fmla="*/ 32 h 99"/>
                <a:gd name="T80" fmla="*/ 70 w 259"/>
                <a:gd name="T81" fmla="*/ 26 h 99"/>
                <a:gd name="T82" fmla="*/ 81 w 259"/>
                <a:gd name="T83" fmla="*/ 23 h 99"/>
                <a:gd name="T84" fmla="*/ 74 w 259"/>
                <a:gd name="T85" fmla="*/ 17 h 99"/>
                <a:gd name="T86" fmla="*/ 57 w 259"/>
                <a:gd name="T87" fmla="*/ 16 h 99"/>
                <a:gd name="T88" fmla="*/ 44 w 259"/>
                <a:gd name="T89" fmla="*/ 23 h 99"/>
                <a:gd name="T90" fmla="*/ 33 w 259"/>
                <a:gd name="T91" fmla="*/ 30 h 99"/>
                <a:gd name="T92" fmla="*/ 23 w 259"/>
                <a:gd name="T93" fmla="*/ 35 h 99"/>
                <a:gd name="T94" fmla="*/ 12 w 259"/>
                <a:gd name="T95" fmla="*/ 41 h 99"/>
                <a:gd name="T96" fmla="*/ 0 w 259"/>
                <a:gd name="T97" fmla="*/ 3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99">
                  <a:moveTo>
                    <a:pt x="0" y="39"/>
                  </a:moveTo>
                  <a:cubicBezTo>
                    <a:pt x="1" y="36"/>
                    <a:pt x="3" y="33"/>
                    <a:pt x="8" y="35"/>
                  </a:cubicBezTo>
                  <a:cubicBezTo>
                    <a:pt x="13" y="36"/>
                    <a:pt x="13" y="36"/>
                    <a:pt x="13" y="31"/>
                  </a:cubicBezTo>
                  <a:cubicBezTo>
                    <a:pt x="13" y="25"/>
                    <a:pt x="18" y="21"/>
                    <a:pt x="22" y="18"/>
                  </a:cubicBezTo>
                  <a:cubicBezTo>
                    <a:pt x="26" y="15"/>
                    <a:pt x="20" y="15"/>
                    <a:pt x="32" y="13"/>
                  </a:cubicBezTo>
                  <a:cubicBezTo>
                    <a:pt x="43" y="10"/>
                    <a:pt x="44" y="7"/>
                    <a:pt x="52" y="6"/>
                  </a:cubicBezTo>
                  <a:cubicBezTo>
                    <a:pt x="61" y="5"/>
                    <a:pt x="64" y="2"/>
                    <a:pt x="67" y="2"/>
                  </a:cubicBezTo>
                  <a:cubicBezTo>
                    <a:pt x="70" y="2"/>
                    <a:pt x="76" y="0"/>
                    <a:pt x="83" y="2"/>
                  </a:cubicBezTo>
                  <a:cubicBezTo>
                    <a:pt x="89" y="4"/>
                    <a:pt x="91" y="1"/>
                    <a:pt x="95" y="3"/>
                  </a:cubicBezTo>
                  <a:cubicBezTo>
                    <a:pt x="99" y="5"/>
                    <a:pt x="97" y="3"/>
                    <a:pt x="105" y="5"/>
                  </a:cubicBezTo>
                  <a:cubicBezTo>
                    <a:pt x="113" y="6"/>
                    <a:pt x="127" y="12"/>
                    <a:pt x="128" y="13"/>
                  </a:cubicBezTo>
                  <a:cubicBezTo>
                    <a:pt x="130" y="14"/>
                    <a:pt x="135" y="23"/>
                    <a:pt x="140" y="23"/>
                  </a:cubicBezTo>
                  <a:cubicBezTo>
                    <a:pt x="145" y="23"/>
                    <a:pt x="151" y="25"/>
                    <a:pt x="154" y="27"/>
                  </a:cubicBezTo>
                  <a:cubicBezTo>
                    <a:pt x="158" y="29"/>
                    <a:pt x="166" y="36"/>
                    <a:pt x="169" y="33"/>
                  </a:cubicBezTo>
                  <a:cubicBezTo>
                    <a:pt x="172" y="31"/>
                    <a:pt x="178" y="30"/>
                    <a:pt x="177" y="34"/>
                  </a:cubicBezTo>
                  <a:cubicBezTo>
                    <a:pt x="176" y="39"/>
                    <a:pt x="169" y="40"/>
                    <a:pt x="177" y="42"/>
                  </a:cubicBezTo>
                  <a:cubicBezTo>
                    <a:pt x="186" y="44"/>
                    <a:pt x="189" y="43"/>
                    <a:pt x="191" y="47"/>
                  </a:cubicBezTo>
                  <a:cubicBezTo>
                    <a:pt x="193" y="51"/>
                    <a:pt x="194" y="50"/>
                    <a:pt x="199" y="54"/>
                  </a:cubicBezTo>
                  <a:cubicBezTo>
                    <a:pt x="204" y="57"/>
                    <a:pt x="208" y="55"/>
                    <a:pt x="211" y="57"/>
                  </a:cubicBezTo>
                  <a:cubicBezTo>
                    <a:pt x="213" y="60"/>
                    <a:pt x="222" y="58"/>
                    <a:pt x="223" y="63"/>
                  </a:cubicBezTo>
                  <a:cubicBezTo>
                    <a:pt x="224" y="68"/>
                    <a:pt x="226" y="72"/>
                    <a:pt x="234" y="73"/>
                  </a:cubicBezTo>
                  <a:cubicBezTo>
                    <a:pt x="241" y="73"/>
                    <a:pt x="241" y="78"/>
                    <a:pt x="247" y="80"/>
                  </a:cubicBezTo>
                  <a:cubicBezTo>
                    <a:pt x="253" y="82"/>
                    <a:pt x="259" y="83"/>
                    <a:pt x="257" y="86"/>
                  </a:cubicBezTo>
                  <a:cubicBezTo>
                    <a:pt x="256" y="89"/>
                    <a:pt x="251" y="89"/>
                    <a:pt x="248" y="91"/>
                  </a:cubicBezTo>
                  <a:cubicBezTo>
                    <a:pt x="245" y="93"/>
                    <a:pt x="232" y="91"/>
                    <a:pt x="230" y="92"/>
                  </a:cubicBezTo>
                  <a:cubicBezTo>
                    <a:pt x="229" y="94"/>
                    <a:pt x="231" y="99"/>
                    <a:pt x="224" y="96"/>
                  </a:cubicBezTo>
                  <a:cubicBezTo>
                    <a:pt x="218" y="93"/>
                    <a:pt x="214" y="91"/>
                    <a:pt x="210" y="93"/>
                  </a:cubicBezTo>
                  <a:cubicBezTo>
                    <a:pt x="205" y="94"/>
                    <a:pt x="194" y="94"/>
                    <a:pt x="192" y="95"/>
                  </a:cubicBezTo>
                  <a:cubicBezTo>
                    <a:pt x="190" y="97"/>
                    <a:pt x="160" y="98"/>
                    <a:pt x="167" y="93"/>
                  </a:cubicBezTo>
                  <a:cubicBezTo>
                    <a:pt x="175" y="88"/>
                    <a:pt x="180" y="85"/>
                    <a:pt x="181" y="81"/>
                  </a:cubicBezTo>
                  <a:cubicBezTo>
                    <a:pt x="182" y="78"/>
                    <a:pt x="188" y="75"/>
                    <a:pt x="179" y="74"/>
                  </a:cubicBezTo>
                  <a:cubicBezTo>
                    <a:pt x="171" y="73"/>
                    <a:pt x="164" y="73"/>
                    <a:pt x="160" y="71"/>
                  </a:cubicBezTo>
                  <a:cubicBezTo>
                    <a:pt x="156" y="68"/>
                    <a:pt x="153" y="68"/>
                    <a:pt x="153" y="62"/>
                  </a:cubicBezTo>
                  <a:cubicBezTo>
                    <a:pt x="153" y="55"/>
                    <a:pt x="155" y="50"/>
                    <a:pt x="150" y="49"/>
                  </a:cubicBezTo>
                  <a:cubicBezTo>
                    <a:pt x="146" y="48"/>
                    <a:pt x="139" y="50"/>
                    <a:pt x="136" y="49"/>
                  </a:cubicBezTo>
                  <a:cubicBezTo>
                    <a:pt x="132" y="48"/>
                    <a:pt x="135" y="52"/>
                    <a:pt x="126" y="46"/>
                  </a:cubicBezTo>
                  <a:cubicBezTo>
                    <a:pt x="117" y="39"/>
                    <a:pt x="120" y="41"/>
                    <a:pt x="114" y="38"/>
                  </a:cubicBezTo>
                  <a:cubicBezTo>
                    <a:pt x="107" y="35"/>
                    <a:pt x="99" y="34"/>
                    <a:pt x="99" y="34"/>
                  </a:cubicBezTo>
                  <a:cubicBezTo>
                    <a:pt x="98" y="35"/>
                    <a:pt x="94" y="34"/>
                    <a:pt x="90" y="34"/>
                  </a:cubicBezTo>
                  <a:cubicBezTo>
                    <a:pt x="85" y="34"/>
                    <a:pt x="80" y="32"/>
                    <a:pt x="77" y="32"/>
                  </a:cubicBezTo>
                  <a:cubicBezTo>
                    <a:pt x="75" y="31"/>
                    <a:pt x="65" y="28"/>
                    <a:pt x="70" y="26"/>
                  </a:cubicBezTo>
                  <a:cubicBezTo>
                    <a:pt x="75" y="24"/>
                    <a:pt x="81" y="26"/>
                    <a:pt x="81" y="23"/>
                  </a:cubicBezTo>
                  <a:cubicBezTo>
                    <a:pt x="81" y="20"/>
                    <a:pt x="80" y="17"/>
                    <a:pt x="74" y="17"/>
                  </a:cubicBezTo>
                  <a:cubicBezTo>
                    <a:pt x="68" y="16"/>
                    <a:pt x="59" y="14"/>
                    <a:pt x="57" y="16"/>
                  </a:cubicBezTo>
                  <a:cubicBezTo>
                    <a:pt x="54" y="19"/>
                    <a:pt x="47" y="20"/>
                    <a:pt x="44" y="23"/>
                  </a:cubicBezTo>
                  <a:cubicBezTo>
                    <a:pt x="41" y="26"/>
                    <a:pt x="35" y="27"/>
                    <a:pt x="33" y="30"/>
                  </a:cubicBezTo>
                  <a:cubicBezTo>
                    <a:pt x="31" y="33"/>
                    <a:pt x="25" y="32"/>
                    <a:pt x="23" y="35"/>
                  </a:cubicBezTo>
                  <a:cubicBezTo>
                    <a:pt x="21" y="38"/>
                    <a:pt x="16" y="43"/>
                    <a:pt x="12" y="41"/>
                  </a:cubicBezTo>
                  <a:cubicBezTo>
                    <a:pt x="8" y="40"/>
                    <a:pt x="1" y="43"/>
                    <a:pt x="0" y="3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47" name="Freeform 835">
              <a:extLst>
                <a:ext uri="{FF2B5EF4-FFF2-40B4-BE49-F238E27FC236}">
                  <a16:creationId xmlns:a16="http://schemas.microsoft.com/office/drawing/2014/main" id="{6FC75159-E519-7244-AE0F-6CFBA9760F18}"/>
                </a:ext>
              </a:extLst>
            </p:cNvPr>
            <p:cNvSpPr>
              <a:spLocks/>
            </p:cNvSpPr>
            <p:nvPr/>
          </p:nvSpPr>
          <p:spPr bwMode="auto">
            <a:xfrm>
              <a:off x="2190757" y="2172157"/>
              <a:ext cx="53975" cy="23813"/>
            </a:xfrm>
            <a:custGeom>
              <a:avLst/>
              <a:gdLst>
                <a:gd name="T0" fmla="*/ 2 w 56"/>
                <a:gd name="T1" fmla="*/ 8 h 25"/>
                <a:gd name="T2" fmla="*/ 7 w 56"/>
                <a:gd name="T3" fmla="*/ 3 h 25"/>
                <a:gd name="T4" fmla="*/ 12 w 56"/>
                <a:gd name="T5" fmla="*/ 1 h 25"/>
                <a:gd name="T6" fmla="*/ 23 w 56"/>
                <a:gd name="T7" fmla="*/ 1 h 25"/>
                <a:gd name="T8" fmla="*/ 29 w 56"/>
                <a:gd name="T9" fmla="*/ 3 h 25"/>
                <a:gd name="T10" fmla="*/ 35 w 56"/>
                <a:gd name="T11" fmla="*/ 4 h 25"/>
                <a:gd name="T12" fmla="*/ 41 w 56"/>
                <a:gd name="T13" fmla="*/ 7 h 25"/>
                <a:gd name="T14" fmla="*/ 47 w 56"/>
                <a:gd name="T15" fmla="*/ 10 h 25"/>
                <a:gd name="T16" fmla="*/ 53 w 56"/>
                <a:gd name="T17" fmla="*/ 13 h 25"/>
                <a:gd name="T18" fmla="*/ 54 w 56"/>
                <a:gd name="T19" fmla="*/ 19 h 25"/>
                <a:gd name="T20" fmla="*/ 48 w 56"/>
                <a:gd name="T21" fmla="*/ 20 h 25"/>
                <a:gd name="T22" fmla="*/ 42 w 56"/>
                <a:gd name="T23" fmla="*/ 19 h 25"/>
                <a:gd name="T24" fmla="*/ 36 w 56"/>
                <a:gd name="T25" fmla="*/ 18 h 25"/>
                <a:gd name="T26" fmla="*/ 31 w 56"/>
                <a:gd name="T27" fmla="*/ 22 h 25"/>
                <a:gd name="T28" fmla="*/ 26 w 56"/>
                <a:gd name="T29" fmla="*/ 23 h 25"/>
                <a:gd name="T30" fmla="*/ 21 w 56"/>
                <a:gd name="T31" fmla="*/ 20 h 25"/>
                <a:gd name="T32" fmla="*/ 16 w 56"/>
                <a:gd name="T33" fmla="*/ 19 h 25"/>
                <a:gd name="T34" fmla="*/ 10 w 56"/>
                <a:gd name="T35" fmla="*/ 15 h 25"/>
                <a:gd name="T36" fmla="*/ 6 w 56"/>
                <a:gd name="T37" fmla="*/ 11 h 25"/>
                <a:gd name="T38" fmla="*/ 2 w 56"/>
                <a:gd name="T39"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25">
                  <a:moveTo>
                    <a:pt x="2" y="8"/>
                  </a:moveTo>
                  <a:cubicBezTo>
                    <a:pt x="4" y="6"/>
                    <a:pt x="4" y="4"/>
                    <a:pt x="7" y="3"/>
                  </a:cubicBezTo>
                  <a:cubicBezTo>
                    <a:pt x="9" y="3"/>
                    <a:pt x="9" y="1"/>
                    <a:pt x="12" y="1"/>
                  </a:cubicBezTo>
                  <a:cubicBezTo>
                    <a:pt x="15" y="2"/>
                    <a:pt x="20" y="0"/>
                    <a:pt x="23" y="1"/>
                  </a:cubicBezTo>
                  <a:cubicBezTo>
                    <a:pt x="26" y="2"/>
                    <a:pt x="26" y="1"/>
                    <a:pt x="29" y="3"/>
                  </a:cubicBezTo>
                  <a:cubicBezTo>
                    <a:pt x="32" y="4"/>
                    <a:pt x="31" y="3"/>
                    <a:pt x="35" y="4"/>
                  </a:cubicBezTo>
                  <a:cubicBezTo>
                    <a:pt x="39" y="6"/>
                    <a:pt x="37" y="5"/>
                    <a:pt x="41" y="7"/>
                  </a:cubicBezTo>
                  <a:cubicBezTo>
                    <a:pt x="44" y="9"/>
                    <a:pt x="45" y="8"/>
                    <a:pt x="47" y="10"/>
                  </a:cubicBezTo>
                  <a:cubicBezTo>
                    <a:pt x="49" y="11"/>
                    <a:pt x="51" y="11"/>
                    <a:pt x="53" y="13"/>
                  </a:cubicBezTo>
                  <a:cubicBezTo>
                    <a:pt x="54" y="15"/>
                    <a:pt x="56" y="17"/>
                    <a:pt x="54" y="19"/>
                  </a:cubicBezTo>
                  <a:cubicBezTo>
                    <a:pt x="52" y="20"/>
                    <a:pt x="53" y="21"/>
                    <a:pt x="48" y="20"/>
                  </a:cubicBezTo>
                  <a:cubicBezTo>
                    <a:pt x="44" y="20"/>
                    <a:pt x="43" y="20"/>
                    <a:pt x="42" y="19"/>
                  </a:cubicBezTo>
                  <a:cubicBezTo>
                    <a:pt x="40" y="17"/>
                    <a:pt x="37" y="17"/>
                    <a:pt x="36" y="18"/>
                  </a:cubicBezTo>
                  <a:cubicBezTo>
                    <a:pt x="35" y="19"/>
                    <a:pt x="33" y="19"/>
                    <a:pt x="31" y="22"/>
                  </a:cubicBezTo>
                  <a:cubicBezTo>
                    <a:pt x="29" y="24"/>
                    <a:pt x="29" y="25"/>
                    <a:pt x="26" y="23"/>
                  </a:cubicBezTo>
                  <a:cubicBezTo>
                    <a:pt x="23" y="21"/>
                    <a:pt x="22" y="19"/>
                    <a:pt x="21" y="20"/>
                  </a:cubicBezTo>
                  <a:cubicBezTo>
                    <a:pt x="20" y="20"/>
                    <a:pt x="21" y="22"/>
                    <a:pt x="16" y="19"/>
                  </a:cubicBezTo>
                  <a:cubicBezTo>
                    <a:pt x="11" y="17"/>
                    <a:pt x="11" y="16"/>
                    <a:pt x="10" y="15"/>
                  </a:cubicBezTo>
                  <a:cubicBezTo>
                    <a:pt x="9" y="13"/>
                    <a:pt x="8" y="11"/>
                    <a:pt x="6" y="11"/>
                  </a:cubicBezTo>
                  <a:cubicBezTo>
                    <a:pt x="4" y="11"/>
                    <a:pt x="0" y="10"/>
                    <a:pt x="2" y="8"/>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48" name="Freeform 836">
              <a:extLst>
                <a:ext uri="{FF2B5EF4-FFF2-40B4-BE49-F238E27FC236}">
                  <a16:creationId xmlns:a16="http://schemas.microsoft.com/office/drawing/2014/main" id="{4209CD27-EB29-FC47-B304-469B9068CD7E}"/>
                </a:ext>
              </a:extLst>
            </p:cNvPr>
            <p:cNvSpPr>
              <a:spLocks/>
            </p:cNvSpPr>
            <p:nvPr/>
          </p:nvSpPr>
          <p:spPr bwMode="auto">
            <a:xfrm>
              <a:off x="2281245" y="2130882"/>
              <a:ext cx="150813" cy="69850"/>
            </a:xfrm>
            <a:custGeom>
              <a:avLst/>
              <a:gdLst>
                <a:gd name="T0" fmla="*/ 7 w 158"/>
                <a:gd name="T1" fmla="*/ 41 h 73"/>
                <a:gd name="T2" fmla="*/ 13 w 158"/>
                <a:gd name="T3" fmla="*/ 41 h 73"/>
                <a:gd name="T4" fmla="*/ 22 w 158"/>
                <a:gd name="T5" fmla="*/ 44 h 73"/>
                <a:gd name="T6" fmla="*/ 33 w 158"/>
                <a:gd name="T7" fmla="*/ 45 h 73"/>
                <a:gd name="T8" fmla="*/ 44 w 158"/>
                <a:gd name="T9" fmla="*/ 45 h 73"/>
                <a:gd name="T10" fmla="*/ 52 w 158"/>
                <a:gd name="T11" fmla="*/ 42 h 73"/>
                <a:gd name="T12" fmla="*/ 56 w 158"/>
                <a:gd name="T13" fmla="*/ 40 h 73"/>
                <a:gd name="T14" fmla="*/ 48 w 158"/>
                <a:gd name="T15" fmla="*/ 31 h 73"/>
                <a:gd name="T16" fmla="*/ 47 w 158"/>
                <a:gd name="T17" fmla="*/ 17 h 73"/>
                <a:gd name="T18" fmla="*/ 34 w 158"/>
                <a:gd name="T19" fmla="*/ 10 h 73"/>
                <a:gd name="T20" fmla="*/ 42 w 158"/>
                <a:gd name="T21" fmla="*/ 5 h 73"/>
                <a:gd name="T22" fmla="*/ 52 w 158"/>
                <a:gd name="T23" fmla="*/ 3 h 73"/>
                <a:gd name="T24" fmla="*/ 65 w 158"/>
                <a:gd name="T25" fmla="*/ 8 h 73"/>
                <a:gd name="T26" fmla="*/ 73 w 158"/>
                <a:gd name="T27" fmla="*/ 8 h 73"/>
                <a:gd name="T28" fmla="*/ 80 w 158"/>
                <a:gd name="T29" fmla="*/ 5 h 73"/>
                <a:gd name="T30" fmla="*/ 92 w 158"/>
                <a:gd name="T31" fmla="*/ 5 h 73"/>
                <a:gd name="T32" fmla="*/ 105 w 158"/>
                <a:gd name="T33" fmla="*/ 8 h 73"/>
                <a:gd name="T34" fmla="*/ 119 w 158"/>
                <a:gd name="T35" fmla="*/ 14 h 73"/>
                <a:gd name="T36" fmla="*/ 123 w 158"/>
                <a:gd name="T37" fmla="*/ 22 h 73"/>
                <a:gd name="T38" fmla="*/ 135 w 158"/>
                <a:gd name="T39" fmla="*/ 20 h 73"/>
                <a:gd name="T40" fmla="*/ 137 w 158"/>
                <a:gd name="T41" fmla="*/ 25 h 73"/>
                <a:gd name="T42" fmla="*/ 130 w 158"/>
                <a:gd name="T43" fmla="*/ 30 h 73"/>
                <a:gd name="T44" fmla="*/ 147 w 158"/>
                <a:gd name="T45" fmla="*/ 31 h 73"/>
                <a:gd name="T46" fmla="*/ 155 w 158"/>
                <a:gd name="T47" fmla="*/ 41 h 73"/>
                <a:gd name="T48" fmla="*/ 146 w 158"/>
                <a:gd name="T49" fmla="*/ 51 h 73"/>
                <a:gd name="T50" fmla="*/ 134 w 158"/>
                <a:gd name="T51" fmla="*/ 47 h 73"/>
                <a:gd name="T52" fmla="*/ 117 w 158"/>
                <a:gd name="T53" fmla="*/ 46 h 73"/>
                <a:gd name="T54" fmla="*/ 110 w 158"/>
                <a:gd name="T55" fmla="*/ 53 h 73"/>
                <a:gd name="T56" fmla="*/ 96 w 158"/>
                <a:gd name="T57" fmla="*/ 48 h 73"/>
                <a:gd name="T58" fmla="*/ 89 w 158"/>
                <a:gd name="T59" fmla="*/ 51 h 73"/>
                <a:gd name="T60" fmla="*/ 82 w 158"/>
                <a:gd name="T61" fmla="*/ 61 h 73"/>
                <a:gd name="T62" fmla="*/ 76 w 158"/>
                <a:gd name="T63" fmla="*/ 68 h 73"/>
                <a:gd name="T64" fmla="*/ 69 w 158"/>
                <a:gd name="T65" fmla="*/ 65 h 73"/>
                <a:gd name="T66" fmla="*/ 61 w 158"/>
                <a:gd name="T67" fmla="*/ 54 h 73"/>
                <a:gd name="T68" fmla="*/ 50 w 158"/>
                <a:gd name="T69" fmla="*/ 53 h 73"/>
                <a:gd name="T70" fmla="*/ 40 w 158"/>
                <a:gd name="T71" fmla="*/ 55 h 73"/>
                <a:gd name="T72" fmla="*/ 29 w 158"/>
                <a:gd name="T73" fmla="*/ 51 h 73"/>
                <a:gd name="T74" fmla="*/ 20 w 158"/>
                <a:gd name="T75" fmla="*/ 53 h 73"/>
                <a:gd name="T76" fmla="*/ 17 w 158"/>
                <a:gd name="T77" fmla="*/ 58 h 73"/>
                <a:gd name="T78" fmla="*/ 9 w 158"/>
                <a:gd name="T79" fmla="*/ 53 h 73"/>
                <a:gd name="T80" fmla="*/ 2 w 158"/>
                <a:gd name="T81" fmla="*/ 45 h 73"/>
                <a:gd name="T82" fmla="*/ 7 w 158"/>
                <a:gd name="T83" fmla="*/ 4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8" h="73">
                  <a:moveTo>
                    <a:pt x="7" y="41"/>
                  </a:moveTo>
                  <a:cubicBezTo>
                    <a:pt x="9" y="42"/>
                    <a:pt x="10" y="39"/>
                    <a:pt x="13" y="41"/>
                  </a:cubicBezTo>
                  <a:cubicBezTo>
                    <a:pt x="16" y="43"/>
                    <a:pt x="15" y="42"/>
                    <a:pt x="22" y="44"/>
                  </a:cubicBezTo>
                  <a:cubicBezTo>
                    <a:pt x="29" y="45"/>
                    <a:pt x="26" y="43"/>
                    <a:pt x="33" y="45"/>
                  </a:cubicBezTo>
                  <a:cubicBezTo>
                    <a:pt x="41" y="47"/>
                    <a:pt x="38" y="48"/>
                    <a:pt x="44" y="45"/>
                  </a:cubicBezTo>
                  <a:cubicBezTo>
                    <a:pt x="51" y="42"/>
                    <a:pt x="48" y="42"/>
                    <a:pt x="52" y="42"/>
                  </a:cubicBezTo>
                  <a:cubicBezTo>
                    <a:pt x="55" y="42"/>
                    <a:pt x="61" y="44"/>
                    <a:pt x="56" y="40"/>
                  </a:cubicBezTo>
                  <a:cubicBezTo>
                    <a:pt x="51" y="35"/>
                    <a:pt x="48" y="37"/>
                    <a:pt x="48" y="31"/>
                  </a:cubicBezTo>
                  <a:cubicBezTo>
                    <a:pt x="47" y="25"/>
                    <a:pt x="50" y="22"/>
                    <a:pt x="47" y="17"/>
                  </a:cubicBezTo>
                  <a:cubicBezTo>
                    <a:pt x="44" y="13"/>
                    <a:pt x="33" y="14"/>
                    <a:pt x="34" y="10"/>
                  </a:cubicBezTo>
                  <a:cubicBezTo>
                    <a:pt x="35" y="6"/>
                    <a:pt x="35" y="5"/>
                    <a:pt x="42" y="5"/>
                  </a:cubicBezTo>
                  <a:cubicBezTo>
                    <a:pt x="50" y="5"/>
                    <a:pt x="49" y="0"/>
                    <a:pt x="52" y="3"/>
                  </a:cubicBezTo>
                  <a:cubicBezTo>
                    <a:pt x="56" y="6"/>
                    <a:pt x="58" y="7"/>
                    <a:pt x="65" y="8"/>
                  </a:cubicBezTo>
                  <a:cubicBezTo>
                    <a:pt x="71" y="8"/>
                    <a:pt x="69" y="9"/>
                    <a:pt x="73" y="8"/>
                  </a:cubicBezTo>
                  <a:cubicBezTo>
                    <a:pt x="77" y="6"/>
                    <a:pt x="76" y="5"/>
                    <a:pt x="80" y="5"/>
                  </a:cubicBezTo>
                  <a:cubicBezTo>
                    <a:pt x="85" y="5"/>
                    <a:pt x="87" y="3"/>
                    <a:pt x="92" y="5"/>
                  </a:cubicBezTo>
                  <a:cubicBezTo>
                    <a:pt x="97" y="7"/>
                    <a:pt x="100" y="4"/>
                    <a:pt x="105" y="8"/>
                  </a:cubicBezTo>
                  <a:cubicBezTo>
                    <a:pt x="110" y="11"/>
                    <a:pt x="117" y="11"/>
                    <a:pt x="119" y="14"/>
                  </a:cubicBezTo>
                  <a:cubicBezTo>
                    <a:pt x="121" y="17"/>
                    <a:pt x="121" y="19"/>
                    <a:pt x="123" y="22"/>
                  </a:cubicBezTo>
                  <a:cubicBezTo>
                    <a:pt x="125" y="25"/>
                    <a:pt x="131" y="19"/>
                    <a:pt x="135" y="20"/>
                  </a:cubicBezTo>
                  <a:cubicBezTo>
                    <a:pt x="138" y="21"/>
                    <a:pt x="142" y="24"/>
                    <a:pt x="137" y="25"/>
                  </a:cubicBezTo>
                  <a:cubicBezTo>
                    <a:pt x="133" y="25"/>
                    <a:pt x="126" y="29"/>
                    <a:pt x="130" y="30"/>
                  </a:cubicBezTo>
                  <a:cubicBezTo>
                    <a:pt x="134" y="30"/>
                    <a:pt x="142" y="27"/>
                    <a:pt x="147" y="31"/>
                  </a:cubicBezTo>
                  <a:cubicBezTo>
                    <a:pt x="151" y="35"/>
                    <a:pt x="158" y="35"/>
                    <a:pt x="155" y="41"/>
                  </a:cubicBezTo>
                  <a:cubicBezTo>
                    <a:pt x="153" y="46"/>
                    <a:pt x="149" y="47"/>
                    <a:pt x="146" y="51"/>
                  </a:cubicBezTo>
                  <a:cubicBezTo>
                    <a:pt x="142" y="54"/>
                    <a:pt x="141" y="47"/>
                    <a:pt x="134" y="47"/>
                  </a:cubicBezTo>
                  <a:cubicBezTo>
                    <a:pt x="127" y="47"/>
                    <a:pt x="120" y="43"/>
                    <a:pt x="117" y="46"/>
                  </a:cubicBezTo>
                  <a:cubicBezTo>
                    <a:pt x="114" y="49"/>
                    <a:pt x="120" y="53"/>
                    <a:pt x="110" y="53"/>
                  </a:cubicBezTo>
                  <a:cubicBezTo>
                    <a:pt x="100" y="52"/>
                    <a:pt x="97" y="50"/>
                    <a:pt x="96" y="48"/>
                  </a:cubicBezTo>
                  <a:cubicBezTo>
                    <a:pt x="95" y="46"/>
                    <a:pt x="91" y="47"/>
                    <a:pt x="89" y="51"/>
                  </a:cubicBezTo>
                  <a:cubicBezTo>
                    <a:pt x="87" y="54"/>
                    <a:pt x="81" y="55"/>
                    <a:pt x="82" y="61"/>
                  </a:cubicBezTo>
                  <a:cubicBezTo>
                    <a:pt x="82" y="67"/>
                    <a:pt x="81" y="68"/>
                    <a:pt x="76" y="68"/>
                  </a:cubicBezTo>
                  <a:cubicBezTo>
                    <a:pt x="71" y="68"/>
                    <a:pt x="73" y="73"/>
                    <a:pt x="69" y="65"/>
                  </a:cubicBezTo>
                  <a:cubicBezTo>
                    <a:pt x="65" y="57"/>
                    <a:pt x="64" y="54"/>
                    <a:pt x="61" y="54"/>
                  </a:cubicBezTo>
                  <a:cubicBezTo>
                    <a:pt x="57" y="54"/>
                    <a:pt x="53" y="51"/>
                    <a:pt x="50" y="53"/>
                  </a:cubicBezTo>
                  <a:cubicBezTo>
                    <a:pt x="47" y="54"/>
                    <a:pt x="43" y="58"/>
                    <a:pt x="40" y="55"/>
                  </a:cubicBezTo>
                  <a:cubicBezTo>
                    <a:pt x="37" y="53"/>
                    <a:pt x="35" y="51"/>
                    <a:pt x="29" y="51"/>
                  </a:cubicBezTo>
                  <a:cubicBezTo>
                    <a:pt x="22" y="52"/>
                    <a:pt x="19" y="50"/>
                    <a:pt x="20" y="53"/>
                  </a:cubicBezTo>
                  <a:cubicBezTo>
                    <a:pt x="20" y="56"/>
                    <a:pt x="22" y="60"/>
                    <a:pt x="17" y="58"/>
                  </a:cubicBezTo>
                  <a:cubicBezTo>
                    <a:pt x="13" y="56"/>
                    <a:pt x="16" y="55"/>
                    <a:pt x="9" y="53"/>
                  </a:cubicBezTo>
                  <a:cubicBezTo>
                    <a:pt x="3" y="50"/>
                    <a:pt x="0" y="50"/>
                    <a:pt x="2" y="45"/>
                  </a:cubicBezTo>
                  <a:cubicBezTo>
                    <a:pt x="4" y="41"/>
                    <a:pt x="5" y="39"/>
                    <a:pt x="7" y="4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49" name="Freeform 837">
              <a:extLst>
                <a:ext uri="{FF2B5EF4-FFF2-40B4-BE49-F238E27FC236}">
                  <a16:creationId xmlns:a16="http://schemas.microsoft.com/office/drawing/2014/main" id="{4CC30C0C-0768-CB46-BBF5-EEDDE0D80E60}"/>
                </a:ext>
              </a:extLst>
            </p:cNvPr>
            <p:cNvSpPr>
              <a:spLocks/>
            </p:cNvSpPr>
            <p:nvPr/>
          </p:nvSpPr>
          <p:spPr bwMode="auto">
            <a:xfrm>
              <a:off x="2452696" y="2172157"/>
              <a:ext cx="39688" cy="17463"/>
            </a:xfrm>
            <a:custGeom>
              <a:avLst/>
              <a:gdLst>
                <a:gd name="T0" fmla="*/ 3 w 43"/>
                <a:gd name="T1" fmla="*/ 2 h 18"/>
                <a:gd name="T2" fmla="*/ 12 w 43"/>
                <a:gd name="T3" fmla="*/ 1 h 18"/>
                <a:gd name="T4" fmla="*/ 21 w 43"/>
                <a:gd name="T5" fmla="*/ 1 h 18"/>
                <a:gd name="T6" fmla="*/ 28 w 43"/>
                <a:gd name="T7" fmla="*/ 2 h 18"/>
                <a:gd name="T8" fmla="*/ 37 w 43"/>
                <a:gd name="T9" fmla="*/ 4 h 18"/>
                <a:gd name="T10" fmla="*/ 41 w 43"/>
                <a:gd name="T11" fmla="*/ 6 h 18"/>
                <a:gd name="T12" fmla="*/ 41 w 43"/>
                <a:gd name="T13" fmla="*/ 12 h 18"/>
                <a:gd name="T14" fmla="*/ 34 w 43"/>
                <a:gd name="T15" fmla="*/ 15 h 18"/>
                <a:gd name="T16" fmla="*/ 26 w 43"/>
                <a:gd name="T17" fmla="*/ 17 h 18"/>
                <a:gd name="T18" fmla="*/ 17 w 43"/>
                <a:gd name="T19" fmla="*/ 18 h 18"/>
                <a:gd name="T20" fmla="*/ 9 w 43"/>
                <a:gd name="T21" fmla="*/ 17 h 18"/>
                <a:gd name="T22" fmla="*/ 1 w 43"/>
                <a:gd name="T23" fmla="*/ 14 h 18"/>
                <a:gd name="T24" fmla="*/ 2 w 43"/>
                <a:gd name="T25" fmla="*/ 9 h 18"/>
                <a:gd name="T26" fmla="*/ 3 w 43"/>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8">
                  <a:moveTo>
                    <a:pt x="3" y="2"/>
                  </a:moveTo>
                  <a:cubicBezTo>
                    <a:pt x="4" y="1"/>
                    <a:pt x="7" y="1"/>
                    <a:pt x="12" y="1"/>
                  </a:cubicBezTo>
                  <a:cubicBezTo>
                    <a:pt x="17" y="2"/>
                    <a:pt x="16" y="1"/>
                    <a:pt x="21" y="1"/>
                  </a:cubicBezTo>
                  <a:cubicBezTo>
                    <a:pt x="26" y="2"/>
                    <a:pt x="24" y="0"/>
                    <a:pt x="28" y="2"/>
                  </a:cubicBezTo>
                  <a:cubicBezTo>
                    <a:pt x="32" y="3"/>
                    <a:pt x="34" y="3"/>
                    <a:pt x="37" y="4"/>
                  </a:cubicBezTo>
                  <a:cubicBezTo>
                    <a:pt x="39" y="5"/>
                    <a:pt x="40" y="2"/>
                    <a:pt x="41" y="6"/>
                  </a:cubicBezTo>
                  <a:cubicBezTo>
                    <a:pt x="42" y="9"/>
                    <a:pt x="43" y="9"/>
                    <a:pt x="41" y="12"/>
                  </a:cubicBezTo>
                  <a:cubicBezTo>
                    <a:pt x="38" y="15"/>
                    <a:pt x="40" y="15"/>
                    <a:pt x="34" y="15"/>
                  </a:cubicBezTo>
                  <a:cubicBezTo>
                    <a:pt x="28" y="16"/>
                    <a:pt x="29" y="16"/>
                    <a:pt x="26" y="17"/>
                  </a:cubicBezTo>
                  <a:cubicBezTo>
                    <a:pt x="23" y="18"/>
                    <a:pt x="22" y="18"/>
                    <a:pt x="17" y="18"/>
                  </a:cubicBezTo>
                  <a:cubicBezTo>
                    <a:pt x="11" y="17"/>
                    <a:pt x="12" y="17"/>
                    <a:pt x="9" y="17"/>
                  </a:cubicBezTo>
                  <a:cubicBezTo>
                    <a:pt x="6" y="17"/>
                    <a:pt x="1" y="17"/>
                    <a:pt x="1" y="14"/>
                  </a:cubicBezTo>
                  <a:cubicBezTo>
                    <a:pt x="2" y="11"/>
                    <a:pt x="4" y="12"/>
                    <a:pt x="2" y="9"/>
                  </a:cubicBezTo>
                  <a:cubicBezTo>
                    <a:pt x="0" y="5"/>
                    <a:pt x="1" y="1"/>
                    <a:pt x="3"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50" name="Freeform 838">
              <a:extLst>
                <a:ext uri="{FF2B5EF4-FFF2-40B4-BE49-F238E27FC236}">
                  <a16:creationId xmlns:a16="http://schemas.microsoft.com/office/drawing/2014/main" id="{C3BF716E-47A0-5E43-8E5F-C40E5595AFB8}"/>
                </a:ext>
              </a:extLst>
            </p:cNvPr>
            <p:cNvSpPr>
              <a:spLocks/>
            </p:cNvSpPr>
            <p:nvPr/>
          </p:nvSpPr>
          <p:spPr bwMode="auto">
            <a:xfrm>
              <a:off x="2214570" y="1994357"/>
              <a:ext cx="20638" cy="41275"/>
            </a:xfrm>
            <a:custGeom>
              <a:avLst/>
              <a:gdLst>
                <a:gd name="T0" fmla="*/ 16 w 22"/>
                <a:gd name="T1" fmla="*/ 21 h 44"/>
                <a:gd name="T2" fmla="*/ 19 w 22"/>
                <a:gd name="T3" fmla="*/ 15 h 44"/>
                <a:gd name="T4" fmla="*/ 15 w 22"/>
                <a:gd name="T5" fmla="*/ 8 h 44"/>
                <a:gd name="T6" fmla="*/ 12 w 22"/>
                <a:gd name="T7" fmla="*/ 0 h 44"/>
                <a:gd name="T8" fmla="*/ 9 w 22"/>
                <a:gd name="T9" fmla="*/ 3 h 44"/>
                <a:gd name="T10" fmla="*/ 6 w 22"/>
                <a:gd name="T11" fmla="*/ 11 h 44"/>
                <a:gd name="T12" fmla="*/ 3 w 22"/>
                <a:gd name="T13" fmla="*/ 15 h 44"/>
                <a:gd name="T14" fmla="*/ 1 w 22"/>
                <a:gd name="T15" fmla="*/ 19 h 44"/>
                <a:gd name="T16" fmla="*/ 6 w 22"/>
                <a:gd name="T17" fmla="*/ 22 h 44"/>
                <a:gd name="T18" fmla="*/ 11 w 22"/>
                <a:gd name="T19" fmla="*/ 31 h 44"/>
                <a:gd name="T20" fmla="*/ 13 w 22"/>
                <a:gd name="T21" fmla="*/ 38 h 44"/>
                <a:gd name="T22" fmla="*/ 15 w 22"/>
                <a:gd name="T23" fmla="*/ 43 h 44"/>
                <a:gd name="T24" fmla="*/ 20 w 22"/>
                <a:gd name="T25" fmla="*/ 41 h 44"/>
                <a:gd name="T26" fmla="*/ 21 w 22"/>
                <a:gd name="T27" fmla="*/ 33 h 44"/>
                <a:gd name="T28" fmla="*/ 16 w 22"/>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44">
                  <a:moveTo>
                    <a:pt x="16" y="21"/>
                  </a:moveTo>
                  <a:cubicBezTo>
                    <a:pt x="18" y="17"/>
                    <a:pt x="22" y="19"/>
                    <a:pt x="19" y="15"/>
                  </a:cubicBezTo>
                  <a:cubicBezTo>
                    <a:pt x="15" y="10"/>
                    <a:pt x="15" y="11"/>
                    <a:pt x="15" y="8"/>
                  </a:cubicBezTo>
                  <a:cubicBezTo>
                    <a:pt x="15" y="4"/>
                    <a:pt x="14" y="0"/>
                    <a:pt x="12" y="0"/>
                  </a:cubicBezTo>
                  <a:cubicBezTo>
                    <a:pt x="11" y="0"/>
                    <a:pt x="7" y="0"/>
                    <a:pt x="9" y="3"/>
                  </a:cubicBezTo>
                  <a:cubicBezTo>
                    <a:pt x="9" y="7"/>
                    <a:pt x="6" y="9"/>
                    <a:pt x="6" y="11"/>
                  </a:cubicBezTo>
                  <a:cubicBezTo>
                    <a:pt x="6" y="13"/>
                    <a:pt x="4" y="13"/>
                    <a:pt x="3" y="15"/>
                  </a:cubicBezTo>
                  <a:cubicBezTo>
                    <a:pt x="1" y="16"/>
                    <a:pt x="0" y="19"/>
                    <a:pt x="1" y="19"/>
                  </a:cubicBezTo>
                  <a:cubicBezTo>
                    <a:pt x="2" y="20"/>
                    <a:pt x="5" y="20"/>
                    <a:pt x="6" y="22"/>
                  </a:cubicBezTo>
                  <a:cubicBezTo>
                    <a:pt x="11" y="31"/>
                    <a:pt x="11" y="31"/>
                    <a:pt x="11" y="31"/>
                  </a:cubicBezTo>
                  <a:cubicBezTo>
                    <a:pt x="11" y="34"/>
                    <a:pt x="13" y="35"/>
                    <a:pt x="13" y="38"/>
                  </a:cubicBezTo>
                  <a:cubicBezTo>
                    <a:pt x="14" y="41"/>
                    <a:pt x="14" y="43"/>
                    <a:pt x="15" y="43"/>
                  </a:cubicBezTo>
                  <a:cubicBezTo>
                    <a:pt x="17" y="43"/>
                    <a:pt x="18" y="44"/>
                    <a:pt x="20" y="41"/>
                  </a:cubicBezTo>
                  <a:cubicBezTo>
                    <a:pt x="21" y="37"/>
                    <a:pt x="22" y="37"/>
                    <a:pt x="21" y="33"/>
                  </a:cubicBezTo>
                  <a:lnTo>
                    <a:pt x="16" y="21"/>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51" name="Freeform 839">
              <a:extLst>
                <a:ext uri="{FF2B5EF4-FFF2-40B4-BE49-F238E27FC236}">
                  <a16:creationId xmlns:a16="http://schemas.microsoft.com/office/drawing/2014/main" id="{9EB48E24-6FAD-B147-9DD3-124318717079}"/>
                </a:ext>
              </a:extLst>
            </p:cNvPr>
            <p:cNvSpPr>
              <a:spLocks/>
            </p:cNvSpPr>
            <p:nvPr/>
          </p:nvSpPr>
          <p:spPr bwMode="auto">
            <a:xfrm>
              <a:off x="2211395" y="1951494"/>
              <a:ext cx="26988" cy="11113"/>
            </a:xfrm>
            <a:custGeom>
              <a:avLst/>
              <a:gdLst>
                <a:gd name="T0" fmla="*/ 12 w 28"/>
                <a:gd name="T1" fmla="*/ 2 h 11"/>
                <a:gd name="T2" fmla="*/ 8 w 28"/>
                <a:gd name="T3" fmla="*/ 6 h 11"/>
                <a:gd name="T4" fmla="*/ 4 w 28"/>
                <a:gd name="T5" fmla="*/ 7 h 11"/>
                <a:gd name="T6" fmla="*/ 11 w 28"/>
                <a:gd name="T7" fmla="*/ 10 h 11"/>
                <a:gd name="T8" fmla="*/ 19 w 28"/>
                <a:gd name="T9" fmla="*/ 7 h 11"/>
                <a:gd name="T10" fmla="*/ 27 w 28"/>
                <a:gd name="T11" fmla="*/ 4 h 11"/>
                <a:gd name="T12" fmla="*/ 21 w 28"/>
                <a:gd name="T13" fmla="*/ 0 h 11"/>
                <a:gd name="T14" fmla="*/ 12 w 28"/>
                <a:gd name="T15" fmla="*/ 2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1">
                  <a:moveTo>
                    <a:pt x="12" y="2"/>
                  </a:moveTo>
                  <a:cubicBezTo>
                    <a:pt x="11" y="4"/>
                    <a:pt x="10" y="5"/>
                    <a:pt x="8" y="6"/>
                  </a:cubicBezTo>
                  <a:cubicBezTo>
                    <a:pt x="6" y="6"/>
                    <a:pt x="0" y="4"/>
                    <a:pt x="4" y="7"/>
                  </a:cubicBezTo>
                  <a:cubicBezTo>
                    <a:pt x="8" y="10"/>
                    <a:pt x="7" y="11"/>
                    <a:pt x="11" y="10"/>
                  </a:cubicBezTo>
                  <a:cubicBezTo>
                    <a:pt x="16" y="9"/>
                    <a:pt x="12" y="9"/>
                    <a:pt x="19" y="7"/>
                  </a:cubicBezTo>
                  <a:cubicBezTo>
                    <a:pt x="26" y="5"/>
                    <a:pt x="27" y="6"/>
                    <a:pt x="27" y="4"/>
                  </a:cubicBezTo>
                  <a:cubicBezTo>
                    <a:pt x="27" y="2"/>
                    <a:pt x="28" y="0"/>
                    <a:pt x="21" y="0"/>
                  </a:cubicBezTo>
                  <a:cubicBezTo>
                    <a:pt x="14" y="1"/>
                    <a:pt x="17" y="3"/>
                    <a:pt x="12"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52" name="Freeform 840">
              <a:extLst>
                <a:ext uri="{FF2B5EF4-FFF2-40B4-BE49-F238E27FC236}">
                  <a16:creationId xmlns:a16="http://schemas.microsoft.com/office/drawing/2014/main" id="{90FE9D71-70EB-BD48-8213-B84BFC7A9AA8}"/>
                </a:ext>
              </a:extLst>
            </p:cNvPr>
            <p:cNvSpPr>
              <a:spLocks/>
            </p:cNvSpPr>
            <p:nvPr/>
          </p:nvSpPr>
          <p:spPr bwMode="auto">
            <a:xfrm>
              <a:off x="2239970" y="1946731"/>
              <a:ext cx="17463" cy="28575"/>
            </a:xfrm>
            <a:custGeom>
              <a:avLst/>
              <a:gdLst>
                <a:gd name="T0" fmla="*/ 3 w 19"/>
                <a:gd name="T1" fmla="*/ 3 h 31"/>
                <a:gd name="T2" fmla="*/ 8 w 19"/>
                <a:gd name="T3" fmla="*/ 8 h 31"/>
                <a:gd name="T4" fmla="*/ 12 w 19"/>
                <a:gd name="T5" fmla="*/ 13 h 31"/>
                <a:gd name="T6" fmla="*/ 9 w 19"/>
                <a:gd name="T7" fmla="*/ 21 h 31"/>
                <a:gd name="T8" fmla="*/ 6 w 19"/>
                <a:gd name="T9" fmla="*/ 28 h 31"/>
                <a:gd name="T10" fmla="*/ 9 w 19"/>
                <a:gd name="T11" fmla="*/ 31 h 31"/>
                <a:gd name="T12" fmla="*/ 13 w 19"/>
                <a:gd name="T13" fmla="*/ 26 h 31"/>
                <a:gd name="T14" fmla="*/ 18 w 19"/>
                <a:gd name="T15" fmla="*/ 19 h 31"/>
                <a:gd name="T16" fmla="*/ 17 w 19"/>
                <a:gd name="T17" fmla="*/ 11 h 31"/>
                <a:gd name="T18" fmla="*/ 10 w 19"/>
                <a:gd name="T19" fmla="*/ 4 h 31"/>
                <a:gd name="T20" fmla="*/ 3 w 19"/>
                <a:gd name="T21"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31">
                  <a:moveTo>
                    <a:pt x="3" y="3"/>
                  </a:moveTo>
                  <a:cubicBezTo>
                    <a:pt x="5" y="6"/>
                    <a:pt x="6" y="5"/>
                    <a:pt x="8" y="8"/>
                  </a:cubicBezTo>
                  <a:cubicBezTo>
                    <a:pt x="11" y="10"/>
                    <a:pt x="13" y="10"/>
                    <a:pt x="12" y="13"/>
                  </a:cubicBezTo>
                  <a:cubicBezTo>
                    <a:pt x="12" y="16"/>
                    <a:pt x="12" y="18"/>
                    <a:pt x="9" y="21"/>
                  </a:cubicBezTo>
                  <a:cubicBezTo>
                    <a:pt x="7" y="25"/>
                    <a:pt x="4" y="26"/>
                    <a:pt x="6" y="28"/>
                  </a:cubicBezTo>
                  <a:cubicBezTo>
                    <a:pt x="8" y="30"/>
                    <a:pt x="7" y="31"/>
                    <a:pt x="9" y="31"/>
                  </a:cubicBezTo>
                  <a:cubicBezTo>
                    <a:pt x="11" y="30"/>
                    <a:pt x="9" y="31"/>
                    <a:pt x="13" y="26"/>
                  </a:cubicBezTo>
                  <a:cubicBezTo>
                    <a:pt x="17" y="21"/>
                    <a:pt x="18" y="23"/>
                    <a:pt x="18" y="19"/>
                  </a:cubicBezTo>
                  <a:cubicBezTo>
                    <a:pt x="17" y="14"/>
                    <a:pt x="19" y="14"/>
                    <a:pt x="17" y="11"/>
                  </a:cubicBezTo>
                  <a:cubicBezTo>
                    <a:pt x="15" y="7"/>
                    <a:pt x="16" y="7"/>
                    <a:pt x="10" y="4"/>
                  </a:cubicBezTo>
                  <a:cubicBezTo>
                    <a:pt x="4" y="0"/>
                    <a:pt x="0" y="0"/>
                    <a:pt x="3"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53" name="Freeform 841">
              <a:extLst>
                <a:ext uri="{FF2B5EF4-FFF2-40B4-BE49-F238E27FC236}">
                  <a16:creationId xmlns:a16="http://schemas.microsoft.com/office/drawing/2014/main" id="{79CF049A-88E9-C049-91DB-2922408ABD28}"/>
                </a:ext>
              </a:extLst>
            </p:cNvPr>
            <p:cNvSpPr>
              <a:spLocks/>
            </p:cNvSpPr>
            <p:nvPr/>
          </p:nvSpPr>
          <p:spPr bwMode="auto">
            <a:xfrm>
              <a:off x="2306645" y="2080082"/>
              <a:ext cx="23813" cy="14288"/>
            </a:xfrm>
            <a:custGeom>
              <a:avLst/>
              <a:gdLst>
                <a:gd name="T0" fmla="*/ 9 w 24"/>
                <a:gd name="T1" fmla="*/ 7 h 15"/>
                <a:gd name="T2" fmla="*/ 4 w 24"/>
                <a:gd name="T3" fmla="*/ 11 h 15"/>
                <a:gd name="T4" fmla="*/ 6 w 24"/>
                <a:gd name="T5" fmla="*/ 14 h 15"/>
                <a:gd name="T6" fmla="*/ 16 w 24"/>
                <a:gd name="T7" fmla="*/ 14 h 15"/>
                <a:gd name="T8" fmla="*/ 19 w 24"/>
                <a:gd name="T9" fmla="*/ 12 h 15"/>
                <a:gd name="T10" fmla="*/ 22 w 24"/>
                <a:gd name="T11" fmla="*/ 6 h 15"/>
                <a:gd name="T12" fmla="*/ 22 w 24"/>
                <a:gd name="T13" fmla="*/ 3 h 15"/>
                <a:gd name="T14" fmla="*/ 15 w 24"/>
                <a:gd name="T15" fmla="*/ 6 h 15"/>
                <a:gd name="T16" fmla="*/ 9 w 24"/>
                <a:gd name="T1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
                  <a:moveTo>
                    <a:pt x="9" y="7"/>
                  </a:moveTo>
                  <a:cubicBezTo>
                    <a:pt x="7" y="8"/>
                    <a:pt x="4" y="9"/>
                    <a:pt x="4" y="11"/>
                  </a:cubicBezTo>
                  <a:cubicBezTo>
                    <a:pt x="4" y="12"/>
                    <a:pt x="0" y="14"/>
                    <a:pt x="6" y="14"/>
                  </a:cubicBezTo>
                  <a:cubicBezTo>
                    <a:pt x="11" y="14"/>
                    <a:pt x="14" y="15"/>
                    <a:pt x="16" y="14"/>
                  </a:cubicBezTo>
                  <a:cubicBezTo>
                    <a:pt x="18" y="13"/>
                    <a:pt x="17" y="15"/>
                    <a:pt x="19" y="12"/>
                  </a:cubicBezTo>
                  <a:cubicBezTo>
                    <a:pt x="22" y="8"/>
                    <a:pt x="21" y="9"/>
                    <a:pt x="22" y="6"/>
                  </a:cubicBezTo>
                  <a:cubicBezTo>
                    <a:pt x="23" y="4"/>
                    <a:pt x="24" y="0"/>
                    <a:pt x="22" y="3"/>
                  </a:cubicBezTo>
                  <a:cubicBezTo>
                    <a:pt x="19" y="5"/>
                    <a:pt x="20" y="7"/>
                    <a:pt x="15" y="6"/>
                  </a:cubicBezTo>
                  <a:cubicBezTo>
                    <a:pt x="10" y="6"/>
                    <a:pt x="11" y="7"/>
                    <a:pt x="9" y="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54" name="Freeform 842">
              <a:extLst>
                <a:ext uri="{FF2B5EF4-FFF2-40B4-BE49-F238E27FC236}">
                  <a16:creationId xmlns:a16="http://schemas.microsoft.com/office/drawing/2014/main" id="{F61AA590-3284-FD40-A7A1-8FCFD0DBE80E}"/>
                </a:ext>
              </a:extLst>
            </p:cNvPr>
            <p:cNvSpPr>
              <a:spLocks/>
            </p:cNvSpPr>
            <p:nvPr/>
          </p:nvSpPr>
          <p:spPr bwMode="auto">
            <a:xfrm>
              <a:off x="2459046" y="1829256"/>
              <a:ext cx="23813" cy="14288"/>
            </a:xfrm>
            <a:custGeom>
              <a:avLst/>
              <a:gdLst>
                <a:gd name="T0" fmla="*/ 9 w 24"/>
                <a:gd name="T1" fmla="*/ 7 h 15"/>
                <a:gd name="T2" fmla="*/ 4 w 24"/>
                <a:gd name="T3" fmla="*/ 11 h 15"/>
                <a:gd name="T4" fmla="*/ 6 w 24"/>
                <a:gd name="T5" fmla="*/ 14 h 15"/>
                <a:gd name="T6" fmla="*/ 16 w 24"/>
                <a:gd name="T7" fmla="*/ 14 h 15"/>
                <a:gd name="T8" fmla="*/ 19 w 24"/>
                <a:gd name="T9" fmla="*/ 12 h 15"/>
                <a:gd name="T10" fmla="*/ 22 w 24"/>
                <a:gd name="T11" fmla="*/ 6 h 15"/>
                <a:gd name="T12" fmla="*/ 22 w 24"/>
                <a:gd name="T13" fmla="*/ 3 h 15"/>
                <a:gd name="T14" fmla="*/ 15 w 24"/>
                <a:gd name="T15" fmla="*/ 6 h 15"/>
                <a:gd name="T16" fmla="*/ 9 w 24"/>
                <a:gd name="T1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
                  <a:moveTo>
                    <a:pt x="9" y="7"/>
                  </a:moveTo>
                  <a:cubicBezTo>
                    <a:pt x="7" y="8"/>
                    <a:pt x="4" y="9"/>
                    <a:pt x="4" y="11"/>
                  </a:cubicBezTo>
                  <a:cubicBezTo>
                    <a:pt x="4" y="12"/>
                    <a:pt x="0" y="14"/>
                    <a:pt x="6" y="14"/>
                  </a:cubicBezTo>
                  <a:cubicBezTo>
                    <a:pt x="11" y="14"/>
                    <a:pt x="14" y="15"/>
                    <a:pt x="16" y="14"/>
                  </a:cubicBezTo>
                  <a:cubicBezTo>
                    <a:pt x="18" y="13"/>
                    <a:pt x="17" y="15"/>
                    <a:pt x="19" y="12"/>
                  </a:cubicBezTo>
                  <a:cubicBezTo>
                    <a:pt x="22" y="8"/>
                    <a:pt x="21" y="9"/>
                    <a:pt x="22" y="6"/>
                  </a:cubicBezTo>
                  <a:cubicBezTo>
                    <a:pt x="23" y="4"/>
                    <a:pt x="24" y="0"/>
                    <a:pt x="22" y="3"/>
                  </a:cubicBezTo>
                  <a:cubicBezTo>
                    <a:pt x="19" y="5"/>
                    <a:pt x="20" y="7"/>
                    <a:pt x="15" y="6"/>
                  </a:cubicBezTo>
                  <a:cubicBezTo>
                    <a:pt x="10" y="6"/>
                    <a:pt x="11" y="7"/>
                    <a:pt x="9" y="7"/>
                  </a:cubicBezTo>
                  <a:close/>
                </a:path>
              </a:pathLst>
            </a:custGeom>
            <a:solidFill>
              <a:schemeClr val="bg2">
                <a:alpha val="10000"/>
              </a:schemeClr>
            </a:solidFill>
            <a:ln w="0">
              <a:solidFill>
                <a:schemeClr val="tx2"/>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55" name="Freeform 843">
              <a:extLst>
                <a:ext uri="{FF2B5EF4-FFF2-40B4-BE49-F238E27FC236}">
                  <a16:creationId xmlns:a16="http://schemas.microsoft.com/office/drawing/2014/main" id="{3ADF218D-4635-2942-9E6D-FCEA69B268CF}"/>
                </a:ext>
              </a:extLst>
            </p:cNvPr>
            <p:cNvSpPr>
              <a:spLocks/>
            </p:cNvSpPr>
            <p:nvPr/>
          </p:nvSpPr>
          <p:spPr bwMode="auto">
            <a:xfrm>
              <a:off x="2090745" y="2083257"/>
              <a:ext cx="19050" cy="14288"/>
            </a:xfrm>
            <a:custGeom>
              <a:avLst/>
              <a:gdLst>
                <a:gd name="T0" fmla="*/ 4 w 20"/>
                <a:gd name="T1" fmla="*/ 3 h 15"/>
                <a:gd name="T2" fmla="*/ 7 w 20"/>
                <a:gd name="T3" fmla="*/ 8 h 15"/>
                <a:gd name="T4" fmla="*/ 4 w 20"/>
                <a:gd name="T5" fmla="*/ 12 h 15"/>
                <a:gd name="T6" fmla="*/ 11 w 20"/>
                <a:gd name="T7" fmla="*/ 13 h 15"/>
                <a:gd name="T8" fmla="*/ 18 w 20"/>
                <a:gd name="T9" fmla="*/ 11 h 15"/>
                <a:gd name="T10" fmla="*/ 18 w 20"/>
                <a:gd name="T11" fmla="*/ 5 h 15"/>
                <a:gd name="T12" fmla="*/ 12 w 20"/>
                <a:gd name="T13" fmla="*/ 0 h 15"/>
                <a:gd name="T14" fmla="*/ 4 w 20"/>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5">
                  <a:moveTo>
                    <a:pt x="4" y="3"/>
                  </a:moveTo>
                  <a:cubicBezTo>
                    <a:pt x="6" y="5"/>
                    <a:pt x="7" y="6"/>
                    <a:pt x="7" y="8"/>
                  </a:cubicBezTo>
                  <a:cubicBezTo>
                    <a:pt x="7" y="11"/>
                    <a:pt x="0" y="12"/>
                    <a:pt x="4" y="12"/>
                  </a:cubicBezTo>
                  <a:cubicBezTo>
                    <a:pt x="9" y="13"/>
                    <a:pt x="7" y="13"/>
                    <a:pt x="11" y="13"/>
                  </a:cubicBezTo>
                  <a:cubicBezTo>
                    <a:pt x="15" y="12"/>
                    <a:pt x="18" y="15"/>
                    <a:pt x="18" y="11"/>
                  </a:cubicBezTo>
                  <a:cubicBezTo>
                    <a:pt x="18" y="8"/>
                    <a:pt x="20" y="7"/>
                    <a:pt x="18" y="5"/>
                  </a:cubicBezTo>
                  <a:cubicBezTo>
                    <a:pt x="15" y="2"/>
                    <a:pt x="16" y="0"/>
                    <a:pt x="12" y="0"/>
                  </a:cubicBezTo>
                  <a:cubicBezTo>
                    <a:pt x="8" y="0"/>
                    <a:pt x="2" y="0"/>
                    <a:pt x="4"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56" name="Freeform 844">
              <a:extLst>
                <a:ext uri="{FF2B5EF4-FFF2-40B4-BE49-F238E27FC236}">
                  <a16:creationId xmlns:a16="http://schemas.microsoft.com/office/drawing/2014/main" id="{F7549B41-3C46-544F-8176-FA56EE78CFA1}"/>
                </a:ext>
              </a:extLst>
            </p:cNvPr>
            <p:cNvSpPr>
              <a:spLocks/>
            </p:cNvSpPr>
            <p:nvPr/>
          </p:nvSpPr>
          <p:spPr bwMode="auto">
            <a:xfrm>
              <a:off x="2574934" y="2227719"/>
              <a:ext cx="17463" cy="22225"/>
            </a:xfrm>
            <a:custGeom>
              <a:avLst/>
              <a:gdLst>
                <a:gd name="T0" fmla="*/ 6 w 18"/>
                <a:gd name="T1" fmla="*/ 3 h 24"/>
                <a:gd name="T2" fmla="*/ 1 w 18"/>
                <a:gd name="T3" fmla="*/ 10 h 24"/>
                <a:gd name="T4" fmla="*/ 3 w 18"/>
                <a:gd name="T5" fmla="*/ 18 h 24"/>
                <a:gd name="T6" fmla="*/ 10 w 18"/>
                <a:gd name="T7" fmla="*/ 10 h 24"/>
                <a:gd name="T8" fmla="*/ 14 w 18"/>
                <a:gd name="T9" fmla="*/ 1 h 24"/>
                <a:gd name="T10" fmla="*/ 6 w 18"/>
                <a:gd name="T11" fmla="*/ 3 h 24"/>
              </a:gdLst>
              <a:ahLst/>
              <a:cxnLst>
                <a:cxn ang="0">
                  <a:pos x="T0" y="T1"/>
                </a:cxn>
                <a:cxn ang="0">
                  <a:pos x="T2" y="T3"/>
                </a:cxn>
                <a:cxn ang="0">
                  <a:pos x="T4" y="T5"/>
                </a:cxn>
                <a:cxn ang="0">
                  <a:pos x="T6" y="T7"/>
                </a:cxn>
                <a:cxn ang="0">
                  <a:pos x="T8" y="T9"/>
                </a:cxn>
                <a:cxn ang="0">
                  <a:pos x="T10" y="T11"/>
                </a:cxn>
              </a:cxnLst>
              <a:rect l="0" t="0" r="r" b="b"/>
              <a:pathLst>
                <a:path w="18" h="24">
                  <a:moveTo>
                    <a:pt x="6" y="3"/>
                  </a:moveTo>
                  <a:cubicBezTo>
                    <a:pt x="3" y="7"/>
                    <a:pt x="1" y="6"/>
                    <a:pt x="1" y="10"/>
                  </a:cubicBezTo>
                  <a:cubicBezTo>
                    <a:pt x="1" y="13"/>
                    <a:pt x="0" y="24"/>
                    <a:pt x="3" y="18"/>
                  </a:cubicBezTo>
                  <a:cubicBezTo>
                    <a:pt x="7" y="12"/>
                    <a:pt x="5" y="11"/>
                    <a:pt x="10" y="10"/>
                  </a:cubicBezTo>
                  <a:cubicBezTo>
                    <a:pt x="16" y="8"/>
                    <a:pt x="18" y="1"/>
                    <a:pt x="14" y="1"/>
                  </a:cubicBezTo>
                  <a:cubicBezTo>
                    <a:pt x="11" y="1"/>
                    <a:pt x="5" y="0"/>
                    <a:pt x="6"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57" name="Freeform 845">
              <a:extLst>
                <a:ext uri="{FF2B5EF4-FFF2-40B4-BE49-F238E27FC236}">
                  <a16:creationId xmlns:a16="http://schemas.microsoft.com/office/drawing/2014/main" id="{9C57B5C7-F5F7-7D44-A55A-E4E5C8EC1E13}"/>
                </a:ext>
              </a:extLst>
            </p:cNvPr>
            <p:cNvSpPr>
              <a:spLocks/>
            </p:cNvSpPr>
            <p:nvPr/>
          </p:nvSpPr>
          <p:spPr bwMode="auto">
            <a:xfrm>
              <a:off x="2584459" y="2248357"/>
              <a:ext cx="7938" cy="14288"/>
            </a:xfrm>
            <a:custGeom>
              <a:avLst/>
              <a:gdLst>
                <a:gd name="T0" fmla="*/ 1 w 8"/>
                <a:gd name="T1" fmla="*/ 3 h 15"/>
                <a:gd name="T2" fmla="*/ 1 w 8"/>
                <a:gd name="T3" fmla="*/ 8 h 15"/>
                <a:gd name="T4" fmla="*/ 3 w 8"/>
                <a:gd name="T5" fmla="*/ 12 h 15"/>
                <a:gd name="T6" fmla="*/ 7 w 8"/>
                <a:gd name="T7" fmla="*/ 13 h 15"/>
                <a:gd name="T8" fmla="*/ 8 w 8"/>
                <a:gd name="T9" fmla="*/ 10 h 15"/>
                <a:gd name="T10" fmla="*/ 7 w 8"/>
                <a:gd name="T11" fmla="*/ 5 h 15"/>
                <a:gd name="T12" fmla="*/ 4 w 8"/>
                <a:gd name="T13" fmla="*/ 1 h 15"/>
                <a:gd name="T14" fmla="*/ 1 w 8"/>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5">
                  <a:moveTo>
                    <a:pt x="1" y="3"/>
                  </a:moveTo>
                  <a:cubicBezTo>
                    <a:pt x="2" y="6"/>
                    <a:pt x="1" y="7"/>
                    <a:pt x="1" y="8"/>
                  </a:cubicBezTo>
                  <a:cubicBezTo>
                    <a:pt x="2" y="10"/>
                    <a:pt x="2" y="9"/>
                    <a:pt x="3" y="12"/>
                  </a:cubicBezTo>
                  <a:cubicBezTo>
                    <a:pt x="5" y="14"/>
                    <a:pt x="6" y="15"/>
                    <a:pt x="7" y="13"/>
                  </a:cubicBezTo>
                  <a:cubicBezTo>
                    <a:pt x="8" y="12"/>
                    <a:pt x="8" y="14"/>
                    <a:pt x="8" y="10"/>
                  </a:cubicBezTo>
                  <a:cubicBezTo>
                    <a:pt x="7" y="6"/>
                    <a:pt x="8" y="7"/>
                    <a:pt x="7" y="5"/>
                  </a:cubicBezTo>
                  <a:cubicBezTo>
                    <a:pt x="6" y="2"/>
                    <a:pt x="4" y="1"/>
                    <a:pt x="4" y="1"/>
                  </a:cubicBezTo>
                  <a:cubicBezTo>
                    <a:pt x="3" y="1"/>
                    <a:pt x="0" y="0"/>
                    <a:pt x="1" y="3"/>
                  </a:cubicBezTo>
                  <a:close/>
                </a:path>
              </a:pathLst>
            </a:custGeom>
            <a:solidFill>
              <a:schemeClr val="bg2">
                <a:alpha val="3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58" name="Freeform 846">
              <a:extLst>
                <a:ext uri="{FF2B5EF4-FFF2-40B4-BE49-F238E27FC236}">
                  <a16:creationId xmlns:a16="http://schemas.microsoft.com/office/drawing/2014/main" id="{DE653F88-D538-7945-A77F-EF4A85E19165}"/>
                </a:ext>
              </a:extLst>
            </p:cNvPr>
            <p:cNvSpPr>
              <a:spLocks/>
            </p:cNvSpPr>
            <p:nvPr/>
          </p:nvSpPr>
          <p:spPr bwMode="auto">
            <a:xfrm>
              <a:off x="2589221" y="2270582"/>
              <a:ext cx="9525" cy="15875"/>
            </a:xfrm>
            <a:custGeom>
              <a:avLst/>
              <a:gdLst>
                <a:gd name="T0" fmla="*/ 1 w 10"/>
                <a:gd name="T1" fmla="*/ 2 h 17"/>
                <a:gd name="T2" fmla="*/ 1 w 10"/>
                <a:gd name="T3" fmla="*/ 7 h 17"/>
                <a:gd name="T4" fmla="*/ 4 w 10"/>
                <a:gd name="T5" fmla="*/ 9 h 17"/>
                <a:gd name="T6" fmla="*/ 7 w 10"/>
                <a:gd name="T7" fmla="*/ 12 h 17"/>
                <a:gd name="T8" fmla="*/ 9 w 10"/>
                <a:gd name="T9" fmla="*/ 13 h 17"/>
                <a:gd name="T10" fmla="*/ 9 w 10"/>
                <a:gd name="T11" fmla="*/ 6 h 17"/>
                <a:gd name="T12" fmla="*/ 7 w 10"/>
                <a:gd name="T13" fmla="*/ 2 h 17"/>
                <a:gd name="T14" fmla="*/ 2 w 10"/>
                <a:gd name="T15" fmla="*/ 0 h 17"/>
                <a:gd name="T16" fmla="*/ 1 w 10"/>
                <a:gd name="T17"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7">
                  <a:moveTo>
                    <a:pt x="1" y="2"/>
                  </a:moveTo>
                  <a:cubicBezTo>
                    <a:pt x="1" y="4"/>
                    <a:pt x="0" y="6"/>
                    <a:pt x="1" y="7"/>
                  </a:cubicBezTo>
                  <a:cubicBezTo>
                    <a:pt x="2" y="7"/>
                    <a:pt x="3" y="8"/>
                    <a:pt x="4" y="9"/>
                  </a:cubicBezTo>
                  <a:cubicBezTo>
                    <a:pt x="4" y="11"/>
                    <a:pt x="6" y="11"/>
                    <a:pt x="7" y="12"/>
                  </a:cubicBezTo>
                  <a:cubicBezTo>
                    <a:pt x="8" y="13"/>
                    <a:pt x="9" y="17"/>
                    <a:pt x="9" y="13"/>
                  </a:cubicBezTo>
                  <a:cubicBezTo>
                    <a:pt x="10" y="9"/>
                    <a:pt x="10" y="8"/>
                    <a:pt x="9" y="6"/>
                  </a:cubicBezTo>
                  <a:cubicBezTo>
                    <a:pt x="9" y="3"/>
                    <a:pt x="10" y="4"/>
                    <a:pt x="7" y="2"/>
                  </a:cubicBezTo>
                  <a:cubicBezTo>
                    <a:pt x="3" y="0"/>
                    <a:pt x="3" y="0"/>
                    <a:pt x="2" y="0"/>
                  </a:cubicBezTo>
                  <a:cubicBezTo>
                    <a:pt x="1" y="0"/>
                    <a:pt x="0" y="0"/>
                    <a:pt x="1" y="2"/>
                  </a:cubicBezTo>
                  <a:close/>
                </a:path>
              </a:pathLst>
            </a:custGeom>
            <a:solidFill>
              <a:schemeClr val="bg2">
                <a:alpha val="3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59" name="Freeform 847">
              <a:extLst>
                <a:ext uri="{FF2B5EF4-FFF2-40B4-BE49-F238E27FC236}">
                  <a16:creationId xmlns:a16="http://schemas.microsoft.com/office/drawing/2014/main" id="{398C7120-940D-C948-B6AA-C492E1A1A226}"/>
                </a:ext>
              </a:extLst>
            </p:cNvPr>
            <p:cNvSpPr>
              <a:spLocks/>
            </p:cNvSpPr>
            <p:nvPr/>
          </p:nvSpPr>
          <p:spPr bwMode="auto">
            <a:xfrm>
              <a:off x="2593984" y="2297569"/>
              <a:ext cx="7938" cy="15875"/>
            </a:xfrm>
            <a:custGeom>
              <a:avLst/>
              <a:gdLst>
                <a:gd name="T0" fmla="*/ 2 w 8"/>
                <a:gd name="T1" fmla="*/ 5 h 17"/>
                <a:gd name="T2" fmla="*/ 2 w 8"/>
                <a:gd name="T3" fmla="*/ 12 h 17"/>
                <a:gd name="T4" fmla="*/ 4 w 8"/>
                <a:gd name="T5" fmla="*/ 16 h 17"/>
                <a:gd name="T6" fmla="*/ 6 w 8"/>
                <a:gd name="T7" fmla="*/ 13 h 17"/>
                <a:gd name="T8" fmla="*/ 7 w 8"/>
                <a:gd name="T9" fmla="*/ 7 h 17"/>
                <a:gd name="T10" fmla="*/ 4 w 8"/>
                <a:gd name="T11" fmla="*/ 1 h 17"/>
                <a:gd name="T12" fmla="*/ 2 w 8"/>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8" h="17">
                  <a:moveTo>
                    <a:pt x="2" y="5"/>
                  </a:moveTo>
                  <a:cubicBezTo>
                    <a:pt x="2" y="7"/>
                    <a:pt x="2" y="9"/>
                    <a:pt x="2" y="12"/>
                  </a:cubicBezTo>
                  <a:cubicBezTo>
                    <a:pt x="2" y="15"/>
                    <a:pt x="2" y="16"/>
                    <a:pt x="4" y="16"/>
                  </a:cubicBezTo>
                  <a:cubicBezTo>
                    <a:pt x="6" y="15"/>
                    <a:pt x="6" y="17"/>
                    <a:pt x="6" y="13"/>
                  </a:cubicBezTo>
                  <a:cubicBezTo>
                    <a:pt x="7" y="10"/>
                    <a:pt x="8" y="9"/>
                    <a:pt x="7" y="7"/>
                  </a:cubicBezTo>
                  <a:cubicBezTo>
                    <a:pt x="6" y="4"/>
                    <a:pt x="7" y="1"/>
                    <a:pt x="4" y="1"/>
                  </a:cubicBezTo>
                  <a:cubicBezTo>
                    <a:pt x="0" y="0"/>
                    <a:pt x="2" y="1"/>
                    <a:pt x="2" y="5"/>
                  </a:cubicBezTo>
                  <a:close/>
                </a:path>
              </a:pathLst>
            </a:custGeom>
            <a:solidFill>
              <a:schemeClr val="bg2">
                <a:alpha val="3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60" name="Freeform 848">
              <a:extLst>
                <a:ext uri="{FF2B5EF4-FFF2-40B4-BE49-F238E27FC236}">
                  <a16:creationId xmlns:a16="http://schemas.microsoft.com/office/drawing/2014/main" id="{B7714077-F0E6-B744-AAC2-F6E57EEE3E4C}"/>
                </a:ext>
              </a:extLst>
            </p:cNvPr>
            <p:cNvSpPr>
              <a:spLocks/>
            </p:cNvSpPr>
            <p:nvPr/>
          </p:nvSpPr>
          <p:spPr bwMode="auto">
            <a:xfrm>
              <a:off x="2587634" y="2326145"/>
              <a:ext cx="7938" cy="14288"/>
            </a:xfrm>
            <a:custGeom>
              <a:avLst/>
              <a:gdLst>
                <a:gd name="T0" fmla="*/ 1 w 7"/>
                <a:gd name="T1" fmla="*/ 5 h 14"/>
                <a:gd name="T2" fmla="*/ 1 w 7"/>
                <a:gd name="T3" fmla="*/ 9 h 14"/>
                <a:gd name="T4" fmla="*/ 3 w 7"/>
                <a:gd name="T5" fmla="*/ 12 h 14"/>
                <a:gd name="T6" fmla="*/ 6 w 7"/>
                <a:gd name="T7" fmla="*/ 9 h 14"/>
                <a:gd name="T8" fmla="*/ 6 w 7"/>
                <a:gd name="T9" fmla="*/ 4 h 14"/>
                <a:gd name="T10" fmla="*/ 2 w 7"/>
                <a:gd name="T11" fmla="*/ 1 h 14"/>
                <a:gd name="T12" fmla="*/ 1 w 7"/>
                <a:gd name="T13" fmla="*/ 5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1" y="5"/>
                  </a:moveTo>
                  <a:cubicBezTo>
                    <a:pt x="1" y="7"/>
                    <a:pt x="0" y="7"/>
                    <a:pt x="1" y="9"/>
                  </a:cubicBezTo>
                  <a:cubicBezTo>
                    <a:pt x="2" y="12"/>
                    <a:pt x="1" y="14"/>
                    <a:pt x="3" y="12"/>
                  </a:cubicBezTo>
                  <a:cubicBezTo>
                    <a:pt x="5" y="10"/>
                    <a:pt x="5" y="12"/>
                    <a:pt x="6" y="9"/>
                  </a:cubicBezTo>
                  <a:cubicBezTo>
                    <a:pt x="6" y="6"/>
                    <a:pt x="7" y="6"/>
                    <a:pt x="6" y="4"/>
                  </a:cubicBezTo>
                  <a:cubicBezTo>
                    <a:pt x="5" y="2"/>
                    <a:pt x="4" y="0"/>
                    <a:pt x="2" y="1"/>
                  </a:cubicBezTo>
                  <a:cubicBezTo>
                    <a:pt x="0" y="2"/>
                    <a:pt x="1" y="3"/>
                    <a:pt x="1" y="5"/>
                  </a:cubicBezTo>
                  <a:close/>
                </a:path>
              </a:pathLst>
            </a:custGeom>
            <a:solidFill>
              <a:schemeClr val="bg2">
                <a:alpha val="3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61" name="Freeform 849">
              <a:extLst>
                <a:ext uri="{FF2B5EF4-FFF2-40B4-BE49-F238E27FC236}">
                  <a16:creationId xmlns:a16="http://schemas.microsoft.com/office/drawing/2014/main" id="{9AEA13D7-F318-D94E-A6EC-16D10CBE4ABC}"/>
                </a:ext>
              </a:extLst>
            </p:cNvPr>
            <p:cNvSpPr>
              <a:spLocks/>
            </p:cNvSpPr>
            <p:nvPr/>
          </p:nvSpPr>
          <p:spPr bwMode="auto">
            <a:xfrm>
              <a:off x="2562234" y="2375357"/>
              <a:ext cx="23813" cy="25400"/>
            </a:xfrm>
            <a:custGeom>
              <a:avLst/>
              <a:gdLst>
                <a:gd name="T0" fmla="*/ 8 w 26"/>
                <a:gd name="T1" fmla="*/ 6 h 26"/>
                <a:gd name="T2" fmla="*/ 13 w 26"/>
                <a:gd name="T3" fmla="*/ 13 h 26"/>
                <a:gd name="T4" fmla="*/ 10 w 26"/>
                <a:gd name="T5" fmla="*/ 18 h 26"/>
                <a:gd name="T6" fmla="*/ 3 w 26"/>
                <a:gd name="T7" fmla="*/ 23 h 26"/>
                <a:gd name="T8" fmla="*/ 15 w 26"/>
                <a:gd name="T9" fmla="*/ 23 h 26"/>
                <a:gd name="T10" fmla="*/ 23 w 26"/>
                <a:gd name="T11" fmla="*/ 22 h 26"/>
                <a:gd name="T12" fmla="*/ 22 w 26"/>
                <a:gd name="T13" fmla="*/ 11 h 26"/>
                <a:gd name="T14" fmla="*/ 25 w 26"/>
                <a:gd name="T15" fmla="*/ 6 h 26"/>
                <a:gd name="T16" fmla="*/ 22 w 26"/>
                <a:gd name="T17" fmla="*/ 1 h 26"/>
                <a:gd name="T18" fmla="*/ 15 w 26"/>
                <a:gd name="T19" fmla="*/ 3 h 26"/>
                <a:gd name="T20" fmla="*/ 8 w 26"/>
                <a:gd name="T21"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6">
                  <a:moveTo>
                    <a:pt x="8" y="6"/>
                  </a:moveTo>
                  <a:cubicBezTo>
                    <a:pt x="10" y="8"/>
                    <a:pt x="13" y="10"/>
                    <a:pt x="13" y="13"/>
                  </a:cubicBezTo>
                  <a:cubicBezTo>
                    <a:pt x="13" y="15"/>
                    <a:pt x="14" y="15"/>
                    <a:pt x="10" y="18"/>
                  </a:cubicBezTo>
                  <a:cubicBezTo>
                    <a:pt x="5" y="21"/>
                    <a:pt x="0" y="23"/>
                    <a:pt x="3" y="23"/>
                  </a:cubicBezTo>
                  <a:cubicBezTo>
                    <a:pt x="7" y="23"/>
                    <a:pt x="10" y="23"/>
                    <a:pt x="15" y="23"/>
                  </a:cubicBezTo>
                  <a:cubicBezTo>
                    <a:pt x="20" y="23"/>
                    <a:pt x="23" y="26"/>
                    <a:pt x="23" y="22"/>
                  </a:cubicBezTo>
                  <a:cubicBezTo>
                    <a:pt x="23" y="19"/>
                    <a:pt x="22" y="14"/>
                    <a:pt x="22" y="11"/>
                  </a:cubicBezTo>
                  <a:cubicBezTo>
                    <a:pt x="23" y="8"/>
                    <a:pt x="24" y="7"/>
                    <a:pt x="25" y="6"/>
                  </a:cubicBezTo>
                  <a:cubicBezTo>
                    <a:pt x="26" y="4"/>
                    <a:pt x="24" y="0"/>
                    <a:pt x="22" y="1"/>
                  </a:cubicBezTo>
                  <a:cubicBezTo>
                    <a:pt x="20" y="2"/>
                    <a:pt x="18" y="3"/>
                    <a:pt x="15" y="3"/>
                  </a:cubicBezTo>
                  <a:cubicBezTo>
                    <a:pt x="12" y="4"/>
                    <a:pt x="3" y="1"/>
                    <a:pt x="8" y="6"/>
                  </a:cubicBezTo>
                  <a:close/>
                </a:path>
              </a:pathLst>
            </a:custGeom>
            <a:solidFill>
              <a:schemeClr val="bg2">
                <a:alpha val="3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62" name="Freeform 850">
              <a:extLst>
                <a:ext uri="{FF2B5EF4-FFF2-40B4-BE49-F238E27FC236}">
                  <a16:creationId xmlns:a16="http://schemas.microsoft.com/office/drawing/2014/main" id="{CFA24B78-FD1A-9741-819C-A43320367B4B}"/>
                </a:ext>
              </a:extLst>
            </p:cNvPr>
            <p:cNvSpPr>
              <a:spLocks/>
            </p:cNvSpPr>
            <p:nvPr/>
          </p:nvSpPr>
          <p:spPr bwMode="auto">
            <a:xfrm>
              <a:off x="1838331" y="2659520"/>
              <a:ext cx="28575" cy="41275"/>
            </a:xfrm>
            <a:custGeom>
              <a:avLst/>
              <a:gdLst>
                <a:gd name="T0" fmla="*/ 9 w 31"/>
                <a:gd name="T1" fmla="*/ 6 h 43"/>
                <a:gd name="T2" fmla="*/ 13 w 31"/>
                <a:gd name="T3" fmla="*/ 15 h 43"/>
                <a:gd name="T4" fmla="*/ 7 w 31"/>
                <a:gd name="T5" fmla="*/ 22 h 43"/>
                <a:gd name="T6" fmla="*/ 15 w 31"/>
                <a:gd name="T7" fmla="*/ 22 h 43"/>
                <a:gd name="T8" fmla="*/ 18 w 31"/>
                <a:gd name="T9" fmla="*/ 27 h 43"/>
                <a:gd name="T10" fmla="*/ 12 w 31"/>
                <a:gd name="T11" fmla="*/ 36 h 43"/>
                <a:gd name="T12" fmla="*/ 28 w 31"/>
                <a:gd name="T13" fmla="*/ 37 h 43"/>
                <a:gd name="T14" fmla="*/ 28 w 31"/>
                <a:gd name="T15" fmla="*/ 28 h 43"/>
                <a:gd name="T16" fmla="*/ 25 w 31"/>
                <a:gd name="T17" fmla="*/ 14 h 43"/>
                <a:gd name="T18" fmla="*/ 18 w 31"/>
                <a:gd name="T19" fmla="*/ 8 h 43"/>
                <a:gd name="T20" fmla="*/ 9 w 31"/>
                <a:gd name="T21" fmla="*/ 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9" y="6"/>
                  </a:moveTo>
                  <a:cubicBezTo>
                    <a:pt x="13" y="12"/>
                    <a:pt x="15" y="15"/>
                    <a:pt x="13" y="15"/>
                  </a:cubicBezTo>
                  <a:cubicBezTo>
                    <a:pt x="12" y="15"/>
                    <a:pt x="3" y="20"/>
                    <a:pt x="7" y="22"/>
                  </a:cubicBezTo>
                  <a:cubicBezTo>
                    <a:pt x="10" y="23"/>
                    <a:pt x="13" y="21"/>
                    <a:pt x="15" y="22"/>
                  </a:cubicBezTo>
                  <a:cubicBezTo>
                    <a:pt x="17" y="22"/>
                    <a:pt x="21" y="25"/>
                    <a:pt x="18" y="27"/>
                  </a:cubicBezTo>
                  <a:cubicBezTo>
                    <a:pt x="15" y="29"/>
                    <a:pt x="0" y="34"/>
                    <a:pt x="12" y="36"/>
                  </a:cubicBezTo>
                  <a:cubicBezTo>
                    <a:pt x="25" y="38"/>
                    <a:pt x="26" y="43"/>
                    <a:pt x="28" y="37"/>
                  </a:cubicBezTo>
                  <a:cubicBezTo>
                    <a:pt x="30" y="31"/>
                    <a:pt x="31" y="33"/>
                    <a:pt x="28" y="28"/>
                  </a:cubicBezTo>
                  <a:cubicBezTo>
                    <a:pt x="25" y="23"/>
                    <a:pt x="29" y="19"/>
                    <a:pt x="25" y="14"/>
                  </a:cubicBezTo>
                  <a:cubicBezTo>
                    <a:pt x="20" y="9"/>
                    <a:pt x="19" y="11"/>
                    <a:pt x="18" y="8"/>
                  </a:cubicBezTo>
                  <a:cubicBezTo>
                    <a:pt x="16" y="4"/>
                    <a:pt x="6" y="0"/>
                    <a:pt x="9"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63" name="Freeform 851">
              <a:extLst>
                <a:ext uri="{FF2B5EF4-FFF2-40B4-BE49-F238E27FC236}">
                  <a16:creationId xmlns:a16="http://schemas.microsoft.com/office/drawing/2014/main" id="{A23713EF-BE63-EC4E-B558-046D64B07C72}"/>
                </a:ext>
              </a:extLst>
            </p:cNvPr>
            <p:cNvSpPr>
              <a:spLocks/>
            </p:cNvSpPr>
            <p:nvPr/>
          </p:nvSpPr>
          <p:spPr bwMode="auto">
            <a:xfrm>
              <a:off x="1868494" y="2678570"/>
              <a:ext cx="14288" cy="11113"/>
            </a:xfrm>
            <a:custGeom>
              <a:avLst/>
              <a:gdLst>
                <a:gd name="T0" fmla="*/ 5 w 15"/>
                <a:gd name="T1" fmla="*/ 3 h 12"/>
                <a:gd name="T2" fmla="*/ 3 w 15"/>
                <a:gd name="T3" fmla="*/ 10 h 12"/>
                <a:gd name="T4" fmla="*/ 11 w 15"/>
                <a:gd name="T5" fmla="*/ 10 h 12"/>
                <a:gd name="T6" fmla="*/ 13 w 15"/>
                <a:gd name="T7" fmla="*/ 5 h 12"/>
                <a:gd name="T8" fmla="*/ 5 w 15"/>
                <a:gd name="T9" fmla="*/ 3 h 12"/>
              </a:gdLst>
              <a:ahLst/>
              <a:cxnLst>
                <a:cxn ang="0">
                  <a:pos x="T0" y="T1"/>
                </a:cxn>
                <a:cxn ang="0">
                  <a:pos x="T2" y="T3"/>
                </a:cxn>
                <a:cxn ang="0">
                  <a:pos x="T4" y="T5"/>
                </a:cxn>
                <a:cxn ang="0">
                  <a:pos x="T6" y="T7"/>
                </a:cxn>
                <a:cxn ang="0">
                  <a:pos x="T8" y="T9"/>
                </a:cxn>
              </a:cxnLst>
              <a:rect l="0" t="0" r="r" b="b"/>
              <a:pathLst>
                <a:path w="15" h="12">
                  <a:moveTo>
                    <a:pt x="5" y="3"/>
                  </a:moveTo>
                  <a:cubicBezTo>
                    <a:pt x="4" y="6"/>
                    <a:pt x="0" y="9"/>
                    <a:pt x="3" y="10"/>
                  </a:cubicBezTo>
                  <a:cubicBezTo>
                    <a:pt x="6" y="11"/>
                    <a:pt x="8" y="12"/>
                    <a:pt x="11" y="10"/>
                  </a:cubicBezTo>
                  <a:cubicBezTo>
                    <a:pt x="13" y="8"/>
                    <a:pt x="15" y="7"/>
                    <a:pt x="13" y="5"/>
                  </a:cubicBezTo>
                  <a:cubicBezTo>
                    <a:pt x="12" y="3"/>
                    <a:pt x="6" y="0"/>
                    <a:pt x="5"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64" name="Freeform 852">
              <a:extLst>
                <a:ext uri="{FF2B5EF4-FFF2-40B4-BE49-F238E27FC236}">
                  <a16:creationId xmlns:a16="http://schemas.microsoft.com/office/drawing/2014/main" id="{D87FA071-73B1-8049-B5AB-E0BABC18180E}"/>
                </a:ext>
              </a:extLst>
            </p:cNvPr>
            <p:cNvSpPr>
              <a:spLocks/>
            </p:cNvSpPr>
            <p:nvPr/>
          </p:nvSpPr>
          <p:spPr bwMode="auto">
            <a:xfrm>
              <a:off x="1892307" y="2683333"/>
              <a:ext cx="9525" cy="14288"/>
            </a:xfrm>
            <a:custGeom>
              <a:avLst/>
              <a:gdLst>
                <a:gd name="T0" fmla="*/ 2 w 10"/>
                <a:gd name="T1" fmla="*/ 3 h 14"/>
                <a:gd name="T2" fmla="*/ 2 w 10"/>
                <a:gd name="T3" fmla="*/ 11 h 14"/>
                <a:gd name="T4" fmla="*/ 5 w 10"/>
                <a:gd name="T5" fmla="*/ 9 h 14"/>
                <a:gd name="T6" fmla="*/ 9 w 10"/>
                <a:gd name="T7" fmla="*/ 3 h 14"/>
                <a:gd name="T8" fmla="*/ 1 w 10"/>
                <a:gd name="T9" fmla="*/ 0 h 14"/>
                <a:gd name="T10" fmla="*/ 2 w 10"/>
                <a:gd name="T11" fmla="*/ 3 h 14"/>
              </a:gdLst>
              <a:ahLst/>
              <a:cxnLst>
                <a:cxn ang="0">
                  <a:pos x="T0" y="T1"/>
                </a:cxn>
                <a:cxn ang="0">
                  <a:pos x="T2" y="T3"/>
                </a:cxn>
                <a:cxn ang="0">
                  <a:pos x="T4" y="T5"/>
                </a:cxn>
                <a:cxn ang="0">
                  <a:pos x="T6" y="T7"/>
                </a:cxn>
                <a:cxn ang="0">
                  <a:pos x="T8" y="T9"/>
                </a:cxn>
                <a:cxn ang="0">
                  <a:pos x="T10" y="T11"/>
                </a:cxn>
              </a:cxnLst>
              <a:rect l="0" t="0" r="r" b="b"/>
              <a:pathLst>
                <a:path w="10" h="14">
                  <a:moveTo>
                    <a:pt x="2" y="3"/>
                  </a:moveTo>
                  <a:cubicBezTo>
                    <a:pt x="2" y="7"/>
                    <a:pt x="0" y="11"/>
                    <a:pt x="2" y="11"/>
                  </a:cubicBezTo>
                  <a:cubicBezTo>
                    <a:pt x="5" y="12"/>
                    <a:pt x="3" y="14"/>
                    <a:pt x="5" y="9"/>
                  </a:cubicBezTo>
                  <a:cubicBezTo>
                    <a:pt x="8" y="5"/>
                    <a:pt x="10" y="5"/>
                    <a:pt x="9" y="3"/>
                  </a:cubicBezTo>
                  <a:cubicBezTo>
                    <a:pt x="7" y="0"/>
                    <a:pt x="1" y="1"/>
                    <a:pt x="1" y="0"/>
                  </a:cubicBezTo>
                  <a:cubicBezTo>
                    <a:pt x="1" y="0"/>
                    <a:pt x="0" y="1"/>
                    <a:pt x="2"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65" name="Freeform 853">
              <a:extLst>
                <a:ext uri="{FF2B5EF4-FFF2-40B4-BE49-F238E27FC236}">
                  <a16:creationId xmlns:a16="http://schemas.microsoft.com/office/drawing/2014/main" id="{C1216D8C-E213-F647-A05C-7B4E084FB864}"/>
                </a:ext>
              </a:extLst>
            </p:cNvPr>
            <p:cNvSpPr>
              <a:spLocks/>
            </p:cNvSpPr>
            <p:nvPr/>
          </p:nvSpPr>
          <p:spPr bwMode="auto">
            <a:xfrm>
              <a:off x="1866906" y="2667458"/>
              <a:ext cx="9525" cy="9525"/>
            </a:xfrm>
            <a:custGeom>
              <a:avLst/>
              <a:gdLst>
                <a:gd name="T0" fmla="*/ 4 w 10"/>
                <a:gd name="T1" fmla="*/ 2 h 10"/>
                <a:gd name="T2" fmla="*/ 8 w 10"/>
                <a:gd name="T3" fmla="*/ 2 h 10"/>
                <a:gd name="T4" fmla="*/ 8 w 10"/>
                <a:gd name="T5" fmla="*/ 7 h 10"/>
                <a:gd name="T6" fmla="*/ 4 w 10"/>
                <a:gd name="T7" fmla="*/ 8 h 10"/>
                <a:gd name="T8" fmla="*/ 0 w 10"/>
                <a:gd name="T9" fmla="*/ 4 h 10"/>
                <a:gd name="T10" fmla="*/ 4 w 10"/>
                <a:gd name="T11" fmla="*/ 2 h 10"/>
              </a:gdLst>
              <a:ahLst/>
              <a:cxnLst>
                <a:cxn ang="0">
                  <a:pos x="T0" y="T1"/>
                </a:cxn>
                <a:cxn ang="0">
                  <a:pos x="T2" y="T3"/>
                </a:cxn>
                <a:cxn ang="0">
                  <a:pos x="T4" y="T5"/>
                </a:cxn>
                <a:cxn ang="0">
                  <a:pos x="T6" y="T7"/>
                </a:cxn>
                <a:cxn ang="0">
                  <a:pos x="T8" y="T9"/>
                </a:cxn>
                <a:cxn ang="0">
                  <a:pos x="T10" y="T11"/>
                </a:cxn>
              </a:cxnLst>
              <a:rect l="0" t="0" r="r" b="b"/>
              <a:pathLst>
                <a:path w="10" h="10">
                  <a:moveTo>
                    <a:pt x="4" y="2"/>
                  </a:moveTo>
                  <a:cubicBezTo>
                    <a:pt x="7" y="2"/>
                    <a:pt x="8" y="0"/>
                    <a:pt x="8" y="2"/>
                  </a:cubicBezTo>
                  <a:cubicBezTo>
                    <a:pt x="8" y="5"/>
                    <a:pt x="10" y="5"/>
                    <a:pt x="8" y="7"/>
                  </a:cubicBezTo>
                  <a:cubicBezTo>
                    <a:pt x="6" y="8"/>
                    <a:pt x="6" y="10"/>
                    <a:pt x="4" y="8"/>
                  </a:cubicBezTo>
                  <a:cubicBezTo>
                    <a:pt x="1" y="5"/>
                    <a:pt x="1" y="5"/>
                    <a:pt x="0" y="4"/>
                  </a:cubicBezTo>
                  <a:cubicBezTo>
                    <a:pt x="0" y="3"/>
                    <a:pt x="3" y="1"/>
                    <a:pt x="4"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66" name="Freeform 854">
              <a:extLst>
                <a:ext uri="{FF2B5EF4-FFF2-40B4-BE49-F238E27FC236}">
                  <a16:creationId xmlns:a16="http://schemas.microsoft.com/office/drawing/2014/main" id="{21F4A249-B131-C346-8777-7EECA8FA300B}"/>
                </a:ext>
              </a:extLst>
            </p:cNvPr>
            <p:cNvSpPr>
              <a:spLocks/>
            </p:cNvSpPr>
            <p:nvPr/>
          </p:nvSpPr>
          <p:spPr bwMode="auto">
            <a:xfrm>
              <a:off x="2254258" y="1992769"/>
              <a:ext cx="9525" cy="28575"/>
            </a:xfrm>
            <a:custGeom>
              <a:avLst/>
              <a:gdLst>
                <a:gd name="T0" fmla="*/ 0 w 9"/>
                <a:gd name="T1" fmla="*/ 5 h 29"/>
                <a:gd name="T2" fmla="*/ 4 w 9"/>
                <a:gd name="T3" fmla="*/ 18 h 29"/>
                <a:gd name="T4" fmla="*/ 7 w 9"/>
                <a:gd name="T5" fmla="*/ 24 h 29"/>
                <a:gd name="T6" fmla="*/ 7 w 9"/>
                <a:gd name="T7" fmla="*/ 12 h 29"/>
                <a:gd name="T8" fmla="*/ 0 w 9"/>
                <a:gd name="T9" fmla="*/ 5 h 29"/>
              </a:gdLst>
              <a:ahLst/>
              <a:cxnLst>
                <a:cxn ang="0">
                  <a:pos x="T0" y="T1"/>
                </a:cxn>
                <a:cxn ang="0">
                  <a:pos x="T2" y="T3"/>
                </a:cxn>
                <a:cxn ang="0">
                  <a:pos x="T4" y="T5"/>
                </a:cxn>
                <a:cxn ang="0">
                  <a:pos x="T6" y="T7"/>
                </a:cxn>
                <a:cxn ang="0">
                  <a:pos x="T8" y="T9"/>
                </a:cxn>
              </a:cxnLst>
              <a:rect l="0" t="0" r="r" b="b"/>
              <a:pathLst>
                <a:path w="9" h="29">
                  <a:moveTo>
                    <a:pt x="0" y="5"/>
                  </a:moveTo>
                  <a:cubicBezTo>
                    <a:pt x="0" y="13"/>
                    <a:pt x="3" y="13"/>
                    <a:pt x="4" y="18"/>
                  </a:cubicBezTo>
                  <a:cubicBezTo>
                    <a:pt x="4" y="22"/>
                    <a:pt x="6" y="29"/>
                    <a:pt x="7" y="24"/>
                  </a:cubicBezTo>
                  <a:cubicBezTo>
                    <a:pt x="8" y="20"/>
                    <a:pt x="9" y="16"/>
                    <a:pt x="7" y="12"/>
                  </a:cubicBezTo>
                  <a:cubicBezTo>
                    <a:pt x="5" y="7"/>
                    <a:pt x="0" y="0"/>
                    <a:pt x="0"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67" name="Freeform 855">
              <a:extLst>
                <a:ext uri="{FF2B5EF4-FFF2-40B4-BE49-F238E27FC236}">
                  <a16:creationId xmlns:a16="http://schemas.microsoft.com/office/drawing/2014/main" id="{1E3B2C81-EB5F-C74F-8CC5-B3D976ACF3B3}"/>
                </a:ext>
              </a:extLst>
            </p:cNvPr>
            <p:cNvSpPr>
              <a:spLocks/>
            </p:cNvSpPr>
            <p:nvPr/>
          </p:nvSpPr>
          <p:spPr bwMode="auto">
            <a:xfrm>
              <a:off x="2268545" y="2046744"/>
              <a:ext cx="22225" cy="22225"/>
            </a:xfrm>
            <a:custGeom>
              <a:avLst/>
              <a:gdLst>
                <a:gd name="T0" fmla="*/ 16 w 23"/>
                <a:gd name="T1" fmla="*/ 7 h 23"/>
                <a:gd name="T2" fmla="*/ 16 w 23"/>
                <a:gd name="T3" fmla="*/ 16 h 23"/>
                <a:gd name="T4" fmla="*/ 7 w 23"/>
                <a:gd name="T5" fmla="*/ 22 h 23"/>
                <a:gd name="T6" fmla="*/ 22 w 23"/>
                <a:gd name="T7" fmla="*/ 18 h 23"/>
                <a:gd name="T8" fmla="*/ 16 w 23"/>
                <a:gd name="T9" fmla="*/ 7 h 23"/>
              </a:gdLst>
              <a:ahLst/>
              <a:cxnLst>
                <a:cxn ang="0">
                  <a:pos x="T0" y="T1"/>
                </a:cxn>
                <a:cxn ang="0">
                  <a:pos x="T2" y="T3"/>
                </a:cxn>
                <a:cxn ang="0">
                  <a:pos x="T4" y="T5"/>
                </a:cxn>
                <a:cxn ang="0">
                  <a:pos x="T6" y="T7"/>
                </a:cxn>
                <a:cxn ang="0">
                  <a:pos x="T8" y="T9"/>
                </a:cxn>
              </a:cxnLst>
              <a:rect l="0" t="0" r="r" b="b"/>
              <a:pathLst>
                <a:path w="23" h="23">
                  <a:moveTo>
                    <a:pt x="16" y="7"/>
                  </a:moveTo>
                  <a:cubicBezTo>
                    <a:pt x="16" y="13"/>
                    <a:pt x="20" y="15"/>
                    <a:pt x="16" y="16"/>
                  </a:cubicBezTo>
                  <a:cubicBezTo>
                    <a:pt x="12" y="18"/>
                    <a:pt x="0" y="22"/>
                    <a:pt x="7" y="22"/>
                  </a:cubicBezTo>
                  <a:cubicBezTo>
                    <a:pt x="14" y="22"/>
                    <a:pt x="23" y="23"/>
                    <a:pt x="22" y="18"/>
                  </a:cubicBezTo>
                  <a:cubicBezTo>
                    <a:pt x="20" y="13"/>
                    <a:pt x="14" y="0"/>
                    <a:pt x="16" y="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68" name="Freeform 856">
              <a:extLst>
                <a:ext uri="{FF2B5EF4-FFF2-40B4-BE49-F238E27FC236}">
                  <a16:creationId xmlns:a16="http://schemas.microsoft.com/office/drawing/2014/main" id="{3C98736C-F4F8-9C49-819A-B70AA12C5407}"/>
                </a:ext>
              </a:extLst>
            </p:cNvPr>
            <p:cNvSpPr>
              <a:spLocks/>
            </p:cNvSpPr>
            <p:nvPr/>
          </p:nvSpPr>
          <p:spPr bwMode="auto">
            <a:xfrm>
              <a:off x="2362208" y="2322970"/>
              <a:ext cx="14288" cy="9525"/>
            </a:xfrm>
            <a:custGeom>
              <a:avLst/>
              <a:gdLst>
                <a:gd name="T0" fmla="*/ 3 w 15"/>
                <a:gd name="T1" fmla="*/ 1 h 11"/>
                <a:gd name="T2" fmla="*/ 3 w 15"/>
                <a:gd name="T3" fmla="*/ 6 h 11"/>
                <a:gd name="T4" fmla="*/ 8 w 15"/>
                <a:gd name="T5" fmla="*/ 9 h 11"/>
                <a:gd name="T6" fmla="*/ 11 w 15"/>
                <a:gd name="T7" fmla="*/ 7 h 11"/>
                <a:gd name="T8" fmla="*/ 5 w 15"/>
                <a:gd name="T9" fmla="*/ 1 h 11"/>
                <a:gd name="T10" fmla="*/ 3 w 15"/>
                <a:gd name="T11" fmla="*/ 1 h 11"/>
              </a:gdLst>
              <a:ahLst/>
              <a:cxnLst>
                <a:cxn ang="0">
                  <a:pos x="T0" y="T1"/>
                </a:cxn>
                <a:cxn ang="0">
                  <a:pos x="T2" y="T3"/>
                </a:cxn>
                <a:cxn ang="0">
                  <a:pos x="T4" y="T5"/>
                </a:cxn>
                <a:cxn ang="0">
                  <a:pos x="T6" y="T7"/>
                </a:cxn>
                <a:cxn ang="0">
                  <a:pos x="T8" y="T9"/>
                </a:cxn>
                <a:cxn ang="0">
                  <a:pos x="T10" y="T11"/>
                </a:cxn>
              </a:cxnLst>
              <a:rect l="0" t="0" r="r" b="b"/>
              <a:pathLst>
                <a:path w="15" h="11">
                  <a:moveTo>
                    <a:pt x="3" y="1"/>
                  </a:moveTo>
                  <a:cubicBezTo>
                    <a:pt x="3" y="3"/>
                    <a:pt x="0" y="4"/>
                    <a:pt x="3" y="6"/>
                  </a:cubicBezTo>
                  <a:cubicBezTo>
                    <a:pt x="5" y="8"/>
                    <a:pt x="6" y="9"/>
                    <a:pt x="8" y="9"/>
                  </a:cubicBezTo>
                  <a:cubicBezTo>
                    <a:pt x="9" y="9"/>
                    <a:pt x="15" y="11"/>
                    <a:pt x="11" y="7"/>
                  </a:cubicBezTo>
                  <a:cubicBezTo>
                    <a:pt x="6" y="3"/>
                    <a:pt x="5" y="2"/>
                    <a:pt x="5" y="1"/>
                  </a:cubicBezTo>
                  <a:cubicBezTo>
                    <a:pt x="4" y="0"/>
                    <a:pt x="3" y="0"/>
                    <a:pt x="3" y="1"/>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69" name="Freeform 857">
              <a:extLst>
                <a:ext uri="{FF2B5EF4-FFF2-40B4-BE49-F238E27FC236}">
                  <a16:creationId xmlns:a16="http://schemas.microsoft.com/office/drawing/2014/main" id="{6C732A6A-3E55-1B4F-B81D-0994A3D68CFE}"/>
                </a:ext>
              </a:extLst>
            </p:cNvPr>
            <p:cNvSpPr>
              <a:spLocks/>
            </p:cNvSpPr>
            <p:nvPr/>
          </p:nvSpPr>
          <p:spPr bwMode="auto">
            <a:xfrm>
              <a:off x="1047754" y="1118055"/>
              <a:ext cx="98425" cy="49213"/>
            </a:xfrm>
            <a:custGeom>
              <a:avLst/>
              <a:gdLst>
                <a:gd name="T0" fmla="*/ 9 w 103"/>
                <a:gd name="T1" fmla="*/ 34 h 52"/>
                <a:gd name="T2" fmla="*/ 2 w 103"/>
                <a:gd name="T3" fmla="*/ 45 h 52"/>
                <a:gd name="T4" fmla="*/ 8 w 103"/>
                <a:gd name="T5" fmla="*/ 50 h 52"/>
                <a:gd name="T6" fmla="*/ 22 w 103"/>
                <a:gd name="T7" fmla="*/ 42 h 52"/>
                <a:gd name="T8" fmla="*/ 42 w 103"/>
                <a:gd name="T9" fmla="*/ 39 h 52"/>
                <a:gd name="T10" fmla="*/ 57 w 103"/>
                <a:gd name="T11" fmla="*/ 34 h 52"/>
                <a:gd name="T12" fmla="*/ 70 w 103"/>
                <a:gd name="T13" fmla="*/ 24 h 52"/>
                <a:gd name="T14" fmla="*/ 67 w 103"/>
                <a:gd name="T15" fmla="*/ 15 h 52"/>
                <a:gd name="T16" fmla="*/ 82 w 103"/>
                <a:gd name="T17" fmla="*/ 12 h 52"/>
                <a:gd name="T18" fmla="*/ 91 w 103"/>
                <a:gd name="T19" fmla="*/ 3 h 52"/>
                <a:gd name="T20" fmla="*/ 67 w 103"/>
                <a:gd name="T21" fmla="*/ 9 h 52"/>
                <a:gd name="T22" fmla="*/ 54 w 103"/>
                <a:gd name="T23" fmla="*/ 18 h 52"/>
                <a:gd name="T24" fmla="*/ 41 w 103"/>
                <a:gd name="T25" fmla="*/ 24 h 52"/>
                <a:gd name="T26" fmla="*/ 31 w 103"/>
                <a:gd name="T27" fmla="*/ 26 h 52"/>
                <a:gd name="T28" fmla="*/ 21 w 103"/>
                <a:gd name="T29" fmla="*/ 28 h 52"/>
                <a:gd name="T30" fmla="*/ 9 w 103"/>
                <a:gd name="T31" fmla="*/ 3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 h="52">
                  <a:moveTo>
                    <a:pt x="9" y="34"/>
                  </a:moveTo>
                  <a:cubicBezTo>
                    <a:pt x="8" y="36"/>
                    <a:pt x="2" y="42"/>
                    <a:pt x="2" y="45"/>
                  </a:cubicBezTo>
                  <a:cubicBezTo>
                    <a:pt x="2" y="48"/>
                    <a:pt x="0" y="52"/>
                    <a:pt x="8" y="50"/>
                  </a:cubicBezTo>
                  <a:cubicBezTo>
                    <a:pt x="15" y="47"/>
                    <a:pt x="12" y="42"/>
                    <a:pt x="22" y="42"/>
                  </a:cubicBezTo>
                  <a:cubicBezTo>
                    <a:pt x="31" y="42"/>
                    <a:pt x="36" y="42"/>
                    <a:pt x="42" y="39"/>
                  </a:cubicBezTo>
                  <a:cubicBezTo>
                    <a:pt x="47" y="36"/>
                    <a:pt x="50" y="37"/>
                    <a:pt x="57" y="34"/>
                  </a:cubicBezTo>
                  <a:cubicBezTo>
                    <a:pt x="65" y="30"/>
                    <a:pt x="73" y="28"/>
                    <a:pt x="70" y="24"/>
                  </a:cubicBezTo>
                  <a:cubicBezTo>
                    <a:pt x="67" y="19"/>
                    <a:pt x="61" y="16"/>
                    <a:pt x="67" y="15"/>
                  </a:cubicBezTo>
                  <a:cubicBezTo>
                    <a:pt x="73" y="15"/>
                    <a:pt x="71" y="17"/>
                    <a:pt x="82" y="12"/>
                  </a:cubicBezTo>
                  <a:cubicBezTo>
                    <a:pt x="93" y="8"/>
                    <a:pt x="103" y="0"/>
                    <a:pt x="91" y="3"/>
                  </a:cubicBezTo>
                  <a:cubicBezTo>
                    <a:pt x="78" y="7"/>
                    <a:pt x="77" y="5"/>
                    <a:pt x="67" y="9"/>
                  </a:cubicBezTo>
                  <a:cubicBezTo>
                    <a:pt x="57" y="13"/>
                    <a:pt x="61" y="15"/>
                    <a:pt x="54" y="18"/>
                  </a:cubicBezTo>
                  <a:cubicBezTo>
                    <a:pt x="48" y="22"/>
                    <a:pt x="45" y="23"/>
                    <a:pt x="41" y="24"/>
                  </a:cubicBezTo>
                  <a:cubicBezTo>
                    <a:pt x="38" y="25"/>
                    <a:pt x="36" y="25"/>
                    <a:pt x="31" y="26"/>
                  </a:cubicBezTo>
                  <a:cubicBezTo>
                    <a:pt x="27" y="28"/>
                    <a:pt x="27" y="27"/>
                    <a:pt x="21" y="28"/>
                  </a:cubicBezTo>
                  <a:cubicBezTo>
                    <a:pt x="15" y="29"/>
                    <a:pt x="10" y="32"/>
                    <a:pt x="9" y="3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70" name="Freeform 858">
              <a:extLst>
                <a:ext uri="{FF2B5EF4-FFF2-40B4-BE49-F238E27FC236}">
                  <a16:creationId xmlns:a16="http://schemas.microsoft.com/office/drawing/2014/main" id="{28FC79FD-F5B0-2F4E-B9FF-B83A41701ED4}"/>
                </a:ext>
              </a:extLst>
            </p:cNvPr>
            <p:cNvSpPr>
              <a:spLocks/>
            </p:cNvSpPr>
            <p:nvPr/>
          </p:nvSpPr>
          <p:spPr bwMode="auto">
            <a:xfrm>
              <a:off x="893766" y="1073605"/>
              <a:ext cx="42863" cy="17463"/>
            </a:xfrm>
            <a:custGeom>
              <a:avLst/>
              <a:gdLst>
                <a:gd name="T0" fmla="*/ 4 w 46"/>
                <a:gd name="T1" fmla="*/ 9 h 19"/>
                <a:gd name="T2" fmla="*/ 4 w 46"/>
                <a:gd name="T3" fmla="*/ 13 h 19"/>
                <a:gd name="T4" fmla="*/ 16 w 46"/>
                <a:gd name="T5" fmla="*/ 19 h 19"/>
                <a:gd name="T6" fmla="*/ 25 w 46"/>
                <a:gd name="T7" fmla="*/ 16 h 19"/>
                <a:gd name="T8" fmla="*/ 35 w 46"/>
                <a:gd name="T9" fmla="*/ 14 h 19"/>
                <a:gd name="T10" fmla="*/ 42 w 46"/>
                <a:gd name="T11" fmla="*/ 6 h 19"/>
                <a:gd name="T12" fmla="*/ 34 w 46"/>
                <a:gd name="T13" fmla="*/ 3 h 19"/>
                <a:gd name="T14" fmla="*/ 18 w 46"/>
                <a:gd name="T15" fmla="*/ 5 h 19"/>
                <a:gd name="T16" fmla="*/ 7 w 46"/>
                <a:gd name="T17" fmla="*/ 8 h 19"/>
                <a:gd name="T18" fmla="*/ 4 w 46"/>
                <a:gd name="T19"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9">
                  <a:moveTo>
                    <a:pt x="4" y="9"/>
                  </a:moveTo>
                  <a:cubicBezTo>
                    <a:pt x="4" y="10"/>
                    <a:pt x="0" y="9"/>
                    <a:pt x="4" y="13"/>
                  </a:cubicBezTo>
                  <a:cubicBezTo>
                    <a:pt x="8" y="17"/>
                    <a:pt x="11" y="19"/>
                    <a:pt x="16" y="19"/>
                  </a:cubicBezTo>
                  <a:cubicBezTo>
                    <a:pt x="20" y="19"/>
                    <a:pt x="19" y="18"/>
                    <a:pt x="25" y="16"/>
                  </a:cubicBezTo>
                  <a:cubicBezTo>
                    <a:pt x="32" y="15"/>
                    <a:pt x="33" y="16"/>
                    <a:pt x="35" y="14"/>
                  </a:cubicBezTo>
                  <a:cubicBezTo>
                    <a:pt x="38" y="11"/>
                    <a:pt x="46" y="9"/>
                    <a:pt x="42" y="6"/>
                  </a:cubicBezTo>
                  <a:cubicBezTo>
                    <a:pt x="39" y="3"/>
                    <a:pt x="42" y="0"/>
                    <a:pt x="34" y="3"/>
                  </a:cubicBezTo>
                  <a:cubicBezTo>
                    <a:pt x="25" y="6"/>
                    <a:pt x="19" y="3"/>
                    <a:pt x="18" y="5"/>
                  </a:cubicBezTo>
                  <a:cubicBezTo>
                    <a:pt x="16" y="8"/>
                    <a:pt x="8" y="8"/>
                    <a:pt x="7" y="8"/>
                  </a:cubicBezTo>
                  <a:cubicBezTo>
                    <a:pt x="5" y="8"/>
                    <a:pt x="5" y="8"/>
                    <a:pt x="4" y="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71" name="Freeform 859">
              <a:extLst>
                <a:ext uri="{FF2B5EF4-FFF2-40B4-BE49-F238E27FC236}">
                  <a16:creationId xmlns:a16="http://schemas.microsoft.com/office/drawing/2014/main" id="{E4880BA5-11EC-D34F-BBA6-5F31C1DB3C06}"/>
                </a:ext>
              </a:extLst>
            </p:cNvPr>
            <p:cNvSpPr>
              <a:spLocks/>
            </p:cNvSpPr>
            <p:nvPr/>
          </p:nvSpPr>
          <p:spPr bwMode="auto">
            <a:xfrm>
              <a:off x="946154" y="1000580"/>
              <a:ext cx="33338" cy="14288"/>
            </a:xfrm>
            <a:custGeom>
              <a:avLst/>
              <a:gdLst>
                <a:gd name="T0" fmla="*/ 4 w 36"/>
                <a:gd name="T1" fmla="*/ 6 h 14"/>
                <a:gd name="T2" fmla="*/ 1 w 36"/>
                <a:gd name="T3" fmla="*/ 10 h 14"/>
                <a:gd name="T4" fmla="*/ 4 w 36"/>
                <a:gd name="T5" fmla="*/ 14 h 14"/>
                <a:gd name="T6" fmla="*/ 10 w 36"/>
                <a:gd name="T7" fmla="*/ 12 h 14"/>
                <a:gd name="T8" fmla="*/ 20 w 36"/>
                <a:gd name="T9" fmla="*/ 9 h 14"/>
                <a:gd name="T10" fmla="*/ 29 w 36"/>
                <a:gd name="T11" fmla="*/ 8 h 14"/>
                <a:gd name="T12" fmla="*/ 28 w 36"/>
                <a:gd name="T13" fmla="*/ 4 h 14"/>
                <a:gd name="T14" fmla="*/ 18 w 36"/>
                <a:gd name="T15" fmla="*/ 2 h 14"/>
                <a:gd name="T16" fmla="*/ 11 w 36"/>
                <a:gd name="T17" fmla="*/ 2 h 14"/>
                <a:gd name="T18" fmla="*/ 4 w 36"/>
                <a:gd name="T19"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4">
                  <a:moveTo>
                    <a:pt x="4" y="6"/>
                  </a:moveTo>
                  <a:cubicBezTo>
                    <a:pt x="3" y="7"/>
                    <a:pt x="0" y="8"/>
                    <a:pt x="1" y="10"/>
                  </a:cubicBezTo>
                  <a:cubicBezTo>
                    <a:pt x="1" y="13"/>
                    <a:pt x="1" y="14"/>
                    <a:pt x="4" y="14"/>
                  </a:cubicBezTo>
                  <a:cubicBezTo>
                    <a:pt x="7" y="14"/>
                    <a:pt x="6" y="13"/>
                    <a:pt x="10" y="12"/>
                  </a:cubicBezTo>
                  <a:cubicBezTo>
                    <a:pt x="14" y="10"/>
                    <a:pt x="14" y="9"/>
                    <a:pt x="20" y="9"/>
                  </a:cubicBezTo>
                  <a:cubicBezTo>
                    <a:pt x="25" y="10"/>
                    <a:pt x="27" y="10"/>
                    <a:pt x="29" y="8"/>
                  </a:cubicBezTo>
                  <a:cubicBezTo>
                    <a:pt x="31" y="6"/>
                    <a:pt x="36" y="4"/>
                    <a:pt x="28" y="4"/>
                  </a:cubicBezTo>
                  <a:cubicBezTo>
                    <a:pt x="21" y="4"/>
                    <a:pt x="20" y="3"/>
                    <a:pt x="18" y="2"/>
                  </a:cubicBezTo>
                  <a:cubicBezTo>
                    <a:pt x="15" y="1"/>
                    <a:pt x="15" y="0"/>
                    <a:pt x="11" y="2"/>
                  </a:cubicBezTo>
                  <a:cubicBezTo>
                    <a:pt x="6" y="4"/>
                    <a:pt x="4" y="5"/>
                    <a:pt x="4"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72" name="Freeform 860">
              <a:extLst>
                <a:ext uri="{FF2B5EF4-FFF2-40B4-BE49-F238E27FC236}">
                  <a16:creationId xmlns:a16="http://schemas.microsoft.com/office/drawing/2014/main" id="{6654F003-6E0A-5D4E-924A-9466C5FE3D94}"/>
                </a:ext>
              </a:extLst>
            </p:cNvPr>
            <p:cNvSpPr>
              <a:spLocks/>
            </p:cNvSpPr>
            <p:nvPr/>
          </p:nvSpPr>
          <p:spPr bwMode="auto">
            <a:xfrm>
              <a:off x="2630496" y="2318207"/>
              <a:ext cx="11113" cy="15875"/>
            </a:xfrm>
            <a:custGeom>
              <a:avLst/>
              <a:gdLst>
                <a:gd name="T0" fmla="*/ 4 w 11"/>
                <a:gd name="T1" fmla="*/ 3 h 16"/>
                <a:gd name="T2" fmla="*/ 1 w 11"/>
                <a:gd name="T3" fmla="*/ 11 h 16"/>
                <a:gd name="T4" fmla="*/ 1 w 11"/>
                <a:gd name="T5" fmla="*/ 13 h 16"/>
                <a:gd name="T6" fmla="*/ 4 w 11"/>
                <a:gd name="T7" fmla="*/ 14 h 16"/>
                <a:gd name="T8" fmla="*/ 8 w 11"/>
                <a:gd name="T9" fmla="*/ 10 h 16"/>
                <a:gd name="T10" fmla="*/ 10 w 11"/>
                <a:gd name="T11" fmla="*/ 3 h 16"/>
                <a:gd name="T12" fmla="*/ 8 w 11"/>
                <a:gd name="T13" fmla="*/ 0 h 16"/>
                <a:gd name="T14" fmla="*/ 4 w 11"/>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6">
                  <a:moveTo>
                    <a:pt x="4" y="3"/>
                  </a:moveTo>
                  <a:cubicBezTo>
                    <a:pt x="3" y="7"/>
                    <a:pt x="2" y="10"/>
                    <a:pt x="1" y="11"/>
                  </a:cubicBezTo>
                  <a:cubicBezTo>
                    <a:pt x="1" y="12"/>
                    <a:pt x="0" y="12"/>
                    <a:pt x="1" y="13"/>
                  </a:cubicBezTo>
                  <a:cubicBezTo>
                    <a:pt x="2" y="14"/>
                    <a:pt x="3" y="16"/>
                    <a:pt x="4" y="14"/>
                  </a:cubicBezTo>
                  <a:cubicBezTo>
                    <a:pt x="5" y="13"/>
                    <a:pt x="6" y="12"/>
                    <a:pt x="8" y="10"/>
                  </a:cubicBezTo>
                  <a:cubicBezTo>
                    <a:pt x="10" y="8"/>
                    <a:pt x="11" y="5"/>
                    <a:pt x="10" y="3"/>
                  </a:cubicBezTo>
                  <a:cubicBezTo>
                    <a:pt x="9" y="2"/>
                    <a:pt x="10" y="0"/>
                    <a:pt x="8" y="0"/>
                  </a:cubicBezTo>
                  <a:cubicBezTo>
                    <a:pt x="6" y="0"/>
                    <a:pt x="5" y="2"/>
                    <a:pt x="4" y="3"/>
                  </a:cubicBezTo>
                  <a:close/>
                </a:path>
              </a:pathLst>
            </a:custGeom>
            <a:solidFill>
              <a:schemeClr val="bg2">
                <a:alpha val="3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73" name="Freeform 861">
              <a:extLst>
                <a:ext uri="{FF2B5EF4-FFF2-40B4-BE49-F238E27FC236}">
                  <a16:creationId xmlns:a16="http://schemas.microsoft.com/office/drawing/2014/main" id="{847D1673-E3B6-6E43-B28A-DEAB2737347D}"/>
                </a:ext>
              </a:extLst>
            </p:cNvPr>
            <p:cNvSpPr>
              <a:spLocks/>
            </p:cNvSpPr>
            <p:nvPr/>
          </p:nvSpPr>
          <p:spPr bwMode="auto">
            <a:xfrm>
              <a:off x="2501908" y="2167394"/>
              <a:ext cx="28575" cy="7938"/>
            </a:xfrm>
            <a:custGeom>
              <a:avLst/>
              <a:gdLst>
                <a:gd name="T0" fmla="*/ 0 w 29"/>
                <a:gd name="T1" fmla="*/ 6 h 8"/>
                <a:gd name="T2" fmla="*/ 15 w 29"/>
                <a:gd name="T3" fmla="*/ 2 h 8"/>
                <a:gd name="T4" fmla="*/ 24 w 29"/>
                <a:gd name="T5" fmla="*/ 5 h 8"/>
                <a:gd name="T6" fmla="*/ 10 w 29"/>
                <a:gd name="T7" fmla="*/ 8 h 8"/>
                <a:gd name="T8" fmla="*/ 0 w 29"/>
                <a:gd name="T9" fmla="*/ 6 h 8"/>
              </a:gdLst>
              <a:ahLst/>
              <a:cxnLst>
                <a:cxn ang="0">
                  <a:pos x="T0" y="T1"/>
                </a:cxn>
                <a:cxn ang="0">
                  <a:pos x="T2" y="T3"/>
                </a:cxn>
                <a:cxn ang="0">
                  <a:pos x="T4" y="T5"/>
                </a:cxn>
                <a:cxn ang="0">
                  <a:pos x="T6" y="T7"/>
                </a:cxn>
                <a:cxn ang="0">
                  <a:pos x="T8" y="T9"/>
                </a:cxn>
              </a:cxnLst>
              <a:rect l="0" t="0" r="r" b="b"/>
              <a:pathLst>
                <a:path w="29" h="8">
                  <a:moveTo>
                    <a:pt x="0" y="6"/>
                  </a:moveTo>
                  <a:cubicBezTo>
                    <a:pt x="8" y="5"/>
                    <a:pt x="9" y="0"/>
                    <a:pt x="15" y="2"/>
                  </a:cubicBezTo>
                  <a:cubicBezTo>
                    <a:pt x="20" y="4"/>
                    <a:pt x="29" y="2"/>
                    <a:pt x="24" y="5"/>
                  </a:cubicBezTo>
                  <a:cubicBezTo>
                    <a:pt x="19" y="7"/>
                    <a:pt x="13" y="8"/>
                    <a:pt x="10" y="8"/>
                  </a:cubicBezTo>
                  <a:cubicBezTo>
                    <a:pt x="8" y="8"/>
                    <a:pt x="0" y="6"/>
                    <a:pt x="0"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74" name="Freeform 862">
              <a:extLst>
                <a:ext uri="{FF2B5EF4-FFF2-40B4-BE49-F238E27FC236}">
                  <a16:creationId xmlns:a16="http://schemas.microsoft.com/office/drawing/2014/main" id="{CE8F6642-D847-9044-8C0C-969B970A805F}"/>
                </a:ext>
              </a:extLst>
            </p:cNvPr>
            <p:cNvSpPr>
              <a:spLocks/>
            </p:cNvSpPr>
            <p:nvPr/>
          </p:nvSpPr>
          <p:spPr bwMode="auto">
            <a:xfrm>
              <a:off x="2503496" y="2192794"/>
              <a:ext cx="17463" cy="9525"/>
            </a:xfrm>
            <a:custGeom>
              <a:avLst/>
              <a:gdLst>
                <a:gd name="T0" fmla="*/ 10 w 19"/>
                <a:gd name="T1" fmla="*/ 0 h 10"/>
                <a:gd name="T2" fmla="*/ 16 w 19"/>
                <a:gd name="T3" fmla="*/ 6 h 10"/>
                <a:gd name="T4" fmla="*/ 10 w 19"/>
                <a:gd name="T5" fmla="*/ 9 h 10"/>
                <a:gd name="T6" fmla="*/ 1 w 19"/>
                <a:gd name="T7" fmla="*/ 4 h 10"/>
                <a:gd name="T8" fmla="*/ 10 w 19"/>
                <a:gd name="T9" fmla="*/ 0 h 10"/>
              </a:gdLst>
              <a:ahLst/>
              <a:cxnLst>
                <a:cxn ang="0">
                  <a:pos x="T0" y="T1"/>
                </a:cxn>
                <a:cxn ang="0">
                  <a:pos x="T2" y="T3"/>
                </a:cxn>
                <a:cxn ang="0">
                  <a:pos x="T4" y="T5"/>
                </a:cxn>
                <a:cxn ang="0">
                  <a:pos x="T6" y="T7"/>
                </a:cxn>
                <a:cxn ang="0">
                  <a:pos x="T8" y="T9"/>
                </a:cxn>
              </a:cxnLst>
              <a:rect l="0" t="0" r="r" b="b"/>
              <a:pathLst>
                <a:path w="19" h="10">
                  <a:moveTo>
                    <a:pt x="10" y="0"/>
                  </a:moveTo>
                  <a:cubicBezTo>
                    <a:pt x="14" y="0"/>
                    <a:pt x="19" y="3"/>
                    <a:pt x="16" y="6"/>
                  </a:cubicBezTo>
                  <a:cubicBezTo>
                    <a:pt x="14" y="8"/>
                    <a:pt x="14" y="10"/>
                    <a:pt x="10" y="9"/>
                  </a:cubicBezTo>
                  <a:cubicBezTo>
                    <a:pt x="5" y="8"/>
                    <a:pt x="0" y="6"/>
                    <a:pt x="1" y="4"/>
                  </a:cubicBezTo>
                  <a:cubicBezTo>
                    <a:pt x="2" y="2"/>
                    <a:pt x="10" y="0"/>
                    <a:pt x="10" y="0"/>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75" name="Freeform 863">
              <a:extLst>
                <a:ext uri="{FF2B5EF4-FFF2-40B4-BE49-F238E27FC236}">
                  <a16:creationId xmlns:a16="http://schemas.microsoft.com/office/drawing/2014/main" id="{3BC48ADA-0767-E84B-B1F4-3C868E6019CA}"/>
                </a:ext>
              </a:extLst>
            </p:cNvPr>
            <p:cNvSpPr>
              <a:spLocks/>
            </p:cNvSpPr>
            <p:nvPr/>
          </p:nvSpPr>
          <p:spPr bwMode="auto">
            <a:xfrm>
              <a:off x="2562234" y="2203907"/>
              <a:ext cx="30163" cy="23813"/>
            </a:xfrm>
            <a:custGeom>
              <a:avLst/>
              <a:gdLst>
                <a:gd name="T0" fmla="*/ 7 w 32"/>
                <a:gd name="T1" fmla="*/ 5 h 25"/>
                <a:gd name="T2" fmla="*/ 1 w 32"/>
                <a:gd name="T3" fmla="*/ 16 h 25"/>
                <a:gd name="T4" fmla="*/ 8 w 32"/>
                <a:gd name="T5" fmla="*/ 21 h 25"/>
                <a:gd name="T6" fmla="*/ 12 w 32"/>
                <a:gd name="T7" fmla="*/ 14 h 25"/>
                <a:gd name="T8" fmla="*/ 22 w 32"/>
                <a:gd name="T9" fmla="*/ 10 h 25"/>
                <a:gd name="T10" fmla="*/ 22 w 32"/>
                <a:gd name="T11" fmla="*/ 4 h 25"/>
                <a:gd name="T12" fmla="*/ 7 w 32"/>
                <a:gd name="T13" fmla="*/ 5 h 25"/>
              </a:gdLst>
              <a:ahLst/>
              <a:cxnLst>
                <a:cxn ang="0">
                  <a:pos x="T0" y="T1"/>
                </a:cxn>
                <a:cxn ang="0">
                  <a:pos x="T2" y="T3"/>
                </a:cxn>
                <a:cxn ang="0">
                  <a:pos x="T4" y="T5"/>
                </a:cxn>
                <a:cxn ang="0">
                  <a:pos x="T6" y="T7"/>
                </a:cxn>
                <a:cxn ang="0">
                  <a:pos x="T8" y="T9"/>
                </a:cxn>
                <a:cxn ang="0">
                  <a:pos x="T10" y="T11"/>
                </a:cxn>
                <a:cxn ang="0">
                  <a:pos x="T12" y="T13"/>
                </a:cxn>
              </a:cxnLst>
              <a:rect l="0" t="0" r="r" b="b"/>
              <a:pathLst>
                <a:path w="32" h="25">
                  <a:moveTo>
                    <a:pt x="7" y="5"/>
                  </a:moveTo>
                  <a:cubicBezTo>
                    <a:pt x="6" y="11"/>
                    <a:pt x="0" y="12"/>
                    <a:pt x="1" y="16"/>
                  </a:cubicBezTo>
                  <a:cubicBezTo>
                    <a:pt x="2" y="20"/>
                    <a:pt x="5" y="25"/>
                    <a:pt x="8" y="21"/>
                  </a:cubicBezTo>
                  <a:cubicBezTo>
                    <a:pt x="12" y="16"/>
                    <a:pt x="10" y="16"/>
                    <a:pt x="12" y="14"/>
                  </a:cubicBezTo>
                  <a:cubicBezTo>
                    <a:pt x="15" y="12"/>
                    <a:pt x="20" y="10"/>
                    <a:pt x="22" y="10"/>
                  </a:cubicBezTo>
                  <a:cubicBezTo>
                    <a:pt x="24" y="9"/>
                    <a:pt x="32" y="7"/>
                    <a:pt x="22" y="4"/>
                  </a:cubicBezTo>
                  <a:cubicBezTo>
                    <a:pt x="12" y="0"/>
                    <a:pt x="7" y="1"/>
                    <a:pt x="7"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76" name="Freeform 864">
              <a:extLst>
                <a:ext uri="{FF2B5EF4-FFF2-40B4-BE49-F238E27FC236}">
                  <a16:creationId xmlns:a16="http://schemas.microsoft.com/office/drawing/2014/main" id="{BECA051E-BA73-7B4A-AF05-0B09A9E6D6D0}"/>
                </a:ext>
              </a:extLst>
            </p:cNvPr>
            <p:cNvSpPr>
              <a:spLocks/>
            </p:cNvSpPr>
            <p:nvPr/>
          </p:nvSpPr>
          <p:spPr bwMode="auto">
            <a:xfrm>
              <a:off x="2592396" y="2186444"/>
              <a:ext cx="15875" cy="9525"/>
            </a:xfrm>
            <a:custGeom>
              <a:avLst/>
              <a:gdLst>
                <a:gd name="T0" fmla="*/ 2 w 16"/>
                <a:gd name="T1" fmla="*/ 8 h 10"/>
                <a:gd name="T2" fmla="*/ 2 w 16"/>
                <a:gd name="T3" fmla="*/ 2 h 10"/>
                <a:gd name="T4" fmla="*/ 10 w 16"/>
                <a:gd name="T5" fmla="*/ 0 h 10"/>
                <a:gd name="T6" fmla="*/ 16 w 16"/>
                <a:gd name="T7" fmla="*/ 4 h 10"/>
                <a:gd name="T8" fmla="*/ 10 w 16"/>
                <a:gd name="T9" fmla="*/ 10 h 10"/>
                <a:gd name="T10" fmla="*/ 2 w 16"/>
                <a:gd name="T11" fmla="*/ 8 h 10"/>
              </a:gdLst>
              <a:ahLst/>
              <a:cxnLst>
                <a:cxn ang="0">
                  <a:pos x="T0" y="T1"/>
                </a:cxn>
                <a:cxn ang="0">
                  <a:pos x="T2" y="T3"/>
                </a:cxn>
                <a:cxn ang="0">
                  <a:pos x="T4" y="T5"/>
                </a:cxn>
                <a:cxn ang="0">
                  <a:pos x="T6" y="T7"/>
                </a:cxn>
                <a:cxn ang="0">
                  <a:pos x="T8" y="T9"/>
                </a:cxn>
                <a:cxn ang="0">
                  <a:pos x="T10" y="T11"/>
                </a:cxn>
              </a:cxnLst>
              <a:rect l="0" t="0" r="r" b="b"/>
              <a:pathLst>
                <a:path w="16" h="10">
                  <a:moveTo>
                    <a:pt x="2" y="8"/>
                  </a:moveTo>
                  <a:cubicBezTo>
                    <a:pt x="1" y="6"/>
                    <a:pt x="0" y="4"/>
                    <a:pt x="2" y="2"/>
                  </a:cubicBezTo>
                  <a:cubicBezTo>
                    <a:pt x="4" y="1"/>
                    <a:pt x="9" y="0"/>
                    <a:pt x="10" y="0"/>
                  </a:cubicBezTo>
                  <a:cubicBezTo>
                    <a:pt x="11" y="0"/>
                    <a:pt x="16" y="0"/>
                    <a:pt x="16" y="4"/>
                  </a:cubicBezTo>
                  <a:cubicBezTo>
                    <a:pt x="16" y="8"/>
                    <a:pt x="13" y="10"/>
                    <a:pt x="10" y="10"/>
                  </a:cubicBezTo>
                  <a:cubicBezTo>
                    <a:pt x="7" y="10"/>
                    <a:pt x="2" y="8"/>
                    <a:pt x="2" y="8"/>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77" name="Freeform 865">
              <a:extLst>
                <a:ext uri="{FF2B5EF4-FFF2-40B4-BE49-F238E27FC236}">
                  <a16:creationId xmlns:a16="http://schemas.microsoft.com/office/drawing/2014/main" id="{953CFA8A-E891-4840-929B-47DE30789FFE}"/>
                </a:ext>
              </a:extLst>
            </p:cNvPr>
            <p:cNvSpPr>
              <a:spLocks/>
            </p:cNvSpPr>
            <p:nvPr/>
          </p:nvSpPr>
          <p:spPr bwMode="auto">
            <a:xfrm>
              <a:off x="2609859" y="2175332"/>
              <a:ext cx="7938" cy="9525"/>
            </a:xfrm>
            <a:custGeom>
              <a:avLst/>
              <a:gdLst>
                <a:gd name="T0" fmla="*/ 0 w 9"/>
                <a:gd name="T1" fmla="*/ 2 h 9"/>
                <a:gd name="T2" fmla="*/ 3 w 9"/>
                <a:gd name="T3" fmla="*/ 0 h 9"/>
                <a:gd name="T4" fmla="*/ 6 w 9"/>
                <a:gd name="T5" fmla="*/ 3 h 9"/>
                <a:gd name="T6" fmla="*/ 7 w 9"/>
                <a:gd name="T7" fmla="*/ 7 h 9"/>
                <a:gd name="T8" fmla="*/ 2 w 9"/>
                <a:gd name="T9" fmla="*/ 7 h 9"/>
                <a:gd name="T10" fmla="*/ 0 w 9"/>
                <a:gd name="T11" fmla="*/ 2 h 9"/>
              </a:gdLst>
              <a:ahLst/>
              <a:cxnLst>
                <a:cxn ang="0">
                  <a:pos x="T0" y="T1"/>
                </a:cxn>
                <a:cxn ang="0">
                  <a:pos x="T2" y="T3"/>
                </a:cxn>
                <a:cxn ang="0">
                  <a:pos x="T4" y="T5"/>
                </a:cxn>
                <a:cxn ang="0">
                  <a:pos x="T6" y="T7"/>
                </a:cxn>
                <a:cxn ang="0">
                  <a:pos x="T8" y="T9"/>
                </a:cxn>
                <a:cxn ang="0">
                  <a:pos x="T10" y="T11"/>
                </a:cxn>
              </a:cxnLst>
              <a:rect l="0" t="0" r="r" b="b"/>
              <a:pathLst>
                <a:path w="9" h="9">
                  <a:moveTo>
                    <a:pt x="0" y="2"/>
                  </a:moveTo>
                  <a:cubicBezTo>
                    <a:pt x="0" y="1"/>
                    <a:pt x="1" y="0"/>
                    <a:pt x="3" y="0"/>
                  </a:cubicBezTo>
                  <a:cubicBezTo>
                    <a:pt x="4" y="0"/>
                    <a:pt x="6" y="3"/>
                    <a:pt x="6" y="3"/>
                  </a:cubicBezTo>
                  <a:cubicBezTo>
                    <a:pt x="7" y="3"/>
                    <a:pt x="9" y="6"/>
                    <a:pt x="7" y="7"/>
                  </a:cubicBezTo>
                  <a:cubicBezTo>
                    <a:pt x="5" y="9"/>
                    <a:pt x="3" y="9"/>
                    <a:pt x="2" y="7"/>
                  </a:cubicBezTo>
                  <a:cubicBezTo>
                    <a:pt x="0" y="5"/>
                    <a:pt x="0" y="2"/>
                    <a:pt x="0"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78" name="Freeform 866">
              <a:extLst>
                <a:ext uri="{FF2B5EF4-FFF2-40B4-BE49-F238E27FC236}">
                  <a16:creationId xmlns:a16="http://schemas.microsoft.com/office/drawing/2014/main" id="{51AF922A-10F7-C743-84B5-9EE867DBF27B}"/>
                </a:ext>
              </a:extLst>
            </p:cNvPr>
            <p:cNvSpPr>
              <a:spLocks/>
            </p:cNvSpPr>
            <p:nvPr/>
          </p:nvSpPr>
          <p:spPr bwMode="auto">
            <a:xfrm>
              <a:off x="1033466" y="2134057"/>
              <a:ext cx="25400" cy="30163"/>
            </a:xfrm>
            <a:custGeom>
              <a:avLst/>
              <a:gdLst>
                <a:gd name="T0" fmla="*/ 6 w 27"/>
                <a:gd name="T1" fmla="*/ 11 h 31"/>
                <a:gd name="T2" fmla="*/ 22 w 27"/>
                <a:gd name="T3" fmla="*/ 0 h 31"/>
                <a:gd name="T4" fmla="*/ 27 w 27"/>
                <a:gd name="T5" fmla="*/ 21 h 31"/>
                <a:gd name="T6" fmla="*/ 11 w 27"/>
                <a:gd name="T7" fmla="*/ 29 h 31"/>
                <a:gd name="T8" fmla="*/ 6 w 27"/>
                <a:gd name="T9" fmla="*/ 11 h 31"/>
              </a:gdLst>
              <a:ahLst/>
              <a:cxnLst>
                <a:cxn ang="0">
                  <a:pos x="T0" y="T1"/>
                </a:cxn>
                <a:cxn ang="0">
                  <a:pos x="T2" y="T3"/>
                </a:cxn>
                <a:cxn ang="0">
                  <a:pos x="T4" y="T5"/>
                </a:cxn>
                <a:cxn ang="0">
                  <a:pos x="T6" y="T7"/>
                </a:cxn>
                <a:cxn ang="0">
                  <a:pos x="T8" y="T9"/>
                </a:cxn>
              </a:cxnLst>
              <a:rect l="0" t="0" r="r" b="b"/>
              <a:pathLst>
                <a:path w="27" h="31">
                  <a:moveTo>
                    <a:pt x="6" y="11"/>
                  </a:moveTo>
                  <a:cubicBezTo>
                    <a:pt x="14" y="5"/>
                    <a:pt x="22" y="0"/>
                    <a:pt x="22" y="0"/>
                  </a:cubicBezTo>
                  <a:cubicBezTo>
                    <a:pt x="22" y="0"/>
                    <a:pt x="27" y="18"/>
                    <a:pt x="27" y="21"/>
                  </a:cubicBezTo>
                  <a:cubicBezTo>
                    <a:pt x="27" y="25"/>
                    <a:pt x="22" y="31"/>
                    <a:pt x="11" y="29"/>
                  </a:cubicBezTo>
                  <a:cubicBezTo>
                    <a:pt x="0" y="27"/>
                    <a:pt x="6" y="11"/>
                    <a:pt x="6" y="11"/>
                  </a:cubicBezTo>
                  <a:close/>
                </a:path>
              </a:pathLst>
            </a:custGeom>
            <a:solidFill>
              <a:schemeClr val="bg2">
                <a:alpha val="10000"/>
              </a:schemeClr>
            </a:solidFill>
            <a:ln w="0">
              <a:solidFill>
                <a:schemeClr val="tx2"/>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79" name="Freeform 867">
              <a:extLst>
                <a:ext uri="{FF2B5EF4-FFF2-40B4-BE49-F238E27FC236}">
                  <a16:creationId xmlns:a16="http://schemas.microsoft.com/office/drawing/2014/main" id="{FAA8EF3E-6744-DD4C-88C9-85486689058B}"/>
                </a:ext>
              </a:extLst>
            </p:cNvPr>
            <p:cNvSpPr>
              <a:spLocks/>
            </p:cNvSpPr>
            <p:nvPr/>
          </p:nvSpPr>
          <p:spPr bwMode="auto">
            <a:xfrm>
              <a:off x="1028704" y="2107069"/>
              <a:ext cx="22225" cy="23813"/>
            </a:xfrm>
            <a:custGeom>
              <a:avLst/>
              <a:gdLst>
                <a:gd name="T0" fmla="*/ 23 w 23"/>
                <a:gd name="T1" fmla="*/ 21 h 25"/>
                <a:gd name="T2" fmla="*/ 7 w 23"/>
                <a:gd name="T3" fmla="*/ 2 h 25"/>
                <a:gd name="T4" fmla="*/ 2 w 23"/>
                <a:gd name="T5" fmla="*/ 6 h 25"/>
                <a:gd name="T6" fmla="*/ 2 w 23"/>
                <a:gd name="T7" fmla="*/ 15 h 25"/>
                <a:gd name="T8" fmla="*/ 9 w 23"/>
                <a:gd name="T9" fmla="*/ 23 h 25"/>
                <a:gd name="T10" fmla="*/ 23 w 23"/>
                <a:gd name="T11" fmla="*/ 21 h 25"/>
              </a:gdLst>
              <a:ahLst/>
              <a:cxnLst>
                <a:cxn ang="0">
                  <a:pos x="T0" y="T1"/>
                </a:cxn>
                <a:cxn ang="0">
                  <a:pos x="T2" y="T3"/>
                </a:cxn>
                <a:cxn ang="0">
                  <a:pos x="T4" y="T5"/>
                </a:cxn>
                <a:cxn ang="0">
                  <a:pos x="T6" y="T7"/>
                </a:cxn>
                <a:cxn ang="0">
                  <a:pos x="T8" y="T9"/>
                </a:cxn>
                <a:cxn ang="0">
                  <a:pos x="T10" y="T11"/>
                </a:cxn>
              </a:cxnLst>
              <a:rect l="0" t="0" r="r" b="b"/>
              <a:pathLst>
                <a:path w="23" h="25">
                  <a:moveTo>
                    <a:pt x="23" y="21"/>
                  </a:moveTo>
                  <a:cubicBezTo>
                    <a:pt x="17" y="13"/>
                    <a:pt x="10" y="4"/>
                    <a:pt x="7" y="2"/>
                  </a:cubicBezTo>
                  <a:cubicBezTo>
                    <a:pt x="4" y="0"/>
                    <a:pt x="3" y="4"/>
                    <a:pt x="2" y="6"/>
                  </a:cubicBezTo>
                  <a:cubicBezTo>
                    <a:pt x="1" y="8"/>
                    <a:pt x="0" y="12"/>
                    <a:pt x="2" y="15"/>
                  </a:cubicBezTo>
                  <a:cubicBezTo>
                    <a:pt x="4" y="17"/>
                    <a:pt x="5" y="21"/>
                    <a:pt x="9" y="23"/>
                  </a:cubicBezTo>
                  <a:cubicBezTo>
                    <a:pt x="14" y="25"/>
                    <a:pt x="23" y="21"/>
                    <a:pt x="23" y="21"/>
                  </a:cubicBezTo>
                  <a:close/>
                </a:path>
              </a:pathLst>
            </a:custGeom>
            <a:solidFill>
              <a:schemeClr val="bg2">
                <a:alpha val="10000"/>
              </a:schemeClr>
            </a:solidFill>
            <a:ln w="0">
              <a:solidFill>
                <a:schemeClr val="tx2"/>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80" name="Freeform 868">
              <a:extLst>
                <a:ext uri="{FF2B5EF4-FFF2-40B4-BE49-F238E27FC236}">
                  <a16:creationId xmlns:a16="http://schemas.microsoft.com/office/drawing/2014/main" id="{776F3232-2973-D343-8360-EB37E5DCA35C}"/>
                </a:ext>
              </a:extLst>
            </p:cNvPr>
            <p:cNvSpPr>
              <a:spLocks/>
            </p:cNvSpPr>
            <p:nvPr/>
          </p:nvSpPr>
          <p:spPr bwMode="auto">
            <a:xfrm>
              <a:off x="1009654" y="2086432"/>
              <a:ext cx="19050" cy="20638"/>
            </a:xfrm>
            <a:custGeom>
              <a:avLst/>
              <a:gdLst>
                <a:gd name="T0" fmla="*/ 0 w 21"/>
                <a:gd name="T1" fmla="*/ 3 h 21"/>
                <a:gd name="T2" fmla="*/ 15 w 21"/>
                <a:gd name="T3" fmla="*/ 20 h 21"/>
                <a:gd name="T4" fmla="*/ 15 w 21"/>
                <a:gd name="T5" fmla="*/ 11 h 21"/>
                <a:gd name="T6" fmla="*/ 19 w 21"/>
                <a:gd name="T7" fmla="*/ 7 h 21"/>
                <a:gd name="T8" fmla="*/ 10 w 21"/>
                <a:gd name="T9" fmla="*/ 2 h 21"/>
                <a:gd name="T10" fmla="*/ 0 w 21"/>
                <a:gd name="T11" fmla="*/ 3 h 21"/>
              </a:gdLst>
              <a:ahLst/>
              <a:cxnLst>
                <a:cxn ang="0">
                  <a:pos x="T0" y="T1"/>
                </a:cxn>
                <a:cxn ang="0">
                  <a:pos x="T2" y="T3"/>
                </a:cxn>
                <a:cxn ang="0">
                  <a:pos x="T4" y="T5"/>
                </a:cxn>
                <a:cxn ang="0">
                  <a:pos x="T6" y="T7"/>
                </a:cxn>
                <a:cxn ang="0">
                  <a:pos x="T8" y="T9"/>
                </a:cxn>
                <a:cxn ang="0">
                  <a:pos x="T10" y="T11"/>
                </a:cxn>
              </a:cxnLst>
              <a:rect l="0" t="0" r="r" b="b"/>
              <a:pathLst>
                <a:path w="21" h="21">
                  <a:moveTo>
                    <a:pt x="0" y="3"/>
                  </a:moveTo>
                  <a:cubicBezTo>
                    <a:pt x="7" y="11"/>
                    <a:pt x="12" y="18"/>
                    <a:pt x="15" y="20"/>
                  </a:cubicBezTo>
                  <a:cubicBezTo>
                    <a:pt x="19" y="21"/>
                    <a:pt x="15" y="13"/>
                    <a:pt x="15" y="11"/>
                  </a:cubicBezTo>
                  <a:cubicBezTo>
                    <a:pt x="15" y="8"/>
                    <a:pt x="21" y="9"/>
                    <a:pt x="19" y="7"/>
                  </a:cubicBezTo>
                  <a:cubicBezTo>
                    <a:pt x="16" y="4"/>
                    <a:pt x="15" y="3"/>
                    <a:pt x="10" y="2"/>
                  </a:cubicBezTo>
                  <a:cubicBezTo>
                    <a:pt x="6" y="0"/>
                    <a:pt x="0" y="3"/>
                    <a:pt x="0" y="3"/>
                  </a:cubicBezTo>
                  <a:close/>
                </a:path>
              </a:pathLst>
            </a:custGeom>
            <a:solidFill>
              <a:schemeClr val="bg2">
                <a:alpha val="10000"/>
              </a:schemeClr>
            </a:solidFill>
            <a:ln w="0">
              <a:solidFill>
                <a:schemeClr val="tx2"/>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81" name="Freeform 869">
              <a:extLst>
                <a:ext uri="{FF2B5EF4-FFF2-40B4-BE49-F238E27FC236}">
                  <a16:creationId xmlns:a16="http://schemas.microsoft.com/office/drawing/2014/main" id="{170BDB60-B4D8-9B44-ADF4-329AB3F55D59}"/>
                </a:ext>
              </a:extLst>
            </p:cNvPr>
            <p:cNvSpPr>
              <a:spLocks/>
            </p:cNvSpPr>
            <p:nvPr/>
          </p:nvSpPr>
          <p:spPr bwMode="auto">
            <a:xfrm>
              <a:off x="2555884" y="729117"/>
              <a:ext cx="55563" cy="23813"/>
            </a:xfrm>
            <a:custGeom>
              <a:avLst/>
              <a:gdLst>
                <a:gd name="T0" fmla="*/ 10 w 58"/>
                <a:gd name="T1" fmla="*/ 12 h 25"/>
                <a:gd name="T2" fmla="*/ 20 w 58"/>
                <a:gd name="T3" fmla="*/ 6 h 25"/>
                <a:gd name="T4" fmla="*/ 28 w 58"/>
                <a:gd name="T5" fmla="*/ 3 h 25"/>
                <a:gd name="T6" fmla="*/ 42 w 58"/>
                <a:gd name="T7" fmla="*/ 1 h 25"/>
                <a:gd name="T8" fmla="*/ 56 w 58"/>
                <a:gd name="T9" fmla="*/ 5 h 25"/>
                <a:gd name="T10" fmla="*/ 53 w 58"/>
                <a:gd name="T11" fmla="*/ 18 h 25"/>
                <a:gd name="T12" fmla="*/ 44 w 58"/>
                <a:gd name="T13" fmla="*/ 19 h 25"/>
                <a:gd name="T14" fmla="*/ 33 w 58"/>
                <a:gd name="T15" fmla="*/ 24 h 25"/>
                <a:gd name="T16" fmla="*/ 22 w 58"/>
                <a:gd name="T17" fmla="*/ 24 h 25"/>
                <a:gd name="T18" fmla="*/ 6 w 58"/>
                <a:gd name="T19" fmla="*/ 19 h 25"/>
                <a:gd name="T20" fmla="*/ 3 w 58"/>
                <a:gd name="T21" fmla="*/ 14 h 25"/>
                <a:gd name="T22" fmla="*/ 10 w 58"/>
                <a:gd name="T2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5">
                  <a:moveTo>
                    <a:pt x="10" y="12"/>
                  </a:moveTo>
                  <a:cubicBezTo>
                    <a:pt x="12" y="11"/>
                    <a:pt x="16" y="8"/>
                    <a:pt x="20" y="6"/>
                  </a:cubicBezTo>
                  <a:cubicBezTo>
                    <a:pt x="24" y="3"/>
                    <a:pt x="21" y="2"/>
                    <a:pt x="28" y="3"/>
                  </a:cubicBezTo>
                  <a:cubicBezTo>
                    <a:pt x="36" y="3"/>
                    <a:pt x="38" y="0"/>
                    <a:pt x="42" y="1"/>
                  </a:cubicBezTo>
                  <a:cubicBezTo>
                    <a:pt x="46" y="2"/>
                    <a:pt x="56" y="1"/>
                    <a:pt x="56" y="5"/>
                  </a:cubicBezTo>
                  <a:cubicBezTo>
                    <a:pt x="56" y="8"/>
                    <a:pt x="58" y="16"/>
                    <a:pt x="53" y="18"/>
                  </a:cubicBezTo>
                  <a:cubicBezTo>
                    <a:pt x="49" y="19"/>
                    <a:pt x="50" y="16"/>
                    <a:pt x="44" y="19"/>
                  </a:cubicBezTo>
                  <a:cubicBezTo>
                    <a:pt x="37" y="23"/>
                    <a:pt x="41" y="23"/>
                    <a:pt x="33" y="24"/>
                  </a:cubicBezTo>
                  <a:cubicBezTo>
                    <a:pt x="26" y="25"/>
                    <a:pt x="28" y="24"/>
                    <a:pt x="22" y="24"/>
                  </a:cubicBezTo>
                  <a:cubicBezTo>
                    <a:pt x="16" y="24"/>
                    <a:pt x="12" y="23"/>
                    <a:pt x="6" y="19"/>
                  </a:cubicBezTo>
                  <a:cubicBezTo>
                    <a:pt x="0" y="16"/>
                    <a:pt x="2" y="14"/>
                    <a:pt x="3" y="14"/>
                  </a:cubicBezTo>
                  <a:cubicBezTo>
                    <a:pt x="4" y="14"/>
                    <a:pt x="6" y="10"/>
                    <a:pt x="10" y="1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82" name="Freeform 870">
              <a:extLst>
                <a:ext uri="{FF2B5EF4-FFF2-40B4-BE49-F238E27FC236}">
                  <a16:creationId xmlns:a16="http://schemas.microsoft.com/office/drawing/2014/main" id="{3F80E7B9-EA5B-E943-9E67-85E06C368AE4}"/>
                </a:ext>
              </a:extLst>
            </p:cNvPr>
            <p:cNvSpPr>
              <a:spLocks/>
            </p:cNvSpPr>
            <p:nvPr/>
          </p:nvSpPr>
          <p:spPr bwMode="auto">
            <a:xfrm>
              <a:off x="2540009" y="2197557"/>
              <a:ext cx="9525" cy="14288"/>
            </a:xfrm>
            <a:custGeom>
              <a:avLst/>
              <a:gdLst>
                <a:gd name="T0" fmla="*/ 1 w 10"/>
                <a:gd name="T1" fmla="*/ 3 h 15"/>
                <a:gd name="T2" fmla="*/ 4 w 10"/>
                <a:gd name="T3" fmla="*/ 9 h 15"/>
                <a:gd name="T4" fmla="*/ 9 w 10"/>
                <a:gd name="T5" fmla="*/ 11 h 15"/>
                <a:gd name="T6" fmla="*/ 8 w 10"/>
                <a:gd name="T7" fmla="*/ 5 h 15"/>
                <a:gd name="T8" fmla="*/ 1 w 10"/>
                <a:gd name="T9" fmla="*/ 3 h 15"/>
              </a:gdLst>
              <a:ahLst/>
              <a:cxnLst>
                <a:cxn ang="0">
                  <a:pos x="T0" y="T1"/>
                </a:cxn>
                <a:cxn ang="0">
                  <a:pos x="T2" y="T3"/>
                </a:cxn>
                <a:cxn ang="0">
                  <a:pos x="T4" y="T5"/>
                </a:cxn>
                <a:cxn ang="0">
                  <a:pos x="T6" y="T7"/>
                </a:cxn>
                <a:cxn ang="0">
                  <a:pos x="T8" y="T9"/>
                </a:cxn>
              </a:cxnLst>
              <a:rect l="0" t="0" r="r" b="b"/>
              <a:pathLst>
                <a:path w="10" h="15">
                  <a:moveTo>
                    <a:pt x="1" y="3"/>
                  </a:moveTo>
                  <a:cubicBezTo>
                    <a:pt x="2" y="6"/>
                    <a:pt x="3" y="8"/>
                    <a:pt x="4" y="9"/>
                  </a:cubicBezTo>
                  <a:cubicBezTo>
                    <a:pt x="5" y="11"/>
                    <a:pt x="10" y="15"/>
                    <a:pt x="9" y="11"/>
                  </a:cubicBezTo>
                  <a:cubicBezTo>
                    <a:pt x="9" y="7"/>
                    <a:pt x="9" y="8"/>
                    <a:pt x="8" y="5"/>
                  </a:cubicBezTo>
                  <a:cubicBezTo>
                    <a:pt x="6" y="1"/>
                    <a:pt x="0" y="0"/>
                    <a:pt x="1"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83" name="Freeform 871">
              <a:extLst>
                <a:ext uri="{FF2B5EF4-FFF2-40B4-BE49-F238E27FC236}">
                  <a16:creationId xmlns:a16="http://schemas.microsoft.com/office/drawing/2014/main" id="{2D2190B8-FAEF-204F-A131-46B4CCC52AC5}"/>
                </a:ext>
              </a:extLst>
            </p:cNvPr>
            <p:cNvSpPr>
              <a:spLocks/>
            </p:cNvSpPr>
            <p:nvPr/>
          </p:nvSpPr>
          <p:spPr bwMode="auto">
            <a:xfrm>
              <a:off x="2549534" y="2207082"/>
              <a:ext cx="7938" cy="9525"/>
            </a:xfrm>
            <a:custGeom>
              <a:avLst/>
              <a:gdLst>
                <a:gd name="T0" fmla="*/ 3 w 7"/>
                <a:gd name="T1" fmla="*/ 1 h 10"/>
                <a:gd name="T2" fmla="*/ 2 w 7"/>
                <a:gd name="T3" fmla="*/ 7 h 10"/>
                <a:gd name="T4" fmla="*/ 6 w 7"/>
                <a:gd name="T5" fmla="*/ 7 h 10"/>
                <a:gd name="T6" fmla="*/ 3 w 7"/>
                <a:gd name="T7" fmla="*/ 1 h 10"/>
              </a:gdLst>
              <a:ahLst/>
              <a:cxnLst>
                <a:cxn ang="0">
                  <a:pos x="T0" y="T1"/>
                </a:cxn>
                <a:cxn ang="0">
                  <a:pos x="T2" y="T3"/>
                </a:cxn>
                <a:cxn ang="0">
                  <a:pos x="T4" y="T5"/>
                </a:cxn>
                <a:cxn ang="0">
                  <a:pos x="T6" y="T7"/>
                </a:cxn>
              </a:cxnLst>
              <a:rect l="0" t="0" r="r" b="b"/>
              <a:pathLst>
                <a:path w="7" h="10">
                  <a:moveTo>
                    <a:pt x="3" y="1"/>
                  </a:moveTo>
                  <a:cubicBezTo>
                    <a:pt x="3" y="2"/>
                    <a:pt x="0" y="3"/>
                    <a:pt x="2" y="7"/>
                  </a:cubicBezTo>
                  <a:cubicBezTo>
                    <a:pt x="4" y="10"/>
                    <a:pt x="6" y="8"/>
                    <a:pt x="6" y="7"/>
                  </a:cubicBezTo>
                  <a:cubicBezTo>
                    <a:pt x="7" y="5"/>
                    <a:pt x="5" y="0"/>
                    <a:pt x="3" y="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84" name="Freeform 872">
              <a:extLst>
                <a:ext uri="{FF2B5EF4-FFF2-40B4-BE49-F238E27FC236}">
                  <a16:creationId xmlns:a16="http://schemas.microsoft.com/office/drawing/2014/main" id="{E4FC7D02-1029-A642-B46D-78AFC0DE543D}"/>
                </a:ext>
              </a:extLst>
            </p:cNvPr>
            <p:cNvSpPr>
              <a:spLocks/>
            </p:cNvSpPr>
            <p:nvPr/>
          </p:nvSpPr>
          <p:spPr bwMode="auto">
            <a:xfrm>
              <a:off x="2386021" y="2327732"/>
              <a:ext cx="15875" cy="23813"/>
            </a:xfrm>
            <a:custGeom>
              <a:avLst/>
              <a:gdLst>
                <a:gd name="T0" fmla="*/ 11 w 17"/>
                <a:gd name="T1" fmla="*/ 24 h 26"/>
                <a:gd name="T2" fmla="*/ 15 w 17"/>
                <a:gd name="T3" fmla="*/ 17 h 26"/>
                <a:gd name="T4" fmla="*/ 10 w 17"/>
                <a:gd name="T5" fmla="*/ 9 h 26"/>
                <a:gd name="T6" fmla="*/ 4 w 17"/>
                <a:gd name="T7" fmla="*/ 9 h 26"/>
                <a:gd name="T8" fmla="*/ 8 w 17"/>
                <a:gd name="T9" fmla="*/ 23 h 26"/>
                <a:gd name="T10" fmla="*/ 11 w 17"/>
                <a:gd name="T11" fmla="*/ 24 h 26"/>
              </a:gdLst>
              <a:ahLst/>
              <a:cxnLst>
                <a:cxn ang="0">
                  <a:pos x="T0" y="T1"/>
                </a:cxn>
                <a:cxn ang="0">
                  <a:pos x="T2" y="T3"/>
                </a:cxn>
                <a:cxn ang="0">
                  <a:pos x="T4" y="T5"/>
                </a:cxn>
                <a:cxn ang="0">
                  <a:pos x="T6" y="T7"/>
                </a:cxn>
                <a:cxn ang="0">
                  <a:pos x="T8" y="T9"/>
                </a:cxn>
                <a:cxn ang="0">
                  <a:pos x="T10" y="T11"/>
                </a:cxn>
              </a:cxnLst>
              <a:rect l="0" t="0" r="r" b="b"/>
              <a:pathLst>
                <a:path w="17" h="26">
                  <a:moveTo>
                    <a:pt x="11" y="24"/>
                  </a:moveTo>
                  <a:cubicBezTo>
                    <a:pt x="13" y="22"/>
                    <a:pt x="17" y="21"/>
                    <a:pt x="15" y="17"/>
                  </a:cubicBezTo>
                  <a:cubicBezTo>
                    <a:pt x="13" y="13"/>
                    <a:pt x="13" y="11"/>
                    <a:pt x="10" y="9"/>
                  </a:cubicBezTo>
                  <a:cubicBezTo>
                    <a:pt x="8" y="7"/>
                    <a:pt x="0" y="0"/>
                    <a:pt x="4" y="9"/>
                  </a:cubicBezTo>
                  <a:cubicBezTo>
                    <a:pt x="8" y="19"/>
                    <a:pt x="9" y="21"/>
                    <a:pt x="8" y="23"/>
                  </a:cubicBezTo>
                  <a:cubicBezTo>
                    <a:pt x="8" y="25"/>
                    <a:pt x="10" y="26"/>
                    <a:pt x="11" y="24"/>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85" name="Freeform 873">
              <a:extLst>
                <a:ext uri="{FF2B5EF4-FFF2-40B4-BE49-F238E27FC236}">
                  <a16:creationId xmlns:a16="http://schemas.microsoft.com/office/drawing/2014/main" id="{0D04A9FB-1CD1-7E49-A48A-4273F600D2C9}"/>
                </a:ext>
              </a:extLst>
            </p:cNvPr>
            <p:cNvSpPr>
              <a:spLocks/>
            </p:cNvSpPr>
            <p:nvPr/>
          </p:nvSpPr>
          <p:spPr bwMode="auto">
            <a:xfrm>
              <a:off x="5202254" y="1956257"/>
              <a:ext cx="11113" cy="20638"/>
            </a:xfrm>
            <a:custGeom>
              <a:avLst/>
              <a:gdLst>
                <a:gd name="T0" fmla="*/ 2 w 11"/>
                <a:gd name="T1" fmla="*/ 8 h 21"/>
                <a:gd name="T2" fmla="*/ 0 w 11"/>
                <a:gd name="T3" fmla="*/ 12 h 21"/>
                <a:gd name="T4" fmla="*/ 1 w 11"/>
                <a:gd name="T5" fmla="*/ 18 h 21"/>
                <a:gd name="T6" fmla="*/ 4 w 11"/>
                <a:gd name="T7" fmla="*/ 18 h 21"/>
                <a:gd name="T8" fmla="*/ 8 w 11"/>
                <a:gd name="T9" fmla="*/ 12 h 21"/>
                <a:gd name="T10" fmla="*/ 9 w 11"/>
                <a:gd name="T11" fmla="*/ 4 h 21"/>
                <a:gd name="T12" fmla="*/ 4 w 11"/>
                <a:gd name="T13" fmla="*/ 2 h 21"/>
                <a:gd name="T14" fmla="*/ 2 w 11"/>
                <a:gd name="T15" fmla="*/ 8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1">
                  <a:moveTo>
                    <a:pt x="2" y="8"/>
                  </a:moveTo>
                  <a:cubicBezTo>
                    <a:pt x="1" y="10"/>
                    <a:pt x="0" y="10"/>
                    <a:pt x="0" y="12"/>
                  </a:cubicBezTo>
                  <a:cubicBezTo>
                    <a:pt x="0" y="14"/>
                    <a:pt x="0" y="16"/>
                    <a:pt x="1" y="18"/>
                  </a:cubicBezTo>
                  <a:cubicBezTo>
                    <a:pt x="2" y="21"/>
                    <a:pt x="2" y="21"/>
                    <a:pt x="4" y="18"/>
                  </a:cubicBezTo>
                  <a:cubicBezTo>
                    <a:pt x="7" y="16"/>
                    <a:pt x="7" y="17"/>
                    <a:pt x="8" y="12"/>
                  </a:cubicBezTo>
                  <a:cubicBezTo>
                    <a:pt x="9" y="8"/>
                    <a:pt x="11" y="4"/>
                    <a:pt x="9" y="4"/>
                  </a:cubicBezTo>
                  <a:cubicBezTo>
                    <a:pt x="7" y="3"/>
                    <a:pt x="4" y="0"/>
                    <a:pt x="4" y="2"/>
                  </a:cubicBezTo>
                  <a:cubicBezTo>
                    <a:pt x="3" y="5"/>
                    <a:pt x="2" y="7"/>
                    <a:pt x="2" y="8"/>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86" name="Freeform 874">
              <a:extLst>
                <a:ext uri="{FF2B5EF4-FFF2-40B4-BE49-F238E27FC236}">
                  <a16:creationId xmlns:a16="http://schemas.microsoft.com/office/drawing/2014/main" id="{588CA1C3-2D1E-6547-B023-C82C2365EDCC}"/>
                </a:ext>
              </a:extLst>
            </p:cNvPr>
            <p:cNvSpPr>
              <a:spLocks/>
            </p:cNvSpPr>
            <p:nvPr/>
          </p:nvSpPr>
          <p:spPr bwMode="auto">
            <a:xfrm>
              <a:off x="7005660" y="2877008"/>
              <a:ext cx="4763" cy="11113"/>
            </a:xfrm>
            <a:custGeom>
              <a:avLst/>
              <a:gdLst>
                <a:gd name="T0" fmla="*/ 2 w 5"/>
                <a:gd name="T1" fmla="*/ 5 h 12"/>
                <a:gd name="T2" fmla="*/ 0 w 5"/>
                <a:gd name="T3" fmla="*/ 10 h 12"/>
                <a:gd name="T4" fmla="*/ 2 w 5"/>
                <a:gd name="T5" fmla="*/ 12 h 12"/>
                <a:gd name="T6" fmla="*/ 5 w 5"/>
                <a:gd name="T7" fmla="*/ 9 h 12"/>
                <a:gd name="T8" fmla="*/ 2 w 5"/>
                <a:gd name="T9" fmla="*/ 5 h 12"/>
              </a:gdLst>
              <a:ahLst/>
              <a:cxnLst>
                <a:cxn ang="0">
                  <a:pos x="T0" y="T1"/>
                </a:cxn>
                <a:cxn ang="0">
                  <a:pos x="T2" y="T3"/>
                </a:cxn>
                <a:cxn ang="0">
                  <a:pos x="T4" y="T5"/>
                </a:cxn>
                <a:cxn ang="0">
                  <a:pos x="T6" y="T7"/>
                </a:cxn>
                <a:cxn ang="0">
                  <a:pos x="T8" y="T9"/>
                </a:cxn>
              </a:cxnLst>
              <a:rect l="0" t="0" r="r" b="b"/>
              <a:pathLst>
                <a:path w="5" h="12">
                  <a:moveTo>
                    <a:pt x="2" y="5"/>
                  </a:moveTo>
                  <a:cubicBezTo>
                    <a:pt x="1" y="7"/>
                    <a:pt x="0" y="8"/>
                    <a:pt x="0" y="10"/>
                  </a:cubicBezTo>
                  <a:cubicBezTo>
                    <a:pt x="0" y="11"/>
                    <a:pt x="0" y="12"/>
                    <a:pt x="2" y="12"/>
                  </a:cubicBezTo>
                  <a:cubicBezTo>
                    <a:pt x="3" y="12"/>
                    <a:pt x="5" y="12"/>
                    <a:pt x="5" y="9"/>
                  </a:cubicBezTo>
                  <a:cubicBezTo>
                    <a:pt x="5" y="6"/>
                    <a:pt x="4" y="0"/>
                    <a:pt x="2"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87" name="Freeform 875">
              <a:extLst>
                <a:ext uri="{FF2B5EF4-FFF2-40B4-BE49-F238E27FC236}">
                  <a16:creationId xmlns:a16="http://schemas.microsoft.com/office/drawing/2014/main" id="{A5035BF7-256E-9A42-BC41-B28DEBC1F675}"/>
                </a:ext>
              </a:extLst>
            </p:cNvPr>
            <p:cNvSpPr>
              <a:spLocks/>
            </p:cNvSpPr>
            <p:nvPr/>
          </p:nvSpPr>
          <p:spPr bwMode="auto">
            <a:xfrm>
              <a:off x="7702574" y="2797633"/>
              <a:ext cx="34925" cy="55563"/>
            </a:xfrm>
            <a:custGeom>
              <a:avLst/>
              <a:gdLst>
                <a:gd name="T0" fmla="*/ 5 w 36"/>
                <a:gd name="T1" fmla="*/ 6 h 58"/>
                <a:gd name="T2" fmla="*/ 5 w 36"/>
                <a:gd name="T3" fmla="*/ 14 h 58"/>
                <a:gd name="T4" fmla="*/ 9 w 36"/>
                <a:gd name="T5" fmla="*/ 18 h 58"/>
                <a:gd name="T6" fmla="*/ 16 w 36"/>
                <a:gd name="T7" fmla="*/ 23 h 58"/>
                <a:gd name="T8" fmla="*/ 20 w 36"/>
                <a:gd name="T9" fmla="*/ 27 h 58"/>
                <a:gd name="T10" fmla="*/ 22 w 36"/>
                <a:gd name="T11" fmla="*/ 35 h 58"/>
                <a:gd name="T12" fmla="*/ 28 w 36"/>
                <a:gd name="T13" fmla="*/ 39 h 58"/>
                <a:gd name="T14" fmla="*/ 33 w 36"/>
                <a:gd name="T15" fmla="*/ 47 h 58"/>
                <a:gd name="T16" fmla="*/ 33 w 36"/>
                <a:gd name="T17" fmla="*/ 56 h 58"/>
                <a:gd name="T18" fmla="*/ 24 w 36"/>
                <a:gd name="T19" fmla="*/ 54 h 58"/>
                <a:gd name="T20" fmla="*/ 18 w 36"/>
                <a:gd name="T21" fmla="*/ 54 h 58"/>
                <a:gd name="T22" fmla="*/ 16 w 36"/>
                <a:gd name="T23" fmla="*/ 47 h 58"/>
                <a:gd name="T24" fmla="*/ 15 w 36"/>
                <a:gd name="T25" fmla="*/ 42 h 58"/>
                <a:gd name="T26" fmla="*/ 9 w 36"/>
                <a:gd name="T27" fmla="*/ 37 h 58"/>
                <a:gd name="T28" fmla="*/ 6 w 36"/>
                <a:gd name="T29" fmla="*/ 31 h 58"/>
                <a:gd name="T30" fmla="*/ 4 w 36"/>
                <a:gd name="T31" fmla="*/ 21 h 58"/>
                <a:gd name="T32" fmla="*/ 3 w 36"/>
                <a:gd name="T33" fmla="*/ 17 h 58"/>
                <a:gd name="T34" fmla="*/ 0 w 36"/>
                <a:gd name="T35" fmla="*/ 8 h 58"/>
                <a:gd name="T36" fmla="*/ 5 w 36"/>
                <a:gd name="T37"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58">
                  <a:moveTo>
                    <a:pt x="5" y="6"/>
                  </a:moveTo>
                  <a:cubicBezTo>
                    <a:pt x="5" y="11"/>
                    <a:pt x="3" y="12"/>
                    <a:pt x="5" y="14"/>
                  </a:cubicBezTo>
                  <a:cubicBezTo>
                    <a:pt x="7" y="16"/>
                    <a:pt x="5" y="16"/>
                    <a:pt x="9" y="18"/>
                  </a:cubicBezTo>
                  <a:cubicBezTo>
                    <a:pt x="12" y="19"/>
                    <a:pt x="15" y="21"/>
                    <a:pt x="16" y="23"/>
                  </a:cubicBezTo>
                  <a:cubicBezTo>
                    <a:pt x="17" y="24"/>
                    <a:pt x="19" y="24"/>
                    <a:pt x="20" y="27"/>
                  </a:cubicBezTo>
                  <a:cubicBezTo>
                    <a:pt x="20" y="31"/>
                    <a:pt x="20" y="33"/>
                    <a:pt x="22" y="35"/>
                  </a:cubicBezTo>
                  <a:cubicBezTo>
                    <a:pt x="25" y="36"/>
                    <a:pt x="27" y="36"/>
                    <a:pt x="28" y="39"/>
                  </a:cubicBezTo>
                  <a:cubicBezTo>
                    <a:pt x="29" y="42"/>
                    <a:pt x="33" y="43"/>
                    <a:pt x="33" y="47"/>
                  </a:cubicBezTo>
                  <a:cubicBezTo>
                    <a:pt x="33" y="52"/>
                    <a:pt x="36" y="56"/>
                    <a:pt x="33" y="56"/>
                  </a:cubicBezTo>
                  <a:cubicBezTo>
                    <a:pt x="29" y="55"/>
                    <a:pt x="29" y="55"/>
                    <a:pt x="24" y="54"/>
                  </a:cubicBezTo>
                  <a:cubicBezTo>
                    <a:pt x="20" y="54"/>
                    <a:pt x="20" y="58"/>
                    <a:pt x="18" y="54"/>
                  </a:cubicBezTo>
                  <a:cubicBezTo>
                    <a:pt x="16" y="50"/>
                    <a:pt x="18" y="51"/>
                    <a:pt x="16" y="47"/>
                  </a:cubicBezTo>
                  <a:cubicBezTo>
                    <a:pt x="15" y="42"/>
                    <a:pt x="19" y="45"/>
                    <a:pt x="15" y="42"/>
                  </a:cubicBezTo>
                  <a:cubicBezTo>
                    <a:pt x="11" y="39"/>
                    <a:pt x="12" y="40"/>
                    <a:pt x="9" y="37"/>
                  </a:cubicBezTo>
                  <a:cubicBezTo>
                    <a:pt x="7" y="34"/>
                    <a:pt x="6" y="35"/>
                    <a:pt x="6" y="31"/>
                  </a:cubicBezTo>
                  <a:cubicBezTo>
                    <a:pt x="5" y="27"/>
                    <a:pt x="4" y="23"/>
                    <a:pt x="4" y="21"/>
                  </a:cubicBezTo>
                  <a:cubicBezTo>
                    <a:pt x="4" y="19"/>
                    <a:pt x="5" y="23"/>
                    <a:pt x="3" y="17"/>
                  </a:cubicBezTo>
                  <a:cubicBezTo>
                    <a:pt x="1" y="11"/>
                    <a:pt x="0" y="11"/>
                    <a:pt x="0" y="8"/>
                  </a:cubicBezTo>
                  <a:cubicBezTo>
                    <a:pt x="1" y="6"/>
                    <a:pt x="4" y="0"/>
                    <a:pt x="5"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88" name="Freeform 876">
              <a:extLst>
                <a:ext uri="{FF2B5EF4-FFF2-40B4-BE49-F238E27FC236}">
                  <a16:creationId xmlns:a16="http://schemas.microsoft.com/office/drawing/2014/main" id="{A488ADE0-014B-4C46-82D3-089064869025}"/>
                </a:ext>
              </a:extLst>
            </p:cNvPr>
            <p:cNvSpPr>
              <a:spLocks/>
            </p:cNvSpPr>
            <p:nvPr/>
          </p:nvSpPr>
          <p:spPr bwMode="auto">
            <a:xfrm>
              <a:off x="7616849" y="2735720"/>
              <a:ext cx="55563" cy="65088"/>
            </a:xfrm>
            <a:custGeom>
              <a:avLst/>
              <a:gdLst>
                <a:gd name="T0" fmla="*/ 46 w 58"/>
                <a:gd name="T1" fmla="*/ 45 h 68"/>
                <a:gd name="T2" fmla="*/ 44 w 58"/>
                <a:gd name="T3" fmla="*/ 36 h 68"/>
                <a:gd name="T4" fmla="*/ 30 w 58"/>
                <a:gd name="T5" fmla="*/ 24 h 68"/>
                <a:gd name="T6" fmla="*/ 16 w 58"/>
                <a:gd name="T7" fmla="*/ 16 h 68"/>
                <a:gd name="T8" fmla="*/ 10 w 58"/>
                <a:gd name="T9" fmla="*/ 11 h 68"/>
                <a:gd name="T10" fmla="*/ 2 w 58"/>
                <a:gd name="T11" fmla="*/ 4 h 68"/>
                <a:gd name="T12" fmla="*/ 10 w 58"/>
                <a:gd name="T13" fmla="*/ 4 h 68"/>
                <a:gd name="T14" fmla="*/ 20 w 58"/>
                <a:gd name="T15" fmla="*/ 12 h 68"/>
                <a:gd name="T16" fmla="*/ 28 w 58"/>
                <a:gd name="T17" fmla="*/ 17 h 68"/>
                <a:gd name="T18" fmla="*/ 39 w 58"/>
                <a:gd name="T19" fmla="*/ 23 h 68"/>
                <a:gd name="T20" fmla="*/ 46 w 58"/>
                <a:gd name="T21" fmla="*/ 31 h 68"/>
                <a:gd name="T22" fmla="*/ 53 w 58"/>
                <a:gd name="T23" fmla="*/ 40 h 68"/>
                <a:gd name="T24" fmla="*/ 58 w 58"/>
                <a:gd name="T25" fmla="*/ 50 h 68"/>
                <a:gd name="T26" fmla="*/ 54 w 58"/>
                <a:gd name="T27" fmla="*/ 64 h 68"/>
                <a:gd name="T28" fmla="*/ 46 w 58"/>
                <a:gd name="T29" fmla="*/ 62 h 68"/>
                <a:gd name="T30" fmla="*/ 46 w 58"/>
                <a:gd name="T31" fmla="*/ 50 h 68"/>
                <a:gd name="T32" fmla="*/ 46 w 58"/>
                <a:gd name="T33" fmla="*/ 4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68">
                  <a:moveTo>
                    <a:pt x="46" y="45"/>
                  </a:moveTo>
                  <a:cubicBezTo>
                    <a:pt x="44" y="36"/>
                    <a:pt x="53" y="43"/>
                    <a:pt x="44" y="36"/>
                  </a:cubicBezTo>
                  <a:cubicBezTo>
                    <a:pt x="34" y="28"/>
                    <a:pt x="41" y="28"/>
                    <a:pt x="30" y="24"/>
                  </a:cubicBezTo>
                  <a:cubicBezTo>
                    <a:pt x="19" y="21"/>
                    <a:pt x="19" y="19"/>
                    <a:pt x="16" y="16"/>
                  </a:cubicBezTo>
                  <a:cubicBezTo>
                    <a:pt x="13" y="13"/>
                    <a:pt x="15" y="13"/>
                    <a:pt x="10" y="11"/>
                  </a:cubicBezTo>
                  <a:cubicBezTo>
                    <a:pt x="5" y="8"/>
                    <a:pt x="0" y="6"/>
                    <a:pt x="2" y="4"/>
                  </a:cubicBezTo>
                  <a:cubicBezTo>
                    <a:pt x="4" y="2"/>
                    <a:pt x="6" y="0"/>
                    <a:pt x="10" y="4"/>
                  </a:cubicBezTo>
                  <a:cubicBezTo>
                    <a:pt x="14" y="9"/>
                    <a:pt x="16" y="9"/>
                    <a:pt x="20" y="12"/>
                  </a:cubicBezTo>
                  <a:cubicBezTo>
                    <a:pt x="24" y="15"/>
                    <a:pt x="21" y="14"/>
                    <a:pt x="28" y="17"/>
                  </a:cubicBezTo>
                  <a:cubicBezTo>
                    <a:pt x="34" y="20"/>
                    <a:pt x="36" y="20"/>
                    <a:pt x="39" y="23"/>
                  </a:cubicBezTo>
                  <a:cubicBezTo>
                    <a:pt x="43" y="27"/>
                    <a:pt x="42" y="28"/>
                    <a:pt x="46" y="31"/>
                  </a:cubicBezTo>
                  <a:cubicBezTo>
                    <a:pt x="50" y="34"/>
                    <a:pt x="51" y="36"/>
                    <a:pt x="53" y="40"/>
                  </a:cubicBezTo>
                  <a:cubicBezTo>
                    <a:pt x="55" y="45"/>
                    <a:pt x="58" y="46"/>
                    <a:pt x="58" y="50"/>
                  </a:cubicBezTo>
                  <a:cubicBezTo>
                    <a:pt x="58" y="55"/>
                    <a:pt x="55" y="62"/>
                    <a:pt x="54" y="64"/>
                  </a:cubicBezTo>
                  <a:cubicBezTo>
                    <a:pt x="52" y="65"/>
                    <a:pt x="46" y="68"/>
                    <a:pt x="46" y="62"/>
                  </a:cubicBezTo>
                  <a:cubicBezTo>
                    <a:pt x="46" y="57"/>
                    <a:pt x="46" y="51"/>
                    <a:pt x="46" y="50"/>
                  </a:cubicBezTo>
                  <a:cubicBezTo>
                    <a:pt x="46" y="49"/>
                    <a:pt x="43" y="45"/>
                    <a:pt x="46" y="4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89" name="Freeform 877">
              <a:extLst>
                <a:ext uri="{FF2B5EF4-FFF2-40B4-BE49-F238E27FC236}">
                  <a16:creationId xmlns:a16="http://schemas.microsoft.com/office/drawing/2014/main" id="{332D9CFE-3EF2-204A-81C2-E2DE34B50D00}"/>
                </a:ext>
              </a:extLst>
            </p:cNvPr>
            <p:cNvSpPr>
              <a:spLocks/>
            </p:cNvSpPr>
            <p:nvPr/>
          </p:nvSpPr>
          <p:spPr bwMode="auto">
            <a:xfrm>
              <a:off x="7554936" y="2776995"/>
              <a:ext cx="101600" cy="61913"/>
            </a:xfrm>
            <a:custGeom>
              <a:avLst/>
              <a:gdLst>
                <a:gd name="T0" fmla="*/ 84 w 106"/>
                <a:gd name="T1" fmla="*/ 5 h 66"/>
                <a:gd name="T2" fmla="*/ 84 w 106"/>
                <a:gd name="T3" fmla="*/ 9 h 66"/>
                <a:gd name="T4" fmla="*/ 84 w 106"/>
                <a:gd name="T5" fmla="*/ 18 h 66"/>
                <a:gd name="T6" fmla="*/ 78 w 106"/>
                <a:gd name="T7" fmla="*/ 26 h 66"/>
                <a:gd name="T8" fmla="*/ 71 w 106"/>
                <a:gd name="T9" fmla="*/ 26 h 66"/>
                <a:gd name="T10" fmla="*/ 65 w 106"/>
                <a:gd name="T11" fmla="*/ 33 h 66"/>
                <a:gd name="T12" fmla="*/ 62 w 106"/>
                <a:gd name="T13" fmla="*/ 40 h 66"/>
                <a:gd name="T14" fmla="*/ 49 w 106"/>
                <a:gd name="T15" fmla="*/ 40 h 66"/>
                <a:gd name="T16" fmla="*/ 44 w 106"/>
                <a:gd name="T17" fmla="*/ 36 h 66"/>
                <a:gd name="T18" fmla="*/ 45 w 106"/>
                <a:gd name="T19" fmla="*/ 29 h 66"/>
                <a:gd name="T20" fmla="*/ 46 w 106"/>
                <a:gd name="T21" fmla="*/ 26 h 66"/>
                <a:gd name="T22" fmla="*/ 38 w 106"/>
                <a:gd name="T23" fmla="*/ 31 h 66"/>
                <a:gd name="T24" fmla="*/ 38 w 106"/>
                <a:gd name="T25" fmla="*/ 38 h 66"/>
                <a:gd name="T26" fmla="*/ 27 w 106"/>
                <a:gd name="T27" fmla="*/ 41 h 66"/>
                <a:gd name="T28" fmla="*/ 12 w 106"/>
                <a:gd name="T29" fmla="*/ 41 h 66"/>
                <a:gd name="T30" fmla="*/ 1 w 106"/>
                <a:gd name="T31" fmla="*/ 41 h 66"/>
                <a:gd name="T32" fmla="*/ 4 w 106"/>
                <a:gd name="T33" fmla="*/ 49 h 66"/>
                <a:gd name="T34" fmla="*/ 11 w 106"/>
                <a:gd name="T35" fmla="*/ 52 h 66"/>
                <a:gd name="T36" fmla="*/ 20 w 106"/>
                <a:gd name="T37" fmla="*/ 58 h 66"/>
                <a:gd name="T38" fmla="*/ 27 w 106"/>
                <a:gd name="T39" fmla="*/ 59 h 66"/>
                <a:gd name="T40" fmla="*/ 35 w 106"/>
                <a:gd name="T41" fmla="*/ 62 h 66"/>
                <a:gd name="T42" fmla="*/ 48 w 106"/>
                <a:gd name="T43" fmla="*/ 62 h 66"/>
                <a:gd name="T44" fmla="*/ 60 w 106"/>
                <a:gd name="T45" fmla="*/ 57 h 66"/>
                <a:gd name="T46" fmla="*/ 73 w 106"/>
                <a:gd name="T47" fmla="*/ 52 h 66"/>
                <a:gd name="T48" fmla="*/ 83 w 106"/>
                <a:gd name="T49" fmla="*/ 46 h 66"/>
                <a:gd name="T50" fmla="*/ 85 w 106"/>
                <a:gd name="T51" fmla="*/ 39 h 66"/>
                <a:gd name="T52" fmla="*/ 95 w 106"/>
                <a:gd name="T53" fmla="*/ 39 h 66"/>
                <a:gd name="T54" fmla="*/ 95 w 106"/>
                <a:gd name="T55" fmla="*/ 33 h 66"/>
                <a:gd name="T56" fmla="*/ 95 w 106"/>
                <a:gd name="T57" fmla="*/ 26 h 66"/>
                <a:gd name="T58" fmla="*/ 103 w 106"/>
                <a:gd name="T59" fmla="*/ 23 h 66"/>
                <a:gd name="T60" fmla="*/ 105 w 106"/>
                <a:gd name="T61" fmla="*/ 15 h 66"/>
                <a:gd name="T62" fmla="*/ 101 w 106"/>
                <a:gd name="T63" fmla="*/ 5 h 66"/>
                <a:gd name="T64" fmla="*/ 87 w 106"/>
                <a:gd name="T65" fmla="*/ 2 h 66"/>
                <a:gd name="T66" fmla="*/ 84 w 106"/>
                <a:gd name="T67"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66">
                  <a:moveTo>
                    <a:pt x="84" y="5"/>
                  </a:moveTo>
                  <a:cubicBezTo>
                    <a:pt x="84" y="5"/>
                    <a:pt x="83" y="4"/>
                    <a:pt x="84" y="9"/>
                  </a:cubicBezTo>
                  <a:cubicBezTo>
                    <a:pt x="85" y="14"/>
                    <a:pt x="84" y="16"/>
                    <a:pt x="84" y="18"/>
                  </a:cubicBezTo>
                  <a:cubicBezTo>
                    <a:pt x="85" y="21"/>
                    <a:pt x="81" y="27"/>
                    <a:pt x="78" y="26"/>
                  </a:cubicBezTo>
                  <a:cubicBezTo>
                    <a:pt x="76" y="24"/>
                    <a:pt x="73" y="22"/>
                    <a:pt x="71" y="26"/>
                  </a:cubicBezTo>
                  <a:cubicBezTo>
                    <a:pt x="69" y="30"/>
                    <a:pt x="67" y="31"/>
                    <a:pt x="65" y="33"/>
                  </a:cubicBezTo>
                  <a:cubicBezTo>
                    <a:pt x="63" y="34"/>
                    <a:pt x="68" y="40"/>
                    <a:pt x="62" y="40"/>
                  </a:cubicBezTo>
                  <a:cubicBezTo>
                    <a:pt x="56" y="41"/>
                    <a:pt x="51" y="41"/>
                    <a:pt x="49" y="40"/>
                  </a:cubicBezTo>
                  <a:cubicBezTo>
                    <a:pt x="47" y="40"/>
                    <a:pt x="44" y="41"/>
                    <a:pt x="44" y="36"/>
                  </a:cubicBezTo>
                  <a:cubicBezTo>
                    <a:pt x="44" y="31"/>
                    <a:pt x="44" y="31"/>
                    <a:pt x="45" y="29"/>
                  </a:cubicBezTo>
                  <a:cubicBezTo>
                    <a:pt x="47" y="28"/>
                    <a:pt x="50" y="24"/>
                    <a:pt x="46" y="26"/>
                  </a:cubicBezTo>
                  <a:cubicBezTo>
                    <a:pt x="42" y="27"/>
                    <a:pt x="38" y="27"/>
                    <a:pt x="38" y="31"/>
                  </a:cubicBezTo>
                  <a:cubicBezTo>
                    <a:pt x="38" y="35"/>
                    <a:pt x="43" y="37"/>
                    <a:pt x="38" y="38"/>
                  </a:cubicBezTo>
                  <a:cubicBezTo>
                    <a:pt x="33" y="40"/>
                    <a:pt x="33" y="41"/>
                    <a:pt x="27" y="41"/>
                  </a:cubicBezTo>
                  <a:cubicBezTo>
                    <a:pt x="21" y="41"/>
                    <a:pt x="17" y="40"/>
                    <a:pt x="12" y="41"/>
                  </a:cubicBezTo>
                  <a:cubicBezTo>
                    <a:pt x="8" y="41"/>
                    <a:pt x="2" y="37"/>
                    <a:pt x="1" y="41"/>
                  </a:cubicBezTo>
                  <a:cubicBezTo>
                    <a:pt x="0" y="45"/>
                    <a:pt x="2" y="48"/>
                    <a:pt x="4" y="49"/>
                  </a:cubicBezTo>
                  <a:cubicBezTo>
                    <a:pt x="7" y="50"/>
                    <a:pt x="8" y="48"/>
                    <a:pt x="11" y="52"/>
                  </a:cubicBezTo>
                  <a:cubicBezTo>
                    <a:pt x="14" y="55"/>
                    <a:pt x="14" y="56"/>
                    <a:pt x="20" y="58"/>
                  </a:cubicBezTo>
                  <a:cubicBezTo>
                    <a:pt x="25" y="59"/>
                    <a:pt x="25" y="56"/>
                    <a:pt x="27" y="59"/>
                  </a:cubicBezTo>
                  <a:cubicBezTo>
                    <a:pt x="28" y="61"/>
                    <a:pt x="28" y="62"/>
                    <a:pt x="35" y="62"/>
                  </a:cubicBezTo>
                  <a:cubicBezTo>
                    <a:pt x="42" y="62"/>
                    <a:pt x="38" y="66"/>
                    <a:pt x="48" y="62"/>
                  </a:cubicBezTo>
                  <a:cubicBezTo>
                    <a:pt x="57" y="59"/>
                    <a:pt x="53" y="59"/>
                    <a:pt x="60" y="57"/>
                  </a:cubicBezTo>
                  <a:cubicBezTo>
                    <a:pt x="66" y="55"/>
                    <a:pt x="64" y="56"/>
                    <a:pt x="73" y="52"/>
                  </a:cubicBezTo>
                  <a:cubicBezTo>
                    <a:pt x="82" y="47"/>
                    <a:pt x="84" y="51"/>
                    <a:pt x="83" y="46"/>
                  </a:cubicBezTo>
                  <a:cubicBezTo>
                    <a:pt x="82" y="40"/>
                    <a:pt x="78" y="39"/>
                    <a:pt x="85" y="39"/>
                  </a:cubicBezTo>
                  <a:cubicBezTo>
                    <a:pt x="91" y="39"/>
                    <a:pt x="94" y="42"/>
                    <a:pt x="95" y="39"/>
                  </a:cubicBezTo>
                  <a:cubicBezTo>
                    <a:pt x="96" y="36"/>
                    <a:pt x="97" y="38"/>
                    <a:pt x="95" y="33"/>
                  </a:cubicBezTo>
                  <a:cubicBezTo>
                    <a:pt x="93" y="27"/>
                    <a:pt x="90" y="26"/>
                    <a:pt x="95" y="26"/>
                  </a:cubicBezTo>
                  <a:cubicBezTo>
                    <a:pt x="100" y="25"/>
                    <a:pt x="101" y="27"/>
                    <a:pt x="103" y="23"/>
                  </a:cubicBezTo>
                  <a:cubicBezTo>
                    <a:pt x="104" y="18"/>
                    <a:pt x="106" y="22"/>
                    <a:pt x="105" y="15"/>
                  </a:cubicBezTo>
                  <a:cubicBezTo>
                    <a:pt x="104" y="7"/>
                    <a:pt x="106" y="4"/>
                    <a:pt x="101" y="5"/>
                  </a:cubicBezTo>
                  <a:cubicBezTo>
                    <a:pt x="96" y="5"/>
                    <a:pt x="87" y="2"/>
                    <a:pt x="87" y="2"/>
                  </a:cubicBezTo>
                  <a:cubicBezTo>
                    <a:pt x="87" y="2"/>
                    <a:pt x="83" y="0"/>
                    <a:pt x="84"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90" name="Freeform 878">
              <a:extLst>
                <a:ext uri="{FF2B5EF4-FFF2-40B4-BE49-F238E27FC236}">
                  <a16:creationId xmlns:a16="http://schemas.microsoft.com/office/drawing/2014/main" id="{EAA078E4-29F1-CB46-857E-B46DE1B87070}"/>
                </a:ext>
              </a:extLst>
            </p:cNvPr>
            <p:cNvSpPr>
              <a:spLocks/>
            </p:cNvSpPr>
            <p:nvPr/>
          </p:nvSpPr>
          <p:spPr bwMode="auto">
            <a:xfrm>
              <a:off x="7512074" y="2711908"/>
              <a:ext cx="30163" cy="15875"/>
            </a:xfrm>
            <a:custGeom>
              <a:avLst/>
              <a:gdLst>
                <a:gd name="T0" fmla="*/ 5 w 31"/>
                <a:gd name="T1" fmla="*/ 11 h 16"/>
                <a:gd name="T2" fmla="*/ 11 w 31"/>
                <a:gd name="T3" fmla="*/ 6 h 16"/>
                <a:gd name="T4" fmla="*/ 20 w 31"/>
                <a:gd name="T5" fmla="*/ 3 h 16"/>
                <a:gd name="T6" fmla="*/ 25 w 31"/>
                <a:gd name="T7" fmla="*/ 11 h 16"/>
                <a:gd name="T8" fmla="*/ 13 w 31"/>
                <a:gd name="T9" fmla="*/ 15 h 16"/>
                <a:gd name="T10" fmla="*/ 7 w 31"/>
                <a:gd name="T11" fmla="*/ 15 h 16"/>
                <a:gd name="T12" fmla="*/ 5 w 31"/>
                <a:gd name="T13" fmla="*/ 11 h 16"/>
              </a:gdLst>
              <a:ahLst/>
              <a:cxnLst>
                <a:cxn ang="0">
                  <a:pos x="T0" y="T1"/>
                </a:cxn>
                <a:cxn ang="0">
                  <a:pos x="T2" y="T3"/>
                </a:cxn>
                <a:cxn ang="0">
                  <a:pos x="T4" y="T5"/>
                </a:cxn>
                <a:cxn ang="0">
                  <a:pos x="T6" y="T7"/>
                </a:cxn>
                <a:cxn ang="0">
                  <a:pos x="T8" y="T9"/>
                </a:cxn>
                <a:cxn ang="0">
                  <a:pos x="T10" y="T11"/>
                </a:cxn>
                <a:cxn ang="0">
                  <a:pos x="T12" y="T13"/>
                </a:cxn>
              </a:cxnLst>
              <a:rect l="0" t="0" r="r" b="b"/>
              <a:pathLst>
                <a:path w="31" h="16">
                  <a:moveTo>
                    <a:pt x="5" y="11"/>
                  </a:moveTo>
                  <a:cubicBezTo>
                    <a:pt x="5" y="7"/>
                    <a:pt x="8" y="5"/>
                    <a:pt x="11" y="6"/>
                  </a:cubicBezTo>
                  <a:cubicBezTo>
                    <a:pt x="14" y="7"/>
                    <a:pt x="17" y="0"/>
                    <a:pt x="20" y="3"/>
                  </a:cubicBezTo>
                  <a:cubicBezTo>
                    <a:pt x="24" y="6"/>
                    <a:pt x="31" y="9"/>
                    <a:pt x="25" y="11"/>
                  </a:cubicBezTo>
                  <a:cubicBezTo>
                    <a:pt x="18" y="14"/>
                    <a:pt x="16" y="15"/>
                    <a:pt x="13" y="15"/>
                  </a:cubicBezTo>
                  <a:cubicBezTo>
                    <a:pt x="9" y="15"/>
                    <a:pt x="9" y="14"/>
                    <a:pt x="7" y="15"/>
                  </a:cubicBezTo>
                  <a:cubicBezTo>
                    <a:pt x="5" y="16"/>
                    <a:pt x="0" y="8"/>
                    <a:pt x="5" y="1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91" name="Freeform 880">
              <a:extLst>
                <a:ext uri="{FF2B5EF4-FFF2-40B4-BE49-F238E27FC236}">
                  <a16:creationId xmlns:a16="http://schemas.microsoft.com/office/drawing/2014/main" id="{E9C63A14-67D9-3B47-AEE7-A1D32A40C88A}"/>
                </a:ext>
              </a:extLst>
            </p:cNvPr>
            <p:cNvSpPr>
              <a:spLocks/>
            </p:cNvSpPr>
            <p:nvPr/>
          </p:nvSpPr>
          <p:spPr bwMode="auto">
            <a:xfrm>
              <a:off x="7593037" y="2729370"/>
              <a:ext cx="20638" cy="12700"/>
            </a:xfrm>
            <a:custGeom>
              <a:avLst/>
              <a:gdLst>
                <a:gd name="T0" fmla="*/ 5 w 22"/>
                <a:gd name="T1" fmla="*/ 7 h 13"/>
                <a:gd name="T2" fmla="*/ 14 w 22"/>
                <a:gd name="T3" fmla="*/ 8 h 13"/>
                <a:gd name="T4" fmla="*/ 19 w 22"/>
                <a:gd name="T5" fmla="*/ 7 h 13"/>
                <a:gd name="T6" fmla="*/ 17 w 22"/>
                <a:gd name="T7" fmla="*/ 1 h 13"/>
                <a:gd name="T8" fmla="*/ 7 w 22"/>
                <a:gd name="T9" fmla="*/ 0 h 13"/>
                <a:gd name="T10" fmla="*/ 5 w 22"/>
                <a:gd name="T11" fmla="*/ 7 h 13"/>
              </a:gdLst>
              <a:ahLst/>
              <a:cxnLst>
                <a:cxn ang="0">
                  <a:pos x="T0" y="T1"/>
                </a:cxn>
                <a:cxn ang="0">
                  <a:pos x="T2" y="T3"/>
                </a:cxn>
                <a:cxn ang="0">
                  <a:pos x="T4" y="T5"/>
                </a:cxn>
                <a:cxn ang="0">
                  <a:pos x="T6" y="T7"/>
                </a:cxn>
                <a:cxn ang="0">
                  <a:pos x="T8" y="T9"/>
                </a:cxn>
                <a:cxn ang="0">
                  <a:pos x="T10" y="T11"/>
                </a:cxn>
              </a:cxnLst>
              <a:rect l="0" t="0" r="r" b="b"/>
              <a:pathLst>
                <a:path w="22" h="13">
                  <a:moveTo>
                    <a:pt x="5" y="7"/>
                  </a:moveTo>
                  <a:cubicBezTo>
                    <a:pt x="11" y="9"/>
                    <a:pt x="10" y="7"/>
                    <a:pt x="14" y="8"/>
                  </a:cubicBezTo>
                  <a:cubicBezTo>
                    <a:pt x="17" y="9"/>
                    <a:pt x="19" y="13"/>
                    <a:pt x="19" y="7"/>
                  </a:cubicBezTo>
                  <a:cubicBezTo>
                    <a:pt x="19" y="2"/>
                    <a:pt x="22" y="2"/>
                    <a:pt x="17" y="1"/>
                  </a:cubicBezTo>
                  <a:cubicBezTo>
                    <a:pt x="13" y="0"/>
                    <a:pt x="9" y="0"/>
                    <a:pt x="7" y="0"/>
                  </a:cubicBezTo>
                  <a:cubicBezTo>
                    <a:pt x="5" y="0"/>
                    <a:pt x="0" y="1"/>
                    <a:pt x="5" y="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92" name="Freeform 881">
              <a:extLst>
                <a:ext uri="{FF2B5EF4-FFF2-40B4-BE49-F238E27FC236}">
                  <a16:creationId xmlns:a16="http://schemas.microsoft.com/office/drawing/2014/main" id="{F915CEE4-7F1C-4F4A-B56C-2311C48346E2}"/>
                </a:ext>
              </a:extLst>
            </p:cNvPr>
            <p:cNvSpPr>
              <a:spLocks/>
            </p:cNvSpPr>
            <p:nvPr/>
          </p:nvSpPr>
          <p:spPr bwMode="auto">
            <a:xfrm>
              <a:off x="3732225" y="1707019"/>
              <a:ext cx="282576" cy="220663"/>
            </a:xfrm>
            <a:custGeom>
              <a:avLst/>
              <a:gdLst>
                <a:gd name="T0" fmla="*/ 293 w 296"/>
                <a:gd name="T1" fmla="*/ 103 h 232"/>
                <a:gd name="T2" fmla="*/ 290 w 296"/>
                <a:gd name="T3" fmla="*/ 109 h 232"/>
                <a:gd name="T4" fmla="*/ 282 w 296"/>
                <a:gd name="T5" fmla="*/ 109 h 232"/>
                <a:gd name="T6" fmla="*/ 265 w 296"/>
                <a:gd name="T7" fmla="*/ 107 h 232"/>
                <a:gd name="T8" fmla="*/ 257 w 296"/>
                <a:gd name="T9" fmla="*/ 107 h 232"/>
                <a:gd name="T10" fmla="*/ 251 w 296"/>
                <a:gd name="T11" fmla="*/ 110 h 232"/>
                <a:gd name="T12" fmla="*/ 243 w 296"/>
                <a:gd name="T13" fmla="*/ 121 h 232"/>
                <a:gd name="T14" fmla="*/ 227 w 296"/>
                <a:gd name="T15" fmla="*/ 121 h 232"/>
                <a:gd name="T16" fmla="*/ 230 w 296"/>
                <a:gd name="T17" fmla="*/ 129 h 232"/>
                <a:gd name="T18" fmla="*/ 231 w 296"/>
                <a:gd name="T19" fmla="*/ 140 h 232"/>
                <a:gd name="T20" fmla="*/ 213 w 296"/>
                <a:gd name="T21" fmla="*/ 150 h 232"/>
                <a:gd name="T22" fmla="*/ 196 w 296"/>
                <a:gd name="T23" fmla="*/ 157 h 232"/>
                <a:gd name="T24" fmla="*/ 187 w 296"/>
                <a:gd name="T25" fmla="*/ 170 h 232"/>
                <a:gd name="T26" fmla="*/ 165 w 296"/>
                <a:gd name="T27" fmla="*/ 174 h 232"/>
                <a:gd name="T28" fmla="*/ 157 w 296"/>
                <a:gd name="T29" fmla="*/ 181 h 232"/>
                <a:gd name="T30" fmla="*/ 141 w 296"/>
                <a:gd name="T31" fmla="*/ 181 h 232"/>
                <a:gd name="T32" fmla="*/ 130 w 296"/>
                <a:gd name="T33" fmla="*/ 188 h 232"/>
                <a:gd name="T34" fmla="*/ 118 w 296"/>
                <a:gd name="T35" fmla="*/ 196 h 232"/>
                <a:gd name="T36" fmla="*/ 109 w 296"/>
                <a:gd name="T37" fmla="*/ 207 h 232"/>
                <a:gd name="T38" fmla="*/ 107 w 296"/>
                <a:gd name="T39" fmla="*/ 232 h 232"/>
                <a:gd name="T40" fmla="*/ 1 w 296"/>
                <a:gd name="T41" fmla="*/ 231 h 232"/>
                <a:gd name="T42" fmla="*/ 7 w 296"/>
                <a:gd name="T43" fmla="*/ 224 h 232"/>
                <a:gd name="T44" fmla="*/ 29 w 296"/>
                <a:gd name="T45" fmla="*/ 219 h 232"/>
                <a:gd name="T46" fmla="*/ 44 w 296"/>
                <a:gd name="T47" fmla="*/ 212 h 232"/>
                <a:gd name="T48" fmla="*/ 59 w 296"/>
                <a:gd name="T49" fmla="*/ 200 h 232"/>
                <a:gd name="T50" fmla="*/ 74 w 296"/>
                <a:gd name="T51" fmla="*/ 184 h 232"/>
                <a:gd name="T52" fmla="*/ 85 w 296"/>
                <a:gd name="T53" fmla="*/ 169 h 232"/>
                <a:gd name="T54" fmla="*/ 89 w 296"/>
                <a:gd name="T55" fmla="*/ 159 h 232"/>
                <a:gd name="T56" fmla="*/ 86 w 296"/>
                <a:gd name="T57" fmla="*/ 151 h 232"/>
                <a:gd name="T58" fmla="*/ 86 w 296"/>
                <a:gd name="T59" fmla="*/ 132 h 232"/>
                <a:gd name="T60" fmla="*/ 90 w 296"/>
                <a:gd name="T61" fmla="*/ 118 h 232"/>
                <a:gd name="T62" fmla="*/ 100 w 296"/>
                <a:gd name="T63" fmla="*/ 105 h 232"/>
                <a:gd name="T64" fmla="*/ 105 w 296"/>
                <a:gd name="T65" fmla="*/ 88 h 232"/>
                <a:gd name="T66" fmla="*/ 115 w 296"/>
                <a:gd name="T67" fmla="*/ 79 h 232"/>
                <a:gd name="T68" fmla="*/ 128 w 296"/>
                <a:gd name="T69" fmla="*/ 72 h 232"/>
                <a:gd name="T70" fmla="*/ 140 w 296"/>
                <a:gd name="T71" fmla="*/ 67 h 232"/>
                <a:gd name="T72" fmla="*/ 152 w 296"/>
                <a:gd name="T73" fmla="*/ 59 h 232"/>
                <a:gd name="T74" fmla="*/ 162 w 296"/>
                <a:gd name="T75" fmla="*/ 50 h 232"/>
                <a:gd name="T76" fmla="*/ 177 w 296"/>
                <a:gd name="T77" fmla="*/ 32 h 232"/>
                <a:gd name="T78" fmla="*/ 181 w 296"/>
                <a:gd name="T79" fmla="*/ 15 h 232"/>
                <a:gd name="T80" fmla="*/ 187 w 296"/>
                <a:gd name="T81" fmla="*/ 4 h 232"/>
                <a:gd name="T82" fmla="*/ 199 w 296"/>
                <a:gd name="T83" fmla="*/ 2 h 232"/>
                <a:gd name="T84" fmla="*/ 203 w 296"/>
                <a:gd name="T85" fmla="*/ 11 h 232"/>
                <a:gd name="T86" fmla="*/ 218 w 296"/>
                <a:gd name="T87" fmla="*/ 23 h 232"/>
                <a:gd name="T88" fmla="*/ 242 w 296"/>
                <a:gd name="T89" fmla="*/ 23 h 232"/>
                <a:gd name="T90" fmla="*/ 252 w 296"/>
                <a:gd name="T91" fmla="*/ 17 h 232"/>
                <a:gd name="T92" fmla="*/ 258 w 296"/>
                <a:gd name="T93" fmla="*/ 13 h 232"/>
                <a:gd name="T94" fmla="*/ 270 w 296"/>
                <a:gd name="T95" fmla="*/ 24 h 232"/>
                <a:gd name="T96" fmla="*/ 272 w 296"/>
                <a:gd name="T97" fmla="*/ 24 h 232"/>
                <a:gd name="T98" fmla="*/ 276 w 296"/>
                <a:gd name="T99" fmla="*/ 28 h 232"/>
                <a:gd name="T100" fmla="*/ 283 w 296"/>
                <a:gd name="T101" fmla="*/ 40 h 232"/>
                <a:gd name="T102" fmla="*/ 283 w 296"/>
                <a:gd name="T103" fmla="*/ 59 h 232"/>
                <a:gd name="T104" fmla="*/ 285 w 296"/>
                <a:gd name="T105" fmla="*/ 71 h 232"/>
                <a:gd name="T106" fmla="*/ 287 w 296"/>
                <a:gd name="T107" fmla="*/ 84 h 232"/>
                <a:gd name="T108" fmla="*/ 293 w 296"/>
                <a:gd name="T109" fmla="*/ 93 h 232"/>
                <a:gd name="T110" fmla="*/ 293 w 296"/>
                <a:gd name="T111" fmla="*/ 10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232">
                  <a:moveTo>
                    <a:pt x="293" y="103"/>
                  </a:moveTo>
                  <a:cubicBezTo>
                    <a:pt x="291" y="105"/>
                    <a:pt x="295" y="109"/>
                    <a:pt x="290" y="109"/>
                  </a:cubicBezTo>
                  <a:cubicBezTo>
                    <a:pt x="284" y="110"/>
                    <a:pt x="289" y="111"/>
                    <a:pt x="282" y="109"/>
                  </a:cubicBezTo>
                  <a:cubicBezTo>
                    <a:pt x="276" y="108"/>
                    <a:pt x="268" y="107"/>
                    <a:pt x="265" y="107"/>
                  </a:cubicBezTo>
                  <a:cubicBezTo>
                    <a:pt x="262" y="107"/>
                    <a:pt x="259" y="105"/>
                    <a:pt x="257" y="107"/>
                  </a:cubicBezTo>
                  <a:cubicBezTo>
                    <a:pt x="256" y="109"/>
                    <a:pt x="252" y="105"/>
                    <a:pt x="251" y="110"/>
                  </a:cubicBezTo>
                  <a:cubicBezTo>
                    <a:pt x="250" y="115"/>
                    <a:pt x="245" y="120"/>
                    <a:pt x="243" y="121"/>
                  </a:cubicBezTo>
                  <a:cubicBezTo>
                    <a:pt x="241" y="122"/>
                    <a:pt x="228" y="119"/>
                    <a:pt x="227" y="121"/>
                  </a:cubicBezTo>
                  <a:cubicBezTo>
                    <a:pt x="227" y="123"/>
                    <a:pt x="230" y="124"/>
                    <a:pt x="230" y="129"/>
                  </a:cubicBezTo>
                  <a:cubicBezTo>
                    <a:pt x="230" y="134"/>
                    <a:pt x="239" y="138"/>
                    <a:pt x="231" y="140"/>
                  </a:cubicBezTo>
                  <a:cubicBezTo>
                    <a:pt x="222" y="142"/>
                    <a:pt x="217" y="148"/>
                    <a:pt x="213" y="150"/>
                  </a:cubicBezTo>
                  <a:cubicBezTo>
                    <a:pt x="210" y="152"/>
                    <a:pt x="203" y="149"/>
                    <a:pt x="196" y="157"/>
                  </a:cubicBezTo>
                  <a:cubicBezTo>
                    <a:pt x="190" y="164"/>
                    <a:pt x="196" y="168"/>
                    <a:pt x="187" y="170"/>
                  </a:cubicBezTo>
                  <a:cubicBezTo>
                    <a:pt x="178" y="172"/>
                    <a:pt x="166" y="171"/>
                    <a:pt x="165" y="174"/>
                  </a:cubicBezTo>
                  <a:cubicBezTo>
                    <a:pt x="163" y="178"/>
                    <a:pt x="162" y="181"/>
                    <a:pt x="157" y="181"/>
                  </a:cubicBezTo>
                  <a:cubicBezTo>
                    <a:pt x="153" y="180"/>
                    <a:pt x="146" y="179"/>
                    <a:pt x="141" y="181"/>
                  </a:cubicBezTo>
                  <a:cubicBezTo>
                    <a:pt x="136" y="183"/>
                    <a:pt x="137" y="184"/>
                    <a:pt x="130" y="188"/>
                  </a:cubicBezTo>
                  <a:cubicBezTo>
                    <a:pt x="122" y="192"/>
                    <a:pt x="124" y="192"/>
                    <a:pt x="118" y="196"/>
                  </a:cubicBezTo>
                  <a:cubicBezTo>
                    <a:pt x="113" y="201"/>
                    <a:pt x="109" y="207"/>
                    <a:pt x="109" y="207"/>
                  </a:cubicBezTo>
                  <a:cubicBezTo>
                    <a:pt x="107" y="232"/>
                    <a:pt x="107" y="232"/>
                    <a:pt x="107" y="232"/>
                  </a:cubicBezTo>
                  <a:cubicBezTo>
                    <a:pt x="1" y="231"/>
                    <a:pt x="1" y="231"/>
                    <a:pt x="1" y="231"/>
                  </a:cubicBezTo>
                  <a:cubicBezTo>
                    <a:pt x="4" y="226"/>
                    <a:pt x="0" y="224"/>
                    <a:pt x="7" y="224"/>
                  </a:cubicBezTo>
                  <a:cubicBezTo>
                    <a:pt x="16" y="224"/>
                    <a:pt x="22" y="222"/>
                    <a:pt x="29" y="219"/>
                  </a:cubicBezTo>
                  <a:cubicBezTo>
                    <a:pt x="37" y="216"/>
                    <a:pt x="39" y="217"/>
                    <a:pt x="44" y="212"/>
                  </a:cubicBezTo>
                  <a:cubicBezTo>
                    <a:pt x="50" y="207"/>
                    <a:pt x="51" y="203"/>
                    <a:pt x="59" y="200"/>
                  </a:cubicBezTo>
                  <a:cubicBezTo>
                    <a:pt x="67" y="197"/>
                    <a:pt x="68" y="194"/>
                    <a:pt x="74" y="184"/>
                  </a:cubicBezTo>
                  <a:cubicBezTo>
                    <a:pt x="79" y="174"/>
                    <a:pt x="81" y="175"/>
                    <a:pt x="85" y="169"/>
                  </a:cubicBezTo>
                  <a:cubicBezTo>
                    <a:pt x="88" y="164"/>
                    <a:pt x="89" y="163"/>
                    <a:pt x="89" y="159"/>
                  </a:cubicBezTo>
                  <a:cubicBezTo>
                    <a:pt x="89" y="154"/>
                    <a:pt x="88" y="163"/>
                    <a:pt x="86" y="151"/>
                  </a:cubicBezTo>
                  <a:cubicBezTo>
                    <a:pt x="84" y="140"/>
                    <a:pt x="86" y="139"/>
                    <a:pt x="86" y="132"/>
                  </a:cubicBezTo>
                  <a:cubicBezTo>
                    <a:pt x="87" y="126"/>
                    <a:pt x="86" y="122"/>
                    <a:pt x="90" y="118"/>
                  </a:cubicBezTo>
                  <a:cubicBezTo>
                    <a:pt x="95" y="113"/>
                    <a:pt x="98" y="109"/>
                    <a:pt x="100" y="105"/>
                  </a:cubicBezTo>
                  <a:cubicBezTo>
                    <a:pt x="102" y="101"/>
                    <a:pt x="101" y="92"/>
                    <a:pt x="105" y="88"/>
                  </a:cubicBezTo>
                  <a:cubicBezTo>
                    <a:pt x="109" y="84"/>
                    <a:pt x="108" y="83"/>
                    <a:pt x="115" y="79"/>
                  </a:cubicBezTo>
                  <a:cubicBezTo>
                    <a:pt x="123" y="75"/>
                    <a:pt x="119" y="76"/>
                    <a:pt x="128" y="72"/>
                  </a:cubicBezTo>
                  <a:cubicBezTo>
                    <a:pt x="137" y="68"/>
                    <a:pt x="133" y="69"/>
                    <a:pt x="140" y="67"/>
                  </a:cubicBezTo>
                  <a:cubicBezTo>
                    <a:pt x="147" y="64"/>
                    <a:pt x="146" y="64"/>
                    <a:pt x="152" y="59"/>
                  </a:cubicBezTo>
                  <a:cubicBezTo>
                    <a:pt x="158" y="54"/>
                    <a:pt x="154" y="57"/>
                    <a:pt x="162" y="50"/>
                  </a:cubicBezTo>
                  <a:cubicBezTo>
                    <a:pt x="171" y="43"/>
                    <a:pt x="174" y="39"/>
                    <a:pt x="177" y="32"/>
                  </a:cubicBezTo>
                  <a:cubicBezTo>
                    <a:pt x="180" y="25"/>
                    <a:pt x="181" y="20"/>
                    <a:pt x="181" y="15"/>
                  </a:cubicBezTo>
                  <a:cubicBezTo>
                    <a:pt x="182" y="9"/>
                    <a:pt x="181" y="4"/>
                    <a:pt x="187" y="4"/>
                  </a:cubicBezTo>
                  <a:cubicBezTo>
                    <a:pt x="192" y="4"/>
                    <a:pt x="195" y="0"/>
                    <a:pt x="199" y="2"/>
                  </a:cubicBezTo>
                  <a:cubicBezTo>
                    <a:pt x="203" y="4"/>
                    <a:pt x="196" y="3"/>
                    <a:pt x="203" y="11"/>
                  </a:cubicBezTo>
                  <a:cubicBezTo>
                    <a:pt x="210" y="19"/>
                    <a:pt x="212" y="23"/>
                    <a:pt x="218" y="23"/>
                  </a:cubicBezTo>
                  <a:cubicBezTo>
                    <a:pt x="223" y="23"/>
                    <a:pt x="236" y="25"/>
                    <a:pt x="242" y="23"/>
                  </a:cubicBezTo>
                  <a:cubicBezTo>
                    <a:pt x="249" y="20"/>
                    <a:pt x="252" y="19"/>
                    <a:pt x="252" y="17"/>
                  </a:cubicBezTo>
                  <a:cubicBezTo>
                    <a:pt x="252" y="14"/>
                    <a:pt x="258" y="9"/>
                    <a:pt x="258" y="13"/>
                  </a:cubicBezTo>
                  <a:cubicBezTo>
                    <a:pt x="259" y="18"/>
                    <a:pt x="266" y="23"/>
                    <a:pt x="270" y="24"/>
                  </a:cubicBezTo>
                  <a:cubicBezTo>
                    <a:pt x="270" y="24"/>
                    <a:pt x="271" y="24"/>
                    <a:pt x="272" y="24"/>
                  </a:cubicBezTo>
                  <a:cubicBezTo>
                    <a:pt x="273" y="25"/>
                    <a:pt x="274" y="26"/>
                    <a:pt x="276" y="28"/>
                  </a:cubicBezTo>
                  <a:cubicBezTo>
                    <a:pt x="279" y="32"/>
                    <a:pt x="284" y="32"/>
                    <a:pt x="283" y="40"/>
                  </a:cubicBezTo>
                  <a:cubicBezTo>
                    <a:pt x="282" y="48"/>
                    <a:pt x="281" y="51"/>
                    <a:pt x="283" y="59"/>
                  </a:cubicBezTo>
                  <a:cubicBezTo>
                    <a:pt x="285" y="66"/>
                    <a:pt x="284" y="64"/>
                    <a:pt x="285" y="71"/>
                  </a:cubicBezTo>
                  <a:cubicBezTo>
                    <a:pt x="285" y="78"/>
                    <a:pt x="281" y="76"/>
                    <a:pt x="287" y="84"/>
                  </a:cubicBezTo>
                  <a:cubicBezTo>
                    <a:pt x="293" y="91"/>
                    <a:pt x="291" y="91"/>
                    <a:pt x="293" y="93"/>
                  </a:cubicBezTo>
                  <a:cubicBezTo>
                    <a:pt x="296" y="96"/>
                    <a:pt x="295" y="101"/>
                    <a:pt x="293" y="103"/>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93" name="Freeform 882">
              <a:extLst>
                <a:ext uri="{FF2B5EF4-FFF2-40B4-BE49-F238E27FC236}">
                  <a16:creationId xmlns:a16="http://schemas.microsoft.com/office/drawing/2014/main" id="{1E0ED9A5-D561-1447-8BB7-0CC2D190B0CA}"/>
                </a:ext>
              </a:extLst>
            </p:cNvPr>
            <p:cNvSpPr>
              <a:spLocks/>
            </p:cNvSpPr>
            <p:nvPr/>
          </p:nvSpPr>
          <p:spPr bwMode="auto">
            <a:xfrm>
              <a:off x="3635387" y="1927682"/>
              <a:ext cx="201613" cy="171450"/>
            </a:xfrm>
            <a:custGeom>
              <a:avLst/>
              <a:gdLst>
                <a:gd name="T0" fmla="*/ 212 w 212"/>
                <a:gd name="T1" fmla="*/ 1 h 181"/>
                <a:gd name="T2" fmla="*/ 211 w 212"/>
                <a:gd name="T3" fmla="*/ 10 h 181"/>
                <a:gd name="T4" fmla="*/ 211 w 212"/>
                <a:gd name="T5" fmla="*/ 11 h 181"/>
                <a:gd name="T6" fmla="*/ 210 w 212"/>
                <a:gd name="T7" fmla="*/ 47 h 181"/>
                <a:gd name="T8" fmla="*/ 129 w 212"/>
                <a:gd name="T9" fmla="*/ 49 h 181"/>
                <a:gd name="T10" fmla="*/ 126 w 212"/>
                <a:gd name="T11" fmla="*/ 73 h 181"/>
                <a:gd name="T12" fmla="*/ 127 w 212"/>
                <a:gd name="T13" fmla="*/ 115 h 181"/>
                <a:gd name="T14" fmla="*/ 116 w 212"/>
                <a:gd name="T15" fmla="*/ 122 h 181"/>
                <a:gd name="T16" fmla="*/ 100 w 212"/>
                <a:gd name="T17" fmla="*/ 134 h 181"/>
                <a:gd name="T18" fmla="*/ 101 w 212"/>
                <a:gd name="T19" fmla="*/ 146 h 181"/>
                <a:gd name="T20" fmla="*/ 99 w 212"/>
                <a:gd name="T21" fmla="*/ 181 h 181"/>
                <a:gd name="T22" fmla="*/ 1 w 212"/>
                <a:gd name="T23" fmla="*/ 178 h 181"/>
                <a:gd name="T24" fmla="*/ 3 w 212"/>
                <a:gd name="T25" fmla="*/ 165 h 181"/>
                <a:gd name="T26" fmla="*/ 14 w 212"/>
                <a:gd name="T27" fmla="*/ 149 h 181"/>
                <a:gd name="T28" fmla="*/ 22 w 212"/>
                <a:gd name="T29" fmla="*/ 133 h 181"/>
                <a:gd name="T30" fmla="*/ 27 w 212"/>
                <a:gd name="T31" fmla="*/ 122 h 181"/>
                <a:gd name="T32" fmla="*/ 34 w 212"/>
                <a:gd name="T33" fmla="*/ 111 h 181"/>
                <a:gd name="T34" fmla="*/ 38 w 212"/>
                <a:gd name="T35" fmla="*/ 100 h 181"/>
                <a:gd name="T36" fmla="*/ 49 w 212"/>
                <a:gd name="T37" fmla="*/ 90 h 181"/>
                <a:gd name="T38" fmla="*/ 58 w 212"/>
                <a:gd name="T39" fmla="*/ 73 h 181"/>
                <a:gd name="T40" fmla="*/ 65 w 212"/>
                <a:gd name="T41" fmla="*/ 51 h 181"/>
                <a:gd name="T42" fmla="*/ 73 w 212"/>
                <a:gd name="T43" fmla="*/ 39 h 181"/>
                <a:gd name="T44" fmla="*/ 87 w 212"/>
                <a:gd name="T45" fmla="*/ 29 h 181"/>
                <a:gd name="T46" fmla="*/ 95 w 212"/>
                <a:gd name="T47" fmla="*/ 19 h 181"/>
                <a:gd name="T48" fmla="*/ 102 w 212"/>
                <a:gd name="T49" fmla="*/ 1 h 181"/>
                <a:gd name="T50" fmla="*/ 104 w 212"/>
                <a:gd name="T51" fmla="*/ 0 h 181"/>
                <a:gd name="T52" fmla="*/ 210 w 212"/>
                <a:gd name="T53" fmla="*/ 1 h 181"/>
                <a:gd name="T54" fmla="*/ 212 w 212"/>
                <a:gd name="T55" fmla="*/ 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2" h="181">
                  <a:moveTo>
                    <a:pt x="212" y="1"/>
                  </a:moveTo>
                  <a:cubicBezTo>
                    <a:pt x="211" y="10"/>
                    <a:pt x="211" y="10"/>
                    <a:pt x="211" y="10"/>
                  </a:cubicBezTo>
                  <a:cubicBezTo>
                    <a:pt x="211" y="11"/>
                    <a:pt x="211" y="11"/>
                    <a:pt x="211" y="11"/>
                  </a:cubicBezTo>
                  <a:cubicBezTo>
                    <a:pt x="210" y="47"/>
                    <a:pt x="210" y="47"/>
                    <a:pt x="210" y="47"/>
                  </a:cubicBezTo>
                  <a:cubicBezTo>
                    <a:pt x="129" y="49"/>
                    <a:pt x="129" y="49"/>
                    <a:pt x="129" y="49"/>
                  </a:cubicBezTo>
                  <a:cubicBezTo>
                    <a:pt x="126" y="73"/>
                    <a:pt x="126" y="73"/>
                    <a:pt x="126" y="73"/>
                  </a:cubicBezTo>
                  <a:cubicBezTo>
                    <a:pt x="126" y="73"/>
                    <a:pt x="126" y="111"/>
                    <a:pt x="127" y="115"/>
                  </a:cubicBezTo>
                  <a:cubicBezTo>
                    <a:pt x="128" y="120"/>
                    <a:pt x="123" y="120"/>
                    <a:pt x="116" y="122"/>
                  </a:cubicBezTo>
                  <a:cubicBezTo>
                    <a:pt x="110" y="125"/>
                    <a:pt x="108" y="130"/>
                    <a:pt x="100" y="134"/>
                  </a:cubicBezTo>
                  <a:cubicBezTo>
                    <a:pt x="92" y="138"/>
                    <a:pt x="101" y="146"/>
                    <a:pt x="101" y="146"/>
                  </a:cubicBezTo>
                  <a:cubicBezTo>
                    <a:pt x="99" y="181"/>
                    <a:pt x="99" y="181"/>
                    <a:pt x="99" y="181"/>
                  </a:cubicBezTo>
                  <a:cubicBezTo>
                    <a:pt x="1" y="178"/>
                    <a:pt x="1" y="178"/>
                    <a:pt x="1" y="178"/>
                  </a:cubicBezTo>
                  <a:cubicBezTo>
                    <a:pt x="0" y="174"/>
                    <a:pt x="0" y="169"/>
                    <a:pt x="3" y="165"/>
                  </a:cubicBezTo>
                  <a:cubicBezTo>
                    <a:pt x="7" y="157"/>
                    <a:pt x="11" y="152"/>
                    <a:pt x="14" y="149"/>
                  </a:cubicBezTo>
                  <a:cubicBezTo>
                    <a:pt x="17" y="147"/>
                    <a:pt x="21" y="136"/>
                    <a:pt x="22" y="133"/>
                  </a:cubicBezTo>
                  <a:cubicBezTo>
                    <a:pt x="22" y="131"/>
                    <a:pt x="22" y="128"/>
                    <a:pt x="27" y="122"/>
                  </a:cubicBezTo>
                  <a:cubicBezTo>
                    <a:pt x="32" y="116"/>
                    <a:pt x="31" y="121"/>
                    <a:pt x="34" y="111"/>
                  </a:cubicBezTo>
                  <a:cubicBezTo>
                    <a:pt x="36" y="101"/>
                    <a:pt x="32" y="104"/>
                    <a:pt x="38" y="100"/>
                  </a:cubicBezTo>
                  <a:cubicBezTo>
                    <a:pt x="45" y="96"/>
                    <a:pt x="44" y="98"/>
                    <a:pt x="49" y="90"/>
                  </a:cubicBezTo>
                  <a:cubicBezTo>
                    <a:pt x="54" y="82"/>
                    <a:pt x="55" y="85"/>
                    <a:pt x="58" y="73"/>
                  </a:cubicBezTo>
                  <a:cubicBezTo>
                    <a:pt x="61" y="60"/>
                    <a:pt x="60" y="55"/>
                    <a:pt x="65" y="51"/>
                  </a:cubicBezTo>
                  <a:cubicBezTo>
                    <a:pt x="69" y="47"/>
                    <a:pt x="64" y="44"/>
                    <a:pt x="73" y="39"/>
                  </a:cubicBezTo>
                  <a:cubicBezTo>
                    <a:pt x="82" y="34"/>
                    <a:pt x="81" y="35"/>
                    <a:pt x="87" y="29"/>
                  </a:cubicBezTo>
                  <a:cubicBezTo>
                    <a:pt x="93" y="23"/>
                    <a:pt x="91" y="28"/>
                    <a:pt x="95" y="19"/>
                  </a:cubicBezTo>
                  <a:cubicBezTo>
                    <a:pt x="99" y="10"/>
                    <a:pt x="97" y="7"/>
                    <a:pt x="102" y="1"/>
                  </a:cubicBezTo>
                  <a:cubicBezTo>
                    <a:pt x="103" y="1"/>
                    <a:pt x="103" y="0"/>
                    <a:pt x="104" y="0"/>
                  </a:cubicBezTo>
                  <a:cubicBezTo>
                    <a:pt x="210" y="1"/>
                    <a:pt x="210" y="1"/>
                    <a:pt x="210" y="1"/>
                  </a:cubicBezTo>
                  <a:lnTo>
                    <a:pt x="212" y="1"/>
                  </a:ln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94" name="Freeform 883">
              <a:extLst>
                <a:ext uri="{FF2B5EF4-FFF2-40B4-BE49-F238E27FC236}">
                  <a16:creationId xmlns:a16="http://schemas.microsoft.com/office/drawing/2014/main" id="{05663EA3-5112-A941-ACDB-07476878558E}"/>
                </a:ext>
              </a:extLst>
            </p:cNvPr>
            <p:cNvSpPr>
              <a:spLocks/>
            </p:cNvSpPr>
            <p:nvPr/>
          </p:nvSpPr>
          <p:spPr bwMode="auto">
            <a:xfrm>
              <a:off x="3835412" y="1675269"/>
              <a:ext cx="476252" cy="484188"/>
            </a:xfrm>
            <a:custGeom>
              <a:avLst/>
              <a:gdLst>
                <a:gd name="T0" fmla="*/ 498 w 500"/>
                <a:gd name="T1" fmla="*/ 384 h 507"/>
                <a:gd name="T2" fmla="*/ 332 w 500"/>
                <a:gd name="T3" fmla="*/ 501 h 507"/>
                <a:gd name="T4" fmla="*/ 303 w 500"/>
                <a:gd name="T5" fmla="*/ 506 h 507"/>
                <a:gd name="T6" fmla="*/ 286 w 500"/>
                <a:gd name="T7" fmla="*/ 494 h 507"/>
                <a:gd name="T8" fmla="*/ 270 w 500"/>
                <a:gd name="T9" fmla="*/ 480 h 507"/>
                <a:gd name="T10" fmla="*/ 253 w 500"/>
                <a:gd name="T11" fmla="*/ 474 h 507"/>
                <a:gd name="T12" fmla="*/ 238 w 500"/>
                <a:gd name="T13" fmla="*/ 460 h 507"/>
                <a:gd name="T14" fmla="*/ 91 w 500"/>
                <a:gd name="T15" fmla="*/ 342 h 507"/>
                <a:gd name="T16" fmla="*/ 1 w 500"/>
                <a:gd name="T17" fmla="*/ 274 h 507"/>
                <a:gd name="T18" fmla="*/ 0 w 500"/>
                <a:gd name="T19" fmla="*/ 265 h 507"/>
                <a:gd name="T20" fmla="*/ 11 w 500"/>
                <a:gd name="T21" fmla="*/ 229 h 507"/>
                <a:gd name="T22" fmla="*/ 34 w 500"/>
                <a:gd name="T23" fmla="*/ 214 h 507"/>
                <a:gd name="T24" fmla="*/ 58 w 500"/>
                <a:gd name="T25" fmla="*/ 207 h 507"/>
                <a:gd name="T26" fmla="*/ 89 w 500"/>
                <a:gd name="T27" fmla="*/ 190 h 507"/>
                <a:gd name="T28" fmla="*/ 124 w 500"/>
                <a:gd name="T29" fmla="*/ 173 h 507"/>
                <a:gd name="T30" fmla="*/ 120 w 500"/>
                <a:gd name="T31" fmla="*/ 154 h 507"/>
                <a:gd name="T32" fmla="*/ 144 w 500"/>
                <a:gd name="T33" fmla="*/ 143 h 507"/>
                <a:gd name="T34" fmla="*/ 158 w 500"/>
                <a:gd name="T35" fmla="*/ 140 h 507"/>
                <a:gd name="T36" fmla="*/ 183 w 500"/>
                <a:gd name="T37" fmla="*/ 142 h 507"/>
                <a:gd name="T38" fmla="*/ 186 w 500"/>
                <a:gd name="T39" fmla="*/ 126 h 507"/>
                <a:gd name="T40" fmla="*/ 178 w 500"/>
                <a:gd name="T41" fmla="*/ 104 h 507"/>
                <a:gd name="T42" fmla="*/ 176 w 500"/>
                <a:gd name="T43" fmla="*/ 73 h 507"/>
                <a:gd name="T44" fmla="*/ 165 w 500"/>
                <a:gd name="T45" fmla="*/ 57 h 507"/>
                <a:gd name="T46" fmla="*/ 195 w 500"/>
                <a:gd name="T47" fmla="*/ 43 h 507"/>
                <a:gd name="T48" fmla="*/ 221 w 500"/>
                <a:gd name="T49" fmla="*/ 31 h 507"/>
                <a:gd name="T50" fmla="*/ 254 w 500"/>
                <a:gd name="T51" fmla="*/ 17 h 507"/>
                <a:gd name="T52" fmla="*/ 292 w 500"/>
                <a:gd name="T53" fmla="*/ 10 h 507"/>
                <a:gd name="T54" fmla="*/ 335 w 500"/>
                <a:gd name="T55" fmla="*/ 7 h 507"/>
                <a:gd name="T56" fmla="*/ 356 w 500"/>
                <a:gd name="T57" fmla="*/ 8 h 507"/>
                <a:gd name="T58" fmla="*/ 385 w 500"/>
                <a:gd name="T59" fmla="*/ 6 h 507"/>
                <a:gd name="T60" fmla="*/ 412 w 500"/>
                <a:gd name="T61" fmla="*/ 6 h 507"/>
                <a:gd name="T62" fmla="*/ 419 w 500"/>
                <a:gd name="T63" fmla="*/ 11 h 507"/>
                <a:gd name="T64" fmla="*/ 413 w 500"/>
                <a:gd name="T65" fmla="*/ 28 h 507"/>
                <a:gd name="T66" fmla="*/ 413 w 500"/>
                <a:gd name="T67" fmla="*/ 50 h 507"/>
                <a:gd name="T68" fmla="*/ 406 w 500"/>
                <a:gd name="T69" fmla="*/ 75 h 507"/>
                <a:gd name="T70" fmla="*/ 395 w 500"/>
                <a:gd name="T71" fmla="*/ 99 h 507"/>
                <a:gd name="T72" fmla="*/ 414 w 500"/>
                <a:gd name="T73" fmla="*/ 123 h 507"/>
                <a:gd name="T74" fmla="*/ 431 w 500"/>
                <a:gd name="T75" fmla="*/ 143 h 507"/>
                <a:gd name="T76" fmla="*/ 438 w 500"/>
                <a:gd name="T77" fmla="*/ 182 h 507"/>
                <a:gd name="T78" fmla="*/ 443 w 500"/>
                <a:gd name="T79" fmla="*/ 194 h 507"/>
                <a:gd name="T80" fmla="*/ 447 w 500"/>
                <a:gd name="T81" fmla="*/ 214 h 507"/>
                <a:gd name="T82" fmla="*/ 450 w 500"/>
                <a:gd name="T83" fmla="*/ 255 h 507"/>
                <a:gd name="T84" fmla="*/ 450 w 500"/>
                <a:gd name="T85" fmla="*/ 283 h 507"/>
                <a:gd name="T86" fmla="*/ 448 w 500"/>
                <a:gd name="T87" fmla="*/ 323 h 507"/>
                <a:gd name="T88" fmla="*/ 461 w 500"/>
                <a:gd name="T89" fmla="*/ 354 h 507"/>
                <a:gd name="T90" fmla="*/ 492 w 500"/>
                <a:gd name="T91" fmla="*/ 363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0" h="507">
                  <a:moveTo>
                    <a:pt x="500" y="382"/>
                  </a:moveTo>
                  <a:cubicBezTo>
                    <a:pt x="500" y="383"/>
                    <a:pt x="499" y="383"/>
                    <a:pt x="498" y="384"/>
                  </a:cubicBezTo>
                  <a:cubicBezTo>
                    <a:pt x="416" y="435"/>
                    <a:pt x="365" y="482"/>
                    <a:pt x="355" y="490"/>
                  </a:cubicBezTo>
                  <a:cubicBezTo>
                    <a:pt x="345" y="497"/>
                    <a:pt x="343" y="499"/>
                    <a:pt x="332" y="501"/>
                  </a:cubicBezTo>
                  <a:cubicBezTo>
                    <a:pt x="323" y="502"/>
                    <a:pt x="319" y="504"/>
                    <a:pt x="312" y="505"/>
                  </a:cubicBezTo>
                  <a:cubicBezTo>
                    <a:pt x="309" y="505"/>
                    <a:pt x="306" y="506"/>
                    <a:pt x="303" y="506"/>
                  </a:cubicBezTo>
                  <a:cubicBezTo>
                    <a:pt x="290" y="507"/>
                    <a:pt x="296" y="507"/>
                    <a:pt x="286" y="506"/>
                  </a:cubicBezTo>
                  <a:cubicBezTo>
                    <a:pt x="276" y="505"/>
                    <a:pt x="286" y="500"/>
                    <a:pt x="286" y="494"/>
                  </a:cubicBezTo>
                  <a:cubicBezTo>
                    <a:pt x="286" y="488"/>
                    <a:pt x="284" y="488"/>
                    <a:pt x="282" y="483"/>
                  </a:cubicBezTo>
                  <a:cubicBezTo>
                    <a:pt x="281" y="478"/>
                    <a:pt x="280" y="482"/>
                    <a:pt x="270" y="480"/>
                  </a:cubicBezTo>
                  <a:cubicBezTo>
                    <a:pt x="261" y="478"/>
                    <a:pt x="268" y="478"/>
                    <a:pt x="265" y="474"/>
                  </a:cubicBezTo>
                  <a:cubicBezTo>
                    <a:pt x="262" y="469"/>
                    <a:pt x="261" y="475"/>
                    <a:pt x="253" y="474"/>
                  </a:cubicBezTo>
                  <a:cubicBezTo>
                    <a:pt x="244" y="473"/>
                    <a:pt x="250" y="470"/>
                    <a:pt x="247" y="465"/>
                  </a:cubicBezTo>
                  <a:cubicBezTo>
                    <a:pt x="245" y="460"/>
                    <a:pt x="245" y="463"/>
                    <a:pt x="238" y="460"/>
                  </a:cubicBezTo>
                  <a:cubicBezTo>
                    <a:pt x="231" y="458"/>
                    <a:pt x="238" y="452"/>
                    <a:pt x="238" y="452"/>
                  </a:cubicBezTo>
                  <a:cubicBezTo>
                    <a:pt x="91" y="342"/>
                    <a:pt x="91" y="342"/>
                    <a:pt x="91" y="342"/>
                  </a:cubicBezTo>
                  <a:cubicBezTo>
                    <a:pt x="1" y="275"/>
                    <a:pt x="1" y="275"/>
                    <a:pt x="1" y="275"/>
                  </a:cubicBezTo>
                  <a:cubicBezTo>
                    <a:pt x="1" y="274"/>
                    <a:pt x="1" y="274"/>
                    <a:pt x="1" y="274"/>
                  </a:cubicBezTo>
                  <a:cubicBezTo>
                    <a:pt x="2" y="265"/>
                    <a:pt x="2" y="265"/>
                    <a:pt x="2" y="265"/>
                  </a:cubicBezTo>
                  <a:cubicBezTo>
                    <a:pt x="0" y="265"/>
                    <a:pt x="0" y="265"/>
                    <a:pt x="0" y="265"/>
                  </a:cubicBezTo>
                  <a:cubicBezTo>
                    <a:pt x="2" y="240"/>
                    <a:pt x="2" y="240"/>
                    <a:pt x="2" y="240"/>
                  </a:cubicBezTo>
                  <a:cubicBezTo>
                    <a:pt x="2" y="240"/>
                    <a:pt x="6" y="234"/>
                    <a:pt x="11" y="229"/>
                  </a:cubicBezTo>
                  <a:cubicBezTo>
                    <a:pt x="17" y="225"/>
                    <a:pt x="15" y="225"/>
                    <a:pt x="23" y="221"/>
                  </a:cubicBezTo>
                  <a:cubicBezTo>
                    <a:pt x="30" y="217"/>
                    <a:pt x="29" y="216"/>
                    <a:pt x="34" y="214"/>
                  </a:cubicBezTo>
                  <a:cubicBezTo>
                    <a:pt x="39" y="212"/>
                    <a:pt x="46" y="213"/>
                    <a:pt x="50" y="214"/>
                  </a:cubicBezTo>
                  <a:cubicBezTo>
                    <a:pt x="55" y="214"/>
                    <a:pt x="56" y="211"/>
                    <a:pt x="58" y="207"/>
                  </a:cubicBezTo>
                  <a:cubicBezTo>
                    <a:pt x="59" y="204"/>
                    <a:pt x="71" y="205"/>
                    <a:pt x="80" y="203"/>
                  </a:cubicBezTo>
                  <a:cubicBezTo>
                    <a:pt x="89" y="201"/>
                    <a:pt x="83" y="197"/>
                    <a:pt x="89" y="190"/>
                  </a:cubicBezTo>
                  <a:cubicBezTo>
                    <a:pt x="96" y="182"/>
                    <a:pt x="103" y="185"/>
                    <a:pt x="106" y="183"/>
                  </a:cubicBezTo>
                  <a:cubicBezTo>
                    <a:pt x="110" y="181"/>
                    <a:pt x="115" y="175"/>
                    <a:pt x="124" y="173"/>
                  </a:cubicBezTo>
                  <a:cubicBezTo>
                    <a:pt x="132" y="171"/>
                    <a:pt x="123" y="167"/>
                    <a:pt x="123" y="162"/>
                  </a:cubicBezTo>
                  <a:cubicBezTo>
                    <a:pt x="123" y="157"/>
                    <a:pt x="120" y="156"/>
                    <a:pt x="120" y="154"/>
                  </a:cubicBezTo>
                  <a:cubicBezTo>
                    <a:pt x="121" y="152"/>
                    <a:pt x="134" y="155"/>
                    <a:pt x="136" y="154"/>
                  </a:cubicBezTo>
                  <a:cubicBezTo>
                    <a:pt x="138" y="153"/>
                    <a:pt x="143" y="148"/>
                    <a:pt x="144" y="143"/>
                  </a:cubicBezTo>
                  <a:cubicBezTo>
                    <a:pt x="145" y="138"/>
                    <a:pt x="149" y="142"/>
                    <a:pt x="150" y="140"/>
                  </a:cubicBezTo>
                  <a:cubicBezTo>
                    <a:pt x="152" y="138"/>
                    <a:pt x="155" y="140"/>
                    <a:pt x="158" y="140"/>
                  </a:cubicBezTo>
                  <a:cubicBezTo>
                    <a:pt x="161" y="140"/>
                    <a:pt x="169" y="141"/>
                    <a:pt x="175" y="142"/>
                  </a:cubicBezTo>
                  <a:cubicBezTo>
                    <a:pt x="182" y="144"/>
                    <a:pt x="177" y="143"/>
                    <a:pt x="183" y="142"/>
                  </a:cubicBezTo>
                  <a:cubicBezTo>
                    <a:pt x="188" y="142"/>
                    <a:pt x="184" y="138"/>
                    <a:pt x="186" y="136"/>
                  </a:cubicBezTo>
                  <a:cubicBezTo>
                    <a:pt x="188" y="134"/>
                    <a:pt x="189" y="129"/>
                    <a:pt x="186" y="126"/>
                  </a:cubicBezTo>
                  <a:cubicBezTo>
                    <a:pt x="184" y="124"/>
                    <a:pt x="186" y="124"/>
                    <a:pt x="180" y="117"/>
                  </a:cubicBezTo>
                  <a:cubicBezTo>
                    <a:pt x="174" y="109"/>
                    <a:pt x="178" y="111"/>
                    <a:pt x="178" y="104"/>
                  </a:cubicBezTo>
                  <a:cubicBezTo>
                    <a:pt x="177" y="97"/>
                    <a:pt x="178" y="99"/>
                    <a:pt x="176" y="92"/>
                  </a:cubicBezTo>
                  <a:cubicBezTo>
                    <a:pt x="174" y="84"/>
                    <a:pt x="175" y="81"/>
                    <a:pt x="176" y="73"/>
                  </a:cubicBezTo>
                  <a:cubicBezTo>
                    <a:pt x="177" y="65"/>
                    <a:pt x="172" y="65"/>
                    <a:pt x="169" y="61"/>
                  </a:cubicBezTo>
                  <a:cubicBezTo>
                    <a:pt x="167" y="59"/>
                    <a:pt x="166" y="58"/>
                    <a:pt x="165" y="57"/>
                  </a:cubicBezTo>
                  <a:cubicBezTo>
                    <a:pt x="169" y="58"/>
                    <a:pt x="174" y="58"/>
                    <a:pt x="178" y="55"/>
                  </a:cubicBezTo>
                  <a:cubicBezTo>
                    <a:pt x="184" y="51"/>
                    <a:pt x="188" y="47"/>
                    <a:pt x="195" y="43"/>
                  </a:cubicBezTo>
                  <a:cubicBezTo>
                    <a:pt x="203" y="39"/>
                    <a:pt x="203" y="35"/>
                    <a:pt x="210" y="36"/>
                  </a:cubicBezTo>
                  <a:cubicBezTo>
                    <a:pt x="217" y="38"/>
                    <a:pt x="218" y="35"/>
                    <a:pt x="221" y="31"/>
                  </a:cubicBezTo>
                  <a:cubicBezTo>
                    <a:pt x="224" y="27"/>
                    <a:pt x="227" y="25"/>
                    <a:pt x="234" y="23"/>
                  </a:cubicBezTo>
                  <a:cubicBezTo>
                    <a:pt x="241" y="21"/>
                    <a:pt x="241" y="18"/>
                    <a:pt x="254" y="17"/>
                  </a:cubicBezTo>
                  <a:cubicBezTo>
                    <a:pt x="266" y="17"/>
                    <a:pt x="269" y="15"/>
                    <a:pt x="275" y="14"/>
                  </a:cubicBezTo>
                  <a:cubicBezTo>
                    <a:pt x="281" y="13"/>
                    <a:pt x="281" y="13"/>
                    <a:pt x="292" y="10"/>
                  </a:cubicBezTo>
                  <a:cubicBezTo>
                    <a:pt x="304" y="7"/>
                    <a:pt x="307" y="5"/>
                    <a:pt x="310" y="6"/>
                  </a:cubicBezTo>
                  <a:cubicBezTo>
                    <a:pt x="313" y="7"/>
                    <a:pt x="331" y="5"/>
                    <a:pt x="335" y="7"/>
                  </a:cubicBezTo>
                  <a:cubicBezTo>
                    <a:pt x="339" y="9"/>
                    <a:pt x="343" y="16"/>
                    <a:pt x="347" y="13"/>
                  </a:cubicBezTo>
                  <a:cubicBezTo>
                    <a:pt x="352" y="10"/>
                    <a:pt x="348" y="9"/>
                    <a:pt x="356" y="8"/>
                  </a:cubicBezTo>
                  <a:cubicBezTo>
                    <a:pt x="365" y="7"/>
                    <a:pt x="364" y="0"/>
                    <a:pt x="367" y="2"/>
                  </a:cubicBezTo>
                  <a:cubicBezTo>
                    <a:pt x="370" y="4"/>
                    <a:pt x="372" y="8"/>
                    <a:pt x="385" y="6"/>
                  </a:cubicBezTo>
                  <a:cubicBezTo>
                    <a:pt x="397" y="5"/>
                    <a:pt x="397" y="1"/>
                    <a:pt x="400" y="3"/>
                  </a:cubicBezTo>
                  <a:cubicBezTo>
                    <a:pt x="403" y="5"/>
                    <a:pt x="404" y="6"/>
                    <a:pt x="412" y="6"/>
                  </a:cubicBezTo>
                  <a:cubicBezTo>
                    <a:pt x="416" y="6"/>
                    <a:pt x="419" y="6"/>
                    <a:pt x="422" y="5"/>
                  </a:cubicBezTo>
                  <a:cubicBezTo>
                    <a:pt x="422" y="7"/>
                    <a:pt x="422" y="9"/>
                    <a:pt x="419" y="11"/>
                  </a:cubicBezTo>
                  <a:cubicBezTo>
                    <a:pt x="414" y="13"/>
                    <a:pt x="408" y="16"/>
                    <a:pt x="411" y="19"/>
                  </a:cubicBezTo>
                  <a:cubicBezTo>
                    <a:pt x="414" y="22"/>
                    <a:pt x="417" y="23"/>
                    <a:pt x="413" y="28"/>
                  </a:cubicBezTo>
                  <a:cubicBezTo>
                    <a:pt x="409" y="34"/>
                    <a:pt x="409" y="34"/>
                    <a:pt x="411" y="37"/>
                  </a:cubicBezTo>
                  <a:cubicBezTo>
                    <a:pt x="413" y="40"/>
                    <a:pt x="413" y="41"/>
                    <a:pt x="413" y="50"/>
                  </a:cubicBezTo>
                  <a:cubicBezTo>
                    <a:pt x="413" y="59"/>
                    <a:pt x="418" y="60"/>
                    <a:pt x="413" y="65"/>
                  </a:cubicBezTo>
                  <a:cubicBezTo>
                    <a:pt x="409" y="70"/>
                    <a:pt x="414" y="69"/>
                    <a:pt x="406" y="75"/>
                  </a:cubicBezTo>
                  <a:cubicBezTo>
                    <a:pt x="398" y="82"/>
                    <a:pt x="395" y="82"/>
                    <a:pt x="395" y="87"/>
                  </a:cubicBezTo>
                  <a:cubicBezTo>
                    <a:pt x="395" y="93"/>
                    <a:pt x="392" y="94"/>
                    <a:pt x="395" y="99"/>
                  </a:cubicBezTo>
                  <a:cubicBezTo>
                    <a:pt x="398" y="105"/>
                    <a:pt x="398" y="110"/>
                    <a:pt x="403" y="114"/>
                  </a:cubicBezTo>
                  <a:cubicBezTo>
                    <a:pt x="409" y="119"/>
                    <a:pt x="413" y="119"/>
                    <a:pt x="414" y="123"/>
                  </a:cubicBezTo>
                  <a:cubicBezTo>
                    <a:pt x="415" y="128"/>
                    <a:pt x="416" y="130"/>
                    <a:pt x="421" y="134"/>
                  </a:cubicBezTo>
                  <a:cubicBezTo>
                    <a:pt x="425" y="137"/>
                    <a:pt x="430" y="134"/>
                    <a:pt x="431" y="143"/>
                  </a:cubicBezTo>
                  <a:cubicBezTo>
                    <a:pt x="432" y="152"/>
                    <a:pt x="433" y="149"/>
                    <a:pt x="435" y="159"/>
                  </a:cubicBezTo>
                  <a:cubicBezTo>
                    <a:pt x="437" y="170"/>
                    <a:pt x="437" y="177"/>
                    <a:pt x="438" y="182"/>
                  </a:cubicBezTo>
                  <a:cubicBezTo>
                    <a:pt x="439" y="188"/>
                    <a:pt x="441" y="190"/>
                    <a:pt x="441" y="191"/>
                  </a:cubicBezTo>
                  <a:cubicBezTo>
                    <a:pt x="441" y="192"/>
                    <a:pt x="441" y="192"/>
                    <a:pt x="443" y="194"/>
                  </a:cubicBezTo>
                  <a:cubicBezTo>
                    <a:pt x="442" y="195"/>
                    <a:pt x="441" y="195"/>
                    <a:pt x="441" y="195"/>
                  </a:cubicBezTo>
                  <a:cubicBezTo>
                    <a:pt x="431" y="199"/>
                    <a:pt x="441" y="206"/>
                    <a:pt x="447" y="214"/>
                  </a:cubicBezTo>
                  <a:cubicBezTo>
                    <a:pt x="453" y="222"/>
                    <a:pt x="447" y="221"/>
                    <a:pt x="449" y="233"/>
                  </a:cubicBezTo>
                  <a:cubicBezTo>
                    <a:pt x="450" y="244"/>
                    <a:pt x="447" y="250"/>
                    <a:pt x="450" y="255"/>
                  </a:cubicBezTo>
                  <a:cubicBezTo>
                    <a:pt x="452" y="259"/>
                    <a:pt x="453" y="267"/>
                    <a:pt x="448" y="270"/>
                  </a:cubicBezTo>
                  <a:cubicBezTo>
                    <a:pt x="442" y="273"/>
                    <a:pt x="448" y="280"/>
                    <a:pt x="450" y="283"/>
                  </a:cubicBezTo>
                  <a:cubicBezTo>
                    <a:pt x="453" y="287"/>
                    <a:pt x="451" y="296"/>
                    <a:pt x="440" y="303"/>
                  </a:cubicBezTo>
                  <a:cubicBezTo>
                    <a:pt x="428" y="311"/>
                    <a:pt x="443" y="319"/>
                    <a:pt x="448" y="323"/>
                  </a:cubicBezTo>
                  <a:cubicBezTo>
                    <a:pt x="454" y="328"/>
                    <a:pt x="455" y="334"/>
                    <a:pt x="455" y="340"/>
                  </a:cubicBezTo>
                  <a:cubicBezTo>
                    <a:pt x="455" y="346"/>
                    <a:pt x="455" y="347"/>
                    <a:pt x="461" y="354"/>
                  </a:cubicBezTo>
                  <a:cubicBezTo>
                    <a:pt x="467" y="361"/>
                    <a:pt x="467" y="354"/>
                    <a:pt x="473" y="354"/>
                  </a:cubicBezTo>
                  <a:cubicBezTo>
                    <a:pt x="480" y="354"/>
                    <a:pt x="485" y="359"/>
                    <a:pt x="492" y="363"/>
                  </a:cubicBezTo>
                  <a:cubicBezTo>
                    <a:pt x="498" y="366"/>
                    <a:pt x="497" y="371"/>
                    <a:pt x="500" y="382"/>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95" name="Freeform 884">
              <a:extLst>
                <a:ext uri="{FF2B5EF4-FFF2-40B4-BE49-F238E27FC236}">
                  <a16:creationId xmlns:a16="http://schemas.microsoft.com/office/drawing/2014/main" id="{0F79FF7C-D568-F442-B450-35CEBF21A492}"/>
                </a:ext>
              </a:extLst>
            </p:cNvPr>
            <p:cNvSpPr>
              <a:spLocks/>
            </p:cNvSpPr>
            <p:nvPr/>
          </p:nvSpPr>
          <p:spPr bwMode="auto">
            <a:xfrm>
              <a:off x="4208476" y="1670506"/>
              <a:ext cx="95250" cy="190500"/>
            </a:xfrm>
            <a:custGeom>
              <a:avLst/>
              <a:gdLst>
                <a:gd name="T0" fmla="*/ 85 w 100"/>
                <a:gd name="T1" fmla="*/ 146 h 200"/>
                <a:gd name="T2" fmla="*/ 71 w 100"/>
                <a:gd name="T3" fmla="*/ 158 h 200"/>
                <a:gd name="T4" fmla="*/ 68 w 100"/>
                <a:gd name="T5" fmla="*/ 172 h 200"/>
                <a:gd name="T6" fmla="*/ 65 w 100"/>
                <a:gd name="T7" fmla="*/ 187 h 200"/>
                <a:gd name="T8" fmla="*/ 51 w 100"/>
                <a:gd name="T9" fmla="*/ 200 h 200"/>
                <a:gd name="T10" fmla="*/ 49 w 100"/>
                <a:gd name="T11" fmla="*/ 197 h 200"/>
                <a:gd name="T12" fmla="*/ 46 w 100"/>
                <a:gd name="T13" fmla="*/ 188 h 200"/>
                <a:gd name="T14" fmla="*/ 43 w 100"/>
                <a:gd name="T15" fmla="*/ 165 h 200"/>
                <a:gd name="T16" fmla="*/ 39 w 100"/>
                <a:gd name="T17" fmla="*/ 149 h 200"/>
                <a:gd name="T18" fmla="*/ 29 w 100"/>
                <a:gd name="T19" fmla="*/ 140 h 200"/>
                <a:gd name="T20" fmla="*/ 22 w 100"/>
                <a:gd name="T21" fmla="*/ 129 h 200"/>
                <a:gd name="T22" fmla="*/ 11 w 100"/>
                <a:gd name="T23" fmla="*/ 120 h 200"/>
                <a:gd name="T24" fmla="*/ 3 w 100"/>
                <a:gd name="T25" fmla="*/ 105 h 200"/>
                <a:gd name="T26" fmla="*/ 3 w 100"/>
                <a:gd name="T27" fmla="*/ 93 h 200"/>
                <a:gd name="T28" fmla="*/ 14 w 100"/>
                <a:gd name="T29" fmla="*/ 81 h 200"/>
                <a:gd name="T30" fmla="*/ 21 w 100"/>
                <a:gd name="T31" fmla="*/ 71 h 200"/>
                <a:gd name="T32" fmla="*/ 21 w 100"/>
                <a:gd name="T33" fmla="*/ 56 h 200"/>
                <a:gd name="T34" fmla="*/ 19 w 100"/>
                <a:gd name="T35" fmla="*/ 43 h 200"/>
                <a:gd name="T36" fmla="*/ 21 w 100"/>
                <a:gd name="T37" fmla="*/ 34 h 200"/>
                <a:gd name="T38" fmla="*/ 19 w 100"/>
                <a:gd name="T39" fmla="*/ 25 h 200"/>
                <a:gd name="T40" fmla="*/ 27 w 100"/>
                <a:gd name="T41" fmla="*/ 17 h 200"/>
                <a:gd name="T42" fmla="*/ 30 w 100"/>
                <a:gd name="T43" fmla="*/ 11 h 200"/>
                <a:gd name="T44" fmla="*/ 40 w 100"/>
                <a:gd name="T45" fmla="*/ 7 h 200"/>
                <a:gd name="T46" fmla="*/ 51 w 100"/>
                <a:gd name="T47" fmla="*/ 1 h 200"/>
                <a:gd name="T48" fmla="*/ 58 w 100"/>
                <a:gd name="T49" fmla="*/ 3 h 200"/>
                <a:gd name="T50" fmla="*/ 67 w 100"/>
                <a:gd name="T51" fmla="*/ 8 h 200"/>
                <a:gd name="T52" fmla="*/ 70 w 100"/>
                <a:gd name="T53" fmla="*/ 15 h 200"/>
                <a:gd name="T54" fmla="*/ 83 w 100"/>
                <a:gd name="T55" fmla="*/ 9 h 200"/>
                <a:gd name="T56" fmla="*/ 87 w 100"/>
                <a:gd name="T57" fmla="*/ 16 h 200"/>
                <a:gd name="T58" fmla="*/ 77 w 100"/>
                <a:gd name="T59" fmla="*/ 26 h 200"/>
                <a:gd name="T60" fmla="*/ 72 w 100"/>
                <a:gd name="T61" fmla="*/ 35 h 200"/>
                <a:gd name="T62" fmla="*/ 75 w 100"/>
                <a:gd name="T63" fmla="*/ 42 h 200"/>
                <a:gd name="T64" fmla="*/ 86 w 100"/>
                <a:gd name="T65" fmla="*/ 51 h 200"/>
                <a:gd name="T66" fmla="*/ 82 w 100"/>
                <a:gd name="T67" fmla="*/ 71 h 200"/>
                <a:gd name="T68" fmla="*/ 74 w 100"/>
                <a:gd name="T69" fmla="*/ 79 h 200"/>
                <a:gd name="T70" fmla="*/ 63 w 100"/>
                <a:gd name="T71" fmla="*/ 88 h 200"/>
                <a:gd name="T72" fmla="*/ 63 w 100"/>
                <a:gd name="T73" fmla="*/ 97 h 200"/>
                <a:gd name="T74" fmla="*/ 74 w 100"/>
                <a:gd name="T75" fmla="*/ 104 h 200"/>
                <a:gd name="T76" fmla="*/ 78 w 100"/>
                <a:gd name="T77" fmla="*/ 102 h 200"/>
                <a:gd name="T78" fmla="*/ 82 w 100"/>
                <a:gd name="T79" fmla="*/ 97 h 200"/>
                <a:gd name="T80" fmla="*/ 85 w 100"/>
                <a:gd name="T81" fmla="*/ 98 h 200"/>
                <a:gd name="T82" fmla="*/ 84 w 100"/>
                <a:gd name="T83" fmla="*/ 104 h 200"/>
                <a:gd name="T84" fmla="*/ 90 w 100"/>
                <a:gd name="T85" fmla="*/ 108 h 200"/>
                <a:gd name="T86" fmla="*/ 95 w 100"/>
                <a:gd name="T87" fmla="*/ 117 h 200"/>
                <a:gd name="T88" fmla="*/ 96 w 100"/>
                <a:gd name="T89" fmla="*/ 117 h 200"/>
                <a:gd name="T90" fmla="*/ 98 w 100"/>
                <a:gd name="T91" fmla="*/ 136 h 200"/>
                <a:gd name="T92" fmla="*/ 85 w 100"/>
                <a:gd name="T93" fmla="*/ 14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0" h="200">
                  <a:moveTo>
                    <a:pt x="85" y="146"/>
                  </a:moveTo>
                  <a:cubicBezTo>
                    <a:pt x="79" y="148"/>
                    <a:pt x="74" y="157"/>
                    <a:pt x="71" y="158"/>
                  </a:cubicBezTo>
                  <a:cubicBezTo>
                    <a:pt x="68" y="159"/>
                    <a:pt x="63" y="165"/>
                    <a:pt x="68" y="172"/>
                  </a:cubicBezTo>
                  <a:cubicBezTo>
                    <a:pt x="72" y="180"/>
                    <a:pt x="69" y="183"/>
                    <a:pt x="65" y="187"/>
                  </a:cubicBezTo>
                  <a:cubicBezTo>
                    <a:pt x="61" y="191"/>
                    <a:pt x="59" y="196"/>
                    <a:pt x="51" y="200"/>
                  </a:cubicBezTo>
                  <a:cubicBezTo>
                    <a:pt x="49" y="198"/>
                    <a:pt x="49" y="198"/>
                    <a:pt x="49" y="197"/>
                  </a:cubicBezTo>
                  <a:cubicBezTo>
                    <a:pt x="49" y="196"/>
                    <a:pt x="47" y="194"/>
                    <a:pt x="46" y="188"/>
                  </a:cubicBezTo>
                  <a:cubicBezTo>
                    <a:pt x="45" y="183"/>
                    <a:pt x="45" y="176"/>
                    <a:pt x="43" y="165"/>
                  </a:cubicBezTo>
                  <a:cubicBezTo>
                    <a:pt x="41" y="155"/>
                    <a:pt x="40" y="158"/>
                    <a:pt x="39" y="149"/>
                  </a:cubicBezTo>
                  <a:cubicBezTo>
                    <a:pt x="38" y="140"/>
                    <a:pt x="33" y="143"/>
                    <a:pt x="29" y="140"/>
                  </a:cubicBezTo>
                  <a:cubicBezTo>
                    <a:pt x="24" y="136"/>
                    <a:pt x="23" y="134"/>
                    <a:pt x="22" y="129"/>
                  </a:cubicBezTo>
                  <a:cubicBezTo>
                    <a:pt x="21" y="125"/>
                    <a:pt x="17" y="125"/>
                    <a:pt x="11" y="120"/>
                  </a:cubicBezTo>
                  <a:cubicBezTo>
                    <a:pt x="6" y="116"/>
                    <a:pt x="6" y="111"/>
                    <a:pt x="3" y="105"/>
                  </a:cubicBezTo>
                  <a:cubicBezTo>
                    <a:pt x="0" y="100"/>
                    <a:pt x="3" y="99"/>
                    <a:pt x="3" y="93"/>
                  </a:cubicBezTo>
                  <a:cubicBezTo>
                    <a:pt x="3" y="88"/>
                    <a:pt x="6" y="88"/>
                    <a:pt x="14" y="81"/>
                  </a:cubicBezTo>
                  <a:cubicBezTo>
                    <a:pt x="22" y="75"/>
                    <a:pt x="17" y="76"/>
                    <a:pt x="21" y="71"/>
                  </a:cubicBezTo>
                  <a:cubicBezTo>
                    <a:pt x="26" y="66"/>
                    <a:pt x="21" y="65"/>
                    <a:pt x="21" y="56"/>
                  </a:cubicBezTo>
                  <a:cubicBezTo>
                    <a:pt x="21" y="47"/>
                    <a:pt x="21" y="46"/>
                    <a:pt x="19" y="43"/>
                  </a:cubicBezTo>
                  <a:cubicBezTo>
                    <a:pt x="17" y="40"/>
                    <a:pt x="17" y="40"/>
                    <a:pt x="21" y="34"/>
                  </a:cubicBezTo>
                  <a:cubicBezTo>
                    <a:pt x="25" y="29"/>
                    <a:pt x="22" y="28"/>
                    <a:pt x="19" y="25"/>
                  </a:cubicBezTo>
                  <a:cubicBezTo>
                    <a:pt x="16" y="22"/>
                    <a:pt x="22" y="19"/>
                    <a:pt x="27" y="17"/>
                  </a:cubicBezTo>
                  <a:cubicBezTo>
                    <a:pt x="30" y="15"/>
                    <a:pt x="30" y="13"/>
                    <a:pt x="30" y="11"/>
                  </a:cubicBezTo>
                  <a:cubicBezTo>
                    <a:pt x="33" y="11"/>
                    <a:pt x="36" y="10"/>
                    <a:pt x="40" y="7"/>
                  </a:cubicBezTo>
                  <a:cubicBezTo>
                    <a:pt x="47" y="3"/>
                    <a:pt x="49" y="0"/>
                    <a:pt x="51" y="1"/>
                  </a:cubicBezTo>
                  <a:cubicBezTo>
                    <a:pt x="52" y="2"/>
                    <a:pt x="53" y="1"/>
                    <a:pt x="58" y="3"/>
                  </a:cubicBezTo>
                  <a:cubicBezTo>
                    <a:pt x="63" y="4"/>
                    <a:pt x="66" y="3"/>
                    <a:pt x="67" y="8"/>
                  </a:cubicBezTo>
                  <a:cubicBezTo>
                    <a:pt x="68" y="12"/>
                    <a:pt x="62" y="16"/>
                    <a:pt x="70" y="15"/>
                  </a:cubicBezTo>
                  <a:cubicBezTo>
                    <a:pt x="77" y="13"/>
                    <a:pt x="79" y="10"/>
                    <a:pt x="83" y="9"/>
                  </a:cubicBezTo>
                  <a:cubicBezTo>
                    <a:pt x="87" y="9"/>
                    <a:pt x="91" y="12"/>
                    <a:pt x="87" y="16"/>
                  </a:cubicBezTo>
                  <a:cubicBezTo>
                    <a:pt x="83" y="20"/>
                    <a:pt x="81" y="22"/>
                    <a:pt x="77" y="26"/>
                  </a:cubicBezTo>
                  <a:cubicBezTo>
                    <a:pt x="73" y="31"/>
                    <a:pt x="69" y="30"/>
                    <a:pt x="72" y="35"/>
                  </a:cubicBezTo>
                  <a:cubicBezTo>
                    <a:pt x="75" y="41"/>
                    <a:pt x="73" y="41"/>
                    <a:pt x="75" y="42"/>
                  </a:cubicBezTo>
                  <a:cubicBezTo>
                    <a:pt x="77" y="43"/>
                    <a:pt x="88" y="44"/>
                    <a:pt x="86" y="51"/>
                  </a:cubicBezTo>
                  <a:cubicBezTo>
                    <a:pt x="84" y="57"/>
                    <a:pt x="86" y="68"/>
                    <a:pt x="82" y="71"/>
                  </a:cubicBezTo>
                  <a:cubicBezTo>
                    <a:pt x="77" y="74"/>
                    <a:pt x="80" y="75"/>
                    <a:pt x="74" y="79"/>
                  </a:cubicBezTo>
                  <a:cubicBezTo>
                    <a:pt x="69" y="84"/>
                    <a:pt x="64" y="85"/>
                    <a:pt x="63" y="88"/>
                  </a:cubicBezTo>
                  <a:cubicBezTo>
                    <a:pt x="61" y="92"/>
                    <a:pt x="58" y="92"/>
                    <a:pt x="63" y="97"/>
                  </a:cubicBezTo>
                  <a:cubicBezTo>
                    <a:pt x="68" y="102"/>
                    <a:pt x="71" y="105"/>
                    <a:pt x="74" y="104"/>
                  </a:cubicBezTo>
                  <a:cubicBezTo>
                    <a:pt x="78" y="104"/>
                    <a:pt x="78" y="105"/>
                    <a:pt x="78" y="102"/>
                  </a:cubicBezTo>
                  <a:cubicBezTo>
                    <a:pt x="78" y="98"/>
                    <a:pt x="81" y="97"/>
                    <a:pt x="82" y="97"/>
                  </a:cubicBezTo>
                  <a:cubicBezTo>
                    <a:pt x="83" y="97"/>
                    <a:pt x="86" y="94"/>
                    <a:pt x="85" y="98"/>
                  </a:cubicBezTo>
                  <a:cubicBezTo>
                    <a:pt x="84" y="102"/>
                    <a:pt x="81" y="102"/>
                    <a:pt x="84" y="104"/>
                  </a:cubicBezTo>
                  <a:cubicBezTo>
                    <a:pt x="87" y="105"/>
                    <a:pt x="90" y="102"/>
                    <a:pt x="90" y="108"/>
                  </a:cubicBezTo>
                  <a:cubicBezTo>
                    <a:pt x="90" y="115"/>
                    <a:pt x="93" y="117"/>
                    <a:pt x="95" y="117"/>
                  </a:cubicBezTo>
                  <a:cubicBezTo>
                    <a:pt x="96" y="117"/>
                    <a:pt x="96" y="117"/>
                    <a:pt x="96" y="117"/>
                  </a:cubicBezTo>
                  <a:cubicBezTo>
                    <a:pt x="96" y="122"/>
                    <a:pt x="97" y="135"/>
                    <a:pt x="98" y="136"/>
                  </a:cubicBezTo>
                  <a:cubicBezTo>
                    <a:pt x="100" y="138"/>
                    <a:pt x="92" y="144"/>
                    <a:pt x="85" y="146"/>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96" name="Freeform 885">
              <a:extLst>
                <a:ext uri="{FF2B5EF4-FFF2-40B4-BE49-F238E27FC236}">
                  <a16:creationId xmlns:a16="http://schemas.microsoft.com/office/drawing/2014/main" id="{DDD66830-7574-A042-9C37-6903B3F63D57}"/>
                </a:ext>
              </a:extLst>
            </p:cNvPr>
            <p:cNvSpPr>
              <a:spLocks/>
            </p:cNvSpPr>
            <p:nvPr/>
          </p:nvSpPr>
          <p:spPr bwMode="auto">
            <a:xfrm>
              <a:off x="4241814" y="1781632"/>
              <a:ext cx="374651" cy="365125"/>
            </a:xfrm>
            <a:custGeom>
              <a:avLst/>
              <a:gdLst>
                <a:gd name="T0" fmla="*/ 368 w 393"/>
                <a:gd name="T1" fmla="*/ 383 h 384"/>
                <a:gd name="T2" fmla="*/ 173 w 393"/>
                <a:gd name="T3" fmla="*/ 273 h 384"/>
                <a:gd name="T4" fmla="*/ 130 w 393"/>
                <a:gd name="T5" fmla="*/ 296 h 384"/>
                <a:gd name="T6" fmla="*/ 70 w 393"/>
                <a:gd name="T7" fmla="*/ 273 h 384"/>
                <a:gd name="T8" fmla="*/ 64 w 393"/>
                <a:gd name="T9" fmla="*/ 252 h 384"/>
                <a:gd name="T10" fmla="*/ 33 w 393"/>
                <a:gd name="T11" fmla="*/ 243 h 384"/>
                <a:gd name="T12" fmla="*/ 20 w 393"/>
                <a:gd name="T13" fmla="*/ 212 h 384"/>
                <a:gd name="T14" fmla="*/ 22 w 393"/>
                <a:gd name="T15" fmla="*/ 172 h 384"/>
                <a:gd name="T16" fmla="*/ 22 w 393"/>
                <a:gd name="T17" fmla="*/ 144 h 384"/>
                <a:gd name="T18" fmla="*/ 19 w 393"/>
                <a:gd name="T19" fmla="*/ 103 h 384"/>
                <a:gd name="T20" fmla="*/ 15 w 393"/>
                <a:gd name="T21" fmla="*/ 83 h 384"/>
                <a:gd name="T22" fmla="*/ 32 w 393"/>
                <a:gd name="T23" fmla="*/ 55 h 384"/>
                <a:gd name="T24" fmla="*/ 49 w 393"/>
                <a:gd name="T25" fmla="*/ 29 h 384"/>
                <a:gd name="T26" fmla="*/ 60 w 393"/>
                <a:gd name="T27" fmla="*/ 0 h 384"/>
                <a:gd name="T28" fmla="*/ 85 w 393"/>
                <a:gd name="T29" fmla="*/ 9 h 384"/>
                <a:gd name="T30" fmla="*/ 113 w 393"/>
                <a:gd name="T31" fmla="*/ 8 h 384"/>
                <a:gd name="T32" fmla="*/ 134 w 393"/>
                <a:gd name="T33" fmla="*/ 19 h 384"/>
                <a:gd name="T34" fmla="*/ 152 w 393"/>
                <a:gd name="T35" fmla="*/ 30 h 384"/>
                <a:gd name="T36" fmla="*/ 168 w 393"/>
                <a:gd name="T37" fmla="*/ 52 h 384"/>
                <a:gd name="T38" fmla="*/ 194 w 393"/>
                <a:gd name="T39" fmla="*/ 54 h 384"/>
                <a:gd name="T40" fmla="*/ 222 w 393"/>
                <a:gd name="T41" fmla="*/ 67 h 384"/>
                <a:gd name="T42" fmla="*/ 247 w 393"/>
                <a:gd name="T43" fmla="*/ 82 h 384"/>
                <a:gd name="T44" fmla="*/ 269 w 393"/>
                <a:gd name="T45" fmla="*/ 62 h 384"/>
                <a:gd name="T46" fmla="*/ 266 w 393"/>
                <a:gd name="T47" fmla="*/ 26 h 384"/>
                <a:gd name="T48" fmla="*/ 295 w 393"/>
                <a:gd name="T49" fmla="*/ 10 h 384"/>
                <a:gd name="T50" fmla="*/ 326 w 393"/>
                <a:gd name="T51" fmla="*/ 12 h 384"/>
                <a:gd name="T52" fmla="*/ 343 w 393"/>
                <a:gd name="T53" fmla="*/ 27 h 384"/>
                <a:gd name="T54" fmla="*/ 385 w 393"/>
                <a:gd name="T55" fmla="*/ 33 h 384"/>
                <a:gd name="T56" fmla="*/ 380 w 393"/>
                <a:gd name="T57" fmla="*/ 47 h 384"/>
                <a:gd name="T58" fmla="*/ 377 w 393"/>
                <a:gd name="T59" fmla="*/ 84 h 384"/>
                <a:gd name="T60" fmla="*/ 388 w 393"/>
                <a:gd name="T61" fmla="*/ 134 h 384"/>
                <a:gd name="T62" fmla="*/ 393 w 393"/>
                <a:gd name="T63" fmla="*/ 315 h 384"/>
                <a:gd name="T64" fmla="*/ 393 w 393"/>
                <a:gd name="T65" fmla="*/ 36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3" h="384">
                  <a:moveTo>
                    <a:pt x="369" y="372"/>
                  </a:moveTo>
                  <a:cubicBezTo>
                    <a:pt x="369" y="372"/>
                    <a:pt x="373" y="384"/>
                    <a:pt x="368" y="383"/>
                  </a:cubicBezTo>
                  <a:cubicBezTo>
                    <a:pt x="367" y="383"/>
                    <a:pt x="367" y="383"/>
                    <a:pt x="366" y="382"/>
                  </a:cubicBezTo>
                  <a:cubicBezTo>
                    <a:pt x="358" y="378"/>
                    <a:pt x="180" y="272"/>
                    <a:pt x="173" y="273"/>
                  </a:cubicBezTo>
                  <a:cubicBezTo>
                    <a:pt x="169" y="274"/>
                    <a:pt x="157" y="281"/>
                    <a:pt x="146" y="287"/>
                  </a:cubicBezTo>
                  <a:cubicBezTo>
                    <a:pt x="139" y="292"/>
                    <a:pt x="132" y="296"/>
                    <a:pt x="130" y="296"/>
                  </a:cubicBezTo>
                  <a:cubicBezTo>
                    <a:pt x="127" y="296"/>
                    <a:pt x="110" y="275"/>
                    <a:pt x="85" y="273"/>
                  </a:cubicBezTo>
                  <a:cubicBezTo>
                    <a:pt x="78" y="273"/>
                    <a:pt x="74" y="273"/>
                    <a:pt x="70" y="273"/>
                  </a:cubicBezTo>
                  <a:cubicBezTo>
                    <a:pt x="71" y="272"/>
                    <a:pt x="72" y="272"/>
                    <a:pt x="72" y="271"/>
                  </a:cubicBezTo>
                  <a:cubicBezTo>
                    <a:pt x="69" y="260"/>
                    <a:pt x="70" y="255"/>
                    <a:pt x="64" y="252"/>
                  </a:cubicBezTo>
                  <a:cubicBezTo>
                    <a:pt x="57" y="248"/>
                    <a:pt x="52" y="243"/>
                    <a:pt x="45" y="243"/>
                  </a:cubicBezTo>
                  <a:cubicBezTo>
                    <a:pt x="39" y="243"/>
                    <a:pt x="39" y="250"/>
                    <a:pt x="33" y="243"/>
                  </a:cubicBezTo>
                  <a:cubicBezTo>
                    <a:pt x="27" y="236"/>
                    <a:pt x="27" y="235"/>
                    <a:pt x="27" y="229"/>
                  </a:cubicBezTo>
                  <a:cubicBezTo>
                    <a:pt x="27" y="223"/>
                    <a:pt x="26" y="217"/>
                    <a:pt x="20" y="212"/>
                  </a:cubicBezTo>
                  <a:cubicBezTo>
                    <a:pt x="15" y="208"/>
                    <a:pt x="0" y="200"/>
                    <a:pt x="12" y="192"/>
                  </a:cubicBezTo>
                  <a:cubicBezTo>
                    <a:pt x="23" y="185"/>
                    <a:pt x="25" y="176"/>
                    <a:pt x="22" y="172"/>
                  </a:cubicBezTo>
                  <a:cubicBezTo>
                    <a:pt x="20" y="169"/>
                    <a:pt x="14" y="162"/>
                    <a:pt x="20" y="159"/>
                  </a:cubicBezTo>
                  <a:cubicBezTo>
                    <a:pt x="25" y="156"/>
                    <a:pt x="24" y="148"/>
                    <a:pt x="22" y="144"/>
                  </a:cubicBezTo>
                  <a:cubicBezTo>
                    <a:pt x="19" y="139"/>
                    <a:pt x="22" y="133"/>
                    <a:pt x="21" y="122"/>
                  </a:cubicBezTo>
                  <a:cubicBezTo>
                    <a:pt x="19" y="110"/>
                    <a:pt x="25" y="111"/>
                    <a:pt x="19" y="103"/>
                  </a:cubicBezTo>
                  <a:cubicBezTo>
                    <a:pt x="13" y="95"/>
                    <a:pt x="3" y="88"/>
                    <a:pt x="13" y="84"/>
                  </a:cubicBezTo>
                  <a:cubicBezTo>
                    <a:pt x="13" y="84"/>
                    <a:pt x="14" y="84"/>
                    <a:pt x="15" y="83"/>
                  </a:cubicBezTo>
                  <a:cubicBezTo>
                    <a:pt x="23" y="79"/>
                    <a:pt x="25" y="74"/>
                    <a:pt x="29" y="70"/>
                  </a:cubicBezTo>
                  <a:cubicBezTo>
                    <a:pt x="33" y="66"/>
                    <a:pt x="36" y="63"/>
                    <a:pt x="32" y="55"/>
                  </a:cubicBezTo>
                  <a:cubicBezTo>
                    <a:pt x="27" y="48"/>
                    <a:pt x="32" y="42"/>
                    <a:pt x="35" y="41"/>
                  </a:cubicBezTo>
                  <a:cubicBezTo>
                    <a:pt x="38" y="40"/>
                    <a:pt x="43" y="31"/>
                    <a:pt x="49" y="29"/>
                  </a:cubicBezTo>
                  <a:cubicBezTo>
                    <a:pt x="56" y="27"/>
                    <a:pt x="64" y="21"/>
                    <a:pt x="62" y="19"/>
                  </a:cubicBezTo>
                  <a:cubicBezTo>
                    <a:pt x="61" y="18"/>
                    <a:pt x="60" y="5"/>
                    <a:pt x="60" y="0"/>
                  </a:cubicBezTo>
                  <a:cubicBezTo>
                    <a:pt x="62" y="0"/>
                    <a:pt x="65" y="1"/>
                    <a:pt x="70" y="4"/>
                  </a:cubicBezTo>
                  <a:cubicBezTo>
                    <a:pt x="77" y="7"/>
                    <a:pt x="78" y="9"/>
                    <a:pt x="85" y="9"/>
                  </a:cubicBezTo>
                  <a:cubicBezTo>
                    <a:pt x="93" y="8"/>
                    <a:pt x="94" y="9"/>
                    <a:pt x="101" y="7"/>
                  </a:cubicBezTo>
                  <a:cubicBezTo>
                    <a:pt x="108" y="5"/>
                    <a:pt x="110" y="7"/>
                    <a:pt x="113" y="8"/>
                  </a:cubicBezTo>
                  <a:cubicBezTo>
                    <a:pt x="116" y="10"/>
                    <a:pt x="120" y="9"/>
                    <a:pt x="126" y="12"/>
                  </a:cubicBezTo>
                  <a:cubicBezTo>
                    <a:pt x="132" y="14"/>
                    <a:pt x="127" y="19"/>
                    <a:pt x="134" y="19"/>
                  </a:cubicBezTo>
                  <a:cubicBezTo>
                    <a:pt x="142" y="19"/>
                    <a:pt x="145" y="17"/>
                    <a:pt x="147" y="20"/>
                  </a:cubicBezTo>
                  <a:cubicBezTo>
                    <a:pt x="150" y="24"/>
                    <a:pt x="152" y="23"/>
                    <a:pt x="152" y="30"/>
                  </a:cubicBezTo>
                  <a:cubicBezTo>
                    <a:pt x="152" y="37"/>
                    <a:pt x="152" y="34"/>
                    <a:pt x="156" y="43"/>
                  </a:cubicBezTo>
                  <a:cubicBezTo>
                    <a:pt x="161" y="52"/>
                    <a:pt x="162" y="52"/>
                    <a:pt x="168" y="52"/>
                  </a:cubicBezTo>
                  <a:cubicBezTo>
                    <a:pt x="174" y="53"/>
                    <a:pt x="168" y="53"/>
                    <a:pt x="179" y="53"/>
                  </a:cubicBezTo>
                  <a:cubicBezTo>
                    <a:pt x="189" y="54"/>
                    <a:pt x="191" y="52"/>
                    <a:pt x="194" y="54"/>
                  </a:cubicBezTo>
                  <a:cubicBezTo>
                    <a:pt x="198" y="56"/>
                    <a:pt x="204" y="58"/>
                    <a:pt x="208" y="60"/>
                  </a:cubicBezTo>
                  <a:cubicBezTo>
                    <a:pt x="213" y="62"/>
                    <a:pt x="216" y="61"/>
                    <a:pt x="222" y="67"/>
                  </a:cubicBezTo>
                  <a:cubicBezTo>
                    <a:pt x="228" y="72"/>
                    <a:pt x="229" y="71"/>
                    <a:pt x="233" y="77"/>
                  </a:cubicBezTo>
                  <a:cubicBezTo>
                    <a:pt x="238" y="82"/>
                    <a:pt x="240" y="89"/>
                    <a:pt x="247" y="82"/>
                  </a:cubicBezTo>
                  <a:cubicBezTo>
                    <a:pt x="253" y="75"/>
                    <a:pt x="255" y="79"/>
                    <a:pt x="259" y="75"/>
                  </a:cubicBezTo>
                  <a:cubicBezTo>
                    <a:pt x="262" y="70"/>
                    <a:pt x="269" y="66"/>
                    <a:pt x="269" y="62"/>
                  </a:cubicBezTo>
                  <a:cubicBezTo>
                    <a:pt x="268" y="57"/>
                    <a:pt x="262" y="56"/>
                    <a:pt x="262" y="47"/>
                  </a:cubicBezTo>
                  <a:cubicBezTo>
                    <a:pt x="262" y="37"/>
                    <a:pt x="262" y="33"/>
                    <a:pt x="266" y="26"/>
                  </a:cubicBezTo>
                  <a:cubicBezTo>
                    <a:pt x="270" y="20"/>
                    <a:pt x="266" y="20"/>
                    <a:pt x="276" y="17"/>
                  </a:cubicBezTo>
                  <a:cubicBezTo>
                    <a:pt x="285" y="14"/>
                    <a:pt x="286" y="10"/>
                    <a:pt x="295" y="10"/>
                  </a:cubicBezTo>
                  <a:cubicBezTo>
                    <a:pt x="304" y="10"/>
                    <a:pt x="311" y="6"/>
                    <a:pt x="313" y="7"/>
                  </a:cubicBezTo>
                  <a:cubicBezTo>
                    <a:pt x="316" y="8"/>
                    <a:pt x="321" y="9"/>
                    <a:pt x="326" y="12"/>
                  </a:cubicBezTo>
                  <a:cubicBezTo>
                    <a:pt x="331" y="15"/>
                    <a:pt x="340" y="14"/>
                    <a:pt x="340" y="18"/>
                  </a:cubicBezTo>
                  <a:cubicBezTo>
                    <a:pt x="340" y="21"/>
                    <a:pt x="336" y="25"/>
                    <a:pt x="343" y="27"/>
                  </a:cubicBezTo>
                  <a:cubicBezTo>
                    <a:pt x="350" y="29"/>
                    <a:pt x="360" y="29"/>
                    <a:pt x="366" y="31"/>
                  </a:cubicBezTo>
                  <a:cubicBezTo>
                    <a:pt x="372" y="33"/>
                    <a:pt x="384" y="26"/>
                    <a:pt x="385" y="33"/>
                  </a:cubicBezTo>
                  <a:cubicBezTo>
                    <a:pt x="386" y="37"/>
                    <a:pt x="385" y="39"/>
                    <a:pt x="385" y="41"/>
                  </a:cubicBezTo>
                  <a:cubicBezTo>
                    <a:pt x="384" y="42"/>
                    <a:pt x="382" y="45"/>
                    <a:pt x="380" y="47"/>
                  </a:cubicBezTo>
                  <a:cubicBezTo>
                    <a:pt x="378" y="50"/>
                    <a:pt x="384" y="65"/>
                    <a:pt x="386" y="67"/>
                  </a:cubicBezTo>
                  <a:cubicBezTo>
                    <a:pt x="387" y="69"/>
                    <a:pt x="383" y="74"/>
                    <a:pt x="377" y="84"/>
                  </a:cubicBezTo>
                  <a:cubicBezTo>
                    <a:pt x="371" y="95"/>
                    <a:pt x="381" y="96"/>
                    <a:pt x="384" y="101"/>
                  </a:cubicBezTo>
                  <a:cubicBezTo>
                    <a:pt x="386" y="106"/>
                    <a:pt x="385" y="124"/>
                    <a:pt x="388" y="134"/>
                  </a:cubicBezTo>
                  <a:cubicBezTo>
                    <a:pt x="392" y="143"/>
                    <a:pt x="391" y="310"/>
                    <a:pt x="391" y="314"/>
                  </a:cubicBezTo>
                  <a:cubicBezTo>
                    <a:pt x="391" y="314"/>
                    <a:pt x="392" y="315"/>
                    <a:pt x="393" y="315"/>
                  </a:cubicBezTo>
                  <a:cubicBezTo>
                    <a:pt x="391" y="326"/>
                    <a:pt x="391" y="326"/>
                    <a:pt x="391" y="326"/>
                  </a:cubicBezTo>
                  <a:cubicBezTo>
                    <a:pt x="393" y="369"/>
                    <a:pt x="393" y="369"/>
                    <a:pt x="393" y="369"/>
                  </a:cubicBezTo>
                  <a:lnTo>
                    <a:pt x="369" y="372"/>
                  </a:ln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97" name="Freeform 886">
              <a:extLst>
                <a:ext uri="{FF2B5EF4-FFF2-40B4-BE49-F238E27FC236}">
                  <a16:creationId xmlns:a16="http://schemas.microsoft.com/office/drawing/2014/main" id="{FA406505-2CD2-2D49-ADC3-B715F0936D70}"/>
                </a:ext>
              </a:extLst>
            </p:cNvPr>
            <p:cNvSpPr>
              <a:spLocks/>
            </p:cNvSpPr>
            <p:nvPr/>
          </p:nvSpPr>
          <p:spPr bwMode="auto">
            <a:xfrm>
              <a:off x="4595827" y="1821319"/>
              <a:ext cx="273051" cy="268288"/>
            </a:xfrm>
            <a:custGeom>
              <a:avLst/>
              <a:gdLst>
                <a:gd name="T0" fmla="*/ 275 w 287"/>
                <a:gd name="T1" fmla="*/ 221 h 282"/>
                <a:gd name="T2" fmla="*/ 280 w 287"/>
                <a:gd name="T3" fmla="*/ 239 h 282"/>
                <a:gd name="T4" fmla="*/ 268 w 287"/>
                <a:gd name="T5" fmla="*/ 250 h 282"/>
                <a:gd name="T6" fmla="*/ 259 w 287"/>
                <a:gd name="T7" fmla="*/ 261 h 282"/>
                <a:gd name="T8" fmla="*/ 243 w 287"/>
                <a:gd name="T9" fmla="*/ 272 h 282"/>
                <a:gd name="T10" fmla="*/ 228 w 287"/>
                <a:gd name="T11" fmla="*/ 277 h 282"/>
                <a:gd name="T12" fmla="*/ 180 w 287"/>
                <a:gd name="T13" fmla="*/ 273 h 282"/>
                <a:gd name="T14" fmla="*/ 164 w 287"/>
                <a:gd name="T15" fmla="*/ 274 h 282"/>
                <a:gd name="T16" fmla="*/ 93 w 287"/>
                <a:gd name="T17" fmla="*/ 273 h 282"/>
                <a:gd name="T18" fmla="*/ 20 w 287"/>
                <a:gd name="T19" fmla="*/ 273 h 282"/>
                <a:gd name="T20" fmla="*/ 13 w 287"/>
                <a:gd name="T21" fmla="*/ 60 h 282"/>
                <a:gd name="T22" fmla="*/ 15 w 287"/>
                <a:gd name="T23" fmla="*/ 26 h 282"/>
                <a:gd name="T24" fmla="*/ 14 w 287"/>
                <a:gd name="T25" fmla="*/ 0 h 282"/>
                <a:gd name="T26" fmla="*/ 28 w 287"/>
                <a:gd name="T27" fmla="*/ 5 h 282"/>
                <a:gd name="T28" fmla="*/ 59 w 287"/>
                <a:gd name="T29" fmla="*/ 9 h 282"/>
                <a:gd name="T30" fmla="*/ 96 w 287"/>
                <a:gd name="T31" fmla="*/ 20 h 282"/>
                <a:gd name="T32" fmla="*/ 136 w 287"/>
                <a:gd name="T33" fmla="*/ 10 h 282"/>
                <a:gd name="T34" fmla="*/ 157 w 287"/>
                <a:gd name="T35" fmla="*/ 4 h 282"/>
                <a:gd name="T36" fmla="*/ 179 w 287"/>
                <a:gd name="T37" fmla="*/ 14 h 282"/>
                <a:gd name="T38" fmla="*/ 189 w 287"/>
                <a:gd name="T39" fmla="*/ 11 h 282"/>
                <a:gd name="T40" fmla="*/ 222 w 287"/>
                <a:gd name="T41" fmla="*/ 16 h 282"/>
                <a:gd name="T42" fmla="*/ 235 w 287"/>
                <a:gd name="T43" fmla="*/ 16 h 282"/>
                <a:gd name="T44" fmla="*/ 246 w 287"/>
                <a:gd name="T45" fmla="*/ 45 h 282"/>
                <a:gd name="T46" fmla="*/ 253 w 287"/>
                <a:gd name="T47" fmla="*/ 61 h 282"/>
                <a:gd name="T48" fmla="*/ 249 w 287"/>
                <a:gd name="T49" fmla="*/ 68 h 282"/>
                <a:gd name="T50" fmla="*/ 243 w 287"/>
                <a:gd name="T51" fmla="*/ 97 h 282"/>
                <a:gd name="T52" fmla="*/ 235 w 287"/>
                <a:gd name="T53" fmla="*/ 111 h 282"/>
                <a:gd name="T54" fmla="*/ 221 w 287"/>
                <a:gd name="T55" fmla="*/ 95 h 282"/>
                <a:gd name="T56" fmla="*/ 212 w 287"/>
                <a:gd name="T57" fmla="*/ 76 h 282"/>
                <a:gd name="T58" fmla="*/ 197 w 287"/>
                <a:gd name="T59" fmla="*/ 51 h 282"/>
                <a:gd name="T60" fmla="*/ 194 w 287"/>
                <a:gd name="T61" fmla="*/ 64 h 282"/>
                <a:gd name="T62" fmla="*/ 209 w 287"/>
                <a:gd name="T63" fmla="*/ 91 h 282"/>
                <a:gd name="T64" fmla="*/ 223 w 287"/>
                <a:gd name="T65" fmla="*/ 117 h 282"/>
                <a:gd name="T66" fmla="*/ 242 w 287"/>
                <a:gd name="T67" fmla="*/ 155 h 282"/>
                <a:gd name="T68" fmla="*/ 261 w 287"/>
                <a:gd name="T69" fmla="*/ 190 h 282"/>
                <a:gd name="T70" fmla="*/ 278 w 287"/>
                <a:gd name="T71" fmla="*/ 2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7" h="282">
                  <a:moveTo>
                    <a:pt x="283" y="219"/>
                  </a:moveTo>
                  <a:cubicBezTo>
                    <a:pt x="279" y="220"/>
                    <a:pt x="273" y="217"/>
                    <a:pt x="275" y="221"/>
                  </a:cubicBezTo>
                  <a:cubicBezTo>
                    <a:pt x="276" y="225"/>
                    <a:pt x="277" y="225"/>
                    <a:pt x="278" y="230"/>
                  </a:cubicBezTo>
                  <a:cubicBezTo>
                    <a:pt x="279" y="234"/>
                    <a:pt x="278" y="233"/>
                    <a:pt x="280" y="239"/>
                  </a:cubicBezTo>
                  <a:cubicBezTo>
                    <a:pt x="279" y="241"/>
                    <a:pt x="278" y="244"/>
                    <a:pt x="276" y="246"/>
                  </a:cubicBezTo>
                  <a:cubicBezTo>
                    <a:pt x="274" y="249"/>
                    <a:pt x="272" y="250"/>
                    <a:pt x="268" y="250"/>
                  </a:cubicBezTo>
                  <a:cubicBezTo>
                    <a:pt x="265" y="250"/>
                    <a:pt x="263" y="249"/>
                    <a:pt x="262" y="253"/>
                  </a:cubicBezTo>
                  <a:cubicBezTo>
                    <a:pt x="262" y="258"/>
                    <a:pt x="261" y="258"/>
                    <a:pt x="259" y="261"/>
                  </a:cubicBezTo>
                  <a:cubicBezTo>
                    <a:pt x="257" y="265"/>
                    <a:pt x="256" y="265"/>
                    <a:pt x="252" y="266"/>
                  </a:cubicBezTo>
                  <a:cubicBezTo>
                    <a:pt x="247" y="267"/>
                    <a:pt x="243" y="268"/>
                    <a:pt x="243" y="272"/>
                  </a:cubicBezTo>
                  <a:cubicBezTo>
                    <a:pt x="243" y="276"/>
                    <a:pt x="242" y="282"/>
                    <a:pt x="238" y="281"/>
                  </a:cubicBezTo>
                  <a:cubicBezTo>
                    <a:pt x="234" y="280"/>
                    <a:pt x="231" y="279"/>
                    <a:pt x="228" y="277"/>
                  </a:cubicBezTo>
                  <a:cubicBezTo>
                    <a:pt x="226" y="275"/>
                    <a:pt x="224" y="272"/>
                    <a:pt x="216" y="272"/>
                  </a:cubicBezTo>
                  <a:cubicBezTo>
                    <a:pt x="208" y="272"/>
                    <a:pt x="180" y="275"/>
                    <a:pt x="180" y="273"/>
                  </a:cubicBezTo>
                  <a:cubicBezTo>
                    <a:pt x="180" y="272"/>
                    <a:pt x="176" y="267"/>
                    <a:pt x="175" y="268"/>
                  </a:cubicBezTo>
                  <a:cubicBezTo>
                    <a:pt x="173" y="270"/>
                    <a:pt x="170" y="274"/>
                    <a:pt x="164" y="274"/>
                  </a:cubicBezTo>
                  <a:cubicBezTo>
                    <a:pt x="158" y="273"/>
                    <a:pt x="137" y="272"/>
                    <a:pt x="134" y="273"/>
                  </a:cubicBezTo>
                  <a:cubicBezTo>
                    <a:pt x="131" y="273"/>
                    <a:pt x="113" y="273"/>
                    <a:pt x="93" y="273"/>
                  </a:cubicBezTo>
                  <a:cubicBezTo>
                    <a:pt x="76" y="273"/>
                    <a:pt x="31" y="276"/>
                    <a:pt x="22" y="274"/>
                  </a:cubicBezTo>
                  <a:cubicBezTo>
                    <a:pt x="21" y="274"/>
                    <a:pt x="20" y="273"/>
                    <a:pt x="20" y="273"/>
                  </a:cubicBezTo>
                  <a:cubicBezTo>
                    <a:pt x="20" y="269"/>
                    <a:pt x="21" y="102"/>
                    <a:pt x="17" y="93"/>
                  </a:cubicBezTo>
                  <a:cubicBezTo>
                    <a:pt x="14" y="83"/>
                    <a:pt x="15" y="65"/>
                    <a:pt x="13" y="60"/>
                  </a:cubicBezTo>
                  <a:cubicBezTo>
                    <a:pt x="10" y="55"/>
                    <a:pt x="0" y="54"/>
                    <a:pt x="6" y="43"/>
                  </a:cubicBezTo>
                  <a:cubicBezTo>
                    <a:pt x="12" y="33"/>
                    <a:pt x="16" y="28"/>
                    <a:pt x="15" y="26"/>
                  </a:cubicBezTo>
                  <a:cubicBezTo>
                    <a:pt x="13" y="24"/>
                    <a:pt x="7" y="9"/>
                    <a:pt x="9" y="6"/>
                  </a:cubicBezTo>
                  <a:cubicBezTo>
                    <a:pt x="11" y="4"/>
                    <a:pt x="13" y="1"/>
                    <a:pt x="14" y="0"/>
                  </a:cubicBezTo>
                  <a:cubicBezTo>
                    <a:pt x="14" y="1"/>
                    <a:pt x="15" y="2"/>
                    <a:pt x="18" y="3"/>
                  </a:cubicBezTo>
                  <a:cubicBezTo>
                    <a:pt x="24" y="6"/>
                    <a:pt x="17" y="5"/>
                    <a:pt x="28" y="5"/>
                  </a:cubicBezTo>
                  <a:cubicBezTo>
                    <a:pt x="38" y="5"/>
                    <a:pt x="40" y="4"/>
                    <a:pt x="45" y="5"/>
                  </a:cubicBezTo>
                  <a:cubicBezTo>
                    <a:pt x="50" y="7"/>
                    <a:pt x="56" y="7"/>
                    <a:pt x="59" y="9"/>
                  </a:cubicBezTo>
                  <a:cubicBezTo>
                    <a:pt x="61" y="11"/>
                    <a:pt x="79" y="13"/>
                    <a:pt x="80" y="13"/>
                  </a:cubicBezTo>
                  <a:cubicBezTo>
                    <a:pt x="80" y="14"/>
                    <a:pt x="85" y="18"/>
                    <a:pt x="96" y="20"/>
                  </a:cubicBezTo>
                  <a:cubicBezTo>
                    <a:pt x="106" y="22"/>
                    <a:pt x="117" y="31"/>
                    <a:pt x="123" y="23"/>
                  </a:cubicBezTo>
                  <a:cubicBezTo>
                    <a:pt x="130" y="16"/>
                    <a:pt x="130" y="8"/>
                    <a:pt x="136" y="10"/>
                  </a:cubicBezTo>
                  <a:cubicBezTo>
                    <a:pt x="142" y="12"/>
                    <a:pt x="142" y="4"/>
                    <a:pt x="147" y="5"/>
                  </a:cubicBezTo>
                  <a:cubicBezTo>
                    <a:pt x="151" y="7"/>
                    <a:pt x="150" y="3"/>
                    <a:pt x="157" y="4"/>
                  </a:cubicBezTo>
                  <a:cubicBezTo>
                    <a:pt x="164" y="6"/>
                    <a:pt x="161" y="5"/>
                    <a:pt x="171" y="6"/>
                  </a:cubicBezTo>
                  <a:cubicBezTo>
                    <a:pt x="182" y="8"/>
                    <a:pt x="176" y="13"/>
                    <a:pt x="179" y="14"/>
                  </a:cubicBezTo>
                  <a:cubicBezTo>
                    <a:pt x="181" y="16"/>
                    <a:pt x="186" y="21"/>
                    <a:pt x="187" y="17"/>
                  </a:cubicBezTo>
                  <a:cubicBezTo>
                    <a:pt x="188" y="12"/>
                    <a:pt x="187" y="9"/>
                    <a:pt x="189" y="11"/>
                  </a:cubicBezTo>
                  <a:cubicBezTo>
                    <a:pt x="192" y="13"/>
                    <a:pt x="196" y="18"/>
                    <a:pt x="203" y="18"/>
                  </a:cubicBezTo>
                  <a:cubicBezTo>
                    <a:pt x="210" y="18"/>
                    <a:pt x="215" y="19"/>
                    <a:pt x="222" y="16"/>
                  </a:cubicBezTo>
                  <a:cubicBezTo>
                    <a:pt x="228" y="12"/>
                    <a:pt x="228" y="13"/>
                    <a:pt x="233" y="7"/>
                  </a:cubicBezTo>
                  <a:cubicBezTo>
                    <a:pt x="234" y="9"/>
                    <a:pt x="235" y="13"/>
                    <a:pt x="235" y="16"/>
                  </a:cubicBezTo>
                  <a:cubicBezTo>
                    <a:pt x="237" y="21"/>
                    <a:pt x="237" y="22"/>
                    <a:pt x="240" y="29"/>
                  </a:cubicBezTo>
                  <a:cubicBezTo>
                    <a:pt x="243" y="37"/>
                    <a:pt x="244" y="41"/>
                    <a:pt x="246" y="45"/>
                  </a:cubicBezTo>
                  <a:cubicBezTo>
                    <a:pt x="248" y="49"/>
                    <a:pt x="251" y="53"/>
                    <a:pt x="251" y="55"/>
                  </a:cubicBezTo>
                  <a:cubicBezTo>
                    <a:pt x="252" y="57"/>
                    <a:pt x="252" y="59"/>
                    <a:pt x="253" y="61"/>
                  </a:cubicBezTo>
                  <a:cubicBezTo>
                    <a:pt x="253" y="61"/>
                    <a:pt x="253" y="61"/>
                    <a:pt x="253" y="61"/>
                  </a:cubicBezTo>
                  <a:cubicBezTo>
                    <a:pt x="252" y="62"/>
                    <a:pt x="250" y="65"/>
                    <a:pt x="249" y="68"/>
                  </a:cubicBezTo>
                  <a:cubicBezTo>
                    <a:pt x="248" y="72"/>
                    <a:pt x="248" y="78"/>
                    <a:pt x="246" y="85"/>
                  </a:cubicBezTo>
                  <a:cubicBezTo>
                    <a:pt x="244" y="91"/>
                    <a:pt x="243" y="92"/>
                    <a:pt x="243" y="97"/>
                  </a:cubicBezTo>
                  <a:cubicBezTo>
                    <a:pt x="243" y="102"/>
                    <a:pt x="243" y="107"/>
                    <a:pt x="242" y="109"/>
                  </a:cubicBezTo>
                  <a:cubicBezTo>
                    <a:pt x="241" y="111"/>
                    <a:pt x="237" y="112"/>
                    <a:pt x="235" y="111"/>
                  </a:cubicBezTo>
                  <a:cubicBezTo>
                    <a:pt x="233" y="109"/>
                    <a:pt x="231" y="110"/>
                    <a:pt x="227" y="104"/>
                  </a:cubicBezTo>
                  <a:cubicBezTo>
                    <a:pt x="223" y="98"/>
                    <a:pt x="226" y="98"/>
                    <a:pt x="221" y="95"/>
                  </a:cubicBezTo>
                  <a:cubicBezTo>
                    <a:pt x="217" y="93"/>
                    <a:pt x="214" y="90"/>
                    <a:pt x="214" y="86"/>
                  </a:cubicBezTo>
                  <a:cubicBezTo>
                    <a:pt x="214" y="82"/>
                    <a:pt x="214" y="78"/>
                    <a:pt x="212" y="76"/>
                  </a:cubicBezTo>
                  <a:cubicBezTo>
                    <a:pt x="211" y="74"/>
                    <a:pt x="206" y="69"/>
                    <a:pt x="204" y="65"/>
                  </a:cubicBezTo>
                  <a:cubicBezTo>
                    <a:pt x="201" y="60"/>
                    <a:pt x="199" y="55"/>
                    <a:pt x="197" y="51"/>
                  </a:cubicBezTo>
                  <a:cubicBezTo>
                    <a:pt x="195" y="48"/>
                    <a:pt x="193" y="50"/>
                    <a:pt x="192" y="53"/>
                  </a:cubicBezTo>
                  <a:cubicBezTo>
                    <a:pt x="190" y="57"/>
                    <a:pt x="194" y="61"/>
                    <a:pt x="194" y="64"/>
                  </a:cubicBezTo>
                  <a:cubicBezTo>
                    <a:pt x="195" y="67"/>
                    <a:pt x="197" y="72"/>
                    <a:pt x="199" y="77"/>
                  </a:cubicBezTo>
                  <a:cubicBezTo>
                    <a:pt x="200" y="83"/>
                    <a:pt x="208" y="86"/>
                    <a:pt x="209" y="91"/>
                  </a:cubicBezTo>
                  <a:cubicBezTo>
                    <a:pt x="210" y="97"/>
                    <a:pt x="215" y="97"/>
                    <a:pt x="218" y="103"/>
                  </a:cubicBezTo>
                  <a:cubicBezTo>
                    <a:pt x="220" y="109"/>
                    <a:pt x="217" y="106"/>
                    <a:pt x="223" y="117"/>
                  </a:cubicBezTo>
                  <a:cubicBezTo>
                    <a:pt x="228" y="129"/>
                    <a:pt x="234" y="131"/>
                    <a:pt x="234" y="136"/>
                  </a:cubicBezTo>
                  <a:cubicBezTo>
                    <a:pt x="235" y="141"/>
                    <a:pt x="240" y="146"/>
                    <a:pt x="242" y="155"/>
                  </a:cubicBezTo>
                  <a:cubicBezTo>
                    <a:pt x="245" y="163"/>
                    <a:pt x="251" y="166"/>
                    <a:pt x="253" y="173"/>
                  </a:cubicBezTo>
                  <a:cubicBezTo>
                    <a:pt x="254" y="181"/>
                    <a:pt x="259" y="185"/>
                    <a:pt x="261" y="190"/>
                  </a:cubicBezTo>
                  <a:cubicBezTo>
                    <a:pt x="263" y="196"/>
                    <a:pt x="266" y="195"/>
                    <a:pt x="269" y="202"/>
                  </a:cubicBezTo>
                  <a:cubicBezTo>
                    <a:pt x="273" y="209"/>
                    <a:pt x="274" y="211"/>
                    <a:pt x="278" y="214"/>
                  </a:cubicBezTo>
                  <a:cubicBezTo>
                    <a:pt x="282" y="217"/>
                    <a:pt x="287" y="219"/>
                    <a:pt x="283" y="219"/>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98" name="Freeform 887">
              <a:extLst>
                <a:ext uri="{FF2B5EF4-FFF2-40B4-BE49-F238E27FC236}">
                  <a16:creationId xmlns:a16="http://schemas.microsoft.com/office/drawing/2014/main" id="{BAFAB373-6F29-0240-9627-F25FA2A2B3B9}"/>
                </a:ext>
              </a:extLst>
            </p:cNvPr>
            <p:cNvSpPr>
              <a:spLocks/>
            </p:cNvSpPr>
            <p:nvPr/>
          </p:nvSpPr>
          <p:spPr bwMode="auto">
            <a:xfrm>
              <a:off x="3635387" y="1937207"/>
              <a:ext cx="285751" cy="336550"/>
            </a:xfrm>
            <a:custGeom>
              <a:avLst/>
              <a:gdLst>
                <a:gd name="T0" fmla="*/ 279 w 300"/>
                <a:gd name="T1" fmla="*/ 305 h 353"/>
                <a:gd name="T2" fmla="*/ 283 w 300"/>
                <a:gd name="T3" fmla="*/ 316 h 353"/>
                <a:gd name="T4" fmla="*/ 281 w 300"/>
                <a:gd name="T5" fmla="*/ 327 h 353"/>
                <a:gd name="T6" fmla="*/ 277 w 300"/>
                <a:gd name="T7" fmla="*/ 332 h 353"/>
                <a:gd name="T8" fmla="*/ 185 w 300"/>
                <a:gd name="T9" fmla="*/ 331 h 353"/>
                <a:gd name="T10" fmla="*/ 175 w 300"/>
                <a:gd name="T11" fmla="*/ 335 h 353"/>
                <a:gd name="T12" fmla="*/ 161 w 300"/>
                <a:gd name="T13" fmla="*/ 333 h 353"/>
                <a:gd name="T14" fmla="*/ 149 w 300"/>
                <a:gd name="T15" fmla="*/ 334 h 353"/>
                <a:gd name="T16" fmla="*/ 144 w 300"/>
                <a:gd name="T17" fmla="*/ 341 h 353"/>
                <a:gd name="T18" fmla="*/ 130 w 300"/>
                <a:gd name="T19" fmla="*/ 329 h 353"/>
                <a:gd name="T20" fmla="*/ 123 w 300"/>
                <a:gd name="T21" fmla="*/ 335 h 353"/>
                <a:gd name="T22" fmla="*/ 121 w 300"/>
                <a:gd name="T23" fmla="*/ 348 h 353"/>
                <a:gd name="T24" fmla="*/ 113 w 300"/>
                <a:gd name="T25" fmla="*/ 353 h 353"/>
                <a:gd name="T26" fmla="*/ 106 w 300"/>
                <a:gd name="T27" fmla="*/ 348 h 353"/>
                <a:gd name="T28" fmla="*/ 92 w 300"/>
                <a:gd name="T29" fmla="*/ 333 h 353"/>
                <a:gd name="T30" fmla="*/ 88 w 300"/>
                <a:gd name="T31" fmla="*/ 324 h 353"/>
                <a:gd name="T32" fmla="*/ 80 w 300"/>
                <a:gd name="T33" fmla="*/ 313 h 353"/>
                <a:gd name="T34" fmla="*/ 70 w 300"/>
                <a:gd name="T35" fmla="*/ 310 h 353"/>
                <a:gd name="T36" fmla="*/ 59 w 300"/>
                <a:gd name="T37" fmla="*/ 301 h 353"/>
                <a:gd name="T38" fmla="*/ 47 w 300"/>
                <a:gd name="T39" fmla="*/ 298 h 353"/>
                <a:gd name="T40" fmla="*/ 39 w 300"/>
                <a:gd name="T41" fmla="*/ 302 h 353"/>
                <a:gd name="T42" fmla="*/ 30 w 300"/>
                <a:gd name="T43" fmla="*/ 304 h 353"/>
                <a:gd name="T44" fmla="*/ 21 w 300"/>
                <a:gd name="T45" fmla="*/ 303 h 353"/>
                <a:gd name="T46" fmla="*/ 13 w 300"/>
                <a:gd name="T47" fmla="*/ 304 h 353"/>
                <a:gd name="T48" fmla="*/ 8 w 300"/>
                <a:gd name="T49" fmla="*/ 309 h 353"/>
                <a:gd name="T50" fmla="*/ 8 w 300"/>
                <a:gd name="T51" fmla="*/ 305 h 353"/>
                <a:gd name="T52" fmla="*/ 14 w 300"/>
                <a:gd name="T53" fmla="*/ 287 h 353"/>
                <a:gd name="T54" fmla="*/ 21 w 300"/>
                <a:gd name="T55" fmla="*/ 264 h 353"/>
                <a:gd name="T56" fmla="*/ 18 w 300"/>
                <a:gd name="T57" fmla="*/ 240 h 353"/>
                <a:gd name="T58" fmla="*/ 15 w 300"/>
                <a:gd name="T59" fmla="*/ 228 h 353"/>
                <a:gd name="T60" fmla="*/ 13 w 300"/>
                <a:gd name="T61" fmla="*/ 210 h 353"/>
                <a:gd name="T62" fmla="*/ 19 w 300"/>
                <a:gd name="T63" fmla="*/ 200 h 353"/>
                <a:gd name="T64" fmla="*/ 12 w 300"/>
                <a:gd name="T65" fmla="*/ 185 h 353"/>
                <a:gd name="T66" fmla="*/ 4 w 300"/>
                <a:gd name="T67" fmla="*/ 177 h 353"/>
                <a:gd name="T68" fmla="*/ 0 w 300"/>
                <a:gd name="T69" fmla="*/ 167 h 353"/>
                <a:gd name="T70" fmla="*/ 98 w 300"/>
                <a:gd name="T71" fmla="*/ 170 h 353"/>
                <a:gd name="T72" fmla="*/ 100 w 300"/>
                <a:gd name="T73" fmla="*/ 135 h 353"/>
                <a:gd name="T74" fmla="*/ 99 w 300"/>
                <a:gd name="T75" fmla="*/ 123 h 353"/>
                <a:gd name="T76" fmla="*/ 115 w 300"/>
                <a:gd name="T77" fmla="*/ 111 h 353"/>
                <a:gd name="T78" fmla="*/ 126 w 300"/>
                <a:gd name="T79" fmla="*/ 104 h 353"/>
                <a:gd name="T80" fmla="*/ 125 w 300"/>
                <a:gd name="T81" fmla="*/ 62 h 353"/>
                <a:gd name="T82" fmla="*/ 128 w 300"/>
                <a:gd name="T83" fmla="*/ 38 h 353"/>
                <a:gd name="T84" fmla="*/ 209 w 300"/>
                <a:gd name="T85" fmla="*/ 36 h 353"/>
                <a:gd name="T86" fmla="*/ 210 w 300"/>
                <a:gd name="T87" fmla="*/ 0 h 353"/>
                <a:gd name="T88" fmla="*/ 300 w 300"/>
                <a:gd name="T89" fmla="*/ 67 h 353"/>
                <a:gd name="T90" fmla="*/ 258 w 300"/>
                <a:gd name="T91" fmla="*/ 64 h 353"/>
                <a:gd name="T92" fmla="*/ 259 w 300"/>
                <a:gd name="T93" fmla="*/ 77 h 353"/>
                <a:gd name="T94" fmla="*/ 261 w 300"/>
                <a:gd name="T95" fmla="*/ 95 h 353"/>
                <a:gd name="T96" fmla="*/ 262 w 300"/>
                <a:gd name="T97" fmla="*/ 116 h 353"/>
                <a:gd name="T98" fmla="*/ 264 w 300"/>
                <a:gd name="T99" fmla="*/ 140 h 353"/>
                <a:gd name="T100" fmla="*/ 266 w 300"/>
                <a:gd name="T101" fmla="*/ 166 h 353"/>
                <a:gd name="T102" fmla="*/ 268 w 300"/>
                <a:gd name="T103" fmla="*/ 192 h 353"/>
                <a:gd name="T104" fmla="*/ 271 w 300"/>
                <a:gd name="T105" fmla="*/ 222 h 353"/>
                <a:gd name="T106" fmla="*/ 272 w 300"/>
                <a:gd name="T107" fmla="*/ 248 h 353"/>
                <a:gd name="T108" fmla="*/ 274 w 300"/>
                <a:gd name="T109" fmla="*/ 272 h 353"/>
                <a:gd name="T110" fmla="*/ 274 w 300"/>
                <a:gd name="T111" fmla="*/ 296 h 353"/>
                <a:gd name="T112" fmla="*/ 279 w 300"/>
                <a:gd name="T113" fmla="*/ 30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53">
                  <a:moveTo>
                    <a:pt x="279" y="305"/>
                  </a:moveTo>
                  <a:cubicBezTo>
                    <a:pt x="281" y="308"/>
                    <a:pt x="285" y="311"/>
                    <a:pt x="283" y="316"/>
                  </a:cubicBezTo>
                  <a:cubicBezTo>
                    <a:pt x="281" y="320"/>
                    <a:pt x="281" y="323"/>
                    <a:pt x="281" y="327"/>
                  </a:cubicBezTo>
                  <a:cubicBezTo>
                    <a:pt x="280" y="331"/>
                    <a:pt x="281" y="331"/>
                    <a:pt x="277" y="332"/>
                  </a:cubicBezTo>
                  <a:cubicBezTo>
                    <a:pt x="274" y="332"/>
                    <a:pt x="185" y="331"/>
                    <a:pt x="185" y="331"/>
                  </a:cubicBezTo>
                  <a:cubicBezTo>
                    <a:pt x="185" y="331"/>
                    <a:pt x="181" y="334"/>
                    <a:pt x="175" y="335"/>
                  </a:cubicBezTo>
                  <a:cubicBezTo>
                    <a:pt x="168" y="336"/>
                    <a:pt x="162" y="335"/>
                    <a:pt x="161" y="333"/>
                  </a:cubicBezTo>
                  <a:cubicBezTo>
                    <a:pt x="159" y="332"/>
                    <a:pt x="153" y="330"/>
                    <a:pt x="149" y="334"/>
                  </a:cubicBezTo>
                  <a:cubicBezTo>
                    <a:pt x="146" y="337"/>
                    <a:pt x="148" y="344"/>
                    <a:pt x="144" y="341"/>
                  </a:cubicBezTo>
                  <a:cubicBezTo>
                    <a:pt x="140" y="337"/>
                    <a:pt x="137" y="330"/>
                    <a:pt x="130" y="329"/>
                  </a:cubicBezTo>
                  <a:cubicBezTo>
                    <a:pt x="123" y="328"/>
                    <a:pt x="124" y="327"/>
                    <a:pt x="123" y="335"/>
                  </a:cubicBezTo>
                  <a:cubicBezTo>
                    <a:pt x="122" y="343"/>
                    <a:pt x="126" y="347"/>
                    <a:pt x="121" y="348"/>
                  </a:cubicBezTo>
                  <a:cubicBezTo>
                    <a:pt x="118" y="349"/>
                    <a:pt x="116" y="352"/>
                    <a:pt x="113" y="353"/>
                  </a:cubicBezTo>
                  <a:cubicBezTo>
                    <a:pt x="111" y="353"/>
                    <a:pt x="109" y="353"/>
                    <a:pt x="106" y="348"/>
                  </a:cubicBezTo>
                  <a:cubicBezTo>
                    <a:pt x="99" y="339"/>
                    <a:pt x="95" y="338"/>
                    <a:pt x="92" y="333"/>
                  </a:cubicBezTo>
                  <a:cubicBezTo>
                    <a:pt x="89" y="328"/>
                    <a:pt x="90" y="331"/>
                    <a:pt x="88" y="324"/>
                  </a:cubicBezTo>
                  <a:cubicBezTo>
                    <a:pt x="87" y="316"/>
                    <a:pt x="86" y="313"/>
                    <a:pt x="80" y="313"/>
                  </a:cubicBezTo>
                  <a:cubicBezTo>
                    <a:pt x="73" y="313"/>
                    <a:pt x="73" y="315"/>
                    <a:pt x="70" y="310"/>
                  </a:cubicBezTo>
                  <a:cubicBezTo>
                    <a:pt x="67" y="306"/>
                    <a:pt x="68" y="304"/>
                    <a:pt x="59" y="301"/>
                  </a:cubicBezTo>
                  <a:cubicBezTo>
                    <a:pt x="50" y="298"/>
                    <a:pt x="53" y="296"/>
                    <a:pt x="47" y="298"/>
                  </a:cubicBezTo>
                  <a:cubicBezTo>
                    <a:pt x="42" y="300"/>
                    <a:pt x="42" y="300"/>
                    <a:pt x="39" y="302"/>
                  </a:cubicBezTo>
                  <a:cubicBezTo>
                    <a:pt x="36" y="304"/>
                    <a:pt x="36" y="304"/>
                    <a:pt x="30" y="304"/>
                  </a:cubicBezTo>
                  <a:cubicBezTo>
                    <a:pt x="24" y="304"/>
                    <a:pt x="25" y="303"/>
                    <a:pt x="21" y="303"/>
                  </a:cubicBezTo>
                  <a:cubicBezTo>
                    <a:pt x="18" y="304"/>
                    <a:pt x="14" y="303"/>
                    <a:pt x="13" y="304"/>
                  </a:cubicBezTo>
                  <a:cubicBezTo>
                    <a:pt x="11" y="305"/>
                    <a:pt x="10" y="307"/>
                    <a:pt x="8" y="309"/>
                  </a:cubicBezTo>
                  <a:cubicBezTo>
                    <a:pt x="8" y="307"/>
                    <a:pt x="8" y="306"/>
                    <a:pt x="8" y="305"/>
                  </a:cubicBezTo>
                  <a:cubicBezTo>
                    <a:pt x="8" y="295"/>
                    <a:pt x="11" y="292"/>
                    <a:pt x="14" y="287"/>
                  </a:cubicBezTo>
                  <a:cubicBezTo>
                    <a:pt x="17" y="281"/>
                    <a:pt x="21" y="271"/>
                    <a:pt x="21" y="264"/>
                  </a:cubicBezTo>
                  <a:cubicBezTo>
                    <a:pt x="21" y="257"/>
                    <a:pt x="19" y="250"/>
                    <a:pt x="18" y="240"/>
                  </a:cubicBezTo>
                  <a:cubicBezTo>
                    <a:pt x="17" y="231"/>
                    <a:pt x="22" y="237"/>
                    <a:pt x="15" y="228"/>
                  </a:cubicBezTo>
                  <a:cubicBezTo>
                    <a:pt x="8" y="218"/>
                    <a:pt x="10" y="212"/>
                    <a:pt x="13" y="210"/>
                  </a:cubicBezTo>
                  <a:cubicBezTo>
                    <a:pt x="15" y="208"/>
                    <a:pt x="19" y="206"/>
                    <a:pt x="19" y="200"/>
                  </a:cubicBezTo>
                  <a:cubicBezTo>
                    <a:pt x="20" y="194"/>
                    <a:pt x="16" y="191"/>
                    <a:pt x="12" y="185"/>
                  </a:cubicBezTo>
                  <a:cubicBezTo>
                    <a:pt x="8" y="179"/>
                    <a:pt x="7" y="181"/>
                    <a:pt x="4" y="177"/>
                  </a:cubicBezTo>
                  <a:cubicBezTo>
                    <a:pt x="2" y="175"/>
                    <a:pt x="1" y="171"/>
                    <a:pt x="0" y="167"/>
                  </a:cubicBezTo>
                  <a:cubicBezTo>
                    <a:pt x="98" y="170"/>
                    <a:pt x="98" y="170"/>
                    <a:pt x="98" y="170"/>
                  </a:cubicBezTo>
                  <a:cubicBezTo>
                    <a:pt x="100" y="135"/>
                    <a:pt x="100" y="135"/>
                    <a:pt x="100" y="135"/>
                  </a:cubicBezTo>
                  <a:cubicBezTo>
                    <a:pt x="100" y="135"/>
                    <a:pt x="91" y="127"/>
                    <a:pt x="99" y="123"/>
                  </a:cubicBezTo>
                  <a:cubicBezTo>
                    <a:pt x="107" y="119"/>
                    <a:pt x="109" y="114"/>
                    <a:pt x="115" y="111"/>
                  </a:cubicBezTo>
                  <a:cubicBezTo>
                    <a:pt x="122" y="109"/>
                    <a:pt x="127" y="109"/>
                    <a:pt x="126" y="104"/>
                  </a:cubicBezTo>
                  <a:cubicBezTo>
                    <a:pt x="125" y="100"/>
                    <a:pt x="125" y="62"/>
                    <a:pt x="125" y="62"/>
                  </a:cubicBezTo>
                  <a:cubicBezTo>
                    <a:pt x="128" y="38"/>
                    <a:pt x="128" y="38"/>
                    <a:pt x="128" y="38"/>
                  </a:cubicBezTo>
                  <a:cubicBezTo>
                    <a:pt x="209" y="36"/>
                    <a:pt x="209" y="36"/>
                    <a:pt x="209" y="36"/>
                  </a:cubicBezTo>
                  <a:cubicBezTo>
                    <a:pt x="210" y="0"/>
                    <a:pt x="210" y="0"/>
                    <a:pt x="210" y="0"/>
                  </a:cubicBezTo>
                  <a:cubicBezTo>
                    <a:pt x="300" y="67"/>
                    <a:pt x="300" y="67"/>
                    <a:pt x="300" y="67"/>
                  </a:cubicBezTo>
                  <a:cubicBezTo>
                    <a:pt x="258" y="64"/>
                    <a:pt x="258" y="64"/>
                    <a:pt x="258" y="64"/>
                  </a:cubicBezTo>
                  <a:cubicBezTo>
                    <a:pt x="259" y="77"/>
                    <a:pt x="259" y="77"/>
                    <a:pt x="259" y="77"/>
                  </a:cubicBezTo>
                  <a:cubicBezTo>
                    <a:pt x="261" y="95"/>
                    <a:pt x="261" y="95"/>
                    <a:pt x="261" y="95"/>
                  </a:cubicBezTo>
                  <a:cubicBezTo>
                    <a:pt x="262" y="116"/>
                    <a:pt x="262" y="116"/>
                    <a:pt x="262" y="116"/>
                  </a:cubicBezTo>
                  <a:cubicBezTo>
                    <a:pt x="264" y="140"/>
                    <a:pt x="264" y="140"/>
                    <a:pt x="264" y="140"/>
                  </a:cubicBezTo>
                  <a:cubicBezTo>
                    <a:pt x="266" y="166"/>
                    <a:pt x="266" y="166"/>
                    <a:pt x="266" y="166"/>
                  </a:cubicBezTo>
                  <a:cubicBezTo>
                    <a:pt x="268" y="192"/>
                    <a:pt x="268" y="192"/>
                    <a:pt x="268" y="192"/>
                  </a:cubicBezTo>
                  <a:cubicBezTo>
                    <a:pt x="271" y="222"/>
                    <a:pt x="271" y="222"/>
                    <a:pt x="271" y="222"/>
                  </a:cubicBezTo>
                  <a:cubicBezTo>
                    <a:pt x="272" y="248"/>
                    <a:pt x="272" y="248"/>
                    <a:pt x="272" y="248"/>
                  </a:cubicBezTo>
                  <a:cubicBezTo>
                    <a:pt x="274" y="272"/>
                    <a:pt x="274" y="272"/>
                    <a:pt x="274" y="272"/>
                  </a:cubicBezTo>
                  <a:cubicBezTo>
                    <a:pt x="274" y="272"/>
                    <a:pt x="274" y="295"/>
                    <a:pt x="274" y="296"/>
                  </a:cubicBezTo>
                  <a:cubicBezTo>
                    <a:pt x="274" y="297"/>
                    <a:pt x="276" y="302"/>
                    <a:pt x="279" y="305"/>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399" name="Freeform 888">
              <a:extLst>
                <a:ext uri="{FF2B5EF4-FFF2-40B4-BE49-F238E27FC236}">
                  <a16:creationId xmlns:a16="http://schemas.microsoft.com/office/drawing/2014/main" id="{DA5162EA-2067-AE4C-9A7D-8BE1DF55DAC3}"/>
                </a:ext>
              </a:extLst>
            </p:cNvPr>
            <p:cNvSpPr>
              <a:spLocks/>
            </p:cNvSpPr>
            <p:nvPr/>
          </p:nvSpPr>
          <p:spPr bwMode="auto">
            <a:xfrm>
              <a:off x="3740162" y="1999119"/>
              <a:ext cx="392114" cy="400051"/>
            </a:xfrm>
            <a:custGeom>
              <a:avLst/>
              <a:gdLst>
                <a:gd name="T0" fmla="*/ 409 w 411"/>
                <a:gd name="T1" fmla="*/ 225 h 421"/>
                <a:gd name="T2" fmla="*/ 402 w 411"/>
                <a:gd name="T3" fmla="*/ 252 h 421"/>
                <a:gd name="T4" fmla="*/ 391 w 411"/>
                <a:gd name="T5" fmla="*/ 270 h 421"/>
                <a:gd name="T6" fmla="*/ 363 w 411"/>
                <a:gd name="T7" fmla="*/ 271 h 421"/>
                <a:gd name="T8" fmla="*/ 338 w 411"/>
                <a:gd name="T9" fmla="*/ 274 h 421"/>
                <a:gd name="T10" fmla="*/ 321 w 411"/>
                <a:gd name="T11" fmla="*/ 281 h 421"/>
                <a:gd name="T12" fmla="*/ 308 w 411"/>
                <a:gd name="T13" fmla="*/ 282 h 421"/>
                <a:gd name="T14" fmla="*/ 285 w 411"/>
                <a:gd name="T15" fmla="*/ 280 h 421"/>
                <a:gd name="T16" fmla="*/ 258 w 411"/>
                <a:gd name="T17" fmla="*/ 297 h 421"/>
                <a:gd name="T18" fmla="*/ 237 w 411"/>
                <a:gd name="T19" fmla="*/ 303 h 421"/>
                <a:gd name="T20" fmla="*/ 227 w 411"/>
                <a:gd name="T21" fmla="*/ 319 h 421"/>
                <a:gd name="T22" fmla="*/ 221 w 411"/>
                <a:gd name="T23" fmla="*/ 330 h 421"/>
                <a:gd name="T24" fmla="*/ 203 w 411"/>
                <a:gd name="T25" fmla="*/ 327 h 421"/>
                <a:gd name="T26" fmla="*/ 199 w 411"/>
                <a:gd name="T27" fmla="*/ 343 h 421"/>
                <a:gd name="T28" fmla="*/ 192 w 411"/>
                <a:gd name="T29" fmla="*/ 356 h 421"/>
                <a:gd name="T30" fmla="*/ 170 w 411"/>
                <a:gd name="T31" fmla="*/ 371 h 421"/>
                <a:gd name="T32" fmla="*/ 167 w 411"/>
                <a:gd name="T33" fmla="*/ 395 h 421"/>
                <a:gd name="T34" fmla="*/ 166 w 411"/>
                <a:gd name="T35" fmla="*/ 410 h 421"/>
                <a:gd name="T36" fmla="*/ 149 w 411"/>
                <a:gd name="T37" fmla="*/ 415 h 421"/>
                <a:gd name="T38" fmla="*/ 141 w 411"/>
                <a:gd name="T39" fmla="*/ 405 h 421"/>
                <a:gd name="T40" fmla="*/ 128 w 411"/>
                <a:gd name="T41" fmla="*/ 416 h 421"/>
                <a:gd name="T42" fmla="*/ 110 w 411"/>
                <a:gd name="T43" fmla="*/ 410 h 421"/>
                <a:gd name="T44" fmla="*/ 105 w 411"/>
                <a:gd name="T45" fmla="*/ 411 h 421"/>
                <a:gd name="T46" fmla="*/ 88 w 411"/>
                <a:gd name="T47" fmla="*/ 392 h 421"/>
                <a:gd name="T48" fmla="*/ 89 w 411"/>
                <a:gd name="T49" fmla="*/ 376 h 421"/>
                <a:gd name="T50" fmla="*/ 81 w 411"/>
                <a:gd name="T51" fmla="*/ 359 h 421"/>
                <a:gd name="T52" fmla="*/ 70 w 411"/>
                <a:gd name="T53" fmla="*/ 358 h 421"/>
                <a:gd name="T54" fmla="*/ 54 w 411"/>
                <a:gd name="T55" fmla="*/ 360 h 421"/>
                <a:gd name="T56" fmla="*/ 38 w 411"/>
                <a:gd name="T57" fmla="*/ 365 h 421"/>
                <a:gd name="T58" fmla="*/ 28 w 411"/>
                <a:gd name="T59" fmla="*/ 363 h 421"/>
                <a:gd name="T60" fmla="*/ 18 w 411"/>
                <a:gd name="T61" fmla="*/ 357 h 421"/>
                <a:gd name="T62" fmla="*/ 21 w 411"/>
                <a:gd name="T63" fmla="*/ 340 h 421"/>
                <a:gd name="T64" fmla="*/ 5 w 411"/>
                <a:gd name="T65" fmla="*/ 318 h 421"/>
                <a:gd name="T66" fmla="*/ 2 w 411"/>
                <a:gd name="T67" fmla="*/ 294 h 421"/>
                <a:gd name="T68" fmla="*/ 11 w 411"/>
                <a:gd name="T69" fmla="*/ 284 h 421"/>
                <a:gd name="T70" fmla="*/ 20 w 411"/>
                <a:gd name="T71" fmla="*/ 265 h 421"/>
                <a:gd name="T72" fmla="*/ 39 w 411"/>
                <a:gd name="T73" fmla="*/ 270 h 421"/>
                <a:gd name="T74" fmla="*/ 65 w 411"/>
                <a:gd name="T75" fmla="*/ 271 h 421"/>
                <a:gd name="T76" fmla="*/ 167 w 411"/>
                <a:gd name="T77" fmla="*/ 268 h 421"/>
                <a:gd name="T78" fmla="*/ 173 w 411"/>
                <a:gd name="T79" fmla="*/ 252 h 421"/>
                <a:gd name="T80" fmla="*/ 164 w 411"/>
                <a:gd name="T81" fmla="*/ 232 h 421"/>
                <a:gd name="T82" fmla="*/ 162 w 411"/>
                <a:gd name="T83" fmla="*/ 184 h 421"/>
                <a:gd name="T84" fmla="*/ 158 w 411"/>
                <a:gd name="T85" fmla="*/ 128 h 421"/>
                <a:gd name="T86" fmla="*/ 154 w 411"/>
                <a:gd name="T87" fmla="*/ 76 h 421"/>
                <a:gd name="T88" fmla="*/ 151 w 411"/>
                <a:gd name="T89" fmla="*/ 31 h 421"/>
                <a:gd name="T90" fmla="*/ 148 w 411"/>
                <a:gd name="T91" fmla="*/ 0 h 421"/>
                <a:gd name="T92" fmla="*/ 337 w 411"/>
                <a:gd name="T93" fmla="*/ 113 h 421"/>
                <a:gd name="T94" fmla="*/ 346 w 411"/>
                <a:gd name="T95" fmla="*/ 126 h 421"/>
                <a:gd name="T96" fmla="*/ 364 w 411"/>
                <a:gd name="T97" fmla="*/ 135 h 421"/>
                <a:gd name="T98" fmla="*/ 381 w 411"/>
                <a:gd name="T99" fmla="*/ 144 h 421"/>
                <a:gd name="T100" fmla="*/ 385 w 411"/>
                <a:gd name="T101" fmla="*/ 167 h 421"/>
                <a:gd name="T102" fmla="*/ 411 w 411"/>
                <a:gd name="T103" fmla="*/ 166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11" h="421">
                  <a:moveTo>
                    <a:pt x="411" y="183"/>
                  </a:moveTo>
                  <a:cubicBezTo>
                    <a:pt x="409" y="225"/>
                    <a:pt x="409" y="225"/>
                    <a:pt x="409" y="225"/>
                  </a:cubicBezTo>
                  <a:cubicBezTo>
                    <a:pt x="408" y="244"/>
                    <a:pt x="408" y="244"/>
                    <a:pt x="408" y="244"/>
                  </a:cubicBezTo>
                  <a:cubicBezTo>
                    <a:pt x="408" y="244"/>
                    <a:pt x="402" y="247"/>
                    <a:pt x="402" y="252"/>
                  </a:cubicBezTo>
                  <a:cubicBezTo>
                    <a:pt x="402" y="257"/>
                    <a:pt x="406" y="256"/>
                    <a:pt x="400" y="262"/>
                  </a:cubicBezTo>
                  <a:cubicBezTo>
                    <a:pt x="394" y="268"/>
                    <a:pt x="397" y="268"/>
                    <a:pt x="391" y="270"/>
                  </a:cubicBezTo>
                  <a:cubicBezTo>
                    <a:pt x="385" y="272"/>
                    <a:pt x="390" y="268"/>
                    <a:pt x="379" y="270"/>
                  </a:cubicBezTo>
                  <a:cubicBezTo>
                    <a:pt x="369" y="271"/>
                    <a:pt x="369" y="269"/>
                    <a:pt x="363" y="271"/>
                  </a:cubicBezTo>
                  <a:cubicBezTo>
                    <a:pt x="357" y="272"/>
                    <a:pt x="362" y="271"/>
                    <a:pt x="352" y="272"/>
                  </a:cubicBezTo>
                  <a:cubicBezTo>
                    <a:pt x="342" y="274"/>
                    <a:pt x="340" y="271"/>
                    <a:pt x="338" y="274"/>
                  </a:cubicBezTo>
                  <a:cubicBezTo>
                    <a:pt x="335" y="277"/>
                    <a:pt x="340" y="278"/>
                    <a:pt x="331" y="279"/>
                  </a:cubicBezTo>
                  <a:cubicBezTo>
                    <a:pt x="323" y="281"/>
                    <a:pt x="330" y="281"/>
                    <a:pt x="321" y="281"/>
                  </a:cubicBezTo>
                  <a:cubicBezTo>
                    <a:pt x="313" y="281"/>
                    <a:pt x="312" y="283"/>
                    <a:pt x="309" y="282"/>
                  </a:cubicBezTo>
                  <a:cubicBezTo>
                    <a:pt x="309" y="282"/>
                    <a:pt x="308" y="282"/>
                    <a:pt x="308" y="282"/>
                  </a:cubicBezTo>
                  <a:cubicBezTo>
                    <a:pt x="304" y="282"/>
                    <a:pt x="308" y="281"/>
                    <a:pt x="299" y="280"/>
                  </a:cubicBezTo>
                  <a:cubicBezTo>
                    <a:pt x="290" y="280"/>
                    <a:pt x="290" y="278"/>
                    <a:pt x="285" y="280"/>
                  </a:cubicBezTo>
                  <a:cubicBezTo>
                    <a:pt x="280" y="282"/>
                    <a:pt x="276" y="289"/>
                    <a:pt x="271" y="292"/>
                  </a:cubicBezTo>
                  <a:cubicBezTo>
                    <a:pt x="267" y="294"/>
                    <a:pt x="263" y="294"/>
                    <a:pt x="258" y="297"/>
                  </a:cubicBezTo>
                  <a:cubicBezTo>
                    <a:pt x="253" y="300"/>
                    <a:pt x="255" y="307"/>
                    <a:pt x="249" y="305"/>
                  </a:cubicBezTo>
                  <a:cubicBezTo>
                    <a:pt x="244" y="304"/>
                    <a:pt x="239" y="300"/>
                    <a:pt x="237" y="303"/>
                  </a:cubicBezTo>
                  <a:cubicBezTo>
                    <a:pt x="236" y="307"/>
                    <a:pt x="234" y="311"/>
                    <a:pt x="232" y="315"/>
                  </a:cubicBezTo>
                  <a:cubicBezTo>
                    <a:pt x="231" y="319"/>
                    <a:pt x="230" y="319"/>
                    <a:pt x="227" y="319"/>
                  </a:cubicBezTo>
                  <a:cubicBezTo>
                    <a:pt x="224" y="319"/>
                    <a:pt x="224" y="317"/>
                    <a:pt x="223" y="322"/>
                  </a:cubicBezTo>
                  <a:cubicBezTo>
                    <a:pt x="222" y="327"/>
                    <a:pt x="226" y="328"/>
                    <a:pt x="221" y="330"/>
                  </a:cubicBezTo>
                  <a:cubicBezTo>
                    <a:pt x="215" y="331"/>
                    <a:pt x="216" y="335"/>
                    <a:pt x="212" y="331"/>
                  </a:cubicBezTo>
                  <a:cubicBezTo>
                    <a:pt x="207" y="328"/>
                    <a:pt x="206" y="322"/>
                    <a:pt x="203" y="327"/>
                  </a:cubicBezTo>
                  <a:cubicBezTo>
                    <a:pt x="201" y="332"/>
                    <a:pt x="200" y="326"/>
                    <a:pt x="199" y="333"/>
                  </a:cubicBezTo>
                  <a:cubicBezTo>
                    <a:pt x="199" y="339"/>
                    <a:pt x="202" y="340"/>
                    <a:pt x="199" y="343"/>
                  </a:cubicBezTo>
                  <a:cubicBezTo>
                    <a:pt x="197" y="346"/>
                    <a:pt x="190" y="342"/>
                    <a:pt x="193" y="346"/>
                  </a:cubicBezTo>
                  <a:cubicBezTo>
                    <a:pt x="196" y="350"/>
                    <a:pt x="193" y="350"/>
                    <a:pt x="192" y="356"/>
                  </a:cubicBezTo>
                  <a:cubicBezTo>
                    <a:pt x="191" y="362"/>
                    <a:pt x="191" y="362"/>
                    <a:pt x="185" y="365"/>
                  </a:cubicBezTo>
                  <a:cubicBezTo>
                    <a:pt x="179" y="367"/>
                    <a:pt x="170" y="367"/>
                    <a:pt x="170" y="371"/>
                  </a:cubicBezTo>
                  <a:cubicBezTo>
                    <a:pt x="170" y="375"/>
                    <a:pt x="176" y="376"/>
                    <a:pt x="174" y="381"/>
                  </a:cubicBezTo>
                  <a:cubicBezTo>
                    <a:pt x="173" y="387"/>
                    <a:pt x="167" y="389"/>
                    <a:pt x="167" y="395"/>
                  </a:cubicBezTo>
                  <a:cubicBezTo>
                    <a:pt x="167" y="401"/>
                    <a:pt x="169" y="401"/>
                    <a:pt x="167" y="404"/>
                  </a:cubicBezTo>
                  <a:cubicBezTo>
                    <a:pt x="166" y="407"/>
                    <a:pt x="169" y="408"/>
                    <a:pt x="166" y="410"/>
                  </a:cubicBezTo>
                  <a:cubicBezTo>
                    <a:pt x="165" y="410"/>
                    <a:pt x="164" y="410"/>
                    <a:pt x="162" y="411"/>
                  </a:cubicBezTo>
                  <a:cubicBezTo>
                    <a:pt x="153" y="412"/>
                    <a:pt x="152" y="421"/>
                    <a:pt x="149" y="415"/>
                  </a:cubicBezTo>
                  <a:cubicBezTo>
                    <a:pt x="145" y="409"/>
                    <a:pt x="150" y="400"/>
                    <a:pt x="147" y="402"/>
                  </a:cubicBezTo>
                  <a:cubicBezTo>
                    <a:pt x="145" y="404"/>
                    <a:pt x="143" y="405"/>
                    <a:pt x="141" y="405"/>
                  </a:cubicBezTo>
                  <a:cubicBezTo>
                    <a:pt x="140" y="404"/>
                    <a:pt x="136" y="401"/>
                    <a:pt x="135" y="406"/>
                  </a:cubicBezTo>
                  <a:cubicBezTo>
                    <a:pt x="135" y="412"/>
                    <a:pt x="132" y="413"/>
                    <a:pt x="128" y="416"/>
                  </a:cubicBezTo>
                  <a:cubicBezTo>
                    <a:pt x="125" y="418"/>
                    <a:pt x="121" y="414"/>
                    <a:pt x="119" y="412"/>
                  </a:cubicBezTo>
                  <a:cubicBezTo>
                    <a:pt x="116" y="409"/>
                    <a:pt x="111" y="408"/>
                    <a:pt x="110" y="410"/>
                  </a:cubicBezTo>
                  <a:cubicBezTo>
                    <a:pt x="110" y="411"/>
                    <a:pt x="106" y="411"/>
                    <a:pt x="105" y="411"/>
                  </a:cubicBezTo>
                  <a:cubicBezTo>
                    <a:pt x="105" y="411"/>
                    <a:pt x="105" y="411"/>
                    <a:pt x="105" y="411"/>
                  </a:cubicBezTo>
                  <a:cubicBezTo>
                    <a:pt x="101" y="409"/>
                    <a:pt x="97" y="402"/>
                    <a:pt x="96" y="399"/>
                  </a:cubicBezTo>
                  <a:cubicBezTo>
                    <a:pt x="95" y="395"/>
                    <a:pt x="94" y="393"/>
                    <a:pt x="88" y="392"/>
                  </a:cubicBezTo>
                  <a:cubicBezTo>
                    <a:pt x="82" y="391"/>
                    <a:pt x="90" y="389"/>
                    <a:pt x="94" y="385"/>
                  </a:cubicBezTo>
                  <a:cubicBezTo>
                    <a:pt x="98" y="382"/>
                    <a:pt x="95" y="383"/>
                    <a:pt x="89" y="376"/>
                  </a:cubicBezTo>
                  <a:cubicBezTo>
                    <a:pt x="83" y="370"/>
                    <a:pt x="89" y="374"/>
                    <a:pt x="86" y="369"/>
                  </a:cubicBezTo>
                  <a:cubicBezTo>
                    <a:pt x="83" y="365"/>
                    <a:pt x="82" y="364"/>
                    <a:pt x="81" y="359"/>
                  </a:cubicBezTo>
                  <a:cubicBezTo>
                    <a:pt x="81" y="354"/>
                    <a:pt x="80" y="353"/>
                    <a:pt x="79" y="351"/>
                  </a:cubicBezTo>
                  <a:cubicBezTo>
                    <a:pt x="77" y="349"/>
                    <a:pt x="72" y="356"/>
                    <a:pt x="70" y="358"/>
                  </a:cubicBezTo>
                  <a:cubicBezTo>
                    <a:pt x="68" y="360"/>
                    <a:pt x="64" y="363"/>
                    <a:pt x="59" y="365"/>
                  </a:cubicBezTo>
                  <a:cubicBezTo>
                    <a:pt x="54" y="367"/>
                    <a:pt x="54" y="362"/>
                    <a:pt x="54" y="360"/>
                  </a:cubicBezTo>
                  <a:cubicBezTo>
                    <a:pt x="54" y="359"/>
                    <a:pt x="46" y="360"/>
                    <a:pt x="46" y="361"/>
                  </a:cubicBezTo>
                  <a:cubicBezTo>
                    <a:pt x="45" y="362"/>
                    <a:pt x="44" y="369"/>
                    <a:pt x="38" y="365"/>
                  </a:cubicBezTo>
                  <a:cubicBezTo>
                    <a:pt x="32" y="361"/>
                    <a:pt x="37" y="360"/>
                    <a:pt x="35" y="360"/>
                  </a:cubicBezTo>
                  <a:cubicBezTo>
                    <a:pt x="34" y="359"/>
                    <a:pt x="30" y="360"/>
                    <a:pt x="28" y="363"/>
                  </a:cubicBezTo>
                  <a:cubicBezTo>
                    <a:pt x="26" y="367"/>
                    <a:pt x="25" y="365"/>
                    <a:pt x="20" y="362"/>
                  </a:cubicBezTo>
                  <a:cubicBezTo>
                    <a:pt x="18" y="360"/>
                    <a:pt x="18" y="358"/>
                    <a:pt x="18" y="357"/>
                  </a:cubicBezTo>
                  <a:cubicBezTo>
                    <a:pt x="19" y="356"/>
                    <a:pt x="20" y="356"/>
                    <a:pt x="20" y="354"/>
                  </a:cubicBezTo>
                  <a:cubicBezTo>
                    <a:pt x="20" y="349"/>
                    <a:pt x="26" y="346"/>
                    <a:pt x="21" y="340"/>
                  </a:cubicBezTo>
                  <a:cubicBezTo>
                    <a:pt x="17" y="335"/>
                    <a:pt x="20" y="327"/>
                    <a:pt x="15" y="326"/>
                  </a:cubicBezTo>
                  <a:cubicBezTo>
                    <a:pt x="11" y="325"/>
                    <a:pt x="5" y="325"/>
                    <a:pt x="5" y="318"/>
                  </a:cubicBezTo>
                  <a:cubicBezTo>
                    <a:pt x="6" y="311"/>
                    <a:pt x="9" y="309"/>
                    <a:pt x="7" y="305"/>
                  </a:cubicBezTo>
                  <a:cubicBezTo>
                    <a:pt x="6" y="301"/>
                    <a:pt x="0" y="296"/>
                    <a:pt x="2" y="294"/>
                  </a:cubicBezTo>
                  <a:cubicBezTo>
                    <a:pt x="3" y="293"/>
                    <a:pt x="3" y="291"/>
                    <a:pt x="3" y="289"/>
                  </a:cubicBezTo>
                  <a:cubicBezTo>
                    <a:pt x="6" y="288"/>
                    <a:pt x="8" y="285"/>
                    <a:pt x="11" y="284"/>
                  </a:cubicBezTo>
                  <a:cubicBezTo>
                    <a:pt x="16" y="283"/>
                    <a:pt x="12" y="279"/>
                    <a:pt x="13" y="271"/>
                  </a:cubicBezTo>
                  <a:cubicBezTo>
                    <a:pt x="14" y="263"/>
                    <a:pt x="13" y="264"/>
                    <a:pt x="20" y="265"/>
                  </a:cubicBezTo>
                  <a:cubicBezTo>
                    <a:pt x="27" y="266"/>
                    <a:pt x="30" y="273"/>
                    <a:pt x="34" y="277"/>
                  </a:cubicBezTo>
                  <a:cubicBezTo>
                    <a:pt x="38" y="280"/>
                    <a:pt x="36" y="273"/>
                    <a:pt x="39" y="270"/>
                  </a:cubicBezTo>
                  <a:cubicBezTo>
                    <a:pt x="43" y="266"/>
                    <a:pt x="49" y="268"/>
                    <a:pt x="51" y="269"/>
                  </a:cubicBezTo>
                  <a:cubicBezTo>
                    <a:pt x="52" y="271"/>
                    <a:pt x="58" y="272"/>
                    <a:pt x="65" y="271"/>
                  </a:cubicBezTo>
                  <a:cubicBezTo>
                    <a:pt x="71" y="270"/>
                    <a:pt x="75" y="267"/>
                    <a:pt x="75" y="267"/>
                  </a:cubicBezTo>
                  <a:cubicBezTo>
                    <a:pt x="75" y="267"/>
                    <a:pt x="164" y="268"/>
                    <a:pt x="167" y="268"/>
                  </a:cubicBezTo>
                  <a:cubicBezTo>
                    <a:pt x="171" y="267"/>
                    <a:pt x="170" y="267"/>
                    <a:pt x="171" y="263"/>
                  </a:cubicBezTo>
                  <a:cubicBezTo>
                    <a:pt x="171" y="259"/>
                    <a:pt x="171" y="256"/>
                    <a:pt x="173" y="252"/>
                  </a:cubicBezTo>
                  <a:cubicBezTo>
                    <a:pt x="175" y="247"/>
                    <a:pt x="171" y="244"/>
                    <a:pt x="169" y="241"/>
                  </a:cubicBezTo>
                  <a:cubicBezTo>
                    <a:pt x="166" y="238"/>
                    <a:pt x="164" y="233"/>
                    <a:pt x="164" y="232"/>
                  </a:cubicBezTo>
                  <a:cubicBezTo>
                    <a:pt x="164" y="231"/>
                    <a:pt x="164" y="208"/>
                    <a:pt x="164" y="208"/>
                  </a:cubicBezTo>
                  <a:cubicBezTo>
                    <a:pt x="162" y="184"/>
                    <a:pt x="162" y="184"/>
                    <a:pt x="162" y="184"/>
                  </a:cubicBezTo>
                  <a:cubicBezTo>
                    <a:pt x="161" y="158"/>
                    <a:pt x="161" y="158"/>
                    <a:pt x="161" y="158"/>
                  </a:cubicBezTo>
                  <a:cubicBezTo>
                    <a:pt x="158" y="128"/>
                    <a:pt x="158" y="128"/>
                    <a:pt x="158" y="128"/>
                  </a:cubicBezTo>
                  <a:cubicBezTo>
                    <a:pt x="156" y="102"/>
                    <a:pt x="156" y="102"/>
                    <a:pt x="156" y="102"/>
                  </a:cubicBezTo>
                  <a:cubicBezTo>
                    <a:pt x="154" y="76"/>
                    <a:pt x="154" y="76"/>
                    <a:pt x="154" y="76"/>
                  </a:cubicBezTo>
                  <a:cubicBezTo>
                    <a:pt x="152" y="52"/>
                    <a:pt x="152" y="52"/>
                    <a:pt x="152" y="52"/>
                  </a:cubicBezTo>
                  <a:cubicBezTo>
                    <a:pt x="151" y="31"/>
                    <a:pt x="151" y="31"/>
                    <a:pt x="151" y="31"/>
                  </a:cubicBezTo>
                  <a:cubicBezTo>
                    <a:pt x="149" y="13"/>
                    <a:pt x="149" y="13"/>
                    <a:pt x="149" y="13"/>
                  </a:cubicBezTo>
                  <a:cubicBezTo>
                    <a:pt x="148" y="0"/>
                    <a:pt x="148" y="0"/>
                    <a:pt x="148" y="0"/>
                  </a:cubicBezTo>
                  <a:cubicBezTo>
                    <a:pt x="190" y="3"/>
                    <a:pt x="190" y="3"/>
                    <a:pt x="190" y="3"/>
                  </a:cubicBezTo>
                  <a:cubicBezTo>
                    <a:pt x="337" y="113"/>
                    <a:pt x="337" y="113"/>
                    <a:pt x="337" y="113"/>
                  </a:cubicBezTo>
                  <a:cubicBezTo>
                    <a:pt x="337" y="113"/>
                    <a:pt x="330" y="119"/>
                    <a:pt x="337" y="121"/>
                  </a:cubicBezTo>
                  <a:cubicBezTo>
                    <a:pt x="344" y="124"/>
                    <a:pt x="344" y="121"/>
                    <a:pt x="346" y="126"/>
                  </a:cubicBezTo>
                  <a:cubicBezTo>
                    <a:pt x="349" y="131"/>
                    <a:pt x="343" y="134"/>
                    <a:pt x="352" y="135"/>
                  </a:cubicBezTo>
                  <a:cubicBezTo>
                    <a:pt x="360" y="136"/>
                    <a:pt x="361" y="130"/>
                    <a:pt x="364" y="135"/>
                  </a:cubicBezTo>
                  <a:cubicBezTo>
                    <a:pt x="367" y="139"/>
                    <a:pt x="360" y="139"/>
                    <a:pt x="369" y="141"/>
                  </a:cubicBezTo>
                  <a:cubicBezTo>
                    <a:pt x="379" y="143"/>
                    <a:pt x="380" y="139"/>
                    <a:pt x="381" y="144"/>
                  </a:cubicBezTo>
                  <a:cubicBezTo>
                    <a:pt x="383" y="149"/>
                    <a:pt x="385" y="149"/>
                    <a:pt x="385" y="155"/>
                  </a:cubicBezTo>
                  <a:cubicBezTo>
                    <a:pt x="385" y="161"/>
                    <a:pt x="375" y="166"/>
                    <a:pt x="385" y="167"/>
                  </a:cubicBezTo>
                  <a:cubicBezTo>
                    <a:pt x="395" y="168"/>
                    <a:pt x="389" y="168"/>
                    <a:pt x="402" y="167"/>
                  </a:cubicBezTo>
                  <a:cubicBezTo>
                    <a:pt x="405" y="167"/>
                    <a:pt x="408" y="166"/>
                    <a:pt x="411" y="166"/>
                  </a:cubicBezTo>
                  <a:cubicBezTo>
                    <a:pt x="411" y="171"/>
                    <a:pt x="411" y="183"/>
                    <a:pt x="411" y="183"/>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00" name="Freeform 889">
              <a:extLst>
                <a:ext uri="{FF2B5EF4-FFF2-40B4-BE49-F238E27FC236}">
                  <a16:creationId xmlns:a16="http://schemas.microsoft.com/office/drawing/2014/main" id="{79F419E2-652E-C440-99B6-E5A991957E57}"/>
                </a:ext>
              </a:extLst>
            </p:cNvPr>
            <p:cNvSpPr>
              <a:spLocks/>
            </p:cNvSpPr>
            <p:nvPr/>
          </p:nvSpPr>
          <p:spPr bwMode="auto">
            <a:xfrm>
              <a:off x="4030675" y="2041982"/>
              <a:ext cx="377826" cy="311150"/>
            </a:xfrm>
            <a:custGeom>
              <a:avLst/>
              <a:gdLst>
                <a:gd name="T0" fmla="*/ 385 w 397"/>
                <a:gd name="T1" fmla="*/ 123 h 327"/>
                <a:gd name="T2" fmla="*/ 371 w 397"/>
                <a:gd name="T3" fmla="*/ 196 h 327"/>
                <a:gd name="T4" fmla="*/ 340 w 397"/>
                <a:gd name="T5" fmla="*/ 244 h 327"/>
                <a:gd name="T6" fmla="*/ 336 w 397"/>
                <a:gd name="T7" fmla="*/ 272 h 327"/>
                <a:gd name="T8" fmla="*/ 323 w 397"/>
                <a:gd name="T9" fmla="*/ 277 h 327"/>
                <a:gd name="T10" fmla="*/ 298 w 397"/>
                <a:gd name="T11" fmla="*/ 288 h 327"/>
                <a:gd name="T12" fmla="*/ 264 w 397"/>
                <a:gd name="T13" fmla="*/ 281 h 327"/>
                <a:gd name="T14" fmla="*/ 234 w 397"/>
                <a:gd name="T15" fmla="*/ 298 h 327"/>
                <a:gd name="T16" fmla="*/ 197 w 397"/>
                <a:gd name="T17" fmla="*/ 283 h 327"/>
                <a:gd name="T18" fmla="*/ 173 w 397"/>
                <a:gd name="T19" fmla="*/ 292 h 327"/>
                <a:gd name="T20" fmla="*/ 153 w 397"/>
                <a:gd name="T21" fmla="*/ 273 h 327"/>
                <a:gd name="T22" fmla="*/ 129 w 397"/>
                <a:gd name="T23" fmla="*/ 270 h 327"/>
                <a:gd name="T24" fmla="*/ 108 w 397"/>
                <a:gd name="T25" fmla="*/ 276 h 327"/>
                <a:gd name="T26" fmla="*/ 96 w 397"/>
                <a:gd name="T27" fmla="*/ 302 h 327"/>
                <a:gd name="T28" fmla="*/ 88 w 397"/>
                <a:gd name="T29" fmla="*/ 327 h 327"/>
                <a:gd name="T30" fmla="*/ 75 w 397"/>
                <a:gd name="T31" fmla="*/ 313 h 327"/>
                <a:gd name="T32" fmla="*/ 58 w 397"/>
                <a:gd name="T33" fmla="*/ 314 h 327"/>
                <a:gd name="T34" fmla="*/ 51 w 397"/>
                <a:gd name="T35" fmla="*/ 318 h 327"/>
                <a:gd name="T36" fmla="*/ 54 w 397"/>
                <a:gd name="T37" fmla="*/ 302 h 327"/>
                <a:gd name="T38" fmla="*/ 36 w 397"/>
                <a:gd name="T39" fmla="*/ 300 h 327"/>
                <a:gd name="T40" fmla="*/ 26 w 397"/>
                <a:gd name="T41" fmla="*/ 282 h 327"/>
                <a:gd name="T42" fmla="*/ 12 w 397"/>
                <a:gd name="T43" fmla="*/ 268 h 327"/>
                <a:gd name="T44" fmla="*/ 6 w 397"/>
                <a:gd name="T45" fmla="*/ 246 h 327"/>
                <a:gd name="T46" fmla="*/ 16 w 397"/>
                <a:gd name="T47" fmla="*/ 236 h 327"/>
                <a:gd name="T48" fmla="*/ 33 w 397"/>
                <a:gd name="T49" fmla="*/ 229 h 327"/>
                <a:gd name="T50" fmla="*/ 58 w 397"/>
                <a:gd name="T51" fmla="*/ 226 h 327"/>
                <a:gd name="T52" fmla="*/ 86 w 397"/>
                <a:gd name="T53" fmla="*/ 225 h 327"/>
                <a:gd name="T54" fmla="*/ 97 w 397"/>
                <a:gd name="T55" fmla="*/ 207 h 327"/>
                <a:gd name="T56" fmla="*/ 104 w 397"/>
                <a:gd name="T57" fmla="*/ 180 h 327"/>
                <a:gd name="T58" fmla="*/ 106 w 397"/>
                <a:gd name="T59" fmla="*/ 121 h 327"/>
                <a:gd name="T60" fmla="*/ 149 w 397"/>
                <a:gd name="T61" fmla="*/ 106 h 327"/>
                <a:gd name="T62" fmla="*/ 307 w 397"/>
                <a:gd name="T63" fmla="*/ 0 h 327"/>
                <a:gd name="T64" fmla="*/ 368 w 397"/>
                <a:gd name="T65" fmla="*/ 14 h 327"/>
                <a:gd name="T66" fmla="*/ 381 w 397"/>
                <a:gd name="T67" fmla="*/ 65 h 327"/>
                <a:gd name="T68" fmla="*/ 392 w 397"/>
                <a:gd name="T69" fmla="*/ 94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7" h="327">
                  <a:moveTo>
                    <a:pt x="392" y="94"/>
                  </a:moveTo>
                  <a:cubicBezTo>
                    <a:pt x="386" y="102"/>
                    <a:pt x="386" y="105"/>
                    <a:pt x="385" y="123"/>
                  </a:cubicBezTo>
                  <a:cubicBezTo>
                    <a:pt x="385" y="140"/>
                    <a:pt x="381" y="167"/>
                    <a:pt x="381" y="173"/>
                  </a:cubicBezTo>
                  <a:cubicBezTo>
                    <a:pt x="381" y="179"/>
                    <a:pt x="379" y="188"/>
                    <a:pt x="371" y="196"/>
                  </a:cubicBezTo>
                  <a:cubicBezTo>
                    <a:pt x="363" y="204"/>
                    <a:pt x="357" y="217"/>
                    <a:pt x="352" y="224"/>
                  </a:cubicBezTo>
                  <a:cubicBezTo>
                    <a:pt x="347" y="232"/>
                    <a:pt x="343" y="236"/>
                    <a:pt x="340" y="244"/>
                  </a:cubicBezTo>
                  <a:cubicBezTo>
                    <a:pt x="336" y="251"/>
                    <a:pt x="329" y="260"/>
                    <a:pt x="333" y="267"/>
                  </a:cubicBezTo>
                  <a:cubicBezTo>
                    <a:pt x="334" y="269"/>
                    <a:pt x="335" y="271"/>
                    <a:pt x="336" y="272"/>
                  </a:cubicBezTo>
                  <a:cubicBezTo>
                    <a:pt x="336" y="273"/>
                    <a:pt x="335" y="273"/>
                    <a:pt x="335" y="274"/>
                  </a:cubicBezTo>
                  <a:cubicBezTo>
                    <a:pt x="333" y="275"/>
                    <a:pt x="331" y="276"/>
                    <a:pt x="323" y="277"/>
                  </a:cubicBezTo>
                  <a:cubicBezTo>
                    <a:pt x="316" y="278"/>
                    <a:pt x="317" y="280"/>
                    <a:pt x="315" y="283"/>
                  </a:cubicBezTo>
                  <a:cubicBezTo>
                    <a:pt x="312" y="286"/>
                    <a:pt x="309" y="290"/>
                    <a:pt x="298" y="288"/>
                  </a:cubicBezTo>
                  <a:cubicBezTo>
                    <a:pt x="288" y="286"/>
                    <a:pt x="294" y="287"/>
                    <a:pt x="280" y="281"/>
                  </a:cubicBezTo>
                  <a:cubicBezTo>
                    <a:pt x="266" y="275"/>
                    <a:pt x="278" y="281"/>
                    <a:pt x="264" y="281"/>
                  </a:cubicBezTo>
                  <a:cubicBezTo>
                    <a:pt x="249" y="281"/>
                    <a:pt x="250" y="286"/>
                    <a:pt x="246" y="289"/>
                  </a:cubicBezTo>
                  <a:cubicBezTo>
                    <a:pt x="241" y="292"/>
                    <a:pt x="240" y="296"/>
                    <a:pt x="234" y="298"/>
                  </a:cubicBezTo>
                  <a:cubicBezTo>
                    <a:pt x="229" y="299"/>
                    <a:pt x="224" y="296"/>
                    <a:pt x="216" y="293"/>
                  </a:cubicBezTo>
                  <a:cubicBezTo>
                    <a:pt x="207" y="289"/>
                    <a:pt x="203" y="286"/>
                    <a:pt x="197" y="283"/>
                  </a:cubicBezTo>
                  <a:cubicBezTo>
                    <a:pt x="191" y="280"/>
                    <a:pt x="191" y="284"/>
                    <a:pt x="185" y="288"/>
                  </a:cubicBezTo>
                  <a:cubicBezTo>
                    <a:pt x="179" y="292"/>
                    <a:pt x="179" y="292"/>
                    <a:pt x="173" y="292"/>
                  </a:cubicBezTo>
                  <a:cubicBezTo>
                    <a:pt x="168" y="292"/>
                    <a:pt x="169" y="289"/>
                    <a:pt x="164" y="284"/>
                  </a:cubicBezTo>
                  <a:cubicBezTo>
                    <a:pt x="159" y="278"/>
                    <a:pt x="162" y="275"/>
                    <a:pt x="153" y="273"/>
                  </a:cubicBezTo>
                  <a:cubicBezTo>
                    <a:pt x="143" y="272"/>
                    <a:pt x="142" y="268"/>
                    <a:pt x="141" y="268"/>
                  </a:cubicBezTo>
                  <a:cubicBezTo>
                    <a:pt x="140" y="267"/>
                    <a:pt x="132" y="268"/>
                    <a:pt x="129" y="270"/>
                  </a:cubicBezTo>
                  <a:cubicBezTo>
                    <a:pt x="125" y="272"/>
                    <a:pt x="122" y="271"/>
                    <a:pt x="115" y="270"/>
                  </a:cubicBezTo>
                  <a:cubicBezTo>
                    <a:pt x="109" y="269"/>
                    <a:pt x="111" y="274"/>
                    <a:pt x="108" y="276"/>
                  </a:cubicBezTo>
                  <a:cubicBezTo>
                    <a:pt x="105" y="278"/>
                    <a:pt x="102" y="282"/>
                    <a:pt x="102" y="286"/>
                  </a:cubicBezTo>
                  <a:cubicBezTo>
                    <a:pt x="102" y="290"/>
                    <a:pt x="101" y="299"/>
                    <a:pt x="96" y="302"/>
                  </a:cubicBezTo>
                  <a:cubicBezTo>
                    <a:pt x="91" y="305"/>
                    <a:pt x="90" y="316"/>
                    <a:pt x="90" y="320"/>
                  </a:cubicBezTo>
                  <a:cubicBezTo>
                    <a:pt x="90" y="323"/>
                    <a:pt x="89" y="326"/>
                    <a:pt x="88" y="327"/>
                  </a:cubicBezTo>
                  <a:cubicBezTo>
                    <a:pt x="88" y="326"/>
                    <a:pt x="87" y="325"/>
                    <a:pt x="86" y="324"/>
                  </a:cubicBezTo>
                  <a:cubicBezTo>
                    <a:pt x="81" y="322"/>
                    <a:pt x="80" y="316"/>
                    <a:pt x="75" y="313"/>
                  </a:cubicBezTo>
                  <a:cubicBezTo>
                    <a:pt x="69" y="310"/>
                    <a:pt x="71" y="308"/>
                    <a:pt x="67" y="310"/>
                  </a:cubicBezTo>
                  <a:cubicBezTo>
                    <a:pt x="62" y="312"/>
                    <a:pt x="58" y="308"/>
                    <a:pt x="58" y="314"/>
                  </a:cubicBezTo>
                  <a:cubicBezTo>
                    <a:pt x="58" y="319"/>
                    <a:pt x="58" y="319"/>
                    <a:pt x="58" y="322"/>
                  </a:cubicBezTo>
                  <a:cubicBezTo>
                    <a:pt x="56" y="321"/>
                    <a:pt x="53" y="319"/>
                    <a:pt x="51" y="318"/>
                  </a:cubicBezTo>
                  <a:cubicBezTo>
                    <a:pt x="48" y="316"/>
                    <a:pt x="53" y="310"/>
                    <a:pt x="54" y="310"/>
                  </a:cubicBezTo>
                  <a:cubicBezTo>
                    <a:pt x="55" y="309"/>
                    <a:pt x="54" y="306"/>
                    <a:pt x="54" y="302"/>
                  </a:cubicBezTo>
                  <a:cubicBezTo>
                    <a:pt x="54" y="298"/>
                    <a:pt x="50" y="300"/>
                    <a:pt x="45" y="301"/>
                  </a:cubicBezTo>
                  <a:cubicBezTo>
                    <a:pt x="41" y="303"/>
                    <a:pt x="42" y="301"/>
                    <a:pt x="36" y="300"/>
                  </a:cubicBezTo>
                  <a:cubicBezTo>
                    <a:pt x="30" y="299"/>
                    <a:pt x="30" y="297"/>
                    <a:pt x="27" y="292"/>
                  </a:cubicBezTo>
                  <a:cubicBezTo>
                    <a:pt x="23" y="288"/>
                    <a:pt x="24" y="285"/>
                    <a:pt x="26" y="282"/>
                  </a:cubicBezTo>
                  <a:cubicBezTo>
                    <a:pt x="28" y="279"/>
                    <a:pt x="26" y="278"/>
                    <a:pt x="23" y="276"/>
                  </a:cubicBezTo>
                  <a:cubicBezTo>
                    <a:pt x="19" y="273"/>
                    <a:pt x="18" y="276"/>
                    <a:pt x="12" y="268"/>
                  </a:cubicBezTo>
                  <a:cubicBezTo>
                    <a:pt x="6" y="260"/>
                    <a:pt x="11" y="264"/>
                    <a:pt x="6" y="255"/>
                  </a:cubicBezTo>
                  <a:cubicBezTo>
                    <a:pt x="0" y="246"/>
                    <a:pt x="6" y="248"/>
                    <a:pt x="6" y="246"/>
                  </a:cubicBezTo>
                  <a:cubicBezTo>
                    <a:pt x="6" y="243"/>
                    <a:pt x="4" y="240"/>
                    <a:pt x="4" y="237"/>
                  </a:cubicBezTo>
                  <a:cubicBezTo>
                    <a:pt x="7" y="238"/>
                    <a:pt x="8" y="236"/>
                    <a:pt x="16" y="236"/>
                  </a:cubicBezTo>
                  <a:cubicBezTo>
                    <a:pt x="25" y="236"/>
                    <a:pt x="18" y="236"/>
                    <a:pt x="26" y="234"/>
                  </a:cubicBezTo>
                  <a:cubicBezTo>
                    <a:pt x="35" y="233"/>
                    <a:pt x="30" y="232"/>
                    <a:pt x="33" y="229"/>
                  </a:cubicBezTo>
                  <a:cubicBezTo>
                    <a:pt x="35" y="226"/>
                    <a:pt x="37" y="229"/>
                    <a:pt x="47" y="227"/>
                  </a:cubicBezTo>
                  <a:cubicBezTo>
                    <a:pt x="57" y="226"/>
                    <a:pt x="52" y="227"/>
                    <a:pt x="58" y="226"/>
                  </a:cubicBezTo>
                  <a:cubicBezTo>
                    <a:pt x="64" y="224"/>
                    <a:pt x="64" y="226"/>
                    <a:pt x="74" y="225"/>
                  </a:cubicBezTo>
                  <a:cubicBezTo>
                    <a:pt x="85" y="223"/>
                    <a:pt x="80" y="227"/>
                    <a:pt x="86" y="225"/>
                  </a:cubicBezTo>
                  <a:cubicBezTo>
                    <a:pt x="92" y="223"/>
                    <a:pt x="89" y="223"/>
                    <a:pt x="95" y="217"/>
                  </a:cubicBezTo>
                  <a:cubicBezTo>
                    <a:pt x="101" y="211"/>
                    <a:pt x="97" y="212"/>
                    <a:pt x="97" y="207"/>
                  </a:cubicBezTo>
                  <a:cubicBezTo>
                    <a:pt x="97" y="202"/>
                    <a:pt x="103" y="199"/>
                    <a:pt x="103" y="199"/>
                  </a:cubicBezTo>
                  <a:cubicBezTo>
                    <a:pt x="104" y="180"/>
                    <a:pt x="104" y="180"/>
                    <a:pt x="104" y="180"/>
                  </a:cubicBezTo>
                  <a:cubicBezTo>
                    <a:pt x="106" y="138"/>
                    <a:pt x="106" y="138"/>
                    <a:pt x="106" y="138"/>
                  </a:cubicBezTo>
                  <a:cubicBezTo>
                    <a:pt x="106" y="138"/>
                    <a:pt x="106" y="126"/>
                    <a:pt x="106" y="121"/>
                  </a:cubicBezTo>
                  <a:cubicBezTo>
                    <a:pt x="113" y="120"/>
                    <a:pt x="117" y="118"/>
                    <a:pt x="126" y="117"/>
                  </a:cubicBezTo>
                  <a:cubicBezTo>
                    <a:pt x="137" y="115"/>
                    <a:pt x="139" y="113"/>
                    <a:pt x="149" y="106"/>
                  </a:cubicBezTo>
                  <a:cubicBezTo>
                    <a:pt x="159" y="98"/>
                    <a:pt x="210" y="51"/>
                    <a:pt x="292" y="0"/>
                  </a:cubicBezTo>
                  <a:cubicBezTo>
                    <a:pt x="296" y="0"/>
                    <a:pt x="300" y="0"/>
                    <a:pt x="307" y="0"/>
                  </a:cubicBezTo>
                  <a:cubicBezTo>
                    <a:pt x="332" y="2"/>
                    <a:pt x="349" y="23"/>
                    <a:pt x="352" y="23"/>
                  </a:cubicBezTo>
                  <a:cubicBezTo>
                    <a:pt x="354" y="23"/>
                    <a:pt x="361" y="19"/>
                    <a:pt x="368" y="14"/>
                  </a:cubicBezTo>
                  <a:cubicBezTo>
                    <a:pt x="370" y="21"/>
                    <a:pt x="373" y="37"/>
                    <a:pt x="373" y="43"/>
                  </a:cubicBezTo>
                  <a:cubicBezTo>
                    <a:pt x="373" y="51"/>
                    <a:pt x="374" y="52"/>
                    <a:pt x="381" y="65"/>
                  </a:cubicBezTo>
                  <a:cubicBezTo>
                    <a:pt x="388" y="77"/>
                    <a:pt x="384" y="78"/>
                    <a:pt x="389" y="84"/>
                  </a:cubicBezTo>
                  <a:cubicBezTo>
                    <a:pt x="393" y="90"/>
                    <a:pt x="397" y="86"/>
                    <a:pt x="392" y="94"/>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01" name="Freeform 890">
              <a:extLst>
                <a:ext uri="{FF2B5EF4-FFF2-40B4-BE49-F238E27FC236}">
                  <a16:creationId xmlns:a16="http://schemas.microsoft.com/office/drawing/2014/main" id="{1862025D-4062-1A41-BF85-079B28882BC7}"/>
                </a:ext>
              </a:extLst>
            </p:cNvPr>
            <p:cNvSpPr>
              <a:spLocks/>
            </p:cNvSpPr>
            <p:nvPr/>
          </p:nvSpPr>
          <p:spPr bwMode="auto">
            <a:xfrm>
              <a:off x="4345001" y="2040394"/>
              <a:ext cx="250826" cy="427038"/>
            </a:xfrm>
            <a:custGeom>
              <a:avLst/>
              <a:gdLst>
                <a:gd name="T0" fmla="*/ 246 w 265"/>
                <a:gd name="T1" fmla="*/ 220 h 448"/>
                <a:gd name="T2" fmla="*/ 232 w 265"/>
                <a:gd name="T3" fmla="*/ 244 h 448"/>
                <a:gd name="T4" fmla="*/ 228 w 265"/>
                <a:gd name="T5" fmla="*/ 263 h 448"/>
                <a:gd name="T6" fmla="*/ 221 w 265"/>
                <a:gd name="T7" fmla="*/ 283 h 448"/>
                <a:gd name="T8" fmla="*/ 226 w 265"/>
                <a:gd name="T9" fmla="*/ 305 h 448"/>
                <a:gd name="T10" fmla="*/ 230 w 265"/>
                <a:gd name="T11" fmla="*/ 330 h 448"/>
                <a:gd name="T12" fmla="*/ 242 w 265"/>
                <a:gd name="T13" fmla="*/ 346 h 448"/>
                <a:gd name="T14" fmla="*/ 233 w 265"/>
                <a:gd name="T15" fmla="*/ 350 h 448"/>
                <a:gd name="T16" fmla="*/ 211 w 265"/>
                <a:gd name="T17" fmla="*/ 362 h 448"/>
                <a:gd name="T18" fmla="*/ 192 w 265"/>
                <a:gd name="T19" fmla="*/ 389 h 448"/>
                <a:gd name="T20" fmla="*/ 156 w 265"/>
                <a:gd name="T21" fmla="*/ 405 h 448"/>
                <a:gd name="T22" fmla="*/ 144 w 265"/>
                <a:gd name="T23" fmla="*/ 413 h 448"/>
                <a:gd name="T24" fmla="*/ 128 w 265"/>
                <a:gd name="T25" fmla="*/ 434 h 448"/>
                <a:gd name="T26" fmla="*/ 98 w 265"/>
                <a:gd name="T27" fmla="*/ 440 h 448"/>
                <a:gd name="T28" fmla="*/ 83 w 265"/>
                <a:gd name="T29" fmla="*/ 437 h 448"/>
                <a:gd name="T30" fmla="*/ 61 w 265"/>
                <a:gd name="T31" fmla="*/ 448 h 448"/>
                <a:gd name="T32" fmla="*/ 56 w 265"/>
                <a:gd name="T33" fmla="*/ 442 h 448"/>
                <a:gd name="T34" fmla="*/ 43 w 265"/>
                <a:gd name="T35" fmla="*/ 418 h 448"/>
                <a:gd name="T36" fmla="*/ 22 w 265"/>
                <a:gd name="T37" fmla="*/ 393 h 448"/>
                <a:gd name="T38" fmla="*/ 59 w 265"/>
                <a:gd name="T39" fmla="*/ 378 h 448"/>
                <a:gd name="T40" fmla="*/ 45 w 265"/>
                <a:gd name="T41" fmla="*/ 352 h 448"/>
                <a:gd name="T42" fmla="*/ 42 w 265"/>
                <a:gd name="T43" fmla="*/ 318 h 448"/>
                <a:gd name="T44" fmla="*/ 32 w 265"/>
                <a:gd name="T45" fmla="*/ 299 h 448"/>
                <a:gd name="T46" fmla="*/ 18 w 265"/>
                <a:gd name="T47" fmla="*/ 290 h 448"/>
                <a:gd name="T48" fmla="*/ 7 w 265"/>
                <a:gd name="T49" fmla="*/ 273 h 448"/>
                <a:gd name="T50" fmla="*/ 11 w 265"/>
                <a:gd name="T51" fmla="*/ 245 h 448"/>
                <a:gd name="T52" fmla="*/ 42 w 265"/>
                <a:gd name="T53" fmla="*/ 197 h 448"/>
                <a:gd name="T54" fmla="*/ 56 w 265"/>
                <a:gd name="T55" fmla="*/ 124 h 448"/>
                <a:gd name="T56" fmla="*/ 60 w 265"/>
                <a:gd name="T57" fmla="*/ 85 h 448"/>
                <a:gd name="T58" fmla="*/ 44 w 265"/>
                <a:gd name="T59" fmla="*/ 44 h 448"/>
                <a:gd name="T60" fmla="*/ 66 w 265"/>
                <a:gd name="T61" fmla="*/ 1 h 448"/>
                <a:gd name="T62" fmla="*/ 261 w 265"/>
                <a:gd name="T63" fmla="*/ 111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5" h="448">
                  <a:moveTo>
                    <a:pt x="265" y="216"/>
                  </a:moveTo>
                  <a:cubicBezTo>
                    <a:pt x="265" y="216"/>
                    <a:pt x="252" y="216"/>
                    <a:pt x="246" y="220"/>
                  </a:cubicBezTo>
                  <a:cubicBezTo>
                    <a:pt x="239" y="224"/>
                    <a:pt x="239" y="223"/>
                    <a:pt x="238" y="230"/>
                  </a:cubicBezTo>
                  <a:cubicBezTo>
                    <a:pt x="237" y="237"/>
                    <a:pt x="235" y="241"/>
                    <a:pt x="232" y="244"/>
                  </a:cubicBezTo>
                  <a:cubicBezTo>
                    <a:pt x="228" y="247"/>
                    <a:pt x="226" y="249"/>
                    <a:pt x="227" y="254"/>
                  </a:cubicBezTo>
                  <a:cubicBezTo>
                    <a:pt x="227" y="258"/>
                    <a:pt x="234" y="261"/>
                    <a:pt x="228" y="263"/>
                  </a:cubicBezTo>
                  <a:cubicBezTo>
                    <a:pt x="223" y="266"/>
                    <a:pt x="216" y="268"/>
                    <a:pt x="217" y="273"/>
                  </a:cubicBezTo>
                  <a:cubicBezTo>
                    <a:pt x="219" y="279"/>
                    <a:pt x="226" y="276"/>
                    <a:pt x="221" y="283"/>
                  </a:cubicBezTo>
                  <a:cubicBezTo>
                    <a:pt x="216" y="291"/>
                    <a:pt x="202" y="301"/>
                    <a:pt x="213" y="301"/>
                  </a:cubicBezTo>
                  <a:cubicBezTo>
                    <a:pt x="223" y="301"/>
                    <a:pt x="226" y="298"/>
                    <a:pt x="226" y="305"/>
                  </a:cubicBezTo>
                  <a:cubicBezTo>
                    <a:pt x="226" y="312"/>
                    <a:pt x="227" y="316"/>
                    <a:pt x="230" y="320"/>
                  </a:cubicBezTo>
                  <a:cubicBezTo>
                    <a:pt x="232" y="325"/>
                    <a:pt x="230" y="326"/>
                    <a:pt x="230" y="330"/>
                  </a:cubicBezTo>
                  <a:cubicBezTo>
                    <a:pt x="230" y="335"/>
                    <a:pt x="233" y="339"/>
                    <a:pt x="237" y="341"/>
                  </a:cubicBezTo>
                  <a:cubicBezTo>
                    <a:pt x="241" y="342"/>
                    <a:pt x="246" y="342"/>
                    <a:pt x="242" y="346"/>
                  </a:cubicBezTo>
                  <a:cubicBezTo>
                    <a:pt x="238" y="350"/>
                    <a:pt x="240" y="351"/>
                    <a:pt x="242" y="355"/>
                  </a:cubicBezTo>
                  <a:cubicBezTo>
                    <a:pt x="242" y="355"/>
                    <a:pt x="237" y="353"/>
                    <a:pt x="233" y="350"/>
                  </a:cubicBezTo>
                  <a:cubicBezTo>
                    <a:pt x="228" y="346"/>
                    <a:pt x="224" y="352"/>
                    <a:pt x="217" y="353"/>
                  </a:cubicBezTo>
                  <a:cubicBezTo>
                    <a:pt x="210" y="355"/>
                    <a:pt x="214" y="357"/>
                    <a:pt x="211" y="362"/>
                  </a:cubicBezTo>
                  <a:cubicBezTo>
                    <a:pt x="207" y="367"/>
                    <a:pt x="209" y="370"/>
                    <a:pt x="205" y="373"/>
                  </a:cubicBezTo>
                  <a:cubicBezTo>
                    <a:pt x="202" y="377"/>
                    <a:pt x="199" y="381"/>
                    <a:pt x="192" y="389"/>
                  </a:cubicBezTo>
                  <a:cubicBezTo>
                    <a:pt x="185" y="397"/>
                    <a:pt x="182" y="395"/>
                    <a:pt x="178" y="401"/>
                  </a:cubicBezTo>
                  <a:cubicBezTo>
                    <a:pt x="174" y="406"/>
                    <a:pt x="172" y="405"/>
                    <a:pt x="156" y="405"/>
                  </a:cubicBezTo>
                  <a:cubicBezTo>
                    <a:pt x="139" y="405"/>
                    <a:pt x="146" y="406"/>
                    <a:pt x="141" y="407"/>
                  </a:cubicBezTo>
                  <a:cubicBezTo>
                    <a:pt x="135" y="407"/>
                    <a:pt x="141" y="408"/>
                    <a:pt x="144" y="413"/>
                  </a:cubicBezTo>
                  <a:cubicBezTo>
                    <a:pt x="148" y="417"/>
                    <a:pt x="143" y="417"/>
                    <a:pt x="141" y="424"/>
                  </a:cubicBezTo>
                  <a:cubicBezTo>
                    <a:pt x="138" y="431"/>
                    <a:pt x="137" y="430"/>
                    <a:pt x="128" y="434"/>
                  </a:cubicBezTo>
                  <a:cubicBezTo>
                    <a:pt x="119" y="437"/>
                    <a:pt x="123" y="435"/>
                    <a:pt x="110" y="435"/>
                  </a:cubicBezTo>
                  <a:cubicBezTo>
                    <a:pt x="96" y="435"/>
                    <a:pt x="106" y="436"/>
                    <a:pt x="98" y="440"/>
                  </a:cubicBezTo>
                  <a:cubicBezTo>
                    <a:pt x="89" y="445"/>
                    <a:pt x="94" y="448"/>
                    <a:pt x="86" y="445"/>
                  </a:cubicBezTo>
                  <a:cubicBezTo>
                    <a:pt x="77" y="442"/>
                    <a:pt x="82" y="442"/>
                    <a:pt x="83" y="437"/>
                  </a:cubicBezTo>
                  <a:cubicBezTo>
                    <a:pt x="83" y="432"/>
                    <a:pt x="81" y="439"/>
                    <a:pt x="75" y="442"/>
                  </a:cubicBezTo>
                  <a:cubicBezTo>
                    <a:pt x="69" y="446"/>
                    <a:pt x="71" y="448"/>
                    <a:pt x="61" y="448"/>
                  </a:cubicBezTo>
                  <a:cubicBezTo>
                    <a:pt x="58" y="448"/>
                    <a:pt x="57" y="447"/>
                    <a:pt x="56" y="447"/>
                  </a:cubicBezTo>
                  <a:cubicBezTo>
                    <a:pt x="54" y="446"/>
                    <a:pt x="56" y="445"/>
                    <a:pt x="56" y="442"/>
                  </a:cubicBezTo>
                  <a:cubicBezTo>
                    <a:pt x="56" y="439"/>
                    <a:pt x="52" y="436"/>
                    <a:pt x="51" y="428"/>
                  </a:cubicBezTo>
                  <a:cubicBezTo>
                    <a:pt x="50" y="420"/>
                    <a:pt x="47" y="423"/>
                    <a:pt x="43" y="418"/>
                  </a:cubicBezTo>
                  <a:cubicBezTo>
                    <a:pt x="39" y="412"/>
                    <a:pt x="38" y="412"/>
                    <a:pt x="33" y="407"/>
                  </a:cubicBezTo>
                  <a:cubicBezTo>
                    <a:pt x="28" y="402"/>
                    <a:pt x="28" y="401"/>
                    <a:pt x="22" y="393"/>
                  </a:cubicBezTo>
                  <a:cubicBezTo>
                    <a:pt x="15" y="386"/>
                    <a:pt x="21" y="385"/>
                    <a:pt x="24" y="378"/>
                  </a:cubicBezTo>
                  <a:cubicBezTo>
                    <a:pt x="28" y="372"/>
                    <a:pt x="55" y="379"/>
                    <a:pt x="59" y="378"/>
                  </a:cubicBezTo>
                  <a:cubicBezTo>
                    <a:pt x="62" y="378"/>
                    <a:pt x="54" y="374"/>
                    <a:pt x="50" y="369"/>
                  </a:cubicBezTo>
                  <a:cubicBezTo>
                    <a:pt x="47" y="364"/>
                    <a:pt x="48" y="362"/>
                    <a:pt x="45" y="352"/>
                  </a:cubicBezTo>
                  <a:cubicBezTo>
                    <a:pt x="42" y="342"/>
                    <a:pt x="45" y="341"/>
                    <a:pt x="45" y="332"/>
                  </a:cubicBezTo>
                  <a:cubicBezTo>
                    <a:pt x="45" y="324"/>
                    <a:pt x="45" y="325"/>
                    <a:pt x="42" y="318"/>
                  </a:cubicBezTo>
                  <a:cubicBezTo>
                    <a:pt x="39" y="312"/>
                    <a:pt x="42" y="315"/>
                    <a:pt x="40" y="307"/>
                  </a:cubicBezTo>
                  <a:cubicBezTo>
                    <a:pt x="38" y="299"/>
                    <a:pt x="33" y="302"/>
                    <a:pt x="32" y="299"/>
                  </a:cubicBezTo>
                  <a:cubicBezTo>
                    <a:pt x="30" y="295"/>
                    <a:pt x="30" y="291"/>
                    <a:pt x="28" y="291"/>
                  </a:cubicBezTo>
                  <a:cubicBezTo>
                    <a:pt x="27" y="290"/>
                    <a:pt x="21" y="290"/>
                    <a:pt x="18" y="290"/>
                  </a:cubicBezTo>
                  <a:cubicBezTo>
                    <a:pt x="17" y="289"/>
                    <a:pt x="17" y="287"/>
                    <a:pt x="16" y="286"/>
                  </a:cubicBezTo>
                  <a:cubicBezTo>
                    <a:pt x="13" y="282"/>
                    <a:pt x="10" y="278"/>
                    <a:pt x="7" y="273"/>
                  </a:cubicBezTo>
                  <a:cubicBezTo>
                    <a:pt x="6" y="272"/>
                    <a:pt x="5" y="270"/>
                    <a:pt x="4" y="268"/>
                  </a:cubicBezTo>
                  <a:cubicBezTo>
                    <a:pt x="0" y="261"/>
                    <a:pt x="7" y="252"/>
                    <a:pt x="11" y="245"/>
                  </a:cubicBezTo>
                  <a:cubicBezTo>
                    <a:pt x="14" y="237"/>
                    <a:pt x="18" y="233"/>
                    <a:pt x="23" y="225"/>
                  </a:cubicBezTo>
                  <a:cubicBezTo>
                    <a:pt x="28" y="218"/>
                    <a:pt x="34" y="205"/>
                    <a:pt x="42" y="197"/>
                  </a:cubicBezTo>
                  <a:cubicBezTo>
                    <a:pt x="50" y="189"/>
                    <a:pt x="52" y="180"/>
                    <a:pt x="52" y="174"/>
                  </a:cubicBezTo>
                  <a:cubicBezTo>
                    <a:pt x="52" y="168"/>
                    <a:pt x="56" y="141"/>
                    <a:pt x="56" y="124"/>
                  </a:cubicBezTo>
                  <a:cubicBezTo>
                    <a:pt x="57" y="106"/>
                    <a:pt x="57" y="103"/>
                    <a:pt x="63" y="95"/>
                  </a:cubicBezTo>
                  <a:cubicBezTo>
                    <a:pt x="68" y="87"/>
                    <a:pt x="64" y="91"/>
                    <a:pt x="60" y="85"/>
                  </a:cubicBezTo>
                  <a:cubicBezTo>
                    <a:pt x="55" y="79"/>
                    <a:pt x="59" y="78"/>
                    <a:pt x="52" y="66"/>
                  </a:cubicBezTo>
                  <a:cubicBezTo>
                    <a:pt x="45" y="53"/>
                    <a:pt x="44" y="52"/>
                    <a:pt x="44" y="44"/>
                  </a:cubicBezTo>
                  <a:cubicBezTo>
                    <a:pt x="44" y="38"/>
                    <a:pt x="41" y="22"/>
                    <a:pt x="39" y="15"/>
                  </a:cubicBezTo>
                  <a:cubicBezTo>
                    <a:pt x="50" y="9"/>
                    <a:pt x="62" y="2"/>
                    <a:pt x="66" y="1"/>
                  </a:cubicBezTo>
                  <a:cubicBezTo>
                    <a:pt x="73" y="0"/>
                    <a:pt x="251" y="106"/>
                    <a:pt x="259" y="110"/>
                  </a:cubicBezTo>
                  <a:cubicBezTo>
                    <a:pt x="260" y="111"/>
                    <a:pt x="260" y="111"/>
                    <a:pt x="261" y="111"/>
                  </a:cubicBezTo>
                  <a:lnTo>
                    <a:pt x="265" y="216"/>
                  </a:ln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02" name="Freeform 891">
              <a:extLst>
                <a:ext uri="{FF2B5EF4-FFF2-40B4-BE49-F238E27FC236}">
                  <a16:creationId xmlns:a16="http://schemas.microsoft.com/office/drawing/2014/main" id="{D5CF80ED-C4E9-7844-9324-9990F801124B}"/>
                </a:ext>
              </a:extLst>
            </p:cNvPr>
            <p:cNvSpPr>
              <a:spLocks/>
            </p:cNvSpPr>
            <p:nvPr/>
          </p:nvSpPr>
          <p:spPr bwMode="auto">
            <a:xfrm>
              <a:off x="4537090" y="2048332"/>
              <a:ext cx="401639" cy="387350"/>
            </a:xfrm>
            <a:custGeom>
              <a:avLst/>
              <a:gdLst>
                <a:gd name="T0" fmla="*/ 419 w 422"/>
                <a:gd name="T1" fmla="*/ 148 h 406"/>
                <a:gd name="T2" fmla="*/ 397 w 422"/>
                <a:gd name="T3" fmla="*/ 166 h 406"/>
                <a:gd name="T4" fmla="*/ 383 w 422"/>
                <a:gd name="T5" fmla="*/ 176 h 406"/>
                <a:gd name="T6" fmla="*/ 378 w 422"/>
                <a:gd name="T7" fmla="*/ 203 h 406"/>
                <a:gd name="T8" fmla="*/ 372 w 422"/>
                <a:gd name="T9" fmla="*/ 235 h 406"/>
                <a:gd name="T10" fmla="*/ 372 w 422"/>
                <a:gd name="T11" fmla="*/ 249 h 406"/>
                <a:gd name="T12" fmla="*/ 367 w 422"/>
                <a:gd name="T13" fmla="*/ 273 h 406"/>
                <a:gd name="T14" fmla="*/ 360 w 422"/>
                <a:gd name="T15" fmla="*/ 294 h 406"/>
                <a:gd name="T16" fmla="*/ 340 w 422"/>
                <a:gd name="T17" fmla="*/ 317 h 406"/>
                <a:gd name="T18" fmla="*/ 335 w 422"/>
                <a:gd name="T19" fmla="*/ 351 h 406"/>
                <a:gd name="T20" fmla="*/ 321 w 422"/>
                <a:gd name="T21" fmla="*/ 350 h 406"/>
                <a:gd name="T22" fmla="*/ 308 w 422"/>
                <a:gd name="T23" fmla="*/ 349 h 406"/>
                <a:gd name="T24" fmla="*/ 272 w 422"/>
                <a:gd name="T25" fmla="*/ 357 h 406"/>
                <a:gd name="T26" fmla="*/ 248 w 422"/>
                <a:gd name="T27" fmla="*/ 347 h 406"/>
                <a:gd name="T28" fmla="*/ 251 w 422"/>
                <a:gd name="T29" fmla="*/ 314 h 406"/>
                <a:gd name="T30" fmla="*/ 233 w 422"/>
                <a:gd name="T31" fmla="*/ 321 h 406"/>
                <a:gd name="T32" fmla="*/ 208 w 422"/>
                <a:gd name="T33" fmla="*/ 343 h 406"/>
                <a:gd name="T34" fmla="*/ 202 w 422"/>
                <a:gd name="T35" fmla="*/ 365 h 406"/>
                <a:gd name="T36" fmla="*/ 177 w 422"/>
                <a:gd name="T37" fmla="*/ 380 h 406"/>
                <a:gd name="T38" fmla="*/ 150 w 422"/>
                <a:gd name="T39" fmla="*/ 376 h 406"/>
                <a:gd name="T40" fmla="*/ 143 w 422"/>
                <a:gd name="T41" fmla="*/ 366 h 406"/>
                <a:gd name="T42" fmla="*/ 128 w 422"/>
                <a:gd name="T43" fmla="*/ 377 h 406"/>
                <a:gd name="T44" fmla="*/ 120 w 422"/>
                <a:gd name="T45" fmla="*/ 378 h 406"/>
                <a:gd name="T46" fmla="*/ 108 w 422"/>
                <a:gd name="T47" fmla="*/ 373 h 406"/>
                <a:gd name="T48" fmla="*/ 89 w 422"/>
                <a:gd name="T49" fmla="*/ 381 h 406"/>
                <a:gd name="T50" fmla="*/ 80 w 422"/>
                <a:gd name="T51" fmla="*/ 390 h 406"/>
                <a:gd name="T52" fmla="*/ 67 w 422"/>
                <a:gd name="T53" fmla="*/ 406 h 406"/>
                <a:gd name="T54" fmla="*/ 57 w 422"/>
                <a:gd name="T55" fmla="*/ 383 h 406"/>
                <a:gd name="T56" fmla="*/ 42 w 422"/>
                <a:gd name="T57" fmla="*/ 349 h 406"/>
                <a:gd name="T58" fmla="*/ 40 w 422"/>
                <a:gd name="T59" fmla="*/ 338 h 406"/>
                <a:gd name="T60" fmla="*/ 28 w 422"/>
                <a:gd name="T61" fmla="*/ 322 h 406"/>
                <a:gd name="T62" fmla="*/ 24 w 422"/>
                <a:gd name="T63" fmla="*/ 297 h 406"/>
                <a:gd name="T64" fmla="*/ 19 w 422"/>
                <a:gd name="T65" fmla="*/ 275 h 406"/>
                <a:gd name="T66" fmla="*/ 26 w 422"/>
                <a:gd name="T67" fmla="*/ 255 h 406"/>
                <a:gd name="T68" fmla="*/ 30 w 422"/>
                <a:gd name="T69" fmla="*/ 236 h 406"/>
                <a:gd name="T70" fmla="*/ 44 w 422"/>
                <a:gd name="T71" fmla="*/ 212 h 406"/>
                <a:gd name="T72" fmla="*/ 59 w 422"/>
                <a:gd name="T73" fmla="*/ 103 h 406"/>
                <a:gd name="T74" fmla="*/ 84 w 422"/>
                <a:gd name="T75" fmla="*/ 89 h 406"/>
                <a:gd name="T76" fmla="*/ 84 w 422"/>
                <a:gd name="T77" fmla="*/ 35 h 406"/>
                <a:gd name="T78" fmla="*/ 196 w 422"/>
                <a:gd name="T79" fmla="*/ 34 h 406"/>
                <a:gd name="T80" fmla="*/ 237 w 422"/>
                <a:gd name="T81" fmla="*/ 29 h 406"/>
                <a:gd name="T82" fmla="*/ 278 w 422"/>
                <a:gd name="T83" fmla="*/ 33 h 406"/>
                <a:gd name="T84" fmla="*/ 300 w 422"/>
                <a:gd name="T85" fmla="*/ 42 h 406"/>
                <a:gd name="T86" fmla="*/ 314 w 422"/>
                <a:gd name="T87" fmla="*/ 27 h 406"/>
                <a:gd name="T88" fmla="*/ 324 w 422"/>
                <a:gd name="T89" fmla="*/ 14 h 406"/>
                <a:gd name="T90" fmla="*/ 338 w 422"/>
                <a:gd name="T91" fmla="*/ 7 h 406"/>
                <a:gd name="T92" fmla="*/ 343 w 422"/>
                <a:gd name="T93" fmla="*/ 3 h 406"/>
                <a:gd name="T94" fmla="*/ 366 w 422"/>
                <a:gd name="T95" fmla="*/ 24 h 406"/>
                <a:gd name="T96" fmla="*/ 382 w 422"/>
                <a:gd name="T97" fmla="*/ 53 h 406"/>
                <a:gd name="T98" fmla="*/ 383 w 422"/>
                <a:gd name="T99" fmla="*/ 64 h 406"/>
                <a:gd name="T100" fmla="*/ 386 w 422"/>
                <a:gd name="T101" fmla="*/ 106 h 406"/>
                <a:gd name="T102" fmla="*/ 409 w 422"/>
                <a:gd name="T103" fmla="*/ 134 h 406"/>
                <a:gd name="T104" fmla="*/ 422 w 422"/>
                <a:gd name="T105" fmla="*/ 145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2" h="406">
                  <a:moveTo>
                    <a:pt x="422" y="145"/>
                  </a:moveTo>
                  <a:cubicBezTo>
                    <a:pt x="421" y="146"/>
                    <a:pt x="420" y="147"/>
                    <a:pt x="419" y="148"/>
                  </a:cubicBezTo>
                  <a:cubicBezTo>
                    <a:pt x="417" y="151"/>
                    <a:pt x="416" y="156"/>
                    <a:pt x="409" y="159"/>
                  </a:cubicBezTo>
                  <a:cubicBezTo>
                    <a:pt x="402" y="162"/>
                    <a:pt x="398" y="165"/>
                    <a:pt x="397" y="166"/>
                  </a:cubicBezTo>
                  <a:cubicBezTo>
                    <a:pt x="396" y="167"/>
                    <a:pt x="394" y="171"/>
                    <a:pt x="391" y="173"/>
                  </a:cubicBezTo>
                  <a:cubicBezTo>
                    <a:pt x="387" y="175"/>
                    <a:pt x="384" y="173"/>
                    <a:pt x="383" y="176"/>
                  </a:cubicBezTo>
                  <a:cubicBezTo>
                    <a:pt x="382" y="179"/>
                    <a:pt x="382" y="184"/>
                    <a:pt x="383" y="192"/>
                  </a:cubicBezTo>
                  <a:cubicBezTo>
                    <a:pt x="383" y="200"/>
                    <a:pt x="380" y="198"/>
                    <a:pt x="378" y="203"/>
                  </a:cubicBezTo>
                  <a:cubicBezTo>
                    <a:pt x="377" y="208"/>
                    <a:pt x="377" y="214"/>
                    <a:pt x="373" y="224"/>
                  </a:cubicBezTo>
                  <a:cubicBezTo>
                    <a:pt x="368" y="234"/>
                    <a:pt x="372" y="229"/>
                    <a:pt x="372" y="235"/>
                  </a:cubicBezTo>
                  <a:cubicBezTo>
                    <a:pt x="373" y="240"/>
                    <a:pt x="373" y="246"/>
                    <a:pt x="373" y="248"/>
                  </a:cubicBezTo>
                  <a:cubicBezTo>
                    <a:pt x="372" y="249"/>
                    <a:pt x="372" y="249"/>
                    <a:pt x="372" y="249"/>
                  </a:cubicBezTo>
                  <a:cubicBezTo>
                    <a:pt x="371" y="250"/>
                    <a:pt x="373" y="253"/>
                    <a:pt x="372" y="259"/>
                  </a:cubicBezTo>
                  <a:cubicBezTo>
                    <a:pt x="371" y="264"/>
                    <a:pt x="371" y="269"/>
                    <a:pt x="367" y="273"/>
                  </a:cubicBezTo>
                  <a:cubicBezTo>
                    <a:pt x="363" y="277"/>
                    <a:pt x="367" y="283"/>
                    <a:pt x="367" y="289"/>
                  </a:cubicBezTo>
                  <a:cubicBezTo>
                    <a:pt x="367" y="295"/>
                    <a:pt x="366" y="294"/>
                    <a:pt x="360" y="294"/>
                  </a:cubicBezTo>
                  <a:cubicBezTo>
                    <a:pt x="355" y="294"/>
                    <a:pt x="355" y="297"/>
                    <a:pt x="351" y="302"/>
                  </a:cubicBezTo>
                  <a:cubicBezTo>
                    <a:pt x="347" y="307"/>
                    <a:pt x="347" y="307"/>
                    <a:pt x="340" y="317"/>
                  </a:cubicBezTo>
                  <a:cubicBezTo>
                    <a:pt x="334" y="328"/>
                    <a:pt x="338" y="339"/>
                    <a:pt x="338" y="340"/>
                  </a:cubicBezTo>
                  <a:cubicBezTo>
                    <a:pt x="338" y="341"/>
                    <a:pt x="336" y="349"/>
                    <a:pt x="335" y="351"/>
                  </a:cubicBezTo>
                  <a:cubicBezTo>
                    <a:pt x="334" y="353"/>
                    <a:pt x="331" y="348"/>
                    <a:pt x="329" y="345"/>
                  </a:cubicBezTo>
                  <a:cubicBezTo>
                    <a:pt x="327" y="342"/>
                    <a:pt x="324" y="346"/>
                    <a:pt x="321" y="350"/>
                  </a:cubicBezTo>
                  <a:cubicBezTo>
                    <a:pt x="320" y="351"/>
                    <a:pt x="320" y="353"/>
                    <a:pt x="320" y="354"/>
                  </a:cubicBezTo>
                  <a:cubicBezTo>
                    <a:pt x="317" y="351"/>
                    <a:pt x="313" y="346"/>
                    <a:pt x="308" y="349"/>
                  </a:cubicBezTo>
                  <a:cubicBezTo>
                    <a:pt x="301" y="353"/>
                    <a:pt x="298" y="358"/>
                    <a:pt x="294" y="352"/>
                  </a:cubicBezTo>
                  <a:cubicBezTo>
                    <a:pt x="290" y="347"/>
                    <a:pt x="280" y="355"/>
                    <a:pt x="272" y="357"/>
                  </a:cubicBezTo>
                  <a:cubicBezTo>
                    <a:pt x="264" y="359"/>
                    <a:pt x="252" y="370"/>
                    <a:pt x="245" y="364"/>
                  </a:cubicBezTo>
                  <a:cubicBezTo>
                    <a:pt x="239" y="358"/>
                    <a:pt x="248" y="352"/>
                    <a:pt x="248" y="347"/>
                  </a:cubicBezTo>
                  <a:cubicBezTo>
                    <a:pt x="248" y="341"/>
                    <a:pt x="251" y="331"/>
                    <a:pt x="251" y="331"/>
                  </a:cubicBezTo>
                  <a:cubicBezTo>
                    <a:pt x="251" y="331"/>
                    <a:pt x="252" y="319"/>
                    <a:pt x="251" y="314"/>
                  </a:cubicBezTo>
                  <a:cubicBezTo>
                    <a:pt x="250" y="309"/>
                    <a:pt x="248" y="305"/>
                    <a:pt x="246" y="304"/>
                  </a:cubicBezTo>
                  <a:cubicBezTo>
                    <a:pt x="244" y="303"/>
                    <a:pt x="237" y="315"/>
                    <a:pt x="233" y="321"/>
                  </a:cubicBezTo>
                  <a:cubicBezTo>
                    <a:pt x="230" y="327"/>
                    <a:pt x="227" y="326"/>
                    <a:pt x="222" y="329"/>
                  </a:cubicBezTo>
                  <a:cubicBezTo>
                    <a:pt x="216" y="332"/>
                    <a:pt x="216" y="335"/>
                    <a:pt x="208" y="343"/>
                  </a:cubicBezTo>
                  <a:cubicBezTo>
                    <a:pt x="201" y="352"/>
                    <a:pt x="207" y="353"/>
                    <a:pt x="205" y="356"/>
                  </a:cubicBezTo>
                  <a:cubicBezTo>
                    <a:pt x="203" y="359"/>
                    <a:pt x="204" y="362"/>
                    <a:pt x="202" y="365"/>
                  </a:cubicBezTo>
                  <a:cubicBezTo>
                    <a:pt x="201" y="369"/>
                    <a:pt x="196" y="371"/>
                    <a:pt x="191" y="373"/>
                  </a:cubicBezTo>
                  <a:cubicBezTo>
                    <a:pt x="186" y="376"/>
                    <a:pt x="182" y="378"/>
                    <a:pt x="177" y="380"/>
                  </a:cubicBezTo>
                  <a:cubicBezTo>
                    <a:pt x="171" y="383"/>
                    <a:pt x="167" y="384"/>
                    <a:pt x="165" y="386"/>
                  </a:cubicBezTo>
                  <a:cubicBezTo>
                    <a:pt x="164" y="387"/>
                    <a:pt x="160" y="383"/>
                    <a:pt x="150" y="376"/>
                  </a:cubicBezTo>
                  <a:cubicBezTo>
                    <a:pt x="140" y="370"/>
                    <a:pt x="150" y="376"/>
                    <a:pt x="148" y="371"/>
                  </a:cubicBezTo>
                  <a:cubicBezTo>
                    <a:pt x="147" y="366"/>
                    <a:pt x="146" y="365"/>
                    <a:pt x="143" y="366"/>
                  </a:cubicBezTo>
                  <a:cubicBezTo>
                    <a:pt x="140" y="366"/>
                    <a:pt x="137" y="365"/>
                    <a:pt x="128" y="366"/>
                  </a:cubicBezTo>
                  <a:cubicBezTo>
                    <a:pt x="120" y="366"/>
                    <a:pt x="130" y="370"/>
                    <a:pt x="128" y="377"/>
                  </a:cubicBezTo>
                  <a:cubicBezTo>
                    <a:pt x="127" y="384"/>
                    <a:pt x="127" y="383"/>
                    <a:pt x="122" y="382"/>
                  </a:cubicBezTo>
                  <a:cubicBezTo>
                    <a:pt x="117" y="382"/>
                    <a:pt x="122" y="382"/>
                    <a:pt x="120" y="378"/>
                  </a:cubicBezTo>
                  <a:cubicBezTo>
                    <a:pt x="118" y="374"/>
                    <a:pt x="117" y="372"/>
                    <a:pt x="114" y="373"/>
                  </a:cubicBezTo>
                  <a:cubicBezTo>
                    <a:pt x="110" y="373"/>
                    <a:pt x="110" y="372"/>
                    <a:pt x="108" y="373"/>
                  </a:cubicBezTo>
                  <a:cubicBezTo>
                    <a:pt x="106" y="373"/>
                    <a:pt x="105" y="382"/>
                    <a:pt x="103" y="383"/>
                  </a:cubicBezTo>
                  <a:cubicBezTo>
                    <a:pt x="100" y="385"/>
                    <a:pt x="93" y="383"/>
                    <a:pt x="89" y="381"/>
                  </a:cubicBezTo>
                  <a:cubicBezTo>
                    <a:pt x="85" y="379"/>
                    <a:pt x="85" y="382"/>
                    <a:pt x="84" y="383"/>
                  </a:cubicBezTo>
                  <a:cubicBezTo>
                    <a:pt x="82" y="385"/>
                    <a:pt x="82" y="387"/>
                    <a:pt x="80" y="390"/>
                  </a:cubicBezTo>
                  <a:cubicBezTo>
                    <a:pt x="77" y="393"/>
                    <a:pt x="77" y="394"/>
                    <a:pt x="70" y="397"/>
                  </a:cubicBezTo>
                  <a:cubicBezTo>
                    <a:pt x="63" y="399"/>
                    <a:pt x="73" y="403"/>
                    <a:pt x="67" y="406"/>
                  </a:cubicBezTo>
                  <a:cubicBezTo>
                    <a:pt x="62" y="405"/>
                    <a:pt x="54" y="404"/>
                    <a:pt x="53" y="402"/>
                  </a:cubicBezTo>
                  <a:cubicBezTo>
                    <a:pt x="51" y="400"/>
                    <a:pt x="57" y="384"/>
                    <a:pt x="57" y="383"/>
                  </a:cubicBezTo>
                  <a:cubicBezTo>
                    <a:pt x="57" y="381"/>
                    <a:pt x="56" y="373"/>
                    <a:pt x="51" y="364"/>
                  </a:cubicBezTo>
                  <a:cubicBezTo>
                    <a:pt x="45" y="355"/>
                    <a:pt x="44" y="355"/>
                    <a:pt x="42" y="349"/>
                  </a:cubicBezTo>
                  <a:cubicBezTo>
                    <a:pt x="41" y="348"/>
                    <a:pt x="41" y="347"/>
                    <a:pt x="40" y="347"/>
                  </a:cubicBezTo>
                  <a:cubicBezTo>
                    <a:pt x="38" y="343"/>
                    <a:pt x="36" y="342"/>
                    <a:pt x="40" y="338"/>
                  </a:cubicBezTo>
                  <a:cubicBezTo>
                    <a:pt x="44" y="334"/>
                    <a:pt x="39" y="334"/>
                    <a:pt x="35" y="333"/>
                  </a:cubicBezTo>
                  <a:cubicBezTo>
                    <a:pt x="31" y="331"/>
                    <a:pt x="28" y="327"/>
                    <a:pt x="28" y="322"/>
                  </a:cubicBezTo>
                  <a:cubicBezTo>
                    <a:pt x="28" y="318"/>
                    <a:pt x="30" y="317"/>
                    <a:pt x="28" y="312"/>
                  </a:cubicBezTo>
                  <a:cubicBezTo>
                    <a:pt x="25" y="308"/>
                    <a:pt x="24" y="304"/>
                    <a:pt x="24" y="297"/>
                  </a:cubicBezTo>
                  <a:cubicBezTo>
                    <a:pt x="24" y="290"/>
                    <a:pt x="21" y="293"/>
                    <a:pt x="11" y="293"/>
                  </a:cubicBezTo>
                  <a:cubicBezTo>
                    <a:pt x="0" y="293"/>
                    <a:pt x="14" y="283"/>
                    <a:pt x="19" y="275"/>
                  </a:cubicBezTo>
                  <a:cubicBezTo>
                    <a:pt x="24" y="268"/>
                    <a:pt x="17" y="271"/>
                    <a:pt x="15" y="265"/>
                  </a:cubicBezTo>
                  <a:cubicBezTo>
                    <a:pt x="14" y="260"/>
                    <a:pt x="21" y="258"/>
                    <a:pt x="26" y="255"/>
                  </a:cubicBezTo>
                  <a:cubicBezTo>
                    <a:pt x="32" y="253"/>
                    <a:pt x="25" y="250"/>
                    <a:pt x="25" y="246"/>
                  </a:cubicBezTo>
                  <a:cubicBezTo>
                    <a:pt x="24" y="241"/>
                    <a:pt x="26" y="239"/>
                    <a:pt x="30" y="236"/>
                  </a:cubicBezTo>
                  <a:cubicBezTo>
                    <a:pt x="33" y="233"/>
                    <a:pt x="35" y="229"/>
                    <a:pt x="36" y="222"/>
                  </a:cubicBezTo>
                  <a:cubicBezTo>
                    <a:pt x="37" y="215"/>
                    <a:pt x="37" y="216"/>
                    <a:pt x="44" y="212"/>
                  </a:cubicBezTo>
                  <a:cubicBezTo>
                    <a:pt x="50" y="208"/>
                    <a:pt x="63" y="208"/>
                    <a:pt x="63" y="208"/>
                  </a:cubicBezTo>
                  <a:cubicBezTo>
                    <a:pt x="59" y="103"/>
                    <a:pt x="59" y="103"/>
                    <a:pt x="59" y="103"/>
                  </a:cubicBezTo>
                  <a:cubicBezTo>
                    <a:pt x="64" y="104"/>
                    <a:pt x="60" y="92"/>
                    <a:pt x="60" y="92"/>
                  </a:cubicBezTo>
                  <a:cubicBezTo>
                    <a:pt x="84" y="89"/>
                    <a:pt x="84" y="89"/>
                    <a:pt x="84" y="89"/>
                  </a:cubicBezTo>
                  <a:cubicBezTo>
                    <a:pt x="82" y="46"/>
                    <a:pt x="82" y="46"/>
                    <a:pt x="82" y="46"/>
                  </a:cubicBezTo>
                  <a:cubicBezTo>
                    <a:pt x="84" y="35"/>
                    <a:pt x="84" y="35"/>
                    <a:pt x="84" y="35"/>
                  </a:cubicBezTo>
                  <a:cubicBezTo>
                    <a:pt x="93" y="37"/>
                    <a:pt x="138" y="34"/>
                    <a:pt x="155" y="34"/>
                  </a:cubicBezTo>
                  <a:cubicBezTo>
                    <a:pt x="175" y="34"/>
                    <a:pt x="193" y="34"/>
                    <a:pt x="196" y="34"/>
                  </a:cubicBezTo>
                  <a:cubicBezTo>
                    <a:pt x="199" y="33"/>
                    <a:pt x="220" y="34"/>
                    <a:pt x="226" y="35"/>
                  </a:cubicBezTo>
                  <a:cubicBezTo>
                    <a:pt x="232" y="35"/>
                    <a:pt x="235" y="31"/>
                    <a:pt x="237" y="29"/>
                  </a:cubicBezTo>
                  <a:cubicBezTo>
                    <a:pt x="238" y="28"/>
                    <a:pt x="242" y="33"/>
                    <a:pt x="242" y="34"/>
                  </a:cubicBezTo>
                  <a:cubicBezTo>
                    <a:pt x="242" y="36"/>
                    <a:pt x="270" y="33"/>
                    <a:pt x="278" y="33"/>
                  </a:cubicBezTo>
                  <a:cubicBezTo>
                    <a:pt x="286" y="33"/>
                    <a:pt x="288" y="36"/>
                    <a:pt x="290" y="38"/>
                  </a:cubicBezTo>
                  <a:cubicBezTo>
                    <a:pt x="293" y="40"/>
                    <a:pt x="296" y="41"/>
                    <a:pt x="300" y="42"/>
                  </a:cubicBezTo>
                  <a:cubicBezTo>
                    <a:pt x="304" y="43"/>
                    <a:pt x="305" y="37"/>
                    <a:pt x="305" y="33"/>
                  </a:cubicBezTo>
                  <a:cubicBezTo>
                    <a:pt x="305" y="29"/>
                    <a:pt x="309" y="28"/>
                    <a:pt x="314" y="27"/>
                  </a:cubicBezTo>
                  <a:cubicBezTo>
                    <a:pt x="318" y="26"/>
                    <a:pt x="319" y="26"/>
                    <a:pt x="321" y="22"/>
                  </a:cubicBezTo>
                  <a:cubicBezTo>
                    <a:pt x="323" y="19"/>
                    <a:pt x="324" y="19"/>
                    <a:pt x="324" y="14"/>
                  </a:cubicBezTo>
                  <a:cubicBezTo>
                    <a:pt x="325" y="10"/>
                    <a:pt x="327" y="11"/>
                    <a:pt x="330" y="11"/>
                  </a:cubicBezTo>
                  <a:cubicBezTo>
                    <a:pt x="334" y="11"/>
                    <a:pt x="336" y="10"/>
                    <a:pt x="338" y="7"/>
                  </a:cubicBezTo>
                  <a:cubicBezTo>
                    <a:pt x="340" y="5"/>
                    <a:pt x="341" y="2"/>
                    <a:pt x="342" y="0"/>
                  </a:cubicBezTo>
                  <a:cubicBezTo>
                    <a:pt x="343" y="1"/>
                    <a:pt x="343" y="2"/>
                    <a:pt x="343" y="3"/>
                  </a:cubicBezTo>
                  <a:cubicBezTo>
                    <a:pt x="346" y="12"/>
                    <a:pt x="349" y="12"/>
                    <a:pt x="353" y="15"/>
                  </a:cubicBezTo>
                  <a:cubicBezTo>
                    <a:pt x="357" y="18"/>
                    <a:pt x="363" y="18"/>
                    <a:pt x="366" y="24"/>
                  </a:cubicBezTo>
                  <a:cubicBezTo>
                    <a:pt x="369" y="30"/>
                    <a:pt x="372" y="31"/>
                    <a:pt x="374" y="37"/>
                  </a:cubicBezTo>
                  <a:cubicBezTo>
                    <a:pt x="376" y="43"/>
                    <a:pt x="378" y="51"/>
                    <a:pt x="382" y="53"/>
                  </a:cubicBezTo>
                  <a:cubicBezTo>
                    <a:pt x="386" y="55"/>
                    <a:pt x="389" y="54"/>
                    <a:pt x="387" y="57"/>
                  </a:cubicBezTo>
                  <a:cubicBezTo>
                    <a:pt x="385" y="60"/>
                    <a:pt x="382" y="54"/>
                    <a:pt x="383" y="64"/>
                  </a:cubicBezTo>
                  <a:cubicBezTo>
                    <a:pt x="385" y="74"/>
                    <a:pt x="384" y="73"/>
                    <a:pt x="385" y="83"/>
                  </a:cubicBezTo>
                  <a:cubicBezTo>
                    <a:pt x="386" y="92"/>
                    <a:pt x="383" y="98"/>
                    <a:pt x="386" y="106"/>
                  </a:cubicBezTo>
                  <a:cubicBezTo>
                    <a:pt x="390" y="115"/>
                    <a:pt x="391" y="118"/>
                    <a:pt x="395" y="124"/>
                  </a:cubicBezTo>
                  <a:cubicBezTo>
                    <a:pt x="399" y="130"/>
                    <a:pt x="406" y="132"/>
                    <a:pt x="409" y="134"/>
                  </a:cubicBezTo>
                  <a:cubicBezTo>
                    <a:pt x="412" y="137"/>
                    <a:pt x="415" y="137"/>
                    <a:pt x="419" y="141"/>
                  </a:cubicBezTo>
                  <a:cubicBezTo>
                    <a:pt x="420" y="142"/>
                    <a:pt x="421" y="144"/>
                    <a:pt x="422" y="145"/>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03" name="Freeform 892">
              <a:extLst>
                <a:ext uri="{FF2B5EF4-FFF2-40B4-BE49-F238E27FC236}">
                  <a16:creationId xmlns:a16="http://schemas.microsoft.com/office/drawing/2014/main" id="{6E7B10F9-D0C1-D241-955C-E275306D70E8}"/>
                </a:ext>
              </a:extLst>
            </p:cNvPr>
            <p:cNvSpPr>
              <a:spLocks/>
            </p:cNvSpPr>
            <p:nvPr/>
          </p:nvSpPr>
          <p:spPr bwMode="auto">
            <a:xfrm>
              <a:off x="4591065" y="2337257"/>
              <a:ext cx="293688" cy="234950"/>
            </a:xfrm>
            <a:custGeom>
              <a:avLst/>
              <a:gdLst>
                <a:gd name="T0" fmla="*/ 305 w 309"/>
                <a:gd name="T1" fmla="*/ 218 h 247"/>
                <a:gd name="T2" fmla="*/ 261 w 309"/>
                <a:gd name="T3" fmla="*/ 225 h 247"/>
                <a:gd name="T4" fmla="*/ 249 w 309"/>
                <a:gd name="T5" fmla="*/ 240 h 247"/>
                <a:gd name="T6" fmla="*/ 226 w 309"/>
                <a:gd name="T7" fmla="*/ 241 h 247"/>
                <a:gd name="T8" fmla="*/ 207 w 309"/>
                <a:gd name="T9" fmla="*/ 243 h 247"/>
                <a:gd name="T10" fmla="*/ 191 w 309"/>
                <a:gd name="T11" fmla="*/ 241 h 247"/>
                <a:gd name="T12" fmla="*/ 181 w 309"/>
                <a:gd name="T13" fmla="*/ 245 h 247"/>
                <a:gd name="T14" fmla="*/ 173 w 309"/>
                <a:gd name="T15" fmla="*/ 242 h 247"/>
                <a:gd name="T16" fmla="*/ 161 w 309"/>
                <a:gd name="T17" fmla="*/ 229 h 247"/>
                <a:gd name="T18" fmla="*/ 141 w 309"/>
                <a:gd name="T19" fmla="*/ 222 h 247"/>
                <a:gd name="T20" fmla="*/ 119 w 309"/>
                <a:gd name="T21" fmla="*/ 225 h 247"/>
                <a:gd name="T22" fmla="*/ 97 w 309"/>
                <a:gd name="T23" fmla="*/ 207 h 247"/>
                <a:gd name="T24" fmla="*/ 90 w 309"/>
                <a:gd name="T25" fmla="*/ 196 h 247"/>
                <a:gd name="T26" fmla="*/ 71 w 309"/>
                <a:gd name="T27" fmla="*/ 168 h 247"/>
                <a:gd name="T28" fmla="*/ 57 w 309"/>
                <a:gd name="T29" fmla="*/ 149 h 247"/>
                <a:gd name="T30" fmla="*/ 40 w 309"/>
                <a:gd name="T31" fmla="*/ 131 h 247"/>
                <a:gd name="T32" fmla="*/ 13 w 309"/>
                <a:gd name="T33" fmla="*/ 115 h 247"/>
                <a:gd name="T34" fmla="*/ 10 w 309"/>
                <a:gd name="T35" fmla="*/ 103 h 247"/>
                <a:gd name="T36" fmla="*/ 23 w 309"/>
                <a:gd name="T37" fmla="*/ 87 h 247"/>
                <a:gd name="T38" fmla="*/ 32 w 309"/>
                <a:gd name="T39" fmla="*/ 78 h 247"/>
                <a:gd name="T40" fmla="*/ 51 w 309"/>
                <a:gd name="T41" fmla="*/ 70 h 247"/>
                <a:gd name="T42" fmla="*/ 63 w 309"/>
                <a:gd name="T43" fmla="*/ 75 h 247"/>
                <a:gd name="T44" fmla="*/ 71 w 309"/>
                <a:gd name="T45" fmla="*/ 74 h 247"/>
                <a:gd name="T46" fmla="*/ 86 w 309"/>
                <a:gd name="T47" fmla="*/ 63 h 247"/>
                <a:gd name="T48" fmla="*/ 93 w 309"/>
                <a:gd name="T49" fmla="*/ 73 h 247"/>
                <a:gd name="T50" fmla="*/ 120 w 309"/>
                <a:gd name="T51" fmla="*/ 77 h 247"/>
                <a:gd name="T52" fmla="*/ 145 w 309"/>
                <a:gd name="T53" fmla="*/ 62 h 247"/>
                <a:gd name="T54" fmla="*/ 151 w 309"/>
                <a:gd name="T55" fmla="*/ 40 h 247"/>
                <a:gd name="T56" fmla="*/ 176 w 309"/>
                <a:gd name="T57" fmla="*/ 18 h 247"/>
                <a:gd name="T58" fmla="*/ 194 w 309"/>
                <a:gd name="T59" fmla="*/ 11 h 247"/>
                <a:gd name="T60" fmla="*/ 191 w 309"/>
                <a:gd name="T61" fmla="*/ 44 h 247"/>
                <a:gd name="T62" fmla="*/ 215 w 309"/>
                <a:gd name="T63" fmla="*/ 54 h 247"/>
                <a:gd name="T64" fmla="*/ 251 w 309"/>
                <a:gd name="T65" fmla="*/ 46 h 247"/>
                <a:gd name="T66" fmla="*/ 264 w 309"/>
                <a:gd name="T67" fmla="*/ 61 h 247"/>
                <a:gd name="T68" fmla="*/ 258 w 309"/>
                <a:gd name="T69" fmla="*/ 81 h 247"/>
                <a:gd name="T70" fmla="*/ 261 w 309"/>
                <a:gd name="T71" fmla="*/ 97 h 247"/>
                <a:gd name="T72" fmla="*/ 246 w 309"/>
                <a:gd name="T73" fmla="*/ 109 h 247"/>
                <a:gd name="T74" fmla="*/ 232 w 309"/>
                <a:gd name="T75" fmla="*/ 122 h 247"/>
                <a:gd name="T76" fmla="*/ 250 w 309"/>
                <a:gd name="T77" fmla="*/ 131 h 247"/>
                <a:gd name="T78" fmla="*/ 266 w 309"/>
                <a:gd name="T79" fmla="*/ 152 h 247"/>
                <a:gd name="T80" fmla="*/ 286 w 309"/>
                <a:gd name="T81" fmla="*/ 189 h 247"/>
                <a:gd name="T82" fmla="*/ 303 w 309"/>
                <a:gd name="T83" fmla="*/ 205 h 247"/>
                <a:gd name="T84" fmla="*/ 306 w 309"/>
                <a:gd name="T85" fmla="*/ 218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9" h="247">
                  <a:moveTo>
                    <a:pt x="306" y="218"/>
                  </a:moveTo>
                  <a:cubicBezTo>
                    <a:pt x="306" y="218"/>
                    <a:pt x="306" y="218"/>
                    <a:pt x="305" y="218"/>
                  </a:cubicBezTo>
                  <a:cubicBezTo>
                    <a:pt x="301" y="218"/>
                    <a:pt x="271" y="217"/>
                    <a:pt x="269" y="217"/>
                  </a:cubicBezTo>
                  <a:cubicBezTo>
                    <a:pt x="268" y="218"/>
                    <a:pt x="265" y="222"/>
                    <a:pt x="261" y="225"/>
                  </a:cubicBezTo>
                  <a:cubicBezTo>
                    <a:pt x="260" y="226"/>
                    <a:pt x="259" y="227"/>
                    <a:pt x="258" y="228"/>
                  </a:cubicBezTo>
                  <a:cubicBezTo>
                    <a:pt x="254" y="232"/>
                    <a:pt x="251" y="237"/>
                    <a:pt x="249" y="240"/>
                  </a:cubicBezTo>
                  <a:cubicBezTo>
                    <a:pt x="247" y="244"/>
                    <a:pt x="242" y="242"/>
                    <a:pt x="239" y="240"/>
                  </a:cubicBezTo>
                  <a:cubicBezTo>
                    <a:pt x="236" y="238"/>
                    <a:pt x="232" y="240"/>
                    <a:pt x="226" y="241"/>
                  </a:cubicBezTo>
                  <a:cubicBezTo>
                    <a:pt x="221" y="242"/>
                    <a:pt x="216" y="245"/>
                    <a:pt x="215" y="246"/>
                  </a:cubicBezTo>
                  <a:cubicBezTo>
                    <a:pt x="213" y="247"/>
                    <a:pt x="209" y="245"/>
                    <a:pt x="207" y="243"/>
                  </a:cubicBezTo>
                  <a:cubicBezTo>
                    <a:pt x="205" y="240"/>
                    <a:pt x="202" y="242"/>
                    <a:pt x="201" y="243"/>
                  </a:cubicBezTo>
                  <a:cubicBezTo>
                    <a:pt x="199" y="245"/>
                    <a:pt x="195" y="243"/>
                    <a:pt x="191" y="241"/>
                  </a:cubicBezTo>
                  <a:cubicBezTo>
                    <a:pt x="187" y="239"/>
                    <a:pt x="186" y="242"/>
                    <a:pt x="184" y="244"/>
                  </a:cubicBezTo>
                  <a:cubicBezTo>
                    <a:pt x="182" y="245"/>
                    <a:pt x="182" y="245"/>
                    <a:pt x="181" y="245"/>
                  </a:cubicBezTo>
                  <a:cubicBezTo>
                    <a:pt x="180" y="245"/>
                    <a:pt x="178" y="245"/>
                    <a:pt x="176" y="245"/>
                  </a:cubicBezTo>
                  <a:cubicBezTo>
                    <a:pt x="172" y="244"/>
                    <a:pt x="174" y="244"/>
                    <a:pt x="173" y="242"/>
                  </a:cubicBezTo>
                  <a:cubicBezTo>
                    <a:pt x="173" y="240"/>
                    <a:pt x="173" y="239"/>
                    <a:pt x="170" y="238"/>
                  </a:cubicBezTo>
                  <a:cubicBezTo>
                    <a:pt x="168" y="236"/>
                    <a:pt x="165" y="234"/>
                    <a:pt x="161" y="229"/>
                  </a:cubicBezTo>
                  <a:cubicBezTo>
                    <a:pt x="156" y="224"/>
                    <a:pt x="154" y="223"/>
                    <a:pt x="150" y="218"/>
                  </a:cubicBezTo>
                  <a:cubicBezTo>
                    <a:pt x="146" y="213"/>
                    <a:pt x="143" y="219"/>
                    <a:pt x="141" y="222"/>
                  </a:cubicBezTo>
                  <a:cubicBezTo>
                    <a:pt x="139" y="225"/>
                    <a:pt x="134" y="224"/>
                    <a:pt x="133" y="222"/>
                  </a:cubicBezTo>
                  <a:cubicBezTo>
                    <a:pt x="132" y="220"/>
                    <a:pt x="124" y="224"/>
                    <a:pt x="119" y="225"/>
                  </a:cubicBezTo>
                  <a:cubicBezTo>
                    <a:pt x="113" y="227"/>
                    <a:pt x="112" y="226"/>
                    <a:pt x="107" y="219"/>
                  </a:cubicBezTo>
                  <a:cubicBezTo>
                    <a:pt x="101" y="212"/>
                    <a:pt x="101" y="212"/>
                    <a:pt x="97" y="207"/>
                  </a:cubicBezTo>
                  <a:cubicBezTo>
                    <a:pt x="95" y="204"/>
                    <a:pt x="93" y="203"/>
                    <a:pt x="91" y="202"/>
                  </a:cubicBezTo>
                  <a:cubicBezTo>
                    <a:pt x="91" y="200"/>
                    <a:pt x="90" y="198"/>
                    <a:pt x="90" y="196"/>
                  </a:cubicBezTo>
                  <a:cubicBezTo>
                    <a:pt x="90" y="193"/>
                    <a:pt x="83" y="187"/>
                    <a:pt x="78" y="183"/>
                  </a:cubicBezTo>
                  <a:cubicBezTo>
                    <a:pt x="72" y="178"/>
                    <a:pt x="71" y="175"/>
                    <a:pt x="71" y="168"/>
                  </a:cubicBezTo>
                  <a:cubicBezTo>
                    <a:pt x="71" y="161"/>
                    <a:pt x="69" y="164"/>
                    <a:pt x="66" y="160"/>
                  </a:cubicBezTo>
                  <a:cubicBezTo>
                    <a:pt x="63" y="156"/>
                    <a:pt x="62" y="153"/>
                    <a:pt x="57" y="149"/>
                  </a:cubicBezTo>
                  <a:cubicBezTo>
                    <a:pt x="52" y="145"/>
                    <a:pt x="53" y="147"/>
                    <a:pt x="40" y="142"/>
                  </a:cubicBezTo>
                  <a:cubicBezTo>
                    <a:pt x="27" y="137"/>
                    <a:pt x="40" y="135"/>
                    <a:pt x="40" y="131"/>
                  </a:cubicBezTo>
                  <a:cubicBezTo>
                    <a:pt x="40" y="126"/>
                    <a:pt x="35" y="123"/>
                    <a:pt x="31" y="120"/>
                  </a:cubicBezTo>
                  <a:cubicBezTo>
                    <a:pt x="27" y="116"/>
                    <a:pt x="26" y="120"/>
                    <a:pt x="13" y="115"/>
                  </a:cubicBezTo>
                  <a:cubicBezTo>
                    <a:pt x="0" y="111"/>
                    <a:pt x="16" y="106"/>
                    <a:pt x="13" y="104"/>
                  </a:cubicBezTo>
                  <a:cubicBezTo>
                    <a:pt x="12" y="104"/>
                    <a:pt x="11" y="103"/>
                    <a:pt x="10" y="103"/>
                  </a:cubicBezTo>
                  <a:cubicBezTo>
                    <a:pt x="16" y="100"/>
                    <a:pt x="6" y="96"/>
                    <a:pt x="13" y="94"/>
                  </a:cubicBezTo>
                  <a:cubicBezTo>
                    <a:pt x="20" y="91"/>
                    <a:pt x="20" y="90"/>
                    <a:pt x="23" y="87"/>
                  </a:cubicBezTo>
                  <a:cubicBezTo>
                    <a:pt x="25" y="84"/>
                    <a:pt x="25" y="82"/>
                    <a:pt x="27" y="80"/>
                  </a:cubicBezTo>
                  <a:cubicBezTo>
                    <a:pt x="28" y="79"/>
                    <a:pt x="28" y="76"/>
                    <a:pt x="32" y="78"/>
                  </a:cubicBezTo>
                  <a:cubicBezTo>
                    <a:pt x="36" y="80"/>
                    <a:pt x="43" y="82"/>
                    <a:pt x="46" y="80"/>
                  </a:cubicBezTo>
                  <a:cubicBezTo>
                    <a:pt x="48" y="79"/>
                    <a:pt x="49" y="70"/>
                    <a:pt x="51" y="70"/>
                  </a:cubicBezTo>
                  <a:cubicBezTo>
                    <a:pt x="53" y="69"/>
                    <a:pt x="53" y="70"/>
                    <a:pt x="57" y="70"/>
                  </a:cubicBezTo>
                  <a:cubicBezTo>
                    <a:pt x="60" y="69"/>
                    <a:pt x="61" y="71"/>
                    <a:pt x="63" y="75"/>
                  </a:cubicBezTo>
                  <a:cubicBezTo>
                    <a:pt x="65" y="79"/>
                    <a:pt x="60" y="79"/>
                    <a:pt x="65" y="79"/>
                  </a:cubicBezTo>
                  <a:cubicBezTo>
                    <a:pt x="70" y="80"/>
                    <a:pt x="70" y="81"/>
                    <a:pt x="71" y="74"/>
                  </a:cubicBezTo>
                  <a:cubicBezTo>
                    <a:pt x="73" y="67"/>
                    <a:pt x="63" y="63"/>
                    <a:pt x="71" y="63"/>
                  </a:cubicBezTo>
                  <a:cubicBezTo>
                    <a:pt x="80" y="62"/>
                    <a:pt x="83" y="63"/>
                    <a:pt x="86" y="63"/>
                  </a:cubicBezTo>
                  <a:cubicBezTo>
                    <a:pt x="89" y="62"/>
                    <a:pt x="90" y="63"/>
                    <a:pt x="91" y="68"/>
                  </a:cubicBezTo>
                  <a:cubicBezTo>
                    <a:pt x="93" y="73"/>
                    <a:pt x="83" y="67"/>
                    <a:pt x="93" y="73"/>
                  </a:cubicBezTo>
                  <a:cubicBezTo>
                    <a:pt x="103" y="80"/>
                    <a:pt x="107" y="84"/>
                    <a:pt x="108" y="83"/>
                  </a:cubicBezTo>
                  <a:cubicBezTo>
                    <a:pt x="110" y="81"/>
                    <a:pt x="114" y="80"/>
                    <a:pt x="120" y="77"/>
                  </a:cubicBezTo>
                  <a:cubicBezTo>
                    <a:pt x="125" y="75"/>
                    <a:pt x="129" y="73"/>
                    <a:pt x="134" y="70"/>
                  </a:cubicBezTo>
                  <a:cubicBezTo>
                    <a:pt x="139" y="68"/>
                    <a:pt x="144" y="66"/>
                    <a:pt x="145" y="62"/>
                  </a:cubicBezTo>
                  <a:cubicBezTo>
                    <a:pt x="147" y="59"/>
                    <a:pt x="146" y="56"/>
                    <a:pt x="148" y="53"/>
                  </a:cubicBezTo>
                  <a:cubicBezTo>
                    <a:pt x="150" y="50"/>
                    <a:pt x="144" y="49"/>
                    <a:pt x="151" y="40"/>
                  </a:cubicBezTo>
                  <a:cubicBezTo>
                    <a:pt x="159" y="32"/>
                    <a:pt x="159" y="29"/>
                    <a:pt x="165" y="26"/>
                  </a:cubicBezTo>
                  <a:cubicBezTo>
                    <a:pt x="170" y="23"/>
                    <a:pt x="173" y="24"/>
                    <a:pt x="176" y="18"/>
                  </a:cubicBezTo>
                  <a:cubicBezTo>
                    <a:pt x="180" y="12"/>
                    <a:pt x="187" y="0"/>
                    <a:pt x="189" y="1"/>
                  </a:cubicBezTo>
                  <a:cubicBezTo>
                    <a:pt x="191" y="2"/>
                    <a:pt x="193" y="6"/>
                    <a:pt x="194" y="11"/>
                  </a:cubicBezTo>
                  <a:cubicBezTo>
                    <a:pt x="195" y="16"/>
                    <a:pt x="194" y="28"/>
                    <a:pt x="194" y="28"/>
                  </a:cubicBezTo>
                  <a:cubicBezTo>
                    <a:pt x="194" y="28"/>
                    <a:pt x="191" y="38"/>
                    <a:pt x="191" y="44"/>
                  </a:cubicBezTo>
                  <a:cubicBezTo>
                    <a:pt x="191" y="49"/>
                    <a:pt x="182" y="55"/>
                    <a:pt x="188" y="61"/>
                  </a:cubicBezTo>
                  <a:cubicBezTo>
                    <a:pt x="195" y="67"/>
                    <a:pt x="207" y="56"/>
                    <a:pt x="215" y="54"/>
                  </a:cubicBezTo>
                  <a:cubicBezTo>
                    <a:pt x="223" y="52"/>
                    <a:pt x="233" y="44"/>
                    <a:pt x="237" y="49"/>
                  </a:cubicBezTo>
                  <a:cubicBezTo>
                    <a:pt x="241" y="55"/>
                    <a:pt x="244" y="50"/>
                    <a:pt x="251" y="46"/>
                  </a:cubicBezTo>
                  <a:cubicBezTo>
                    <a:pt x="256" y="43"/>
                    <a:pt x="260" y="48"/>
                    <a:pt x="263" y="51"/>
                  </a:cubicBezTo>
                  <a:cubicBezTo>
                    <a:pt x="263" y="55"/>
                    <a:pt x="264" y="58"/>
                    <a:pt x="264" y="61"/>
                  </a:cubicBezTo>
                  <a:cubicBezTo>
                    <a:pt x="264" y="65"/>
                    <a:pt x="263" y="67"/>
                    <a:pt x="261" y="70"/>
                  </a:cubicBezTo>
                  <a:cubicBezTo>
                    <a:pt x="260" y="73"/>
                    <a:pt x="258" y="76"/>
                    <a:pt x="258" y="81"/>
                  </a:cubicBezTo>
                  <a:cubicBezTo>
                    <a:pt x="258" y="86"/>
                    <a:pt x="260" y="88"/>
                    <a:pt x="261" y="89"/>
                  </a:cubicBezTo>
                  <a:cubicBezTo>
                    <a:pt x="262" y="89"/>
                    <a:pt x="261" y="92"/>
                    <a:pt x="261" y="97"/>
                  </a:cubicBezTo>
                  <a:cubicBezTo>
                    <a:pt x="261" y="102"/>
                    <a:pt x="260" y="105"/>
                    <a:pt x="258" y="107"/>
                  </a:cubicBezTo>
                  <a:cubicBezTo>
                    <a:pt x="256" y="108"/>
                    <a:pt x="252" y="109"/>
                    <a:pt x="246" y="109"/>
                  </a:cubicBezTo>
                  <a:cubicBezTo>
                    <a:pt x="241" y="109"/>
                    <a:pt x="237" y="112"/>
                    <a:pt x="237" y="114"/>
                  </a:cubicBezTo>
                  <a:cubicBezTo>
                    <a:pt x="237" y="116"/>
                    <a:pt x="233" y="120"/>
                    <a:pt x="232" y="122"/>
                  </a:cubicBezTo>
                  <a:cubicBezTo>
                    <a:pt x="231" y="124"/>
                    <a:pt x="237" y="128"/>
                    <a:pt x="237" y="128"/>
                  </a:cubicBezTo>
                  <a:cubicBezTo>
                    <a:pt x="237" y="128"/>
                    <a:pt x="243" y="130"/>
                    <a:pt x="250" y="131"/>
                  </a:cubicBezTo>
                  <a:cubicBezTo>
                    <a:pt x="256" y="133"/>
                    <a:pt x="255" y="139"/>
                    <a:pt x="257" y="141"/>
                  </a:cubicBezTo>
                  <a:cubicBezTo>
                    <a:pt x="259" y="142"/>
                    <a:pt x="263" y="149"/>
                    <a:pt x="266" y="152"/>
                  </a:cubicBezTo>
                  <a:cubicBezTo>
                    <a:pt x="270" y="155"/>
                    <a:pt x="275" y="162"/>
                    <a:pt x="279" y="169"/>
                  </a:cubicBezTo>
                  <a:cubicBezTo>
                    <a:pt x="282" y="175"/>
                    <a:pt x="283" y="182"/>
                    <a:pt x="286" y="189"/>
                  </a:cubicBezTo>
                  <a:cubicBezTo>
                    <a:pt x="288" y="197"/>
                    <a:pt x="299" y="194"/>
                    <a:pt x="303" y="198"/>
                  </a:cubicBezTo>
                  <a:cubicBezTo>
                    <a:pt x="306" y="201"/>
                    <a:pt x="304" y="201"/>
                    <a:pt x="303" y="205"/>
                  </a:cubicBezTo>
                  <a:cubicBezTo>
                    <a:pt x="302" y="209"/>
                    <a:pt x="303" y="208"/>
                    <a:pt x="306" y="213"/>
                  </a:cubicBezTo>
                  <a:cubicBezTo>
                    <a:pt x="309" y="219"/>
                    <a:pt x="306" y="218"/>
                    <a:pt x="306" y="218"/>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04" name="Freeform 893">
              <a:extLst>
                <a:ext uri="{FF2B5EF4-FFF2-40B4-BE49-F238E27FC236}">
                  <a16:creationId xmlns:a16="http://schemas.microsoft.com/office/drawing/2014/main" id="{D23F50EB-4E70-C845-83F5-73AABB378FD4}"/>
                </a:ext>
              </a:extLst>
            </p:cNvPr>
            <p:cNvSpPr>
              <a:spLocks/>
            </p:cNvSpPr>
            <p:nvPr/>
          </p:nvSpPr>
          <p:spPr bwMode="auto">
            <a:xfrm>
              <a:off x="4810140" y="2270582"/>
              <a:ext cx="361951" cy="307975"/>
            </a:xfrm>
            <a:custGeom>
              <a:avLst/>
              <a:gdLst>
                <a:gd name="T0" fmla="*/ 334 w 380"/>
                <a:gd name="T1" fmla="*/ 240 h 323"/>
                <a:gd name="T2" fmla="*/ 296 w 380"/>
                <a:gd name="T3" fmla="*/ 277 h 323"/>
                <a:gd name="T4" fmla="*/ 250 w 380"/>
                <a:gd name="T5" fmla="*/ 292 h 323"/>
                <a:gd name="T6" fmla="*/ 225 w 380"/>
                <a:gd name="T7" fmla="*/ 305 h 323"/>
                <a:gd name="T8" fmla="*/ 207 w 380"/>
                <a:gd name="T9" fmla="*/ 305 h 323"/>
                <a:gd name="T10" fmla="*/ 179 w 380"/>
                <a:gd name="T11" fmla="*/ 307 h 323"/>
                <a:gd name="T12" fmla="*/ 155 w 380"/>
                <a:gd name="T13" fmla="*/ 318 h 323"/>
                <a:gd name="T14" fmla="*/ 131 w 380"/>
                <a:gd name="T15" fmla="*/ 316 h 323"/>
                <a:gd name="T16" fmla="*/ 104 w 380"/>
                <a:gd name="T17" fmla="*/ 295 h 323"/>
                <a:gd name="T18" fmla="*/ 77 w 380"/>
                <a:gd name="T19" fmla="*/ 291 h 323"/>
                <a:gd name="T20" fmla="*/ 75 w 380"/>
                <a:gd name="T21" fmla="*/ 288 h 323"/>
                <a:gd name="T22" fmla="*/ 72 w 380"/>
                <a:gd name="T23" fmla="*/ 275 h 323"/>
                <a:gd name="T24" fmla="*/ 55 w 380"/>
                <a:gd name="T25" fmla="*/ 259 h 323"/>
                <a:gd name="T26" fmla="*/ 35 w 380"/>
                <a:gd name="T27" fmla="*/ 222 h 323"/>
                <a:gd name="T28" fmla="*/ 19 w 380"/>
                <a:gd name="T29" fmla="*/ 201 h 323"/>
                <a:gd name="T30" fmla="*/ 1 w 380"/>
                <a:gd name="T31" fmla="*/ 192 h 323"/>
                <a:gd name="T32" fmla="*/ 15 w 380"/>
                <a:gd name="T33" fmla="*/ 179 h 323"/>
                <a:gd name="T34" fmla="*/ 30 w 380"/>
                <a:gd name="T35" fmla="*/ 167 h 323"/>
                <a:gd name="T36" fmla="*/ 27 w 380"/>
                <a:gd name="T37" fmla="*/ 151 h 323"/>
                <a:gd name="T38" fmla="*/ 33 w 380"/>
                <a:gd name="T39" fmla="*/ 131 h 323"/>
                <a:gd name="T40" fmla="*/ 33 w 380"/>
                <a:gd name="T41" fmla="*/ 117 h 323"/>
                <a:gd name="T42" fmla="*/ 47 w 380"/>
                <a:gd name="T43" fmla="*/ 118 h 323"/>
                <a:gd name="T44" fmla="*/ 52 w 380"/>
                <a:gd name="T45" fmla="*/ 84 h 323"/>
                <a:gd name="T46" fmla="*/ 72 w 380"/>
                <a:gd name="T47" fmla="*/ 61 h 323"/>
                <a:gd name="T48" fmla="*/ 79 w 380"/>
                <a:gd name="T49" fmla="*/ 40 h 323"/>
                <a:gd name="T50" fmla="*/ 84 w 380"/>
                <a:gd name="T51" fmla="*/ 16 h 323"/>
                <a:gd name="T52" fmla="*/ 96 w 380"/>
                <a:gd name="T53" fmla="*/ 17 h 323"/>
                <a:gd name="T54" fmla="*/ 112 w 380"/>
                <a:gd name="T55" fmla="*/ 20 h 323"/>
                <a:gd name="T56" fmla="*/ 123 w 380"/>
                <a:gd name="T57" fmla="*/ 5 h 323"/>
                <a:gd name="T58" fmla="*/ 145 w 380"/>
                <a:gd name="T59" fmla="*/ 10 h 323"/>
                <a:gd name="T60" fmla="*/ 172 w 380"/>
                <a:gd name="T61" fmla="*/ 13 h 323"/>
                <a:gd name="T62" fmla="*/ 198 w 380"/>
                <a:gd name="T63" fmla="*/ 25 h 323"/>
                <a:gd name="T64" fmla="*/ 214 w 380"/>
                <a:gd name="T65" fmla="*/ 47 h 323"/>
                <a:gd name="T66" fmla="*/ 233 w 380"/>
                <a:gd name="T67" fmla="*/ 66 h 323"/>
                <a:gd name="T68" fmla="*/ 228 w 380"/>
                <a:gd name="T69" fmla="*/ 77 h 323"/>
                <a:gd name="T70" fmla="*/ 219 w 380"/>
                <a:gd name="T71" fmla="*/ 89 h 323"/>
                <a:gd name="T72" fmla="*/ 220 w 380"/>
                <a:gd name="T73" fmla="*/ 109 h 323"/>
                <a:gd name="T74" fmla="*/ 233 w 380"/>
                <a:gd name="T75" fmla="*/ 108 h 323"/>
                <a:gd name="T76" fmla="*/ 247 w 380"/>
                <a:gd name="T77" fmla="*/ 107 h 323"/>
                <a:gd name="T78" fmla="*/ 245 w 380"/>
                <a:gd name="T79" fmla="*/ 115 h 323"/>
                <a:gd name="T80" fmla="*/ 245 w 380"/>
                <a:gd name="T81" fmla="*/ 129 h 323"/>
                <a:gd name="T82" fmla="*/ 316 w 380"/>
                <a:gd name="T83" fmla="*/ 179 h 323"/>
                <a:gd name="T84" fmla="*/ 369 w 380"/>
                <a:gd name="T85" fmla="*/ 19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0" h="323">
                  <a:moveTo>
                    <a:pt x="369" y="200"/>
                  </a:moveTo>
                  <a:cubicBezTo>
                    <a:pt x="358" y="210"/>
                    <a:pt x="337" y="235"/>
                    <a:pt x="334" y="240"/>
                  </a:cubicBezTo>
                  <a:cubicBezTo>
                    <a:pt x="331" y="244"/>
                    <a:pt x="310" y="262"/>
                    <a:pt x="308" y="266"/>
                  </a:cubicBezTo>
                  <a:cubicBezTo>
                    <a:pt x="307" y="271"/>
                    <a:pt x="309" y="277"/>
                    <a:pt x="296" y="277"/>
                  </a:cubicBezTo>
                  <a:cubicBezTo>
                    <a:pt x="283" y="277"/>
                    <a:pt x="271" y="277"/>
                    <a:pt x="264" y="280"/>
                  </a:cubicBezTo>
                  <a:cubicBezTo>
                    <a:pt x="258" y="284"/>
                    <a:pt x="255" y="288"/>
                    <a:pt x="250" y="292"/>
                  </a:cubicBezTo>
                  <a:cubicBezTo>
                    <a:pt x="246" y="296"/>
                    <a:pt x="241" y="294"/>
                    <a:pt x="234" y="297"/>
                  </a:cubicBezTo>
                  <a:cubicBezTo>
                    <a:pt x="228" y="300"/>
                    <a:pt x="231" y="304"/>
                    <a:pt x="225" y="305"/>
                  </a:cubicBezTo>
                  <a:cubicBezTo>
                    <a:pt x="225" y="305"/>
                    <a:pt x="224" y="305"/>
                    <a:pt x="224" y="305"/>
                  </a:cubicBezTo>
                  <a:cubicBezTo>
                    <a:pt x="216" y="305"/>
                    <a:pt x="213" y="309"/>
                    <a:pt x="207" y="305"/>
                  </a:cubicBezTo>
                  <a:cubicBezTo>
                    <a:pt x="200" y="301"/>
                    <a:pt x="201" y="295"/>
                    <a:pt x="194" y="298"/>
                  </a:cubicBezTo>
                  <a:cubicBezTo>
                    <a:pt x="187" y="302"/>
                    <a:pt x="186" y="302"/>
                    <a:pt x="179" y="307"/>
                  </a:cubicBezTo>
                  <a:cubicBezTo>
                    <a:pt x="172" y="312"/>
                    <a:pt x="174" y="316"/>
                    <a:pt x="168" y="318"/>
                  </a:cubicBezTo>
                  <a:cubicBezTo>
                    <a:pt x="162" y="320"/>
                    <a:pt x="164" y="319"/>
                    <a:pt x="155" y="318"/>
                  </a:cubicBezTo>
                  <a:cubicBezTo>
                    <a:pt x="146" y="317"/>
                    <a:pt x="148" y="316"/>
                    <a:pt x="141" y="316"/>
                  </a:cubicBezTo>
                  <a:cubicBezTo>
                    <a:pt x="134" y="317"/>
                    <a:pt x="139" y="323"/>
                    <a:pt x="131" y="316"/>
                  </a:cubicBezTo>
                  <a:cubicBezTo>
                    <a:pt x="123" y="310"/>
                    <a:pt x="127" y="312"/>
                    <a:pt x="119" y="307"/>
                  </a:cubicBezTo>
                  <a:cubicBezTo>
                    <a:pt x="112" y="302"/>
                    <a:pt x="109" y="297"/>
                    <a:pt x="104" y="295"/>
                  </a:cubicBezTo>
                  <a:cubicBezTo>
                    <a:pt x="99" y="293"/>
                    <a:pt x="96" y="292"/>
                    <a:pt x="93" y="292"/>
                  </a:cubicBezTo>
                  <a:cubicBezTo>
                    <a:pt x="90" y="292"/>
                    <a:pt x="78" y="292"/>
                    <a:pt x="77" y="291"/>
                  </a:cubicBezTo>
                  <a:cubicBezTo>
                    <a:pt x="76" y="291"/>
                    <a:pt x="75" y="289"/>
                    <a:pt x="74" y="288"/>
                  </a:cubicBezTo>
                  <a:cubicBezTo>
                    <a:pt x="75" y="288"/>
                    <a:pt x="75" y="288"/>
                    <a:pt x="75" y="288"/>
                  </a:cubicBezTo>
                  <a:cubicBezTo>
                    <a:pt x="75" y="288"/>
                    <a:pt x="78" y="289"/>
                    <a:pt x="75" y="283"/>
                  </a:cubicBezTo>
                  <a:cubicBezTo>
                    <a:pt x="72" y="278"/>
                    <a:pt x="71" y="279"/>
                    <a:pt x="72" y="275"/>
                  </a:cubicBezTo>
                  <a:cubicBezTo>
                    <a:pt x="73" y="271"/>
                    <a:pt x="75" y="271"/>
                    <a:pt x="72" y="268"/>
                  </a:cubicBezTo>
                  <a:cubicBezTo>
                    <a:pt x="68" y="264"/>
                    <a:pt x="57" y="267"/>
                    <a:pt x="55" y="259"/>
                  </a:cubicBezTo>
                  <a:cubicBezTo>
                    <a:pt x="52" y="252"/>
                    <a:pt x="51" y="245"/>
                    <a:pt x="48" y="239"/>
                  </a:cubicBezTo>
                  <a:cubicBezTo>
                    <a:pt x="44" y="232"/>
                    <a:pt x="39" y="225"/>
                    <a:pt x="35" y="222"/>
                  </a:cubicBezTo>
                  <a:cubicBezTo>
                    <a:pt x="32" y="219"/>
                    <a:pt x="28" y="212"/>
                    <a:pt x="26" y="211"/>
                  </a:cubicBezTo>
                  <a:cubicBezTo>
                    <a:pt x="24" y="209"/>
                    <a:pt x="25" y="203"/>
                    <a:pt x="19" y="201"/>
                  </a:cubicBezTo>
                  <a:cubicBezTo>
                    <a:pt x="12" y="200"/>
                    <a:pt x="6" y="198"/>
                    <a:pt x="6" y="198"/>
                  </a:cubicBezTo>
                  <a:cubicBezTo>
                    <a:pt x="6" y="198"/>
                    <a:pt x="0" y="194"/>
                    <a:pt x="1" y="192"/>
                  </a:cubicBezTo>
                  <a:cubicBezTo>
                    <a:pt x="2" y="190"/>
                    <a:pt x="6" y="186"/>
                    <a:pt x="6" y="184"/>
                  </a:cubicBezTo>
                  <a:cubicBezTo>
                    <a:pt x="6" y="182"/>
                    <a:pt x="10" y="179"/>
                    <a:pt x="15" y="179"/>
                  </a:cubicBezTo>
                  <a:cubicBezTo>
                    <a:pt x="21" y="179"/>
                    <a:pt x="25" y="178"/>
                    <a:pt x="27" y="177"/>
                  </a:cubicBezTo>
                  <a:cubicBezTo>
                    <a:pt x="29" y="175"/>
                    <a:pt x="30" y="172"/>
                    <a:pt x="30" y="167"/>
                  </a:cubicBezTo>
                  <a:cubicBezTo>
                    <a:pt x="30" y="162"/>
                    <a:pt x="31" y="159"/>
                    <a:pt x="30" y="159"/>
                  </a:cubicBezTo>
                  <a:cubicBezTo>
                    <a:pt x="29" y="158"/>
                    <a:pt x="27" y="156"/>
                    <a:pt x="27" y="151"/>
                  </a:cubicBezTo>
                  <a:cubicBezTo>
                    <a:pt x="27" y="146"/>
                    <a:pt x="29" y="143"/>
                    <a:pt x="30" y="140"/>
                  </a:cubicBezTo>
                  <a:cubicBezTo>
                    <a:pt x="32" y="137"/>
                    <a:pt x="33" y="135"/>
                    <a:pt x="33" y="131"/>
                  </a:cubicBezTo>
                  <a:cubicBezTo>
                    <a:pt x="33" y="128"/>
                    <a:pt x="32" y="125"/>
                    <a:pt x="32" y="121"/>
                  </a:cubicBezTo>
                  <a:cubicBezTo>
                    <a:pt x="32" y="120"/>
                    <a:pt x="32" y="118"/>
                    <a:pt x="33" y="117"/>
                  </a:cubicBezTo>
                  <a:cubicBezTo>
                    <a:pt x="36" y="113"/>
                    <a:pt x="39" y="109"/>
                    <a:pt x="41" y="112"/>
                  </a:cubicBezTo>
                  <a:cubicBezTo>
                    <a:pt x="43" y="115"/>
                    <a:pt x="46" y="120"/>
                    <a:pt x="47" y="118"/>
                  </a:cubicBezTo>
                  <a:cubicBezTo>
                    <a:pt x="48" y="116"/>
                    <a:pt x="50" y="108"/>
                    <a:pt x="50" y="107"/>
                  </a:cubicBezTo>
                  <a:cubicBezTo>
                    <a:pt x="50" y="106"/>
                    <a:pt x="46" y="95"/>
                    <a:pt x="52" y="84"/>
                  </a:cubicBezTo>
                  <a:cubicBezTo>
                    <a:pt x="59" y="74"/>
                    <a:pt x="59" y="74"/>
                    <a:pt x="63" y="69"/>
                  </a:cubicBezTo>
                  <a:cubicBezTo>
                    <a:pt x="67" y="64"/>
                    <a:pt x="67" y="61"/>
                    <a:pt x="72" y="61"/>
                  </a:cubicBezTo>
                  <a:cubicBezTo>
                    <a:pt x="78" y="61"/>
                    <a:pt x="79" y="62"/>
                    <a:pt x="79" y="56"/>
                  </a:cubicBezTo>
                  <a:cubicBezTo>
                    <a:pt x="79" y="50"/>
                    <a:pt x="75" y="44"/>
                    <a:pt x="79" y="40"/>
                  </a:cubicBezTo>
                  <a:cubicBezTo>
                    <a:pt x="83" y="36"/>
                    <a:pt x="83" y="31"/>
                    <a:pt x="84" y="26"/>
                  </a:cubicBezTo>
                  <a:cubicBezTo>
                    <a:pt x="85" y="20"/>
                    <a:pt x="83" y="17"/>
                    <a:pt x="84" y="16"/>
                  </a:cubicBezTo>
                  <a:cubicBezTo>
                    <a:pt x="84" y="16"/>
                    <a:pt x="84" y="16"/>
                    <a:pt x="85" y="15"/>
                  </a:cubicBezTo>
                  <a:cubicBezTo>
                    <a:pt x="88" y="16"/>
                    <a:pt x="90" y="18"/>
                    <a:pt x="96" y="17"/>
                  </a:cubicBezTo>
                  <a:cubicBezTo>
                    <a:pt x="104" y="16"/>
                    <a:pt x="106" y="10"/>
                    <a:pt x="107" y="13"/>
                  </a:cubicBezTo>
                  <a:cubicBezTo>
                    <a:pt x="108" y="16"/>
                    <a:pt x="110" y="26"/>
                    <a:pt x="112" y="20"/>
                  </a:cubicBezTo>
                  <a:cubicBezTo>
                    <a:pt x="113" y="14"/>
                    <a:pt x="116" y="10"/>
                    <a:pt x="118" y="5"/>
                  </a:cubicBezTo>
                  <a:cubicBezTo>
                    <a:pt x="120" y="0"/>
                    <a:pt x="122" y="4"/>
                    <a:pt x="123" y="5"/>
                  </a:cubicBezTo>
                  <a:cubicBezTo>
                    <a:pt x="124" y="6"/>
                    <a:pt x="125" y="11"/>
                    <a:pt x="132" y="11"/>
                  </a:cubicBezTo>
                  <a:cubicBezTo>
                    <a:pt x="140" y="11"/>
                    <a:pt x="140" y="13"/>
                    <a:pt x="145" y="10"/>
                  </a:cubicBezTo>
                  <a:cubicBezTo>
                    <a:pt x="150" y="7"/>
                    <a:pt x="145" y="6"/>
                    <a:pt x="155" y="9"/>
                  </a:cubicBezTo>
                  <a:cubicBezTo>
                    <a:pt x="164" y="12"/>
                    <a:pt x="164" y="13"/>
                    <a:pt x="172" y="13"/>
                  </a:cubicBezTo>
                  <a:cubicBezTo>
                    <a:pt x="179" y="12"/>
                    <a:pt x="178" y="12"/>
                    <a:pt x="184" y="16"/>
                  </a:cubicBezTo>
                  <a:cubicBezTo>
                    <a:pt x="190" y="20"/>
                    <a:pt x="193" y="20"/>
                    <a:pt x="198" y="25"/>
                  </a:cubicBezTo>
                  <a:cubicBezTo>
                    <a:pt x="202" y="30"/>
                    <a:pt x="201" y="35"/>
                    <a:pt x="204" y="37"/>
                  </a:cubicBezTo>
                  <a:cubicBezTo>
                    <a:pt x="207" y="40"/>
                    <a:pt x="212" y="44"/>
                    <a:pt x="214" y="47"/>
                  </a:cubicBezTo>
                  <a:cubicBezTo>
                    <a:pt x="216" y="50"/>
                    <a:pt x="222" y="59"/>
                    <a:pt x="226" y="62"/>
                  </a:cubicBezTo>
                  <a:cubicBezTo>
                    <a:pt x="228" y="64"/>
                    <a:pt x="230" y="65"/>
                    <a:pt x="233" y="66"/>
                  </a:cubicBezTo>
                  <a:cubicBezTo>
                    <a:pt x="232" y="68"/>
                    <a:pt x="230" y="70"/>
                    <a:pt x="230" y="71"/>
                  </a:cubicBezTo>
                  <a:cubicBezTo>
                    <a:pt x="230" y="73"/>
                    <a:pt x="228" y="73"/>
                    <a:pt x="228" y="77"/>
                  </a:cubicBezTo>
                  <a:cubicBezTo>
                    <a:pt x="227" y="80"/>
                    <a:pt x="225" y="80"/>
                    <a:pt x="224" y="83"/>
                  </a:cubicBezTo>
                  <a:cubicBezTo>
                    <a:pt x="222" y="85"/>
                    <a:pt x="219" y="89"/>
                    <a:pt x="219" y="89"/>
                  </a:cubicBezTo>
                  <a:cubicBezTo>
                    <a:pt x="219" y="90"/>
                    <a:pt x="219" y="97"/>
                    <a:pt x="219" y="100"/>
                  </a:cubicBezTo>
                  <a:cubicBezTo>
                    <a:pt x="219" y="102"/>
                    <a:pt x="219" y="108"/>
                    <a:pt x="220" y="109"/>
                  </a:cubicBezTo>
                  <a:cubicBezTo>
                    <a:pt x="221" y="109"/>
                    <a:pt x="220" y="110"/>
                    <a:pt x="224" y="110"/>
                  </a:cubicBezTo>
                  <a:cubicBezTo>
                    <a:pt x="229" y="110"/>
                    <a:pt x="228" y="109"/>
                    <a:pt x="233" y="108"/>
                  </a:cubicBezTo>
                  <a:cubicBezTo>
                    <a:pt x="237" y="107"/>
                    <a:pt x="236" y="107"/>
                    <a:pt x="240" y="107"/>
                  </a:cubicBezTo>
                  <a:cubicBezTo>
                    <a:pt x="243" y="107"/>
                    <a:pt x="245" y="107"/>
                    <a:pt x="247" y="107"/>
                  </a:cubicBezTo>
                  <a:cubicBezTo>
                    <a:pt x="247" y="108"/>
                    <a:pt x="247" y="109"/>
                    <a:pt x="247" y="110"/>
                  </a:cubicBezTo>
                  <a:cubicBezTo>
                    <a:pt x="247" y="111"/>
                    <a:pt x="247" y="112"/>
                    <a:pt x="245" y="115"/>
                  </a:cubicBezTo>
                  <a:cubicBezTo>
                    <a:pt x="244" y="117"/>
                    <a:pt x="241" y="116"/>
                    <a:pt x="242" y="120"/>
                  </a:cubicBezTo>
                  <a:cubicBezTo>
                    <a:pt x="244" y="124"/>
                    <a:pt x="243" y="127"/>
                    <a:pt x="245" y="129"/>
                  </a:cubicBezTo>
                  <a:cubicBezTo>
                    <a:pt x="246" y="130"/>
                    <a:pt x="260" y="153"/>
                    <a:pt x="271" y="160"/>
                  </a:cubicBezTo>
                  <a:cubicBezTo>
                    <a:pt x="282" y="167"/>
                    <a:pt x="304" y="176"/>
                    <a:pt x="316" y="179"/>
                  </a:cubicBezTo>
                  <a:cubicBezTo>
                    <a:pt x="329" y="183"/>
                    <a:pt x="339" y="188"/>
                    <a:pt x="346" y="190"/>
                  </a:cubicBezTo>
                  <a:cubicBezTo>
                    <a:pt x="353" y="192"/>
                    <a:pt x="366" y="192"/>
                    <a:pt x="369" y="192"/>
                  </a:cubicBezTo>
                  <a:cubicBezTo>
                    <a:pt x="372" y="192"/>
                    <a:pt x="380" y="190"/>
                    <a:pt x="369" y="200"/>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05" name="Freeform 894">
              <a:extLst>
                <a:ext uri="{FF2B5EF4-FFF2-40B4-BE49-F238E27FC236}">
                  <a16:creationId xmlns:a16="http://schemas.microsoft.com/office/drawing/2014/main" id="{AA27FEE7-0212-6245-8F36-00217A7275ED}"/>
                </a:ext>
              </a:extLst>
            </p:cNvPr>
            <p:cNvSpPr>
              <a:spLocks/>
            </p:cNvSpPr>
            <p:nvPr/>
          </p:nvSpPr>
          <p:spPr bwMode="auto">
            <a:xfrm>
              <a:off x="5002229" y="2346782"/>
              <a:ext cx="239713" cy="365125"/>
            </a:xfrm>
            <a:custGeom>
              <a:avLst/>
              <a:gdLst>
                <a:gd name="T0" fmla="*/ 251 w 251"/>
                <a:gd name="T1" fmla="*/ 38 h 383"/>
                <a:gd name="T2" fmla="*/ 245 w 251"/>
                <a:gd name="T3" fmla="*/ 65 h 383"/>
                <a:gd name="T4" fmla="*/ 227 w 251"/>
                <a:gd name="T5" fmla="*/ 100 h 383"/>
                <a:gd name="T6" fmla="*/ 220 w 251"/>
                <a:gd name="T7" fmla="*/ 125 h 383"/>
                <a:gd name="T8" fmla="*/ 202 w 251"/>
                <a:gd name="T9" fmla="*/ 157 h 383"/>
                <a:gd name="T10" fmla="*/ 187 w 251"/>
                <a:gd name="T11" fmla="*/ 193 h 383"/>
                <a:gd name="T12" fmla="*/ 162 w 251"/>
                <a:gd name="T13" fmla="*/ 230 h 383"/>
                <a:gd name="T14" fmla="*/ 131 w 251"/>
                <a:gd name="T15" fmla="*/ 264 h 383"/>
                <a:gd name="T16" fmla="*/ 93 w 251"/>
                <a:gd name="T17" fmla="*/ 292 h 383"/>
                <a:gd name="T18" fmla="*/ 58 w 251"/>
                <a:gd name="T19" fmla="*/ 326 h 383"/>
                <a:gd name="T20" fmla="*/ 26 w 251"/>
                <a:gd name="T21" fmla="*/ 369 h 383"/>
                <a:gd name="T22" fmla="*/ 16 w 251"/>
                <a:gd name="T23" fmla="*/ 379 h 383"/>
                <a:gd name="T24" fmla="*/ 0 w 251"/>
                <a:gd name="T25" fmla="*/ 274 h 383"/>
                <a:gd name="T26" fmla="*/ 12 w 251"/>
                <a:gd name="T27" fmla="*/ 244 h 383"/>
                <a:gd name="T28" fmla="*/ 24 w 251"/>
                <a:gd name="T29" fmla="*/ 225 h 383"/>
                <a:gd name="T30" fmla="*/ 49 w 251"/>
                <a:gd name="T31" fmla="*/ 212 h 383"/>
                <a:gd name="T32" fmla="*/ 95 w 251"/>
                <a:gd name="T33" fmla="*/ 197 h 383"/>
                <a:gd name="T34" fmla="*/ 133 w 251"/>
                <a:gd name="T35" fmla="*/ 160 h 383"/>
                <a:gd name="T36" fmla="*/ 168 w 251"/>
                <a:gd name="T37" fmla="*/ 112 h 383"/>
                <a:gd name="T38" fmla="*/ 115 w 251"/>
                <a:gd name="T39" fmla="*/ 99 h 383"/>
                <a:gd name="T40" fmla="*/ 44 w 251"/>
                <a:gd name="T41" fmla="*/ 49 h 383"/>
                <a:gd name="T42" fmla="*/ 44 w 251"/>
                <a:gd name="T43" fmla="*/ 35 h 383"/>
                <a:gd name="T44" fmla="*/ 46 w 251"/>
                <a:gd name="T45" fmla="*/ 27 h 383"/>
                <a:gd name="T46" fmla="*/ 53 w 251"/>
                <a:gd name="T47" fmla="*/ 19 h 383"/>
                <a:gd name="T48" fmla="*/ 63 w 251"/>
                <a:gd name="T49" fmla="*/ 26 h 383"/>
                <a:gd name="T50" fmla="*/ 81 w 251"/>
                <a:gd name="T51" fmla="*/ 42 h 383"/>
                <a:gd name="T52" fmla="*/ 116 w 251"/>
                <a:gd name="T53" fmla="*/ 33 h 383"/>
                <a:gd name="T54" fmla="*/ 146 w 251"/>
                <a:gd name="T55" fmla="*/ 29 h 383"/>
                <a:gd name="T56" fmla="*/ 178 w 251"/>
                <a:gd name="T57" fmla="*/ 22 h 383"/>
                <a:gd name="T58" fmla="*/ 204 w 251"/>
                <a:gd name="T59" fmla="*/ 20 h 383"/>
                <a:gd name="T60" fmla="*/ 226 w 251"/>
                <a:gd name="T61" fmla="*/ 13 h 383"/>
                <a:gd name="T62" fmla="*/ 249 w 251"/>
                <a:gd name="T63" fmla="*/ 3 h 383"/>
                <a:gd name="T64" fmla="*/ 249 w 251"/>
                <a:gd name="T65" fmla="*/ 2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1" h="383">
                  <a:moveTo>
                    <a:pt x="249" y="27"/>
                  </a:moveTo>
                  <a:cubicBezTo>
                    <a:pt x="251" y="30"/>
                    <a:pt x="251" y="35"/>
                    <a:pt x="251" y="38"/>
                  </a:cubicBezTo>
                  <a:cubicBezTo>
                    <a:pt x="251" y="42"/>
                    <a:pt x="247" y="48"/>
                    <a:pt x="247" y="50"/>
                  </a:cubicBezTo>
                  <a:cubicBezTo>
                    <a:pt x="246" y="52"/>
                    <a:pt x="245" y="61"/>
                    <a:pt x="245" y="65"/>
                  </a:cubicBezTo>
                  <a:cubicBezTo>
                    <a:pt x="245" y="68"/>
                    <a:pt x="242" y="80"/>
                    <a:pt x="240" y="82"/>
                  </a:cubicBezTo>
                  <a:cubicBezTo>
                    <a:pt x="239" y="85"/>
                    <a:pt x="228" y="98"/>
                    <a:pt x="227" y="100"/>
                  </a:cubicBezTo>
                  <a:cubicBezTo>
                    <a:pt x="226" y="102"/>
                    <a:pt x="223" y="110"/>
                    <a:pt x="222" y="112"/>
                  </a:cubicBezTo>
                  <a:cubicBezTo>
                    <a:pt x="220" y="115"/>
                    <a:pt x="220" y="119"/>
                    <a:pt x="220" y="125"/>
                  </a:cubicBezTo>
                  <a:cubicBezTo>
                    <a:pt x="220" y="131"/>
                    <a:pt x="211" y="135"/>
                    <a:pt x="209" y="139"/>
                  </a:cubicBezTo>
                  <a:cubicBezTo>
                    <a:pt x="207" y="142"/>
                    <a:pt x="202" y="149"/>
                    <a:pt x="202" y="157"/>
                  </a:cubicBezTo>
                  <a:cubicBezTo>
                    <a:pt x="201" y="165"/>
                    <a:pt x="206" y="167"/>
                    <a:pt x="200" y="175"/>
                  </a:cubicBezTo>
                  <a:cubicBezTo>
                    <a:pt x="194" y="183"/>
                    <a:pt x="191" y="185"/>
                    <a:pt x="187" y="193"/>
                  </a:cubicBezTo>
                  <a:cubicBezTo>
                    <a:pt x="183" y="201"/>
                    <a:pt x="173" y="204"/>
                    <a:pt x="172" y="212"/>
                  </a:cubicBezTo>
                  <a:cubicBezTo>
                    <a:pt x="171" y="220"/>
                    <a:pt x="165" y="225"/>
                    <a:pt x="162" y="230"/>
                  </a:cubicBezTo>
                  <a:cubicBezTo>
                    <a:pt x="159" y="234"/>
                    <a:pt x="155" y="241"/>
                    <a:pt x="149" y="248"/>
                  </a:cubicBezTo>
                  <a:cubicBezTo>
                    <a:pt x="143" y="255"/>
                    <a:pt x="137" y="258"/>
                    <a:pt x="131" y="264"/>
                  </a:cubicBezTo>
                  <a:cubicBezTo>
                    <a:pt x="125" y="269"/>
                    <a:pt x="118" y="272"/>
                    <a:pt x="112" y="277"/>
                  </a:cubicBezTo>
                  <a:cubicBezTo>
                    <a:pt x="106" y="282"/>
                    <a:pt x="106" y="284"/>
                    <a:pt x="93" y="292"/>
                  </a:cubicBezTo>
                  <a:cubicBezTo>
                    <a:pt x="81" y="300"/>
                    <a:pt x="74" y="303"/>
                    <a:pt x="71" y="310"/>
                  </a:cubicBezTo>
                  <a:cubicBezTo>
                    <a:pt x="67" y="317"/>
                    <a:pt x="62" y="316"/>
                    <a:pt x="58" y="326"/>
                  </a:cubicBezTo>
                  <a:cubicBezTo>
                    <a:pt x="53" y="336"/>
                    <a:pt x="52" y="341"/>
                    <a:pt x="42" y="349"/>
                  </a:cubicBezTo>
                  <a:cubicBezTo>
                    <a:pt x="33" y="357"/>
                    <a:pt x="32" y="360"/>
                    <a:pt x="26" y="369"/>
                  </a:cubicBezTo>
                  <a:cubicBezTo>
                    <a:pt x="21" y="376"/>
                    <a:pt x="20" y="379"/>
                    <a:pt x="17" y="383"/>
                  </a:cubicBezTo>
                  <a:cubicBezTo>
                    <a:pt x="17" y="382"/>
                    <a:pt x="16" y="381"/>
                    <a:pt x="16" y="379"/>
                  </a:cubicBezTo>
                  <a:cubicBezTo>
                    <a:pt x="15" y="374"/>
                    <a:pt x="3" y="358"/>
                    <a:pt x="3" y="358"/>
                  </a:cubicBezTo>
                  <a:cubicBezTo>
                    <a:pt x="3" y="358"/>
                    <a:pt x="0" y="281"/>
                    <a:pt x="0" y="274"/>
                  </a:cubicBezTo>
                  <a:cubicBezTo>
                    <a:pt x="0" y="267"/>
                    <a:pt x="3" y="258"/>
                    <a:pt x="4" y="254"/>
                  </a:cubicBezTo>
                  <a:cubicBezTo>
                    <a:pt x="5" y="250"/>
                    <a:pt x="8" y="250"/>
                    <a:pt x="12" y="244"/>
                  </a:cubicBezTo>
                  <a:cubicBezTo>
                    <a:pt x="16" y="238"/>
                    <a:pt x="17" y="235"/>
                    <a:pt x="19" y="234"/>
                  </a:cubicBezTo>
                  <a:cubicBezTo>
                    <a:pt x="21" y="233"/>
                    <a:pt x="23" y="229"/>
                    <a:pt x="24" y="225"/>
                  </a:cubicBezTo>
                  <a:cubicBezTo>
                    <a:pt x="30" y="224"/>
                    <a:pt x="27" y="220"/>
                    <a:pt x="33" y="217"/>
                  </a:cubicBezTo>
                  <a:cubicBezTo>
                    <a:pt x="40" y="214"/>
                    <a:pt x="45" y="216"/>
                    <a:pt x="49" y="212"/>
                  </a:cubicBezTo>
                  <a:cubicBezTo>
                    <a:pt x="54" y="208"/>
                    <a:pt x="57" y="204"/>
                    <a:pt x="63" y="200"/>
                  </a:cubicBezTo>
                  <a:cubicBezTo>
                    <a:pt x="70" y="197"/>
                    <a:pt x="82" y="197"/>
                    <a:pt x="95" y="197"/>
                  </a:cubicBezTo>
                  <a:cubicBezTo>
                    <a:pt x="108" y="197"/>
                    <a:pt x="106" y="191"/>
                    <a:pt x="107" y="186"/>
                  </a:cubicBezTo>
                  <a:cubicBezTo>
                    <a:pt x="109" y="182"/>
                    <a:pt x="130" y="164"/>
                    <a:pt x="133" y="160"/>
                  </a:cubicBezTo>
                  <a:cubicBezTo>
                    <a:pt x="136" y="155"/>
                    <a:pt x="157" y="130"/>
                    <a:pt x="168" y="120"/>
                  </a:cubicBezTo>
                  <a:cubicBezTo>
                    <a:pt x="179" y="110"/>
                    <a:pt x="171" y="112"/>
                    <a:pt x="168" y="112"/>
                  </a:cubicBezTo>
                  <a:cubicBezTo>
                    <a:pt x="165" y="112"/>
                    <a:pt x="152" y="112"/>
                    <a:pt x="145" y="110"/>
                  </a:cubicBezTo>
                  <a:cubicBezTo>
                    <a:pt x="138" y="108"/>
                    <a:pt x="128" y="103"/>
                    <a:pt x="115" y="99"/>
                  </a:cubicBezTo>
                  <a:cubicBezTo>
                    <a:pt x="103" y="96"/>
                    <a:pt x="81" y="87"/>
                    <a:pt x="70" y="80"/>
                  </a:cubicBezTo>
                  <a:cubicBezTo>
                    <a:pt x="59" y="73"/>
                    <a:pt x="45" y="50"/>
                    <a:pt x="44" y="49"/>
                  </a:cubicBezTo>
                  <a:cubicBezTo>
                    <a:pt x="42" y="47"/>
                    <a:pt x="43" y="44"/>
                    <a:pt x="41" y="40"/>
                  </a:cubicBezTo>
                  <a:cubicBezTo>
                    <a:pt x="40" y="36"/>
                    <a:pt x="43" y="37"/>
                    <a:pt x="44" y="35"/>
                  </a:cubicBezTo>
                  <a:cubicBezTo>
                    <a:pt x="46" y="32"/>
                    <a:pt x="46" y="31"/>
                    <a:pt x="46" y="30"/>
                  </a:cubicBezTo>
                  <a:cubicBezTo>
                    <a:pt x="46" y="29"/>
                    <a:pt x="46" y="28"/>
                    <a:pt x="46" y="27"/>
                  </a:cubicBezTo>
                  <a:cubicBezTo>
                    <a:pt x="47" y="27"/>
                    <a:pt x="48" y="26"/>
                    <a:pt x="48" y="26"/>
                  </a:cubicBezTo>
                  <a:cubicBezTo>
                    <a:pt x="51" y="23"/>
                    <a:pt x="53" y="20"/>
                    <a:pt x="53" y="19"/>
                  </a:cubicBezTo>
                  <a:cubicBezTo>
                    <a:pt x="53" y="18"/>
                    <a:pt x="53" y="16"/>
                    <a:pt x="53" y="15"/>
                  </a:cubicBezTo>
                  <a:cubicBezTo>
                    <a:pt x="60" y="18"/>
                    <a:pt x="63" y="23"/>
                    <a:pt x="63" y="26"/>
                  </a:cubicBezTo>
                  <a:cubicBezTo>
                    <a:pt x="64" y="29"/>
                    <a:pt x="70" y="28"/>
                    <a:pt x="72" y="34"/>
                  </a:cubicBezTo>
                  <a:cubicBezTo>
                    <a:pt x="73" y="40"/>
                    <a:pt x="70" y="39"/>
                    <a:pt x="81" y="42"/>
                  </a:cubicBezTo>
                  <a:cubicBezTo>
                    <a:pt x="93" y="46"/>
                    <a:pt x="88" y="53"/>
                    <a:pt x="98" y="43"/>
                  </a:cubicBezTo>
                  <a:cubicBezTo>
                    <a:pt x="108" y="33"/>
                    <a:pt x="112" y="33"/>
                    <a:pt x="116" y="33"/>
                  </a:cubicBezTo>
                  <a:cubicBezTo>
                    <a:pt x="120" y="33"/>
                    <a:pt x="129" y="35"/>
                    <a:pt x="133" y="35"/>
                  </a:cubicBezTo>
                  <a:cubicBezTo>
                    <a:pt x="136" y="35"/>
                    <a:pt x="142" y="34"/>
                    <a:pt x="146" y="29"/>
                  </a:cubicBezTo>
                  <a:cubicBezTo>
                    <a:pt x="150" y="25"/>
                    <a:pt x="158" y="23"/>
                    <a:pt x="161" y="24"/>
                  </a:cubicBezTo>
                  <a:cubicBezTo>
                    <a:pt x="164" y="24"/>
                    <a:pt x="174" y="26"/>
                    <a:pt x="178" y="22"/>
                  </a:cubicBezTo>
                  <a:cubicBezTo>
                    <a:pt x="182" y="19"/>
                    <a:pt x="181" y="17"/>
                    <a:pt x="188" y="19"/>
                  </a:cubicBezTo>
                  <a:cubicBezTo>
                    <a:pt x="195" y="21"/>
                    <a:pt x="201" y="22"/>
                    <a:pt x="204" y="20"/>
                  </a:cubicBezTo>
                  <a:cubicBezTo>
                    <a:pt x="207" y="17"/>
                    <a:pt x="205" y="16"/>
                    <a:pt x="212" y="15"/>
                  </a:cubicBezTo>
                  <a:cubicBezTo>
                    <a:pt x="219" y="14"/>
                    <a:pt x="223" y="15"/>
                    <a:pt x="226" y="13"/>
                  </a:cubicBezTo>
                  <a:cubicBezTo>
                    <a:pt x="229" y="11"/>
                    <a:pt x="228" y="10"/>
                    <a:pt x="235" y="5"/>
                  </a:cubicBezTo>
                  <a:cubicBezTo>
                    <a:pt x="241" y="0"/>
                    <a:pt x="247" y="3"/>
                    <a:pt x="249" y="3"/>
                  </a:cubicBezTo>
                  <a:cubicBezTo>
                    <a:pt x="251" y="4"/>
                    <a:pt x="251" y="11"/>
                    <a:pt x="251" y="13"/>
                  </a:cubicBezTo>
                  <a:cubicBezTo>
                    <a:pt x="250" y="16"/>
                    <a:pt x="248" y="23"/>
                    <a:pt x="249" y="27"/>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06" name="Freeform 895">
              <a:extLst>
                <a:ext uri="{FF2B5EF4-FFF2-40B4-BE49-F238E27FC236}">
                  <a16:creationId xmlns:a16="http://schemas.microsoft.com/office/drawing/2014/main" id="{1235E5BB-C835-FB40-9923-D261BB3E82CC}"/>
                </a:ext>
              </a:extLst>
            </p:cNvPr>
            <p:cNvSpPr>
              <a:spLocks/>
            </p:cNvSpPr>
            <p:nvPr/>
          </p:nvSpPr>
          <p:spPr bwMode="auto">
            <a:xfrm>
              <a:off x="4886341" y="2186445"/>
              <a:ext cx="161926" cy="149225"/>
            </a:xfrm>
            <a:custGeom>
              <a:avLst/>
              <a:gdLst>
                <a:gd name="T0" fmla="*/ 170 w 170"/>
                <a:gd name="T1" fmla="*/ 149 h 157"/>
                <a:gd name="T2" fmla="*/ 166 w 170"/>
                <a:gd name="T3" fmla="*/ 153 h 157"/>
                <a:gd name="T4" fmla="*/ 158 w 170"/>
                <a:gd name="T5" fmla="*/ 156 h 157"/>
                <a:gd name="T6" fmla="*/ 153 w 170"/>
                <a:gd name="T7" fmla="*/ 154 h 157"/>
                <a:gd name="T8" fmla="*/ 146 w 170"/>
                <a:gd name="T9" fmla="*/ 150 h 157"/>
                <a:gd name="T10" fmla="*/ 134 w 170"/>
                <a:gd name="T11" fmla="*/ 135 h 157"/>
                <a:gd name="T12" fmla="*/ 124 w 170"/>
                <a:gd name="T13" fmla="*/ 125 h 157"/>
                <a:gd name="T14" fmla="*/ 118 w 170"/>
                <a:gd name="T15" fmla="*/ 113 h 157"/>
                <a:gd name="T16" fmla="*/ 104 w 170"/>
                <a:gd name="T17" fmla="*/ 104 h 157"/>
                <a:gd name="T18" fmla="*/ 92 w 170"/>
                <a:gd name="T19" fmla="*/ 101 h 157"/>
                <a:gd name="T20" fmla="*/ 75 w 170"/>
                <a:gd name="T21" fmla="*/ 97 h 157"/>
                <a:gd name="T22" fmla="*/ 65 w 170"/>
                <a:gd name="T23" fmla="*/ 98 h 157"/>
                <a:gd name="T24" fmla="*/ 52 w 170"/>
                <a:gd name="T25" fmla="*/ 99 h 157"/>
                <a:gd name="T26" fmla="*/ 43 w 170"/>
                <a:gd name="T27" fmla="*/ 93 h 157"/>
                <a:gd name="T28" fmla="*/ 38 w 170"/>
                <a:gd name="T29" fmla="*/ 93 h 157"/>
                <a:gd name="T30" fmla="*/ 32 w 170"/>
                <a:gd name="T31" fmla="*/ 108 h 157"/>
                <a:gd name="T32" fmla="*/ 27 w 170"/>
                <a:gd name="T33" fmla="*/ 101 h 157"/>
                <a:gd name="T34" fmla="*/ 16 w 170"/>
                <a:gd name="T35" fmla="*/ 105 h 157"/>
                <a:gd name="T36" fmla="*/ 5 w 170"/>
                <a:gd name="T37" fmla="*/ 103 h 157"/>
                <a:gd name="T38" fmla="*/ 4 w 170"/>
                <a:gd name="T39" fmla="*/ 90 h 157"/>
                <a:gd name="T40" fmla="*/ 5 w 170"/>
                <a:gd name="T41" fmla="*/ 79 h 157"/>
                <a:gd name="T42" fmla="*/ 10 w 170"/>
                <a:gd name="T43" fmla="*/ 58 h 157"/>
                <a:gd name="T44" fmla="*/ 15 w 170"/>
                <a:gd name="T45" fmla="*/ 47 h 157"/>
                <a:gd name="T46" fmla="*/ 15 w 170"/>
                <a:gd name="T47" fmla="*/ 31 h 157"/>
                <a:gd name="T48" fmla="*/ 23 w 170"/>
                <a:gd name="T49" fmla="*/ 28 h 157"/>
                <a:gd name="T50" fmla="*/ 29 w 170"/>
                <a:gd name="T51" fmla="*/ 21 h 157"/>
                <a:gd name="T52" fmla="*/ 41 w 170"/>
                <a:gd name="T53" fmla="*/ 14 h 157"/>
                <a:gd name="T54" fmla="*/ 51 w 170"/>
                <a:gd name="T55" fmla="*/ 3 h 157"/>
                <a:gd name="T56" fmla="*/ 54 w 170"/>
                <a:gd name="T57" fmla="*/ 0 h 157"/>
                <a:gd name="T58" fmla="*/ 59 w 170"/>
                <a:gd name="T59" fmla="*/ 9 h 157"/>
                <a:gd name="T60" fmla="*/ 65 w 170"/>
                <a:gd name="T61" fmla="*/ 27 h 157"/>
                <a:gd name="T62" fmla="*/ 70 w 170"/>
                <a:gd name="T63" fmla="*/ 41 h 157"/>
                <a:gd name="T64" fmla="*/ 73 w 170"/>
                <a:gd name="T65" fmla="*/ 56 h 157"/>
                <a:gd name="T66" fmla="*/ 81 w 170"/>
                <a:gd name="T67" fmla="*/ 76 h 157"/>
                <a:gd name="T68" fmla="*/ 86 w 170"/>
                <a:gd name="T69" fmla="*/ 80 h 157"/>
                <a:gd name="T70" fmla="*/ 92 w 170"/>
                <a:gd name="T71" fmla="*/ 73 h 157"/>
                <a:gd name="T72" fmla="*/ 96 w 170"/>
                <a:gd name="T73" fmla="*/ 86 h 157"/>
                <a:gd name="T74" fmla="*/ 106 w 170"/>
                <a:gd name="T75" fmla="*/ 85 h 157"/>
                <a:gd name="T76" fmla="*/ 117 w 170"/>
                <a:gd name="T77" fmla="*/ 96 h 157"/>
                <a:gd name="T78" fmla="*/ 127 w 170"/>
                <a:gd name="T79" fmla="*/ 102 h 157"/>
                <a:gd name="T80" fmla="*/ 133 w 170"/>
                <a:gd name="T81" fmla="*/ 113 h 157"/>
                <a:gd name="T82" fmla="*/ 143 w 170"/>
                <a:gd name="T83" fmla="*/ 121 h 157"/>
                <a:gd name="T84" fmla="*/ 153 w 170"/>
                <a:gd name="T85" fmla="*/ 133 h 157"/>
                <a:gd name="T86" fmla="*/ 163 w 170"/>
                <a:gd name="T87" fmla="*/ 144 h 157"/>
                <a:gd name="T88" fmla="*/ 170 w 170"/>
                <a:gd name="T89" fmla="*/ 14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0" h="157">
                  <a:moveTo>
                    <a:pt x="170" y="149"/>
                  </a:moveTo>
                  <a:cubicBezTo>
                    <a:pt x="169" y="149"/>
                    <a:pt x="167" y="151"/>
                    <a:pt x="166" y="153"/>
                  </a:cubicBezTo>
                  <a:cubicBezTo>
                    <a:pt x="164" y="157"/>
                    <a:pt x="162" y="156"/>
                    <a:pt x="158" y="156"/>
                  </a:cubicBezTo>
                  <a:cubicBezTo>
                    <a:pt x="156" y="156"/>
                    <a:pt x="154" y="155"/>
                    <a:pt x="153" y="154"/>
                  </a:cubicBezTo>
                  <a:cubicBezTo>
                    <a:pt x="150" y="153"/>
                    <a:pt x="148" y="152"/>
                    <a:pt x="146" y="150"/>
                  </a:cubicBezTo>
                  <a:cubicBezTo>
                    <a:pt x="142" y="147"/>
                    <a:pt x="136" y="138"/>
                    <a:pt x="134" y="135"/>
                  </a:cubicBezTo>
                  <a:cubicBezTo>
                    <a:pt x="132" y="132"/>
                    <a:pt x="127" y="128"/>
                    <a:pt x="124" y="125"/>
                  </a:cubicBezTo>
                  <a:cubicBezTo>
                    <a:pt x="121" y="123"/>
                    <a:pt x="122" y="118"/>
                    <a:pt x="118" y="113"/>
                  </a:cubicBezTo>
                  <a:cubicBezTo>
                    <a:pt x="113" y="108"/>
                    <a:pt x="110" y="108"/>
                    <a:pt x="104" y="104"/>
                  </a:cubicBezTo>
                  <a:cubicBezTo>
                    <a:pt x="98" y="100"/>
                    <a:pt x="99" y="100"/>
                    <a:pt x="92" y="101"/>
                  </a:cubicBezTo>
                  <a:cubicBezTo>
                    <a:pt x="84" y="101"/>
                    <a:pt x="84" y="100"/>
                    <a:pt x="75" y="97"/>
                  </a:cubicBezTo>
                  <a:cubicBezTo>
                    <a:pt x="65" y="94"/>
                    <a:pt x="70" y="95"/>
                    <a:pt x="65" y="98"/>
                  </a:cubicBezTo>
                  <a:cubicBezTo>
                    <a:pt x="60" y="101"/>
                    <a:pt x="60" y="99"/>
                    <a:pt x="52" y="99"/>
                  </a:cubicBezTo>
                  <a:cubicBezTo>
                    <a:pt x="45" y="99"/>
                    <a:pt x="44" y="94"/>
                    <a:pt x="43" y="93"/>
                  </a:cubicBezTo>
                  <a:cubicBezTo>
                    <a:pt x="42" y="92"/>
                    <a:pt x="40" y="88"/>
                    <a:pt x="38" y="93"/>
                  </a:cubicBezTo>
                  <a:cubicBezTo>
                    <a:pt x="36" y="98"/>
                    <a:pt x="33" y="102"/>
                    <a:pt x="32" y="108"/>
                  </a:cubicBezTo>
                  <a:cubicBezTo>
                    <a:pt x="30" y="114"/>
                    <a:pt x="28" y="104"/>
                    <a:pt x="27" y="101"/>
                  </a:cubicBezTo>
                  <a:cubicBezTo>
                    <a:pt x="26" y="98"/>
                    <a:pt x="24" y="104"/>
                    <a:pt x="16" y="105"/>
                  </a:cubicBezTo>
                  <a:cubicBezTo>
                    <a:pt x="9" y="106"/>
                    <a:pt x="8" y="104"/>
                    <a:pt x="5" y="103"/>
                  </a:cubicBezTo>
                  <a:cubicBezTo>
                    <a:pt x="5" y="101"/>
                    <a:pt x="5" y="95"/>
                    <a:pt x="4" y="90"/>
                  </a:cubicBezTo>
                  <a:cubicBezTo>
                    <a:pt x="4" y="84"/>
                    <a:pt x="0" y="89"/>
                    <a:pt x="5" y="79"/>
                  </a:cubicBezTo>
                  <a:cubicBezTo>
                    <a:pt x="9" y="69"/>
                    <a:pt x="9" y="63"/>
                    <a:pt x="10" y="58"/>
                  </a:cubicBezTo>
                  <a:cubicBezTo>
                    <a:pt x="12" y="53"/>
                    <a:pt x="15" y="55"/>
                    <a:pt x="15" y="47"/>
                  </a:cubicBezTo>
                  <a:cubicBezTo>
                    <a:pt x="14" y="39"/>
                    <a:pt x="14" y="34"/>
                    <a:pt x="15" y="31"/>
                  </a:cubicBezTo>
                  <a:cubicBezTo>
                    <a:pt x="16" y="28"/>
                    <a:pt x="19" y="30"/>
                    <a:pt x="23" y="28"/>
                  </a:cubicBezTo>
                  <a:cubicBezTo>
                    <a:pt x="26" y="26"/>
                    <a:pt x="28" y="22"/>
                    <a:pt x="29" y="21"/>
                  </a:cubicBezTo>
                  <a:cubicBezTo>
                    <a:pt x="30" y="20"/>
                    <a:pt x="34" y="17"/>
                    <a:pt x="41" y="14"/>
                  </a:cubicBezTo>
                  <a:cubicBezTo>
                    <a:pt x="48" y="11"/>
                    <a:pt x="49" y="6"/>
                    <a:pt x="51" y="3"/>
                  </a:cubicBezTo>
                  <a:cubicBezTo>
                    <a:pt x="53" y="1"/>
                    <a:pt x="53" y="0"/>
                    <a:pt x="54" y="0"/>
                  </a:cubicBezTo>
                  <a:cubicBezTo>
                    <a:pt x="56" y="3"/>
                    <a:pt x="57" y="5"/>
                    <a:pt x="59" y="9"/>
                  </a:cubicBezTo>
                  <a:cubicBezTo>
                    <a:pt x="61" y="13"/>
                    <a:pt x="64" y="21"/>
                    <a:pt x="65" y="27"/>
                  </a:cubicBezTo>
                  <a:cubicBezTo>
                    <a:pt x="66" y="33"/>
                    <a:pt x="70" y="34"/>
                    <a:pt x="70" y="41"/>
                  </a:cubicBezTo>
                  <a:cubicBezTo>
                    <a:pt x="71" y="48"/>
                    <a:pt x="67" y="43"/>
                    <a:pt x="73" y="56"/>
                  </a:cubicBezTo>
                  <a:cubicBezTo>
                    <a:pt x="79" y="68"/>
                    <a:pt x="77" y="67"/>
                    <a:pt x="81" y="76"/>
                  </a:cubicBezTo>
                  <a:cubicBezTo>
                    <a:pt x="85" y="84"/>
                    <a:pt x="86" y="85"/>
                    <a:pt x="86" y="80"/>
                  </a:cubicBezTo>
                  <a:cubicBezTo>
                    <a:pt x="86" y="74"/>
                    <a:pt x="90" y="69"/>
                    <a:pt x="92" y="73"/>
                  </a:cubicBezTo>
                  <a:cubicBezTo>
                    <a:pt x="94" y="77"/>
                    <a:pt x="88" y="84"/>
                    <a:pt x="96" y="86"/>
                  </a:cubicBezTo>
                  <a:cubicBezTo>
                    <a:pt x="103" y="88"/>
                    <a:pt x="99" y="78"/>
                    <a:pt x="106" y="85"/>
                  </a:cubicBezTo>
                  <a:cubicBezTo>
                    <a:pt x="113" y="92"/>
                    <a:pt x="116" y="96"/>
                    <a:pt x="117" y="96"/>
                  </a:cubicBezTo>
                  <a:cubicBezTo>
                    <a:pt x="119" y="96"/>
                    <a:pt x="124" y="98"/>
                    <a:pt x="127" y="102"/>
                  </a:cubicBezTo>
                  <a:cubicBezTo>
                    <a:pt x="129" y="106"/>
                    <a:pt x="127" y="106"/>
                    <a:pt x="133" y="113"/>
                  </a:cubicBezTo>
                  <a:cubicBezTo>
                    <a:pt x="139" y="120"/>
                    <a:pt x="139" y="116"/>
                    <a:pt x="143" y="121"/>
                  </a:cubicBezTo>
                  <a:cubicBezTo>
                    <a:pt x="147" y="127"/>
                    <a:pt x="147" y="128"/>
                    <a:pt x="153" y="133"/>
                  </a:cubicBezTo>
                  <a:cubicBezTo>
                    <a:pt x="159" y="138"/>
                    <a:pt x="159" y="140"/>
                    <a:pt x="163" y="144"/>
                  </a:cubicBezTo>
                  <a:cubicBezTo>
                    <a:pt x="166" y="147"/>
                    <a:pt x="168" y="146"/>
                    <a:pt x="170" y="149"/>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07" name="Freeform 896">
              <a:extLst>
                <a:ext uri="{FF2B5EF4-FFF2-40B4-BE49-F238E27FC236}">
                  <a16:creationId xmlns:a16="http://schemas.microsoft.com/office/drawing/2014/main" id="{DFB14848-1F6E-E74C-A8A5-E2E39DCBA42D}"/>
                </a:ext>
              </a:extLst>
            </p:cNvPr>
            <p:cNvSpPr>
              <a:spLocks/>
            </p:cNvSpPr>
            <p:nvPr/>
          </p:nvSpPr>
          <p:spPr bwMode="auto">
            <a:xfrm>
              <a:off x="5019691" y="2327732"/>
              <a:ext cx="41275" cy="47625"/>
            </a:xfrm>
            <a:custGeom>
              <a:avLst/>
              <a:gdLst>
                <a:gd name="T0" fmla="*/ 38 w 44"/>
                <a:gd name="T1" fmla="*/ 22 h 49"/>
                <a:gd name="T2" fmla="*/ 27 w 44"/>
                <a:gd name="T3" fmla="*/ 26 h 49"/>
                <a:gd name="T4" fmla="*/ 22 w 44"/>
                <a:gd name="T5" fmla="*/ 32 h 49"/>
                <a:gd name="T6" fmla="*/ 35 w 44"/>
                <a:gd name="T7" fmla="*/ 34 h 49"/>
                <a:gd name="T8" fmla="*/ 35 w 44"/>
                <a:gd name="T9" fmla="*/ 34 h 49"/>
                <a:gd name="T10" fmla="*/ 35 w 44"/>
                <a:gd name="T11" fmla="*/ 38 h 49"/>
                <a:gd name="T12" fmla="*/ 30 w 44"/>
                <a:gd name="T13" fmla="*/ 45 h 49"/>
                <a:gd name="T14" fmla="*/ 28 w 44"/>
                <a:gd name="T15" fmla="*/ 46 h 49"/>
                <a:gd name="T16" fmla="*/ 21 w 44"/>
                <a:gd name="T17" fmla="*/ 46 h 49"/>
                <a:gd name="T18" fmla="*/ 14 w 44"/>
                <a:gd name="T19" fmla="*/ 47 h 49"/>
                <a:gd name="T20" fmla="*/ 5 w 44"/>
                <a:gd name="T21" fmla="*/ 49 h 49"/>
                <a:gd name="T22" fmla="*/ 1 w 44"/>
                <a:gd name="T23" fmla="*/ 48 h 49"/>
                <a:gd name="T24" fmla="*/ 0 w 44"/>
                <a:gd name="T25" fmla="*/ 39 h 49"/>
                <a:gd name="T26" fmla="*/ 0 w 44"/>
                <a:gd name="T27" fmla="*/ 28 h 49"/>
                <a:gd name="T28" fmla="*/ 5 w 44"/>
                <a:gd name="T29" fmla="*/ 22 h 49"/>
                <a:gd name="T30" fmla="*/ 9 w 44"/>
                <a:gd name="T31" fmla="*/ 16 h 49"/>
                <a:gd name="T32" fmla="*/ 11 w 44"/>
                <a:gd name="T33" fmla="*/ 10 h 49"/>
                <a:gd name="T34" fmla="*/ 14 w 44"/>
                <a:gd name="T35" fmla="*/ 5 h 49"/>
                <a:gd name="T36" fmla="*/ 19 w 44"/>
                <a:gd name="T37" fmla="*/ 7 h 49"/>
                <a:gd name="T38" fmla="*/ 27 w 44"/>
                <a:gd name="T39" fmla="*/ 4 h 49"/>
                <a:gd name="T40" fmla="*/ 31 w 44"/>
                <a:gd name="T41" fmla="*/ 0 h 49"/>
                <a:gd name="T42" fmla="*/ 33 w 44"/>
                <a:gd name="T43" fmla="*/ 2 h 49"/>
                <a:gd name="T44" fmla="*/ 41 w 44"/>
                <a:gd name="T45" fmla="*/ 11 h 49"/>
                <a:gd name="T46" fmla="*/ 38 w 44"/>
                <a:gd name="T47"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9">
                  <a:moveTo>
                    <a:pt x="38" y="22"/>
                  </a:moveTo>
                  <a:cubicBezTo>
                    <a:pt x="31" y="23"/>
                    <a:pt x="30" y="24"/>
                    <a:pt x="27" y="26"/>
                  </a:cubicBezTo>
                  <a:cubicBezTo>
                    <a:pt x="23" y="28"/>
                    <a:pt x="20" y="31"/>
                    <a:pt x="22" y="32"/>
                  </a:cubicBezTo>
                  <a:cubicBezTo>
                    <a:pt x="24" y="34"/>
                    <a:pt x="27" y="31"/>
                    <a:pt x="35" y="34"/>
                  </a:cubicBezTo>
                  <a:cubicBezTo>
                    <a:pt x="35" y="34"/>
                    <a:pt x="35" y="34"/>
                    <a:pt x="35" y="34"/>
                  </a:cubicBezTo>
                  <a:cubicBezTo>
                    <a:pt x="35" y="35"/>
                    <a:pt x="35" y="37"/>
                    <a:pt x="35" y="38"/>
                  </a:cubicBezTo>
                  <a:cubicBezTo>
                    <a:pt x="35" y="39"/>
                    <a:pt x="33" y="42"/>
                    <a:pt x="30" y="45"/>
                  </a:cubicBezTo>
                  <a:cubicBezTo>
                    <a:pt x="30" y="45"/>
                    <a:pt x="29" y="46"/>
                    <a:pt x="28" y="46"/>
                  </a:cubicBezTo>
                  <a:cubicBezTo>
                    <a:pt x="26" y="46"/>
                    <a:pt x="24" y="46"/>
                    <a:pt x="21" y="46"/>
                  </a:cubicBezTo>
                  <a:cubicBezTo>
                    <a:pt x="17" y="46"/>
                    <a:pt x="18" y="46"/>
                    <a:pt x="14" y="47"/>
                  </a:cubicBezTo>
                  <a:cubicBezTo>
                    <a:pt x="9" y="48"/>
                    <a:pt x="10" y="49"/>
                    <a:pt x="5" y="49"/>
                  </a:cubicBezTo>
                  <a:cubicBezTo>
                    <a:pt x="1" y="49"/>
                    <a:pt x="2" y="48"/>
                    <a:pt x="1" y="48"/>
                  </a:cubicBezTo>
                  <a:cubicBezTo>
                    <a:pt x="0" y="47"/>
                    <a:pt x="0" y="41"/>
                    <a:pt x="0" y="39"/>
                  </a:cubicBezTo>
                  <a:cubicBezTo>
                    <a:pt x="0" y="36"/>
                    <a:pt x="0" y="29"/>
                    <a:pt x="0" y="28"/>
                  </a:cubicBezTo>
                  <a:cubicBezTo>
                    <a:pt x="0" y="28"/>
                    <a:pt x="3" y="24"/>
                    <a:pt x="5" y="22"/>
                  </a:cubicBezTo>
                  <a:cubicBezTo>
                    <a:pt x="6" y="19"/>
                    <a:pt x="8" y="19"/>
                    <a:pt x="9" y="16"/>
                  </a:cubicBezTo>
                  <a:cubicBezTo>
                    <a:pt x="9" y="12"/>
                    <a:pt x="11" y="12"/>
                    <a:pt x="11" y="10"/>
                  </a:cubicBezTo>
                  <a:cubicBezTo>
                    <a:pt x="11" y="8"/>
                    <a:pt x="13" y="7"/>
                    <a:pt x="14" y="5"/>
                  </a:cubicBezTo>
                  <a:cubicBezTo>
                    <a:pt x="15" y="6"/>
                    <a:pt x="17" y="7"/>
                    <a:pt x="19" y="7"/>
                  </a:cubicBezTo>
                  <a:cubicBezTo>
                    <a:pt x="23" y="7"/>
                    <a:pt x="25" y="8"/>
                    <a:pt x="27" y="4"/>
                  </a:cubicBezTo>
                  <a:cubicBezTo>
                    <a:pt x="28" y="2"/>
                    <a:pt x="30" y="0"/>
                    <a:pt x="31" y="0"/>
                  </a:cubicBezTo>
                  <a:cubicBezTo>
                    <a:pt x="32" y="0"/>
                    <a:pt x="32" y="1"/>
                    <a:pt x="33" y="2"/>
                  </a:cubicBezTo>
                  <a:cubicBezTo>
                    <a:pt x="36" y="7"/>
                    <a:pt x="43" y="5"/>
                    <a:pt x="41" y="11"/>
                  </a:cubicBezTo>
                  <a:cubicBezTo>
                    <a:pt x="39" y="17"/>
                    <a:pt x="44" y="20"/>
                    <a:pt x="38" y="22"/>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08" name="Freeform 897">
              <a:extLst>
                <a:ext uri="{FF2B5EF4-FFF2-40B4-BE49-F238E27FC236}">
                  <a16:creationId xmlns:a16="http://schemas.microsoft.com/office/drawing/2014/main" id="{F27B9CE1-C48A-2847-990F-1BD1617289FF}"/>
                </a:ext>
              </a:extLst>
            </p:cNvPr>
            <p:cNvSpPr>
              <a:spLocks/>
            </p:cNvSpPr>
            <p:nvPr/>
          </p:nvSpPr>
          <p:spPr bwMode="auto">
            <a:xfrm>
              <a:off x="5024454" y="2349957"/>
              <a:ext cx="42863" cy="11113"/>
            </a:xfrm>
            <a:custGeom>
              <a:avLst/>
              <a:gdLst>
                <a:gd name="T0" fmla="*/ 27 w 27"/>
                <a:gd name="T1" fmla="*/ 4 h 7"/>
                <a:gd name="T2" fmla="*/ 27 w 27"/>
                <a:gd name="T3" fmla="*/ 1 h 7"/>
                <a:gd name="T4" fmla="*/ 8 w 27"/>
                <a:gd name="T5" fmla="*/ 3 h 7"/>
                <a:gd name="T6" fmla="*/ 9 w 27"/>
                <a:gd name="T7" fmla="*/ 0 h 7"/>
                <a:gd name="T8" fmla="*/ 0 w 27"/>
                <a:gd name="T9" fmla="*/ 4 h 7"/>
                <a:gd name="T10" fmla="*/ 9 w 27"/>
                <a:gd name="T11" fmla="*/ 7 h 7"/>
                <a:gd name="T12" fmla="*/ 8 w 27"/>
                <a:gd name="T13" fmla="*/ 5 h 7"/>
                <a:gd name="T14" fmla="*/ 27 w 27"/>
                <a:gd name="T15" fmla="*/ 4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7">
                  <a:moveTo>
                    <a:pt x="27" y="4"/>
                  </a:moveTo>
                  <a:lnTo>
                    <a:pt x="27" y="1"/>
                  </a:lnTo>
                  <a:lnTo>
                    <a:pt x="8" y="3"/>
                  </a:lnTo>
                  <a:lnTo>
                    <a:pt x="9" y="0"/>
                  </a:lnTo>
                  <a:lnTo>
                    <a:pt x="0" y="4"/>
                  </a:lnTo>
                  <a:lnTo>
                    <a:pt x="9" y="7"/>
                  </a:lnTo>
                  <a:lnTo>
                    <a:pt x="8" y="5"/>
                  </a:lnTo>
                  <a:lnTo>
                    <a:pt x="27" y="4"/>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09" name="Freeform 898">
              <a:extLst>
                <a:ext uri="{FF2B5EF4-FFF2-40B4-BE49-F238E27FC236}">
                  <a16:creationId xmlns:a16="http://schemas.microsoft.com/office/drawing/2014/main" id="{93A2F952-181E-4A46-8636-DDE01928A7AF}"/>
                </a:ext>
              </a:extLst>
            </p:cNvPr>
            <p:cNvSpPr>
              <a:spLocks noEditPoints="1"/>
            </p:cNvSpPr>
            <p:nvPr/>
          </p:nvSpPr>
          <p:spPr bwMode="auto">
            <a:xfrm>
              <a:off x="4414852" y="3258008"/>
              <a:ext cx="381001" cy="339725"/>
            </a:xfrm>
            <a:custGeom>
              <a:avLst/>
              <a:gdLst>
                <a:gd name="T0" fmla="*/ 378 w 400"/>
                <a:gd name="T1" fmla="*/ 134 h 357"/>
                <a:gd name="T2" fmla="*/ 373 w 400"/>
                <a:gd name="T3" fmla="*/ 146 h 357"/>
                <a:gd name="T4" fmla="*/ 353 w 400"/>
                <a:gd name="T5" fmla="*/ 139 h 357"/>
                <a:gd name="T6" fmla="*/ 353 w 400"/>
                <a:gd name="T7" fmla="*/ 117 h 357"/>
                <a:gd name="T8" fmla="*/ 367 w 400"/>
                <a:gd name="T9" fmla="*/ 103 h 357"/>
                <a:gd name="T10" fmla="*/ 380 w 400"/>
                <a:gd name="T11" fmla="*/ 109 h 357"/>
                <a:gd name="T12" fmla="*/ 379 w 400"/>
                <a:gd name="T13" fmla="*/ 80 h 357"/>
                <a:gd name="T14" fmla="*/ 372 w 400"/>
                <a:gd name="T15" fmla="*/ 46 h 357"/>
                <a:gd name="T16" fmla="*/ 367 w 400"/>
                <a:gd name="T17" fmla="*/ 15 h 357"/>
                <a:gd name="T18" fmla="*/ 348 w 400"/>
                <a:gd name="T19" fmla="*/ 7 h 357"/>
                <a:gd name="T20" fmla="*/ 314 w 400"/>
                <a:gd name="T21" fmla="*/ 1 h 357"/>
                <a:gd name="T22" fmla="*/ 309 w 400"/>
                <a:gd name="T23" fmla="*/ 7 h 357"/>
                <a:gd name="T24" fmla="*/ 282 w 400"/>
                <a:gd name="T25" fmla="*/ 23 h 357"/>
                <a:gd name="T26" fmla="*/ 258 w 400"/>
                <a:gd name="T27" fmla="*/ 45 h 357"/>
                <a:gd name="T28" fmla="*/ 239 w 400"/>
                <a:gd name="T29" fmla="*/ 74 h 357"/>
                <a:gd name="T30" fmla="*/ 212 w 400"/>
                <a:gd name="T31" fmla="*/ 103 h 357"/>
                <a:gd name="T32" fmla="*/ 180 w 400"/>
                <a:gd name="T33" fmla="*/ 98 h 357"/>
                <a:gd name="T34" fmla="*/ 150 w 400"/>
                <a:gd name="T35" fmla="*/ 109 h 357"/>
                <a:gd name="T36" fmla="*/ 126 w 400"/>
                <a:gd name="T37" fmla="*/ 133 h 357"/>
                <a:gd name="T38" fmla="*/ 106 w 400"/>
                <a:gd name="T39" fmla="*/ 104 h 357"/>
                <a:gd name="T40" fmla="*/ 90 w 400"/>
                <a:gd name="T41" fmla="*/ 86 h 357"/>
                <a:gd name="T42" fmla="*/ 72 w 400"/>
                <a:gd name="T43" fmla="*/ 181 h 357"/>
                <a:gd name="T44" fmla="*/ 45 w 400"/>
                <a:gd name="T45" fmla="*/ 190 h 357"/>
                <a:gd name="T46" fmla="*/ 18 w 400"/>
                <a:gd name="T47" fmla="*/ 168 h 357"/>
                <a:gd name="T48" fmla="*/ 2 w 400"/>
                <a:gd name="T49" fmla="*/ 180 h 357"/>
                <a:gd name="T50" fmla="*/ 9 w 400"/>
                <a:gd name="T51" fmla="*/ 200 h 357"/>
                <a:gd name="T52" fmla="*/ 24 w 400"/>
                <a:gd name="T53" fmla="*/ 243 h 357"/>
                <a:gd name="T54" fmla="*/ 39 w 400"/>
                <a:gd name="T55" fmla="*/ 276 h 357"/>
                <a:gd name="T56" fmla="*/ 37 w 400"/>
                <a:gd name="T57" fmla="*/ 298 h 357"/>
                <a:gd name="T58" fmla="*/ 34 w 400"/>
                <a:gd name="T59" fmla="*/ 311 h 357"/>
                <a:gd name="T60" fmla="*/ 39 w 400"/>
                <a:gd name="T61" fmla="*/ 331 h 357"/>
                <a:gd name="T62" fmla="*/ 47 w 400"/>
                <a:gd name="T63" fmla="*/ 335 h 357"/>
                <a:gd name="T64" fmla="*/ 59 w 400"/>
                <a:gd name="T65" fmla="*/ 342 h 357"/>
                <a:gd name="T66" fmla="*/ 71 w 400"/>
                <a:gd name="T67" fmla="*/ 354 h 357"/>
                <a:gd name="T68" fmla="*/ 93 w 400"/>
                <a:gd name="T69" fmla="*/ 349 h 357"/>
                <a:gd name="T70" fmla="*/ 117 w 400"/>
                <a:gd name="T71" fmla="*/ 347 h 357"/>
                <a:gd name="T72" fmla="*/ 135 w 400"/>
                <a:gd name="T73" fmla="*/ 339 h 357"/>
                <a:gd name="T74" fmla="*/ 160 w 400"/>
                <a:gd name="T75" fmla="*/ 335 h 357"/>
                <a:gd name="T76" fmla="*/ 182 w 400"/>
                <a:gd name="T77" fmla="*/ 339 h 357"/>
                <a:gd name="T78" fmla="*/ 201 w 400"/>
                <a:gd name="T79" fmla="*/ 334 h 357"/>
                <a:gd name="T80" fmla="*/ 216 w 400"/>
                <a:gd name="T81" fmla="*/ 329 h 357"/>
                <a:gd name="T82" fmla="*/ 239 w 400"/>
                <a:gd name="T83" fmla="*/ 325 h 357"/>
                <a:gd name="T84" fmla="*/ 262 w 400"/>
                <a:gd name="T85" fmla="*/ 310 h 357"/>
                <a:gd name="T86" fmla="*/ 289 w 400"/>
                <a:gd name="T87" fmla="*/ 289 h 357"/>
                <a:gd name="T88" fmla="*/ 309 w 400"/>
                <a:gd name="T89" fmla="*/ 269 h 357"/>
                <a:gd name="T90" fmla="*/ 331 w 400"/>
                <a:gd name="T91" fmla="*/ 243 h 357"/>
                <a:gd name="T92" fmla="*/ 351 w 400"/>
                <a:gd name="T93" fmla="*/ 218 h 357"/>
                <a:gd name="T94" fmla="*/ 366 w 400"/>
                <a:gd name="T95" fmla="*/ 193 h 357"/>
                <a:gd name="T96" fmla="*/ 385 w 400"/>
                <a:gd name="T97" fmla="*/ 176 h 357"/>
                <a:gd name="T98" fmla="*/ 398 w 400"/>
                <a:gd name="T99" fmla="*/ 141 h 357"/>
                <a:gd name="T100" fmla="*/ 379 w 400"/>
                <a:gd name="T101" fmla="*/ 134 h 357"/>
                <a:gd name="T102" fmla="*/ 306 w 400"/>
                <a:gd name="T103" fmla="*/ 216 h 357"/>
                <a:gd name="T104" fmla="*/ 285 w 400"/>
                <a:gd name="T105" fmla="*/ 227 h 357"/>
                <a:gd name="T106" fmla="*/ 272 w 400"/>
                <a:gd name="T107" fmla="*/ 238 h 357"/>
                <a:gd name="T108" fmla="*/ 258 w 400"/>
                <a:gd name="T109" fmla="*/ 222 h 357"/>
                <a:gd name="T110" fmla="*/ 255 w 400"/>
                <a:gd name="T111" fmla="*/ 210 h 357"/>
                <a:gd name="T112" fmla="*/ 268 w 400"/>
                <a:gd name="T113" fmla="*/ 192 h 357"/>
                <a:gd name="T114" fmla="*/ 291 w 400"/>
                <a:gd name="T115" fmla="*/ 181 h 357"/>
                <a:gd name="T116" fmla="*/ 306 w 400"/>
                <a:gd name="T117" fmla="*/ 19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0" h="357">
                  <a:moveTo>
                    <a:pt x="379" y="134"/>
                  </a:moveTo>
                  <a:cubicBezTo>
                    <a:pt x="378" y="134"/>
                    <a:pt x="378" y="134"/>
                    <a:pt x="378" y="134"/>
                  </a:cubicBezTo>
                  <a:cubicBezTo>
                    <a:pt x="377" y="135"/>
                    <a:pt x="376" y="136"/>
                    <a:pt x="376" y="137"/>
                  </a:cubicBezTo>
                  <a:cubicBezTo>
                    <a:pt x="376" y="139"/>
                    <a:pt x="376" y="147"/>
                    <a:pt x="373" y="146"/>
                  </a:cubicBezTo>
                  <a:cubicBezTo>
                    <a:pt x="371" y="146"/>
                    <a:pt x="367" y="146"/>
                    <a:pt x="359" y="144"/>
                  </a:cubicBezTo>
                  <a:cubicBezTo>
                    <a:pt x="352" y="142"/>
                    <a:pt x="356" y="141"/>
                    <a:pt x="353" y="139"/>
                  </a:cubicBezTo>
                  <a:cubicBezTo>
                    <a:pt x="350" y="136"/>
                    <a:pt x="348" y="135"/>
                    <a:pt x="348" y="129"/>
                  </a:cubicBezTo>
                  <a:cubicBezTo>
                    <a:pt x="348" y="124"/>
                    <a:pt x="352" y="123"/>
                    <a:pt x="353" y="117"/>
                  </a:cubicBezTo>
                  <a:cubicBezTo>
                    <a:pt x="354" y="111"/>
                    <a:pt x="355" y="112"/>
                    <a:pt x="355" y="109"/>
                  </a:cubicBezTo>
                  <a:cubicBezTo>
                    <a:pt x="356" y="106"/>
                    <a:pt x="361" y="103"/>
                    <a:pt x="367" y="103"/>
                  </a:cubicBezTo>
                  <a:cubicBezTo>
                    <a:pt x="372" y="102"/>
                    <a:pt x="371" y="107"/>
                    <a:pt x="373" y="108"/>
                  </a:cubicBezTo>
                  <a:cubicBezTo>
                    <a:pt x="374" y="110"/>
                    <a:pt x="378" y="109"/>
                    <a:pt x="380" y="109"/>
                  </a:cubicBezTo>
                  <a:cubicBezTo>
                    <a:pt x="379" y="105"/>
                    <a:pt x="378" y="106"/>
                    <a:pt x="379" y="103"/>
                  </a:cubicBezTo>
                  <a:cubicBezTo>
                    <a:pt x="380" y="99"/>
                    <a:pt x="380" y="91"/>
                    <a:pt x="379" y="80"/>
                  </a:cubicBezTo>
                  <a:cubicBezTo>
                    <a:pt x="379" y="70"/>
                    <a:pt x="379" y="72"/>
                    <a:pt x="379" y="66"/>
                  </a:cubicBezTo>
                  <a:cubicBezTo>
                    <a:pt x="379" y="60"/>
                    <a:pt x="377" y="55"/>
                    <a:pt x="372" y="46"/>
                  </a:cubicBezTo>
                  <a:cubicBezTo>
                    <a:pt x="368" y="38"/>
                    <a:pt x="372" y="40"/>
                    <a:pt x="372" y="33"/>
                  </a:cubicBezTo>
                  <a:cubicBezTo>
                    <a:pt x="371" y="25"/>
                    <a:pt x="370" y="22"/>
                    <a:pt x="367" y="15"/>
                  </a:cubicBezTo>
                  <a:cubicBezTo>
                    <a:pt x="365" y="12"/>
                    <a:pt x="365" y="9"/>
                    <a:pt x="366" y="7"/>
                  </a:cubicBezTo>
                  <a:cubicBezTo>
                    <a:pt x="362" y="5"/>
                    <a:pt x="359" y="9"/>
                    <a:pt x="348" y="7"/>
                  </a:cubicBezTo>
                  <a:cubicBezTo>
                    <a:pt x="338" y="4"/>
                    <a:pt x="338" y="3"/>
                    <a:pt x="330" y="2"/>
                  </a:cubicBezTo>
                  <a:cubicBezTo>
                    <a:pt x="324" y="1"/>
                    <a:pt x="317" y="0"/>
                    <a:pt x="314" y="1"/>
                  </a:cubicBezTo>
                  <a:cubicBezTo>
                    <a:pt x="314" y="1"/>
                    <a:pt x="313" y="1"/>
                    <a:pt x="313" y="2"/>
                  </a:cubicBezTo>
                  <a:cubicBezTo>
                    <a:pt x="310" y="4"/>
                    <a:pt x="312" y="4"/>
                    <a:pt x="309" y="7"/>
                  </a:cubicBezTo>
                  <a:cubicBezTo>
                    <a:pt x="307" y="11"/>
                    <a:pt x="301" y="13"/>
                    <a:pt x="297" y="15"/>
                  </a:cubicBezTo>
                  <a:cubicBezTo>
                    <a:pt x="293" y="17"/>
                    <a:pt x="288" y="16"/>
                    <a:pt x="282" y="23"/>
                  </a:cubicBezTo>
                  <a:cubicBezTo>
                    <a:pt x="277" y="29"/>
                    <a:pt x="271" y="36"/>
                    <a:pt x="268" y="40"/>
                  </a:cubicBezTo>
                  <a:cubicBezTo>
                    <a:pt x="265" y="43"/>
                    <a:pt x="262" y="37"/>
                    <a:pt x="258" y="45"/>
                  </a:cubicBezTo>
                  <a:cubicBezTo>
                    <a:pt x="254" y="53"/>
                    <a:pt x="253" y="61"/>
                    <a:pt x="252" y="64"/>
                  </a:cubicBezTo>
                  <a:cubicBezTo>
                    <a:pt x="250" y="68"/>
                    <a:pt x="243" y="73"/>
                    <a:pt x="239" y="74"/>
                  </a:cubicBezTo>
                  <a:cubicBezTo>
                    <a:pt x="234" y="75"/>
                    <a:pt x="231" y="75"/>
                    <a:pt x="229" y="82"/>
                  </a:cubicBezTo>
                  <a:cubicBezTo>
                    <a:pt x="228" y="89"/>
                    <a:pt x="217" y="101"/>
                    <a:pt x="212" y="103"/>
                  </a:cubicBezTo>
                  <a:cubicBezTo>
                    <a:pt x="207" y="104"/>
                    <a:pt x="207" y="103"/>
                    <a:pt x="199" y="103"/>
                  </a:cubicBezTo>
                  <a:cubicBezTo>
                    <a:pt x="191" y="102"/>
                    <a:pt x="187" y="102"/>
                    <a:pt x="180" y="98"/>
                  </a:cubicBezTo>
                  <a:cubicBezTo>
                    <a:pt x="174" y="94"/>
                    <a:pt x="168" y="84"/>
                    <a:pt x="161" y="91"/>
                  </a:cubicBezTo>
                  <a:cubicBezTo>
                    <a:pt x="155" y="97"/>
                    <a:pt x="155" y="103"/>
                    <a:pt x="150" y="109"/>
                  </a:cubicBezTo>
                  <a:cubicBezTo>
                    <a:pt x="146" y="116"/>
                    <a:pt x="143" y="120"/>
                    <a:pt x="136" y="126"/>
                  </a:cubicBezTo>
                  <a:cubicBezTo>
                    <a:pt x="130" y="133"/>
                    <a:pt x="139" y="133"/>
                    <a:pt x="126" y="133"/>
                  </a:cubicBezTo>
                  <a:cubicBezTo>
                    <a:pt x="113" y="133"/>
                    <a:pt x="100" y="142"/>
                    <a:pt x="101" y="129"/>
                  </a:cubicBezTo>
                  <a:cubicBezTo>
                    <a:pt x="102" y="117"/>
                    <a:pt x="113" y="115"/>
                    <a:pt x="106" y="104"/>
                  </a:cubicBezTo>
                  <a:cubicBezTo>
                    <a:pt x="99" y="92"/>
                    <a:pt x="98" y="84"/>
                    <a:pt x="92" y="81"/>
                  </a:cubicBezTo>
                  <a:cubicBezTo>
                    <a:pt x="92" y="80"/>
                    <a:pt x="91" y="82"/>
                    <a:pt x="90" y="86"/>
                  </a:cubicBezTo>
                  <a:cubicBezTo>
                    <a:pt x="87" y="105"/>
                    <a:pt x="86" y="166"/>
                    <a:pt x="86" y="173"/>
                  </a:cubicBezTo>
                  <a:cubicBezTo>
                    <a:pt x="86" y="181"/>
                    <a:pt x="80" y="174"/>
                    <a:pt x="72" y="181"/>
                  </a:cubicBezTo>
                  <a:cubicBezTo>
                    <a:pt x="65" y="187"/>
                    <a:pt x="70" y="194"/>
                    <a:pt x="59" y="193"/>
                  </a:cubicBezTo>
                  <a:cubicBezTo>
                    <a:pt x="48" y="192"/>
                    <a:pt x="55" y="195"/>
                    <a:pt x="45" y="190"/>
                  </a:cubicBezTo>
                  <a:cubicBezTo>
                    <a:pt x="35" y="186"/>
                    <a:pt x="25" y="189"/>
                    <a:pt x="24" y="181"/>
                  </a:cubicBezTo>
                  <a:cubicBezTo>
                    <a:pt x="23" y="173"/>
                    <a:pt x="18" y="168"/>
                    <a:pt x="18" y="168"/>
                  </a:cubicBezTo>
                  <a:cubicBezTo>
                    <a:pt x="18" y="168"/>
                    <a:pt x="6" y="169"/>
                    <a:pt x="6" y="173"/>
                  </a:cubicBezTo>
                  <a:cubicBezTo>
                    <a:pt x="5" y="176"/>
                    <a:pt x="4" y="178"/>
                    <a:pt x="2" y="180"/>
                  </a:cubicBezTo>
                  <a:cubicBezTo>
                    <a:pt x="10" y="185"/>
                    <a:pt x="0" y="181"/>
                    <a:pt x="1" y="189"/>
                  </a:cubicBezTo>
                  <a:cubicBezTo>
                    <a:pt x="2" y="197"/>
                    <a:pt x="9" y="200"/>
                    <a:pt x="9" y="200"/>
                  </a:cubicBezTo>
                  <a:cubicBezTo>
                    <a:pt x="9" y="200"/>
                    <a:pt x="12" y="209"/>
                    <a:pt x="15" y="219"/>
                  </a:cubicBezTo>
                  <a:cubicBezTo>
                    <a:pt x="17" y="230"/>
                    <a:pt x="19" y="229"/>
                    <a:pt x="24" y="243"/>
                  </a:cubicBezTo>
                  <a:cubicBezTo>
                    <a:pt x="29" y="256"/>
                    <a:pt x="28" y="250"/>
                    <a:pt x="35" y="259"/>
                  </a:cubicBezTo>
                  <a:cubicBezTo>
                    <a:pt x="42" y="267"/>
                    <a:pt x="38" y="264"/>
                    <a:pt x="39" y="276"/>
                  </a:cubicBezTo>
                  <a:cubicBezTo>
                    <a:pt x="39" y="287"/>
                    <a:pt x="44" y="285"/>
                    <a:pt x="43" y="289"/>
                  </a:cubicBezTo>
                  <a:cubicBezTo>
                    <a:pt x="43" y="293"/>
                    <a:pt x="41" y="297"/>
                    <a:pt x="37" y="298"/>
                  </a:cubicBezTo>
                  <a:cubicBezTo>
                    <a:pt x="33" y="300"/>
                    <a:pt x="33" y="295"/>
                    <a:pt x="31" y="297"/>
                  </a:cubicBezTo>
                  <a:cubicBezTo>
                    <a:pt x="30" y="298"/>
                    <a:pt x="28" y="302"/>
                    <a:pt x="34" y="311"/>
                  </a:cubicBezTo>
                  <a:cubicBezTo>
                    <a:pt x="39" y="320"/>
                    <a:pt x="38" y="317"/>
                    <a:pt x="41" y="323"/>
                  </a:cubicBezTo>
                  <a:cubicBezTo>
                    <a:pt x="43" y="329"/>
                    <a:pt x="41" y="327"/>
                    <a:pt x="39" y="331"/>
                  </a:cubicBezTo>
                  <a:cubicBezTo>
                    <a:pt x="37" y="336"/>
                    <a:pt x="38" y="335"/>
                    <a:pt x="41" y="342"/>
                  </a:cubicBezTo>
                  <a:cubicBezTo>
                    <a:pt x="43" y="349"/>
                    <a:pt x="43" y="340"/>
                    <a:pt x="47" y="335"/>
                  </a:cubicBezTo>
                  <a:cubicBezTo>
                    <a:pt x="50" y="330"/>
                    <a:pt x="47" y="338"/>
                    <a:pt x="52" y="342"/>
                  </a:cubicBezTo>
                  <a:cubicBezTo>
                    <a:pt x="58" y="347"/>
                    <a:pt x="54" y="343"/>
                    <a:pt x="59" y="342"/>
                  </a:cubicBezTo>
                  <a:cubicBezTo>
                    <a:pt x="64" y="341"/>
                    <a:pt x="59" y="342"/>
                    <a:pt x="64" y="350"/>
                  </a:cubicBezTo>
                  <a:cubicBezTo>
                    <a:pt x="69" y="357"/>
                    <a:pt x="66" y="352"/>
                    <a:pt x="71" y="354"/>
                  </a:cubicBezTo>
                  <a:cubicBezTo>
                    <a:pt x="77" y="355"/>
                    <a:pt x="76" y="355"/>
                    <a:pt x="82" y="353"/>
                  </a:cubicBezTo>
                  <a:cubicBezTo>
                    <a:pt x="89" y="350"/>
                    <a:pt x="89" y="353"/>
                    <a:pt x="93" y="349"/>
                  </a:cubicBezTo>
                  <a:cubicBezTo>
                    <a:pt x="97" y="345"/>
                    <a:pt x="97" y="348"/>
                    <a:pt x="105" y="347"/>
                  </a:cubicBezTo>
                  <a:cubicBezTo>
                    <a:pt x="113" y="345"/>
                    <a:pt x="111" y="347"/>
                    <a:pt x="117" y="347"/>
                  </a:cubicBezTo>
                  <a:cubicBezTo>
                    <a:pt x="123" y="346"/>
                    <a:pt x="122" y="346"/>
                    <a:pt x="128" y="343"/>
                  </a:cubicBezTo>
                  <a:cubicBezTo>
                    <a:pt x="134" y="339"/>
                    <a:pt x="130" y="341"/>
                    <a:pt x="135" y="339"/>
                  </a:cubicBezTo>
                  <a:cubicBezTo>
                    <a:pt x="139" y="337"/>
                    <a:pt x="145" y="336"/>
                    <a:pt x="152" y="336"/>
                  </a:cubicBezTo>
                  <a:cubicBezTo>
                    <a:pt x="158" y="336"/>
                    <a:pt x="155" y="338"/>
                    <a:pt x="160" y="335"/>
                  </a:cubicBezTo>
                  <a:cubicBezTo>
                    <a:pt x="164" y="333"/>
                    <a:pt x="164" y="334"/>
                    <a:pt x="169" y="334"/>
                  </a:cubicBezTo>
                  <a:cubicBezTo>
                    <a:pt x="174" y="333"/>
                    <a:pt x="171" y="334"/>
                    <a:pt x="182" y="339"/>
                  </a:cubicBezTo>
                  <a:cubicBezTo>
                    <a:pt x="192" y="343"/>
                    <a:pt x="185" y="341"/>
                    <a:pt x="191" y="339"/>
                  </a:cubicBezTo>
                  <a:cubicBezTo>
                    <a:pt x="196" y="336"/>
                    <a:pt x="198" y="336"/>
                    <a:pt x="201" y="334"/>
                  </a:cubicBezTo>
                  <a:cubicBezTo>
                    <a:pt x="205" y="332"/>
                    <a:pt x="208" y="336"/>
                    <a:pt x="214" y="336"/>
                  </a:cubicBezTo>
                  <a:cubicBezTo>
                    <a:pt x="221" y="336"/>
                    <a:pt x="215" y="331"/>
                    <a:pt x="216" y="329"/>
                  </a:cubicBezTo>
                  <a:cubicBezTo>
                    <a:pt x="217" y="327"/>
                    <a:pt x="220" y="328"/>
                    <a:pt x="231" y="326"/>
                  </a:cubicBezTo>
                  <a:cubicBezTo>
                    <a:pt x="241" y="325"/>
                    <a:pt x="233" y="326"/>
                    <a:pt x="239" y="325"/>
                  </a:cubicBezTo>
                  <a:cubicBezTo>
                    <a:pt x="244" y="323"/>
                    <a:pt x="245" y="322"/>
                    <a:pt x="252" y="318"/>
                  </a:cubicBezTo>
                  <a:cubicBezTo>
                    <a:pt x="259" y="314"/>
                    <a:pt x="258" y="313"/>
                    <a:pt x="262" y="310"/>
                  </a:cubicBezTo>
                  <a:cubicBezTo>
                    <a:pt x="265" y="308"/>
                    <a:pt x="266" y="309"/>
                    <a:pt x="270" y="306"/>
                  </a:cubicBezTo>
                  <a:cubicBezTo>
                    <a:pt x="274" y="302"/>
                    <a:pt x="283" y="298"/>
                    <a:pt x="289" y="289"/>
                  </a:cubicBezTo>
                  <a:cubicBezTo>
                    <a:pt x="296" y="280"/>
                    <a:pt x="295" y="285"/>
                    <a:pt x="296" y="282"/>
                  </a:cubicBezTo>
                  <a:cubicBezTo>
                    <a:pt x="297" y="279"/>
                    <a:pt x="301" y="277"/>
                    <a:pt x="309" y="269"/>
                  </a:cubicBezTo>
                  <a:cubicBezTo>
                    <a:pt x="317" y="261"/>
                    <a:pt x="318" y="263"/>
                    <a:pt x="320" y="260"/>
                  </a:cubicBezTo>
                  <a:cubicBezTo>
                    <a:pt x="323" y="257"/>
                    <a:pt x="328" y="253"/>
                    <a:pt x="331" y="243"/>
                  </a:cubicBezTo>
                  <a:cubicBezTo>
                    <a:pt x="334" y="234"/>
                    <a:pt x="335" y="237"/>
                    <a:pt x="342" y="230"/>
                  </a:cubicBezTo>
                  <a:cubicBezTo>
                    <a:pt x="349" y="222"/>
                    <a:pt x="349" y="221"/>
                    <a:pt x="351" y="218"/>
                  </a:cubicBezTo>
                  <a:cubicBezTo>
                    <a:pt x="353" y="214"/>
                    <a:pt x="355" y="207"/>
                    <a:pt x="357" y="201"/>
                  </a:cubicBezTo>
                  <a:cubicBezTo>
                    <a:pt x="358" y="195"/>
                    <a:pt x="362" y="196"/>
                    <a:pt x="366" y="193"/>
                  </a:cubicBezTo>
                  <a:cubicBezTo>
                    <a:pt x="369" y="190"/>
                    <a:pt x="369" y="191"/>
                    <a:pt x="378" y="188"/>
                  </a:cubicBezTo>
                  <a:cubicBezTo>
                    <a:pt x="387" y="186"/>
                    <a:pt x="385" y="183"/>
                    <a:pt x="385" y="176"/>
                  </a:cubicBezTo>
                  <a:cubicBezTo>
                    <a:pt x="386" y="168"/>
                    <a:pt x="386" y="172"/>
                    <a:pt x="392" y="159"/>
                  </a:cubicBezTo>
                  <a:cubicBezTo>
                    <a:pt x="398" y="147"/>
                    <a:pt x="394" y="150"/>
                    <a:pt x="398" y="141"/>
                  </a:cubicBezTo>
                  <a:cubicBezTo>
                    <a:pt x="399" y="139"/>
                    <a:pt x="399" y="137"/>
                    <a:pt x="400" y="136"/>
                  </a:cubicBezTo>
                  <a:cubicBezTo>
                    <a:pt x="395" y="135"/>
                    <a:pt x="383" y="134"/>
                    <a:pt x="379" y="134"/>
                  </a:cubicBezTo>
                  <a:close/>
                  <a:moveTo>
                    <a:pt x="313" y="203"/>
                  </a:moveTo>
                  <a:cubicBezTo>
                    <a:pt x="312" y="207"/>
                    <a:pt x="308" y="211"/>
                    <a:pt x="306" y="216"/>
                  </a:cubicBezTo>
                  <a:cubicBezTo>
                    <a:pt x="305" y="220"/>
                    <a:pt x="300" y="222"/>
                    <a:pt x="296" y="223"/>
                  </a:cubicBezTo>
                  <a:cubicBezTo>
                    <a:pt x="292" y="224"/>
                    <a:pt x="287" y="222"/>
                    <a:pt x="285" y="227"/>
                  </a:cubicBezTo>
                  <a:cubicBezTo>
                    <a:pt x="284" y="231"/>
                    <a:pt x="281" y="231"/>
                    <a:pt x="281" y="235"/>
                  </a:cubicBezTo>
                  <a:cubicBezTo>
                    <a:pt x="281" y="239"/>
                    <a:pt x="274" y="239"/>
                    <a:pt x="272" y="238"/>
                  </a:cubicBezTo>
                  <a:cubicBezTo>
                    <a:pt x="269" y="237"/>
                    <a:pt x="267" y="238"/>
                    <a:pt x="263" y="232"/>
                  </a:cubicBezTo>
                  <a:cubicBezTo>
                    <a:pt x="259" y="226"/>
                    <a:pt x="261" y="226"/>
                    <a:pt x="258" y="222"/>
                  </a:cubicBezTo>
                  <a:cubicBezTo>
                    <a:pt x="255" y="217"/>
                    <a:pt x="252" y="214"/>
                    <a:pt x="252" y="213"/>
                  </a:cubicBezTo>
                  <a:cubicBezTo>
                    <a:pt x="252" y="211"/>
                    <a:pt x="252" y="209"/>
                    <a:pt x="255" y="210"/>
                  </a:cubicBezTo>
                  <a:cubicBezTo>
                    <a:pt x="260" y="206"/>
                    <a:pt x="259" y="209"/>
                    <a:pt x="263" y="202"/>
                  </a:cubicBezTo>
                  <a:cubicBezTo>
                    <a:pt x="267" y="194"/>
                    <a:pt x="266" y="192"/>
                    <a:pt x="268" y="192"/>
                  </a:cubicBezTo>
                  <a:cubicBezTo>
                    <a:pt x="271" y="192"/>
                    <a:pt x="279" y="192"/>
                    <a:pt x="281" y="188"/>
                  </a:cubicBezTo>
                  <a:cubicBezTo>
                    <a:pt x="283" y="185"/>
                    <a:pt x="288" y="180"/>
                    <a:pt x="291" y="181"/>
                  </a:cubicBezTo>
                  <a:cubicBezTo>
                    <a:pt x="293" y="181"/>
                    <a:pt x="290" y="182"/>
                    <a:pt x="297" y="186"/>
                  </a:cubicBezTo>
                  <a:cubicBezTo>
                    <a:pt x="304" y="190"/>
                    <a:pt x="304" y="188"/>
                    <a:pt x="306" y="193"/>
                  </a:cubicBezTo>
                  <a:cubicBezTo>
                    <a:pt x="309" y="198"/>
                    <a:pt x="314" y="199"/>
                    <a:pt x="313" y="203"/>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10" name="Freeform 899">
              <a:extLst>
                <a:ext uri="{FF2B5EF4-FFF2-40B4-BE49-F238E27FC236}">
                  <a16:creationId xmlns:a16="http://schemas.microsoft.com/office/drawing/2014/main" id="{224C9A26-2732-974C-9B84-88ECDDAE4899}"/>
                </a:ext>
              </a:extLst>
            </p:cNvPr>
            <p:cNvSpPr>
              <a:spLocks/>
            </p:cNvSpPr>
            <p:nvPr/>
          </p:nvSpPr>
          <p:spPr bwMode="auto">
            <a:xfrm>
              <a:off x="5040329" y="2986546"/>
              <a:ext cx="182563" cy="363538"/>
            </a:xfrm>
            <a:custGeom>
              <a:avLst/>
              <a:gdLst>
                <a:gd name="T0" fmla="*/ 161 w 192"/>
                <a:gd name="T1" fmla="*/ 162 h 382"/>
                <a:gd name="T2" fmla="*/ 171 w 192"/>
                <a:gd name="T3" fmla="*/ 136 h 382"/>
                <a:gd name="T4" fmla="*/ 170 w 192"/>
                <a:gd name="T5" fmla="*/ 115 h 382"/>
                <a:gd name="T6" fmla="*/ 175 w 192"/>
                <a:gd name="T7" fmla="*/ 102 h 382"/>
                <a:gd name="T8" fmla="*/ 189 w 192"/>
                <a:gd name="T9" fmla="*/ 105 h 382"/>
                <a:gd name="T10" fmla="*/ 184 w 192"/>
                <a:gd name="T11" fmla="*/ 79 h 382"/>
                <a:gd name="T12" fmla="*/ 182 w 192"/>
                <a:gd name="T13" fmla="*/ 39 h 382"/>
                <a:gd name="T14" fmla="*/ 170 w 192"/>
                <a:gd name="T15" fmla="*/ 12 h 382"/>
                <a:gd name="T16" fmla="*/ 159 w 192"/>
                <a:gd name="T17" fmla="*/ 4 h 382"/>
                <a:gd name="T18" fmla="*/ 151 w 192"/>
                <a:gd name="T19" fmla="*/ 18 h 382"/>
                <a:gd name="T20" fmla="*/ 147 w 192"/>
                <a:gd name="T21" fmla="*/ 36 h 382"/>
                <a:gd name="T22" fmla="*/ 135 w 192"/>
                <a:gd name="T23" fmla="*/ 49 h 382"/>
                <a:gd name="T24" fmla="*/ 127 w 192"/>
                <a:gd name="T25" fmla="*/ 54 h 382"/>
                <a:gd name="T26" fmla="*/ 123 w 192"/>
                <a:gd name="T27" fmla="*/ 72 h 382"/>
                <a:gd name="T28" fmla="*/ 116 w 192"/>
                <a:gd name="T29" fmla="*/ 86 h 382"/>
                <a:gd name="T30" fmla="*/ 106 w 192"/>
                <a:gd name="T31" fmla="*/ 87 h 382"/>
                <a:gd name="T32" fmla="*/ 99 w 192"/>
                <a:gd name="T33" fmla="*/ 91 h 382"/>
                <a:gd name="T34" fmla="*/ 85 w 192"/>
                <a:gd name="T35" fmla="*/ 108 h 382"/>
                <a:gd name="T36" fmla="*/ 66 w 192"/>
                <a:gd name="T37" fmla="*/ 109 h 382"/>
                <a:gd name="T38" fmla="*/ 53 w 192"/>
                <a:gd name="T39" fmla="*/ 116 h 382"/>
                <a:gd name="T40" fmla="*/ 35 w 192"/>
                <a:gd name="T41" fmla="*/ 138 h 382"/>
                <a:gd name="T42" fmla="*/ 23 w 192"/>
                <a:gd name="T43" fmla="*/ 161 h 382"/>
                <a:gd name="T44" fmla="*/ 28 w 192"/>
                <a:gd name="T45" fmla="*/ 192 h 382"/>
                <a:gd name="T46" fmla="*/ 32 w 192"/>
                <a:gd name="T47" fmla="*/ 220 h 382"/>
                <a:gd name="T48" fmla="*/ 23 w 192"/>
                <a:gd name="T49" fmla="*/ 243 h 382"/>
                <a:gd name="T50" fmla="*/ 13 w 192"/>
                <a:gd name="T51" fmla="*/ 261 h 382"/>
                <a:gd name="T52" fmla="*/ 1 w 192"/>
                <a:gd name="T53" fmla="*/ 278 h 382"/>
                <a:gd name="T54" fmla="*/ 1 w 192"/>
                <a:gd name="T55" fmla="*/ 304 h 382"/>
                <a:gd name="T56" fmla="*/ 9 w 192"/>
                <a:gd name="T57" fmla="*/ 329 h 382"/>
                <a:gd name="T58" fmla="*/ 13 w 192"/>
                <a:gd name="T59" fmla="*/ 356 h 382"/>
                <a:gd name="T60" fmla="*/ 26 w 192"/>
                <a:gd name="T61" fmla="*/ 376 h 382"/>
                <a:gd name="T62" fmla="*/ 44 w 192"/>
                <a:gd name="T63" fmla="*/ 381 h 382"/>
                <a:gd name="T64" fmla="*/ 69 w 192"/>
                <a:gd name="T65" fmla="*/ 371 h 382"/>
                <a:gd name="T66" fmla="*/ 89 w 192"/>
                <a:gd name="T67" fmla="*/ 36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2" h="382">
                  <a:moveTo>
                    <a:pt x="89" y="366"/>
                  </a:moveTo>
                  <a:cubicBezTo>
                    <a:pt x="89" y="364"/>
                    <a:pt x="159" y="176"/>
                    <a:pt x="161" y="162"/>
                  </a:cubicBezTo>
                  <a:cubicBezTo>
                    <a:pt x="163" y="147"/>
                    <a:pt x="157" y="148"/>
                    <a:pt x="161" y="142"/>
                  </a:cubicBezTo>
                  <a:cubicBezTo>
                    <a:pt x="165" y="135"/>
                    <a:pt x="169" y="133"/>
                    <a:pt x="171" y="136"/>
                  </a:cubicBezTo>
                  <a:cubicBezTo>
                    <a:pt x="172" y="139"/>
                    <a:pt x="172" y="134"/>
                    <a:pt x="171" y="129"/>
                  </a:cubicBezTo>
                  <a:cubicBezTo>
                    <a:pt x="170" y="123"/>
                    <a:pt x="171" y="123"/>
                    <a:pt x="170" y="115"/>
                  </a:cubicBezTo>
                  <a:cubicBezTo>
                    <a:pt x="168" y="107"/>
                    <a:pt x="166" y="102"/>
                    <a:pt x="168" y="98"/>
                  </a:cubicBezTo>
                  <a:cubicBezTo>
                    <a:pt x="170" y="94"/>
                    <a:pt x="173" y="97"/>
                    <a:pt x="175" y="102"/>
                  </a:cubicBezTo>
                  <a:cubicBezTo>
                    <a:pt x="176" y="106"/>
                    <a:pt x="173" y="112"/>
                    <a:pt x="178" y="112"/>
                  </a:cubicBezTo>
                  <a:cubicBezTo>
                    <a:pt x="182" y="112"/>
                    <a:pt x="186" y="113"/>
                    <a:pt x="189" y="105"/>
                  </a:cubicBezTo>
                  <a:cubicBezTo>
                    <a:pt x="192" y="98"/>
                    <a:pt x="192" y="95"/>
                    <a:pt x="189" y="90"/>
                  </a:cubicBezTo>
                  <a:cubicBezTo>
                    <a:pt x="185" y="85"/>
                    <a:pt x="184" y="89"/>
                    <a:pt x="184" y="79"/>
                  </a:cubicBezTo>
                  <a:cubicBezTo>
                    <a:pt x="184" y="70"/>
                    <a:pt x="182" y="64"/>
                    <a:pt x="182" y="58"/>
                  </a:cubicBezTo>
                  <a:cubicBezTo>
                    <a:pt x="182" y="52"/>
                    <a:pt x="183" y="44"/>
                    <a:pt x="182" y="39"/>
                  </a:cubicBezTo>
                  <a:cubicBezTo>
                    <a:pt x="180" y="34"/>
                    <a:pt x="182" y="31"/>
                    <a:pt x="176" y="25"/>
                  </a:cubicBezTo>
                  <a:cubicBezTo>
                    <a:pt x="171" y="20"/>
                    <a:pt x="171" y="17"/>
                    <a:pt x="170" y="12"/>
                  </a:cubicBezTo>
                  <a:cubicBezTo>
                    <a:pt x="168" y="7"/>
                    <a:pt x="166" y="4"/>
                    <a:pt x="165" y="2"/>
                  </a:cubicBezTo>
                  <a:cubicBezTo>
                    <a:pt x="164" y="0"/>
                    <a:pt x="160" y="0"/>
                    <a:pt x="159" y="4"/>
                  </a:cubicBezTo>
                  <a:cubicBezTo>
                    <a:pt x="159" y="9"/>
                    <a:pt x="155" y="10"/>
                    <a:pt x="154" y="11"/>
                  </a:cubicBezTo>
                  <a:cubicBezTo>
                    <a:pt x="152" y="13"/>
                    <a:pt x="149" y="15"/>
                    <a:pt x="151" y="18"/>
                  </a:cubicBezTo>
                  <a:cubicBezTo>
                    <a:pt x="153" y="21"/>
                    <a:pt x="154" y="25"/>
                    <a:pt x="153" y="26"/>
                  </a:cubicBezTo>
                  <a:cubicBezTo>
                    <a:pt x="152" y="27"/>
                    <a:pt x="150" y="32"/>
                    <a:pt x="147" y="36"/>
                  </a:cubicBezTo>
                  <a:cubicBezTo>
                    <a:pt x="145" y="40"/>
                    <a:pt x="143" y="40"/>
                    <a:pt x="140" y="44"/>
                  </a:cubicBezTo>
                  <a:cubicBezTo>
                    <a:pt x="137" y="47"/>
                    <a:pt x="140" y="53"/>
                    <a:pt x="135" y="49"/>
                  </a:cubicBezTo>
                  <a:cubicBezTo>
                    <a:pt x="130" y="45"/>
                    <a:pt x="130" y="38"/>
                    <a:pt x="128" y="42"/>
                  </a:cubicBezTo>
                  <a:cubicBezTo>
                    <a:pt x="125" y="46"/>
                    <a:pt x="125" y="51"/>
                    <a:pt x="127" y="54"/>
                  </a:cubicBezTo>
                  <a:cubicBezTo>
                    <a:pt x="128" y="58"/>
                    <a:pt x="136" y="59"/>
                    <a:pt x="129" y="62"/>
                  </a:cubicBezTo>
                  <a:cubicBezTo>
                    <a:pt x="123" y="65"/>
                    <a:pt x="122" y="70"/>
                    <a:pt x="123" y="72"/>
                  </a:cubicBezTo>
                  <a:cubicBezTo>
                    <a:pt x="125" y="74"/>
                    <a:pt x="121" y="72"/>
                    <a:pt x="120" y="77"/>
                  </a:cubicBezTo>
                  <a:cubicBezTo>
                    <a:pt x="119" y="82"/>
                    <a:pt x="117" y="92"/>
                    <a:pt x="116" y="86"/>
                  </a:cubicBezTo>
                  <a:cubicBezTo>
                    <a:pt x="115" y="80"/>
                    <a:pt x="116" y="72"/>
                    <a:pt x="113" y="77"/>
                  </a:cubicBezTo>
                  <a:cubicBezTo>
                    <a:pt x="109" y="82"/>
                    <a:pt x="106" y="83"/>
                    <a:pt x="106" y="87"/>
                  </a:cubicBezTo>
                  <a:cubicBezTo>
                    <a:pt x="106" y="92"/>
                    <a:pt x="107" y="102"/>
                    <a:pt x="104" y="99"/>
                  </a:cubicBezTo>
                  <a:cubicBezTo>
                    <a:pt x="101" y="97"/>
                    <a:pt x="102" y="90"/>
                    <a:pt x="99" y="91"/>
                  </a:cubicBezTo>
                  <a:cubicBezTo>
                    <a:pt x="96" y="91"/>
                    <a:pt x="88" y="97"/>
                    <a:pt x="87" y="101"/>
                  </a:cubicBezTo>
                  <a:cubicBezTo>
                    <a:pt x="86" y="104"/>
                    <a:pt x="89" y="109"/>
                    <a:pt x="85" y="108"/>
                  </a:cubicBezTo>
                  <a:cubicBezTo>
                    <a:pt x="82" y="108"/>
                    <a:pt x="79" y="106"/>
                    <a:pt x="77" y="107"/>
                  </a:cubicBezTo>
                  <a:cubicBezTo>
                    <a:pt x="74" y="108"/>
                    <a:pt x="68" y="107"/>
                    <a:pt x="66" y="109"/>
                  </a:cubicBezTo>
                  <a:cubicBezTo>
                    <a:pt x="64" y="112"/>
                    <a:pt x="68" y="112"/>
                    <a:pt x="62" y="112"/>
                  </a:cubicBezTo>
                  <a:cubicBezTo>
                    <a:pt x="56" y="112"/>
                    <a:pt x="54" y="115"/>
                    <a:pt x="53" y="116"/>
                  </a:cubicBezTo>
                  <a:cubicBezTo>
                    <a:pt x="51" y="117"/>
                    <a:pt x="39" y="117"/>
                    <a:pt x="38" y="121"/>
                  </a:cubicBezTo>
                  <a:cubicBezTo>
                    <a:pt x="38" y="124"/>
                    <a:pt x="38" y="135"/>
                    <a:pt x="35" y="138"/>
                  </a:cubicBezTo>
                  <a:cubicBezTo>
                    <a:pt x="33" y="140"/>
                    <a:pt x="28" y="143"/>
                    <a:pt x="26" y="148"/>
                  </a:cubicBezTo>
                  <a:cubicBezTo>
                    <a:pt x="24" y="153"/>
                    <a:pt x="21" y="153"/>
                    <a:pt x="23" y="161"/>
                  </a:cubicBezTo>
                  <a:cubicBezTo>
                    <a:pt x="25" y="168"/>
                    <a:pt x="23" y="168"/>
                    <a:pt x="26" y="176"/>
                  </a:cubicBezTo>
                  <a:cubicBezTo>
                    <a:pt x="28" y="184"/>
                    <a:pt x="27" y="187"/>
                    <a:pt x="28" y="192"/>
                  </a:cubicBezTo>
                  <a:cubicBezTo>
                    <a:pt x="30" y="198"/>
                    <a:pt x="30" y="203"/>
                    <a:pt x="32" y="207"/>
                  </a:cubicBezTo>
                  <a:cubicBezTo>
                    <a:pt x="33" y="210"/>
                    <a:pt x="32" y="218"/>
                    <a:pt x="32" y="220"/>
                  </a:cubicBezTo>
                  <a:cubicBezTo>
                    <a:pt x="32" y="223"/>
                    <a:pt x="32" y="228"/>
                    <a:pt x="30" y="230"/>
                  </a:cubicBezTo>
                  <a:cubicBezTo>
                    <a:pt x="28" y="232"/>
                    <a:pt x="25" y="239"/>
                    <a:pt x="23" y="243"/>
                  </a:cubicBezTo>
                  <a:cubicBezTo>
                    <a:pt x="20" y="246"/>
                    <a:pt x="18" y="250"/>
                    <a:pt x="18" y="253"/>
                  </a:cubicBezTo>
                  <a:cubicBezTo>
                    <a:pt x="18" y="257"/>
                    <a:pt x="18" y="259"/>
                    <a:pt x="13" y="261"/>
                  </a:cubicBezTo>
                  <a:cubicBezTo>
                    <a:pt x="8" y="263"/>
                    <a:pt x="6" y="266"/>
                    <a:pt x="6" y="268"/>
                  </a:cubicBezTo>
                  <a:cubicBezTo>
                    <a:pt x="6" y="269"/>
                    <a:pt x="2" y="276"/>
                    <a:pt x="1" y="278"/>
                  </a:cubicBezTo>
                  <a:cubicBezTo>
                    <a:pt x="1" y="281"/>
                    <a:pt x="0" y="290"/>
                    <a:pt x="1" y="291"/>
                  </a:cubicBezTo>
                  <a:cubicBezTo>
                    <a:pt x="3" y="293"/>
                    <a:pt x="0" y="299"/>
                    <a:pt x="1" y="304"/>
                  </a:cubicBezTo>
                  <a:cubicBezTo>
                    <a:pt x="1" y="309"/>
                    <a:pt x="5" y="311"/>
                    <a:pt x="6" y="316"/>
                  </a:cubicBezTo>
                  <a:cubicBezTo>
                    <a:pt x="7" y="322"/>
                    <a:pt x="12" y="322"/>
                    <a:pt x="9" y="329"/>
                  </a:cubicBezTo>
                  <a:cubicBezTo>
                    <a:pt x="6" y="336"/>
                    <a:pt x="5" y="342"/>
                    <a:pt x="6" y="345"/>
                  </a:cubicBezTo>
                  <a:cubicBezTo>
                    <a:pt x="7" y="349"/>
                    <a:pt x="12" y="349"/>
                    <a:pt x="13" y="356"/>
                  </a:cubicBezTo>
                  <a:cubicBezTo>
                    <a:pt x="14" y="362"/>
                    <a:pt x="16" y="366"/>
                    <a:pt x="20" y="368"/>
                  </a:cubicBezTo>
                  <a:cubicBezTo>
                    <a:pt x="24" y="370"/>
                    <a:pt x="20" y="376"/>
                    <a:pt x="26" y="376"/>
                  </a:cubicBezTo>
                  <a:cubicBezTo>
                    <a:pt x="32" y="376"/>
                    <a:pt x="33" y="372"/>
                    <a:pt x="35" y="376"/>
                  </a:cubicBezTo>
                  <a:cubicBezTo>
                    <a:pt x="37" y="380"/>
                    <a:pt x="38" y="380"/>
                    <a:pt x="44" y="381"/>
                  </a:cubicBezTo>
                  <a:cubicBezTo>
                    <a:pt x="51" y="382"/>
                    <a:pt x="49" y="382"/>
                    <a:pt x="57" y="378"/>
                  </a:cubicBezTo>
                  <a:cubicBezTo>
                    <a:pt x="64" y="374"/>
                    <a:pt x="58" y="373"/>
                    <a:pt x="69" y="371"/>
                  </a:cubicBezTo>
                  <a:cubicBezTo>
                    <a:pt x="80" y="370"/>
                    <a:pt x="79" y="371"/>
                    <a:pt x="84" y="370"/>
                  </a:cubicBezTo>
                  <a:cubicBezTo>
                    <a:pt x="88" y="368"/>
                    <a:pt x="88" y="370"/>
                    <a:pt x="89" y="366"/>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11" name="Freeform 900">
              <a:extLst>
                <a:ext uri="{FF2B5EF4-FFF2-40B4-BE49-F238E27FC236}">
                  <a16:creationId xmlns:a16="http://schemas.microsoft.com/office/drawing/2014/main" id="{6A238EDD-8241-8147-AAA9-59A332387686}"/>
                </a:ext>
              </a:extLst>
            </p:cNvPr>
            <p:cNvSpPr>
              <a:spLocks/>
            </p:cNvSpPr>
            <p:nvPr/>
          </p:nvSpPr>
          <p:spPr bwMode="auto">
            <a:xfrm>
              <a:off x="4654565" y="3429459"/>
              <a:ext cx="58738" cy="55563"/>
            </a:xfrm>
            <a:custGeom>
              <a:avLst/>
              <a:gdLst>
                <a:gd name="T0" fmla="*/ 61 w 62"/>
                <a:gd name="T1" fmla="*/ 23 h 59"/>
                <a:gd name="T2" fmla="*/ 54 w 62"/>
                <a:gd name="T3" fmla="*/ 36 h 59"/>
                <a:gd name="T4" fmla="*/ 44 w 62"/>
                <a:gd name="T5" fmla="*/ 43 h 59"/>
                <a:gd name="T6" fmla="*/ 33 w 62"/>
                <a:gd name="T7" fmla="*/ 47 h 59"/>
                <a:gd name="T8" fmla="*/ 29 w 62"/>
                <a:gd name="T9" fmla="*/ 55 h 59"/>
                <a:gd name="T10" fmla="*/ 20 w 62"/>
                <a:gd name="T11" fmla="*/ 58 h 59"/>
                <a:gd name="T12" fmla="*/ 11 w 62"/>
                <a:gd name="T13" fmla="*/ 52 h 59"/>
                <a:gd name="T14" fmla="*/ 6 w 62"/>
                <a:gd name="T15" fmla="*/ 42 h 59"/>
                <a:gd name="T16" fmla="*/ 0 w 62"/>
                <a:gd name="T17" fmla="*/ 33 h 59"/>
                <a:gd name="T18" fmla="*/ 3 w 62"/>
                <a:gd name="T19" fmla="*/ 30 h 59"/>
                <a:gd name="T20" fmla="*/ 11 w 62"/>
                <a:gd name="T21" fmla="*/ 22 h 59"/>
                <a:gd name="T22" fmla="*/ 16 w 62"/>
                <a:gd name="T23" fmla="*/ 12 h 59"/>
                <a:gd name="T24" fmla="*/ 29 w 62"/>
                <a:gd name="T25" fmla="*/ 8 h 59"/>
                <a:gd name="T26" fmla="*/ 39 w 62"/>
                <a:gd name="T27" fmla="*/ 1 h 59"/>
                <a:gd name="T28" fmla="*/ 45 w 62"/>
                <a:gd name="T29" fmla="*/ 6 h 59"/>
                <a:gd name="T30" fmla="*/ 54 w 62"/>
                <a:gd name="T31" fmla="*/ 13 h 59"/>
                <a:gd name="T32" fmla="*/ 61 w 62"/>
                <a:gd name="T33" fmla="*/ 2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59">
                  <a:moveTo>
                    <a:pt x="61" y="23"/>
                  </a:moveTo>
                  <a:cubicBezTo>
                    <a:pt x="60" y="27"/>
                    <a:pt x="56" y="31"/>
                    <a:pt x="54" y="36"/>
                  </a:cubicBezTo>
                  <a:cubicBezTo>
                    <a:pt x="53" y="40"/>
                    <a:pt x="48" y="42"/>
                    <a:pt x="44" y="43"/>
                  </a:cubicBezTo>
                  <a:cubicBezTo>
                    <a:pt x="40" y="44"/>
                    <a:pt x="35" y="42"/>
                    <a:pt x="33" y="47"/>
                  </a:cubicBezTo>
                  <a:cubicBezTo>
                    <a:pt x="32" y="51"/>
                    <a:pt x="29" y="51"/>
                    <a:pt x="29" y="55"/>
                  </a:cubicBezTo>
                  <a:cubicBezTo>
                    <a:pt x="29" y="59"/>
                    <a:pt x="22" y="59"/>
                    <a:pt x="20" y="58"/>
                  </a:cubicBezTo>
                  <a:cubicBezTo>
                    <a:pt x="17" y="57"/>
                    <a:pt x="15" y="58"/>
                    <a:pt x="11" y="52"/>
                  </a:cubicBezTo>
                  <a:cubicBezTo>
                    <a:pt x="7" y="46"/>
                    <a:pt x="9" y="46"/>
                    <a:pt x="6" y="42"/>
                  </a:cubicBezTo>
                  <a:cubicBezTo>
                    <a:pt x="3" y="37"/>
                    <a:pt x="0" y="34"/>
                    <a:pt x="0" y="33"/>
                  </a:cubicBezTo>
                  <a:cubicBezTo>
                    <a:pt x="0" y="31"/>
                    <a:pt x="0" y="29"/>
                    <a:pt x="3" y="30"/>
                  </a:cubicBezTo>
                  <a:cubicBezTo>
                    <a:pt x="8" y="26"/>
                    <a:pt x="7" y="29"/>
                    <a:pt x="11" y="22"/>
                  </a:cubicBezTo>
                  <a:cubicBezTo>
                    <a:pt x="15" y="14"/>
                    <a:pt x="14" y="12"/>
                    <a:pt x="16" y="12"/>
                  </a:cubicBezTo>
                  <a:cubicBezTo>
                    <a:pt x="19" y="12"/>
                    <a:pt x="27" y="12"/>
                    <a:pt x="29" y="8"/>
                  </a:cubicBezTo>
                  <a:cubicBezTo>
                    <a:pt x="31" y="5"/>
                    <a:pt x="36" y="0"/>
                    <a:pt x="39" y="1"/>
                  </a:cubicBezTo>
                  <a:cubicBezTo>
                    <a:pt x="41" y="1"/>
                    <a:pt x="38" y="2"/>
                    <a:pt x="45" y="6"/>
                  </a:cubicBezTo>
                  <a:cubicBezTo>
                    <a:pt x="52" y="10"/>
                    <a:pt x="52" y="8"/>
                    <a:pt x="54" y="13"/>
                  </a:cubicBezTo>
                  <a:cubicBezTo>
                    <a:pt x="57" y="18"/>
                    <a:pt x="62" y="19"/>
                    <a:pt x="61" y="2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12" name="Freeform 901">
              <a:extLst>
                <a:ext uri="{FF2B5EF4-FFF2-40B4-BE49-F238E27FC236}">
                  <a16:creationId xmlns:a16="http://schemas.microsoft.com/office/drawing/2014/main" id="{17E823A7-8D00-8A49-888B-E9DEC892F539}"/>
                </a:ext>
              </a:extLst>
            </p:cNvPr>
            <p:cNvSpPr>
              <a:spLocks/>
            </p:cNvSpPr>
            <p:nvPr/>
          </p:nvSpPr>
          <p:spPr bwMode="auto">
            <a:xfrm>
              <a:off x="4746640" y="3354846"/>
              <a:ext cx="34925" cy="42863"/>
            </a:xfrm>
            <a:custGeom>
              <a:avLst/>
              <a:gdLst>
                <a:gd name="T0" fmla="*/ 34 w 38"/>
                <a:gd name="T1" fmla="*/ 21 h 45"/>
                <a:gd name="T2" fmla="*/ 30 w 38"/>
                <a:gd name="T3" fmla="*/ 32 h 45"/>
                <a:gd name="T4" fmla="*/ 28 w 38"/>
                <a:gd name="T5" fmla="*/ 35 h 45"/>
                <a:gd name="T6" fmla="*/ 25 w 38"/>
                <a:gd name="T7" fmla="*/ 44 h 45"/>
                <a:gd name="T8" fmla="*/ 11 w 38"/>
                <a:gd name="T9" fmla="*/ 42 h 45"/>
                <a:gd name="T10" fmla="*/ 5 w 38"/>
                <a:gd name="T11" fmla="*/ 37 h 45"/>
                <a:gd name="T12" fmla="*/ 0 w 38"/>
                <a:gd name="T13" fmla="*/ 27 h 45"/>
                <a:gd name="T14" fmla="*/ 5 w 38"/>
                <a:gd name="T15" fmla="*/ 15 h 45"/>
                <a:gd name="T16" fmla="*/ 7 w 38"/>
                <a:gd name="T17" fmla="*/ 7 h 45"/>
                <a:gd name="T18" fmla="*/ 19 w 38"/>
                <a:gd name="T19" fmla="*/ 1 h 45"/>
                <a:gd name="T20" fmla="*/ 25 w 38"/>
                <a:gd name="T21" fmla="*/ 6 h 45"/>
                <a:gd name="T22" fmla="*/ 32 w 38"/>
                <a:gd name="T23" fmla="*/ 7 h 45"/>
                <a:gd name="T24" fmla="*/ 33 w 38"/>
                <a:gd name="T25" fmla="*/ 9 h 45"/>
                <a:gd name="T26" fmla="*/ 34 w 38"/>
                <a:gd name="T27" fmla="*/ 2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45">
                  <a:moveTo>
                    <a:pt x="34" y="21"/>
                  </a:moveTo>
                  <a:cubicBezTo>
                    <a:pt x="31" y="28"/>
                    <a:pt x="28" y="31"/>
                    <a:pt x="30" y="32"/>
                  </a:cubicBezTo>
                  <a:cubicBezTo>
                    <a:pt x="29" y="33"/>
                    <a:pt x="28" y="34"/>
                    <a:pt x="28" y="35"/>
                  </a:cubicBezTo>
                  <a:cubicBezTo>
                    <a:pt x="28" y="37"/>
                    <a:pt x="28" y="45"/>
                    <a:pt x="25" y="44"/>
                  </a:cubicBezTo>
                  <a:cubicBezTo>
                    <a:pt x="23" y="44"/>
                    <a:pt x="19" y="44"/>
                    <a:pt x="11" y="42"/>
                  </a:cubicBezTo>
                  <a:cubicBezTo>
                    <a:pt x="4" y="40"/>
                    <a:pt x="8" y="39"/>
                    <a:pt x="5" y="37"/>
                  </a:cubicBezTo>
                  <a:cubicBezTo>
                    <a:pt x="2" y="34"/>
                    <a:pt x="0" y="33"/>
                    <a:pt x="0" y="27"/>
                  </a:cubicBezTo>
                  <a:cubicBezTo>
                    <a:pt x="0" y="22"/>
                    <a:pt x="4" y="21"/>
                    <a:pt x="5" y="15"/>
                  </a:cubicBezTo>
                  <a:cubicBezTo>
                    <a:pt x="6" y="9"/>
                    <a:pt x="7" y="10"/>
                    <a:pt x="7" y="7"/>
                  </a:cubicBezTo>
                  <a:cubicBezTo>
                    <a:pt x="8" y="4"/>
                    <a:pt x="13" y="1"/>
                    <a:pt x="19" y="1"/>
                  </a:cubicBezTo>
                  <a:cubicBezTo>
                    <a:pt x="24" y="0"/>
                    <a:pt x="23" y="5"/>
                    <a:pt x="25" y="6"/>
                  </a:cubicBezTo>
                  <a:cubicBezTo>
                    <a:pt x="26" y="8"/>
                    <a:pt x="30" y="7"/>
                    <a:pt x="32" y="7"/>
                  </a:cubicBezTo>
                  <a:cubicBezTo>
                    <a:pt x="33" y="7"/>
                    <a:pt x="33" y="8"/>
                    <a:pt x="33" y="9"/>
                  </a:cubicBezTo>
                  <a:cubicBezTo>
                    <a:pt x="35" y="14"/>
                    <a:pt x="38" y="14"/>
                    <a:pt x="34" y="2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13" name="Freeform 902">
              <a:extLst>
                <a:ext uri="{FF2B5EF4-FFF2-40B4-BE49-F238E27FC236}">
                  <a16:creationId xmlns:a16="http://schemas.microsoft.com/office/drawing/2014/main" id="{DF5FB3A6-726B-5542-A369-1D4FD85A1148}"/>
                </a:ext>
              </a:extLst>
            </p:cNvPr>
            <p:cNvSpPr>
              <a:spLocks/>
            </p:cNvSpPr>
            <p:nvPr/>
          </p:nvSpPr>
          <p:spPr bwMode="auto">
            <a:xfrm>
              <a:off x="4497402" y="3143708"/>
              <a:ext cx="217488" cy="249238"/>
            </a:xfrm>
            <a:custGeom>
              <a:avLst/>
              <a:gdLst>
                <a:gd name="T0" fmla="*/ 228 w 229"/>
                <a:gd name="T1" fmla="*/ 121 h 262"/>
                <a:gd name="T2" fmla="*/ 227 w 229"/>
                <a:gd name="T3" fmla="*/ 122 h 262"/>
                <a:gd name="T4" fmla="*/ 223 w 229"/>
                <a:gd name="T5" fmla="*/ 127 h 262"/>
                <a:gd name="T6" fmla="*/ 211 w 229"/>
                <a:gd name="T7" fmla="*/ 135 h 262"/>
                <a:gd name="T8" fmla="*/ 196 w 229"/>
                <a:gd name="T9" fmla="*/ 143 h 262"/>
                <a:gd name="T10" fmla="*/ 182 w 229"/>
                <a:gd name="T11" fmla="*/ 160 h 262"/>
                <a:gd name="T12" fmla="*/ 172 w 229"/>
                <a:gd name="T13" fmla="*/ 165 h 262"/>
                <a:gd name="T14" fmla="*/ 166 w 229"/>
                <a:gd name="T15" fmla="*/ 184 h 262"/>
                <a:gd name="T16" fmla="*/ 153 w 229"/>
                <a:gd name="T17" fmla="*/ 194 h 262"/>
                <a:gd name="T18" fmla="*/ 143 w 229"/>
                <a:gd name="T19" fmla="*/ 202 h 262"/>
                <a:gd name="T20" fmla="*/ 126 w 229"/>
                <a:gd name="T21" fmla="*/ 223 h 262"/>
                <a:gd name="T22" fmla="*/ 113 w 229"/>
                <a:gd name="T23" fmla="*/ 223 h 262"/>
                <a:gd name="T24" fmla="*/ 94 w 229"/>
                <a:gd name="T25" fmla="*/ 218 h 262"/>
                <a:gd name="T26" fmla="*/ 75 w 229"/>
                <a:gd name="T27" fmla="*/ 211 h 262"/>
                <a:gd name="T28" fmla="*/ 64 w 229"/>
                <a:gd name="T29" fmla="*/ 229 h 262"/>
                <a:gd name="T30" fmla="*/ 50 w 229"/>
                <a:gd name="T31" fmla="*/ 246 h 262"/>
                <a:gd name="T32" fmla="*/ 40 w 229"/>
                <a:gd name="T33" fmla="*/ 253 h 262"/>
                <a:gd name="T34" fmla="*/ 15 w 229"/>
                <a:gd name="T35" fmla="*/ 249 h 262"/>
                <a:gd name="T36" fmla="*/ 20 w 229"/>
                <a:gd name="T37" fmla="*/ 224 h 262"/>
                <a:gd name="T38" fmla="*/ 6 w 229"/>
                <a:gd name="T39" fmla="*/ 201 h 262"/>
                <a:gd name="T40" fmla="*/ 4 w 229"/>
                <a:gd name="T41" fmla="*/ 206 h 262"/>
                <a:gd name="T42" fmla="*/ 3 w 229"/>
                <a:gd name="T43" fmla="*/ 123 h 262"/>
                <a:gd name="T44" fmla="*/ 28 w 229"/>
                <a:gd name="T45" fmla="*/ 117 h 262"/>
                <a:gd name="T46" fmla="*/ 28 w 229"/>
                <a:gd name="T47" fmla="*/ 18 h 262"/>
                <a:gd name="T48" fmla="*/ 71 w 229"/>
                <a:gd name="T49" fmla="*/ 6 h 262"/>
                <a:gd name="T50" fmla="*/ 94 w 229"/>
                <a:gd name="T51" fmla="*/ 18 h 262"/>
                <a:gd name="T52" fmla="*/ 103 w 229"/>
                <a:gd name="T53" fmla="*/ 9 h 262"/>
                <a:gd name="T54" fmla="*/ 116 w 229"/>
                <a:gd name="T55" fmla="*/ 5 h 262"/>
                <a:gd name="T56" fmla="*/ 126 w 229"/>
                <a:gd name="T57" fmla="*/ 1 h 262"/>
                <a:gd name="T58" fmla="*/ 131 w 229"/>
                <a:gd name="T59" fmla="*/ 0 h 262"/>
                <a:gd name="T60" fmla="*/ 132 w 229"/>
                <a:gd name="T61" fmla="*/ 2 h 262"/>
                <a:gd name="T62" fmla="*/ 144 w 229"/>
                <a:gd name="T63" fmla="*/ 22 h 262"/>
                <a:gd name="T64" fmla="*/ 153 w 229"/>
                <a:gd name="T65" fmla="*/ 42 h 262"/>
                <a:gd name="T66" fmla="*/ 166 w 229"/>
                <a:gd name="T67" fmla="*/ 54 h 262"/>
                <a:gd name="T68" fmla="*/ 180 w 229"/>
                <a:gd name="T69" fmla="*/ 64 h 262"/>
                <a:gd name="T70" fmla="*/ 191 w 229"/>
                <a:gd name="T71" fmla="*/ 73 h 262"/>
                <a:gd name="T72" fmla="*/ 194 w 229"/>
                <a:gd name="T73" fmla="*/ 94 h 262"/>
                <a:gd name="T74" fmla="*/ 222 w 229"/>
                <a:gd name="T75" fmla="*/ 111 h 262"/>
                <a:gd name="T76" fmla="*/ 228 w 229"/>
                <a:gd name="T77" fmla="*/ 12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9" h="262">
                  <a:moveTo>
                    <a:pt x="228" y="121"/>
                  </a:moveTo>
                  <a:cubicBezTo>
                    <a:pt x="228" y="121"/>
                    <a:pt x="227" y="121"/>
                    <a:pt x="227" y="122"/>
                  </a:cubicBezTo>
                  <a:cubicBezTo>
                    <a:pt x="224" y="124"/>
                    <a:pt x="226" y="124"/>
                    <a:pt x="223" y="127"/>
                  </a:cubicBezTo>
                  <a:cubicBezTo>
                    <a:pt x="221" y="131"/>
                    <a:pt x="215" y="133"/>
                    <a:pt x="211" y="135"/>
                  </a:cubicBezTo>
                  <a:cubicBezTo>
                    <a:pt x="207" y="137"/>
                    <a:pt x="202" y="136"/>
                    <a:pt x="196" y="143"/>
                  </a:cubicBezTo>
                  <a:cubicBezTo>
                    <a:pt x="191" y="149"/>
                    <a:pt x="185" y="156"/>
                    <a:pt x="182" y="160"/>
                  </a:cubicBezTo>
                  <a:cubicBezTo>
                    <a:pt x="179" y="163"/>
                    <a:pt x="176" y="157"/>
                    <a:pt x="172" y="165"/>
                  </a:cubicBezTo>
                  <a:cubicBezTo>
                    <a:pt x="168" y="173"/>
                    <a:pt x="167" y="181"/>
                    <a:pt x="166" y="184"/>
                  </a:cubicBezTo>
                  <a:cubicBezTo>
                    <a:pt x="164" y="188"/>
                    <a:pt x="157" y="193"/>
                    <a:pt x="153" y="194"/>
                  </a:cubicBezTo>
                  <a:cubicBezTo>
                    <a:pt x="148" y="195"/>
                    <a:pt x="145" y="195"/>
                    <a:pt x="143" y="202"/>
                  </a:cubicBezTo>
                  <a:cubicBezTo>
                    <a:pt x="142" y="209"/>
                    <a:pt x="131" y="221"/>
                    <a:pt x="126" y="223"/>
                  </a:cubicBezTo>
                  <a:cubicBezTo>
                    <a:pt x="121" y="224"/>
                    <a:pt x="121" y="223"/>
                    <a:pt x="113" y="223"/>
                  </a:cubicBezTo>
                  <a:cubicBezTo>
                    <a:pt x="105" y="222"/>
                    <a:pt x="101" y="222"/>
                    <a:pt x="94" y="218"/>
                  </a:cubicBezTo>
                  <a:cubicBezTo>
                    <a:pt x="88" y="214"/>
                    <a:pt x="82" y="204"/>
                    <a:pt x="75" y="211"/>
                  </a:cubicBezTo>
                  <a:cubicBezTo>
                    <a:pt x="69" y="217"/>
                    <a:pt x="69" y="223"/>
                    <a:pt x="64" y="229"/>
                  </a:cubicBezTo>
                  <a:cubicBezTo>
                    <a:pt x="60" y="236"/>
                    <a:pt x="57" y="240"/>
                    <a:pt x="50" y="246"/>
                  </a:cubicBezTo>
                  <a:cubicBezTo>
                    <a:pt x="44" y="253"/>
                    <a:pt x="53" y="253"/>
                    <a:pt x="40" y="253"/>
                  </a:cubicBezTo>
                  <a:cubicBezTo>
                    <a:pt x="27" y="253"/>
                    <a:pt x="14" y="262"/>
                    <a:pt x="15" y="249"/>
                  </a:cubicBezTo>
                  <a:cubicBezTo>
                    <a:pt x="16" y="237"/>
                    <a:pt x="27" y="235"/>
                    <a:pt x="20" y="224"/>
                  </a:cubicBezTo>
                  <a:cubicBezTo>
                    <a:pt x="13" y="212"/>
                    <a:pt x="12" y="204"/>
                    <a:pt x="6" y="201"/>
                  </a:cubicBezTo>
                  <a:cubicBezTo>
                    <a:pt x="6" y="200"/>
                    <a:pt x="5" y="202"/>
                    <a:pt x="4" y="206"/>
                  </a:cubicBezTo>
                  <a:cubicBezTo>
                    <a:pt x="0" y="195"/>
                    <a:pt x="2" y="135"/>
                    <a:pt x="3" y="123"/>
                  </a:cubicBezTo>
                  <a:cubicBezTo>
                    <a:pt x="3" y="109"/>
                    <a:pt x="25" y="118"/>
                    <a:pt x="28" y="117"/>
                  </a:cubicBezTo>
                  <a:cubicBezTo>
                    <a:pt x="31" y="117"/>
                    <a:pt x="27" y="28"/>
                    <a:pt x="28" y="18"/>
                  </a:cubicBezTo>
                  <a:cubicBezTo>
                    <a:pt x="29" y="9"/>
                    <a:pt x="47" y="11"/>
                    <a:pt x="71" y="6"/>
                  </a:cubicBezTo>
                  <a:cubicBezTo>
                    <a:pt x="94" y="2"/>
                    <a:pt x="91" y="15"/>
                    <a:pt x="94" y="18"/>
                  </a:cubicBezTo>
                  <a:cubicBezTo>
                    <a:pt x="97" y="20"/>
                    <a:pt x="101" y="16"/>
                    <a:pt x="103" y="9"/>
                  </a:cubicBezTo>
                  <a:cubicBezTo>
                    <a:pt x="105" y="3"/>
                    <a:pt x="112" y="7"/>
                    <a:pt x="116" y="5"/>
                  </a:cubicBezTo>
                  <a:cubicBezTo>
                    <a:pt x="121" y="3"/>
                    <a:pt x="123" y="3"/>
                    <a:pt x="126" y="1"/>
                  </a:cubicBezTo>
                  <a:cubicBezTo>
                    <a:pt x="127" y="0"/>
                    <a:pt x="129" y="0"/>
                    <a:pt x="131" y="0"/>
                  </a:cubicBezTo>
                  <a:cubicBezTo>
                    <a:pt x="132" y="1"/>
                    <a:pt x="132" y="2"/>
                    <a:pt x="132" y="2"/>
                  </a:cubicBezTo>
                  <a:cubicBezTo>
                    <a:pt x="132" y="2"/>
                    <a:pt x="139" y="10"/>
                    <a:pt x="144" y="22"/>
                  </a:cubicBezTo>
                  <a:cubicBezTo>
                    <a:pt x="149" y="35"/>
                    <a:pt x="149" y="33"/>
                    <a:pt x="153" y="42"/>
                  </a:cubicBezTo>
                  <a:cubicBezTo>
                    <a:pt x="157" y="50"/>
                    <a:pt x="159" y="50"/>
                    <a:pt x="166" y="54"/>
                  </a:cubicBezTo>
                  <a:cubicBezTo>
                    <a:pt x="172" y="58"/>
                    <a:pt x="179" y="60"/>
                    <a:pt x="180" y="64"/>
                  </a:cubicBezTo>
                  <a:cubicBezTo>
                    <a:pt x="181" y="69"/>
                    <a:pt x="181" y="70"/>
                    <a:pt x="191" y="73"/>
                  </a:cubicBezTo>
                  <a:cubicBezTo>
                    <a:pt x="200" y="76"/>
                    <a:pt x="191" y="83"/>
                    <a:pt x="194" y="94"/>
                  </a:cubicBezTo>
                  <a:cubicBezTo>
                    <a:pt x="196" y="106"/>
                    <a:pt x="211" y="107"/>
                    <a:pt x="222" y="111"/>
                  </a:cubicBezTo>
                  <a:cubicBezTo>
                    <a:pt x="229" y="113"/>
                    <a:pt x="229" y="117"/>
                    <a:pt x="228" y="121"/>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14" name="Freeform 903">
              <a:extLst>
                <a:ext uri="{FF2B5EF4-FFF2-40B4-BE49-F238E27FC236}">
                  <a16:creationId xmlns:a16="http://schemas.microsoft.com/office/drawing/2014/main" id="{325493E8-083D-CB47-ACCE-B43C95FF4349}"/>
                </a:ext>
              </a:extLst>
            </p:cNvPr>
            <p:cNvSpPr>
              <a:spLocks/>
            </p:cNvSpPr>
            <p:nvPr/>
          </p:nvSpPr>
          <p:spPr bwMode="auto">
            <a:xfrm>
              <a:off x="4302139" y="3115133"/>
              <a:ext cx="319089" cy="328613"/>
            </a:xfrm>
            <a:custGeom>
              <a:avLst/>
              <a:gdLst>
                <a:gd name="T0" fmla="*/ 335 w 335"/>
                <a:gd name="T1" fmla="*/ 29 h 344"/>
                <a:gd name="T2" fmla="*/ 330 w 335"/>
                <a:gd name="T3" fmla="*/ 30 h 344"/>
                <a:gd name="T4" fmla="*/ 320 w 335"/>
                <a:gd name="T5" fmla="*/ 34 h 344"/>
                <a:gd name="T6" fmla="*/ 307 w 335"/>
                <a:gd name="T7" fmla="*/ 38 h 344"/>
                <a:gd name="T8" fmla="*/ 298 w 335"/>
                <a:gd name="T9" fmla="*/ 47 h 344"/>
                <a:gd name="T10" fmla="*/ 275 w 335"/>
                <a:gd name="T11" fmla="*/ 35 h 344"/>
                <a:gd name="T12" fmla="*/ 232 w 335"/>
                <a:gd name="T13" fmla="*/ 47 h 344"/>
                <a:gd name="T14" fmla="*/ 232 w 335"/>
                <a:gd name="T15" fmla="*/ 146 h 344"/>
                <a:gd name="T16" fmla="*/ 207 w 335"/>
                <a:gd name="T17" fmla="*/ 152 h 344"/>
                <a:gd name="T18" fmla="*/ 208 w 335"/>
                <a:gd name="T19" fmla="*/ 235 h 344"/>
                <a:gd name="T20" fmla="*/ 204 w 335"/>
                <a:gd name="T21" fmla="*/ 322 h 344"/>
                <a:gd name="T22" fmla="*/ 190 w 335"/>
                <a:gd name="T23" fmla="*/ 330 h 344"/>
                <a:gd name="T24" fmla="*/ 177 w 335"/>
                <a:gd name="T25" fmla="*/ 342 h 344"/>
                <a:gd name="T26" fmla="*/ 163 w 335"/>
                <a:gd name="T27" fmla="*/ 339 h 344"/>
                <a:gd name="T28" fmla="*/ 142 w 335"/>
                <a:gd name="T29" fmla="*/ 330 h 344"/>
                <a:gd name="T30" fmla="*/ 136 w 335"/>
                <a:gd name="T31" fmla="*/ 317 h 344"/>
                <a:gd name="T32" fmla="*/ 124 w 335"/>
                <a:gd name="T33" fmla="*/ 322 h 344"/>
                <a:gd name="T34" fmla="*/ 120 w 335"/>
                <a:gd name="T35" fmla="*/ 329 h 344"/>
                <a:gd name="T36" fmla="*/ 118 w 335"/>
                <a:gd name="T37" fmla="*/ 328 h 344"/>
                <a:gd name="T38" fmla="*/ 104 w 335"/>
                <a:gd name="T39" fmla="*/ 318 h 344"/>
                <a:gd name="T40" fmla="*/ 93 w 335"/>
                <a:gd name="T41" fmla="*/ 300 h 344"/>
                <a:gd name="T42" fmla="*/ 87 w 335"/>
                <a:gd name="T43" fmla="*/ 282 h 344"/>
                <a:gd name="T44" fmla="*/ 83 w 335"/>
                <a:gd name="T45" fmla="*/ 263 h 344"/>
                <a:gd name="T46" fmla="*/ 81 w 335"/>
                <a:gd name="T47" fmla="*/ 247 h 344"/>
                <a:gd name="T48" fmla="*/ 79 w 335"/>
                <a:gd name="T49" fmla="*/ 233 h 344"/>
                <a:gd name="T50" fmla="*/ 75 w 335"/>
                <a:gd name="T51" fmla="*/ 222 h 344"/>
                <a:gd name="T52" fmla="*/ 72 w 335"/>
                <a:gd name="T53" fmla="*/ 207 h 344"/>
                <a:gd name="T54" fmla="*/ 71 w 335"/>
                <a:gd name="T55" fmla="*/ 158 h 344"/>
                <a:gd name="T56" fmla="*/ 60 w 335"/>
                <a:gd name="T57" fmla="*/ 138 h 344"/>
                <a:gd name="T58" fmla="*/ 47 w 335"/>
                <a:gd name="T59" fmla="*/ 117 h 344"/>
                <a:gd name="T60" fmla="*/ 40 w 335"/>
                <a:gd name="T61" fmla="*/ 99 h 344"/>
                <a:gd name="T62" fmla="*/ 30 w 335"/>
                <a:gd name="T63" fmla="*/ 74 h 344"/>
                <a:gd name="T64" fmla="*/ 23 w 335"/>
                <a:gd name="T65" fmla="*/ 58 h 344"/>
                <a:gd name="T66" fmla="*/ 12 w 335"/>
                <a:gd name="T67" fmla="*/ 47 h 344"/>
                <a:gd name="T68" fmla="*/ 8 w 335"/>
                <a:gd name="T69" fmla="*/ 33 h 344"/>
                <a:gd name="T70" fmla="*/ 3 w 335"/>
                <a:gd name="T71" fmla="*/ 18 h 344"/>
                <a:gd name="T72" fmla="*/ 4 w 335"/>
                <a:gd name="T73" fmla="*/ 12 h 344"/>
                <a:gd name="T74" fmla="*/ 9 w 335"/>
                <a:gd name="T75" fmla="*/ 10 h 344"/>
                <a:gd name="T76" fmla="*/ 20 w 335"/>
                <a:gd name="T77" fmla="*/ 12 h 344"/>
                <a:gd name="T78" fmla="*/ 32 w 335"/>
                <a:gd name="T79" fmla="*/ 6 h 344"/>
                <a:gd name="T80" fmla="*/ 45 w 335"/>
                <a:gd name="T81" fmla="*/ 6 h 344"/>
                <a:gd name="T82" fmla="*/ 59 w 335"/>
                <a:gd name="T83" fmla="*/ 17 h 344"/>
                <a:gd name="T84" fmla="*/ 97 w 335"/>
                <a:gd name="T85" fmla="*/ 18 h 344"/>
                <a:gd name="T86" fmla="*/ 140 w 335"/>
                <a:gd name="T87" fmla="*/ 17 h 344"/>
                <a:gd name="T88" fmla="*/ 159 w 335"/>
                <a:gd name="T89" fmla="*/ 16 h 344"/>
                <a:gd name="T90" fmla="*/ 170 w 335"/>
                <a:gd name="T91" fmla="*/ 16 h 344"/>
                <a:gd name="T92" fmla="*/ 180 w 335"/>
                <a:gd name="T93" fmla="*/ 27 h 344"/>
                <a:gd name="T94" fmla="*/ 201 w 335"/>
                <a:gd name="T95" fmla="*/ 29 h 344"/>
                <a:gd name="T96" fmla="*/ 229 w 335"/>
                <a:gd name="T97" fmla="*/ 33 h 344"/>
                <a:gd name="T98" fmla="*/ 244 w 335"/>
                <a:gd name="T99" fmla="*/ 33 h 344"/>
                <a:gd name="T100" fmla="*/ 271 w 335"/>
                <a:gd name="T101" fmla="*/ 29 h 344"/>
                <a:gd name="T102" fmla="*/ 286 w 335"/>
                <a:gd name="T103" fmla="*/ 26 h 344"/>
                <a:gd name="T104" fmla="*/ 293 w 335"/>
                <a:gd name="T105" fmla="*/ 24 h 344"/>
                <a:gd name="T106" fmla="*/ 302 w 335"/>
                <a:gd name="T107" fmla="*/ 22 h 344"/>
                <a:gd name="T108" fmla="*/ 319 w 335"/>
                <a:gd name="T109" fmla="*/ 18 h 344"/>
                <a:gd name="T110" fmla="*/ 331 w 335"/>
                <a:gd name="T111" fmla="*/ 21 h 344"/>
                <a:gd name="T112" fmla="*/ 335 w 335"/>
                <a:gd name="T113" fmla="*/ 2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5" h="344">
                  <a:moveTo>
                    <a:pt x="335" y="29"/>
                  </a:moveTo>
                  <a:cubicBezTo>
                    <a:pt x="333" y="29"/>
                    <a:pt x="331" y="29"/>
                    <a:pt x="330" y="30"/>
                  </a:cubicBezTo>
                  <a:cubicBezTo>
                    <a:pt x="327" y="32"/>
                    <a:pt x="325" y="32"/>
                    <a:pt x="320" y="34"/>
                  </a:cubicBezTo>
                  <a:cubicBezTo>
                    <a:pt x="316" y="36"/>
                    <a:pt x="309" y="32"/>
                    <a:pt x="307" y="38"/>
                  </a:cubicBezTo>
                  <a:cubicBezTo>
                    <a:pt x="305" y="45"/>
                    <a:pt x="301" y="49"/>
                    <a:pt x="298" y="47"/>
                  </a:cubicBezTo>
                  <a:cubicBezTo>
                    <a:pt x="295" y="44"/>
                    <a:pt x="298" y="31"/>
                    <a:pt x="275" y="35"/>
                  </a:cubicBezTo>
                  <a:cubicBezTo>
                    <a:pt x="251" y="40"/>
                    <a:pt x="233" y="38"/>
                    <a:pt x="232" y="47"/>
                  </a:cubicBezTo>
                  <a:cubicBezTo>
                    <a:pt x="231" y="57"/>
                    <a:pt x="235" y="146"/>
                    <a:pt x="232" y="146"/>
                  </a:cubicBezTo>
                  <a:cubicBezTo>
                    <a:pt x="229" y="147"/>
                    <a:pt x="207" y="138"/>
                    <a:pt x="207" y="152"/>
                  </a:cubicBezTo>
                  <a:cubicBezTo>
                    <a:pt x="206" y="164"/>
                    <a:pt x="204" y="224"/>
                    <a:pt x="208" y="235"/>
                  </a:cubicBezTo>
                  <a:cubicBezTo>
                    <a:pt x="205" y="254"/>
                    <a:pt x="204" y="315"/>
                    <a:pt x="204" y="322"/>
                  </a:cubicBezTo>
                  <a:cubicBezTo>
                    <a:pt x="204" y="330"/>
                    <a:pt x="198" y="323"/>
                    <a:pt x="190" y="330"/>
                  </a:cubicBezTo>
                  <a:cubicBezTo>
                    <a:pt x="183" y="336"/>
                    <a:pt x="188" y="343"/>
                    <a:pt x="177" y="342"/>
                  </a:cubicBezTo>
                  <a:cubicBezTo>
                    <a:pt x="166" y="341"/>
                    <a:pt x="173" y="344"/>
                    <a:pt x="163" y="339"/>
                  </a:cubicBezTo>
                  <a:cubicBezTo>
                    <a:pt x="153" y="335"/>
                    <a:pt x="143" y="338"/>
                    <a:pt x="142" y="330"/>
                  </a:cubicBezTo>
                  <a:cubicBezTo>
                    <a:pt x="141" y="322"/>
                    <a:pt x="136" y="317"/>
                    <a:pt x="136" y="317"/>
                  </a:cubicBezTo>
                  <a:cubicBezTo>
                    <a:pt x="136" y="317"/>
                    <a:pt x="124" y="318"/>
                    <a:pt x="124" y="322"/>
                  </a:cubicBezTo>
                  <a:cubicBezTo>
                    <a:pt x="123" y="325"/>
                    <a:pt x="122" y="327"/>
                    <a:pt x="120" y="329"/>
                  </a:cubicBezTo>
                  <a:cubicBezTo>
                    <a:pt x="119" y="329"/>
                    <a:pt x="119" y="329"/>
                    <a:pt x="118" y="328"/>
                  </a:cubicBezTo>
                  <a:cubicBezTo>
                    <a:pt x="106" y="322"/>
                    <a:pt x="110" y="328"/>
                    <a:pt x="104" y="318"/>
                  </a:cubicBezTo>
                  <a:cubicBezTo>
                    <a:pt x="97" y="307"/>
                    <a:pt x="97" y="310"/>
                    <a:pt x="93" y="300"/>
                  </a:cubicBezTo>
                  <a:cubicBezTo>
                    <a:pt x="89" y="290"/>
                    <a:pt x="87" y="290"/>
                    <a:pt x="87" y="282"/>
                  </a:cubicBezTo>
                  <a:cubicBezTo>
                    <a:pt x="87" y="275"/>
                    <a:pt x="82" y="273"/>
                    <a:pt x="83" y="263"/>
                  </a:cubicBezTo>
                  <a:cubicBezTo>
                    <a:pt x="84" y="253"/>
                    <a:pt x="82" y="255"/>
                    <a:pt x="81" y="247"/>
                  </a:cubicBezTo>
                  <a:cubicBezTo>
                    <a:pt x="80" y="239"/>
                    <a:pt x="81" y="239"/>
                    <a:pt x="79" y="233"/>
                  </a:cubicBezTo>
                  <a:cubicBezTo>
                    <a:pt x="77" y="226"/>
                    <a:pt x="78" y="227"/>
                    <a:pt x="75" y="222"/>
                  </a:cubicBezTo>
                  <a:cubicBezTo>
                    <a:pt x="72" y="217"/>
                    <a:pt x="70" y="213"/>
                    <a:pt x="72" y="207"/>
                  </a:cubicBezTo>
                  <a:cubicBezTo>
                    <a:pt x="74" y="201"/>
                    <a:pt x="71" y="159"/>
                    <a:pt x="71" y="158"/>
                  </a:cubicBezTo>
                  <a:cubicBezTo>
                    <a:pt x="71" y="157"/>
                    <a:pt x="65" y="147"/>
                    <a:pt x="60" y="138"/>
                  </a:cubicBezTo>
                  <a:cubicBezTo>
                    <a:pt x="54" y="130"/>
                    <a:pt x="51" y="127"/>
                    <a:pt x="47" y="117"/>
                  </a:cubicBezTo>
                  <a:cubicBezTo>
                    <a:pt x="44" y="107"/>
                    <a:pt x="41" y="106"/>
                    <a:pt x="40" y="99"/>
                  </a:cubicBezTo>
                  <a:cubicBezTo>
                    <a:pt x="38" y="91"/>
                    <a:pt x="31" y="81"/>
                    <a:pt x="30" y="74"/>
                  </a:cubicBezTo>
                  <a:cubicBezTo>
                    <a:pt x="28" y="67"/>
                    <a:pt x="30" y="64"/>
                    <a:pt x="23" y="58"/>
                  </a:cubicBezTo>
                  <a:cubicBezTo>
                    <a:pt x="17" y="52"/>
                    <a:pt x="16" y="54"/>
                    <a:pt x="12" y="47"/>
                  </a:cubicBezTo>
                  <a:cubicBezTo>
                    <a:pt x="8" y="40"/>
                    <a:pt x="8" y="40"/>
                    <a:pt x="8" y="33"/>
                  </a:cubicBezTo>
                  <a:cubicBezTo>
                    <a:pt x="7" y="26"/>
                    <a:pt x="0" y="24"/>
                    <a:pt x="3" y="18"/>
                  </a:cubicBezTo>
                  <a:cubicBezTo>
                    <a:pt x="4" y="16"/>
                    <a:pt x="4" y="14"/>
                    <a:pt x="4" y="12"/>
                  </a:cubicBezTo>
                  <a:cubicBezTo>
                    <a:pt x="5" y="12"/>
                    <a:pt x="7" y="11"/>
                    <a:pt x="9" y="10"/>
                  </a:cubicBezTo>
                  <a:cubicBezTo>
                    <a:pt x="12" y="9"/>
                    <a:pt x="16" y="10"/>
                    <a:pt x="20" y="12"/>
                  </a:cubicBezTo>
                  <a:cubicBezTo>
                    <a:pt x="24" y="13"/>
                    <a:pt x="26" y="12"/>
                    <a:pt x="32" y="6"/>
                  </a:cubicBezTo>
                  <a:cubicBezTo>
                    <a:pt x="38" y="0"/>
                    <a:pt x="40" y="5"/>
                    <a:pt x="45" y="6"/>
                  </a:cubicBezTo>
                  <a:cubicBezTo>
                    <a:pt x="50" y="7"/>
                    <a:pt x="55" y="14"/>
                    <a:pt x="59" y="17"/>
                  </a:cubicBezTo>
                  <a:cubicBezTo>
                    <a:pt x="62" y="21"/>
                    <a:pt x="83" y="18"/>
                    <a:pt x="97" y="18"/>
                  </a:cubicBezTo>
                  <a:cubicBezTo>
                    <a:pt x="110" y="18"/>
                    <a:pt x="123" y="17"/>
                    <a:pt x="140" y="17"/>
                  </a:cubicBezTo>
                  <a:cubicBezTo>
                    <a:pt x="157" y="17"/>
                    <a:pt x="150" y="17"/>
                    <a:pt x="159" y="16"/>
                  </a:cubicBezTo>
                  <a:cubicBezTo>
                    <a:pt x="168" y="15"/>
                    <a:pt x="163" y="16"/>
                    <a:pt x="170" y="16"/>
                  </a:cubicBezTo>
                  <a:cubicBezTo>
                    <a:pt x="177" y="17"/>
                    <a:pt x="176" y="23"/>
                    <a:pt x="180" y="27"/>
                  </a:cubicBezTo>
                  <a:cubicBezTo>
                    <a:pt x="183" y="31"/>
                    <a:pt x="190" y="30"/>
                    <a:pt x="201" y="29"/>
                  </a:cubicBezTo>
                  <a:cubicBezTo>
                    <a:pt x="212" y="29"/>
                    <a:pt x="225" y="33"/>
                    <a:pt x="229" y="33"/>
                  </a:cubicBezTo>
                  <a:cubicBezTo>
                    <a:pt x="233" y="33"/>
                    <a:pt x="240" y="33"/>
                    <a:pt x="244" y="33"/>
                  </a:cubicBezTo>
                  <a:cubicBezTo>
                    <a:pt x="248" y="33"/>
                    <a:pt x="259" y="33"/>
                    <a:pt x="271" y="29"/>
                  </a:cubicBezTo>
                  <a:cubicBezTo>
                    <a:pt x="282" y="26"/>
                    <a:pt x="277" y="28"/>
                    <a:pt x="286" y="26"/>
                  </a:cubicBezTo>
                  <a:cubicBezTo>
                    <a:pt x="289" y="25"/>
                    <a:pt x="292" y="24"/>
                    <a:pt x="293" y="24"/>
                  </a:cubicBezTo>
                  <a:cubicBezTo>
                    <a:pt x="296" y="24"/>
                    <a:pt x="299" y="24"/>
                    <a:pt x="302" y="22"/>
                  </a:cubicBezTo>
                  <a:cubicBezTo>
                    <a:pt x="309" y="18"/>
                    <a:pt x="310" y="20"/>
                    <a:pt x="319" y="18"/>
                  </a:cubicBezTo>
                  <a:cubicBezTo>
                    <a:pt x="328" y="17"/>
                    <a:pt x="328" y="20"/>
                    <a:pt x="331" y="21"/>
                  </a:cubicBezTo>
                  <a:cubicBezTo>
                    <a:pt x="333" y="22"/>
                    <a:pt x="334" y="26"/>
                    <a:pt x="335" y="29"/>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15" name="Freeform 904">
              <a:extLst>
                <a:ext uri="{FF2B5EF4-FFF2-40B4-BE49-F238E27FC236}">
                  <a16:creationId xmlns:a16="http://schemas.microsoft.com/office/drawing/2014/main" id="{09260E0E-D3A5-DA4C-890C-D72628721D6F}"/>
                </a:ext>
              </a:extLst>
            </p:cNvPr>
            <p:cNvSpPr>
              <a:spLocks/>
            </p:cNvSpPr>
            <p:nvPr/>
          </p:nvSpPr>
          <p:spPr bwMode="auto">
            <a:xfrm>
              <a:off x="4305314" y="2821445"/>
              <a:ext cx="296863" cy="325438"/>
            </a:xfrm>
            <a:custGeom>
              <a:avLst/>
              <a:gdLst>
                <a:gd name="T0" fmla="*/ 307 w 312"/>
                <a:gd name="T1" fmla="*/ 176 h 342"/>
                <a:gd name="T2" fmla="*/ 307 w 312"/>
                <a:gd name="T3" fmla="*/ 203 h 342"/>
                <a:gd name="T4" fmla="*/ 258 w 312"/>
                <a:gd name="T5" fmla="*/ 297 h 342"/>
                <a:gd name="T6" fmla="*/ 283 w 312"/>
                <a:gd name="T7" fmla="*/ 335 h 342"/>
                <a:gd name="T8" fmla="*/ 241 w 312"/>
                <a:gd name="T9" fmla="*/ 342 h 342"/>
                <a:gd name="T10" fmla="*/ 198 w 312"/>
                <a:gd name="T11" fmla="*/ 338 h 342"/>
                <a:gd name="T12" fmla="*/ 167 w 312"/>
                <a:gd name="T13" fmla="*/ 325 h 342"/>
                <a:gd name="T14" fmla="*/ 137 w 312"/>
                <a:gd name="T15" fmla="*/ 326 h 342"/>
                <a:gd name="T16" fmla="*/ 56 w 312"/>
                <a:gd name="T17" fmla="*/ 326 h 342"/>
                <a:gd name="T18" fmla="*/ 29 w 312"/>
                <a:gd name="T19" fmla="*/ 315 h 342"/>
                <a:gd name="T20" fmla="*/ 6 w 312"/>
                <a:gd name="T21" fmla="*/ 319 h 342"/>
                <a:gd name="T22" fmla="*/ 2 w 312"/>
                <a:gd name="T23" fmla="*/ 313 h 342"/>
                <a:gd name="T24" fmla="*/ 6 w 312"/>
                <a:gd name="T25" fmla="*/ 276 h 342"/>
                <a:gd name="T26" fmla="*/ 15 w 312"/>
                <a:gd name="T27" fmla="*/ 245 h 342"/>
                <a:gd name="T28" fmla="*/ 25 w 312"/>
                <a:gd name="T29" fmla="*/ 209 h 342"/>
                <a:gd name="T30" fmla="*/ 40 w 312"/>
                <a:gd name="T31" fmla="*/ 189 h 342"/>
                <a:gd name="T32" fmla="*/ 54 w 312"/>
                <a:gd name="T33" fmla="*/ 149 h 342"/>
                <a:gd name="T34" fmla="*/ 43 w 312"/>
                <a:gd name="T35" fmla="*/ 119 h 342"/>
                <a:gd name="T36" fmla="*/ 39 w 312"/>
                <a:gd name="T37" fmla="*/ 85 h 342"/>
                <a:gd name="T38" fmla="*/ 37 w 312"/>
                <a:gd name="T39" fmla="*/ 56 h 342"/>
                <a:gd name="T40" fmla="*/ 24 w 312"/>
                <a:gd name="T41" fmla="*/ 26 h 342"/>
                <a:gd name="T42" fmla="*/ 16 w 312"/>
                <a:gd name="T43" fmla="*/ 8 h 342"/>
                <a:gd name="T44" fmla="*/ 48 w 312"/>
                <a:gd name="T45" fmla="*/ 4 h 342"/>
                <a:gd name="T46" fmla="*/ 128 w 312"/>
                <a:gd name="T47" fmla="*/ 26 h 342"/>
                <a:gd name="T48" fmla="*/ 142 w 312"/>
                <a:gd name="T49" fmla="*/ 56 h 342"/>
                <a:gd name="T50" fmla="*/ 178 w 312"/>
                <a:gd name="T51" fmla="*/ 63 h 342"/>
                <a:gd name="T52" fmla="*/ 194 w 312"/>
                <a:gd name="T53" fmla="*/ 52 h 342"/>
                <a:gd name="T54" fmla="*/ 217 w 312"/>
                <a:gd name="T55" fmla="*/ 34 h 342"/>
                <a:gd name="T56" fmla="*/ 238 w 312"/>
                <a:gd name="T57" fmla="*/ 43 h 342"/>
                <a:gd name="T58" fmla="*/ 255 w 312"/>
                <a:gd name="T59" fmla="*/ 65 h 342"/>
                <a:gd name="T60" fmla="*/ 253 w 312"/>
                <a:gd name="T61" fmla="*/ 97 h 342"/>
                <a:gd name="T62" fmla="*/ 266 w 312"/>
                <a:gd name="T63" fmla="*/ 132 h 342"/>
                <a:gd name="T64" fmla="*/ 265 w 312"/>
                <a:gd name="T65" fmla="*/ 151 h 342"/>
                <a:gd name="T66" fmla="*/ 291 w 312"/>
                <a:gd name="T67" fmla="*/ 149 h 342"/>
                <a:gd name="T68" fmla="*/ 309 w 312"/>
                <a:gd name="T69" fmla="*/ 147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2" h="342">
                  <a:moveTo>
                    <a:pt x="309" y="166"/>
                  </a:moveTo>
                  <a:cubicBezTo>
                    <a:pt x="309" y="170"/>
                    <a:pt x="307" y="173"/>
                    <a:pt x="307" y="176"/>
                  </a:cubicBezTo>
                  <a:cubicBezTo>
                    <a:pt x="308" y="179"/>
                    <a:pt x="312" y="184"/>
                    <a:pt x="305" y="189"/>
                  </a:cubicBezTo>
                  <a:cubicBezTo>
                    <a:pt x="297" y="193"/>
                    <a:pt x="304" y="201"/>
                    <a:pt x="307" y="203"/>
                  </a:cubicBezTo>
                  <a:cubicBezTo>
                    <a:pt x="310" y="206"/>
                    <a:pt x="262" y="203"/>
                    <a:pt x="258" y="203"/>
                  </a:cubicBezTo>
                  <a:cubicBezTo>
                    <a:pt x="253" y="204"/>
                    <a:pt x="256" y="288"/>
                    <a:pt x="258" y="297"/>
                  </a:cubicBezTo>
                  <a:cubicBezTo>
                    <a:pt x="259" y="304"/>
                    <a:pt x="283" y="326"/>
                    <a:pt x="290" y="333"/>
                  </a:cubicBezTo>
                  <a:cubicBezTo>
                    <a:pt x="289" y="333"/>
                    <a:pt x="286" y="334"/>
                    <a:pt x="283" y="335"/>
                  </a:cubicBezTo>
                  <a:cubicBezTo>
                    <a:pt x="274" y="337"/>
                    <a:pt x="279" y="335"/>
                    <a:pt x="268" y="338"/>
                  </a:cubicBezTo>
                  <a:cubicBezTo>
                    <a:pt x="256" y="342"/>
                    <a:pt x="245" y="342"/>
                    <a:pt x="241" y="342"/>
                  </a:cubicBezTo>
                  <a:cubicBezTo>
                    <a:pt x="237" y="342"/>
                    <a:pt x="230" y="342"/>
                    <a:pt x="226" y="342"/>
                  </a:cubicBezTo>
                  <a:cubicBezTo>
                    <a:pt x="222" y="342"/>
                    <a:pt x="209" y="338"/>
                    <a:pt x="198" y="338"/>
                  </a:cubicBezTo>
                  <a:cubicBezTo>
                    <a:pt x="187" y="339"/>
                    <a:pt x="180" y="340"/>
                    <a:pt x="177" y="336"/>
                  </a:cubicBezTo>
                  <a:cubicBezTo>
                    <a:pt x="173" y="332"/>
                    <a:pt x="174" y="326"/>
                    <a:pt x="167" y="325"/>
                  </a:cubicBezTo>
                  <a:cubicBezTo>
                    <a:pt x="160" y="325"/>
                    <a:pt x="165" y="324"/>
                    <a:pt x="156" y="325"/>
                  </a:cubicBezTo>
                  <a:cubicBezTo>
                    <a:pt x="147" y="326"/>
                    <a:pt x="154" y="326"/>
                    <a:pt x="137" y="326"/>
                  </a:cubicBezTo>
                  <a:cubicBezTo>
                    <a:pt x="120" y="326"/>
                    <a:pt x="107" y="327"/>
                    <a:pt x="94" y="327"/>
                  </a:cubicBezTo>
                  <a:cubicBezTo>
                    <a:pt x="80" y="327"/>
                    <a:pt x="59" y="330"/>
                    <a:pt x="56" y="326"/>
                  </a:cubicBezTo>
                  <a:cubicBezTo>
                    <a:pt x="52" y="323"/>
                    <a:pt x="47" y="316"/>
                    <a:pt x="42" y="315"/>
                  </a:cubicBezTo>
                  <a:cubicBezTo>
                    <a:pt x="37" y="314"/>
                    <a:pt x="35" y="309"/>
                    <a:pt x="29" y="315"/>
                  </a:cubicBezTo>
                  <a:cubicBezTo>
                    <a:pt x="23" y="321"/>
                    <a:pt x="21" y="322"/>
                    <a:pt x="17" y="321"/>
                  </a:cubicBezTo>
                  <a:cubicBezTo>
                    <a:pt x="13" y="319"/>
                    <a:pt x="9" y="318"/>
                    <a:pt x="6" y="319"/>
                  </a:cubicBezTo>
                  <a:cubicBezTo>
                    <a:pt x="4" y="320"/>
                    <a:pt x="2" y="321"/>
                    <a:pt x="1" y="321"/>
                  </a:cubicBezTo>
                  <a:cubicBezTo>
                    <a:pt x="1" y="318"/>
                    <a:pt x="0" y="315"/>
                    <a:pt x="2" y="313"/>
                  </a:cubicBezTo>
                  <a:cubicBezTo>
                    <a:pt x="5" y="309"/>
                    <a:pt x="3" y="307"/>
                    <a:pt x="3" y="296"/>
                  </a:cubicBezTo>
                  <a:cubicBezTo>
                    <a:pt x="3" y="286"/>
                    <a:pt x="3" y="278"/>
                    <a:pt x="6" y="276"/>
                  </a:cubicBezTo>
                  <a:cubicBezTo>
                    <a:pt x="8" y="274"/>
                    <a:pt x="9" y="272"/>
                    <a:pt x="10" y="266"/>
                  </a:cubicBezTo>
                  <a:cubicBezTo>
                    <a:pt x="12" y="261"/>
                    <a:pt x="12" y="253"/>
                    <a:pt x="15" y="245"/>
                  </a:cubicBezTo>
                  <a:cubicBezTo>
                    <a:pt x="18" y="236"/>
                    <a:pt x="14" y="240"/>
                    <a:pt x="18" y="227"/>
                  </a:cubicBezTo>
                  <a:cubicBezTo>
                    <a:pt x="22" y="214"/>
                    <a:pt x="19" y="213"/>
                    <a:pt x="25" y="209"/>
                  </a:cubicBezTo>
                  <a:cubicBezTo>
                    <a:pt x="31" y="205"/>
                    <a:pt x="30" y="209"/>
                    <a:pt x="33" y="201"/>
                  </a:cubicBezTo>
                  <a:cubicBezTo>
                    <a:pt x="37" y="193"/>
                    <a:pt x="36" y="190"/>
                    <a:pt x="40" y="189"/>
                  </a:cubicBezTo>
                  <a:cubicBezTo>
                    <a:pt x="43" y="187"/>
                    <a:pt x="44" y="192"/>
                    <a:pt x="49" y="178"/>
                  </a:cubicBezTo>
                  <a:cubicBezTo>
                    <a:pt x="55" y="165"/>
                    <a:pt x="54" y="154"/>
                    <a:pt x="54" y="149"/>
                  </a:cubicBezTo>
                  <a:cubicBezTo>
                    <a:pt x="53" y="143"/>
                    <a:pt x="56" y="147"/>
                    <a:pt x="51" y="137"/>
                  </a:cubicBezTo>
                  <a:cubicBezTo>
                    <a:pt x="46" y="127"/>
                    <a:pt x="46" y="128"/>
                    <a:pt x="43" y="119"/>
                  </a:cubicBezTo>
                  <a:cubicBezTo>
                    <a:pt x="41" y="110"/>
                    <a:pt x="39" y="104"/>
                    <a:pt x="38" y="100"/>
                  </a:cubicBezTo>
                  <a:cubicBezTo>
                    <a:pt x="37" y="96"/>
                    <a:pt x="35" y="90"/>
                    <a:pt x="39" y="85"/>
                  </a:cubicBezTo>
                  <a:cubicBezTo>
                    <a:pt x="44" y="79"/>
                    <a:pt x="45" y="81"/>
                    <a:pt x="43" y="72"/>
                  </a:cubicBezTo>
                  <a:cubicBezTo>
                    <a:pt x="41" y="63"/>
                    <a:pt x="43" y="66"/>
                    <a:pt x="37" y="56"/>
                  </a:cubicBezTo>
                  <a:cubicBezTo>
                    <a:pt x="32" y="47"/>
                    <a:pt x="36" y="49"/>
                    <a:pt x="31" y="40"/>
                  </a:cubicBezTo>
                  <a:cubicBezTo>
                    <a:pt x="26" y="30"/>
                    <a:pt x="27" y="31"/>
                    <a:pt x="24" y="26"/>
                  </a:cubicBezTo>
                  <a:cubicBezTo>
                    <a:pt x="20" y="21"/>
                    <a:pt x="17" y="18"/>
                    <a:pt x="17" y="15"/>
                  </a:cubicBezTo>
                  <a:cubicBezTo>
                    <a:pt x="17" y="13"/>
                    <a:pt x="17" y="11"/>
                    <a:pt x="16" y="8"/>
                  </a:cubicBezTo>
                  <a:cubicBezTo>
                    <a:pt x="20" y="8"/>
                    <a:pt x="24" y="8"/>
                    <a:pt x="30" y="6"/>
                  </a:cubicBezTo>
                  <a:cubicBezTo>
                    <a:pt x="38" y="4"/>
                    <a:pt x="38" y="3"/>
                    <a:pt x="48" y="4"/>
                  </a:cubicBezTo>
                  <a:cubicBezTo>
                    <a:pt x="58" y="5"/>
                    <a:pt x="120" y="0"/>
                    <a:pt x="122" y="3"/>
                  </a:cubicBezTo>
                  <a:cubicBezTo>
                    <a:pt x="124" y="6"/>
                    <a:pt x="126" y="20"/>
                    <a:pt x="128" y="26"/>
                  </a:cubicBezTo>
                  <a:cubicBezTo>
                    <a:pt x="129" y="31"/>
                    <a:pt x="133" y="35"/>
                    <a:pt x="135" y="43"/>
                  </a:cubicBezTo>
                  <a:cubicBezTo>
                    <a:pt x="137" y="50"/>
                    <a:pt x="139" y="48"/>
                    <a:pt x="142" y="56"/>
                  </a:cubicBezTo>
                  <a:cubicBezTo>
                    <a:pt x="145" y="64"/>
                    <a:pt x="148" y="65"/>
                    <a:pt x="158" y="65"/>
                  </a:cubicBezTo>
                  <a:cubicBezTo>
                    <a:pt x="168" y="65"/>
                    <a:pt x="173" y="62"/>
                    <a:pt x="178" y="63"/>
                  </a:cubicBezTo>
                  <a:cubicBezTo>
                    <a:pt x="183" y="64"/>
                    <a:pt x="193" y="68"/>
                    <a:pt x="193" y="63"/>
                  </a:cubicBezTo>
                  <a:cubicBezTo>
                    <a:pt x="193" y="58"/>
                    <a:pt x="190" y="55"/>
                    <a:pt x="194" y="52"/>
                  </a:cubicBezTo>
                  <a:cubicBezTo>
                    <a:pt x="199" y="49"/>
                    <a:pt x="195" y="33"/>
                    <a:pt x="198" y="34"/>
                  </a:cubicBezTo>
                  <a:cubicBezTo>
                    <a:pt x="202" y="35"/>
                    <a:pt x="214" y="38"/>
                    <a:pt x="217" y="34"/>
                  </a:cubicBezTo>
                  <a:cubicBezTo>
                    <a:pt x="219" y="30"/>
                    <a:pt x="224" y="32"/>
                    <a:pt x="224" y="36"/>
                  </a:cubicBezTo>
                  <a:cubicBezTo>
                    <a:pt x="224" y="40"/>
                    <a:pt x="224" y="42"/>
                    <a:pt x="238" y="43"/>
                  </a:cubicBezTo>
                  <a:cubicBezTo>
                    <a:pt x="253" y="43"/>
                    <a:pt x="257" y="46"/>
                    <a:pt x="254" y="50"/>
                  </a:cubicBezTo>
                  <a:cubicBezTo>
                    <a:pt x="252" y="54"/>
                    <a:pt x="253" y="62"/>
                    <a:pt x="255" y="65"/>
                  </a:cubicBezTo>
                  <a:cubicBezTo>
                    <a:pt x="257" y="69"/>
                    <a:pt x="260" y="67"/>
                    <a:pt x="258" y="75"/>
                  </a:cubicBezTo>
                  <a:cubicBezTo>
                    <a:pt x="256" y="83"/>
                    <a:pt x="253" y="92"/>
                    <a:pt x="253" y="97"/>
                  </a:cubicBezTo>
                  <a:cubicBezTo>
                    <a:pt x="253" y="103"/>
                    <a:pt x="250" y="105"/>
                    <a:pt x="256" y="112"/>
                  </a:cubicBezTo>
                  <a:cubicBezTo>
                    <a:pt x="261" y="119"/>
                    <a:pt x="266" y="128"/>
                    <a:pt x="266" y="132"/>
                  </a:cubicBezTo>
                  <a:cubicBezTo>
                    <a:pt x="266" y="136"/>
                    <a:pt x="264" y="141"/>
                    <a:pt x="263" y="144"/>
                  </a:cubicBezTo>
                  <a:cubicBezTo>
                    <a:pt x="263" y="147"/>
                    <a:pt x="258" y="149"/>
                    <a:pt x="265" y="151"/>
                  </a:cubicBezTo>
                  <a:cubicBezTo>
                    <a:pt x="271" y="152"/>
                    <a:pt x="265" y="152"/>
                    <a:pt x="273" y="151"/>
                  </a:cubicBezTo>
                  <a:cubicBezTo>
                    <a:pt x="281" y="149"/>
                    <a:pt x="283" y="149"/>
                    <a:pt x="291" y="149"/>
                  </a:cubicBezTo>
                  <a:cubicBezTo>
                    <a:pt x="300" y="148"/>
                    <a:pt x="303" y="145"/>
                    <a:pt x="308" y="146"/>
                  </a:cubicBezTo>
                  <a:cubicBezTo>
                    <a:pt x="308" y="147"/>
                    <a:pt x="309" y="147"/>
                    <a:pt x="309" y="147"/>
                  </a:cubicBezTo>
                  <a:cubicBezTo>
                    <a:pt x="308" y="152"/>
                    <a:pt x="309" y="162"/>
                    <a:pt x="309" y="166"/>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16" name="Freeform 905">
              <a:extLst>
                <a:ext uri="{FF2B5EF4-FFF2-40B4-BE49-F238E27FC236}">
                  <a16:creationId xmlns:a16="http://schemas.microsoft.com/office/drawing/2014/main" id="{DB3DDD6B-F0DA-9648-AF01-3317D41E5A35}"/>
                </a:ext>
              </a:extLst>
            </p:cNvPr>
            <p:cNvSpPr>
              <a:spLocks/>
            </p:cNvSpPr>
            <p:nvPr/>
          </p:nvSpPr>
          <p:spPr bwMode="auto">
            <a:xfrm>
              <a:off x="4314839" y="2786520"/>
              <a:ext cx="25400" cy="36513"/>
            </a:xfrm>
            <a:custGeom>
              <a:avLst/>
              <a:gdLst>
                <a:gd name="T0" fmla="*/ 27 w 27"/>
                <a:gd name="T1" fmla="*/ 4 h 39"/>
                <a:gd name="T2" fmla="*/ 21 w 27"/>
                <a:gd name="T3" fmla="*/ 10 h 39"/>
                <a:gd name="T4" fmla="*/ 16 w 27"/>
                <a:gd name="T5" fmla="*/ 19 h 39"/>
                <a:gd name="T6" fmla="*/ 11 w 27"/>
                <a:gd name="T7" fmla="*/ 37 h 39"/>
                <a:gd name="T8" fmla="*/ 4 w 27"/>
                <a:gd name="T9" fmla="*/ 39 h 39"/>
                <a:gd name="T10" fmla="*/ 2 w 27"/>
                <a:gd name="T11" fmla="*/ 22 h 39"/>
                <a:gd name="T12" fmla="*/ 0 w 27"/>
                <a:gd name="T13" fmla="*/ 14 h 39"/>
                <a:gd name="T14" fmla="*/ 2 w 27"/>
                <a:gd name="T15" fmla="*/ 9 h 39"/>
                <a:gd name="T16" fmla="*/ 12 w 27"/>
                <a:gd name="T17" fmla="*/ 5 h 39"/>
                <a:gd name="T18" fmla="*/ 19 w 27"/>
                <a:gd name="T19" fmla="*/ 1 h 39"/>
                <a:gd name="T20" fmla="*/ 27 w 27"/>
                <a:gd name="T21"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9">
                  <a:moveTo>
                    <a:pt x="27" y="4"/>
                  </a:moveTo>
                  <a:cubicBezTo>
                    <a:pt x="26" y="6"/>
                    <a:pt x="24" y="9"/>
                    <a:pt x="21" y="10"/>
                  </a:cubicBezTo>
                  <a:cubicBezTo>
                    <a:pt x="13" y="14"/>
                    <a:pt x="14" y="14"/>
                    <a:pt x="16" y="19"/>
                  </a:cubicBezTo>
                  <a:cubicBezTo>
                    <a:pt x="18" y="24"/>
                    <a:pt x="14" y="31"/>
                    <a:pt x="11" y="37"/>
                  </a:cubicBezTo>
                  <a:cubicBezTo>
                    <a:pt x="11" y="38"/>
                    <a:pt x="8" y="39"/>
                    <a:pt x="4" y="39"/>
                  </a:cubicBezTo>
                  <a:cubicBezTo>
                    <a:pt x="2" y="31"/>
                    <a:pt x="3" y="29"/>
                    <a:pt x="2" y="22"/>
                  </a:cubicBezTo>
                  <a:cubicBezTo>
                    <a:pt x="2" y="18"/>
                    <a:pt x="1" y="16"/>
                    <a:pt x="0" y="14"/>
                  </a:cubicBezTo>
                  <a:cubicBezTo>
                    <a:pt x="0" y="13"/>
                    <a:pt x="1" y="11"/>
                    <a:pt x="2" y="9"/>
                  </a:cubicBezTo>
                  <a:cubicBezTo>
                    <a:pt x="5" y="5"/>
                    <a:pt x="6" y="8"/>
                    <a:pt x="12" y="5"/>
                  </a:cubicBezTo>
                  <a:cubicBezTo>
                    <a:pt x="17" y="2"/>
                    <a:pt x="15" y="1"/>
                    <a:pt x="19" y="1"/>
                  </a:cubicBezTo>
                  <a:cubicBezTo>
                    <a:pt x="22" y="0"/>
                    <a:pt x="24" y="1"/>
                    <a:pt x="27"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17" name="Freeform 906">
              <a:extLst>
                <a:ext uri="{FF2B5EF4-FFF2-40B4-BE49-F238E27FC236}">
                  <a16:creationId xmlns:a16="http://schemas.microsoft.com/office/drawing/2014/main" id="{D261DC2E-8FD1-A24D-AA6B-968B1FEB463F}"/>
                </a:ext>
              </a:extLst>
            </p:cNvPr>
            <p:cNvSpPr>
              <a:spLocks/>
            </p:cNvSpPr>
            <p:nvPr/>
          </p:nvSpPr>
          <p:spPr bwMode="auto">
            <a:xfrm>
              <a:off x="4621227" y="3084971"/>
              <a:ext cx="187326" cy="180975"/>
            </a:xfrm>
            <a:custGeom>
              <a:avLst/>
              <a:gdLst>
                <a:gd name="T0" fmla="*/ 196 w 197"/>
                <a:gd name="T1" fmla="*/ 65 h 190"/>
                <a:gd name="T2" fmla="*/ 194 w 197"/>
                <a:gd name="T3" fmla="*/ 79 h 190"/>
                <a:gd name="T4" fmla="*/ 190 w 197"/>
                <a:gd name="T5" fmla="*/ 91 h 190"/>
                <a:gd name="T6" fmla="*/ 190 w 197"/>
                <a:gd name="T7" fmla="*/ 103 h 190"/>
                <a:gd name="T8" fmla="*/ 189 w 197"/>
                <a:gd name="T9" fmla="*/ 114 h 190"/>
                <a:gd name="T10" fmla="*/ 192 w 197"/>
                <a:gd name="T11" fmla="*/ 122 h 190"/>
                <a:gd name="T12" fmla="*/ 181 w 197"/>
                <a:gd name="T13" fmla="*/ 138 h 190"/>
                <a:gd name="T14" fmla="*/ 177 w 197"/>
                <a:gd name="T15" fmla="*/ 160 h 190"/>
                <a:gd name="T16" fmla="*/ 170 w 197"/>
                <a:gd name="T17" fmla="*/ 166 h 190"/>
                <a:gd name="T18" fmla="*/ 154 w 197"/>
                <a:gd name="T19" fmla="*/ 182 h 190"/>
                <a:gd name="T20" fmla="*/ 149 w 197"/>
                <a:gd name="T21" fmla="*/ 188 h 190"/>
                <a:gd name="T22" fmla="*/ 131 w 197"/>
                <a:gd name="T23" fmla="*/ 188 h 190"/>
                <a:gd name="T24" fmla="*/ 113 w 197"/>
                <a:gd name="T25" fmla="*/ 183 h 190"/>
                <a:gd name="T26" fmla="*/ 97 w 197"/>
                <a:gd name="T27" fmla="*/ 182 h 190"/>
                <a:gd name="T28" fmla="*/ 91 w 197"/>
                <a:gd name="T29" fmla="*/ 172 h 190"/>
                <a:gd name="T30" fmla="*/ 63 w 197"/>
                <a:gd name="T31" fmla="*/ 155 h 190"/>
                <a:gd name="T32" fmla="*/ 60 w 197"/>
                <a:gd name="T33" fmla="*/ 134 h 190"/>
                <a:gd name="T34" fmla="*/ 49 w 197"/>
                <a:gd name="T35" fmla="*/ 125 h 190"/>
                <a:gd name="T36" fmla="*/ 35 w 197"/>
                <a:gd name="T37" fmla="*/ 115 h 190"/>
                <a:gd name="T38" fmla="*/ 22 w 197"/>
                <a:gd name="T39" fmla="*/ 103 h 190"/>
                <a:gd name="T40" fmla="*/ 13 w 197"/>
                <a:gd name="T41" fmla="*/ 83 h 190"/>
                <a:gd name="T42" fmla="*/ 1 w 197"/>
                <a:gd name="T43" fmla="*/ 63 h 190"/>
                <a:gd name="T44" fmla="*/ 0 w 197"/>
                <a:gd name="T45" fmla="*/ 61 h 190"/>
                <a:gd name="T46" fmla="*/ 8 w 197"/>
                <a:gd name="T47" fmla="*/ 61 h 190"/>
                <a:gd name="T48" fmla="*/ 22 w 197"/>
                <a:gd name="T49" fmla="*/ 65 h 190"/>
                <a:gd name="T50" fmla="*/ 38 w 197"/>
                <a:gd name="T51" fmla="*/ 69 h 190"/>
                <a:gd name="T52" fmla="*/ 53 w 197"/>
                <a:gd name="T53" fmla="*/ 58 h 190"/>
                <a:gd name="T54" fmla="*/ 62 w 197"/>
                <a:gd name="T55" fmla="*/ 46 h 190"/>
                <a:gd name="T56" fmla="*/ 71 w 197"/>
                <a:gd name="T57" fmla="*/ 35 h 190"/>
                <a:gd name="T58" fmla="*/ 86 w 197"/>
                <a:gd name="T59" fmla="*/ 29 h 190"/>
                <a:gd name="T60" fmla="*/ 90 w 197"/>
                <a:gd name="T61" fmla="*/ 16 h 190"/>
                <a:gd name="T62" fmla="*/ 99 w 197"/>
                <a:gd name="T63" fmla="*/ 5 h 190"/>
                <a:gd name="T64" fmla="*/ 121 w 197"/>
                <a:gd name="T65" fmla="*/ 0 h 190"/>
                <a:gd name="T66" fmla="*/ 130 w 197"/>
                <a:gd name="T67" fmla="*/ 0 h 190"/>
                <a:gd name="T68" fmla="*/ 131 w 197"/>
                <a:gd name="T69" fmla="*/ 7 h 190"/>
                <a:gd name="T70" fmla="*/ 151 w 197"/>
                <a:gd name="T71" fmla="*/ 11 h 190"/>
                <a:gd name="T72" fmla="*/ 168 w 197"/>
                <a:gd name="T73" fmla="*/ 19 h 190"/>
                <a:gd name="T74" fmla="*/ 184 w 197"/>
                <a:gd name="T75" fmla="*/ 25 h 190"/>
                <a:gd name="T76" fmla="*/ 194 w 197"/>
                <a:gd name="T77" fmla="*/ 33 h 190"/>
                <a:gd name="T78" fmla="*/ 194 w 197"/>
                <a:gd name="T79" fmla="*/ 43 h 190"/>
                <a:gd name="T80" fmla="*/ 196 w 197"/>
                <a:gd name="T81" fmla="*/ 6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7" h="190">
                  <a:moveTo>
                    <a:pt x="196" y="65"/>
                  </a:moveTo>
                  <a:cubicBezTo>
                    <a:pt x="195" y="72"/>
                    <a:pt x="196" y="73"/>
                    <a:pt x="194" y="79"/>
                  </a:cubicBezTo>
                  <a:cubicBezTo>
                    <a:pt x="193" y="84"/>
                    <a:pt x="191" y="85"/>
                    <a:pt x="190" y="91"/>
                  </a:cubicBezTo>
                  <a:cubicBezTo>
                    <a:pt x="189" y="97"/>
                    <a:pt x="190" y="99"/>
                    <a:pt x="190" y="103"/>
                  </a:cubicBezTo>
                  <a:cubicBezTo>
                    <a:pt x="190" y="107"/>
                    <a:pt x="186" y="111"/>
                    <a:pt x="189" y="114"/>
                  </a:cubicBezTo>
                  <a:cubicBezTo>
                    <a:pt x="192" y="116"/>
                    <a:pt x="195" y="117"/>
                    <a:pt x="192" y="122"/>
                  </a:cubicBezTo>
                  <a:cubicBezTo>
                    <a:pt x="189" y="127"/>
                    <a:pt x="182" y="133"/>
                    <a:pt x="181" y="138"/>
                  </a:cubicBezTo>
                  <a:cubicBezTo>
                    <a:pt x="180" y="142"/>
                    <a:pt x="176" y="157"/>
                    <a:pt x="177" y="160"/>
                  </a:cubicBezTo>
                  <a:cubicBezTo>
                    <a:pt x="177" y="163"/>
                    <a:pt x="177" y="161"/>
                    <a:pt x="170" y="166"/>
                  </a:cubicBezTo>
                  <a:cubicBezTo>
                    <a:pt x="163" y="171"/>
                    <a:pt x="157" y="178"/>
                    <a:pt x="154" y="182"/>
                  </a:cubicBezTo>
                  <a:cubicBezTo>
                    <a:pt x="152" y="183"/>
                    <a:pt x="151" y="185"/>
                    <a:pt x="149" y="188"/>
                  </a:cubicBezTo>
                  <a:cubicBezTo>
                    <a:pt x="145" y="186"/>
                    <a:pt x="142" y="190"/>
                    <a:pt x="131" y="188"/>
                  </a:cubicBezTo>
                  <a:cubicBezTo>
                    <a:pt x="121" y="185"/>
                    <a:pt x="121" y="184"/>
                    <a:pt x="113" y="183"/>
                  </a:cubicBezTo>
                  <a:cubicBezTo>
                    <a:pt x="107" y="182"/>
                    <a:pt x="100" y="181"/>
                    <a:pt x="97" y="182"/>
                  </a:cubicBezTo>
                  <a:cubicBezTo>
                    <a:pt x="98" y="178"/>
                    <a:pt x="98" y="174"/>
                    <a:pt x="91" y="172"/>
                  </a:cubicBezTo>
                  <a:cubicBezTo>
                    <a:pt x="80" y="168"/>
                    <a:pt x="65" y="167"/>
                    <a:pt x="63" y="155"/>
                  </a:cubicBezTo>
                  <a:cubicBezTo>
                    <a:pt x="60" y="144"/>
                    <a:pt x="69" y="137"/>
                    <a:pt x="60" y="134"/>
                  </a:cubicBezTo>
                  <a:cubicBezTo>
                    <a:pt x="50" y="131"/>
                    <a:pt x="50" y="130"/>
                    <a:pt x="49" y="125"/>
                  </a:cubicBezTo>
                  <a:cubicBezTo>
                    <a:pt x="48" y="121"/>
                    <a:pt x="41" y="119"/>
                    <a:pt x="35" y="115"/>
                  </a:cubicBezTo>
                  <a:cubicBezTo>
                    <a:pt x="28" y="111"/>
                    <a:pt x="26" y="111"/>
                    <a:pt x="22" y="103"/>
                  </a:cubicBezTo>
                  <a:cubicBezTo>
                    <a:pt x="18" y="94"/>
                    <a:pt x="18" y="96"/>
                    <a:pt x="13" y="83"/>
                  </a:cubicBezTo>
                  <a:cubicBezTo>
                    <a:pt x="8" y="71"/>
                    <a:pt x="1" y="63"/>
                    <a:pt x="1" y="63"/>
                  </a:cubicBezTo>
                  <a:cubicBezTo>
                    <a:pt x="1" y="63"/>
                    <a:pt x="1" y="62"/>
                    <a:pt x="0" y="61"/>
                  </a:cubicBezTo>
                  <a:cubicBezTo>
                    <a:pt x="3" y="60"/>
                    <a:pt x="6" y="61"/>
                    <a:pt x="8" y="61"/>
                  </a:cubicBezTo>
                  <a:cubicBezTo>
                    <a:pt x="13" y="61"/>
                    <a:pt x="16" y="63"/>
                    <a:pt x="22" y="65"/>
                  </a:cubicBezTo>
                  <a:cubicBezTo>
                    <a:pt x="28" y="67"/>
                    <a:pt x="34" y="69"/>
                    <a:pt x="38" y="69"/>
                  </a:cubicBezTo>
                  <a:cubicBezTo>
                    <a:pt x="42" y="69"/>
                    <a:pt x="45" y="64"/>
                    <a:pt x="53" y="58"/>
                  </a:cubicBezTo>
                  <a:cubicBezTo>
                    <a:pt x="61" y="53"/>
                    <a:pt x="59" y="53"/>
                    <a:pt x="62" y="46"/>
                  </a:cubicBezTo>
                  <a:cubicBezTo>
                    <a:pt x="65" y="38"/>
                    <a:pt x="67" y="39"/>
                    <a:pt x="71" y="35"/>
                  </a:cubicBezTo>
                  <a:cubicBezTo>
                    <a:pt x="74" y="31"/>
                    <a:pt x="82" y="31"/>
                    <a:pt x="86" y="29"/>
                  </a:cubicBezTo>
                  <a:cubicBezTo>
                    <a:pt x="91" y="27"/>
                    <a:pt x="90" y="22"/>
                    <a:pt x="90" y="16"/>
                  </a:cubicBezTo>
                  <a:cubicBezTo>
                    <a:pt x="90" y="10"/>
                    <a:pt x="97" y="9"/>
                    <a:pt x="99" y="5"/>
                  </a:cubicBezTo>
                  <a:cubicBezTo>
                    <a:pt x="101" y="0"/>
                    <a:pt x="115" y="0"/>
                    <a:pt x="121" y="0"/>
                  </a:cubicBezTo>
                  <a:cubicBezTo>
                    <a:pt x="125" y="0"/>
                    <a:pt x="128" y="0"/>
                    <a:pt x="130" y="0"/>
                  </a:cubicBezTo>
                  <a:cubicBezTo>
                    <a:pt x="129" y="3"/>
                    <a:pt x="128" y="5"/>
                    <a:pt x="131" y="7"/>
                  </a:cubicBezTo>
                  <a:cubicBezTo>
                    <a:pt x="137" y="10"/>
                    <a:pt x="140" y="7"/>
                    <a:pt x="151" y="11"/>
                  </a:cubicBezTo>
                  <a:cubicBezTo>
                    <a:pt x="161" y="15"/>
                    <a:pt x="161" y="17"/>
                    <a:pt x="168" y="19"/>
                  </a:cubicBezTo>
                  <a:cubicBezTo>
                    <a:pt x="175" y="22"/>
                    <a:pt x="177" y="20"/>
                    <a:pt x="184" y="25"/>
                  </a:cubicBezTo>
                  <a:cubicBezTo>
                    <a:pt x="192" y="30"/>
                    <a:pt x="194" y="30"/>
                    <a:pt x="194" y="33"/>
                  </a:cubicBezTo>
                  <a:cubicBezTo>
                    <a:pt x="194" y="36"/>
                    <a:pt x="191" y="36"/>
                    <a:pt x="194" y="43"/>
                  </a:cubicBezTo>
                  <a:cubicBezTo>
                    <a:pt x="197" y="51"/>
                    <a:pt x="196" y="59"/>
                    <a:pt x="196" y="65"/>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18" name="Freeform 907">
              <a:extLst>
                <a:ext uri="{FF2B5EF4-FFF2-40B4-BE49-F238E27FC236}">
                  <a16:creationId xmlns:a16="http://schemas.microsoft.com/office/drawing/2014/main" id="{F7DC9633-D85B-474C-A701-830A3B63D15F}"/>
                </a:ext>
              </a:extLst>
            </p:cNvPr>
            <p:cNvSpPr>
              <a:spLocks/>
            </p:cNvSpPr>
            <p:nvPr/>
          </p:nvSpPr>
          <p:spPr bwMode="auto">
            <a:xfrm>
              <a:off x="4546615" y="2884945"/>
              <a:ext cx="280988" cy="265113"/>
            </a:xfrm>
            <a:custGeom>
              <a:avLst/>
              <a:gdLst>
                <a:gd name="T0" fmla="*/ 286 w 296"/>
                <a:gd name="T1" fmla="*/ 75 h 279"/>
                <a:gd name="T2" fmla="*/ 286 w 296"/>
                <a:gd name="T3" fmla="*/ 107 h 279"/>
                <a:gd name="T4" fmla="*/ 278 w 296"/>
                <a:gd name="T5" fmla="*/ 127 h 279"/>
                <a:gd name="T6" fmla="*/ 270 w 296"/>
                <a:gd name="T7" fmla="*/ 152 h 279"/>
                <a:gd name="T8" fmla="*/ 277 w 296"/>
                <a:gd name="T9" fmla="*/ 164 h 279"/>
                <a:gd name="T10" fmla="*/ 211 w 296"/>
                <a:gd name="T11" fmla="*/ 205 h 279"/>
                <a:gd name="T12" fmla="*/ 200 w 296"/>
                <a:gd name="T13" fmla="*/ 210 h 279"/>
                <a:gd name="T14" fmla="*/ 169 w 296"/>
                <a:gd name="T15" fmla="*/ 226 h 279"/>
                <a:gd name="T16" fmla="*/ 150 w 296"/>
                <a:gd name="T17" fmla="*/ 245 h 279"/>
                <a:gd name="T18" fmla="*/ 132 w 296"/>
                <a:gd name="T19" fmla="*/ 268 h 279"/>
                <a:gd name="T20" fmla="*/ 101 w 296"/>
                <a:gd name="T21" fmla="*/ 275 h 279"/>
                <a:gd name="T22" fmla="*/ 79 w 296"/>
                <a:gd name="T23" fmla="*/ 271 h 279"/>
                <a:gd name="T24" fmla="*/ 63 w 296"/>
                <a:gd name="T25" fmla="*/ 260 h 279"/>
                <a:gd name="T26" fmla="*/ 37 w 296"/>
                <a:gd name="T27" fmla="*/ 266 h 279"/>
                <a:gd name="T28" fmla="*/ 5 w 296"/>
                <a:gd name="T29" fmla="*/ 136 h 279"/>
                <a:gd name="T30" fmla="*/ 52 w 296"/>
                <a:gd name="T31" fmla="*/ 122 h 279"/>
                <a:gd name="T32" fmla="*/ 56 w 296"/>
                <a:gd name="T33" fmla="*/ 99 h 279"/>
                <a:gd name="T34" fmla="*/ 62 w 296"/>
                <a:gd name="T35" fmla="*/ 81 h 279"/>
                <a:gd name="T36" fmla="*/ 72 w 296"/>
                <a:gd name="T37" fmla="*/ 88 h 279"/>
                <a:gd name="T38" fmla="*/ 91 w 296"/>
                <a:gd name="T39" fmla="*/ 99 h 279"/>
                <a:gd name="T40" fmla="*/ 126 w 296"/>
                <a:gd name="T41" fmla="*/ 106 h 279"/>
                <a:gd name="T42" fmla="*/ 139 w 296"/>
                <a:gd name="T43" fmla="*/ 106 h 279"/>
                <a:gd name="T44" fmla="*/ 152 w 296"/>
                <a:gd name="T45" fmla="*/ 116 h 279"/>
                <a:gd name="T46" fmla="*/ 167 w 296"/>
                <a:gd name="T47" fmla="*/ 129 h 279"/>
                <a:gd name="T48" fmla="*/ 182 w 296"/>
                <a:gd name="T49" fmla="*/ 147 h 279"/>
                <a:gd name="T50" fmla="*/ 194 w 296"/>
                <a:gd name="T51" fmla="*/ 145 h 279"/>
                <a:gd name="T52" fmla="*/ 196 w 296"/>
                <a:gd name="T53" fmla="*/ 112 h 279"/>
                <a:gd name="T54" fmla="*/ 176 w 296"/>
                <a:gd name="T55" fmla="*/ 114 h 279"/>
                <a:gd name="T56" fmla="*/ 164 w 296"/>
                <a:gd name="T57" fmla="*/ 91 h 279"/>
                <a:gd name="T58" fmla="*/ 171 w 296"/>
                <a:gd name="T59" fmla="*/ 62 h 279"/>
                <a:gd name="T60" fmla="*/ 168 w 296"/>
                <a:gd name="T61" fmla="*/ 34 h 279"/>
                <a:gd name="T62" fmla="*/ 178 w 296"/>
                <a:gd name="T63" fmla="*/ 20 h 279"/>
                <a:gd name="T64" fmla="*/ 193 w 296"/>
                <a:gd name="T65" fmla="*/ 6 h 279"/>
                <a:gd name="T66" fmla="*/ 224 w 296"/>
                <a:gd name="T67" fmla="*/ 0 h 279"/>
                <a:gd name="T68" fmla="*/ 249 w 296"/>
                <a:gd name="T69" fmla="*/ 20 h 279"/>
                <a:gd name="T70" fmla="*/ 279 w 296"/>
                <a:gd name="T71" fmla="*/ 37 h 279"/>
                <a:gd name="T72" fmla="*/ 287 w 296"/>
                <a:gd name="T73" fmla="*/ 48 h 279"/>
                <a:gd name="T74" fmla="*/ 294 w 296"/>
                <a:gd name="T75" fmla="*/ 6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6" h="279">
                  <a:moveTo>
                    <a:pt x="294" y="69"/>
                  </a:moveTo>
                  <a:cubicBezTo>
                    <a:pt x="293" y="72"/>
                    <a:pt x="285" y="68"/>
                    <a:pt x="286" y="75"/>
                  </a:cubicBezTo>
                  <a:cubicBezTo>
                    <a:pt x="286" y="83"/>
                    <a:pt x="289" y="86"/>
                    <a:pt x="288" y="93"/>
                  </a:cubicBezTo>
                  <a:cubicBezTo>
                    <a:pt x="286" y="99"/>
                    <a:pt x="284" y="100"/>
                    <a:pt x="286" y="107"/>
                  </a:cubicBezTo>
                  <a:cubicBezTo>
                    <a:pt x="288" y="113"/>
                    <a:pt x="295" y="119"/>
                    <a:pt x="290" y="120"/>
                  </a:cubicBezTo>
                  <a:cubicBezTo>
                    <a:pt x="285" y="122"/>
                    <a:pt x="279" y="124"/>
                    <a:pt x="278" y="127"/>
                  </a:cubicBezTo>
                  <a:cubicBezTo>
                    <a:pt x="277" y="131"/>
                    <a:pt x="281" y="133"/>
                    <a:pt x="277" y="139"/>
                  </a:cubicBezTo>
                  <a:cubicBezTo>
                    <a:pt x="272" y="146"/>
                    <a:pt x="269" y="147"/>
                    <a:pt x="270" y="152"/>
                  </a:cubicBezTo>
                  <a:cubicBezTo>
                    <a:pt x="271" y="157"/>
                    <a:pt x="270" y="158"/>
                    <a:pt x="276" y="163"/>
                  </a:cubicBezTo>
                  <a:cubicBezTo>
                    <a:pt x="277" y="163"/>
                    <a:pt x="277" y="163"/>
                    <a:pt x="277" y="164"/>
                  </a:cubicBezTo>
                  <a:cubicBezTo>
                    <a:pt x="261" y="170"/>
                    <a:pt x="208" y="192"/>
                    <a:pt x="207" y="194"/>
                  </a:cubicBezTo>
                  <a:cubicBezTo>
                    <a:pt x="205" y="197"/>
                    <a:pt x="210" y="200"/>
                    <a:pt x="211" y="205"/>
                  </a:cubicBezTo>
                  <a:cubicBezTo>
                    <a:pt x="211" y="207"/>
                    <a:pt x="210" y="209"/>
                    <a:pt x="209" y="210"/>
                  </a:cubicBezTo>
                  <a:cubicBezTo>
                    <a:pt x="207" y="210"/>
                    <a:pt x="204" y="210"/>
                    <a:pt x="200" y="210"/>
                  </a:cubicBezTo>
                  <a:cubicBezTo>
                    <a:pt x="194" y="210"/>
                    <a:pt x="180" y="210"/>
                    <a:pt x="178" y="215"/>
                  </a:cubicBezTo>
                  <a:cubicBezTo>
                    <a:pt x="176" y="219"/>
                    <a:pt x="169" y="220"/>
                    <a:pt x="169" y="226"/>
                  </a:cubicBezTo>
                  <a:cubicBezTo>
                    <a:pt x="169" y="232"/>
                    <a:pt x="170" y="237"/>
                    <a:pt x="165" y="239"/>
                  </a:cubicBezTo>
                  <a:cubicBezTo>
                    <a:pt x="161" y="241"/>
                    <a:pt x="153" y="241"/>
                    <a:pt x="150" y="245"/>
                  </a:cubicBezTo>
                  <a:cubicBezTo>
                    <a:pt x="146" y="249"/>
                    <a:pt x="144" y="248"/>
                    <a:pt x="141" y="256"/>
                  </a:cubicBezTo>
                  <a:cubicBezTo>
                    <a:pt x="138" y="263"/>
                    <a:pt x="140" y="263"/>
                    <a:pt x="132" y="268"/>
                  </a:cubicBezTo>
                  <a:cubicBezTo>
                    <a:pt x="124" y="274"/>
                    <a:pt x="121" y="279"/>
                    <a:pt x="117" y="279"/>
                  </a:cubicBezTo>
                  <a:cubicBezTo>
                    <a:pt x="113" y="279"/>
                    <a:pt x="107" y="277"/>
                    <a:pt x="101" y="275"/>
                  </a:cubicBezTo>
                  <a:cubicBezTo>
                    <a:pt x="95" y="273"/>
                    <a:pt x="92" y="271"/>
                    <a:pt x="87" y="271"/>
                  </a:cubicBezTo>
                  <a:cubicBezTo>
                    <a:pt x="85" y="271"/>
                    <a:pt x="82" y="270"/>
                    <a:pt x="79" y="271"/>
                  </a:cubicBezTo>
                  <a:cubicBezTo>
                    <a:pt x="78" y="268"/>
                    <a:pt x="77" y="264"/>
                    <a:pt x="75" y="263"/>
                  </a:cubicBezTo>
                  <a:cubicBezTo>
                    <a:pt x="72" y="262"/>
                    <a:pt x="72" y="259"/>
                    <a:pt x="63" y="260"/>
                  </a:cubicBezTo>
                  <a:cubicBezTo>
                    <a:pt x="54" y="262"/>
                    <a:pt x="53" y="260"/>
                    <a:pt x="46" y="264"/>
                  </a:cubicBezTo>
                  <a:cubicBezTo>
                    <a:pt x="43" y="266"/>
                    <a:pt x="40" y="266"/>
                    <a:pt x="37" y="266"/>
                  </a:cubicBezTo>
                  <a:cubicBezTo>
                    <a:pt x="30" y="259"/>
                    <a:pt x="6" y="237"/>
                    <a:pt x="5" y="230"/>
                  </a:cubicBezTo>
                  <a:cubicBezTo>
                    <a:pt x="3" y="221"/>
                    <a:pt x="0" y="137"/>
                    <a:pt x="5" y="136"/>
                  </a:cubicBezTo>
                  <a:cubicBezTo>
                    <a:pt x="9" y="136"/>
                    <a:pt x="57" y="139"/>
                    <a:pt x="54" y="136"/>
                  </a:cubicBezTo>
                  <a:cubicBezTo>
                    <a:pt x="51" y="134"/>
                    <a:pt x="44" y="126"/>
                    <a:pt x="52" y="122"/>
                  </a:cubicBezTo>
                  <a:cubicBezTo>
                    <a:pt x="59" y="117"/>
                    <a:pt x="55" y="112"/>
                    <a:pt x="54" y="109"/>
                  </a:cubicBezTo>
                  <a:cubicBezTo>
                    <a:pt x="54" y="106"/>
                    <a:pt x="56" y="103"/>
                    <a:pt x="56" y="99"/>
                  </a:cubicBezTo>
                  <a:cubicBezTo>
                    <a:pt x="56" y="95"/>
                    <a:pt x="55" y="85"/>
                    <a:pt x="56" y="80"/>
                  </a:cubicBezTo>
                  <a:cubicBezTo>
                    <a:pt x="59" y="80"/>
                    <a:pt x="59" y="77"/>
                    <a:pt x="62" y="81"/>
                  </a:cubicBezTo>
                  <a:cubicBezTo>
                    <a:pt x="65" y="85"/>
                    <a:pt x="60" y="93"/>
                    <a:pt x="65" y="91"/>
                  </a:cubicBezTo>
                  <a:cubicBezTo>
                    <a:pt x="70" y="90"/>
                    <a:pt x="61" y="88"/>
                    <a:pt x="72" y="88"/>
                  </a:cubicBezTo>
                  <a:cubicBezTo>
                    <a:pt x="83" y="88"/>
                    <a:pt x="87" y="83"/>
                    <a:pt x="88" y="88"/>
                  </a:cubicBezTo>
                  <a:cubicBezTo>
                    <a:pt x="88" y="94"/>
                    <a:pt x="84" y="95"/>
                    <a:pt x="91" y="99"/>
                  </a:cubicBezTo>
                  <a:cubicBezTo>
                    <a:pt x="97" y="102"/>
                    <a:pt x="99" y="104"/>
                    <a:pt x="107" y="106"/>
                  </a:cubicBezTo>
                  <a:cubicBezTo>
                    <a:pt x="116" y="107"/>
                    <a:pt x="125" y="110"/>
                    <a:pt x="126" y="106"/>
                  </a:cubicBezTo>
                  <a:cubicBezTo>
                    <a:pt x="127" y="101"/>
                    <a:pt x="128" y="97"/>
                    <a:pt x="130" y="98"/>
                  </a:cubicBezTo>
                  <a:cubicBezTo>
                    <a:pt x="133" y="99"/>
                    <a:pt x="137" y="103"/>
                    <a:pt x="139" y="106"/>
                  </a:cubicBezTo>
                  <a:cubicBezTo>
                    <a:pt x="141" y="108"/>
                    <a:pt x="140" y="112"/>
                    <a:pt x="142" y="114"/>
                  </a:cubicBezTo>
                  <a:cubicBezTo>
                    <a:pt x="145" y="116"/>
                    <a:pt x="149" y="115"/>
                    <a:pt x="152" y="116"/>
                  </a:cubicBezTo>
                  <a:cubicBezTo>
                    <a:pt x="155" y="117"/>
                    <a:pt x="155" y="117"/>
                    <a:pt x="159" y="120"/>
                  </a:cubicBezTo>
                  <a:cubicBezTo>
                    <a:pt x="164" y="124"/>
                    <a:pt x="166" y="124"/>
                    <a:pt x="167" y="129"/>
                  </a:cubicBezTo>
                  <a:cubicBezTo>
                    <a:pt x="168" y="134"/>
                    <a:pt x="173" y="136"/>
                    <a:pt x="174" y="140"/>
                  </a:cubicBezTo>
                  <a:cubicBezTo>
                    <a:pt x="175" y="144"/>
                    <a:pt x="178" y="148"/>
                    <a:pt x="182" y="147"/>
                  </a:cubicBezTo>
                  <a:cubicBezTo>
                    <a:pt x="186" y="147"/>
                    <a:pt x="186" y="143"/>
                    <a:pt x="189" y="143"/>
                  </a:cubicBezTo>
                  <a:cubicBezTo>
                    <a:pt x="191" y="143"/>
                    <a:pt x="194" y="141"/>
                    <a:pt x="194" y="145"/>
                  </a:cubicBezTo>
                  <a:cubicBezTo>
                    <a:pt x="195" y="148"/>
                    <a:pt x="198" y="147"/>
                    <a:pt x="198" y="147"/>
                  </a:cubicBezTo>
                  <a:cubicBezTo>
                    <a:pt x="198" y="147"/>
                    <a:pt x="200" y="108"/>
                    <a:pt x="196" y="112"/>
                  </a:cubicBezTo>
                  <a:cubicBezTo>
                    <a:pt x="191" y="116"/>
                    <a:pt x="192" y="119"/>
                    <a:pt x="186" y="119"/>
                  </a:cubicBezTo>
                  <a:cubicBezTo>
                    <a:pt x="181" y="119"/>
                    <a:pt x="177" y="116"/>
                    <a:pt x="176" y="114"/>
                  </a:cubicBezTo>
                  <a:cubicBezTo>
                    <a:pt x="175" y="112"/>
                    <a:pt x="173" y="112"/>
                    <a:pt x="168" y="105"/>
                  </a:cubicBezTo>
                  <a:cubicBezTo>
                    <a:pt x="163" y="97"/>
                    <a:pt x="160" y="96"/>
                    <a:pt x="164" y="91"/>
                  </a:cubicBezTo>
                  <a:cubicBezTo>
                    <a:pt x="168" y="86"/>
                    <a:pt x="168" y="82"/>
                    <a:pt x="169" y="76"/>
                  </a:cubicBezTo>
                  <a:cubicBezTo>
                    <a:pt x="171" y="70"/>
                    <a:pt x="172" y="64"/>
                    <a:pt x="171" y="62"/>
                  </a:cubicBezTo>
                  <a:cubicBezTo>
                    <a:pt x="170" y="60"/>
                    <a:pt x="170" y="51"/>
                    <a:pt x="169" y="47"/>
                  </a:cubicBezTo>
                  <a:cubicBezTo>
                    <a:pt x="169" y="42"/>
                    <a:pt x="170" y="35"/>
                    <a:pt x="168" y="34"/>
                  </a:cubicBezTo>
                  <a:cubicBezTo>
                    <a:pt x="165" y="32"/>
                    <a:pt x="159" y="33"/>
                    <a:pt x="164" y="29"/>
                  </a:cubicBezTo>
                  <a:cubicBezTo>
                    <a:pt x="169" y="25"/>
                    <a:pt x="178" y="24"/>
                    <a:pt x="178" y="20"/>
                  </a:cubicBezTo>
                  <a:cubicBezTo>
                    <a:pt x="178" y="16"/>
                    <a:pt x="174" y="11"/>
                    <a:pt x="179" y="10"/>
                  </a:cubicBezTo>
                  <a:cubicBezTo>
                    <a:pt x="183" y="9"/>
                    <a:pt x="181" y="6"/>
                    <a:pt x="193" y="6"/>
                  </a:cubicBezTo>
                  <a:cubicBezTo>
                    <a:pt x="205" y="6"/>
                    <a:pt x="209" y="4"/>
                    <a:pt x="210" y="4"/>
                  </a:cubicBezTo>
                  <a:cubicBezTo>
                    <a:pt x="211" y="3"/>
                    <a:pt x="220" y="1"/>
                    <a:pt x="224" y="0"/>
                  </a:cubicBezTo>
                  <a:cubicBezTo>
                    <a:pt x="225" y="4"/>
                    <a:pt x="227" y="7"/>
                    <a:pt x="228" y="8"/>
                  </a:cubicBezTo>
                  <a:cubicBezTo>
                    <a:pt x="233" y="14"/>
                    <a:pt x="242" y="15"/>
                    <a:pt x="249" y="20"/>
                  </a:cubicBezTo>
                  <a:cubicBezTo>
                    <a:pt x="249" y="20"/>
                    <a:pt x="262" y="26"/>
                    <a:pt x="267" y="29"/>
                  </a:cubicBezTo>
                  <a:cubicBezTo>
                    <a:pt x="272" y="31"/>
                    <a:pt x="276" y="29"/>
                    <a:pt x="279" y="37"/>
                  </a:cubicBezTo>
                  <a:cubicBezTo>
                    <a:pt x="279" y="37"/>
                    <a:pt x="279" y="37"/>
                    <a:pt x="279" y="37"/>
                  </a:cubicBezTo>
                  <a:cubicBezTo>
                    <a:pt x="283" y="45"/>
                    <a:pt x="287" y="42"/>
                    <a:pt x="287" y="48"/>
                  </a:cubicBezTo>
                  <a:cubicBezTo>
                    <a:pt x="288" y="54"/>
                    <a:pt x="288" y="54"/>
                    <a:pt x="291" y="57"/>
                  </a:cubicBezTo>
                  <a:cubicBezTo>
                    <a:pt x="293" y="60"/>
                    <a:pt x="296" y="65"/>
                    <a:pt x="294" y="69"/>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19" name="Freeform 908">
              <a:extLst>
                <a:ext uri="{FF2B5EF4-FFF2-40B4-BE49-F238E27FC236}">
                  <a16:creationId xmlns:a16="http://schemas.microsoft.com/office/drawing/2014/main" id="{550B48BC-A81F-9444-B171-AD9B7690C139}"/>
                </a:ext>
              </a:extLst>
            </p:cNvPr>
            <p:cNvSpPr>
              <a:spLocks/>
            </p:cNvSpPr>
            <p:nvPr/>
          </p:nvSpPr>
          <p:spPr bwMode="auto">
            <a:xfrm>
              <a:off x="4741878" y="2950033"/>
              <a:ext cx="252413" cy="436563"/>
            </a:xfrm>
            <a:custGeom>
              <a:avLst/>
              <a:gdLst>
                <a:gd name="T0" fmla="*/ 258 w 265"/>
                <a:gd name="T1" fmla="*/ 133 h 459"/>
                <a:gd name="T2" fmla="*/ 246 w 265"/>
                <a:gd name="T3" fmla="*/ 156 h 459"/>
                <a:gd name="T4" fmla="*/ 224 w 265"/>
                <a:gd name="T5" fmla="*/ 177 h 459"/>
                <a:gd name="T6" fmla="*/ 202 w 265"/>
                <a:gd name="T7" fmla="*/ 189 h 459"/>
                <a:gd name="T8" fmla="*/ 180 w 265"/>
                <a:gd name="T9" fmla="*/ 196 h 459"/>
                <a:gd name="T10" fmla="*/ 164 w 265"/>
                <a:gd name="T11" fmla="*/ 215 h 459"/>
                <a:gd name="T12" fmla="*/ 150 w 265"/>
                <a:gd name="T13" fmla="*/ 226 h 459"/>
                <a:gd name="T14" fmla="*/ 127 w 265"/>
                <a:gd name="T15" fmla="*/ 246 h 459"/>
                <a:gd name="T16" fmla="*/ 113 w 265"/>
                <a:gd name="T17" fmla="*/ 261 h 459"/>
                <a:gd name="T18" fmla="*/ 108 w 265"/>
                <a:gd name="T19" fmla="*/ 278 h 459"/>
                <a:gd name="T20" fmla="*/ 118 w 265"/>
                <a:gd name="T21" fmla="*/ 299 h 459"/>
                <a:gd name="T22" fmla="*/ 122 w 265"/>
                <a:gd name="T23" fmla="*/ 319 h 459"/>
                <a:gd name="T24" fmla="*/ 127 w 265"/>
                <a:gd name="T25" fmla="*/ 344 h 459"/>
                <a:gd name="T26" fmla="*/ 121 w 265"/>
                <a:gd name="T27" fmla="*/ 368 h 459"/>
                <a:gd name="T28" fmla="*/ 112 w 265"/>
                <a:gd name="T29" fmla="*/ 394 h 459"/>
                <a:gd name="T30" fmla="*/ 88 w 265"/>
                <a:gd name="T31" fmla="*/ 405 h 459"/>
                <a:gd name="T32" fmla="*/ 61 w 265"/>
                <a:gd name="T33" fmla="*/ 415 h 459"/>
                <a:gd name="T34" fmla="*/ 52 w 265"/>
                <a:gd name="T35" fmla="*/ 437 h 459"/>
                <a:gd name="T36" fmla="*/ 57 w 265"/>
                <a:gd name="T37" fmla="*/ 459 h 459"/>
                <a:gd name="T38" fmla="*/ 35 w 265"/>
                <a:gd name="T39" fmla="*/ 457 h 459"/>
                <a:gd name="T40" fmla="*/ 38 w 265"/>
                <a:gd name="T41" fmla="*/ 434 h 459"/>
                <a:gd name="T42" fmla="*/ 36 w 265"/>
                <a:gd name="T43" fmla="*/ 426 h 459"/>
                <a:gd name="T44" fmla="*/ 36 w 265"/>
                <a:gd name="T45" fmla="*/ 389 h 459"/>
                <a:gd name="T46" fmla="*/ 29 w 265"/>
                <a:gd name="T47" fmla="*/ 356 h 459"/>
                <a:gd name="T48" fmla="*/ 23 w 265"/>
                <a:gd name="T49" fmla="*/ 330 h 459"/>
                <a:gd name="T50" fmla="*/ 44 w 265"/>
                <a:gd name="T51" fmla="*/ 308 h 459"/>
                <a:gd name="T52" fmla="*/ 55 w 265"/>
                <a:gd name="T53" fmla="*/ 280 h 459"/>
                <a:gd name="T54" fmla="*/ 63 w 265"/>
                <a:gd name="T55" fmla="*/ 256 h 459"/>
                <a:gd name="T56" fmla="*/ 64 w 265"/>
                <a:gd name="T57" fmla="*/ 233 h 459"/>
                <a:gd name="T58" fmla="*/ 70 w 265"/>
                <a:gd name="T59" fmla="*/ 207 h 459"/>
                <a:gd name="T60" fmla="*/ 68 w 265"/>
                <a:gd name="T61" fmla="*/ 175 h 459"/>
                <a:gd name="T62" fmla="*/ 42 w 265"/>
                <a:gd name="T63" fmla="*/ 161 h 459"/>
                <a:gd name="T64" fmla="*/ 5 w 265"/>
                <a:gd name="T65" fmla="*/ 149 h 459"/>
                <a:gd name="T66" fmla="*/ 6 w 265"/>
                <a:gd name="T67" fmla="*/ 137 h 459"/>
                <a:gd name="T68" fmla="*/ 72 w 265"/>
                <a:gd name="T69" fmla="*/ 96 h 459"/>
                <a:gd name="T70" fmla="*/ 92 w 265"/>
                <a:gd name="T71" fmla="*/ 110 h 459"/>
                <a:gd name="T72" fmla="*/ 111 w 265"/>
                <a:gd name="T73" fmla="*/ 127 h 459"/>
                <a:gd name="T74" fmla="*/ 103 w 265"/>
                <a:gd name="T75" fmla="*/ 155 h 459"/>
                <a:gd name="T76" fmla="*/ 120 w 265"/>
                <a:gd name="T77" fmla="*/ 182 h 459"/>
                <a:gd name="T78" fmla="*/ 126 w 265"/>
                <a:gd name="T79" fmla="*/ 171 h 459"/>
                <a:gd name="T80" fmla="*/ 135 w 265"/>
                <a:gd name="T81" fmla="*/ 154 h 459"/>
                <a:gd name="T82" fmla="*/ 140 w 265"/>
                <a:gd name="T83" fmla="*/ 122 h 459"/>
                <a:gd name="T84" fmla="*/ 119 w 265"/>
                <a:gd name="T85" fmla="*/ 85 h 459"/>
                <a:gd name="T86" fmla="*/ 116 w 265"/>
                <a:gd name="T87" fmla="*/ 75 h 459"/>
                <a:gd name="T88" fmla="*/ 116 w 265"/>
                <a:gd name="T89" fmla="*/ 47 h 459"/>
                <a:gd name="T90" fmla="*/ 122 w 265"/>
                <a:gd name="T91" fmla="*/ 29 h 459"/>
                <a:gd name="T92" fmla="*/ 152 w 265"/>
                <a:gd name="T93" fmla="*/ 27 h 459"/>
                <a:gd name="T94" fmla="*/ 179 w 265"/>
                <a:gd name="T95" fmla="*/ 31 h 459"/>
                <a:gd name="T96" fmla="*/ 201 w 265"/>
                <a:gd name="T97" fmla="*/ 18 h 459"/>
                <a:gd name="T98" fmla="*/ 227 w 265"/>
                <a:gd name="T99" fmla="*/ 17 h 459"/>
                <a:gd name="T100" fmla="*/ 259 w 265"/>
                <a:gd name="T101" fmla="*/ 0 h 459"/>
                <a:gd name="T102" fmla="*/ 259 w 265"/>
                <a:gd name="T103" fmla="*/ 18 h 459"/>
                <a:gd name="T104" fmla="*/ 259 w 265"/>
                <a:gd name="T105" fmla="*/ 49 h 459"/>
                <a:gd name="T106" fmla="*/ 259 w 265"/>
                <a:gd name="T107" fmla="*/ 88 h 459"/>
                <a:gd name="T108" fmla="*/ 264 w 265"/>
                <a:gd name="T109" fmla="*/ 11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459">
                  <a:moveTo>
                    <a:pt x="263" y="121"/>
                  </a:moveTo>
                  <a:cubicBezTo>
                    <a:pt x="261" y="129"/>
                    <a:pt x="258" y="129"/>
                    <a:pt x="258" y="133"/>
                  </a:cubicBezTo>
                  <a:cubicBezTo>
                    <a:pt x="257" y="137"/>
                    <a:pt x="259" y="141"/>
                    <a:pt x="255" y="145"/>
                  </a:cubicBezTo>
                  <a:cubicBezTo>
                    <a:pt x="251" y="150"/>
                    <a:pt x="249" y="152"/>
                    <a:pt x="246" y="156"/>
                  </a:cubicBezTo>
                  <a:cubicBezTo>
                    <a:pt x="243" y="161"/>
                    <a:pt x="237" y="163"/>
                    <a:pt x="234" y="167"/>
                  </a:cubicBezTo>
                  <a:cubicBezTo>
                    <a:pt x="231" y="171"/>
                    <a:pt x="228" y="176"/>
                    <a:pt x="224" y="177"/>
                  </a:cubicBezTo>
                  <a:cubicBezTo>
                    <a:pt x="220" y="178"/>
                    <a:pt x="217" y="180"/>
                    <a:pt x="215" y="182"/>
                  </a:cubicBezTo>
                  <a:cubicBezTo>
                    <a:pt x="212" y="184"/>
                    <a:pt x="206" y="187"/>
                    <a:pt x="202" y="189"/>
                  </a:cubicBezTo>
                  <a:cubicBezTo>
                    <a:pt x="198" y="190"/>
                    <a:pt x="192" y="190"/>
                    <a:pt x="192" y="191"/>
                  </a:cubicBezTo>
                  <a:cubicBezTo>
                    <a:pt x="192" y="192"/>
                    <a:pt x="184" y="192"/>
                    <a:pt x="180" y="196"/>
                  </a:cubicBezTo>
                  <a:cubicBezTo>
                    <a:pt x="176" y="200"/>
                    <a:pt x="174" y="201"/>
                    <a:pt x="169" y="205"/>
                  </a:cubicBezTo>
                  <a:cubicBezTo>
                    <a:pt x="163" y="209"/>
                    <a:pt x="164" y="214"/>
                    <a:pt x="164" y="215"/>
                  </a:cubicBezTo>
                  <a:cubicBezTo>
                    <a:pt x="164" y="217"/>
                    <a:pt x="161" y="216"/>
                    <a:pt x="158" y="219"/>
                  </a:cubicBezTo>
                  <a:cubicBezTo>
                    <a:pt x="155" y="222"/>
                    <a:pt x="151" y="222"/>
                    <a:pt x="150" y="226"/>
                  </a:cubicBezTo>
                  <a:cubicBezTo>
                    <a:pt x="148" y="230"/>
                    <a:pt x="146" y="232"/>
                    <a:pt x="140" y="236"/>
                  </a:cubicBezTo>
                  <a:cubicBezTo>
                    <a:pt x="134" y="240"/>
                    <a:pt x="129" y="241"/>
                    <a:pt x="127" y="246"/>
                  </a:cubicBezTo>
                  <a:cubicBezTo>
                    <a:pt x="125" y="250"/>
                    <a:pt x="126" y="253"/>
                    <a:pt x="121" y="257"/>
                  </a:cubicBezTo>
                  <a:cubicBezTo>
                    <a:pt x="116" y="261"/>
                    <a:pt x="118" y="257"/>
                    <a:pt x="113" y="261"/>
                  </a:cubicBezTo>
                  <a:cubicBezTo>
                    <a:pt x="108" y="264"/>
                    <a:pt x="107" y="262"/>
                    <a:pt x="107" y="268"/>
                  </a:cubicBezTo>
                  <a:cubicBezTo>
                    <a:pt x="108" y="274"/>
                    <a:pt x="107" y="274"/>
                    <a:pt x="108" y="278"/>
                  </a:cubicBezTo>
                  <a:cubicBezTo>
                    <a:pt x="109" y="282"/>
                    <a:pt x="114" y="284"/>
                    <a:pt x="116" y="288"/>
                  </a:cubicBezTo>
                  <a:cubicBezTo>
                    <a:pt x="118" y="292"/>
                    <a:pt x="118" y="295"/>
                    <a:pt x="118" y="299"/>
                  </a:cubicBezTo>
                  <a:cubicBezTo>
                    <a:pt x="117" y="303"/>
                    <a:pt x="119" y="306"/>
                    <a:pt x="121" y="309"/>
                  </a:cubicBezTo>
                  <a:cubicBezTo>
                    <a:pt x="122" y="312"/>
                    <a:pt x="122" y="315"/>
                    <a:pt x="122" y="319"/>
                  </a:cubicBezTo>
                  <a:cubicBezTo>
                    <a:pt x="122" y="324"/>
                    <a:pt x="121" y="319"/>
                    <a:pt x="124" y="329"/>
                  </a:cubicBezTo>
                  <a:cubicBezTo>
                    <a:pt x="128" y="338"/>
                    <a:pt x="128" y="340"/>
                    <a:pt x="127" y="344"/>
                  </a:cubicBezTo>
                  <a:cubicBezTo>
                    <a:pt x="127" y="349"/>
                    <a:pt x="128" y="356"/>
                    <a:pt x="126" y="358"/>
                  </a:cubicBezTo>
                  <a:cubicBezTo>
                    <a:pt x="124" y="359"/>
                    <a:pt x="120" y="362"/>
                    <a:pt x="121" y="368"/>
                  </a:cubicBezTo>
                  <a:cubicBezTo>
                    <a:pt x="122" y="373"/>
                    <a:pt x="126" y="376"/>
                    <a:pt x="123" y="381"/>
                  </a:cubicBezTo>
                  <a:cubicBezTo>
                    <a:pt x="120" y="385"/>
                    <a:pt x="117" y="392"/>
                    <a:pt x="112" y="394"/>
                  </a:cubicBezTo>
                  <a:cubicBezTo>
                    <a:pt x="107" y="397"/>
                    <a:pt x="108" y="393"/>
                    <a:pt x="102" y="398"/>
                  </a:cubicBezTo>
                  <a:cubicBezTo>
                    <a:pt x="95" y="402"/>
                    <a:pt x="96" y="402"/>
                    <a:pt x="88" y="405"/>
                  </a:cubicBezTo>
                  <a:cubicBezTo>
                    <a:pt x="81" y="408"/>
                    <a:pt x="83" y="408"/>
                    <a:pt x="74" y="411"/>
                  </a:cubicBezTo>
                  <a:cubicBezTo>
                    <a:pt x="66" y="414"/>
                    <a:pt x="66" y="410"/>
                    <a:pt x="61" y="415"/>
                  </a:cubicBezTo>
                  <a:cubicBezTo>
                    <a:pt x="56" y="420"/>
                    <a:pt x="51" y="419"/>
                    <a:pt x="51" y="424"/>
                  </a:cubicBezTo>
                  <a:cubicBezTo>
                    <a:pt x="50" y="429"/>
                    <a:pt x="49" y="434"/>
                    <a:pt x="52" y="437"/>
                  </a:cubicBezTo>
                  <a:cubicBezTo>
                    <a:pt x="55" y="440"/>
                    <a:pt x="57" y="445"/>
                    <a:pt x="57" y="449"/>
                  </a:cubicBezTo>
                  <a:cubicBezTo>
                    <a:pt x="57" y="452"/>
                    <a:pt x="58" y="454"/>
                    <a:pt x="57" y="459"/>
                  </a:cubicBezTo>
                  <a:cubicBezTo>
                    <a:pt x="52" y="458"/>
                    <a:pt x="40" y="457"/>
                    <a:pt x="36" y="457"/>
                  </a:cubicBezTo>
                  <a:cubicBezTo>
                    <a:pt x="35" y="457"/>
                    <a:pt x="35" y="457"/>
                    <a:pt x="35" y="457"/>
                  </a:cubicBezTo>
                  <a:cubicBezTo>
                    <a:pt x="33" y="456"/>
                    <a:pt x="36" y="453"/>
                    <a:pt x="39" y="446"/>
                  </a:cubicBezTo>
                  <a:cubicBezTo>
                    <a:pt x="43" y="439"/>
                    <a:pt x="40" y="439"/>
                    <a:pt x="38" y="434"/>
                  </a:cubicBezTo>
                  <a:cubicBezTo>
                    <a:pt x="38" y="433"/>
                    <a:pt x="38" y="432"/>
                    <a:pt x="37" y="432"/>
                  </a:cubicBezTo>
                  <a:cubicBezTo>
                    <a:pt x="36" y="428"/>
                    <a:pt x="35" y="429"/>
                    <a:pt x="36" y="426"/>
                  </a:cubicBezTo>
                  <a:cubicBezTo>
                    <a:pt x="37" y="422"/>
                    <a:pt x="37" y="414"/>
                    <a:pt x="36" y="403"/>
                  </a:cubicBezTo>
                  <a:cubicBezTo>
                    <a:pt x="36" y="393"/>
                    <a:pt x="36" y="395"/>
                    <a:pt x="36" y="389"/>
                  </a:cubicBezTo>
                  <a:cubicBezTo>
                    <a:pt x="36" y="383"/>
                    <a:pt x="34" y="378"/>
                    <a:pt x="29" y="369"/>
                  </a:cubicBezTo>
                  <a:cubicBezTo>
                    <a:pt x="25" y="361"/>
                    <a:pt x="29" y="363"/>
                    <a:pt x="29" y="356"/>
                  </a:cubicBezTo>
                  <a:cubicBezTo>
                    <a:pt x="28" y="348"/>
                    <a:pt x="27" y="345"/>
                    <a:pt x="24" y="338"/>
                  </a:cubicBezTo>
                  <a:cubicBezTo>
                    <a:pt x="22" y="335"/>
                    <a:pt x="22" y="332"/>
                    <a:pt x="23" y="330"/>
                  </a:cubicBezTo>
                  <a:cubicBezTo>
                    <a:pt x="25" y="327"/>
                    <a:pt x="26" y="325"/>
                    <a:pt x="28" y="324"/>
                  </a:cubicBezTo>
                  <a:cubicBezTo>
                    <a:pt x="31" y="320"/>
                    <a:pt x="37" y="313"/>
                    <a:pt x="44" y="308"/>
                  </a:cubicBezTo>
                  <a:cubicBezTo>
                    <a:pt x="51" y="303"/>
                    <a:pt x="51" y="305"/>
                    <a:pt x="51" y="302"/>
                  </a:cubicBezTo>
                  <a:cubicBezTo>
                    <a:pt x="50" y="299"/>
                    <a:pt x="54" y="284"/>
                    <a:pt x="55" y="280"/>
                  </a:cubicBezTo>
                  <a:cubicBezTo>
                    <a:pt x="56" y="275"/>
                    <a:pt x="63" y="269"/>
                    <a:pt x="66" y="264"/>
                  </a:cubicBezTo>
                  <a:cubicBezTo>
                    <a:pt x="69" y="259"/>
                    <a:pt x="66" y="258"/>
                    <a:pt x="63" y="256"/>
                  </a:cubicBezTo>
                  <a:cubicBezTo>
                    <a:pt x="60" y="253"/>
                    <a:pt x="64" y="249"/>
                    <a:pt x="64" y="245"/>
                  </a:cubicBezTo>
                  <a:cubicBezTo>
                    <a:pt x="64" y="241"/>
                    <a:pt x="63" y="239"/>
                    <a:pt x="64" y="233"/>
                  </a:cubicBezTo>
                  <a:cubicBezTo>
                    <a:pt x="65" y="227"/>
                    <a:pt x="67" y="226"/>
                    <a:pt x="68" y="221"/>
                  </a:cubicBezTo>
                  <a:cubicBezTo>
                    <a:pt x="70" y="215"/>
                    <a:pt x="69" y="214"/>
                    <a:pt x="70" y="207"/>
                  </a:cubicBezTo>
                  <a:cubicBezTo>
                    <a:pt x="70" y="201"/>
                    <a:pt x="71" y="193"/>
                    <a:pt x="68" y="185"/>
                  </a:cubicBezTo>
                  <a:cubicBezTo>
                    <a:pt x="65" y="178"/>
                    <a:pt x="68" y="178"/>
                    <a:pt x="68" y="175"/>
                  </a:cubicBezTo>
                  <a:cubicBezTo>
                    <a:pt x="68" y="172"/>
                    <a:pt x="66" y="172"/>
                    <a:pt x="58" y="167"/>
                  </a:cubicBezTo>
                  <a:cubicBezTo>
                    <a:pt x="51" y="162"/>
                    <a:pt x="49" y="164"/>
                    <a:pt x="42" y="161"/>
                  </a:cubicBezTo>
                  <a:cubicBezTo>
                    <a:pt x="35" y="159"/>
                    <a:pt x="35" y="157"/>
                    <a:pt x="25" y="153"/>
                  </a:cubicBezTo>
                  <a:cubicBezTo>
                    <a:pt x="14" y="149"/>
                    <a:pt x="11" y="152"/>
                    <a:pt x="5" y="149"/>
                  </a:cubicBezTo>
                  <a:cubicBezTo>
                    <a:pt x="2" y="147"/>
                    <a:pt x="3" y="145"/>
                    <a:pt x="4" y="142"/>
                  </a:cubicBezTo>
                  <a:cubicBezTo>
                    <a:pt x="5" y="141"/>
                    <a:pt x="6" y="139"/>
                    <a:pt x="6" y="137"/>
                  </a:cubicBezTo>
                  <a:cubicBezTo>
                    <a:pt x="5" y="132"/>
                    <a:pt x="0" y="129"/>
                    <a:pt x="2" y="126"/>
                  </a:cubicBezTo>
                  <a:cubicBezTo>
                    <a:pt x="3" y="124"/>
                    <a:pt x="56" y="102"/>
                    <a:pt x="72" y="96"/>
                  </a:cubicBezTo>
                  <a:cubicBezTo>
                    <a:pt x="78" y="100"/>
                    <a:pt x="82" y="104"/>
                    <a:pt x="84" y="107"/>
                  </a:cubicBezTo>
                  <a:cubicBezTo>
                    <a:pt x="86" y="110"/>
                    <a:pt x="82" y="110"/>
                    <a:pt x="92" y="110"/>
                  </a:cubicBezTo>
                  <a:cubicBezTo>
                    <a:pt x="101" y="110"/>
                    <a:pt x="103" y="105"/>
                    <a:pt x="108" y="110"/>
                  </a:cubicBezTo>
                  <a:cubicBezTo>
                    <a:pt x="112" y="115"/>
                    <a:pt x="112" y="120"/>
                    <a:pt x="111" y="127"/>
                  </a:cubicBezTo>
                  <a:cubicBezTo>
                    <a:pt x="109" y="133"/>
                    <a:pt x="106" y="134"/>
                    <a:pt x="105" y="140"/>
                  </a:cubicBezTo>
                  <a:cubicBezTo>
                    <a:pt x="104" y="147"/>
                    <a:pt x="96" y="145"/>
                    <a:pt x="103" y="155"/>
                  </a:cubicBezTo>
                  <a:cubicBezTo>
                    <a:pt x="110" y="164"/>
                    <a:pt x="110" y="164"/>
                    <a:pt x="114" y="171"/>
                  </a:cubicBezTo>
                  <a:cubicBezTo>
                    <a:pt x="117" y="177"/>
                    <a:pt x="117" y="179"/>
                    <a:pt x="120" y="182"/>
                  </a:cubicBezTo>
                  <a:cubicBezTo>
                    <a:pt x="122" y="185"/>
                    <a:pt x="125" y="191"/>
                    <a:pt x="126" y="184"/>
                  </a:cubicBezTo>
                  <a:cubicBezTo>
                    <a:pt x="127" y="177"/>
                    <a:pt x="127" y="177"/>
                    <a:pt x="126" y="171"/>
                  </a:cubicBezTo>
                  <a:cubicBezTo>
                    <a:pt x="125" y="166"/>
                    <a:pt x="121" y="167"/>
                    <a:pt x="125" y="162"/>
                  </a:cubicBezTo>
                  <a:cubicBezTo>
                    <a:pt x="129" y="157"/>
                    <a:pt x="129" y="153"/>
                    <a:pt x="135" y="154"/>
                  </a:cubicBezTo>
                  <a:cubicBezTo>
                    <a:pt x="142" y="154"/>
                    <a:pt x="140" y="151"/>
                    <a:pt x="140" y="143"/>
                  </a:cubicBezTo>
                  <a:cubicBezTo>
                    <a:pt x="140" y="136"/>
                    <a:pt x="136" y="126"/>
                    <a:pt x="140" y="122"/>
                  </a:cubicBezTo>
                  <a:cubicBezTo>
                    <a:pt x="144" y="118"/>
                    <a:pt x="148" y="122"/>
                    <a:pt x="140" y="108"/>
                  </a:cubicBezTo>
                  <a:cubicBezTo>
                    <a:pt x="132" y="94"/>
                    <a:pt x="122" y="88"/>
                    <a:pt x="119" y="85"/>
                  </a:cubicBezTo>
                  <a:cubicBezTo>
                    <a:pt x="119" y="85"/>
                    <a:pt x="119" y="85"/>
                    <a:pt x="119" y="85"/>
                  </a:cubicBezTo>
                  <a:cubicBezTo>
                    <a:pt x="117" y="82"/>
                    <a:pt x="116" y="79"/>
                    <a:pt x="116" y="75"/>
                  </a:cubicBezTo>
                  <a:cubicBezTo>
                    <a:pt x="115" y="71"/>
                    <a:pt x="116" y="65"/>
                    <a:pt x="115" y="59"/>
                  </a:cubicBezTo>
                  <a:cubicBezTo>
                    <a:pt x="114" y="52"/>
                    <a:pt x="115" y="49"/>
                    <a:pt x="116" y="47"/>
                  </a:cubicBezTo>
                  <a:cubicBezTo>
                    <a:pt x="117" y="44"/>
                    <a:pt x="123" y="38"/>
                    <a:pt x="123" y="35"/>
                  </a:cubicBezTo>
                  <a:cubicBezTo>
                    <a:pt x="123" y="33"/>
                    <a:pt x="123" y="31"/>
                    <a:pt x="122" y="29"/>
                  </a:cubicBezTo>
                  <a:cubicBezTo>
                    <a:pt x="127" y="31"/>
                    <a:pt x="131" y="30"/>
                    <a:pt x="135" y="28"/>
                  </a:cubicBezTo>
                  <a:cubicBezTo>
                    <a:pt x="142" y="24"/>
                    <a:pt x="147" y="21"/>
                    <a:pt x="152" y="27"/>
                  </a:cubicBezTo>
                  <a:cubicBezTo>
                    <a:pt x="156" y="32"/>
                    <a:pt x="163" y="38"/>
                    <a:pt x="167" y="32"/>
                  </a:cubicBezTo>
                  <a:cubicBezTo>
                    <a:pt x="171" y="27"/>
                    <a:pt x="175" y="29"/>
                    <a:pt x="179" y="31"/>
                  </a:cubicBezTo>
                  <a:cubicBezTo>
                    <a:pt x="183" y="33"/>
                    <a:pt x="193" y="26"/>
                    <a:pt x="195" y="23"/>
                  </a:cubicBezTo>
                  <a:cubicBezTo>
                    <a:pt x="197" y="19"/>
                    <a:pt x="196" y="14"/>
                    <a:pt x="201" y="18"/>
                  </a:cubicBezTo>
                  <a:cubicBezTo>
                    <a:pt x="205" y="23"/>
                    <a:pt x="202" y="26"/>
                    <a:pt x="212" y="22"/>
                  </a:cubicBezTo>
                  <a:cubicBezTo>
                    <a:pt x="221" y="18"/>
                    <a:pt x="220" y="19"/>
                    <a:pt x="227" y="17"/>
                  </a:cubicBezTo>
                  <a:cubicBezTo>
                    <a:pt x="234" y="15"/>
                    <a:pt x="237" y="8"/>
                    <a:pt x="243" y="6"/>
                  </a:cubicBezTo>
                  <a:cubicBezTo>
                    <a:pt x="248" y="4"/>
                    <a:pt x="256" y="1"/>
                    <a:pt x="259" y="0"/>
                  </a:cubicBezTo>
                  <a:cubicBezTo>
                    <a:pt x="262" y="2"/>
                    <a:pt x="264" y="2"/>
                    <a:pt x="263" y="7"/>
                  </a:cubicBezTo>
                  <a:cubicBezTo>
                    <a:pt x="263" y="12"/>
                    <a:pt x="260" y="13"/>
                    <a:pt x="259" y="18"/>
                  </a:cubicBezTo>
                  <a:cubicBezTo>
                    <a:pt x="259" y="24"/>
                    <a:pt x="256" y="30"/>
                    <a:pt x="258" y="36"/>
                  </a:cubicBezTo>
                  <a:cubicBezTo>
                    <a:pt x="260" y="43"/>
                    <a:pt x="258" y="40"/>
                    <a:pt x="259" y="49"/>
                  </a:cubicBezTo>
                  <a:cubicBezTo>
                    <a:pt x="259" y="58"/>
                    <a:pt x="261" y="59"/>
                    <a:pt x="259" y="70"/>
                  </a:cubicBezTo>
                  <a:cubicBezTo>
                    <a:pt x="258" y="80"/>
                    <a:pt x="259" y="81"/>
                    <a:pt x="259" y="88"/>
                  </a:cubicBezTo>
                  <a:cubicBezTo>
                    <a:pt x="259" y="94"/>
                    <a:pt x="261" y="92"/>
                    <a:pt x="262" y="100"/>
                  </a:cubicBezTo>
                  <a:cubicBezTo>
                    <a:pt x="263" y="107"/>
                    <a:pt x="264" y="105"/>
                    <a:pt x="264" y="110"/>
                  </a:cubicBezTo>
                  <a:cubicBezTo>
                    <a:pt x="265" y="115"/>
                    <a:pt x="264" y="113"/>
                    <a:pt x="263" y="121"/>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20" name="Freeform 909">
              <a:extLst>
                <a:ext uri="{FF2B5EF4-FFF2-40B4-BE49-F238E27FC236}">
                  <a16:creationId xmlns:a16="http://schemas.microsoft.com/office/drawing/2014/main" id="{8F971308-FEC7-634D-849E-10637EC1E7B6}"/>
                </a:ext>
              </a:extLst>
            </p:cNvPr>
            <p:cNvSpPr>
              <a:spLocks/>
            </p:cNvSpPr>
            <p:nvPr/>
          </p:nvSpPr>
          <p:spPr bwMode="auto">
            <a:xfrm>
              <a:off x="4802203" y="2919870"/>
              <a:ext cx="79375" cy="211138"/>
            </a:xfrm>
            <a:custGeom>
              <a:avLst/>
              <a:gdLst>
                <a:gd name="T0" fmla="*/ 76 w 84"/>
                <a:gd name="T1" fmla="*/ 153 h 222"/>
                <a:gd name="T2" fmla="*/ 76 w 84"/>
                <a:gd name="T3" fmla="*/ 174 h 222"/>
                <a:gd name="T4" fmla="*/ 71 w 84"/>
                <a:gd name="T5" fmla="*/ 185 h 222"/>
                <a:gd name="T6" fmla="*/ 61 w 84"/>
                <a:gd name="T7" fmla="*/ 193 h 222"/>
                <a:gd name="T8" fmla="*/ 62 w 84"/>
                <a:gd name="T9" fmla="*/ 202 h 222"/>
                <a:gd name="T10" fmla="*/ 62 w 84"/>
                <a:gd name="T11" fmla="*/ 215 h 222"/>
                <a:gd name="T12" fmla="*/ 56 w 84"/>
                <a:gd name="T13" fmla="*/ 213 h 222"/>
                <a:gd name="T14" fmla="*/ 50 w 84"/>
                <a:gd name="T15" fmla="*/ 202 h 222"/>
                <a:gd name="T16" fmla="*/ 39 w 84"/>
                <a:gd name="T17" fmla="*/ 186 h 222"/>
                <a:gd name="T18" fmla="*/ 41 w 84"/>
                <a:gd name="T19" fmla="*/ 171 h 222"/>
                <a:gd name="T20" fmla="*/ 47 w 84"/>
                <a:gd name="T21" fmla="*/ 158 h 222"/>
                <a:gd name="T22" fmla="*/ 44 w 84"/>
                <a:gd name="T23" fmla="*/ 141 h 222"/>
                <a:gd name="T24" fmla="*/ 28 w 84"/>
                <a:gd name="T25" fmla="*/ 141 h 222"/>
                <a:gd name="T26" fmla="*/ 20 w 84"/>
                <a:gd name="T27" fmla="*/ 138 h 222"/>
                <a:gd name="T28" fmla="*/ 8 w 84"/>
                <a:gd name="T29" fmla="*/ 127 h 222"/>
                <a:gd name="T30" fmla="*/ 7 w 84"/>
                <a:gd name="T31" fmla="*/ 126 h 222"/>
                <a:gd name="T32" fmla="*/ 1 w 84"/>
                <a:gd name="T33" fmla="*/ 115 h 222"/>
                <a:gd name="T34" fmla="*/ 8 w 84"/>
                <a:gd name="T35" fmla="*/ 102 h 222"/>
                <a:gd name="T36" fmla="*/ 9 w 84"/>
                <a:gd name="T37" fmla="*/ 90 h 222"/>
                <a:gd name="T38" fmla="*/ 21 w 84"/>
                <a:gd name="T39" fmla="*/ 83 h 222"/>
                <a:gd name="T40" fmla="*/ 17 w 84"/>
                <a:gd name="T41" fmla="*/ 70 h 222"/>
                <a:gd name="T42" fmla="*/ 19 w 84"/>
                <a:gd name="T43" fmla="*/ 56 h 222"/>
                <a:gd name="T44" fmla="*/ 17 w 84"/>
                <a:gd name="T45" fmla="*/ 38 h 222"/>
                <a:gd name="T46" fmla="*/ 25 w 84"/>
                <a:gd name="T47" fmla="*/ 32 h 222"/>
                <a:gd name="T48" fmla="*/ 22 w 84"/>
                <a:gd name="T49" fmla="*/ 20 h 222"/>
                <a:gd name="T50" fmla="*/ 18 w 84"/>
                <a:gd name="T51" fmla="*/ 11 h 222"/>
                <a:gd name="T52" fmla="*/ 10 w 84"/>
                <a:gd name="T53" fmla="*/ 0 h 222"/>
                <a:gd name="T54" fmla="*/ 10 w 84"/>
                <a:gd name="T55" fmla="*/ 0 h 222"/>
                <a:gd name="T56" fmla="*/ 27 w 84"/>
                <a:gd name="T57" fmla="*/ 2 h 222"/>
                <a:gd name="T58" fmla="*/ 33 w 84"/>
                <a:gd name="T59" fmla="*/ 4 h 222"/>
                <a:gd name="T60" fmla="*/ 36 w 84"/>
                <a:gd name="T61" fmla="*/ 21 h 222"/>
                <a:gd name="T62" fmla="*/ 40 w 84"/>
                <a:gd name="T63" fmla="*/ 30 h 222"/>
                <a:gd name="T64" fmla="*/ 40 w 84"/>
                <a:gd name="T65" fmla="*/ 39 h 222"/>
                <a:gd name="T66" fmla="*/ 42 w 84"/>
                <a:gd name="T67" fmla="*/ 56 h 222"/>
                <a:gd name="T68" fmla="*/ 35 w 84"/>
                <a:gd name="T69" fmla="*/ 70 h 222"/>
                <a:gd name="T70" fmla="*/ 38 w 84"/>
                <a:gd name="T71" fmla="*/ 85 h 222"/>
                <a:gd name="T72" fmla="*/ 38 w 84"/>
                <a:gd name="T73" fmla="*/ 101 h 222"/>
                <a:gd name="T74" fmla="*/ 46 w 84"/>
                <a:gd name="T75" fmla="*/ 118 h 222"/>
                <a:gd name="T76" fmla="*/ 45 w 84"/>
                <a:gd name="T77" fmla="*/ 130 h 222"/>
                <a:gd name="T78" fmla="*/ 54 w 84"/>
                <a:gd name="T79" fmla="*/ 129 h 222"/>
                <a:gd name="T80" fmla="*/ 63 w 84"/>
                <a:gd name="T81" fmla="*/ 138 h 222"/>
                <a:gd name="T82" fmla="*/ 63 w 84"/>
                <a:gd name="T83" fmla="*/ 128 h 222"/>
                <a:gd name="T84" fmla="*/ 55 w 84"/>
                <a:gd name="T85" fmla="*/ 116 h 222"/>
                <a:gd name="T86" fmla="*/ 55 w 84"/>
                <a:gd name="T87" fmla="*/ 116 h 222"/>
                <a:gd name="T88" fmla="*/ 76 w 84"/>
                <a:gd name="T89" fmla="*/ 139 h 222"/>
                <a:gd name="T90" fmla="*/ 76 w 84"/>
                <a:gd name="T91" fmla="*/ 15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 h="222">
                  <a:moveTo>
                    <a:pt x="76" y="153"/>
                  </a:moveTo>
                  <a:cubicBezTo>
                    <a:pt x="72" y="157"/>
                    <a:pt x="76" y="167"/>
                    <a:pt x="76" y="174"/>
                  </a:cubicBezTo>
                  <a:cubicBezTo>
                    <a:pt x="76" y="182"/>
                    <a:pt x="78" y="185"/>
                    <a:pt x="71" y="185"/>
                  </a:cubicBezTo>
                  <a:cubicBezTo>
                    <a:pt x="65" y="184"/>
                    <a:pt x="65" y="188"/>
                    <a:pt x="61" y="193"/>
                  </a:cubicBezTo>
                  <a:cubicBezTo>
                    <a:pt x="57" y="198"/>
                    <a:pt x="61" y="197"/>
                    <a:pt x="62" y="202"/>
                  </a:cubicBezTo>
                  <a:cubicBezTo>
                    <a:pt x="63" y="208"/>
                    <a:pt x="63" y="208"/>
                    <a:pt x="62" y="215"/>
                  </a:cubicBezTo>
                  <a:cubicBezTo>
                    <a:pt x="61" y="222"/>
                    <a:pt x="58" y="216"/>
                    <a:pt x="56" y="213"/>
                  </a:cubicBezTo>
                  <a:cubicBezTo>
                    <a:pt x="53" y="210"/>
                    <a:pt x="53" y="208"/>
                    <a:pt x="50" y="202"/>
                  </a:cubicBezTo>
                  <a:cubicBezTo>
                    <a:pt x="46" y="195"/>
                    <a:pt x="46" y="195"/>
                    <a:pt x="39" y="186"/>
                  </a:cubicBezTo>
                  <a:cubicBezTo>
                    <a:pt x="32" y="176"/>
                    <a:pt x="40" y="178"/>
                    <a:pt x="41" y="171"/>
                  </a:cubicBezTo>
                  <a:cubicBezTo>
                    <a:pt x="42" y="165"/>
                    <a:pt x="45" y="164"/>
                    <a:pt x="47" y="158"/>
                  </a:cubicBezTo>
                  <a:cubicBezTo>
                    <a:pt x="48" y="151"/>
                    <a:pt x="48" y="146"/>
                    <a:pt x="44" y="141"/>
                  </a:cubicBezTo>
                  <a:cubicBezTo>
                    <a:pt x="39" y="136"/>
                    <a:pt x="37" y="141"/>
                    <a:pt x="28" y="141"/>
                  </a:cubicBezTo>
                  <a:cubicBezTo>
                    <a:pt x="18" y="141"/>
                    <a:pt x="22" y="141"/>
                    <a:pt x="20" y="138"/>
                  </a:cubicBezTo>
                  <a:cubicBezTo>
                    <a:pt x="18" y="135"/>
                    <a:pt x="14" y="131"/>
                    <a:pt x="8" y="127"/>
                  </a:cubicBezTo>
                  <a:cubicBezTo>
                    <a:pt x="8" y="126"/>
                    <a:pt x="8" y="126"/>
                    <a:pt x="7" y="126"/>
                  </a:cubicBezTo>
                  <a:cubicBezTo>
                    <a:pt x="1" y="121"/>
                    <a:pt x="2" y="120"/>
                    <a:pt x="1" y="115"/>
                  </a:cubicBezTo>
                  <a:cubicBezTo>
                    <a:pt x="0" y="110"/>
                    <a:pt x="3" y="109"/>
                    <a:pt x="8" y="102"/>
                  </a:cubicBezTo>
                  <a:cubicBezTo>
                    <a:pt x="12" y="96"/>
                    <a:pt x="8" y="94"/>
                    <a:pt x="9" y="90"/>
                  </a:cubicBezTo>
                  <a:cubicBezTo>
                    <a:pt x="10" y="87"/>
                    <a:pt x="16" y="85"/>
                    <a:pt x="21" y="83"/>
                  </a:cubicBezTo>
                  <a:cubicBezTo>
                    <a:pt x="26" y="82"/>
                    <a:pt x="19" y="76"/>
                    <a:pt x="17" y="70"/>
                  </a:cubicBezTo>
                  <a:cubicBezTo>
                    <a:pt x="15" y="63"/>
                    <a:pt x="17" y="62"/>
                    <a:pt x="19" y="56"/>
                  </a:cubicBezTo>
                  <a:cubicBezTo>
                    <a:pt x="20" y="49"/>
                    <a:pt x="17" y="46"/>
                    <a:pt x="17" y="38"/>
                  </a:cubicBezTo>
                  <a:cubicBezTo>
                    <a:pt x="16" y="31"/>
                    <a:pt x="24" y="35"/>
                    <a:pt x="25" y="32"/>
                  </a:cubicBezTo>
                  <a:cubicBezTo>
                    <a:pt x="27" y="28"/>
                    <a:pt x="24" y="23"/>
                    <a:pt x="22" y="20"/>
                  </a:cubicBezTo>
                  <a:cubicBezTo>
                    <a:pt x="19" y="17"/>
                    <a:pt x="19" y="17"/>
                    <a:pt x="18" y="11"/>
                  </a:cubicBezTo>
                  <a:cubicBezTo>
                    <a:pt x="18" y="5"/>
                    <a:pt x="14" y="8"/>
                    <a:pt x="10" y="0"/>
                  </a:cubicBezTo>
                  <a:cubicBezTo>
                    <a:pt x="10" y="0"/>
                    <a:pt x="10" y="0"/>
                    <a:pt x="10" y="0"/>
                  </a:cubicBezTo>
                  <a:cubicBezTo>
                    <a:pt x="14" y="0"/>
                    <a:pt x="22" y="2"/>
                    <a:pt x="27" y="2"/>
                  </a:cubicBezTo>
                  <a:cubicBezTo>
                    <a:pt x="29" y="2"/>
                    <a:pt x="31" y="3"/>
                    <a:pt x="33" y="4"/>
                  </a:cubicBezTo>
                  <a:cubicBezTo>
                    <a:pt x="33" y="9"/>
                    <a:pt x="35" y="19"/>
                    <a:pt x="36" y="21"/>
                  </a:cubicBezTo>
                  <a:cubicBezTo>
                    <a:pt x="37" y="23"/>
                    <a:pt x="40" y="27"/>
                    <a:pt x="40" y="30"/>
                  </a:cubicBezTo>
                  <a:cubicBezTo>
                    <a:pt x="40" y="33"/>
                    <a:pt x="40" y="36"/>
                    <a:pt x="40" y="39"/>
                  </a:cubicBezTo>
                  <a:cubicBezTo>
                    <a:pt x="39" y="43"/>
                    <a:pt x="40" y="48"/>
                    <a:pt x="42" y="56"/>
                  </a:cubicBezTo>
                  <a:cubicBezTo>
                    <a:pt x="44" y="64"/>
                    <a:pt x="37" y="66"/>
                    <a:pt x="35" y="70"/>
                  </a:cubicBezTo>
                  <a:cubicBezTo>
                    <a:pt x="32" y="75"/>
                    <a:pt x="33" y="79"/>
                    <a:pt x="38" y="85"/>
                  </a:cubicBezTo>
                  <a:cubicBezTo>
                    <a:pt x="43" y="90"/>
                    <a:pt x="39" y="94"/>
                    <a:pt x="38" y="101"/>
                  </a:cubicBezTo>
                  <a:cubicBezTo>
                    <a:pt x="37" y="109"/>
                    <a:pt x="41" y="111"/>
                    <a:pt x="46" y="118"/>
                  </a:cubicBezTo>
                  <a:cubicBezTo>
                    <a:pt x="51" y="124"/>
                    <a:pt x="45" y="124"/>
                    <a:pt x="45" y="130"/>
                  </a:cubicBezTo>
                  <a:cubicBezTo>
                    <a:pt x="45" y="135"/>
                    <a:pt x="52" y="133"/>
                    <a:pt x="54" y="129"/>
                  </a:cubicBezTo>
                  <a:cubicBezTo>
                    <a:pt x="57" y="126"/>
                    <a:pt x="56" y="133"/>
                    <a:pt x="63" y="138"/>
                  </a:cubicBezTo>
                  <a:cubicBezTo>
                    <a:pt x="70" y="143"/>
                    <a:pt x="64" y="133"/>
                    <a:pt x="63" y="128"/>
                  </a:cubicBezTo>
                  <a:cubicBezTo>
                    <a:pt x="62" y="122"/>
                    <a:pt x="57" y="119"/>
                    <a:pt x="55" y="116"/>
                  </a:cubicBezTo>
                  <a:cubicBezTo>
                    <a:pt x="55" y="116"/>
                    <a:pt x="55" y="116"/>
                    <a:pt x="55" y="116"/>
                  </a:cubicBezTo>
                  <a:cubicBezTo>
                    <a:pt x="58" y="119"/>
                    <a:pt x="68" y="125"/>
                    <a:pt x="76" y="139"/>
                  </a:cubicBezTo>
                  <a:cubicBezTo>
                    <a:pt x="84" y="153"/>
                    <a:pt x="80" y="149"/>
                    <a:pt x="76" y="153"/>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21" name="Freeform 910">
              <a:extLst>
                <a:ext uri="{FF2B5EF4-FFF2-40B4-BE49-F238E27FC236}">
                  <a16:creationId xmlns:a16="http://schemas.microsoft.com/office/drawing/2014/main" id="{482581D2-9AEF-2348-9CDC-4C66767361B4}"/>
                </a:ext>
              </a:extLst>
            </p:cNvPr>
            <p:cNvSpPr>
              <a:spLocks/>
            </p:cNvSpPr>
            <p:nvPr/>
          </p:nvSpPr>
          <p:spPr bwMode="auto">
            <a:xfrm>
              <a:off x="4733940" y="2692858"/>
              <a:ext cx="254001" cy="293688"/>
            </a:xfrm>
            <a:custGeom>
              <a:avLst/>
              <a:gdLst>
                <a:gd name="T0" fmla="*/ 251 w 267"/>
                <a:gd name="T1" fmla="*/ 275 h 307"/>
                <a:gd name="T2" fmla="*/ 220 w 267"/>
                <a:gd name="T3" fmla="*/ 291 h 307"/>
                <a:gd name="T4" fmla="*/ 203 w 267"/>
                <a:gd name="T5" fmla="*/ 292 h 307"/>
                <a:gd name="T6" fmla="*/ 175 w 267"/>
                <a:gd name="T7" fmla="*/ 301 h 307"/>
                <a:gd name="T8" fmla="*/ 143 w 267"/>
                <a:gd name="T9" fmla="*/ 297 h 307"/>
                <a:gd name="T10" fmla="*/ 127 w 267"/>
                <a:gd name="T11" fmla="*/ 290 h 307"/>
                <a:gd name="T12" fmla="*/ 122 w 267"/>
                <a:gd name="T13" fmla="*/ 272 h 307"/>
                <a:gd name="T14" fmla="*/ 119 w 267"/>
                <a:gd name="T15" fmla="*/ 250 h 307"/>
                <a:gd name="T16" fmla="*/ 105 w 267"/>
                <a:gd name="T17" fmla="*/ 239 h 307"/>
                <a:gd name="T18" fmla="*/ 99 w 267"/>
                <a:gd name="T19" fmla="*/ 240 h 307"/>
                <a:gd name="T20" fmla="*/ 70 w 267"/>
                <a:gd name="T21" fmla="*/ 230 h 307"/>
                <a:gd name="T22" fmla="*/ 36 w 267"/>
                <a:gd name="T23" fmla="*/ 213 h 307"/>
                <a:gd name="T24" fmla="*/ 24 w 267"/>
                <a:gd name="T25" fmla="*/ 181 h 307"/>
                <a:gd name="T26" fmla="*/ 3 w 267"/>
                <a:gd name="T27" fmla="*/ 148 h 307"/>
                <a:gd name="T28" fmla="*/ 3 w 267"/>
                <a:gd name="T29" fmla="*/ 116 h 307"/>
                <a:gd name="T30" fmla="*/ 0 w 267"/>
                <a:gd name="T31" fmla="*/ 97 h 307"/>
                <a:gd name="T32" fmla="*/ 14 w 267"/>
                <a:gd name="T33" fmla="*/ 82 h 307"/>
                <a:gd name="T34" fmla="*/ 28 w 267"/>
                <a:gd name="T35" fmla="*/ 56 h 307"/>
                <a:gd name="T36" fmla="*/ 24 w 267"/>
                <a:gd name="T37" fmla="*/ 40 h 307"/>
                <a:gd name="T38" fmla="*/ 31 w 267"/>
                <a:gd name="T39" fmla="*/ 32 h 307"/>
                <a:gd name="T40" fmla="*/ 26 w 267"/>
                <a:gd name="T41" fmla="*/ 11 h 307"/>
                <a:gd name="T42" fmla="*/ 19 w 267"/>
                <a:gd name="T43" fmla="*/ 0 h 307"/>
                <a:gd name="T44" fmla="*/ 56 w 267"/>
                <a:gd name="T45" fmla="*/ 1 h 307"/>
                <a:gd name="T46" fmla="*/ 52 w 267"/>
                <a:gd name="T47" fmla="*/ 20 h 307"/>
                <a:gd name="T48" fmla="*/ 57 w 267"/>
                <a:gd name="T49" fmla="*/ 51 h 307"/>
                <a:gd name="T50" fmla="*/ 77 w 267"/>
                <a:gd name="T51" fmla="*/ 44 h 307"/>
                <a:gd name="T52" fmla="*/ 101 w 267"/>
                <a:gd name="T53" fmla="*/ 37 h 307"/>
                <a:gd name="T54" fmla="*/ 90 w 267"/>
                <a:gd name="T55" fmla="*/ 28 h 307"/>
                <a:gd name="T56" fmla="*/ 109 w 267"/>
                <a:gd name="T57" fmla="*/ 11 h 307"/>
                <a:gd name="T58" fmla="*/ 200 w 267"/>
                <a:gd name="T59" fmla="*/ 62 h 307"/>
                <a:gd name="T60" fmla="*/ 239 w 267"/>
                <a:gd name="T61" fmla="*/ 104 h 307"/>
                <a:gd name="T62" fmla="*/ 231 w 267"/>
                <a:gd name="T63" fmla="*/ 127 h 307"/>
                <a:gd name="T64" fmla="*/ 234 w 267"/>
                <a:gd name="T65" fmla="*/ 154 h 307"/>
                <a:gd name="T66" fmla="*/ 245 w 267"/>
                <a:gd name="T67" fmla="*/ 170 h 307"/>
                <a:gd name="T68" fmla="*/ 241 w 267"/>
                <a:gd name="T69" fmla="*/ 204 h 307"/>
                <a:gd name="T70" fmla="*/ 247 w 267"/>
                <a:gd name="T71" fmla="*/ 234 h 307"/>
                <a:gd name="T72" fmla="*/ 262 w 267"/>
                <a:gd name="T73" fmla="*/ 260 h 307"/>
                <a:gd name="T74" fmla="*/ 267 w 267"/>
                <a:gd name="T75" fmla="*/ 269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7" h="307">
                  <a:moveTo>
                    <a:pt x="267" y="269"/>
                  </a:moveTo>
                  <a:cubicBezTo>
                    <a:pt x="264" y="270"/>
                    <a:pt x="256" y="273"/>
                    <a:pt x="251" y="275"/>
                  </a:cubicBezTo>
                  <a:cubicBezTo>
                    <a:pt x="245" y="277"/>
                    <a:pt x="242" y="284"/>
                    <a:pt x="235" y="286"/>
                  </a:cubicBezTo>
                  <a:cubicBezTo>
                    <a:pt x="228" y="288"/>
                    <a:pt x="229" y="287"/>
                    <a:pt x="220" y="291"/>
                  </a:cubicBezTo>
                  <a:cubicBezTo>
                    <a:pt x="210" y="295"/>
                    <a:pt x="213" y="292"/>
                    <a:pt x="209" y="287"/>
                  </a:cubicBezTo>
                  <a:cubicBezTo>
                    <a:pt x="204" y="283"/>
                    <a:pt x="205" y="288"/>
                    <a:pt x="203" y="292"/>
                  </a:cubicBezTo>
                  <a:cubicBezTo>
                    <a:pt x="201" y="295"/>
                    <a:pt x="191" y="302"/>
                    <a:pt x="187" y="300"/>
                  </a:cubicBezTo>
                  <a:cubicBezTo>
                    <a:pt x="183" y="298"/>
                    <a:pt x="179" y="296"/>
                    <a:pt x="175" y="301"/>
                  </a:cubicBezTo>
                  <a:cubicBezTo>
                    <a:pt x="171" y="307"/>
                    <a:pt x="164" y="301"/>
                    <a:pt x="160" y="296"/>
                  </a:cubicBezTo>
                  <a:cubicBezTo>
                    <a:pt x="155" y="290"/>
                    <a:pt x="150" y="293"/>
                    <a:pt x="143" y="297"/>
                  </a:cubicBezTo>
                  <a:cubicBezTo>
                    <a:pt x="139" y="299"/>
                    <a:pt x="135" y="300"/>
                    <a:pt x="130" y="298"/>
                  </a:cubicBezTo>
                  <a:cubicBezTo>
                    <a:pt x="130" y="296"/>
                    <a:pt x="129" y="293"/>
                    <a:pt x="127" y="290"/>
                  </a:cubicBezTo>
                  <a:cubicBezTo>
                    <a:pt x="123" y="285"/>
                    <a:pt x="125" y="284"/>
                    <a:pt x="124" y="277"/>
                  </a:cubicBezTo>
                  <a:cubicBezTo>
                    <a:pt x="123" y="275"/>
                    <a:pt x="123" y="273"/>
                    <a:pt x="122" y="272"/>
                  </a:cubicBezTo>
                  <a:cubicBezTo>
                    <a:pt x="123" y="267"/>
                    <a:pt x="124" y="263"/>
                    <a:pt x="122" y="258"/>
                  </a:cubicBezTo>
                  <a:cubicBezTo>
                    <a:pt x="121" y="255"/>
                    <a:pt x="121" y="254"/>
                    <a:pt x="119" y="250"/>
                  </a:cubicBezTo>
                  <a:cubicBezTo>
                    <a:pt x="117" y="245"/>
                    <a:pt x="112" y="241"/>
                    <a:pt x="110" y="239"/>
                  </a:cubicBezTo>
                  <a:cubicBezTo>
                    <a:pt x="107" y="237"/>
                    <a:pt x="106" y="238"/>
                    <a:pt x="105" y="239"/>
                  </a:cubicBezTo>
                  <a:cubicBezTo>
                    <a:pt x="105" y="240"/>
                    <a:pt x="105" y="241"/>
                    <a:pt x="105" y="242"/>
                  </a:cubicBezTo>
                  <a:cubicBezTo>
                    <a:pt x="103" y="241"/>
                    <a:pt x="101" y="240"/>
                    <a:pt x="99" y="240"/>
                  </a:cubicBezTo>
                  <a:cubicBezTo>
                    <a:pt x="94" y="240"/>
                    <a:pt x="86" y="238"/>
                    <a:pt x="82" y="238"/>
                  </a:cubicBezTo>
                  <a:cubicBezTo>
                    <a:pt x="79" y="230"/>
                    <a:pt x="75" y="232"/>
                    <a:pt x="70" y="230"/>
                  </a:cubicBezTo>
                  <a:cubicBezTo>
                    <a:pt x="65" y="227"/>
                    <a:pt x="52" y="221"/>
                    <a:pt x="52" y="221"/>
                  </a:cubicBezTo>
                  <a:cubicBezTo>
                    <a:pt x="47" y="217"/>
                    <a:pt x="41" y="216"/>
                    <a:pt x="36" y="213"/>
                  </a:cubicBezTo>
                  <a:cubicBezTo>
                    <a:pt x="36" y="207"/>
                    <a:pt x="35" y="204"/>
                    <a:pt x="31" y="199"/>
                  </a:cubicBezTo>
                  <a:cubicBezTo>
                    <a:pt x="27" y="192"/>
                    <a:pt x="25" y="192"/>
                    <a:pt x="24" y="181"/>
                  </a:cubicBezTo>
                  <a:cubicBezTo>
                    <a:pt x="22" y="169"/>
                    <a:pt x="21" y="163"/>
                    <a:pt x="18" y="159"/>
                  </a:cubicBezTo>
                  <a:cubicBezTo>
                    <a:pt x="14" y="156"/>
                    <a:pt x="3" y="155"/>
                    <a:pt x="3" y="148"/>
                  </a:cubicBezTo>
                  <a:cubicBezTo>
                    <a:pt x="3" y="141"/>
                    <a:pt x="10" y="137"/>
                    <a:pt x="8" y="132"/>
                  </a:cubicBezTo>
                  <a:cubicBezTo>
                    <a:pt x="5" y="126"/>
                    <a:pt x="4" y="122"/>
                    <a:pt x="3" y="116"/>
                  </a:cubicBezTo>
                  <a:cubicBezTo>
                    <a:pt x="2" y="109"/>
                    <a:pt x="1" y="112"/>
                    <a:pt x="0" y="102"/>
                  </a:cubicBezTo>
                  <a:cubicBezTo>
                    <a:pt x="0" y="101"/>
                    <a:pt x="0" y="99"/>
                    <a:pt x="0" y="97"/>
                  </a:cubicBezTo>
                  <a:cubicBezTo>
                    <a:pt x="3" y="99"/>
                    <a:pt x="4" y="99"/>
                    <a:pt x="6" y="96"/>
                  </a:cubicBezTo>
                  <a:cubicBezTo>
                    <a:pt x="9" y="93"/>
                    <a:pt x="7" y="90"/>
                    <a:pt x="14" y="82"/>
                  </a:cubicBezTo>
                  <a:cubicBezTo>
                    <a:pt x="20" y="74"/>
                    <a:pt x="20" y="70"/>
                    <a:pt x="24" y="66"/>
                  </a:cubicBezTo>
                  <a:cubicBezTo>
                    <a:pt x="28" y="61"/>
                    <a:pt x="33" y="58"/>
                    <a:pt x="28" y="56"/>
                  </a:cubicBezTo>
                  <a:cubicBezTo>
                    <a:pt x="22" y="53"/>
                    <a:pt x="15" y="50"/>
                    <a:pt x="18" y="46"/>
                  </a:cubicBezTo>
                  <a:cubicBezTo>
                    <a:pt x="21" y="42"/>
                    <a:pt x="26" y="41"/>
                    <a:pt x="24" y="40"/>
                  </a:cubicBezTo>
                  <a:cubicBezTo>
                    <a:pt x="24" y="40"/>
                    <a:pt x="25" y="39"/>
                    <a:pt x="27" y="38"/>
                  </a:cubicBezTo>
                  <a:cubicBezTo>
                    <a:pt x="30" y="36"/>
                    <a:pt x="31" y="38"/>
                    <a:pt x="31" y="32"/>
                  </a:cubicBezTo>
                  <a:cubicBezTo>
                    <a:pt x="32" y="26"/>
                    <a:pt x="31" y="25"/>
                    <a:pt x="30" y="20"/>
                  </a:cubicBezTo>
                  <a:cubicBezTo>
                    <a:pt x="29" y="14"/>
                    <a:pt x="29" y="14"/>
                    <a:pt x="26" y="11"/>
                  </a:cubicBezTo>
                  <a:cubicBezTo>
                    <a:pt x="24" y="9"/>
                    <a:pt x="21" y="4"/>
                    <a:pt x="20" y="3"/>
                  </a:cubicBezTo>
                  <a:cubicBezTo>
                    <a:pt x="20" y="3"/>
                    <a:pt x="19" y="1"/>
                    <a:pt x="19" y="0"/>
                  </a:cubicBezTo>
                  <a:cubicBezTo>
                    <a:pt x="19" y="0"/>
                    <a:pt x="20" y="0"/>
                    <a:pt x="20" y="0"/>
                  </a:cubicBezTo>
                  <a:cubicBezTo>
                    <a:pt x="23" y="1"/>
                    <a:pt x="38" y="1"/>
                    <a:pt x="56" y="1"/>
                  </a:cubicBezTo>
                  <a:cubicBezTo>
                    <a:pt x="56" y="2"/>
                    <a:pt x="56" y="4"/>
                    <a:pt x="56" y="6"/>
                  </a:cubicBezTo>
                  <a:cubicBezTo>
                    <a:pt x="55" y="12"/>
                    <a:pt x="54" y="10"/>
                    <a:pt x="52" y="20"/>
                  </a:cubicBezTo>
                  <a:cubicBezTo>
                    <a:pt x="51" y="29"/>
                    <a:pt x="49" y="31"/>
                    <a:pt x="51" y="37"/>
                  </a:cubicBezTo>
                  <a:cubicBezTo>
                    <a:pt x="52" y="44"/>
                    <a:pt x="51" y="58"/>
                    <a:pt x="57" y="51"/>
                  </a:cubicBezTo>
                  <a:cubicBezTo>
                    <a:pt x="62" y="44"/>
                    <a:pt x="63" y="29"/>
                    <a:pt x="67" y="36"/>
                  </a:cubicBezTo>
                  <a:cubicBezTo>
                    <a:pt x="71" y="43"/>
                    <a:pt x="75" y="42"/>
                    <a:pt x="77" y="44"/>
                  </a:cubicBezTo>
                  <a:cubicBezTo>
                    <a:pt x="78" y="46"/>
                    <a:pt x="74" y="44"/>
                    <a:pt x="86" y="44"/>
                  </a:cubicBezTo>
                  <a:cubicBezTo>
                    <a:pt x="98" y="44"/>
                    <a:pt x="98" y="41"/>
                    <a:pt x="101" y="37"/>
                  </a:cubicBezTo>
                  <a:cubicBezTo>
                    <a:pt x="104" y="33"/>
                    <a:pt x="115" y="35"/>
                    <a:pt x="104" y="33"/>
                  </a:cubicBezTo>
                  <a:cubicBezTo>
                    <a:pt x="93" y="31"/>
                    <a:pt x="88" y="36"/>
                    <a:pt x="90" y="28"/>
                  </a:cubicBezTo>
                  <a:cubicBezTo>
                    <a:pt x="93" y="21"/>
                    <a:pt x="93" y="19"/>
                    <a:pt x="99" y="19"/>
                  </a:cubicBezTo>
                  <a:cubicBezTo>
                    <a:pt x="105" y="19"/>
                    <a:pt x="109" y="16"/>
                    <a:pt x="109" y="11"/>
                  </a:cubicBezTo>
                  <a:cubicBezTo>
                    <a:pt x="108" y="7"/>
                    <a:pt x="110" y="6"/>
                    <a:pt x="111" y="3"/>
                  </a:cubicBezTo>
                  <a:cubicBezTo>
                    <a:pt x="117" y="6"/>
                    <a:pt x="200" y="57"/>
                    <a:pt x="200" y="62"/>
                  </a:cubicBezTo>
                  <a:cubicBezTo>
                    <a:pt x="200" y="66"/>
                    <a:pt x="200" y="74"/>
                    <a:pt x="203" y="76"/>
                  </a:cubicBezTo>
                  <a:cubicBezTo>
                    <a:pt x="206" y="78"/>
                    <a:pt x="234" y="100"/>
                    <a:pt x="239" y="104"/>
                  </a:cubicBezTo>
                  <a:cubicBezTo>
                    <a:pt x="238" y="106"/>
                    <a:pt x="237" y="107"/>
                    <a:pt x="237" y="110"/>
                  </a:cubicBezTo>
                  <a:cubicBezTo>
                    <a:pt x="237" y="116"/>
                    <a:pt x="232" y="125"/>
                    <a:pt x="231" y="127"/>
                  </a:cubicBezTo>
                  <a:cubicBezTo>
                    <a:pt x="230" y="129"/>
                    <a:pt x="230" y="125"/>
                    <a:pt x="230" y="137"/>
                  </a:cubicBezTo>
                  <a:cubicBezTo>
                    <a:pt x="230" y="149"/>
                    <a:pt x="230" y="150"/>
                    <a:pt x="234" y="154"/>
                  </a:cubicBezTo>
                  <a:cubicBezTo>
                    <a:pt x="239" y="158"/>
                    <a:pt x="241" y="163"/>
                    <a:pt x="242" y="164"/>
                  </a:cubicBezTo>
                  <a:cubicBezTo>
                    <a:pt x="242" y="166"/>
                    <a:pt x="245" y="165"/>
                    <a:pt x="245" y="170"/>
                  </a:cubicBezTo>
                  <a:cubicBezTo>
                    <a:pt x="244" y="175"/>
                    <a:pt x="240" y="183"/>
                    <a:pt x="240" y="189"/>
                  </a:cubicBezTo>
                  <a:cubicBezTo>
                    <a:pt x="241" y="195"/>
                    <a:pt x="241" y="196"/>
                    <a:pt x="241" y="204"/>
                  </a:cubicBezTo>
                  <a:cubicBezTo>
                    <a:pt x="241" y="212"/>
                    <a:pt x="236" y="215"/>
                    <a:pt x="241" y="220"/>
                  </a:cubicBezTo>
                  <a:cubicBezTo>
                    <a:pt x="246" y="225"/>
                    <a:pt x="245" y="228"/>
                    <a:pt x="247" y="234"/>
                  </a:cubicBezTo>
                  <a:cubicBezTo>
                    <a:pt x="249" y="240"/>
                    <a:pt x="244" y="243"/>
                    <a:pt x="250" y="249"/>
                  </a:cubicBezTo>
                  <a:cubicBezTo>
                    <a:pt x="256" y="255"/>
                    <a:pt x="258" y="255"/>
                    <a:pt x="262" y="260"/>
                  </a:cubicBezTo>
                  <a:cubicBezTo>
                    <a:pt x="266" y="264"/>
                    <a:pt x="264" y="266"/>
                    <a:pt x="267" y="269"/>
                  </a:cubicBezTo>
                  <a:cubicBezTo>
                    <a:pt x="267" y="269"/>
                    <a:pt x="267" y="269"/>
                    <a:pt x="267" y="269"/>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22" name="Freeform 911">
              <a:extLst>
                <a:ext uri="{FF2B5EF4-FFF2-40B4-BE49-F238E27FC236}">
                  <a16:creationId xmlns:a16="http://schemas.microsoft.com/office/drawing/2014/main" id="{00371DDC-3C4F-4A40-8530-23E6C4F4498A}"/>
                </a:ext>
              </a:extLst>
            </p:cNvPr>
            <p:cNvSpPr>
              <a:spLocks/>
            </p:cNvSpPr>
            <p:nvPr/>
          </p:nvSpPr>
          <p:spPr bwMode="auto">
            <a:xfrm>
              <a:off x="4718065" y="2724608"/>
              <a:ext cx="47625" cy="63500"/>
            </a:xfrm>
            <a:custGeom>
              <a:avLst/>
              <a:gdLst>
                <a:gd name="T0" fmla="*/ 41 w 50"/>
                <a:gd name="T1" fmla="*/ 33 h 67"/>
                <a:gd name="T2" fmla="*/ 31 w 50"/>
                <a:gd name="T3" fmla="*/ 49 h 67"/>
                <a:gd name="T4" fmla="*/ 23 w 50"/>
                <a:gd name="T5" fmla="*/ 63 h 67"/>
                <a:gd name="T6" fmla="*/ 10 w 50"/>
                <a:gd name="T7" fmla="*/ 60 h 67"/>
                <a:gd name="T8" fmla="*/ 9 w 50"/>
                <a:gd name="T9" fmla="*/ 60 h 67"/>
                <a:gd name="T10" fmla="*/ 7 w 50"/>
                <a:gd name="T11" fmla="*/ 51 h 67"/>
                <a:gd name="T12" fmla="*/ 7 w 50"/>
                <a:gd name="T13" fmla="*/ 36 h 67"/>
                <a:gd name="T14" fmla="*/ 4 w 50"/>
                <a:gd name="T15" fmla="*/ 23 h 67"/>
                <a:gd name="T16" fmla="*/ 0 w 50"/>
                <a:gd name="T17" fmla="*/ 14 h 67"/>
                <a:gd name="T18" fmla="*/ 5 w 50"/>
                <a:gd name="T19" fmla="*/ 12 h 67"/>
                <a:gd name="T20" fmla="*/ 19 w 50"/>
                <a:gd name="T21" fmla="*/ 19 h 67"/>
                <a:gd name="T22" fmla="*/ 23 w 50"/>
                <a:gd name="T23" fmla="*/ 5 h 67"/>
                <a:gd name="T24" fmla="*/ 39 w 50"/>
                <a:gd name="T25" fmla="*/ 6 h 67"/>
                <a:gd name="T26" fmla="*/ 41 w 50"/>
                <a:gd name="T27" fmla="*/ 7 h 67"/>
                <a:gd name="T28" fmla="*/ 35 w 50"/>
                <a:gd name="T29" fmla="*/ 13 h 67"/>
                <a:gd name="T30" fmla="*/ 45 w 50"/>
                <a:gd name="T31" fmla="*/ 23 h 67"/>
                <a:gd name="T32" fmla="*/ 41 w 50"/>
                <a:gd name="T33" fmla="*/ 3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67">
                  <a:moveTo>
                    <a:pt x="41" y="33"/>
                  </a:moveTo>
                  <a:cubicBezTo>
                    <a:pt x="37" y="37"/>
                    <a:pt x="37" y="41"/>
                    <a:pt x="31" y="49"/>
                  </a:cubicBezTo>
                  <a:cubicBezTo>
                    <a:pt x="24" y="57"/>
                    <a:pt x="26" y="60"/>
                    <a:pt x="23" y="63"/>
                  </a:cubicBezTo>
                  <a:cubicBezTo>
                    <a:pt x="20" y="67"/>
                    <a:pt x="18" y="65"/>
                    <a:pt x="10" y="60"/>
                  </a:cubicBezTo>
                  <a:cubicBezTo>
                    <a:pt x="10" y="60"/>
                    <a:pt x="9" y="60"/>
                    <a:pt x="9" y="60"/>
                  </a:cubicBezTo>
                  <a:cubicBezTo>
                    <a:pt x="2" y="56"/>
                    <a:pt x="7" y="56"/>
                    <a:pt x="7" y="51"/>
                  </a:cubicBezTo>
                  <a:cubicBezTo>
                    <a:pt x="8" y="46"/>
                    <a:pt x="6" y="39"/>
                    <a:pt x="7" y="36"/>
                  </a:cubicBezTo>
                  <a:cubicBezTo>
                    <a:pt x="8" y="33"/>
                    <a:pt x="6" y="27"/>
                    <a:pt x="4" y="23"/>
                  </a:cubicBezTo>
                  <a:cubicBezTo>
                    <a:pt x="2" y="19"/>
                    <a:pt x="3" y="15"/>
                    <a:pt x="0" y="14"/>
                  </a:cubicBezTo>
                  <a:cubicBezTo>
                    <a:pt x="2" y="13"/>
                    <a:pt x="4" y="11"/>
                    <a:pt x="5" y="12"/>
                  </a:cubicBezTo>
                  <a:cubicBezTo>
                    <a:pt x="8" y="14"/>
                    <a:pt x="16" y="18"/>
                    <a:pt x="19" y="19"/>
                  </a:cubicBezTo>
                  <a:cubicBezTo>
                    <a:pt x="23" y="19"/>
                    <a:pt x="23" y="11"/>
                    <a:pt x="23" y="5"/>
                  </a:cubicBezTo>
                  <a:cubicBezTo>
                    <a:pt x="24" y="0"/>
                    <a:pt x="33" y="5"/>
                    <a:pt x="39" y="6"/>
                  </a:cubicBezTo>
                  <a:cubicBezTo>
                    <a:pt x="40" y="7"/>
                    <a:pt x="40" y="7"/>
                    <a:pt x="41" y="7"/>
                  </a:cubicBezTo>
                  <a:cubicBezTo>
                    <a:pt x="43" y="8"/>
                    <a:pt x="38" y="9"/>
                    <a:pt x="35" y="13"/>
                  </a:cubicBezTo>
                  <a:cubicBezTo>
                    <a:pt x="32" y="17"/>
                    <a:pt x="39" y="20"/>
                    <a:pt x="45" y="23"/>
                  </a:cubicBezTo>
                  <a:cubicBezTo>
                    <a:pt x="50" y="25"/>
                    <a:pt x="45" y="28"/>
                    <a:pt x="41" y="3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23" name="Freeform 912">
              <a:extLst>
                <a:ext uri="{FF2B5EF4-FFF2-40B4-BE49-F238E27FC236}">
                  <a16:creationId xmlns:a16="http://schemas.microsoft.com/office/drawing/2014/main" id="{062B1597-6CC6-F44D-AD61-2400C7CD1915}"/>
                </a:ext>
              </a:extLst>
            </p:cNvPr>
            <p:cNvSpPr>
              <a:spLocks/>
            </p:cNvSpPr>
            <p:nvPr/>
          </p:nvSpPr>
          <p:spPr bwMode="auto">
            <a:xfrm>
              <a:off x="4835541" y="2543632"/>
              <a:ext cx="188913" cy="249238"/>
            </a:xfrm>
            <a:custGeom>
              <a:avLst/>
              <a:gdLst>
                <a:gd name="T0" fmla="*/ 199 w 199"/>
                <a:gd name="T1" fmla="*/ 18 h 261"/>
                <a:gd name="T2" fmla="*/ 194 w 199"/>
                <a:gd name="T3" fmla="*/ 27 h 261"/>
                <a:gd name="T4" fmla="*/ 187 w 199"/>
                <a:gd name="T5" fmla="*/ 37 h 261"/>
                <a:gd name="T6" fmla="*/ 179 w 199"/>
                <a:gd name="T7" fmla="*/ 47 h 261"/>
                <a:gd name="T8" fmla="*/ 175 w 199"/>
                <a:gd name="T9" fmla="*/ 67 h 261"/>
                <a:gd name="T10" fmla="*/ 178 w 199"/>
                <a:gd name="T11" fmla="*/ 151 h 261"/>
                <a:gd name="T12" fmla="*/ 191 w 199"/>
                <a:gd name="T13" fmla="*/ 172 h 261"/>
                <a:gd name="T14" fmla="*/ 192 w 199"/>
                <a:gd name="T15" fmla="*/ 176 h 261"/>
                <a:gd name="T16" fmla="*/ 189 w 199"/>
                <a:gd name="T17" fmla="*/ 180 h 261"/>
                <a:gd name="T18" fmla="*/ 173 w 199"/>
                <a:gd name="T19" fmla="*/ 193 h 261"/>
                <a:gd name="T20" fmla="*/ 157 w 199"/>
                <a:gd name="T21" fmla="*/ 210 h 261"/>
                <a:gd name="T22" fmla="*/ 148 w 199"/>
                <a:gd name="T23" fmla="*/ 230 h 261"/>
                <a:gd name="T24" fmla="*/ 143 w 199"/>
                <a:gd name="T25" fmla="*/ 244 h 261"/>
                <a:gd name="T26" fmla="*/ 138 w 199"/>
                <a:gd name="T27" fmla="*/ 259 h 261"/>
                <a:gd name="T28" fmla="*/ 132 w 199"/>
                <a:gd name="T29" fmla="*/ 261 h 261"/>
                <a:gd name="T30" fmla="*/ 96 w 199"/>
                <a:gd name="T31" fmla="*/ 233 h 261"/>
                <a:gd name="T32" fmla="*/ 93 w 199"/>
                <a:gd name="T33" fmla="*/ 219 h 261"/>
                <a:gd name="T34" fmla="*/ 4 w 199"/>
                <a:gd name="T35" fmla="*/ 160 h 261"/>
                <a:gd name="T36" fmla="*/ 4 w 199"/>
                <a:gd name="T37" fmla="*/ 157 h 261"/>
                <a:gd name="T38" fmla="*/ 1 w 199"/>
                <a:gd name="T39" fmla="*/ 151 h 261"/>
                <a:gd name="T40" fmla="*/ 1 w 199"/>
                <a:gd name="T41" fmla="*/ 151 h 261"/>
                <a:gd name="T42" fmla="*/ 1 w 199"/>
                <a:gd name="T43" fmla="*/ 146 h 261"/>
                <a:gd name="T44" fmla="*/ 4 w 199"/>
                <a:gd name="T45" fmla="*/ 145 h 261"/>
                <a:gd name="T46" fmla="*/ 18 w 199"/>
                <a:gd name="T47" fmla="*/ 139 h 261"/>
                <a:gd name="T48" fmla="*/ 20 w 199"/>
                <a:gd name="T49" fmla="*/ 132 h 261"/>
                <a:gd name="T50" fmla="*/ 7 w 199"/>
                <a:gd name="T51" fmla="*/ 136 h 261"/>
                <a:gd name="T52" fmla="*/ 0 w 199"/>
                <a:gd name="T53" fmla="*/ 125 h 261"/>
                <a:gd name="T54" fmla="*/ 4 w 199"/>
                <a:gd name="T55" fmla="*/ 118 h 261"/>
                <a:gd name="T56" fmla="*/ 12 w 199"/>
                <a:gd name="T57" fmla="*/ 101 h 261"/>
                <a:gd name="T58" fmla="*/ 23 w 199"/>
                <a:gd name="T59" fmla="*/ 88 h 261"/>
                <a:gd name="T60" fmla="*/ 26 w 199"/>
                <a:gd name="T61" fmla="*/ 63 h 261"/>
                <a:gd name="T62" fmla="*/ 18 w 199"/>
                <a:gd name="T63" fmla="*/ 46 h 261"/>
                <a:gd name="T64" fmla="*/ 8 w 199"/>
                <a:gd name="T65" fmla="*/ 26 h 261"/>
                <a:gd name="T66" fmla="*/ 1 w 199"/>
                <a:gd name="T67" fmla="*/ 11 h 261"/>
                <a:gd name="T68" fmla="*/ 4 w 199"/>
                <a:gd name="T69" fmla="*/ 8 h 261"/>
                <a:gd name="T70" fmla="*/ 12 w 199"/>
                <a:gd name="T71" fmla="*/ 0 h 261"/>
                <a:gd name="T72" fmla="*/ 48 w 199"/>
                <a:gd name="T73" fmla="*/ 1 h 261"/>
                <a:gd name="T74" fmla="*/ 51 w 199"/>
                <a:gd name="T75" fmla="*/ 4 h 261"/>
                <a:gd name="T76" fmla="*/ 67 w 199"/>
                <a:gd name="T77" fmla="*/ 5 h 261"/>
                <a:gd name="T78" fmla="*/ 78 w 199"/>
                <a:gd name="T79" fmla="*/ 8 h 261"/>
                <a:gd name="T80" fmla="*/ 93 w 199"/>
                <a:gd name="T81" fmla="*/ 20 h 261"/>
                <a:gd name="T82" fmla="*/ 105 w 199"/>
                <a:gd name="T83" fmla="*/ 29 h 261"/>
                <a:gd name="T84" fmla="*/ 115 w 199"/>
                <a:gd name="T85" fmla="*/ 29 h 261"/>
                <a:gd name="T86" fmla="*/ 129 w 199"/>
                <a:gd name="T87" fmla="*/ 31 h 261"/>
                <a:gd name="T88" fmla="*/ 142 w 199"/>
                <a:gd name="T89" fmla="*/ 31 h 261"/>
                <a:gd name="T90" fmla="*/ 153 w 199"/>
                <a:gd name="T91" fmla="*/ 20 h 261"/>
                <a:gd name="T92" fmla="*/ 168 w 199"/>
                <a:gd name="T93" fmla="*/ 11 h 261"/>
                <a:gd name="T94" fmla="*/ 181 w 199"/>
                <a:gd name="T95" fmla="*/ 18 h 261"/>
                <a:gd name="T96" fmla="*/ 198 w 199"/>
                <a:gd name="T97" fmla="*/ 18 h 261"/>
                <a:gd name="T98" fmla="*/ 199 w 199"/>
                <a:gd name="T99" fmla="*/ 1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9" h="261">
                  <a:moveTo>
                    <a:pt x="199" y="18"/>
                  </a:moveTo>
                  <a:cubicBezTo>
                    <a:pt x="198" y="22"/>
                    <a:pt x="196" y="26"/>
                    <a:pt x="194" y="27"/>
                  </a:cubicBezTo>
                  <a:cubicBezTo>
                    <a:pt x="192" y="28"/>
                    <a:pt x="191" y="31"/>
                    <a:pt x="187" y="37"/>
                  </a:cubicBezTo>
                  <a:cubicBezTo>
                    <a:pt x="183" y="43"/>
                    <a:pt x="180" y="43"/>
                    <a:pt x="179" y="47"/>
                  </a:cubicBezTo>
                  <a:cubicBezTo>
                    <a:pt x="178" y="51"/>
                    <a:pt x="175" y="60"/>
                    <a:pt x="175" y="67"/>
                  </a:cubicBezTo>
                  <a:cubicBezTo>
                    <a:pt x="175" y="74"/>
                    <a:pt x="178" y="151"/>
                    <a:pt x="178" y="151"/>
                  </a:cubicBezTo>
                  <a:cubicBezTo>
                    <a:pt x="178" y="151"/>
                    <a:pt x="190" y="167"/>
                    <a:pt x="191" y="172"/>
                  </a:cubicBezTo>
                  <a:cubicBezTo>
                    <a:pt x="191" y="174"/>
                    <a:pt x="192" y="175"/>
                    <a:pt x="192" y="176"/>
                  </a:cubicBezTo>
                  <a:cubicBezTo>
                    <a:pt x="191" y="177"/>
                    <a:pt x="190" y="179"/>
                    <a:pt x="189" y="180"/>
                  </a:cubicBezTo>
                  <a:cubicBezTo>
                    <a:pt x="182" y="188"/>
                    <a:pt x="179" y="187"/>
                    <a:pt x="173" y="193"/>
                  </a:cubicBezTo>
                  <a:cubicBezTo>
                    <a:pt x="168" y="199"/>
                    <a:pt x="156" y="203"/>
                    <a:pt x="157" y="210"/>
                  </a:cubicBezTo>
                  <a:cubicBezTo>
                    <a:pt x="159" y="217"/>
                    <a:pt x="150" y="228"/>
                    <a:pt x="148" y="230"/>
                  </a:cubicBezTo>
                  <a:cubicBezTo>
                    <a:pt x="147" y="231"/>
                    <a:pt x="144" y="238"/>
                    <a:pt x="143" y="244"/>
                  </a:cubicBezTo>
                  <a:cubicBezTo>
                    <a:pt x="143" y="251"/>
                    <a:pt x="142" y="257"/>
                    <a:pt x="138" y="259"/>
                  </a:cubicBezTo>
                  <a:cubicBezTo>
                    <a:pt x="136" y="260"/>
                    <a:pt x="134" y="260"/>
                    <a:pt x="132" y="261"/>
                  </a:cubicBezTo>
                  <a:cubicBezTo>
                    <a:pt x="127" y="257"/>
                    <a:pt x="99" y="235"/>
                    <a:pt x="96" y="233"/>
                  </a:cubicBezTo>
                  <a:cubicBezTo>
                    <a:pt x="93" y="231"/>
                    <a:pt x="93" y="223"/>
                    <a:pt x="93" y="219"/>
                  </a:cubicBezTo>
                  <a:cubicBezTo>
                    <a:pt x="93" y="214"/>
                    <a:pt x="10" y="163"/>
                    <a:pt x="4" y="160"/>
                  </a:cubicBezTo>
                  <a:cubicBezTo>
                    <a:pt x="4" y="159"/>
                    <a:pt x="4" y="158"/>
                    <a:pt x="4" y="157"/>
                  </a:cubicBezTo>
                  <a:cubicBezTo>
                    <a:pt x="4" y="155"/>
                    <a:pt x="2" y="153"/>
                    <a:pt x="1" y="151"/>
                  </a:cubicBezTo>
                  <a:cubicBezTo>
                    <a:pt x="1" y="151"/>
                    <a:pt x="1" y="151"/>
                    <a:pt x="1" y="151"/>
                  </a:cubicBezTo>
                  <a:cubicBezTo>
                    <a:pt x="1" y="149"/>
                    <a:pt x="1" y="148"/>
                    <a:pt x="1" y="146"/>
                  </a:cubicBezTo>
                  <a:cubicBezTo>
                    <a:pt x="2" y="146"/>
                    <a:pt x="3" y="145"/>
                    <a:pt x="4" y="145"/>
                  </a:cubicBezTo>
                  <a:cubicBezTo>
                    <a:pt x="14" y="144"/>
                    <a:pt x="13" y="140"/>
                    <a:pt x="18" y="139"/>
                  </a:cubicBezTo>
                  <a:cubicBezTo>
                    <a:pt x="22" y="138"/>
                    <a:pt x="26" y="131"/>
                    <a:pt x="20" y="132"/>
                  </a:cubicBezTo>
                  <a:cubicBezTo>
                    <a:pt x="14" y="132"/>
                    <a:pt x="13" y="142"/>
                    <a:pt x="7" y="136"/>
                  </a:cubicBezTo>
                  <a:cubicBezTo>
                    <a:pt x="2" y="131"/>
                    <a:pt x="5" y="127"/>
                    <a:pt x="0" y="125"/>
                  </a:cubicBezTo>
                  <a:cubicBezTo>
                    <a:pt x="1" y="123"/>
                    <a:pt x="2" y="120"/>
                    <a:pt x="4" y="118"/>
                  </a:cubicBezTo>
                  <a:cubicBezTo>
                    <a:pt x="8" y="111"/>
                    <a:pt x="8" y="109"/>
                    <a:pt x="12" y="101"/>
                  </a:cubicBezTo>
                  <a:cubicBezTo>
                    <a:pt x="17" y="93"/>
                    <a:pt x="17" y="94"/>
                    <a:pt x="23" y="88"/>
                  </a:cubicBezTo>
                  <a:cubicBezTo>
                    <a:pt x="29" y="82"/>
                    <a:pt x="26" y="75"/>
                    <a:pt x="26" y="63"/>
                  </a:cubicBezTo>
                  <a:cubicBezTo>
                    <a:pt x="26" y="51"/>
                    <a:pt x="18" y="51"/>
                    <a:pt x="18" y="46"/>
                  </a:cubicBezTo>
                  <a:cubicBezTo>
                    <a:pt x="18" y="40"/>
                    <a:pt x="10" y="30"/>
                    <a:pt x="8" y="26"/>
                  </a:cubicBezTo>
                  <a:cubicBezTo>
                    <a:pt x="6" y="23"/>
                    <a:pt x="5" y="17"/>
                    <a:pt x="1" y="11"/>
                  </a:cubicBezTo>
                  <a:cubicBezTo>
                    <a:pt x="2" y="10"/>
                    <a:pt x="3" y="9"/>
                    <a:pt x="4" y="8"/>
                  </a:cubicBezTo>
                  <a:cubicBezTo>
                    <a:pt x="8" y="5"/>
                    <a:pt x="11" y="1"/>
                    <a:pt x="12" y="0"/>
                  </a:cubicBezTo>
                  <a:cubicBezTo>
                    <a:pt x="14" y="0"/>
                    <a:pt x="44" y="1"/>
                    <a:pt x="48" y="1"/>
                  </a:cubicBezTo>
                  <a:cubicBezTo>
                    <a:pt x="49" y="2"/>
                    <a:pt x="50" y="4"/>
                    <a:pt x="51" y="4"/>
                  </a:cubicBezTo>
                  <a:cubicBezTo>
                    <a:pt x="52" y="5"/>
                    <a:pt x="64" y="5"/>
                    <a:pt x="67" y="5"/>
                  </a:cubicBezTo>
                  <a:cubicBezTo>
                    <a:pt x="70" y="5"/>
                    <a:pt x="73" y="6"/>
                    <a:pt x="78" y="8"/>
                  </a:cubicBezTo>
                  <a:cubicBezTo>
                    <a:pt x="83" y="10"/>
                    <a:pt x="86" y="15"/>
                    <a:pt x="93" y="20"/>
                  </a:cubicBezTo>
                  <a:cubicBezTo>
                    <a:pt x="101" y="25"/>
                    <a:pt x="97" y="23"/>
                    <a:pt x="105" y="29"/>
                  </a:cubicBezTo>
                  <a:cubicBezTo>
                    <a:pt x="113" y="36"/>
                    <a:pt x="108" y="30"/>
                    <a:pt x="115" y="29"/>
                  </a:cubicBezTo>
                  <a:cubicBezTo>
                    <a:pt x="122" y="29"/>
                    <a:pt x="120" y="30"/>
                    <a:pt x="129" y="31"/>
                  </a:cubicBezTo>
                  <a:cubicBezTo>
                    <a:pt x="138" y="32"/>
                    <a:pt x="136" y="33"/>
                    <a:pt x="142" y="31"/>
                  </a:cubicBezTo>
                  <a:cubicBezTo>
                    <a:pt x="148" y="29"/>
                    <a:pt x="146" y="25"/>
                    <a:pt x="153" y="20"/>
                  </a:cubicBezTo>
                  <a:cubicBezTo>
                    <a:pt x="160" y="15"/>
                    <a:pt x="161" y="15"/>
                    <a:pt x="168" y="11"/>
                  </a:cubicBezTo>
                  <a:cubicBezTo>
                    <a:pt x="175" y="8"/>
                    <a:pt x="174" y="14"/>
                    <a:pt x="181" y="18"/>
                  </a:cubicBezTo>
                  <a:cubicBezTo>
                    <a:pt x="187" y="22"/>
                    <a:pt x="190" y="18"/>
                    <a:pt x="198" y="18"/>
                  </a:cubicBezTo>
                  <a:cubicBezTo>
                    <a:pt x="198" y="18"/>
                    <a:pt x="199" y="18"/>
                    <a:pt x="199" y="18"/>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24" name="Freeform 913">
              <a:extLst>
                <a:ext uri="{FF2B5EF4-FFF2-40B4-BE49-F238E27FC236}">
                  <a16:creationId xmlns:a16="http://schemas.microsoft.com/office/drawing/2014/main" id="{1C0ADC54-8518-3D45-9030-3033EEBE498C}"/>
                </a:ext>
              </a:extLst>
            </p:cNvPr>
            <p:cNvSpPr>
              <a:spLocks/>
            </p:cNvSpPr>
            <p:nvPr/>
          </p:nvSpPr>
          <p:spPr bwMode="auto">
            <a:xfrm>
              <a:off x="4318014" y="2521407"/>
              <a:ext cx="455614" cy="504826"/>
            </a:xfrm>
            <a:custGeom>
              <a:avLst/>
              <a:gdLst>
                <a:gd name="T0" fmla="*/ 453 w 478"/>
                <a:gd name="T1" fmla="*/ 127 h 530"/>
                <a:gd name="T2" fmla="*/ 435 w 478"/>
                <a:gd name="T3" fmla="*/ 174 h 530"/>
                <a:gd name="T4" fmla="*/ 425 w 478"/>
                <a:gd name="T5" fmla="*/ 202 h 530"/>
                <a:gd name="T6" fmla="*/ 418 w 478"/>
                <a:gd name="T7" fmla="*/ 228 h 530"/>
                <a:gd name="T8" fmla="*/ 423 w 478"/>
                <a:gd name="T9" fmla="*/ 237 h 530"/>
                <a:gd name="T10" fmla="*/ 423 w 478"/>
                <a:gd name="T11" fmla="*/ 261 h 530"/>
                <a:gd name="T12" fmla="*/ 425 w 478"/>
                <a:gd name="T13" fmla="*/ 321 h 530"/>
                <a:gd name="T14" fmla="*/ 456 w 478"/>
                <a:gd name="T15" fmla="*/ 381 h 530"/>
                <a:gd name="T16" fmla="*/ 432 w 478"/>
                <a:gd name="T17" fmla="*/ 388 h 530"/>
                <a:gd name="T18" fmla="*/ 403 w 478"/>
                <a:gd name="T19" fmla="*/ 411 h 530"/>
                <a:gd name="T20" fmla="*/ 410 w 478"/>
                <a:gd name="T21" fmla="*/ 444 h 530"/>
                <a:gd name="T22" fmla="*/ 407 w 478"/>
                <a:gd name="T23" fmla="*/ 487 h 530"/>
                <a:gd name="T24" fmla="*/ 435 w 478"/>
                <a:gd name="T25" fmla="*/ 494 h 530"/>
                <a:gd name="T26" fmla="*/ 428 w 478"/>
                <a:gd name="T27" fmla="*/ 525 h 530"/>
                <a:gd name="T28" fmla="*/ 406 w 478"/>
                <a:gd name="T29" fmla="*/ 511 h 530"/>
                <a:gd name="T30" fmla="*/ 381 w 478"/>
                <a:gd name="T31" fmla="*/ 496 h 530"/>
                <a:gd name="T32" fmla="*/ 365 w 478"/>
                <a:gd name="T33" fmla="*/ 488 h 530"/>
                <a:gd name="T34" fmla="*/ 327 w 478"/>
                <a:gd name="T35" fmla="*/ 470 h 530"/>
                <a:gd name="T36" fmla="*/ 301 w 478"/>
                <a:gd name="T37" fmla="*/ 463 h 530"/>
                <a:gd name="T38" fmla="*/ 277 w 478"/>
                <a:gd name="T39" fmla="*/ 464 h 530"/>
                <a:gd name="T40" fmla="*/ 249 w 478"/>
                <a:gd name="T41" fmla="*/ 459 h 530"/>
                <a:gd name="T42" fmla="*/ 239 w 478"/>
                <a:gd name="T43" fmla="*/ 412 h 530"/>
                <a:gd name="T44" fmla="*/ 240 w 478"/>
                <a:gd name="T45" fmla="*/ 365 h 530"/>
                <a:gd name="T46" fmla="*/ 203 w 478"/>
                <a:gd name="T47" fmla="*/ 349 h 530"/>
                <a:gd name="T48" fmla="*/ 179 w 478"/>
                <a:gd name="T49" fmla="*/ 378 h 530"/>
                <a:gd name="T50" fmla="*/ 128 w 478"/>
                <a:gd name="T51" fmla="*/ 371 h 530"/>
                <a:gd name="T52" fmla="*/ 108 w 478"/>
                <a:gd name="T53" fmla="*/ 318 h 530"/>
                <a:gd name="T54" fmla="*/ 2 w 478"/>
                <a:gd name="T55" fmla="*/ 323 h 530"/>
                <a:gd name="T56" fmla="*/ 7 w 478"/>
                <a:gd name="T57" fmla="*/ 315 h 530"/>
                <a:gd name="T58" fmla="*/ 23 w 478"/>
                <a:gd name="T59" fmla="*/ 282 h 530"/>
                <a:gd name="T60" fmla="*/ 49 w 478"/>
                <a:gd name="T61" fmla="*/ 275 h 530"/>
                <a:gd name="T62" fmla="*/ 76 w 478"/>
                <a:gd name="T63" fmla="*/ 276 h 530"/>
                <a:gd name="T64" fmla="*/ 100 w 478"/>
                <a:gd name="T65" fmla="*/ 219 h 530"/>
                <a:gd name="T66" fmla="*/ 123 w 478"/>
                <a:gd name="T67" fmla="*/ 183 h 530"/>
                <a:gd name="T68" fmla="*/ 141 w 478"/>
                <a:gd name="T69" fmla="*/ 140 h 530"/>
                <a:gd name="T70" fmla="*/ 153 w 478"/>
                <a:gd name="T71" fmla="*/ 81 h 530"/>
                <a:gd name="T72" fmla="*/ 159 w 478"/>
                <a:gd name="T73" fmla="*/ 43 h 530"/>
                <a:gd name="T74" fmla="*/ 179 w 478"/>
                <a:gd name="T75" fmla="*/ 11 h 530"/>
                <a:gd name="T76" fmla="*/ 221 w 478"/>
                <a:gd name="T77" fmla="*/ 32 h 530"/>
                <a:gd name="T78" fmla="*/ 255 w 478"/>
                <a:gd name="T79" fmla="*/ 36 h 530"/>
                <a:gd name="T80" fmla="*/ 280 w 478"/>
                <a:gd name="T81" fmla="*/ 23 h 530"/>
                <a:gd name="T82" fmla="*/ 311 w 478"/>
                <a:gd name="T83" fmla="*/ 15 h 530"/>
                <a:gd name="T84" fmla="*/ 340 w 478"/>
                <a:gd name="T85" fmla="*/ 6 h 530"/>
                <a:gd name="T86" fmla="*/ 363 w 478"/>
                <a:gd name="T87" fmla="*/ 11 h 530"/>
                <a:gd name="T88" fmla="*/ 383 w 478"/>
                <a:gd name="T89" fmla="*/ 14 h 530"/>
                <a:gd name="T90" fmla="*/ 419 w 478"/>
                <a:gd name="T91" fmla="*/ 29 h 530"/>
                <a:gd name="T92" fmla="*/ 447 w 478"/>
                <a:gd name="T93" fmla="*/ 36 h 530"/>
                <a:gd name="T94" fmla="*/ 462 w 478"/>
                <a:gd name="T95" fmla="*/ 52 h 530"/>
                <a:gd name="T96" fmla="*/ 469 w 478"/>
                <a:gd name="T97" fmla="*/ 68 h 530"/>
                <a:gd name="T98" fmla="*/ 477 w 478"/>
                <a:gd name="T99" fmla="*/ 97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8" h="530">
                  <a:moveTo>
                    <a:pt x="477" y="97"/>
                  </a:moveTo>
                  <a:cubicBezTo>
                    <a:pt x="476" y="101"/>
                    <a:pt x="468" y="103"/>
                    <a:pt x="463" y="111"/>
                  </a:cubicBezTo>
                  <a:cubicBezTo>
                    <a:pt x="459" y="120"/>
                    <a:pt x="459" y="119"/>
                    <a:pt x="453" y="127"/>
                  </a:cubicBezTo>
                  <a:cubicBezTo>
                    <a:pt x="448" y="134"/>
                    <a:pt x="442" y="135"/>
                    <a:pt x="442" y="142"/>
                  </a:cubicBezTo>
                  <a:cubicBezTo>
                    <a:pt x="441" y="150"/>
                    <a:pt x="435" y="152"/>
                    <a:pt x="435" y="156"/>
                  </a:cubicBezTo>
                  <a:cubicBezTo>
                    <a:pt x="435" y="160"/>
                    <a:pt x="434" y="166"/>
                    <a:pt x="435" y="174"/>
                  </a:cubicBezTo>
                  <a:cubicBezTo>
                    <a:pt x="435" y="182"/>
                    <a:pt x="432" y="188"/>
                    <a:pt x="435" y="191"/>
                  </a:cubicBezTo>
                  <a:cubicBezTo>
                    <a:pt x="434" y="192"/>
                    <a:pt x="432" y="193"/>
                    <a:pt x="430" y="195"/>
                  </a:cubicBezTo>
                  <a:cubicBezTo>
                    <a:pt x="427" y="199"/>
                    <a:pt x="425" y="198"/>
                    <a:pt x="425" y="202"/>
                  </a:cubicBezTo>
                  <a:cubicBezTo>
                    <a:pt x="425" y="206"/>
                    <a:pt x="425" y="207"/>
                    <a:pt x="424" y="212"/>
                  </a:cubicBezTo>
                  <a:cubicBezTo>
                    <a:pt x="422" y="218"/>
                    <a:pt x="418" y="217"/>
                    <a:pt x="418" y="221"/>
                  </a:cubicBezTo>
                  <a:cubicBezTo>
                    <a:pt x="418" y="225"/>
                    <a:pt x="413" y="227"/>
                    <a:pt x="418" y="228"/>
                  </a:cubicBezTo>
                  <a:cubicBezTo>
                    <a:pt x="418" y="228"/>
                    <a:pt x="419" y="228"/>
                    <a:pt x="419" y="228"/>
                  </a:cubicBezTo>
                  <a:cubicBezTo>
                    <a:pt x="419" y="228"/>
                    <a:pt x="419" y="228"/>
                    <a:pt x="419" y="228"/>
                  </a:cubicBezTo>
                  <a:cubicBezTo>
                    <a:pt x="422" y="229"/>
                    <a:pt x="421" y="233"/>
                    <a:pt x="423" y="237"/>
                  </a:cubicBezTo>
                  <a:cubicBezTo>
                    <a:pt x="425" y="241"/>
                    <a:pt x="427" y="247"/>
                    <a:pt x="426" y="250"/>
                  </a:cubicBezTo>
                  <a:cubicBezTo>
                    <a:pt x="426" y="251"/>
                    <a:pt x="426" y="254"/>
                    <a:pt x="426" y="257"/>
                  </a:cubicBezTo>
                  <a:cubicBezTo>
                    <a:pt x="425" y="257"/>
                    <a:pt x="424" y="258"/>
                    <a:pt x="423" y="261"/>
                  </a:cubicBezTo>
                  <a:cubicBezTo>
                    <a:pt x="421" y="270"/>
                    <a:pt x="421" y="275"/>
                    <a:pt x="421" y="285"/>
                  </a:cubicBezTo>
                  <a:cubicBezTo>
                    <a:pt x="421" y="295"/>
                    <a:pt x="423" y="298"/>
                    <a:pt x="426" y="306"/>
                  </a:cubicBezTo>
                  <a:cubicBezTo>
                    <a:pt x="429" y="314"/>
                    <a:pt x="424" y="314"/>
                    <a:pt x="425" y="321"/>
                  </a:cubicBezTo>
                  <a:cubicBezTo>
                    <a:pt x="425" y="328"/>
                    <a:pt x="428" y="340"/>
                    <a:pt x="434" y="345"/>
                  </a:cubicBezTo>
                  <a:cubicBezTo>
                    <a:pt x="439" y="350"/>
                    <a:pt x="447" y="346"/>
                    <a:pt x="448" y="359"/>
                  </a:cubicBezTo>
                  <a:cubicBezTo>
                    <a:pt x="449" y="371"/>
                    <a:pt x="455" y="375"/>
                    <a:pt x="456" y="381"/>
                  </a:cubicBezTo>
                  <a:cubicBezTo>
                    <a:pt x="457" y="382"/>
                    <a:pt x="457" y="383"/>
                    <a:pt x="456" y="384"/>
                  </a:cubicBezTo>
                  <a:cubicBezTo>
                    <a:pt x="453" y="385"/>
                    <a:pt x="450" y="385"/>
                    <a:pt x="449" y="386"/>
                  </a:cubicBezTo>
                  <a:cubicBezTo>
                    <a:pt x="448" y="386"/>
                    <a:pt x="444" y="388"/>
                    <a:pt x="432" y="388"/>
                  </a:cubicBezTo>
                  <a:cubicBezTo>
                    <a:pt x="420" y="388"/>
                    <a:pt x="422" y="391"/>
                    <a:pt x="418" y="392"/>
                  </a:cubicBezTo>
                  <a:cubicBezTo>
                    <a:pt x="413" y="393"/>
                    <a:pt x="417" y="398"/>
                    <a:pt x="417" y="402"/>
                  </a:cubicBezTo>
                  <a:cubicBezTo>
                    <a:pt x="417" y="406"/>
                    <a:pt x="408" y="407"/>
                    <a:pt x="403" y="411"/>
                  </a:cubicBezTo>
                  <a:cubicBezTo>
                    <a:pt x="398" y="415"/>
                    <a:pt x="404" y="414"/>
                    <a:pt x="407" y="416"/>
                  </a:cubicBezTo>
                  <a:cubicBezTo>
                    <a:pt x="409" y="417"/>
                    <a:pt x="408" y="424"/>
                    <a:pt x="408" y="429"/>
                  </a:cubicBezTo>
                  <a:cubicBezTo>
                    <a:pt x="409" y="433"/>
                    <a:pt x="409" y="442"/>
                    <a:pt x="410" y="444"/>
                  </a:cubicBezTo>
                  <a:cubicBezTo>
                    <a:pt x="411" y="446"/>
                    <a:pt x="410" y="452"/>
                    <a:pt x="408" y="458"/>
                  </a:cubicBezTo>
                  <a:cubicBezTo>
                    <a:pt x="407" y="464"/>
                    <a:pt x="407" y="468"/>
                    <a:pt x="403" y="473"/>
                  </a:cubicBezTo>
                  <a:cubicBezTo>
                    <a:pt x="399" y="478"/>
                    <a:pt x="402" y="479"/>
                    <a:pt x="407" y="487"/>
                  </a:cubicBezTo>
                  <a:cubicBezTo>
                    <a:pt x="412" y="494"/>
                    <a:pt x="414" y="494"/>
                    <a:pt x="415" y="496"/>
                  </a:cubicBezTo>
                  <a:cubicBezTo>
                    <a:pt x="416" y="498"/>
                    <a:pt x="420" y="501"/>
                    <a:pt x="425" y="501"/>
                  </a:cubicBezTo>
                  <a:cubicBezTo>
                    <a:pt x="431" y="501"/>
                    <a:pt x="430" y="498"/>
                    <a:pt x="435" y="494"/>
                  </a:cubicBezTo>
                  <a:cubicBezTo>
                    <a:pt x="439" y="490"/>
                    <a:pt x="437" y="529"/>
                    <a:pt x="437" y="529"/>
                  </a:cubicBezTo>
                  <a:cubicBezTo>
                    <a:pt x="437" y="529"/>
                    <a:pt x="434" y="530"/>
                    <a:pt x="433" y="527"/>
                  </a:cubicBezTo>
                  <a:cubicBezTo>
                    <a:pt x="433" y="523"/>
                    <a:pt x="430" y="525"/>
                    <a:pt x="428" y="525"/>
                  </a:cubicBezTo>
                  <a:cubicBezTo>
                    <a:pt x="425" y="525"/>
                    <a:pt x="425" y="529"/>
                    <a:pt x="421" y="529"/>
                  </a:cubicBezTo>
                  <a:cubicBezTo>
                    <a:pt x="417" y="530"/>
                    <a:pt x="414" y="526"/>
                    <a:pt x="413" y="522"/>
                  </a:cubicBezTo>
                  <a:cubicBezTo>
                    <a:pt x="412" y="518"/>
                    <a:pt x="407" y="516"/>
                    <a:pt x="406" y="511"/>
                  </a:cubicBezTo>
                  <a:cubicBezTo>
                    <a:pt x="405" y="506"/>
                    <a:pt x="403" y="506"/>
                    <a:pt x="398" y="502"/>
                  </a:cubicBezTo>
                  <a:cubicBezTo>
                    <a:pt x="394" y="499"/>
                    <a:pt x="394" y="499"/>
                    <a:pt x="391" y="498"/>
                  </a:cubicBezTo>
                  <a:cubicBezTo>
                    <a:pt x="388" y="497"/>
                    <a:pt x="384" y="498"/>
                    <a:pt x="381" y="496"/>
                  </a:cubicBezTo>
                  <a:cubicBezTo>
                    <a:pt x="379" y="494"/>
                    <a:pt x="380" y="490"/>
                    <a:pt x="378" y="488"/>
                  </a:cubicBezTo>
                  <a:cubicBezTo>
                    <a:pt x="376" y="485"/>
                    <a:pt x="372" y="481"/>
                    <a:pt x="369" y="480"/>
                  </a:cubicBezTo>
                  <a:cubicBezTo>
                    <a:pt x="367" y="479"/>
                    <a:pt x="366" y="483"/>
                    <a:pt x="365" y="488"/>
                  </a:cubicBezTo>
                  <a:cubicBezTo>
                    <a:pt x="364" y="492"/>
                    <a:pt x="355" y="489"/>
                    <a:pt x="346" y="488"/>
                  </a:cubicBezTo>
                  <a:cubicBezTo>
                    <a:pt x="338" y="486"/>
                    <a:pt x="336" y="484"/>
                    <a:pt x="330" y="481"/>
                  </a:cubicBezTo>
                  <a:cubicBezTo>
                    <a:pt x="323" y="477"/>
                    <a:pt x="327" y="476"/>
                    <a:pt x="327" y="470"/>
                  </a:cubicBezTo>
                  <a:cubicBezTo>
                    <a:pt x="326" y="465"/>
                    <a:pt x="322" y="470"/>
                    <a:pt x="311" y="470"/>
                  </a:cubicBezTo>
                  <a:cubicBezTo>
                    <a:pt x="300" y="470"/>
                    <a:pt x="309" y="472"/>
                    <a:pt x="304" y="473"/>
                  </a:cubicBezTo>
                  <a:cubicBezTo>
                    <a:pt x="299" y="475"/>
                    <a:pt x="304" y="467"/>
                    <a:pt x="301" y="463"/>
                  </a:cubicBezTo>
                  <a:cubicBezTo>
                    <a:pt x="298" y="459"/>
                    <a:pt x="298" y="462"/>
                    <a:pt x="295" y="462"/>
                  </a:cubicBezTo>
                  <a:cubicBezTo>
                    <a:pt x="295" y="462"/>
                    <a:pt x="294" y="462"/>
                    <a:pt x="294" y="461"/>
                  </a:cubicBezTo>
                  <a:cubicBezTo>
                    <a:pt x="289" y="460"/>
                    <a:pt x="286" y="463"/>
                    <a:pt x="277" y="464"/>
                  </a:cubicBezTo>
                  <a:cubicBezTo>
                    <a:pt x="269" y="464"/>
                    <a:pt x="267" y="464"/>
                    <a:pt x="259" y="466"/>
                  </a:cubicBezTo>
                  <a:cubicBezTo>
                    <a:pt x="251" y="467"/>
                    <a:pt x="257" y="467"/>
                    <a:pt x="251" y="466"/>
                  </a:cubicBezTo>
                  <a:cubicBezTo>
                    <a:pt x="244" y="464"/>
                    <a:pt x="249" y="462"/>
                    <a:pt x="249" y="459"/>
                  </a:cubicBezTo>
                  <a:cubicBezTo>
                    <a:pt x="250" y="456"/>
                    <a:pt x="252" y="451"/>
                    <a:pt x="252" y="447"/>
                  </a:cubicBezTo>
                  <a:cubicBezTo>
                    <a:pt x="252" y="443"/>
                    <a:pt x="247" y="434"/>
                    <a:pt x="242" y="427"/>
                  </a:cubicBezTo>
                  <a:cubicBezTo>
                    <a:pt x="236" y="420"/>
                    <a:pt x="239" y="418"/>
                    <a:pt x="239" y="412"/>
                  </a:cubicBezTo>
                  <a:cubicBezTo>
                    <a:pt x="239" y="407"/>
                    <a:pt x="242" y="398"/>
                    <a:pt x="244" y="390"/>
                  </a:cubicBezTo>
                  <a:cubicBezTo>
                    <a:pt x="246" y="382"/>
                    <a:pt x="243" y="384"/>
                    <a:pt x="241" y="380"/>
                  </a:cubicBezTo>
                  <a:cubicBezTo>
                    <a:pt x="239" y="377"/>
                    <a:pt x="238" y="369"/>
                    <a:pt x="240" y="365"/>
                  </a:cubicBezTo>
                  <a:cubicBezTo>
                    <a:pt x="243" y="361"/>
                    <a:pt x="239" y="358"/>
                    <a:pt x="224" y="358"/>
                  </a:cubicBezTo>
                  <a:cubicBezTo>
                    <a:pt x="210" y="357"/>
                    <a:pt x="210" y="355"/>
                    <a:pt x="210" y="351"/>
                  </a:cubicBezTo>
                  <a:cubicBezTo>
                    <a:pt x="210" y="347"/>
                    <a:pt x="205" y="345"/>
                    <a:pt x="203" y="349"/>
                  </a:cubicBezTo>
                  <a:cubicBezTo>
                    <a:pt x="200" y="353"/>
                    <a:pt x="188" y="350"/>
                    <a:pt x="184" y="349"/>
                  </a:cubicBezTo>
                  <a:cubicBezTo>
                    <a:pt x="181" y="348"/>
                    <a:pt x="185" y="364"/>
                    <a:pt x="180" y="367"/>
                  </a:cubicBezTo>
                  <a:cubicBezTo>
                    <a:pt x="176" y="370"/>
                    <a:pt x="179" y="373"/>
                    <a:pt x="179" y="378"/>
                  </a:cubicBezTo>
                  <a:cubicBezTo>
                    <a:pt x="179" y="383"/>
                    <a:pt x="169" y="379"/>
                    <a:pt x="164" y="378"/>
                  </a:cubicBezTo>
                  <a:cubicBezTo>
                    <a:pt x="159" y="377"/>
                    <a:pt x="154" y="380"/>
                    <a:pt x="144" y="380"/>
                  </a:cubicBezTo>
                  <a:cubicBezTo>
                    <a:pt x="134" y="380"/>
                    <a:pt x="131" y="379"/>
                    <a:pt x="128" y="371"/>
                  </a:cubicBezTo>
                  <a:cubicBezTo>
                    <a:pt x="125" y="363"/>
                    <a:pt x="123" y="365"/>
                    <a:pt x="121" y="358"/>
                  </a:cubicBezTo>
                  <a:cubicBezTo>
                    <a:pt x="119" y="350"/>
                    <a:pt x="115" y="346"/>
                    <a:pt x="114" y="341"/>
                  </a:cubicBezTo>
                  <a:cubicBezTo>
                    <a:pt x="112" y="335"/>
                    <a:pt x="110" y="321"/>
                    <a:pt x="108" y="318"/>
                  </a:cubicBezTo>
                  <a:cubicBezTo>
                    <a:pt x="106" y="315"/>
                    <a:pt x="44" y="320"/>
                    <a:pt x="34" y="319"/>
                  </a:cubicBezTo>
                  <a:cubicBezTo>
                    <a:pt x="24" y="318"/>
                    <a:pt x="24" y="319"/>
                    <a:pt x="16" y="321"/>
                  </a:cubicBezTo>
                  <a:cubicBezTo>
                    <a:pt x="10" y="323"/>
                    <a:pt x="6" y="323"/>
                    <a:pt x="2" y="323"/>
                  </a:cubicBezTo>
                  <a:cubicBezTo>
                    <a:pt x="2" y="322"/>
                    <a:pt x="1" y="320"/>
                    <a:pt x="0" y="317"/>
                  </a:cubicBezTo>
                  <a:cubicBezTo>
                    <a:pt x="0" y="317"/>
                    <a:pt x="0" y="317"/>
                    <a:pt x="0" y="317"/>
                  </a:cubicBezTo>
                  <a:cubicBezTo>
                    <a:pt x="4" y="317"/>
                    <a:pt x="7" y="316"/>
                    <a:pt x="7" y="315"/>
                  </a:cubicBezTo>
                  <a:cubicBezTo>
                    <a:pt x="10" y="309"/>
                    <a:pt x="14" y="302"/>
                    <a:pt x="12" y="297"/>
                  </a:cubicBezTo>
                  <a:cubicBezTo>
                    <a:pt x="10" y="292"/>
                    <a:pt x="9" y="292"/>
                    <a:pt x="17" y="288"/>
                  </a:cubicBezTo>
                  <a:cubicBezTo>
                    <a:pt x="20" y="287"/>
                    <a:pt x="22" y="284"/>
                    <a:pt x="23" y="282"/>
                  </a:cubicBezTo>
                  <a:cubicBezTo>
                    <a:pt x="23" y="283"/>
                    <a:pt x="24" y="284"/>
                    <a:pt x="24" y="285"/>
                  </a:cubicBezTo>
                  <a:cubicBezTo>
                    <a:pt x="28" y="290"/>
                    <a:pt x="30" y="285"/>
                    <a:pt x="35" y="284"/>
                  </a:cubicBezTo>
                  <a:cubicBezTo>
                    <a:pt x="40" y="283"/>
                    <a:pt x="44" y="276"/>
                    <a:pt x="49" y="275"/>
                  </a:cubicBezTo>
                  <a:cubicBezTo>
                    <a:pt x="55" y="273"/>
                    <a:pt x="54" y="283"/>
                    <a:pt x="54" y="289"/>
                  </a:cubicBezTo>
                  <a:cubicBezTo>
                    <a:pt x="55" y="294"/>
                    <a:pt x="60" y="292"/>
                    <a:pt x="67" y="289"/>
                  </a:cubicBezTo>
                  <a:cubicBezTo>
                    <a:pt x="74" y="286"/>
                    <a:pt x="71" y="284"/>
                    <a:pt x="76" y="276"/>
                  </a:cubicBezTo>
                  <a:cubicBezTo>
                    <a:pt x="81" y="269"/>
                    <a:pt x="82" y="272"/>
                    <a:pt x="91" y="263"/>
                  </a:cubicBezTo>
                  <a:cubicBezTo>
                    <a:pt x="100" y="255"/>
                    <a:pt x="96" y="256"/>
                    <a:pt x="100" y="249"/>
                  </a:cubicBezTo>
                  <a:cubicBezTo>
                    <a:pt x="104" y="243"/>
                    <a:pt x="102" y="232"/>
                    <a:pt x="100" y="219"/>
                  </a:cubicBezTo>
                  <a:cubicBezTo>
                    <a:pt x="99" y="207"/>
                    <a:pt x="103" y="212"/>
                    <a:pt x="106" y="209"/>
                  </a:cubicBezTo>
                  <a:cubicBezTo>
                    <a:pt x="110" y="207"/>
                    <a:pt x="112" y="202"/>
                    <a:pt x="112" y="196"/>
                  </a:cubicBezTo>
                  <a:cubicBezTo>
                    <a:pt x="112" y="190"/>
                    <a:pt x="120" y="187"/>
                    <a:pt x="123" y="183"/>
                  </a:cubicBezTo>
                  <a:cubicBezTo>
                    <a:pt x="126" y="180"/>
                    <a:pt x="133" y="175"/>
                    <a:pt x="138" y="169"/>
                  </a:cubicBezTo>
                  <a:cubicBezTo>
                    <a:pt x="142" y="162"/>
                    <a:pt x="138" y="162"/>
                    <a:pt x="140" y="155"/>
                  </a:cubicBezTo>
                  <a:cubicBezTo>
                    <a:pt x="143" y="148"/>
                    <a:pt x="143" y="147"/>
                    <a:pt x="141" y="140"/>
                  </a:cubicBezTo>
                  <a:cubicBezTo>
                    <a:pt x="139" y="133"/>
                    <a:pt x="143" y="133"/>
                    <a:pt x="144" y="122"/>
                  </a:cubicBezTo>
                  <a:cubicBezTo>
                    <a:pt x="146" y="112"/>
                    <a:pt x="145" y="109"/>
                    <a:pt x="146" y="100"/>
                  </a:cubicBezTo>
                  <a:cubicBezTo>
                    <a:pt x="147" y="90"/>
                    <a:pt x="149" y="91"/>
                    <a:pt x="153" y="81"/>
                  </a:cubicBezTo>
                  <a:cubicBezTo>
                    <a:pt x="157" y="72"/>
                    <a:pt x="156" y="75"/>
                    <a:pt x="157" y="65"/>
                  </a:cubicBezTo>
                  <a:cubicBezTo>
                    <a:pt x="157" y="61"/>
                    <a:pt x="159" y="58"/>
                    <a:pt x="160" y="54"/>
                  </a:cubicBezTo>
                  <a:cubicBezTo>
                    <a:pt x="160" y="51"/>
                    <a:pt x="161" y="48"/>
                    <a:pt x="159" y="43"/>
                  </a:cubicBezTo>
                  <a:cubicBezTo>
                    <a:pt x="155" y="35"/>
                    <a:pt x="158" y="35"/>
                    <a:pt x="159" y="29"/>
                  </a:cubicBezTo>
                  <a:cubicBezTo>
                    <a:pt x="160" y="24"/>
                    <a:pt x="166" y="28"/>
                    <a:pt x="171" y="21"/>
                  </a:cubicBezTo>
                  <a:cubicBezTo>
                    <a:pt x="176" y="14"/>
                    <a:pt x="173" y="14"/>
                    <a:pt x="179" y="11"/>
                  </a:cubicBezTo>
                  <a:cubicBezTo>
                    <a:pt x="185" y="7"/>
                    <a:pt x="189" y="14"/>
                    <a:pt x="197" y="18"/>
                  </a:cubicBezTo>
                  <a:cubicBezTo>
                    <a:pt x="206" y="21"/>
                    <a:pt x="204" y="25"/>
                    <a:pt x="206" y="28"/>
                  </a:cubicBezTo>
                  <a:cubicBezTo>
                    <a:pt x="208" y="32"/>
                    <a:pt x="216" y="32"/>
                    <a:pt x="221" y="32"/>
                  </a:cubicBezTo>
                  <a:cubicBezTo>
                    <a:pt x="225" y="32"/>
                    <a:pt x="226" y="34"/>
                    <a:pt x="232" y="33"/>
                  </a:cubicBezTo>
                  <a:cubicBezTo>
                    <a:pt x="237" y="33"/>
                    <a:pt x="237" y="34"/>
                    <a:pt x="244" y="36"/>
                  </a:cubicBezTo>
                  <a:cubicBezTo>
                    <a:pt x="251" y="39"/>
                    <a:pt x="250" y="37"/>
                    <a:pt x="255" y="36"/>
                  </a:cubicBezTo>
                  <a:cubicBezTo>
                    <a:pt x="261" y="35"/>
                    <a:pt x="258" y="30"/>
                    <a:pt x="262" y="24"/>
                  </a:cubicBezTo>
                  <a:cubicBezTo>
                    <a:pt x="266" y="17"/>
                    <a:pt x="269" y="20"/>
                    <a:pt x="270" y="22"/>
                  </a:cubicBezTo>
                  <a:cubicBezTo>
                    <a:pt x="270" y="23"/>
                    <a:pt x="273" y="24"/>
                    <a:pt x="280" y="23"/>
                  </a:cubicBezTo>
                  <a:cubicBezTo>
                    <a:pt x="286" y="23"/>
                    <a:pt x="285" y="22"/>
                    <a:pt x="291" y="20"/>
                  </a:cubicBezTo>
                  <a:cubicBezTo>
                    <a:pt x="296" y="18"/>
                    <a:pt x="301" y="17"/>
                    <a:pt x="304" y="16"/>
                  </a:cubicBezTo>
                  <a:cubicBezTo>
                    <a:pt x="307" y="14"/>
                    <a:pt x="308" y="13"/>
                    <a:pt x="311" y="15"/>
                  </a:cubicBezTo>
                  <a:cubicBezTo>
                    <a:pt x="313" y="17"/>
                    <a:pt x="316" y="15"/>
                    <a:pt x="321" y="15"/>
                  </a:cubicBezTo>
                  <a:cubicBezTo>
                    <a:pt x="327" y="14"/>
                    <a:pt x="327" y="11"/>
                    <a:pt x="327" y="6"/>
                  </a:cubicBezTo>
                  <a:cubicBezTo>
                    <a:pt x="327" y="0"/>
                    <a:pt x="336" y="4"/>
                    <a:pt x="340" y="6"/>
                  </a:cubicBezTo>
                  <a:cubicBezTo>
                    <a:pt x="344" y="8"/>
                    <a:pt x="342" y="6"/>
                    <a:pt x="347" y="6"/>
                  </a:cubicBezTo>
                  <a:cubicBezTo>
                    <a:pt x="353" y="6"/>
                    <a:pt x="350" y="7"/>
                    <a:pt x="354" y="8"/>
                  </a:cubicBezTo>
                  <a:cubicBezTo>
                    <a:pt x="357" y="10"/>
                    <a:pt x="359" y="12"/>
                    <a:pt x="363" y="11"/>
                  </a:cubicBezTo>
                  <a:cubicBezTo>
                    <a:pt x="366" y="10"/>
                    <a:pt x="367" y="12"/>
                    <a:pt x="373" y="11"/>
                  </a:cubicBezTo>
                  <a:cubicBezTo>
                    <a:pt x="376" y="11"/>
                    <a:pt x="377" y="10"/>
                    <a:pt x="377" y="9"/>
                  </a:cubicBezTo>
                  <a:cubicBezTo>
                    <a:pt x="379" y="10"/>
                    <a:pt x="381" y="11"/>
                    <a:pt x="383" y="14"/>
                  </a:cubicBezTo>
                  <a:cubicBezTo>
                    <a:pt x="387" y="19"/>
                    <a:pt x="387" y="19"/>
                    <a:pt x="393" y="26"/>
                  </a:cubicBezTo>
                  <a:cubicBezTo>
                    <a:pt x="398" y="33"/>
                    <a:pt x="399" y="34"/>
                    <a:pt x="405" y="32"/>
                  </a:cubicBezTo>
                  <a:cubicBezTo>
                    <a:pt x="410" y="31"/>
                    <a:pt x="418" y="27"/>
                    <a:pt x="419" y="29"/>
                  </a:cubicBezTo>
                  <a:cubicBezTo>
                    <a:pt x="420" y="31"/>
                    <a:pt x="425" y="32"/>
                    <a:pt x="427" y="29"/>
                  </a:cubicBezTo>
                  <a:cubicBezTo>
                    <a:pt x="429" y="26"/>
                    <a:pt x="432" y="20"/>
                    <a:pt x="436" y="25"/>
                  </a:cubicBezTo>
                  <a:cubicBezTo>
                    <a:pt x="440" y="30"/>
                    <a:pt x="442" y="31"/>
                    <a:pt x="447" y="36"/>
                  </a:cubicBezTo>
                  <a:cubicBezTo>
                    <a:pt x="451" y="41"/>
                    <a:pt x="454" y="43"/>
                    <a:pt x="456" y="45"/>
                  </a:cubicBezTo>
                  <a:cubicBezTo>
                    <a:pt x="459" y="46"/>
                    <a:pt x="459" y="47"/>
                    <a:pt x="459" y="49"/>
                  </a:cubicBezTo>
                  <a:cubicBezTo>
                    <a:pt x="460" y="51"/>
                    <a:pt x="458" y="51"/>
                    <a:pt x="462" y="52"/>
                  </a:cubicBezTo>
                  <a:cubicBezTo>
                    <a:pt x="464" y="52"/>
                    <a:pt x="466" y="52"/>
                    <a:pt x="467" y="52"/>
                  </a:cubicBezTo>
                  <a:cubicBezTo>
                    <a:pt x="466" y="55"/>
                    <a:pt x="465" y="57"/>
                    <a:pt x="467" y="59"/>
                  </a:cubicBezTo>
                  <a:cubicBezTo>
                    <a:pt x="469" y="62"/>
                    <a:pt x="470" y="62"/>
                    <a:pt x="469" y="68"/>
                  </a:cubicBezTo>
                  <a:cubicBezTo>
                    <a:pt x="467" y="74"/>
                    <a:pt x="466" y="75"/>
                    <a:pt x="466" y="80"/>
                  </a:cubicBezTo>
                  <a:cubicBezTo>
                    <a:pt x="466" y="85"/>
                    <a:pt x="462" y="82"/>
                    <a:pt x="469" y="86"/>
                  </a:cubicBezTo>
                  <a:cubicBezTo>
                    <a:pt x="477" y="90"/>
                    <a:pt x="478" y="93"/>
                    <a:pt x="477" y="97"/>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25" name="Freeform 914">
              <a:extLst>
                <a:ext uri="{FF2B5EF4-FFF2-40B4-BE49-F238E27FC236}">
                  <a16:creationId xmlns:a16="http://schemas.microsoft.com/office/drawing/2014/main" id="{9EE4869A-C1DF-254A-912C-DDB097507AA8}"/>
                </a:ext>
              </a:extLst>
            </p:cNvPr>
            <p:cNvSpPr>
              <a:spLocks/>
            </p:cNvSpPr>
            <p:nvPr/>
          </p:nvSpPr>
          <p:spPr bwMode="auto">
            <a:xfrm>
              <a:off x="4289439" y="2569033"/>
              <a:ext cx="180976" cy="231775"/>
            </a:xfrm>
            <a:custGeom>
              <a:avLst/>
              <a:gdLst>
                <a:gd name="T0" fmla="*/ 187 w 190"/>
                <a:gd name="T1" fmla="*/ 15 h 244"/>
                <a:gd name="T2" fmla="*/ 176 w 190"/>
                <a:gd name="T3" fmla="*/ 50 h 244"/>
                <a:gd name="T4" fmla="*/ 171 w 190"/>
                <a:gd name="T5" fmla="*/ 90 h 244"/>
                <a:gd name="T6" fmla="*/ 168 w 190"/>
                <a:gd name="T7" fmla="*/ 119 h 244"/>
                <a:gd name="T8" fmla="*/ 142 w 190"/>
                <a:gd name="T9" fmla="*/ 146 h 244"/>
                <a:gd name="T10" fmla="*/ 130 w 190"/>
                <a:gd name="T11" fmla="*/ 169 h 244"/>
                <a:gd name="T12" fmla="*/ 121 w 190"/>
                <a:gd name="T13" fmla="*/ 213 h 244"/>
                <a:gd name="T14" fmla="*/ 97 w 190"/>
                <a:gd name="T15" fmla="*/ 239 h 244"/>
                <a:gd name="T16" fmla="*/ 79 w 190"/>
                <a:gd name="T17" fmla="*/ 225 h 244"/>
                <a:gd name="T18" fmla="*/ 54 w 190"/>
                <a:gd name="T19" fmla="*/ 235 h 244"/>
                <a:gd name="T20" fmla="*/ 45 w 190"/>
                <a:gd name="T21" fmla="*/ 229 h 244"/>
                <a:gd name="T22" fmla="*/ 28 w 190"/>
                <a:gd name="T23" fmla="*/ 237 h 244"/>
                <a:gd name="T24" fmla="*/ 20 w 190"/>
                <a:gd name="T25" fmla="*/ 233 h 244"/>
                <a:gd name="T26" fmla="*/ 0 w 190"/>
                <a:gd name="T27" fmla="*/ 214 h 244"/>
                <a:gd name="T28" fmla="*/ 16 w 190"/>
                <a:gd name="T29" fmla="*/ 206 h 244"/>
                <a:gd name="T30" fmla="*/ 20 w 190"/>
                <a:gd name="T31" fmla="*/ 196 h 244"/>
                <a:gd name="T32" fmla="*/ 15 w 190"/>
                <a:gd name="T33" fmla="*/ 182 h 244"/>
                <a:gd name="T34" fmla="*/ 28 w 190"/>
                <a:gd name="T35" fmla="*/ 170 h 244"/>
                <a:gd name="T36" fmla="*/ 35 w 190"/>
                <a:gd name="T37" fmla="*/ 156 h 244"/>
                <a:gd name="T38" fmla="*/ 50 w 190"/>
                <a:gd name="T39" fmla="*/ 170 h 244"/>
                <a:gd name="T40" fmla="*/ 67 w 190"/>
                <a:gd name="T41" fmla="*/ 164 h 244"/>
                <a:gd name="T42" fmla="*/ 80 w 190"/>
                <a:gd name="T43" fmla="*/ 170 h 244"/>
                <a:gd name="T44" fmla="*/ 87 w 190"/>
                <a:gd name="T45" fmla="*/ 146 h 244"/>
                <a:gd name="T46" fmla="*/ 89 w 190"/>
                <a:gd name="T47" fmla="*/ 126 h 244"/>
                <a:gd name="T48" fmla="*/ 73 w 190"/>
                <a:gd name="T49" fmla="*/ 111 h 244"/>
                <a:gd name="T50" fmla="*/ 79 w 190"/>
                <a:gd name="T51" fmla="*/ 88 h 244"/>
                <a:gd name="T52" fmla="*/ 79 w 190"/>
                <a:gd name="T53" fmla="*/ 66 h 244"/>
                <a:gd name="T54" fmla="*/ 56 w 190"/>
                <a:gd name="T55" fmla="*/ 70 h 244"/>
                <a:gd name="T56" fmla="*/ 57 w 190"/>
                <a:gd name="T57" fmla="*/ 47 h 244"/>
                <a:gd name="T58" fmla="*/ 60 w 190"/>
                <a:gd name="T59" fmla="*/ 43 h 244"/>
                <a:gd name="T60" fmla="*/ 90 w 190"/>
                <a:gd name="T61" fmla="*/ 42 h 244"/>
                <a:gd name="T62" fmla="*/ 118 w 190"/>
                <a:gd name="T63" fmla="*/ 50 h 244"/>
                <a:gd name="T64" fmla="*/ 125 w 190"/>
                <a:gd name="T65" fmla="*/ 51 h 244"/>
                <a:gd name="T66" fmla="*/ 130 w 190"/>
                <a:gd name="T67" fmla="*/ 40 h 244"/>
                <a:gd name="T68" fmla="*/ 137 w 190"/>
                <a:gd name="T69" fmla="*/ 21 h 244"/>
                <a:gd name="T70" fmla="*/ 143 w 190"/>
                <a:gd name="T71" fmla="*/ 5 h 244"/>
                <a:gd name="T72" fmla="*/ 164 w 190"/>
                <a:gd name="T73" fmla="*/ 1 h 244"/>
                <a:gd name="T74" fmla="*/ 180 w 190"/>
                <a:gd name="T75" fmla="*/ 5 h 244"/>
                <a:gd name="T76" fmla="*/ 190 w 190"/>
                <a:gd name="T77" fmla="*/ 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0" h="244">
                  <a:moveTo>
                    <a:pt x="190" y="4"/>
                  </a:moveTo>
                  <a:cubicBezTo>
                    <a:pt x="189" y="8"/>
                    <a:pt x="187" y="11"/>
                    <a:pt x="187" y="15"/>
                  </a:cubicBezTo>
                  <a:cubicBezTo>
                    <a:pt x="186" y="25"/>
                    <a:pt x="187" y="22"/>
                    <a:pt x="183" y="31"/>
                  </a:cubicBezTo>
                  <a:cubicBezTo>
                    <a:pt x="179" y="41"/>
                    <a:pt x="177" y="40"/>
                    <a:pt x="176" y="50"/>
                  </a:cubicBezTo>
                  <a:cubicBezTo>
                    <a:pt x="175" y="59"/>
                    <a:pt x="176" y="62"/>
                    <a:pt x="174" y="72"/>
                  </a:cubicBezTo>
                  <a:cubicBezTo>
                    <a:pt x="173" y="83"/>
                    <a:pt x="169" y="83"/>
                    <a:pt x="171" y="90"/>
                  </a:cubicBezTo>
                  <a:cubicBezTo>
                    <a:pt x="173" y="97"/>
                    <a:pt x="173" y="98"/>
                    <a:pt x="170" y="105"/>
                  </a:cubicBezTo>
                  <a:cubicBezTo>
                    <a:pt x="168" y="112"/>
                    <a:pt x="172" y="112"/>
                    <a:pt x="168" y="119"/>
                  </a:cubicBezTo>
                  <a:cubicBezTo>
                    <a:pt x="163" y="125"/>
                    <a:pt x="156" y="130"/>
                    <a:pt x="153" y="133"/>
                  </a:cubicBezTo>
                  <a:cubicBezTo>
                    <a:pt x="150" y="137"/>
                    <a:pt x="142" y="140"/>
                    <a:pt x="142" y="146"/>
                  </a:cubicBezTo>
                  <a:cubicBezTo>
                    <a:pt x="142" y="152"/>
                    <a:pt x="140" y="157"/>
                    <a:pt x="136" y="159"/>
                  </a:cubicBezTo>
                  <a:cubicBezTo>
                    <a:pt x="133" y="162"/>
                    <a:pt x="129" y="157"/>
                    <a:pt x="130" y="169"/>
                  </a:cubicBezTo>
                  <a:cubicBezTo>
                    <a:pt x="132" y="182"/>
                    <a:pt x="134" y="193"/>
                    <a:pt x="130" y="199"/>
                  </a:cubicBezTo>
                  <a:cubicBezTo>
                    <a:pt x="126" y="206"/>
                    <a:pt x="130" y="205"/>
                    <a:pt x="121" y="213"/>
                  </a:cubicBezTo>
                  <a:cubicBezTo>
                    <a:pt x="112" y="222"/>
                    <a:pt x="111" y="219"/>
                    <a:pt x="106" y="226"/>
                  </a:cubicBezTo>
                  <a:cubicBezTo>
                    <a:pt x="101" y="234"/>
                    <a:pt x="104" y="236"/>
                    <a:pt x="97" y="239"/>
                  </a:cubicBezTo>
                  <a:cubicBezTo>
                    <a:pt x="90" y="242"/>
                    <a:pt x="85" y="244"/>
                    <a:pt x="84" y="239"/>
                  </a:cubicBezTo>
                  <a:cubicBezTo>
                    <a:pt x="84" y="233"/>
                    <a:pt x="85" y="223"/>
                    <a:pt x="79" y="225"/>
                  </a:cubicBezTo>
                  <a:cubicBezTo>
                    <a:pt x="74" y="226"/>
                    <a:pt x="70" y="233"/>
                    <a:pt x="65" y="234"/>
                  </a:cubicBezTo>
                  <a:cubicBezTo>
                    <a:pt x="60" y="235"/>
                    <a:pt x="58" y="240"/>
                    <a:pt x="54" y="235"/>
                  </a:cubicBezTo>
                  <a:cubicBezTo>
                    <a:pt x="54" y="234"/>
                    <a:pt x="53" y="233"/>
                    <a:pt x="53" y="232"/>
                  </a:cubicBezTo>
                  <a:cubicBezTo>
                    <a:pt x="50" y="229"/>
                    <a:pt x="48" y="228"/>
                    <a:pt x="45" y="229"/>
                  </a:cubicBezTo>
                  <a:cubicBezTo>
                    <a:pt x="41" y="229"/>
                    <a:pt x="43" y="230"/>
                    <a:pt x="38" y="233"/>
                  </a:cubicBezTo>
                  <a:cubicBezTo>
                    <a:pt x="32" y="236"/>
                    <a:pt x="31" y="233"/>
                    <a:pt x="28" y="237"/>
                  </a:cubicBezTo>
                  <a:cubicBezTo>
                    <a:pt x="27" y="239"/>
                    <a:pt x="26" y="241"/>
                    <a:pt x="26" y="242"/>
                  </a:cubicBezTo>
                  <a:cubicBezTo>
                    <a:pt x="24" y="240"/>
                    <a:pt x="22" y="237"/>
                    <a:pt x="20" y="233"/>
                  </a:cubicBezTo>
                  <a:cubicBezTo>
                    <a:pt x="14" y="225"/>
                    <a:pt x="13" y="220"/>
                    <a:pt x="9" y="217"/>
                  </a:cubicBezTo>
                  <a:cubicBezTo>
                    <a:pt x="6" y="216"/>
                    <a:pt x="3" y="215"/>
                    <a:pt x="0" y="214"/>
                  </a:cubicBezTo>
                  <a:cubicBezTo>
                    <a:pt x="2" y="211"/>
                    <a:pt x="7" y="207"/>
                    <a:pt x="9" y="205"/>
                  </a:cubicBezTo>
                  <a:cubicBezTo>
                    <a:pt x="12" y="202"/>
                    <a:pt x="12" y="202"/>
                    <a:pt x="16" y="206"/>
                  </a:cubicBezTo>
                  <a:cubicBezTo>
                    <a:pt x="21" y="211"/>
                    <a:pt x="21" y="207"/>
                    <a:pt x="22" y="204"/>
                  </a:cubicBezTo>
                  <a:cubicBezTo>
                    <a:pt x="22" y="201"/>
                    <a:pt x="24" y="197"/>
                    <a:pt x="20" y="196"/>
                  </a:cubicBezTo>
                  <a:cubicBezTo>
                    <a:pt x="17" y="194"/>
                    <a:pt x="18" y="193"/>
                    <a:pt x="18" y="191"/>
                  </a:cubicBezTo>
                  <a:cubicBezTo>
                    <a:pt x="19" y="188"/>
                    <a:pt x="18" y="186"/>
                    <a:pt x="15" y="182"/>
                  </a:cubicBezTo>
                  <a:cubicBezTo>
                    <a:pt x="12" y="178"/>
                    <a:pt x="15" y="176"/>
                    <a:pt x="15" y="170"/>
                  </a:cubicBezTo>
                  <a:cubicBezTo>
                    <a:pt x="14" y="165"/>
                    <a:pt x="22" y="170"/>
                    <a:pt x="28" y="170"/>
                  </a:cubicBezTo>
                  <a:cubicBezTo>
                    <a:pt x="34" y="170"/>
                    <a:pt x="32" y="170"/>
                    <a:pt x="36" y="168"/>
                  </a:cubicBezTo>
                  <a:cubicBezTo>
                    <a:pt x="41" y="166"/>
                    <a:pt x="36" y="162"/>
                    <a:pt x="35" y="156"/>
                  </a:cubicBezTo>
                  <a:cubicBezTo>
                    <a:pt x="34" y="150"/>
                    <a:pt x="43" y="157"/>
                    <a:pt x="45" y="160"/>
                  </a:cubicBezTo>
                  <a:cubicBezTo>
                    <a:pt x="48" y="163"/>
                    <a:pt x="51" y="167"/>
                    <a:pt x="50" y="170"/>
                  </a:cubicBezTo>
                  <a:cubicBezTo>
                    <a:pt x="49" y="174"/>
                    <a:pt x="56" y="171"/>
                    <a:pt x="60" y="172"/>
                  </a:cubicBezTo>
                  <a:cubicBezTo>
                    <a:pt x="65" y="172"/>
                    <a:pt x="66" y="168"/>
                    <a:pt x="67" y="164"/>
                  </a:cubicBezTo>
                  <a:cubicBezTo>
                    <a:pt x="68" y="160"/>
                    <a:pt x="72" y="170"/>
                    <a:pt x="72" y="172"/>
                  </a:cubicBezTo>
                  <a:cubicBezTo>
                    <a:pt x="73" y="174"/>
                    <a:pt x="77" y="173"/>
                    <a:pt x="80" y="170"/>
                  </a:cubicBezTo>
                  <a:cubicBezTo>
                    <a:pt x="82" y="168"/>
                    <a:pt x="79" y="162"/>
                    <a:pt x="82" y="158"/>
                  </a:cubicBezTo>
                  <a:cubicBezTo>
                    <a:pt x="85" y="155"/>
                    <a:pt x="87" y="152"/>
                    <a:pt x="87" y="146"/>
                  </a:cubicBezTo>
                  <a:cubicBezTo>
                    <a:pt x="87" y="139"/>
                    <a:pt x="87" y="138"/>
                    <a:pt x="86" y="136"/>
                  </a:cubicBezTo>
                  <a:cubicBezTo>
                    <a:pt x="85" y="134"/>
                    <a:pt x="86" y="129"/>
                    <a:pt x="89" y="126"/>
                  </a:cubicBezTo>
                  <a:cubicBezTo>
                    <a:pt x="93" y="122"/>
                    <a:pt x="88" y="121"/>
                    <a:pt x="85" y="118"/>
                  </a:cubicBezTo>
                  <a:cubicBezTo>
                    <a:pt x="81" y="114"/>
                    <a:pt x="77" y="113"/>
                    <a:pt x="73" y="111"/>
                  </a:cubicBezTo>
                  <a:cubicBezTo>
                    <a:pt x="69" y="109"/>
                    <a:pt x="74" y="106"/>
                    <a:pt x="74" y="101"/>
                  </a:cubicBezTo>
                  <a:cubicBezTo>
                    <a:pt x="74" y="97"/>
                    <a:pt x="75" y="91"/>
                    <a:pt x="79" y="88"/>
                  </a:cubicBezTo>
                  <a:cubicBezTo>
                    <a:pt x="82" y="85"/>
                    <a:pt x="84" y="85"/>
                    <a:pt x="86" y="81"/>
                  </a:cubicBezTo>
                  <a:cubicBezTo>
                    <a:pt x="87" y="77"/>
                    <a:pt x="81" y="71"/>
                    <a:pt x="79" y="66"/>
                  </a:cubicBezTo>
                  <a:cubicBezTo>
                    <a:pt x="77" y="61"/>
                    <a:pt x="69" y="66"/>
                    <a:pt x="64" y="67"/>
                  </a:cubicBezTo>
                  <a:cubicBezTo>
                    <a:pt x="59" y="68"/>
                    <a:pt x="59" y="70"/>
                    <a:pt x="56" y="70"/>
                  </a:cubicBezTo>
                  <a:cubicBezTo>
                    <a:pt x="52" y="70"/>
                    <a:pt x="55" y="61"/>
                    <a:pt x="54" y="56"/>
                  </a:cubicBezTo>
                  <a:cubicBezTo>
                    <a:pt x="54" y="50"/>
                    <a:pt x="55" y="49"/>
                    <a:pt x="57" y="47"/>
                  </a:cubicBezTo>
                  <a:cubicBezTo>
                    <a:pt x="57" y="45"/>
                    <a:pt x="58" y="44"/>
                    <a:pt x="58" y="42"/>
                  </a:cubicBezTo>
                  <a:cubicBezTo>
                    <a:pt x="59" y="42"/>
                    <a:pt x="59" y="43"/>
                    <a:pt x="60" y="43"/>
                  </a:cubicBezTo>
                  <a:cubicBezTo>
                    <a:pt x="68" y="45"/>
                    <a:pt x="67" y="43"/>
                    <a:pt x="75" y="43"/>
                  </a:cubicBezTo>
                  <a:cubicBezTo>
                    <a:pt x="83" y="42"/>
                    <a:pt x="83" y="41"/>
                    <a:pt x="90" y="42"/>
                  </a:cubicBezTo>
                  <a:cubicBezTo>
                    <a:pt x="98" y="42"/>
                    <a:pt x="98" y="46"/>
                    <a:pt x="105" y="46"/>
                  </a:cubicBezTo>
                  <a:cubicBezTo>
                    <a:pt x="111" y="47"/>
                    <a:pt x="113" y="49"/>
                    <a:pt x="118" y="50"/>
                  </a:cubicBezTo>
                  <a:cubicBezTo>
                    <a:pt x="123" y="51"/>
                    <a:pt x="122" y="52"/>
                    <a:pt x="124" y="55"/>
                  </a:cubicBezTo>
                  <a:cubicBezTo>
                    <a:pt x="126" y="59"/>
                    <a:pt x="125" y="55"/>
                    <a:pt x="125" y="51"/>
                  </a:cubicBezTo>
                  <a:cubicBezTo>
                    <a:pt x="125" y="47"/>
                    <a:pt x="127" y="47"/>
                    <a:pt x="129" y="42"/>
                  </a:cubicBezTo>
                  <a:cubicBezTo>
                    <a:pt x="129" y="42"/>
                    <a:pt x="130" y="41"/>
                    <a:pt x="130" y="40"/>
                  </a:cubicBezTo>
                  <a:cubicBezTo>
                    <a:pt x="132" y="39"/>
                    <a:pt x="133" y="37"/>
                    <a:pt x="134" y="35"/>
                  </a:cubicBezTo>
                  <a:cubicBezTo>
                    <a:pt x="135" y="32"/>
                    <a:pt x="136" y="25"/>
                    <a:pt x="137" y="21"/>
                  </a:cubicBezTo>
                  <a:cubicBezTo>
                    <a:pt x="137" y="17"/>
                    <a:pt x="137" y="12"/>
                    <a:pt x="139" y="8"/>
                  </a:cubicBezTo>
                  <a:cubicBezTo>
                    <a:pt x="140" y="5"/>
                    <a:pt x="134" y="6"/>
                    <a:pt x="143" y="5"/>
                  </a:cubicBezTo>
                  <a:cubicBezTo>
                    <a:pt x="151" y="4"/>
                    <a:pt x="150" y="5"/>
                    <a:pt x="154" y="3"/>
                  </a:cubicBezTo>
                  <a:cubicBezTo>
                    <a:pt x="158" y="1"/>
                    <a:pt x="159" y="0"/>
                    <a:pt x="164" y="1"/>
                  </a:cubicBezTo>
                  <a:cubicBezTo>
                    <a:pt x="169" y="2"/>
                    <a:pt x="168" y="3"/>
                    <a:pt x="172" y="4"/>
                  </a:cubicBezTo>
                  <a:cubicBezTo>
                    <a:pt x="176" y="5"/>
                    <a:pt x="178" y="5"/>
                    <a:pt x="180" y="5"/>
                  </a:cubicBezTo>
                  <a:cubicBezTo>
                    <a:pt x="183" y="4"/>
                    <a:pt x="186" y="2"/>
                    <a:pt x="187" y="3"/>
                  </a:cubicBezTo>
                  <a:cubicBezTo>
                    <a:pt x="187" y="3"/>
                    <a:pt x="188" y="4"/>
                    <a:pt x="190" y="4"/>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26" name="Freeform 915">
              <a:extLst>
                <a:ext uri="{FF2B5EF4-FFF2-40B4-BE49-F238E27FC236}">
                  <a16:creationId xmlns:a16="http://schemas.microsoft.com/office/drawing/2014/main" id="{8E464F49-A676-804A-A92C-24F35D086B73}"/>
                </a:ext>
              </a:extLst>
            </p:cNvPr>
            <p:cNvSpPr>
              <a:spLocks/>
            </p:cNvSpPr>
            <p:nvPr/>
          </p:nvSpPr>
          <p:spPr bwMode="auto">
            <a:xfrm>
              <a:off x="4240226" y="2603958"/>
              <a:ext cx="138113" cy="168275"/>
            </a:xfrm>
            <a:custGeom>
              <a:avLst/>
              <a:gdLst>
                <a:gd name="T0" fmla="*/ 142 w 146"/>
                <a:gd name="T1" fmla="*/ 89 h 177"/>
                <a:gd name="T2" fmla="*/ 139 w 146"/>
                <a:gd name="T3" fmla="*/ 99 h 177"/>
                <a:gd name="T4" fmla="*/ 140 w 146"/>
                <a:gd name="T5" fmla="*/ 109 h 177"/>
                <a:gd name="T6" fmla="*/ 135 w 146"/>
                <a:gd name="T7" fmla="*/ 121 h 177"/>
                <a:gd name="T8" fmla="*/ 133 w 146"/>
                <a:gd name="T9" fmla="*/ 133 h 177"/>
                <a:gd name="T10" fmla="*/ 125 w 146"/>
                <a:gd name="T11" fmla="*/ 135 h 177"/>
                <a:gd name="T12" fmla="*/ 120 w 146"/>
                <a:gd name="T13" fmla="*/ 127 h 177"/>
                <a:gd name="T14" fmla="*/ 113 w 146"/>
                <a:gd name="T15" fmla="*/ 135 h 177"/>
                <a:gd name="T16" fmla="*/ 103 w 146"/>
                <a:gd name="T17" fmla="*/ 133 h 177"/>
                <a:gd name="T18" fmla="*/ 98 w 146"/>
                <a:gd name="T19" fmla="*/ 123 h 177"/>
                <a:gd name="T20" fmla="*/ 88 w 146"/>
                <a:gd name="T21" fmla="*/ 119 h 177"/>
                <a:gd name="T22" fmla="*/ 89 w 146"/>
                <a:gd name="T23" fmla="*/ 131 h 177"/>
                <a:gd name="T24" fmla="*/ 81 w 146"/>
                <a:gd name="T25" fmla="*/ 133 h 177"/>
                <a:gd name="T26" fmla="*/ 68 w 146"/>
                <a:gd name="T27" fmla="*/ 133 h 177"/>
                <a:gd name="T28" fmla="*/ 68 w 146"/>
                <a:gd name="T29" fmla="*/ 145 h 177"/>
                <a:gd name="T30" fmla="*/ 71 w 146"/>
                <a:gd name="T31" fmla="*/ 154 h 177"/>
                <a:gd name="T32" fmla="*/ 73 w 146"/>
                <a:gd name="T33" fmla="*/ 159 h 177"/>
                <a:gd name="T34" fmla="*/ 75 w 146"/>
                <a:gd name="T35" fmla="*/ 167 h 177"/>
                <a:gd name="T36" fmla="*/ 69 w 146"/>
                <a:gd name="T37" fmla="*/ 169 h 177"/>
                <a:gd name="T38" fmla="*/ 62 w 146"/>
                <a:gd name="T39" fmla="*/ 168 h 177"/>
                <a:gd name="T40" fmla="*/ 53 w 146"/>
                <a:gd name="T41" fmla="*/ 177 h 177"/>
                <a:gd name="T42" fmla="*/ 48 w 146"/>
                <a:gd name="T43" fmla="*/ 172 h 177"/>
                <a:gd name="T44" fmla="*/ 45 w 146"/>
                <a:gd name="T45" fmla="*/ 163 h 177"/>
                <a:gd name="T46" fmla="*/ 36 w 146"/>
                <a:gd name="T47" fmla="*/ 150 h 177"/>
                <a:gd name="T48" fmla="*/ 18 w 146"/>
                <a:gd name="T49" fmla="*/ 134 h 177"/>
                <a:gd name="T50" fmla="*/ 11 w 146"/>
                <a:gd name="T51" fmla="*/ 120 h 177"/>
                <a:gd name="T52" fmla="*/ 9 w 146"/>
                <a:gd name="T53" fmla="*/ 106 h 177"/>
                <a:gd name="T54" fmla="*/ 1 w 146"/>
                <a:gd name="T55" fmla="*/ 91 h 177"/>
                <a:gd name="T56" fmla="*/ 11 w 146"/>
                <a:gd name="T57" fmla="*/ 79 h 177"/>
                <a:gd name="T58" fmla="*/ 12 w 146"/>
                <a:gd name="T59" fmla="*/ 61 h 177"/>
                <a:gd name="T60" fmla="*/ 12 w 146"/>
                <a:gd name="T61" fmla="*/ 60 h 177"/>
                <a:gd name="T62" fmla="*/ 17 w 146"/>
                <a:gd name="T63" fmla="*/ 62 h 177"/>
                <a:gd name="T64" fmla="*/ 16 w 146"/>
                <a:gd name="T65" fmla="*/ 57 h 177"/>
                <a:gd name="T66" fmla="*/ 13 w 146"/>
                <a:gd name="T67" fmla="*/ 47 h 177"/>
                <a:gd name="T68" fmla="*/ 19 w 146"/>
                <a:gd name="T69" fmla="*/ 41 h 177"/>
                <a:gd name="T70" fmla="*/ 11 w 146"/>
                <a:gd name="T71" fmla="*/ 39 h 177"/>
                <a:gd name="T72" fmla="*/ 60 w 146"/>
                <a:gd name="T73" fmla="*/ 37 h 177"/>
                <a:gd name="T74" fmla="*/ 61 w 146"/>
                <a:gd name="T75" fmla="*/ 17 h 177"/>
                <a:gd name="T76" fmla="*/ 60 w 146"/>
                <a:gd name="T77" fmla="*/ 6 h 177"/>
                <a:gd name="T78" fmla="*/ 59 w 146"/>
                <a:gd name="T79" fmla="*/ 5 h 177"/>
                <a:gd name="T80" fmla="*/ 66 w 146"/>
                <a:gd name="T81" fmla="*/ 2 h 177"/>
                <a:gd name="T82" fmla="*/ 85 w 146"/>
                <a:gd name="T83" fmla="*/ 2 h 177"/>
                <a:gd name="T84" fmla="*/ 98 w 146"/>
                <a:gd name="T85" fmla="*/ 3 h 177"/>
                <a:gd name="T86" fmla="*/ 111 w 146"/>
                <a:gd name="T87" fmla="*/ 5 h 177"/>
                <a:gd name="T88" fmla="*/ 110 w 146"/>
                <a:gd name="T89" fmla="*/ 10 h 177"/>
                <a:gd name="T90" fmla="*/ 107 w 146"/>
                <a:gd name="T91" fmla="*/ 19 h 177"/>
                <a:gd name="T92" fmla="*/ 109 w 146"/>
                <a:gd name="T93" fmla="*/ 33 h 177"/>
                <a:gd name="T94" fmla="*/ 117 w 146"/>
                <a:gd name="T95" fmla="*/ 30 h 177"/>
                <a:gd name="T96" fmla="*/ 132 w 146"/>
                <a:gd name="T97" fmla="*/ 29 h 177"/>
                <a:gd name="T98" fmla="*/ 139 w 146"/>
                <a:gd name="T99" fmla="*/ 44 h 177"/>
                <a:gd name="T100" fmla="*/ 132 w 146"/>
                <a:gd name="T101" fmla="*/ 51 h 177"/>
                <a:gd name="T102" fmla="*/ 127 w 146"/>
                <a:gd name="T103" fmla="*/ 64 h 177"/>
                <a:gd name="T104" fmla="*/ 126 w 146"/>
                <a:gd name="T105" fmla="*/ 74 h 177"/>
                <a:gd name="T106" fmla="*/ 138 w 146"/>
                <a:gd name="T107" fmla="*/ 81 h 177"/>
                <a:gd name="T108" fmla="*/ 142 w 146"/>
                <a:gd name="T109" fmla="*/ 8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6" h="177">
                  <a:moveTo>
                    <a:pt x="142" y="89"/>
                  </a:moveTo>
                  <a:cubicBezTo>
                    <a:pt x="139" y="92"/>
                    <a:pt x="138" y="97"/>
                    <a:pt x="139" y="99"/>
                  </a:cubicBezTo>
                  <a:cubicBezTo>
                    <a:pt x="140" y="101"/>
                    <a:pt x="140" y="102"/>
                    <a:pt x="140" y="109"/>
                  </a:cubicBezTo>
                  <a:cubicBezTo>
                    <a:pt x="140" y="115"/>
                    <a:pt x="138" y="118"/>
                    <a:pt x="135" y="121"/>
                  </a:cubicBezTo>
                  <a:cubicBezTo>
                    <a:pt x="132" y="125"/>
                    <a:pt x="135" y="131"/>
                    <a:pt x="133" y="133"/>
                  </a:cubicBezTo>
                  <a:cubicBezTo>
                    <a:pt x="130" y="136"/>
                    <a:pt x="126" y="137"/>
                    <a:pt x="125" y="135"/>
                  </a:cubicBezTo>
                  <a:cubicBezTo>
                    <a:pt x="125" y="133"/>
                    <a:pt x="121" y="123"/>
                    <a:pt x="120" y="127"/>
                  </a:cubicBezTo>
                  <a:cubicBezTo>
                    <a:pt x="119" y="131"/>
                    <a:pt x="118" y="135"/>
                    <a:pt x="113" y="135"/>
                  </a:cubicBezTo>
                  <a:cubicBezTo>
                    <a:pt x="109" y="134"/>
                    <a:pt x="102" y="137"/>
                    <a:pt x="103" y="133"/>
                  </a:cubicBezTo>
                  <a:cubicBezTo>
                    <a:pt x="104" y="130"/>
                    <a:pt x="101" y="126"/>
                    <a:pt x="98" y="123"/>
                  </a:cubicBezTo>
                  <a:cubicBezTo>
                    <a:pt x="96" y="120"/>
                    <a:pt x="87" y="113"/>
                    <a:pt x="88" y="119"/>
                  </a:cubicBezTo>
                  <a:cubicBezTo>
                    <a:pt x="89" y="125"/>
                    <a:pt x="94" y="129"/>
                    <a:pt x="89" y="131"/>
                  </a:cubicBezTo>
                  <a:cubicBezTo>
                    <a:pt x="85" y="133"/>
                    <a:pt x="87" y="133"/>
                    <a:pt x="81" y="133"/>
                  </a:cubicBezTo>
                  <a:cubicBezTo>
                    <a:pt x="75" y="133"/>
                    <a:pt x="67" y="128"/>
                    <a:pt x="68" y="133"/>
                  </a:cubicBezTo>
                  <a:cubicBezTo>
                    <a:pt x="68" y="139"/>
                    <a:pt x="65" y="141"/>
                    <a:pt x="68" y="145"/>
                  </a:cubicBezTo>
                  <a:cubicBezTo>
                    <a:pt x="71" y="149"/>
                    <a:pt x="72" y="151"/>
                    <a:pt x="71" y="154"/>
                  </a:cubicBezTo>
                  <a:cubicBezTo>
                    <a:pt x="71" y="156"/>
                    <a:pt x="70" y="157"/>
                    <a:pt x="73" y="159"/>
                  </a:cubicBezTo>
                  <a:cubicBezTo>
                    <a:pt x="77" y="160"/>
                    <a:pt x="75" y="164"/>
                    <a:pt x="75" y="167"/>
                  </a:cubicBezTo>
                  <a:cubicBezTo>
                    <a:pt x="74" y="170"/>
                    <a:pt x="74" y="174"/>
                    <a:pt x="69" y="169"/>
                  </a:cubicBezTo>
                  <a:cubicBezTo>
                    <a:pt x="65" y="165"/>
                    <a:pt x="65" y="165"/>
                    <a:pt x="62" y="168"/>
                  </a:cubicBezTo>
                  <a:cubicBezTo>
                    <a:pt x="60" y="170"/>
                    <a:pt x="55" y="174"/>
                    <a:pt x="53" y="177"/>
                  </a:cubicBezTo>
                  <a:cubicBezTo>
                    <a:pt x="51" y="176"/>
                    <a:pt x="49" y="175"/>
                    <a:pt x="48" y="172"/>
                  </a:cubicBezTo>
                  <a:cubicBezTo>
                    <a:pt x="47" y="166"/>
                    <a:pt x="49" y="169"/>
                    <a:pt x="45" y="163"/>
                  </a:cubicBezTo>
                  <a:cubicBezTo>
                    <a:pt x="41" y="157"/>
                    <a:pt x="42" y="157"/>
                    <a:pt x="36" y="150"/>
                  </a:cubicBezTo>
                  <a:cubicBezTo>
                    <a:pt x="30" y="142"/>
                    <a:pt x="23" y="142"/>
                    <a:pt x="18" y="134"/>
                  </a:cubicBezTo>
                  <a:cubicBezTo>
                    <a:pt x="14" y="125"/>
                    <a:pt x="11" y="128"/>
                    <a:pt x="11" y="120"/>
                  </a:cubicBezTo>
                  <a:cubicBezTo>
                    <a:pt x="11" y="112"/>
                    <a:pt x="13" y="112"/>
                    <a:pt x="9" y="106"/>
                  </a:cubicBezTo>
                  <a:cubicBezTo>
                    <a:pt x="4" y="101"/>
                    <a:pt x="0" y="94"/>
                    <a:pt x="1" y="91"/>
                  </a:cubicBezTo>
                  <a:cubicBezTo>
                    <a:pt x="3" y="88"/>
                    <a:pt x="9" y="81"/>
                    <a:pt x="11" y="79"/>
                  </a:cubicBezTo>
                  <a:cubicBezTo>
                    <a:pt x="14" y="77"/>
                    <a:pt x="12" y="64"/>
                    <a:pt x="12" y="61"/>
                  </a:cubicBezTo>
                  <a:cubicBezTo>
                    <a:pt x="12" y="61"/>
                    <a:pt x="12" y="60"/>
                    <a:pt x="12" y="60"/>
                  </a:cubicBezTo>
                  <a:cubicBezTo>
                    <a:pt x="12" y="60"/>
                    <a:pt x="13" y="62"/>
                    <a:pt x="17" y="62"/>
                  </a:cubicBezTo>
                  <a:cubicBezTo>
                    <a:pt x="23" y="62"/>
                    <a:pt x="19" y="60"/>
                    <a:pt x="16" y="57"/>
                  </a:cubicBezTo>
                  <a:cubicBezTo>
                    <a:pt x="12" y="53"/>
                    <a:pt x="10" y="49"/>
                    <a:pt x="13" y="47"/>
                  </a:cubicBezTo>
                  <a:cubicBezTo>
                    <a:pt x="16" y="45"/>
                    <a:pt x="19" y="45"/>
                    <a:pt x="19" y="41"/>
                  </a:cubicBezTo>
                  <a:cubicBezTo>
                    <a:pt x="19" y="37"/>
                    <a:pt x="13" y="42"/>
                    <a:pt x="11" y="39"/>
                  </a:cubicBezTo>
                  <a:cubicBezTo>
                    <a:pt x="60" y="37"/>
                    <a:pt x="60" y="37"/>
                    <a:pt x="60" y="37"/>
                  </a:cubicBezTo>
                  <a:cubicBezTo>
                    <a:pt x="60" y="37"/>
                    <a:pt x="61" y="23"/>
                    <a:pt x="61" y="17"/>
                  </a:cubicBezTo>
                  <a:cubicBezTo>
                    <a:pt x="61" y="12"/>
                    <a:pt x="61" y="10"/>
                    <a:pt x="60" y="6"/>
                  </a:cubicBezTo>
                  <a:cubicBezTo>
                    <a:pt x="60" y="6"/>
                    <a:pt x="60" y="5"/>
                    <a:pt x="59" y="5"/>
                  </a:cubicBezTo>
                  <a:cubicBezTo>
                    <a:pt x="59" y="3"/>
                    <a:pt x="59" y="4"/>
                    <a:pt x="66" y="2"/>
                  </a:cubicBezTo>
                  <a:cubicBezTo>
                    <a:pt x="74" y="0"/>
                    <a:pt x="73" y="2"/>
                    <a:pt x="85" y="2"/>
                  </a:cubicBezTo>
                  <a:cubicBezTo>
                    <a:pt x="96" y="2"/>
                    <a:pt x="91" y="3"/>
                    <a:pt x="98" y="3"/>
                  </a:cubicBezTo>
                  <a:cubicBezTo>
                    <a:pt x="105" y="3"/>
                    <a:pt x="105" y="4"/>
                    <a:pt x="111" y="5"/>
                  </a:cubicBezTo>
                  <a:cubicBezTo>
                    <a:pt x="111" y="7"/>
                    <a:pt x="110" y="8"/>
                    <a:pt x="110" y="10"/>
                  </a:cubicBezTo>
                  <a:cubicBezTo>
                    <a:pt x="108" y="12"/>
                    <a:pt x="107" y="13"/>
                    <a:pt x="107" y="19"/>
                  </a:cubicBezTo>
                  <a:cubicBezTo>
                    <a:pt x="108" y="24"/>
                    <a:pt x="105" y="33"/>
                    <a:pt x="109" y="33"/>
                  </a:cubicBezTo>
                  <a:cubicBezTo>
                    <a:pt x="112" y="33"/>
                    <a:pt x="112" y="31"/>
                    <a:pt x="117" y="30"/>
                  </a:cubicBezTo>
                  <a:cubicBezTo>
                    <a:pt x="122" y="29"/>
                    <a:pt x="130" y="24"/>
                    <a:pt x="132" y="29"/>
                  </a:cubicBezTo>
                  <a:cubicBezTo>
                    <a:pt x="134" y="34"/>
                    <a:pt x="140" y="40"/>
                    <a:pt x="139" y="44"/>
                  </a:cubicBezTo>
                  <a:cubicBezTo>
                    <a:pt x="137" y="48"/>
                    <a:pt x="135" y="48"/>
                    <a:pt x="132" y="51"/>
                  </a:cubicBezTo>
                  <a:cubicBezTo>
                    <a:pt x="128" y="54"/>
                    <a:pt x="127" y="60"/>
                    <a:pt x="127" y="64"/>
                  </a:cubicBezTo>
                  <a:cubicBezTo>
                    <a:pt x="127" y="69"/>
                    <a:pt x="122" y="72"/>
                    <a:pt x="126" y="74"/>
                  </a:cubicBezTo>
                  <a:cubicBezTo>
                    <a:pt x="130" y="76"/>
                    <a:pt x="134" y="77"/>
                    <a:pt x="138" y="81"/>
                  </a:cubicBezTo>
                  <a:cubicBezTo>
                    <a:pt x="141" y="84"/>
                    <a:pt x="146" y="85"/>
                    <a:pt x="142" y="8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27" name="Freeform 916">
              <a:extLst>
                <a:ext uri="{FF2B5EF4-FFF2-40B4-BE49-F238E27FC236}">
                  <a16:creationId xmlns:a16="http://schemas.microsoft.com/office/drawing/2014/main" id="{E3D094A1-D6B8-5443-8428-8703EDC1242F}"/>
                </a:ext>
              </a:extLst>
            </p:cNvPr>
            <p:cNvSpPr>
              <a:spLocks/>
            </p:cNvSpPr>
            <p:nvPr/>
          </p:nvSpPr>
          <p:spPr bwMode="auto">
            <a:xfrm>
              <a:off x="4230701" y="2316620"/>
              <a:ext cx="182563" cy="307975"/>
            </a:xfrm>
            <a:custGeom>
              <a:avLst/>
              <a:gdLst>
                <a:gd name="T0" fmla="*/ 191 w 192"/>
                <a:gd name="T1" fmla="*/ 306 h 323"/>
                <a:gd name="T2" fmla="*/ 186 w 192"/>
                <a:gd name="T3" fmla="*/ 319 h 323"/>
                <a:gd name="T4" fmla="*/ 167 w 192"/>
                <a:gd name="T5" fmla="*/ 310 h 323"/>
                <a:gd name="T6" fmla="*/ 137 w 192"/>
                <a:gd name="T7" fmla="*/ 307 h 323"/>
                <a:gd name="T8" fmla="*/ 120 w 192"/>
                <a:gd name="T9" fmla="*/ 306 h 323"/>
                <a:gd name="T10" fmla="*/ 94 w 192"/>
                <a:gd name="T11" fmla="*/ 303 h 323"/>
                <a:gd name="T12" fmla="*/ 68 w 192"/>
                <a:gd name="T13" fmla="*/ 306 h 323"/>
                <a:gd name="T14" fmla="*/ 32 w 192"/>
                <a:gd name="T15" fmla="*/ 304 h 323"/>
                <a:gd name="T16" fmla="*/ 34 w 192"/>
                <a:gd name="T17" fmla="*/ 284 h 323"/>
                <a:gd name="T18" fmla="*/ 30 w 192"/>
                <a:gd name="T19" fmla="*/ 261 h 323"/>
                <a:gd name="T20" fmla="*/ 23 w 192"/>
                <a:gd name="T21" fmla="*/ 255 h 323"/>
                <a:gd name="T22" fmla="*/ 9 w 192"/>
                <a:gd name="T23" fmla="*/ 249 h 323"/>
                <a:gd name="T24" fmla="*/ 0 w 192"/>
                <a:gd name="T25" fmla="*/ 238 h 323"/>
                <a:gd name="T26" fmla="*/ 8 w 192"/>
                <a:gd name="T27" fmla="*/ 222 h 323"/>
                <a:gd name="T28" fmla="*/ 15 w 192"/>
                <a:gd name="T29" fmla="*/ 201 h 323"/>
                <a:gd name="T30" fmla="*/ 29 w 192"/>
                <a:gd name="T31" fmla="*/ 184 h 323"/>
                <a:gd name="T32" fmla="*/ 45 w 192"/>
                <a:gd name="T33" fmla="*/ 176 h 323"/>
                <a:gd name="T34" fmla="*/ 57 w 192"/>
                <a:gd name="T35" fmla="*/ 174 h 323"/>
                <a:gd name="T36" fmla="*/ 72 w 192"/>
                <a:gd name="T37" fmla="*/ 188 h 323"/>
                <a:gd name="T38" fmla="*/ 83 w 192"/>
                <a:gd name="T39" fmla="*/ 166 h 323"/>
                <a:gd name="T40" fmla="*/ 95 w 192"/>
                <a:gd name="T41" fmla="*/ 130 h 323"/>
                <a:gd name="T42" fmla="*/ 118 w 192"/>
                <a:gd name="T43" fmla="*/ 97 h 323"/>
                <a:gd name="T44" fmla="*/ 129 w 192"/>
                <a:gd name="T45" fmla="*/ 56 h 323"/>
                <a:gd name="T46" fmla="*/ 153 w 192"/>
                <a:gd name="T47" fmla="*/ 29 h 323"/>
                <a:gd name="T48" fmla="*/ 137 w 192"/>
                <a:gd name="T49" fmla="*/ 0 h 323"/>
                <a:gd name="T50" fmla="*/ 151 w 192"/>
                <a:gd name="T51" fmla="*/ 9 h 323"/>
                <a:gd name="T52" fmla="*/ 161 w 192"/>
                <a:gd name="T53" fmla="*/ 28 h 323"/>
                <a:gd name="T54" fmla="*/ 164 w 192"/>
                <a:gd name="T55" fmla="*/ 62 h 323"/>
                <a:gd name="T56" fmla="*/ 178 w 192"/>
                <a:gd name="T57" fmla="*/ 88 h 323"/>
                <a:gd name="T58" fmla="*/ 141 w 192"/>
                <a:gd name="T59" fmla="*/ 103 h 323"/>
                <a:gd name="T60" fmla="*/ 162 w 192"/>
                <a:gd name="T61" fmla="*/ 128 h 323"/>
                <a:gd name="T62" fmla="*/ 175 w 192"/>
                <a:gd name="T63" fmla="*/ 152 h 323"/>
                <a:gd name="T64" fmla="*/ 170 w 192"/>
                <a:gd name="T65" fmla="*/ 163 h 323"/>
                <a:gd name="T66" fmla="*/ 153 w 192"/>
                <a:gd name="T67" fmla="*/ 191 h 323"/>
                <a:gd name="T68" fmla="*/ 153 w 192"/>
                <a:gd name="T69" fmla="*/ 208 h 323"/>
                <a:gd name="T70" fmla="*/ 155 w 192"/>
                <a:gd name="T71" fmla="*/ 231 h 323"/>
                <a:gd name="T72" fmla="*/ 164 w 192"/>
                <a:gd name="T73" fmla="*/ 249 h 323"/>
                <a:gd name="T74" fmla="*/ 174 w 192"/>
                <a:gd name="T75" fmla="*/ 271 h 323"/>
                <a:gd name="T76" fmla="*/ 190 w 192"/>
                <a:gd name="T77" fmla="*/ 29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323">
                  <a:moveTo>
                    <a:pt x="192" y="304"/>
                  </a:moveTo>
                  <a:cubicBezTo>
                    <a:pt x="192" y="305"/>
                    <a:pt x="191" y="306"/>
                    <a:pt x="191" y="306"/>
                  </a:cubicBezTo>
                  <a:cubicBezTo>
                    <a:pt x="189" y="311"/>
                    <a:pt x="187" y="311"/>
                    <a:pt x="187" y="315"/>
                  </a:cubicBezTo>
                  <a:cubicBezTo>
                    <a:pt x="187" y="319"/>
                    <a:pt x="188" y="323"/>
                    <a:pt x="186" y="319"/>
                  </a:cubicBezTo>
                  <a:cubicBezTo>
                    <a:pt x="184" y="316"/>
                    <a:pt x="185" y="315"/>
                    <a:pt x="180" y="314"/>
                  </a:cubicBezTo>
                  <a:cubicBezTo>
                    <a:pt x="175" y="313"/>
                    <a:pt x="173" y="311"/>
                    <a:pt x="167" y="310"/>
                  </a:cubicBezTo>
                  <a:cubicBezTo>
                    <a:pt x="160" y="310"/>
                    <a:pt x="160" y="306"/>
                    <a:pt x="152" y="306"/>
                  </a:cubicBezTo>
                  <a:cubicBezTo>
                    <a:pt x="145" y="305"/>
                    <a:pt x="145" y="306"/>
                    <a:pt x="137" y="307"/>
                  </a:cubicBezTo>
                  <a:cubicBezTo>
                    <a:pt x="129" y="307"/>
                    <a:pt x="130" y="309"/>
                    <a:pt x="122" y="307"/>
                  </a:cubicBezTo>
                  <a:cubicBezTo>
                    <a:pt x="121" y="307"/>
                    <a:pt x="121" y="306"/>
                    <a:pt x="120" y="306"/>
                  </a:cubicBezTo>
                  <a:cubicBezTo>
                    <a:pt x="114" y="305"/>
                    <a:pt x="114" y="304"/>
                    <a:pt x="107" y="304"/>
                  </a:cubicBezTo>
                  <a:cubicBezTo>
                    <a:pt x="100" y="304"/>
                    <a:pt x="105" y="303"/>
                    <a:pt x="94" y="303"/>
                  </a:cubicBezTo>
                  <a:cubicBezTo>
                    <a:pt x="82" y="303"/>
                    <a:pt x="83" y="301"/>
                    <a:pt x="75" y="303"/>
                  </a:cubicBezTo>
                  <a:cubicBezTo>
                    <a:pt x="68" y="305"/>
                    <a:pt x="68" y="304"/>
                    <a:pt x="68" y="306"/>
                  </a:cubicBezTo>
                  <a:cubicBezTo>
                    <a:pt x="65" y="307"/>
                    <a:pt x="58" y="308"/>
                    <a:pt x="49" y="308"/>
                  </a:cubicBezTo>
                  <a:cubicBezTo>
                    <a:pt x="40" y="307"/>
                    <a:pt x="35" y="305"/>
                    <a:pt x="32" y="304"/>
                  </a:cubicBezTo>
                  <a:cubicBezTo>
                    <a:pt x="32" y="304"/>
                    <a:pt x="32" y="303"/>
                    <a:pt x="32" y="303"/>
                  </a:cubicBezTo>
                  <a:cubicBezTo>
                    <a:pt x="34" y="294"/>
                    <a:pt x="33" y="290"/>
                    <a:pt x="34" y="284"/>
                  </a:cubicBezTo>
                  <a:cubicBezTo>
                    <a:pt x="35" y="277"/>
                    <a:pt x="30" y="277"/>
                    <a:pt x="29" y="273"/>
                  </a:cubicBezTo>
                  <a:cubicBezTo>
                    <a:pt x="28" y="269"/>
                    <a:pt x="28" y="264"/>
                    <a:pt x="30" y="261"/>
                  </a:cubicBezTo>
                  <a:cubicBezTo>
                    <a:pt x="31" y="258"/>
                    <a:pt x="29" y="255"/>
                    <a:pt x="28" y="255"/>
                  </a:cubicBezTo>
                  <a:cubicBezTo>
                    <a:pt x="27" y="254"/>
                    <a:pt x="25" y="253"/>
                    <a:pt x="23" y="255"/>
                  </a:cubicBezTo>
                  <a:cubicBezTo>
                    <a:pt x="20" y="258"/>
                    <a:pt x="15" y="256"/>
                    <a:pt x="14" y="255"/>
                  </a:cubicBezTo>
                  <a:cubicBezTo>
                    <a:pt x="13" y="253"/>
                    <a:pt x="8" y="254"/>
                    <a:pt x="9" y="249"/>
                  </a:cubicBezTo>
                  <a:cubicBezTo>
                    <a:pt x="9" y="244"/>
                    <a:pt x="8" y="235"/>
                    <a:pt x="5" y="238"/>
                  </a:cubicBezTo>
                  <a:cubicBezTo>
                    <a:pt x="3" y="241"/>
                    <a:pt x="0" y="240"/>
                    <a:pt x="0" y="238"/>
                  </a:cubicBezTo>
                  <a:cubicBezTo>
                    <a:pt x="1" y="236"/>
                    <a:pt x="3" y="234"/>
                    <a:pt x="3" y="232"/>
                  </a:cubicBezTo>
                  <a:cubicBezTo>
                    <a:pt x="4" y="229"/>
                    <a:pt x="5" y="228"/>
                    <a:pt x="8" y="222"/>
                  </a:cubicBezTo>
                  <a:cubicBezTo>
                    <a:pt x="11" y="216"/>
                    <a:pt x="10" y="217"/>
                    <a:pt x="8" y="210"/>
                  </a:cubicBezTo>
                  <a:cubicBezTo>
                    <a:pt x="6" y="203"/>
                    <a:pt x="12" y="205"/>
                    <a:pt x="15" y="201"/>
                  </a:cubicBezTo>
                  <a:cubicBezTo>
                    <a:pt x="17" y="197"/>
                    <a:pt x="16" y="197"/>
                    <a:pt x="24" y="190"/>
                  </a:cubicBezTo>
                  <a:cubicBezTo>
                    <a:pt x="31" y="183"/>
                    <a:pt x="28" y="187"/>
                    <a:pt x="29" y="184"/>
                  </a:cubicBezTo>
                  <a:cubicBezTo>
                    <a:pt x="30" y="181"/>
                    <a:pt x="30" y="179"/>
                    <a:pt x="32" y="175"/>
                  </a:cubicBezTo>
                  <a:cubicBezTo>
                    <a:pt x="34" y="171"/>
                    <a:pt x="42" y="176"/>
                    <a:pt x="45" y="176"/>
                  </a:cubicBezTo>
                  <a:cubicBezTo>
                    <a:pt x="49" y="176"/>
                    <a:pt x="51" y="175"/>
                    <a:pt x="52" y="171"/>
                  </a:cubicBezTo>
                  <a:cubicBezTo>
                    <a:pt x="52" y="167"/>
                    <a:pt x="54" y="171"/>
                    <a:pt x="57" y="174"/>
                  </a:cubicBezTo>
                  <a:cubicBezTo>
                    <a:pt x="60" y="177"/>
                    <a:pt x="63" y="179"/>
                    <a:pt x="64" y="185"/>
                  </a:cubicBezTo>
                  <a:cubicBezTo>
                    <a:pt x="65" y="191"/>
                    <a:pt x="65" y="188"/>
                    <a:pt x="72" y="188"/>
                  </a:cubicBezTo>
                  <a:cubicBezTo>
                    <a:pt x="79" y="188"/>
                    <a:pt x="75" y="184"/>
                    <a:pt x="78" y="177"/>
                  </a:cubicBezTo>
                  <a:cubicBezTo>
                    <a:pt x="81" y="171"/>
                    <a:pt x="80" y="172"/>
                    <a:pt x="83" y="166"/>
                  </a:cubicBezTo>
                  <a:cubicBezTo>
                    <a:pt x="85" y="160"/>
                    <a:pt x="85" y="158"/>
                    <a:pt x="90" y="148"/>
                  </a:cubicBezTo>
                  <a:cubicBezTo>
                    <a:pt x="95" y="137"/>
                    <a:pt x="93" y="139"/>
                    <a:pt x="95" y="130"/>
                  </a:cubicBezTo>
                  <a:cubicBezTo>
                    <a:pt x="96" y="122"/>
                    <a:pt x="109" y="118"/>
                    <a:pt x="109" y="111"/>
                  </a:cubicBezTo>
                  <a:cubicBezTo>
                    <a:pt x="108" y="104"/>
                    <a:pt x="114" y="104"/>
                    <a:pt x="118" y="97"/>
                  </a:cubicBezTo>
                  <a:cubicBezTo>
                    <a:pt x="122" y="89"/>
                    <a:pt x="117" y="87"/>
                    <a:pt x="119" y="79"/>
                  </a:cubicBezTo>
                  <a:cubicBezTo>
                    <a:pt x="121" y="71"/>
                    <a:pt x="128" y="62"/>
                    <a:pt x="129" y="56"/>
                  </a:cubicBezTo>
                  <a:cubicBezTo>
                    <a:pt x="130" y="49"/>
                    <a:pt x="144" y="52"/>
                    <a:pt x="149" y="48"/>
                  </a:cubicBezTo>
                  <a:cubicBezTo>
                    <a:pt x="154" y="43"/>
                    <a:pt x="152" y="39"/>
                    <a:pt x="153" y="29"/>
                  </a:cubicBezTo>
                  <a:cubicBezTo>
                    <a:pt x="155" y="19"/>
                    <a:pt x="143" y="19"/>
                    <a:pt x="139" y="16"/>
                  </a:cubicBezTo>
                  <a:cubicBezTo>
                    <a:pt x="136" y="13"/>
                    <a:pt x="138" y="6"/>
                    <a:pt x="137" y="0"/>
                  </a:cubicBezTo>
                  <a:cubicBezTo>
                    <a:pt x="140" y="0"/>
                    <a:pt x="146" y="0"/>
                    <a:pt x="147" y="1"/>
                  </a:cubicBezTo>
                  <a:cubicBezTo>
                    <a:pt x="149" y="1"/>
                    <a:pt x="149" y="5"/>
                    <a:pt x="151" y="9"/>
                  </a:cubicBezTo>
                  <a:cubicBezTo>
                    <a:pt x="152" y="12"/>
                    <a:pt x="157" y="9"/>
                    <a:pt x="159" y="17"/>
                  </a:cubicBezTo>
                  <a:cubicBezTo>
                    <a:pt x="161" y="25"/>
                    <a:pt x="158" y="22"/>
                    <a:pt x="161" y="28"/>
                  </a:cubicBezTo>
                  <a:cubicBezTo>
                    <a:pt x="164" y="35"/>
                    <a:pt x="164" y="34"/>
                    <a:pt x="164" y="42"/>
                  </a:cubicBezTo>
                  <a:cubicBezTo>
                    <a:pt x="164" y="51"/>
                    <a:pt x="161" y="52"/>
                    <a:pt x="164" y="62"/>
                  </a:cubicBezTo>
                  <a:cubicBezTo>
                    <a:pt x="167" y="72"/>
                    <a:pt x="166" y="74"/>
                    <a:pt x="169" y="79"/>
                  </a:cubicBezTo>
                  <a:cubicBezTo>
                    <a:pt x="173" y="84"/>
                    <a:pt x="181" y="88"/>
                    <a:pt x="178" y="88"/>
                  </a:cubicBezTo>
                  <a:cubicBezTo>
                    <a:pt x="174" y="89"/>
                    <a:pt x="147" y="82"/>
                    <a:pt x="143" y="88"/>
                  </a:cubicBezTo>
                  <a:cubicBezTo>
                    <a:pt x="140" y="95"/>
                    <a:pt x="134" y="96"/>
                    <a:pt x="141" y="103"/>
                  </a:cubicBezTo>
                  <a:cubicBezTo>
                    <a:pt x="147" y="111"/>
                    <a:pt x="147" y="112"/>
                    <a:pt x="152" y="117"/>
                  </a:cubicBezTo>
                  <a:cubicBezTo>
                    <a:pt x="157" y="122"/>
                    <a:pt x="158" y="122"/>
                    <a:pt x="162" y="128"/>
                  </a:cubicBezTo>
                  <a:cubicBezTo>
                    <a:pt x="166" y="133"/>
                    <a:pt x="169" y="130"/>
                    <a:pt x="170" y="138"/>
                  </a:cubicBezTo>
                  <a:cubicBezTo>
                    <a:pt x="171" y="146"/>
                    <a:pt x="175" y="149"/>
                    <a:pt x="175" y="152"/>
                  </a:cubicBezTo>
                  <a:cubicBezTo>
                    <a:pt x="175" y="155"/>
                    <a:pt x="173" y="156"/>
                    <a:pt x="175" y="157"/>
                  </a:cubicBezTo>
                  <a:cubicBezTo>
                    <a:pt x="173" y="158"/>
                    <a:pt x="171" y="160"/>
                    <a:pt x="170" y="163"/>
                  </a:cubicBezTo>
                  <a:cubicBezTo>
                    <a:pt x="168" y="167"/>
                    <a:pt x="164" y="167"/>
                    <a:pt x="163" y="177"/>
                  </a:cubicBezTo>
                  <a:cubicBezTo>
                    <a:pt x="161" y="187"/>
                    <a:pt x="156" y="186"/>
                    <a:pt x="153" y="191"/>
                  </a:cubicBezTo>
                  <a:cubicBezTo>
                    <a:pt x="150" y="196"/>
                    <a:pt x="143" y="195"/>
                    <a:pt x="147" y="199"/>
                  </a:cubicBezTo>
                  <a:cubicBezTo>
                    <a:pt x="152" y="203"/>
                    <a:pt x="153" y="201"/>
                    <a:pt x="153" y="208"/>
                  </a:cubicBezTo>
                  <a:cubicBezTo>
                    <a:pt x="152" y="215"/>
                    <a:pt x="146" y="218"/>
                    <a:pt x="150" y="222"/>
                  </a:cubicBezTo>
                  <a:cubicBezTo>
                    <a:pt x="153" y="226"/>
                    <a:pt x="155" y="226"/>
                    <a:pt x="155" y="231"/>
                  </a:cubicBezTo>
                  <a:cubicBezTo>
                    <a:pt x="155" y="236"/>
                    <a:pt x="156" y="239"/>
                    <a:pt x="160" y="242"/>
                  </a:cubicBezTo>
                  <a:cubicBezTo>
                    <a:pt x="164" y="245"/>
                    <a:pt x="162" y="243"/>
                    <a:pt x="164" y="249"/>
                  </a:cubicBezTo>
                  <a:cubicBezTo>
                    <a:pt x="166" y="255"/>
                    <a:pt x="166" y="259"/>
                    <a:pt x="167" y="262"/>
                  </a:cubicBezTo>
                  <a:cubicBezTo>
                    <a:pt x="168" y="265"/>
                    <a:pt x="165" y="265"/>
                    <a:pt x="174" y="271"/>
                  </a:cubicBezTo>
                  <a:cubicBezTo>
                    <a:pt x="182" y="276"/>
                    <a:pt x="177" y="277"/>
                    <a:pt x="183" y="282"/>
                  </a:cubicBezTo>
                  <a:cubicBezTo>
                    <a:pt x="189" y="286"/>
                    <a:pt x="190" y="286"/>
                    <a:pt x="190" y="291"/>
                  </a:cubicBezTo>
                  <a:cubicBezTo>
                    <a:pt x="189" y="296"/>
                    <a:pt x="192" y="300"/>
                    <a:pt x="192" y="304"/>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28" name="Freeform 917">
              <a:extLst>
                <a:ext uri="{FF2B5EF4-FFF2-40B4-BE49-F238E27FC236}">
                  <a16:creationId xmlns:a16="http://schemas.microsoft.com/office/drawing/2014/main" id="{0397834F-E77B-2448-B33C-6ECC13644B40}"/>
                </a:ext>
              </a:extLst>
            </p:cNvPr>
            <p:cNvSpPr>
              <a:spLocks/>
            </p:cNvSpPr>
            <p:nvPr/>
          </p:nvSpPr>
          <p:spPr bwMode="auto">
            <a:xfrm>
              <a:off x="4092588" y="2295982"/>
              <a:ext cx="285751" cy="257175"/>
            </a:xfrm>
            <a:custGeom>
              <a:avLst/>
              <a:gdLst>
                <a:gd name="T0" fmla="*/ 294 w 300"/>
                <a:gd name="T1" fmla="*/ 70 h 270"/>
                <a:gd name="T2" fmla="*/ 264 w 300"/>
                <a:gd name="T3" fmla="*/ 101 h 270"/>
                <a:gd name="T4" fmla="*/ 254 w 300"/>
                <a:gd name="T5" fmla="*/ 133 h 270"/>
                <a:gd name="T6" fmla="*/ 235 w 300"/>
                <a:gd name="T7" fmla="*/ 170 h 270"/>
                <a:gd name="T8" fmla="*/ 223 w 300"/>
                <a:gd name="T9" fmla="*/ 199 h 270"/>
                <a:gd name="T10" fmla="*/ 209 w 300"/>
                <a:gd name="T11" fmla="*/ 207 h 270"/>
                <a:gd name="T12" fmla="*/ 197 w 300"/>
                <a:gd name="T13" fmla="*/ 193 h 270"/>
                <a:gd name="T14" fmla="*/ 177 w 300"/>
                <a:gd name="T15" fmla="*/ 197 h 270"/>
                <a:gd name="T16" fmla="*/ 169 w 300"/>
                <a:gd name="T17" fmla="*/ 212 h 270"/>
                <a:gd name="T18" fmla="*/ 153 w 300"/>
                <a:gd name="T19" fmla="*/ 232 h 270"/>
                <a:gd name="T20" fmla="*/ 148 w 300"/>
                <a:gd name="T21" fmla="*/ 254 h 270"/>
                <a:gd name="T22" fmla="*/ 145 w 300"/>
                <a:gd name="T23" fmla="*/ 260 h 270"/>
                <a:gd name="T24" fmla="*/ 136 w 300"/>
                <a:gd name="T25" fmla="*/ 262 h 270"/>
                <a:gd name="T26" fmla="*/ 118 w 300"/>
                <a:gd name="T27" fmla="*/ 262 h 270"/>
                <a:gd name="T28" fmla="*/ 108 w 300"/>
                <a:gd name="T29" fmla="*/ 266 h 270"/>
                <a:gd name="T30" fmla="*/ 95 w 300"/>
                <a:gd name="T31" fmla="*/ 266 h 270"/>
                <a:gd name="T32" fmla="*/ 77 w 300"/>
                <a:gd name="T33" fmla="*/ 266 h 270"/>
                <a:gd name="T34" fmla="*/ 65 w 300"/>
                <a:gd name="T35" fmla="*/ 240 h 270"/>
                <a:gd name="T36" fmla="*/ 50 w 300"/>
                <a:gd name="T37" fmla="*/ 216 h 270"/>
                <a:gd name="T38" fmla="*/ 26 w 300"/>
                <a:gd name="T39" fmla="*/ 210 h 270"/>
                <a:gd name="T40" fmla="*/ 1 w 300"/>
                <a:gd name="T41" fmla="*/ 209 h 270"/>
                <a:gd name="T42" fmla="*/ 2 w 300"/>
                <a:gd name="T43" fmla="*/ 196 h 270"/>
                <a:gd name="T44" fmla="*/ 2 w 300"/>
                <a:gd name="T45" fmla="*/ 176 h 270"/>
                <a:gd name="T46" fmla="*/ 10 w 300"/>
                <a:gd name="T47" fmla="*/ 133 h 270"/>
                <a:gd name="T48" fmla="*/ 19 w 300"/>
                <a:gd name="T49" fmla="*/ 114 h 270"/>
                <a:gd name="T50" fmla="*/ 23 w 300"/>
                <a:gd name="T51" fmla="*/ 99 h 270"/>
                <a:gd name="T52" fmla="*/ 27 w 300"/>
                <a:gd name="T53" fmla="*/ 78 h 270"/>
                <a:gd name="T54" fmla="*/ 23 w 300"/>
                <a:gd name="T55" fmla="*/ 60 h 270"/>
                <a:gd name="T56" fmla="*/ 31 w 300"/>
                <a:gd name="T57" fmla="*/ 35 h 270"/>
                <a:gd name="T58" fmla="*/ 43 w 300"/>
                <a:gd name="T59" fmla="*/ 9 h 270"/>
                <a:gd name="T60" fmla="*/ 64 w 300"/>
                <a:gd name="T61" fmla="*/ 3 h 270"/>
                <a:gd name="T62" fmla="*/ 88 w 300"/>
                <a:gd name="T63" fmla="*/ 6 h 270"/>
                <a:gd name="T64" fmla="*/ 108 w 300"/>
                <a:gd name="T65" fmla="*/ 25 h 270"/>
                <a:gd name="T66" fmla="*/ 132 w 300"/>
                <a:gd name="T67" fmla="*/ 16 h 270"/>
                <a:gd name="T68" fmla="*/ 169 w 300"/>
                <a:gd name="T69" fmla="*/ 31 h 270"/>
                <a:gd name="T70" fmla="*/ 199 w 300"/>
                <a:gd name="T71" fmla="*/ 14 h 270"/>
                <a:gd name="T72" fmla="*/ 233 w 300"/>
                <a:gd name="T73" fmla="*/ 21 h 270"/>
                <a:gd name="T74" fmla="*/ 258 w 300"/>
                <a:gd name="T75" fmla="*/ 10 h 270"/>
                <a:gd name="T76" fmla="*/ 271 w 300"/>
                <a:gd name="T77" fmla="*/ 5 h 270"/>
                <a:gd name="T78" fmla="*/ 282 w 300"/>
                <a:gd name="T79" fmla="*/ 22 h 270"/>
                <a:gd name="T80" fmla="*/ 298 w 300"/>
                <a:gd name="T81" fmla="*/ 51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0" h="270">
                  <a:moveTo>
                    <a:pt x="298" y="51"/>
                  </a:moveTo>
                  <a:cubicBezTo>
                    <a:pt x="297" y="61"/>
                    <a:pt x="299" y="65"/>
                    <a:pt x="294" y="70"/>
                  </a:cubicBezTo>
                  <a:cubicBezTo>
                    <a:pt x="289" y="74"/>
                    <a:pt x="275" y="71"/>
                    <a:pt x="274" y="78"/>
                  </a:cubicBezTo>
                  <a:cubicBezTo>
                    <a:pt x="273" y="84"/>
                    <a:pt x="266" y="93"/>
                    <a:pt x="264" y="101"/>
                  </a:cubicBezTo>
                  <a:cubicBezTo>
                    <a:pt x="262" y="109"/>
                    <a:pt x="267" y="111"/>
                    <a:pt x="263" y="119"/>
                  </a:cubicBezTo>
                  <a:cubicBezTo>
                    <a:pt x="259" y="126"/>
                    <a:pt x="253" y="126"/>
                    <a:pt x="254" y="133"/>
                  </a:cubicBezTo>
                  <a:cubicBezTo>
                    <a:pt x="254" y="140"/>
                    <a:pt x="241" y="144"/>
                    <a:pt x="240" y="152"/>
                  </a:cubicBezTo>
                  <a:cubicBezTo>
                    <a:pt x="238" y="161"/>
                    <a:pt x="240" y="159"/>
                    <a:pt x="235" y="170"/>
                  </a:cubicBezTo>
                  <a:cubicBezTo>
                    <a:pt x="230" y="180"/>
                    <a:pt x="230" y="182"/>
                    <a:pt x="228" y="188"/>
                  </a:cubicBezTo>
                  <a:cubicBezTo>
                    <a:pt x="225" y="194"/>
                    <a:pt x="226" y="193"/>
                    <a:pt x="223" y="199"/>
                  </a:cubicBezTo>
                  <a:cubicBezTo>
                    <a:pt x="220" y="206"/>
                    <a:pt x="224" y="210"/>
                    <a:pt x="217" y="210"/>
                  </a:cubicBezTo>
                  <a:cubicBezTo>
                    <a:pt x="210" y="210"/>
                    <a:pt x="210" y="213"/>
                    <a:pt x="209" y="207"/>
                  </a:cubicBezTo>
                  <a:cubicBezTo>
                    <a:pt x="208" y="201"/>
                    <a:pt x="205" y="199"/>
                    <a:pt x="202" y="196"/>
                  </a:cubicBezTo>
                  <a:cubicBezTo>
                    <a:pt x="199" y="193"/>
                    <a:pt x="197" y="189"/>
                    <a:pt x="197" y="193"/>
                  </a:cubicBezTo>
                  <a:cubicBezTo>
                    <a:pt x="196" y="197"/>
                    <a:pt x="194" y="198"/>
                    <a:pt x="190" y="198"/>
                  </a:cubicBezTo>
                  <a:cubicBezTo>
                    <a:pt x="187" y="198"/>
                    <a:pt x="179" y="193"/>
                    <a:pt x="177" y="197"/>
                  </a:cubicBezTo>
                  <a:cubicBezTo>
                    <a:pt x="175" y="201"/>
                    <a:pt x="175" y="203"/>
                    <a:pt x="174" y="206"/>
                  </a:cubicBezTo>
                  <a:cubicBezTo>
                    <a:pt x="173" y="209"/>
                    <a:pt x="176" y="205"/>
                    <a:pt x="169" y="212"/>
                  </a:cubicBezTo>
                  <a:cubicBezTo>
                    <a:pt x="161" y="219"/>
                    <a:pt x="162" y="219"/>
                    <a:pt x="160" y="223"/>
                  </a:cubicBezTo>
                  <a:cubicBezTo>
                    <a:pt x="157" y="227"/>
                    <a:pt x="151" y="225"/>
                    <a:pt x="153" y="232"/>
                  </a:cubicBezTo>
                  <a:cubicBezTo>
                    <a:pt x="155" y="239"/>
                    <a:pt x="156" y="238"/>
                    <a:pt x="153" y="244"/>
                  </a:cubicBezTo>
                  <a:cubicBezTo>
                    <a:pt x="150" y="250"/>
                    <a:pt x="149" y="251"/>
                    <a:pt x="148" y="254"/>
                  </a:cubicBezTo>
                  <a:cubicBezTo>
                    <a:pt x="148" y="256"/>
                    <a:pt x="146" y="258"/>
                    <a:pt x="145" y="260"/>
                  </a:cubicBezTo>
                  <a:cubicBezTo>
                    <a:pt x="145" y="260"/>
                    <a:pt x="145" y="260"/>
                    <a:pt x="145" y="260"/>
                  </a:cubicBezTo>
                  <a:cubicBezTo>
                    <a:pt x="144" y="258"/>
                    <a:pt x="140" y="253"/>
                    <a:pt x="140" y="255"/>
                  </a:cubicBezTo>
                  <a:cubicBezTo>
                    <a:pt x="139" y="258"/>
                    <a:pt x="138" y="261"/>
                    <a:pt x="136" y="262"/>
                  </a:cubicBezTo>
                  <a:cubicBezTo>
                    <a:pt x="134" y="262"/>
                    <a:pt x="130" y="263"/>
                    <a:pt x="127" y="263"/>
                  </a:cubicBezTo>
                  <a:cubicBezTo>
                    <a:pt x="124" y="263"/>
                    <a:pt x="119" y="262"/>
                    <a:pt x="118" y="262"/>
                  </a:cubicBezTo>
                  <a:cubicBezTo>
                    <a:pt x="117" y="262"/>
                    <a:pt x="114" y="264"/>
                    <a:pt x="113" y="266"/>
                  </a:cubicBezTo>
                  <a:cubicBezTo>
                    <a:pt x="113" y="268"/>
                    <a:pt x="109" y="269"/>
                    <a:pt x="108" y="266"/>
                  </a:cubicBezTo>
                  <a:cubicBezTo>
                    <a:pt x="107" y="263"/>
                    <a:pt x="106" y="264"/>
                    <a:pt x="103" y="267"/>
                  </a:cubicBezTo>
                  <a:cubicBezTo>
                    <a:pt x="100" y="269"/>
                    <a:pt x="101" y="264"/>
                    <a:pt x="95" y="266"/>
                  </a:cubicBezTo>
                  <a:cubicBezTo>
                    <a:pt x="90" y="269"/>
                    <a:pt x="94" y="270"/>
                    <a:pt x="88" y="269"/>
                  </a:cubicBezTo>
                  <a:cubicBezTo>
                    <a:pt x="82" y="268"/>
                    <a:pt x="80" y="270"/>
                    <a:pt x="77" y="266"/>
                  </a:cubicBezTo>
                  <a:cubicBezTo>
                    <a:pt x="73" y="262"/>
                    <a:pt x="67" y="255"/>
                    <a:pt x="68" y="252"/>
                  </a:cubicBezTo>
                  <a:cubicBezTo>
                    <a:pt x="69" y="248"/>
                    <a:pt x="67" y="243"/>
                    <a:pt x="65" y="240"/>
                  </a:cubicBezTo>
                  <a:cubicBezTo>
                    <a:pt x="62" y="238"/>
                    <a:pt x="63" y="238"/>
                    <a:pt x="60" y="231"/>
                  </a:cubicBezTo>
                  <a:cubicBezTo>
                    <a:pt x="57" y="224"/>
                    <a:pt x="53" y="222"/>
                    <a:pt x="50" y="216"/>
                  </a:cubicBezTo>
                  <a:cubicBezTo>
                    <a:pt x="47" y="210"/>
                    <a:pt x="51" y="210"/>
                    <a:pt x="42" y="210"/>
                  </a:cubicBezTo>
                  <a:cubicBezTo>
                    <a:pt x="33" y="210"/>
                    <a:pt x="34" y="208"/>
                    <a:pt x="26" y="210"/>
                  </a:cubicBezTo>
                  <a:cubicBezTo>
                    <a:pt x="18" y="212"/>
                    <a:pt x="13" y="211"/>
                    <a:pt x="6" y="211"/>
                  </a:cubicBezTo>
                  <a:cubicBezTo>
                    <a:pt x="2" y="211"/>
                    <a:pt x="2" y="210"/>
                    <a:pt x="1" y="209"/>
                  </a:cubicBezTo>
                  <a:cubicBezTo>
                    <a:pt x="1" y="207"/>
                    <a:pt x="1" y="204"/>
                    <a:pt x="2" y="204"/>
                  </a:cubicBezTo>
                  <a:cubicBezTo>
                    <a:pt x="2" y="203"/>
                    <a:pt x="3" y="198"/>
                    <a:pt x="2" y="196"/>
                  </a:cubicBezTo>
                  <a:cubicBezTo>
                    <a:pt x="0" y="194"/>
                    <a:pt x="0" y="190"/>
                    <a:pt x="3" y="188"/>
                  </a:cubicBezTo>
                  <a:cubicBezTo>
                    <a:pt x="6" y="185"/>
                    <a:pt x="2" y="179"/>
                    <a:pt x="2" y="176"/>
                  </a:cubicBezTo>
                  <a:cubicBezTo>
                    <a:pt x="1" y="173"/>
                    <a:pt x="1" y="138"/>
                    <a:pt x="2" y="137"/>
                  </a:cubicBezTo>
                  <a:cubicBezTo>
                    <a:pt x="3" y="136"/>
                    <a:pt x="9" y="134"/>
                    <a:pt x="10" y="133"/>
                  </a:cubicBezTo>
                  <a:cubicBezTo>
                    <a:pt x="11" y="132"/>
                    <a:pt x="10" y="128"/>
                    <a:pt x="12" y="125"/>
                  </a:cubicBezTo>
                  <a:cubicBezTo>
                    <a:pt x="14" y="122"/>
                    <a:pt x="17" y="118"/>
                    <a:pt x="19" y="114"/>
                  </a:cubicBezTo>
                  <a:cubicBezTo>
                    <a:pt x="22" y="110"/>
                    <a:pt x="26" y="112"/>
                    <a:pt x="25" y="108"/>
                  </a:cubicBezTo>
                  <a:cubicBezTo>
                    <a:pt x="23" y="104"/>
                    <a:pt x="22" y="100"/>
                    <a:pt x="23" y="99"/>
                  </a:cubicBezTo>
                  <a:cubicBezTo>
                    <a:pt x="25" y="98"/>
                    <a:pt x="28" y="92"/>
                    <a:pt x="27" y="90"/>
                  </a:cubicBezTo>
                  <a:cubicBezTo>
                    <a:pt x="27" y="88"/>
                    <a:pt x="31" y="81"/>
                    <a:pt x="27" y="78"/>
                  </a:cubicBezTo>
                  <a:cubicBezTo>
                    <a:pt x="24" y="75"/>
                    <a:pt x="16" y="68"/>
                    <a:pt x="20" y="65"/>
                  </a:cubicBezTo>
                  <a:cubicBezTo>
                    <a:pt x="22" y="63"/>
                    <a:pt x="24" y="61"/>
                    <a:pt x="23" y="60"/>
                  </a:cubicBezTo>
                  <a:cubicBezTo>
                    <a:pt x="24" y="59"/>
                    <a:pt x="25" y="56"/>
                    <a:pt x="25" y="53"/>
                  </a:cubicBezTo>
                  <a:cubicBezTo>
                    <a:pt x="25" y="49"/>
                    <a:pt x="26" y="38"/>
                    <a:pt x="31" y="35"/>
                  </a:cubicBezTo>
                  <a:cubicBezTo>
                    <a:pt x="36" y="32"/>
                    <a:pt x="37" y="23"/>
                    <a:pt x="37" y="19"/>
                  </a:cubicBezTo>
                  <a:cubicBezTo>
                    <a:pt x="37" y="15"/>
                    <a:pt x="40" y="11"/>
                    <a:pt x="43" y="9"/>
                  </a:cubicBezTo>
                  <a:cubicBezTo>
                    <a:pt x="46" y="7"/>
                    <a:pt x="44" y="2"/>
                    <a:pt x="50" y="3"/>
                  </a:cubicBezTo>
                  <a:cubicBezTo>
                    <a:pt x="57" y="4"/>
                    <a:pt x="60" y="5"/>
                    <a:pt x="64" y="3"/>
                  </a:cubicBezTo>
                  <a:cubicBezTo>
                    <a:pt x="67" y="1"/>
                    <a:pt x="75" y="0"/>
                    <a:pt x="76" y="1"/>
                  </a:cubicBezTo>
                  <a:cubicBezTo>
                    <a:pt x="77" y="1"/>
                    <a:pt x="78" y="5"/>
                    <a:pt x="88" y="6"/>
                  </a:cubicBezTo>
                  <a:cubicBezTo>
                    <a:pt x="97" y="8"/>
                    <a:pt x="94" y="11"/>
                    <a:pt x="99" y="17"/>
                  </a:cubicBezTo>
                  <a:cubicBezTo>
                    <a:pt x="104" y="22"/>
                    <a:pt x="103" y="25"/>
                    <a:pt x="108" y="25"/>
                  </a:cubicBezTo>
                  <a:cubicBezTo>
                    <a:pt x="114" y="25"/>
                    <a:pt x="114" y="25"/>
                    <a:pt x="120" y="21"/>
                  </a:cubicBezTo>
                  <a:cubicBezTo>
                    <a:pt x="126" y="17"/>
                    <a:pt x="126" y="13"/>
                    <a:pt x="132" y="16"/>
                  </a:cubicBezTo>
                  <a:cubicBezTo>
                    <a:pt x="138" y="19"/>
                    <a:pt x="142" y="22"/>
                    <a:pt x="151" y="26"/>
                  </a:cubicBezTo>
                  <a:cubicBezTo>
                    <a:pt x="159" y="29"/>
                    <a:pt x="164" y="32"/>
                    <a:pt x="169" y="31"/>
                  </a:cubicBezTo>
                  <a:cubicBezTo>
                    <a:pt x="175" y="29"/>
                    <a:pt x="176" y="25"/>
                    <a:pt x="181" y="22"/>
                  </a:cubicBezTo>
                  <a:cubicBezTo>
                    <a:pt x="185" y="19"/>
                    <a:pt x="184" y="14"/>
                    <a:pt x="199" y="14"/>
                  </a:cubicBezTo>
                  <a:cubicBezTo>
                    <a:pt x="213" y="14"/>
                    <a:pt x="201" y="8"/>
                    <a:pt x="215" y="14"/>
                  </a:cubicBezTo>
                  <a:cubicBezTo>
                    <a:pt x="229" y="20"/>
                    <a:pt x="223" y="19"/>
                    <a:pt x="233" y="21"/>
                  </a:cubicBezTo>
                  <a:cubicBezTo>
                    <a:pt x="244" y="23"/>
                    <a:pt x="247" y="19"/>
                    <a:pt x="250" y="16"/>
                  </a:cubicBezTo>
                  <a:cubicBezTo>
                    <a:pt x="252" y="13"/>
                    <a:pt x="251" y="11"/>
                    <a:pt x="258" y="10"/>
                  </a:cubicBezTo>
                  <a:cubicBezTo>
                    <a:pt x="266" y="9"/>
                    <a:pt x="268" y="8"/>
                    <a:pt x="270" y="7"/>
                  </a:cubicBezTo>
                  <a:cubicBezTo>
                    <a:pt x="270" y="6"/>
                    <a:pt x="271" y="6"/>
                    <a:pt x="271" y="5"/>
                  </a:cubicBezTo>
                  <a:cubicBezTo>
                    <a:pt x="274" y="10"/>
                    <a:pt x="277" y="14"/>
                    <a:pt x="280" y="18"/>
                  </a:cubicBezTo>
                  <a:cubicBezTo>
                    <a:pt x="281" y="19"/>
                    <a:pt x="281" y="21"/>
                    <a:pt x="282" y="22"/>
                  </a:cubicBezTo>
                  <a:cubicBezTo>
                    <a:pt x="283" y="28"/>
                    <a:pt x="281" y="35"/>
                    <a:pt x="284" y="38"/>
                  </a:cubicBezTo>
                  <a:cubicBezTo>
                    <a:pt x="288" y="41"/>
                    <a:pt x="300" y="41"/>
                    <a:pt x="298" y="51"/>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29" name="Freeform 918">
              <a:extLst>
                <a:ext uri="{FF2B5EF4-FFF2-40B4-BE49-F238E27FC236}">
                  <a16:creationId xmlns:a16="http://schemas.microsoft.com/office/drawing/2014/main" id="{C36FE74B-EC88-C742-B423-FE29400F6A14}"/>
                </a:ext>
              </a:extLst>
            </p:cNvPr>
            <p:cNvSpPr>
              <a:spLocks/>
            </p:cNvSpPr>
            <p:nvPr/>
          </p:nvSpPr>
          <p:spPr bwMode="auto">
            <a:xfrm>
              <a:off x="4367227" y="2370595"/>
              <a:ext cx="309563" cy="236538"/>
            </a:xfrm>
            <a:custGeom>
              <a:avLst/>
              <a:gdLst>
                <a:gd name="T0" fmla="*/ 322 w 326"/>
                <a:gd name="T1" fmla="*/ 169 h 248"/>
                <a:gd name="T2" fmla="*/ 303 w 326"/>
                <a:gd name="T3" fmla="*/ 166 h 248"/>
                <a:gd name="T4" fmla="*/ 289 w 326"/>
                <a:gd name="T5" fmla="*/ 164 h 248"/>
                <a:gd name="T6" fmla="*/ 270 w 326"/>
                <a:gd name="T7" fmla="*/ 173 h 248"/>
                <a:gd name="T8" fmla="*/ 253 w 326"/>
                <a:gd name="T9" fmla="*/ 174 h 248"/>
                <a:gd name="T10" fmla="*/ 229 w 326"/>
                <a:gd name="T11" fmla="*/ 181 h 248"/>
                <a:gd name="T12" fmla="*/ 211 w 326"/>
                <a:gd name="T13" fmla="*/ 182 h 248"/>
                <a:gd name="T14" fmla="*/ 193 w 326"/>
                <a:gd name="T15" fmla="*/ 194 h 248"/>
                <a:gd name="T16" fmla="*/ 170 w 326"/>
                <a:gd name="T17" fmla="*/ 190 h 248"/>
                <a:gd name="T18" fmla="*/ 146 w 326"/>
                <a:gd name="T19" fmla="*/ 176 h 248"/>
                <a:gd name="T20" fmla="*/ 120 w 326"/>
                <a:gd name="T21" fmla="*/ 179 h 248"/>
                <a:gd name="T22" fmla="*/ 108 w 326"/>
                <a:gd name="T23" fmla="*/ 201 h 248"/>
                <a:gd name="T24" fmla="*/ 106 w 326"/>
                <a:gd name="T25" fmla="*/ 211 h 248"/>
                <a:gd name="T26" fmla="*/ 91 w 326"/>
                <a:gd name="T27" fmla="*/ 212 h 248"/>
                <a:gd name="T28" fmla="*/ 73 w 326"/>
                <a:gd name="T29" fmla="*/ 211 h 248"/>
                <a:gd name="T30" fmla="*/ 58 w 326"/>
                <a:gd name="T31" fmla="*/ 216 h 248"/>
                <a:gd name="T32" fmla="*/ 53 w 326"/>
                <a:gd name="T33" fmla="*/ 243 h 248"/>
                <a:gd name="T34" fmla="*/ 47 w 326"/>
                <a:gd name="T35" fmla="*/ 235 h 248"/>
                <a:gd name="T36" fmla="*/ 31 w 326"/>
                <a:gd name="T37" fmla="*/ 215 h 248"/>
                <a:gd name="T38" fmla="*/ 21 w 326"/>
                <a:gd name="T39" fmla="*/ 193 h 248"/>
                <a:gd name="T40" fmla="*/ 12 w 326"/>
                <a:gd name="T41" fmla="*/ 175 h 248"/>
                <a:gd name="T42" fmla="*/ 10 w 326"/>
                <a:gd name="T43" fmla="*/ 152 h 248"/>
                <a:gd name="T44" fmla="*/ 10 w 326"/>
                <a:gd name="T45" fmla="*/ 135 h 248"/>
                <a:gd name="T46" fmla="*/ 27 w 326"/>
                <a:gd name="T47" fmla="*/ 107 h 248"/>
                <a:gd name="T48" fmla="*/ 37 w 326"/>
                <a:gd name="T49" fmla="*/ 102 h 248"/>
                <a:gd name="T50" fmla="*/ 59 w 326"/>
                <a:gd name="T51" fmla="*/ 91 h 248"/>
                <a:gd name="T52" fmla="*/ 74 w 326"/>
                <a:gd name="T53" fmla="*/ 94 h 248"/>
                <a:gd name="T54" fmla="*/ 104 w 326"/>
                <a:gd name="T55" fmla="*/ 88 h 248"/>
                <a:gd name="T56" fmla="*/ 120 w 326"/>
                <a:gd name="T57" fmla="*/ 67 h 248"/>
                <a:gd name="T58" fmla="*/ 132 w 326"/>
                <a:gd name="T59" fmla="*/ 59 h 248"/>
                <a:gd name="T60" fmla="*/ 168 w 326"/>
                <a:gd name="T61" fmla="*/ 43 h 248"/>
                <a:gd name="T62" fmla="*/ 187 w 326"/>
                <a:gd name="T63" fmla="*/ 16 h 248"/>
                <a:gd name="T64" fmla="*/ 209 w 326"/>
                <a:gd name="T65" fmla="*/ 4 h 248"/>
                <a:gd name="T66" fmla="*/ 220 w 326"/>
                <a:gd name="T67" fmla="*/ 11 h 248"/>
                <a:gd name="T68" fmla="*/ 235 w 326"/>
                <a:gd name="T69" fmla="*/ 45 h 248"/>
                <a:gd name="T70" fmla="*/ 245 w 326"/>
                <a:gd name="T71" fmla="*/ 68 h 248"/>
                <a:gd name="T72" fmla="*/ 248 w 326"/>
                <a:gd name="T73" fmla="*/ 80 h 248"/>
                <a:gd name="T74" fmla="*/ 275 w 326"/>
                <a:gd name="T75" fmla="*/ 96 h 248"/>
                <a:gd name="T76" fmla="*/ 292 w 326"/>
                <a:gd name="T77" fmla="*/ 114 h 248"/>
                <a:gd name="T78" fmla="*/ 306 w 326"/>
                <a:gd name="T79" fmla="*/ 133 h 248"/>
                <a:gd name="T80" fmla="*/ 325 w 326"/>
                <a:gd name="T81" fmla="*/ 161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6" h="248">
                  <a:moveTo>
                    <a:pt x="326" y="167"/>
                  </a:moveTo>
                  <a:cubicBezTo>
                    <a:pt x="326" y="168"/>
                    <a:pt x="325" y="169"/>
                    <a:pt x="322" y="169"/>
                  </a:cubicBezTo>
                  <a:cubicBezTo>
                    <a:pt x="316" y="170"/>
                    <a:pt x="315" y="168"/>
                    <a:pt x="312" y="169"/>
                  </a:cubicBezTo>
                  <a:cubicBezTo>
                    <a:pt x="308" y="170"/>
                    <a:pt x="306" y="168"/>
                    <a:pt x="303" y="166"/>
                  </a:cubicBezTo>
                  <a:cubicBezTo>
                    <a:pt x="299" y="165"/>
                    <a:pt x="302" y="164"/>
                    <a:pt x="296" y="164"/>
                  </a:cubicBezTo>
                  <a:cubicBezTo>
                    <a:pt x="291" y="164"/>
                    <a:pt x="293" y="166"/>
                    <a:pt x="289" y="164"/>
                  </a:cubicBezTo>
                  <a:cubicBezTo>
                    <a:pt x="285" y="162"/>
                    <a:pt x="276" y="158"/>
                    <a:pt x="276" y="164"/>
                  </a:cubicBezTo>
                  <a:cubicBezTo>
                    <a:pt x="276" y="169"/>
                    <a:pt x="276" y="172"/>
                    <a:pt x="270" y="173"/>
                  </a:cubicBezTo>
                  <a:cubicBezTo>
                    <a:pt x="265" y="173"/>
                    <a:pt x="262" y="175"/>
                    <a:pt x="260" y="173"/>
                  </a:cubicBezTo>
                  <a:cubicBezTo>
                    <a:pt x="257" y="171"/>
                    <a:pt x="256" y="172"/>
                    <a:pt x="253" y="174"/>
                  </a:cubicBezTo>
                  <a:cubicBezTo>
                    <a:pt x="250" y="175"/>
                    <a:pt x="245" y="176"/>
                    <a:pt x="240" y="178"/>
                  </a:cubicBezTo>
                  <a:cubicBezTo>
                    <a:pt x="234" y="180"/>
                    <a:pt x="235" y="181"/>
                    <a:pt x="229" y="181"/>
                  </a:cubicBezTo>
                  <a:cubicBezTo>
                    <a:pt x="222" y="182"/>
                    <a:pt x="219" y="181"/>
                    <a:pt x="219" y="180"/>
                  </a:cubicBezTo>
                  <a:cubicBezTo>
                    <a:pt x="218" y="178"/>
                    <a:pt x="215" y="175"/>
                    <a:pt x="211" y="182"/>
                  </a:cubicBezTo>
                  <a:cubicBezTo>
                    <a:pt x="207" y="188"/>
                    <a:pt x="210" y="193"/>
                    <a:pt x="204" y="194"/>
                  </a:cubicBezTo>
                  <a:cubicBezTo>
                    <a:pt x="199" y="195"/>
                    <a:pt x="200" y="197"/>
                    <a:pt x="193" y="194"/>
                  </a:cubicBezTo>
                  <a:cubicBezTo>
                    <a:pt x="186" y="192"/>
                    <a:pt x="186" y="191"/>
                    <a:pt x="181" y="191"/>
                  </a:cubicBezTo>
                  <a:cubicBezTo>
                    <a:pt x="175" y="192"/>
                    <a:pt x="174" y="190"/>
                    <a:pt x="170" y="190"/>
                  </a:cubicBezTo>
                  <a:cubicBezTo>
                    <a:pt x="165" y="190"/>
                    <a:pt x="157" y="190"/>
                    <a:pt x="155" y="186"/>
                  </a:cubicBezTo>
                  <a:cubicBezTo>
                    <a:pt x="153" y="183"/>
                    <a:pt x="155" y="179"/>
                    <a:pt x="146" y="176"/>
                  </a:cubicBezTo>
                  <a:cubicBezTo>
                    <a:pt x="138" y="172"/>
                    <a:pt x="134" y="165"/>
                    <a:pt x="128" y="169"/>
                  </a:cubicBezTo>
                  <a:cubicBezTo>
                    <a:pt x="122" y="172"/>
                    <a:pt x="125" y="172"/>
                    <a:pt x="120" y="179"/>
                  </a:cubicBezTo>
                  <a:cubicBezTo>
                    <a:pt x="115" y="186"/>
                    <a:pt x="109" y="182"/>
                    <a:pt x="108" y="187"/>
                  </a:cubicBezTo>
                  <a:cubicBezTo>
                    <a:pt x="107" y="193"/>
                    <a:pt x="104" y="193"/>
                    <a:pt x="108" y="201"/>
                  </a:cubicBezTo>
                  <a:cubicBezTo>
                    <a:pt x="110" y="206"/>
                    <a:pt x="109" y="209"/>
                    <a:pt x="109" y="212"/>
                  </a:cubicBezTo>
                  <a:cubicBezTo>
                    <a:pt x="107" y="212"/>
                    <a:pt x="106" y="211"/>
                    <a:pt x="106" y="211"/>
                  </a:cubicBezTo>
                  <a:cubicBezTo>
                    <a:pt x="105" y="210"/>
                    <a:pt x="102" y="212"/>
                    <a:pt x="99" y="213"/>
                  </a:cubicBezTo>
                  <a:cubicBezTo>
                    <a:pt x="97" y="213"/>
                    <a:pt x="95" y="213"/>
                    <a:pt x="91" y="212"/>
                  </a:cubicBezTo>
                  <a:cubicBezTo>
                    <a:pt x="87" y="211"/>
                    <a:pt x="88" y="210"/>
                    <a:pt x="83" y="209"/>
                  </a:cubicBezTo>
                  <a:cubicBezTo>
                    <a:pt x="78" y="208"/>
                    <a:pt x="77" y="209"/>
                    <a:pt x="73" y="211"/>
                  </a:cubicBezTo>
                  <a:cubicBezTo>
                    <a:pt x="69" y="213"/>
                    <a:pt x="70" y="212"/>
                    <a:pt x="62" y="213"/>
                  </a:cubicBezTo>
                  <a:cubicBezTo>
                    <a:pt x="53" y="214"/>
                    <a:pt x="59" y="213"/>
                    <a:pt x="58" y="216"/>
                  </a:cubicBezTo>
                  <a:cubicBezTo>
                    <a:pt x="56" y="220"/>
                    <a:pt x="56" y="225"/>
                    <a:pt x="56" y="229"/>
                  </a:cubicBezTo>
                  <a:cubicBezTo>
                    <a:pt x="55" y="233"/>
                    <a:pt x="54" y="240"/>
                    <a:pt x="53" y="243"/>
                  </a:cubicBezTo>
                  <a:cubicBezTo>
                    <a:pt x="52" y="245"/>
                    <a:pt x="51" y="247"/>
                    <a:pt x="49" y="248"/>
                  </a:cubicBezTo>
                  <a:cubicBezTo>
                    <a:pt x="49" y="244"/>
                    <a:pt x="46" y="240"/>
                    <a:pt x="47" y="235"/>
                  </a:cubicBezTo>
                  <a:cubicBezTo>
                    <a:pt x="47" y="230"/>
                    <a:pt x="46" y="230"/>
                    <a:pt x="40" y="226"/>
                  </a:cubicBezTo>
                  <a:cubicBezTo>
                    <a:pt x="34" y="221"/>
                    <a:pt x="39" y="220"/>
                    <a:pt x="31" y="215"/>
                  </a:cubicBezTo>
                  <a:cubicBezTo>
                    <a:pt x="22" y="209"/>
                    <a:pt x="25" y="209"/>
                    <a:pt x="24" y="206"/>
                  </a:cubicBezTo>
                  <a:cubicBezTo>
                    <a:pt x="23" y="203"/>
                    <a:pt x="23" y="199"/>
                    <a:pt x="21" y="193"/>
                  </a:cubicBezTo>
                  <a:cubicBezTo>
                    <a:pt x="19" y="187"/>
                    <a:pt x="21" y="189"/>
                    <a:pt x="17" y="186"/>
                  </a:cubicBezTo>
                  <a:cubicBezTo>
                    <a:pt x="13" y="183"/>
                    <a:pt x="12" y="180"/>
                    <a:pt x="12" y="175"/>
                  </a:cubicBezTo>
                  <a:cubicBezTo>
                    <a:pt x="12" y="170"/>
                    <a:pt x="10" y="170"/>
                    <a:pt x="7" y="166"/>
                  </a:cubicBezTo>
                  <a:cubicBezTo>
                    <a:pt x="3" y="162"/>
                    <a:pt x="9" y="159"/>
                    <a:pt x="10" y="152"/>
                  </a:cubicBezTo>
                  <a:cubicBezTo>
                    <a:pt x="10" y="145"/>
                    <a:pt x="9" y="147"/>
                    <a:pt x="4" y="143"/>
                  </a:cubicBezTo>
                  <a:cubicBezTo>
                    <a:pt x="0" y="139"/>
                    <a:pt x="7" y="140"/>
                    <a:pt x="10" y="135"/>
                  </a:cubicBezTo>
                  <a:cubicBezTo>
                    <a:pt x="13" y="130"/>
                    <a:pt x="18" y="131"/>
                    <a:pt x="20" y="121"/>
                  </a:cubicBezTo>
                  <a:cubicBezTo>
                    <a:pt x="21" y="111"/>
                    <a:pt x="25" y="111"/>
                    <a:pt x="27" y="107"/>
                  </a:cubicBezTo>
                  <a:cubicBezTo>
                    <a:pt x="28" y="104"/>
                    <a:pt x="30" y="102"/>
                    <a:pt x="32" y="101"/>
                  </a:cubicBezTo>
                  <a:cubicBezTo>
                    <a:pt x="33" y="101"/>
                    <a:pt x="34" y="102"/>
                    <a:pt x="37" y="102"/>
                  </a:cubicBezTo>
                  <a:cubicBezTo>
                    <a:pt x="47" y="102"/>
                    <a:pt x="45" y="100"/>
                    <a:pt x="51" y="96"/>
                  </a:cubicBezTo>
                  <a:cubicBezTo>
                    <a:pt x="57" y="93"/>
                    <a:pt x="59" y="86"/>
                    <a:pt x="59" y="91"/>
                  </a:cubicBezTo>
                  <a:cubicBezTo>
                    <a:pt x="58" y="96"/>
                    <a:pt x="53" y="96"/>
                    <a:pt x="62" y="99"/>
                  </a:cubicBezTo>
                  <a:cubicBezTo>
                    <a:pt x="70" y="102"/>
                    <a:pt x="65" y="99"/>
                    <a:pt x="74" y="94"/>
                  </a:cubicBezTo>
                  <a:cubicBezTo>
                    <a:pt x="82" y="90"/>
                    <a:pt x="72" y="89"/>
                    <a:pt x="86" y="89"/>
                  </a:cubicBezTo>
                  <a:cubicBezTo>
                    <a:pt x="99" y="89"/>
                    <a:pt x="95" y="91"/>
                    <a:pt x="104" y="88"/>
                  </a:cubicBezTo>
                  <a:cubicBezTo>
                    <a:pt x="113" y="84"/>
                    <a:pt x="114" y="85"/>
                    <a:pt x="117" y="78"/>
                  </a:cubicBezTo>
                  <a:cubicBezTo>
                    <a:pt x="119" y="71"/>
                    <a:pt x="124" y="71"/>
                    <a:pt x="120" y="67"/>
                  </a:cubicBezTo>
                  <a:cubicBezTo>
                    <a:pt x="117" y="62"/>
                    <a:pt x="111" y="61"/>
                    <a:pt x="117" y="61"/>
                  </a:cubicBezTo>
                  <a:cubicBezTo>
                    <a:pt x="122" y="60"/>
                    <a:pt x="115" y="59"/>
                    <a:pt x="132" y="59"/>
                  </a:cubicBezTo>
                  <a:cubicBezTo>
                    <a:pt x="148" y="59"/>
                    <a:pt x="150" y="60"/>
                    <a:pt x="154" y="55"/>
                  </a:cubicBezTo>
                  <a:cubicBezTo>
                    <a:pt x="158" y="49"/>
                    <a:pt x="161" y="51"/>
                    <a:pt x="168" y="43"/>
                  </a:cubicBezTo>
                  <a:cubicBezTo>
                    <a:pt x="175" y="35"/>
                    <a:pt x="178" y="31"/>
                    <a:pt x="181" y="27"/>
                  </a:cubicBezTo>
                  <a:cubicBezTo>
                    <a:pt x="185" y="24"/>
                    <a:pt x="183" y="21"/>
                    <a:pt x="187" y="16"/>
                  </a:cubicBezTo>
                  <a:cubicBezTo>
                    <a:pt x="190" y="11"/>
                    <a:pt x="186" y="9"/>
                    <a:pt x="193" y="7"/>
                  </a:cubicBezTo>
                  <a:cubicBezTo>
                    <a:pt x="200" y="6"/>
                    <a:pt x="204" y="0"/>
                    <a:pt x="209" y="4"/>
                  </a:cubicBezTo>
                  <a:cubicBezTo>
                    <a:pt x="213" y="7"/>
                    <a:pt x="218" y="9"/>
                    <a:pt x="218" y="9"/>
                  </a:cubicBezTo>
                  <a:cubicBezTo>
                    <a:pt x="219" y="9"/>
                    <a:pt x="219" y="10"/>
                    <a:pt x="220" y="11"/>
                  </a:cubicBezTo>
                  <a:cubicBezTo>
                    <a:pt x="222" y="17"/>
                    <a:pt x="223" y="17"/>
                    <a:pt x="229" y="26"/>
                  </a:cubicBezTo>
                  <a:cubicBezTo>
                    <a:pt x="234" y="35"/>
                    <a:pt x="235" y="43"/>
                    <a:pt x="235" y="45"/>
                  </a:cubicBezTo>
                  <a:cubicBezTo>
                    <a:pt x="235" y="46"/>
                    <a:pt x="229" y="62"/>
                    <a:pt x="231" y="64"/>
                  </a:cubicBezTo>
                  <a:cubicBezTo>
                    <a:pt x="232" y="66"/>
                    <a:pt x="240" y="67"/>
                    <a:pt x="245" y="68"/>
                  </a:cubicBezTo>
                  <a:cubicBezTo>
                    <a:pt x="246" y="68"/>
                    <a:pt x="247" y="69"/>
                    <a:pt x="248" y="69"/>
                  </a:cubicBezTo>
                  <a:cubicBezTo>
                    <a:pt x="251" y="71"/>
                    <a:pt x="235" y="76"/>
                    <a:pt x="248" y="80"/>
                  </a:cubicBezTo>
                  <a:cubicBezTo>
                    <a:pt x="261" y="85"/>
                    <a:pt x="262" y="81"/>
                    <a:pt x="266" y="85"/>
                  </a:cubicBezTo>
                  <a:cubicBezTo>
                    <a:pt x="270" y="88"/>
                    <a:pt x="275" y="91"/>
                    <a:pt x="275" y="96"/>
                  </a:cubicBezTo>
                  <a:cubicBezTo>
                    <a:pt x="275" y="100"/>
                    <a:pt x="262" y="102"/>
                    <a:pt x="275" y="107"/>
                  </a:cubicBezTo>
                  <a:cubicBezTo>
                    <a:pt x="288" y="112"/>
                    <a:pt x="287" y="110"/>
                    <a:pt x="292" y="114"/>
                  </a:cubicBezTo>
                  <a:cubicBezTo>
                    <a:pt x="297" y="118"/>
                    <a:pt x="298" y="121"/>
                    <a:pt x="301" y="125"/>
                  </a:cubicBezTo>
                  <a:cubicBezTo>
                    <a:pt x="304" y="129"/>
                    <a:pt x="306" y="126"/>
                    <a:pt x="306" y="133"/>
                  </a:cubicBezTo>
                  <a:cubicBezTo>
                    <a:pt x="306" y="140"/>
                    <a:pt x="307" y="143"/>
                    <a:pt x="313" y="148"/>
                  </a:cubicBezTo>
                  <a:cubicBezTo>
                    <a:pt x="318" y="152"/>
                    <a:pt x="325" y="158"/>
                    <a:pt x="325" y="161"/>
                  </a:cubicBezTo>
                  <a:cubicBezTo>
                    <a:pt x="325" y="163"/>
                    <a:pt x="326" y="165"/>
                    <a:pt x="326" y="167"/>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30" name="Freeform 919">
              <a:extLst>
                <a:ext uri="{FF2B5EF4-FFF2-40B4-BE49-F238E27FC236}">
                  <a16:creationId xmlns:a16="http://schemas.microsoft.com/office/drawing/2014/main" id="{BB671131-CC83-6547-9482-87336B3CBF1D}"/>
                </a:ext>
              </a:extLst>
            </p:cNvPr>
            <p:cNvSpPr>
              <a:spLocks/>
            </p:cNvSpPr>
            <p:nvPr/>
          </p:nvSpPr>
          <p:spPr bwMode="auto">
            <a:xfrm>
              <a:off x="4729178" y="2554745"/>
              <a:ext cx="133350" cy="152400"/>
            </a:xfrm>
            <a:custGeom>
              <a:avLst/>
              <a:gdLst>
                <a:gd name="T0" fmla="*/ 134 w 140"/>
                <a:gd name="T1" fmla="*/ 77 h 160"/>
                <a:gd name="T2" fmla="*/ 123 w 140"/>
                <a:gd name="T3" fmla="*/ 90 h 160"/>
                <a:gd name="T4" fmla="*/ 115 w 140"/>
                <a:gd name="T5" fmla="*/ 107 h 160"/>
                <a:gd name="T6" fmla="*/ 111 w 140"/>
                <a:gd name="T7" fmla="*/ 114 h 160"/>
                <a:gd name="T8" fmla="*/ 111 w 140"/>
                <a:gd name="T9" fmla="*/ 114 h 160"/>
                <a:gd name="T10" fmla="*/ 100 w 140"/>
                <a:gd name="T11" fmla="*/ 109 h 160"/>
                <a:gd name="T12" fmla="*/ 92 w 140"/>
                <a:gd name="T13" fmla="*/ 106 h 160"/>
                <a:gd name="T14" fmla="*/ 84 w 140"/>
                <a:gd name="T15" fmla="*/ 116 h 160"/>
                <a:gd name="T16" fmla="*/ 77 w 140"/>
                <a:gd name="T17" fmla="*/ 114 h 160"/>
                <a:gd name="T18" fmla="*/ 67 w 140"/>
                <a:gd name="T19" fmla="*/ 119 h 160"/>
                <a:gd name="T20" fmla="*/ 60 w 140"/>
                <a:gd name="T21" fmla="*/ 126 h 160"/>
                <a:gd name="T22" fmla="*/ 57 w 140"/>
                <a:gd name="T23" fmla="*/ 139 h 160"/>
                <a:gd name="T24" fmla="*/ 60 w 140"/>
                <a:gd name="T25" fmla="*/ 147 h 160"/>
                <a:gd name="T26" fmla="*/ 24 w 140"/>
                <a:gd name="T27" fmla="*/ 146 h 160"/>
                <a:gd name="T28" fmla="*/ 23 w 140"/>
                <a:gd name="T29" fmla="*/ 146 h 160"/>
                <a:gd name="T30" fmla="*/ 16 w 140"/>
                <a:gd name="T31" fmla="*/ 157 h 160"/>
                <a:gd name="T32" fmla="*/ 5 w 140"/>
                <a:gd name="T33" fmla="*/ 157 h 160"/>
                <a:gd name="T34" fmla="*/ 3 w 140"/>
                <a:gd name="T35" fmla="*/ 156 h 160"/>
                <a:gd name="T36" fmla="*/ 3 w 140"/>
                <a:gd name="T37" fmla="*/ 139 h 160"/>
                <a:gd name="T38" fmla="*/ 3 w 140"/>
                <a:gd name="T39" fmla="*/ 121 h 160"/>
                <a:gd name="T40" fmla="*/ 10 w 140"/>
                <a:gd name="T41" fmla="*/ 107 h 160"/>
                <a:gd name="T42" fmla="*/ 21 w 140"/>
                <a:gd name="T43" fmla="*/ 92 h 160"/>
                <a:gd name="T44" fmla="*/ 31 w 140"/>
                <a:gd name="T45" fmla="*/ 76 h 160"/>
                <a:gd name="T46" fmla="*/ 45 w 140"/>
                <a:gd name="T47" fmla="*/ 62 h 160"/>
                <a:gd name="T48" fmla="*/ 37 w 140"/>
                <a:gd name="T49" fmla="*/ 51 h 160"/>
                <a:gd name="T50" fmla="*/ 34 w 140"/>
                <a:gd name="T51" fmla="*/ 45 h 160"/>
                <a:gd name="T52" fmla="*/ 37 w 140"/>
                <a:gd name="T53" fmla="*/ 33 h 160"/>
                <a:gd name="T54" fmla="*/ 35 w 140"/>
                <a:gd name="T55" fmla="*/ 24 h 160"/>
                <a:gd name="T56" fmla="*/ 35 w 140"/>
                <a:gd name="T57" fmla="*/ 17 h 160"/>
                <a:gd name="T58" fmla="*/ 38 w 140"/>
                <a:gd name="T59" fmla="*/ 16 h 160"/>
                <a:gd name="T60" fmla="*/ 45 w 140"/>
                <a:gd name="T61" fmla="*/ 13 h 160"/>
                <a:gd name="T62" fmla="*/ 55 w 140"/>
                <a:gd name="T63" fmla="*/ 15 h 160"/>
                <a:gd name="T64" fmla="*/ 61 w 140"/>
                <a:gd name="T65" fmla="*/ 15 h 160"/>
                <a:gd name="T66" fmla="*/ 69 w 140"/>
                <a:gd name="T67" fmla="*/ 18 h 160"/>
                <a:gd name="T68" fmla="*/ 80 w 140"/>
                <a:gd name="T69" fmla="*/ 13 h 160"/>
                <a:gd name="T70" fmla="*/ 93 w 140"/>
                <a:gd name="T71" fmla="*/ 12 h 160"/>
                <a:gd name="T72" fmla="*/ 103 w 140"/>
                <a:gd name="T73" fmla="*/ 12 h 160"/>
                <a:gd name="T74" fmla="*/ 112 w 140"/>
                <a:gd name="T75" fmla="*/ 0 h 160"/>
                <a:gd name="T76" fmla="*/ 119 w 140"/>
                <a:gd name="T77" fmla="*/ 15 h 160"/>
                <a:gd name="T78" fmla="*/ 129 w 140"/>
                <a:gd name="T79" fmla="*/ 35 h 160"/>
                <a:gd name="T80" fmla="*/ 137 w 140"/>
                <a:gd name="T81" fmla="*/ 52 h 160"/>
                <a:gd name="T82" fmla="*/ 134 w 140"/>
                <a:gd name="T83" fmla="*/ 7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0" h="160">
                  <a:moveTo>
                    <a:pt x="134" y="77"/>
                  </a:moveTo>
                  <a:cubicBezTo>
                    <a:pt x="128" y="83"/>
                    <a:pt x="128" y="82"/>
                    <a:pt x="123" y="90"/>
                  </a:cubicBezTo>
                  <a:cubicBezTo>
                    <a:pt x="119" y="98"/>
                    <a:pt x="119" y="100"/>
                    <a:pt x="115" y="107"/>
                  </a:cubicBezTo>
                  <a:cubicBezTo>
                    <a:pt x="113" y="109"/>
                    <a:pt x="112" y="112"/>
                    <a:pt x="111" y="114"/>
                  </a:cubicBezTo>
                  <a:cubicBezTo>
                    <a:pt x="111" y="114"/>
                    <a:pt x="111" y="114"/>
                    <a:pt x="111" y="114"/>
                  </a:cubicBezTo>
                  <a:cubicBezTo>
                    <a:pt x="105" y="112"/>
                    <a:pt x="103" y="112"/>
                    <a:pt x="100" y="109"/>
                  </a:cubicBezTo>
                  <a:cubicBezTo>
                    <a:pt x="98" y="106"/>
                    <a:pt x="93" y="98"/>
                    <a:pt x="92" y="106"/>
                  </a:cubicBezTo>
                  <a:cubicBezTo>
                    <a:pt x="92" y="113"/>
                    <a:pt x="87" y="118"/>
                    <a:pt x="84" y="116"/>
                  </a:cubicBezTo>
                  <a:cubicBezTo>
                    <a:pt x="81" y="114"/>
                    <a:pt x="80" y="110"/>
                    <a:pt x="77" y="114"/>
                  </a:cubicBezTo>
                  <a:cubicBezTo>
                    <a:pt x="73" y="118"/>
                    <a:pt x="69" y="116"/>
                    <a:pt x="67" y="119"/>
                  </a:cubicBezTo>
                  <a:cubicBezTo>
                    <a:pt x="64" y="122"/>
                    <a:pt x="60" y="122"/>
                    <a:pt x="60" y="126"/>
                  </a:cubicBezTo>
                  <a:cubicBezTo>
                    <a:pt x="60" y="130"/>
                    <a:pt x="54" y="134"/>
                    <a:pt x="57" y="139"/>
                  </a:cubicBezTo>
                  <a:cubicBezTo>
                    <a:pt x="59" y="142"/>
                    <a:pt x="60" y="144"/>
                    <a:pt x="60" y="147"/>
                  </a:cubicBezTo>
                  <a:cubicBezTo>
                    <a:pt x="42" y="147"/>
                    <a:pt x="27" y="147"/>
                    <a:pt x="24" y="146"/>
                  </a:cubicBezTo>
                  <a:cubicBezTo>
                    <a:pt x="24" y="146"/>
                    <a:pt x="23" y="146"/>
                    <a:pt x="23" y="146"/>
                  </a:cubicBezTo>
                  <a:cubicBezTo>
                    <a:pt x="19" y="146"/>
                    <a:pt x="20" y="154"/>
                    <a:pt x="16" y="157"/>
                  </a:cubicBezTo>
                  <a:cubicBezTo>
                    <a:pt x="11" y="160"/>
                    <a:pt x="12" y="158"/>
                    <a:pt x="5" y="157"/>
                  </a:cubicBezTo>
                  <a:cubicBezTo>
                    <a:pt x="4" y="156"/>
                    <a:pt x="4" y="156"/>
                    <a:pt x="3" y="156"/>
                  </a:cubicBezTo>
                  <a:cubicBezTo>
                    <a:pt x="0" y="153"/>
                    <a:pt x="3" y="147"/>
                    <a:pt x="3" y="139"/>
                  </a:cubicBezTo>
                  <a:cubicBezTo>
                    <a:pt x="2" y="131"/>
                    <a:pt x="3" y="125"/>
                    <a:pt x="3" y="121"/>
                  </a:cubicBezTo>
                  <a:cubicBezTo>
                    <a:pt x="3" y="117"/>
                    <a:pt x="9" y="115"/>
                    <a:pt x="10" y="107"/>
                  </a:cubicBezTo>
                  <a:cubicBezTo>
                    <a:pt x="10" y="100"/>
                    <a:pt x="16" y="99"/>
                    <a:pt x="21" y="92"/>
                  </a:cubicBezTo>
                  <a:cubicBezTo>
                    <a:pt x="27" y="84"/>
                    <a:pt x="27" y="85"/>
                    <a:pt x="31" y="76"/>
                  </a:cubicBezTo>
                  <a:cubicBezTo>
                    <a:pt x="36" y="68"/>
                    <a:pt x="44" y="66"/>
                    <a:pt x="45" y="62"/>
                  </a:cubicBezTo>
                  <a:cubicBezTo>
                    <a:pt x="46" y="58"/>
                    <a:pt x="45" y="55"/>
                    <a:pt x="37" y="51"/>
                  </a:cubicBezTo>
                  <a:cubicBezTo>
                    <a:pt x="30" y="47"/>
                    <a:pt x="34" y="50"/>
                    <a:pt x="34" y="45"/>
                  </a:cubicBezTo>
                  <a:cubicBezTo>
                    <a:pt x="34" y="40"/>
                    <a:pt x="35" y="39"/>
                    <a:pt x="37" y="33"/>
                  </a:cubicBezTo>
                  <a:cubicBezTo>
                    <a:pt x="38" y="27"/>
                    <a:pt x="37" y="27"/>
                    <a:pt x="35" y="24"/>
                  </a:cubicBezTo>
                  <a:cubicBezTo>
                    <a:pt x="33" y="22"/>
                    <a:pt x="34" y="20"/>
                    <a:pt x="35" y="17"/>
                  </a:cubicBezTo>
                  <a:cubicBezTo>
                    <a:pt x="36" y="17"/>
                    <a:pt x="36" y="17"/>
                    <a:pt x="38" y="16"/>
                  </a:cubicBezTo>
                  <a:cubicBezTo>
                    <a:pt x="40" y="14"/>
                    <a:pt x="41" y="11"/>
                    <a:pt x="45" y="13"/>
                  </a:cubicBezTo>
                  <a:cubicBezTo>
                    <a:pt x="49" y="15"/>
                    <a:pt x="53" y="17"/>
                    <a:pt x="55" y="15"/>
                  </a:cubicBezTo>
                  <a:cubicBezTo>
                    <a:pt x="56" y="14"/>
                    <a:pt x="59" y="12"/>
                    <a:pt x="61" y="15"/>
                  </a:cubicBezTo>
                  <a:cubicBezTo>
                    <a:pt x="63" y="17"/>
                    <a:pt x="67" y="19"/>
                    <a:pt x="69" y="18"/>
                  </a:cubicBezTo>
                  <a:cubicBezTo>
                    <a:pt x="70" y="17"/>
                    <a:pt x="75" y="14"/>
                    <a:pt x="80" y="13"/>
                  </a:cubicBezTo>
                  <a:cubicBezTo>
                    <a:pt x="86" y="12"/>
                    <a:pt x="90" y="10"/>
                    <a:pt x="93" y="12"/>
                  </a:cubicBezTo>
                  <a:cubicBezTo>
                    <a:pt x="96" y="14"/>
                    <a:pt x="101" y="16"/>
                    <a:pt x="103" y="12"/>
                  </a:cubicBezTo>
                  <a:cubicBezTo>
                    <a:pt x="105" y="9"/>
                    <a:pt x="108" y="4"/>
                    <a:pt x="112" y="0"/>
                  </a:cubicBezTo>
                  <a:cubicBezTo>
                    <a:pt x="116" y="6"/>
                    <a:pt x="117" y="12"/>
                    <a:pt x="119" y="15"/>
                  </a:cubicBezTo>
                  <a:cubicBezTo>
                    <a:pt x="121" y="19"/>
                    <a:pt x="129" y="29"/>
                    <a:pt x="129" y="35"/>
                  </a:cubicBezTo>
                  <a:cubicBezTo>
                    <a:pt x="129" y="40"/>
                    <a:pt x="137" y="40"/>
                    <a:pt x="137" y="52"/>
                  </a:cubicBezTo>
                  <a:cubicBezTo>
                    <a:pt x="137" y="64"/>
                    <a:pt x="140" y="71"/>
                    <a:pt x="134" y="77"/>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31" name="Freeform 920">
              <a:extLst>
                <a:ext uri="{FF2B5EF4-FFF2-40B4-BE49-F238E27FC236}">
                  <a16:creationId xmlns:a16="http://schemas.microsoft.com/office/drawing/2014/main" id="{5F20240D-6DB6-B646-B54A-51B78C5B9C05}"/>
                </a:ext>
              </a:extLst>
            </p:cNvPr>
            <p:cNvSpPr>
              <a:spLocks/>
            </p:cNvSpPr>
            <p:nvPr/>
          </p:nvSpPr>
          <p:spPr bwMode="auto">
            <a:xfrm>
              <a:off x="4711715" y="2692858"/>
              <a:ext cx="52388" cy="50800"/>
            </a:xfrm>
            <a:custGeom>
              <a:avLst/>
              <a:gdLst>
                <a:gd name="T0" fmla="*/ 54 w 55"/>
                <a:gd name="T1" fmla="*/ 32 h 52"/>
                <a:gd name="T2" fmla="*/ 50 w 55"/>
                <a:gd name="T3" fmla="*/ 38 h 52"/>
                <a:gd name="T4" fmla="*/ 47 w 55"/>
                <a:gd name="T5" fmla="*/ 40 h 52"/>
                <a:gd name="T6" fmla="*/ 45 w 55"/>
                <a:gd name="T7" fmla="*/ 39 h 52"/>
                <a:gd name="T8" fmla="*/ 29 w 55"/>
                <a:gd name="T9" fmla="*/ 38 h 52"/>
                <a:gd name="T10" fmla="*/ 25 w 55"/>
                <a:gd name="T11" fmla="*/ 52 h 52"/>
                <a:gd name="T12" fmla="*/ 11 w 55"/>
                <a:gd name="T13" fmla="*/ 45 h 52"/>
                <a:gd name="T14" fmla="*/ 6 w 55"/>
                <a:gd name="T15" fmla="*/ 47 h 52"/>
                <a:gd name="T16" fmla="*/ 6 w 55"/>
                <a:gd name="T17" fmla="*/ 47 h 52"/>
                <a:gd name="T18" fmla="*/ 5 w 55"/>
                <a:gd name="T19" fmla="*/ 47 h 52"/>
                <a:gd name="T20" fmla="*/ 5 w 55"/>
                <a:gd name="T21" fmla="*/ 40 h 52"/>
                <a:gd name="T22" fmla="*/ 11 w 55"/>
                <a:gd name="T23" fmla="*/ 31 h 52"/>
                <a:gd name="T24" fmla="*/ 12 w 55"/>
                <a:gd name="T25" fmla="*/ 21 h 52"/>
                <a:gd name="T26" fmla="*/ 17 w 55"/>
                <a:gd name="T27" fmla="*/ 14 h 52"/>
                <a:gd name="T28" fmla="*/ 22 w 55"/>
                <a:gd name="T29" fmla="*/ 10 h 52"/>
                <a:gd name="T30" fmla="*/ 24 w 55"/>
                <a:gd name="T31" fmla="*/ 11 h 52"/>
                <a:gd name="T32" fmla="*/ 35 w 55"/>
                <a:gd name="T33" fmla="*/ 11 h 52"/>
                <a:gd name="T34" fmla="*/ 42 w 55"/>
                <a:gd name="T35" fmla="*/ 0 h 52"/>
                <a:gd name="T36" fmla="*/ 43 w 55"/>
                <a:gd name="T37" fmla="*/ 3 h 52"/>
                <a:gd name="T38" fmla="*/ 49 w 55"/>
                <a:gd name="T39" fmla="*/ 11 h 52"/>
                <a:gd name="T40" fmla="*/ 53 w 55"/>
                <a:gd name="T41" fmla="*/ 20 h 52"/>
                <a:gd name="T42" fmla="*/ 54 w 55"/>
                <a:gd name="T4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52">
                  <a:moveTo>
                    <a:pt x="54" y="32"/>
                  </a:moveTo>
                  <a:cubicBezTo>
                    <a:pt x="54" y="38"/>
                    <a:pt x="53" y="36"/>
                    <a:pt x="50" y="38"/>
                  </a:cubicBezTo>
                  <a:cubicBezTo>
                    <a:pt x="48" y="39"/>
                    <a:pt x="47" y="40"/>
                    <a:pt x="47" y="40"/>
                  </a:cubicBezTo>
                  <a:cubicBezTo>
                    <a:pt x="46" y="40"/>
                    <a:pt x="46" y="40"/>
                    <a:pt x="45" y="39"/>
                  </a:cubicBezTo>
                  <a:cubicBezTo>
                    <a:pt x="39" y="38"/>
                    <a:pt x="30" y="33"/>
                    <a:pt x="29" y="38"/>
                  </a:cubicBezTo>
                  <a:cubicBezTo>
                    <a:pt x="29" y="44"/>
                    <a:pt x="29" y="52"/>
                    <a:pt x="25" y="52"/>
                  </a:cubicBezTo>
                  <a:cubicBezTo>
                    <a:pt x="22" y="51"/>
                    <a:pt x="14" y="47"/>
                    <a:pt x="11" y="45"/>
                  </a:cubicBezTo>
                  <a:cubicBezTo>
                    <a:pt x="10" y="44"/>
                    <a:pt x="8" y="46"/>
                    <a:pt x="6" y="47"/>
                  </a:cubicBezTo>
                  <a:cubicBezTo>
                    <a:pt x="6" y="47"/>
                    <a:pt x="6" y="47"/>
                    <a:pt x="6" y="47"/>
                  </a:cubicBezTo>
                  <a:cubicBezTo>
                    <a:pt x="6" y="47"/>
                    <a:pt x="5" y="47"/>
                    <a:pt x="5" y="47"/>
                  </a:cubicBezTo>
                  <a:cubicBezTo>
                    <a:pt x="0" y="46"/>
                    <a:pt x="5" y="44"/>
                    <a:pt x="5" y="40"/>
                  </a:cubicBezTo>
                  <a:cubicBezTo>
                    <a:pt x="5" y="36"/>
                    <a:pt x="9" y="37"/>
                    <a:pt x="11" y="31"/>
                  </a:cubicBezTo>
                  <a:cubicBezTo>
                    <a:pt x="12" y="26"/>
                    <a:pt x="12" y="25"/>
                    <a:pt x="12" y="21"/>
                  </a:cubicBezTo>
                  <a:cubicBezTo>
                    <a:pt x="12" y="17"/>
                    <a:pt x="14" y="18"/>
                    <a:pt x="17" y="14"/>
                  </a:cubicBezTo>
                  <a:cubicBezTo>
                    <a:pt x="19" y="12"/>
                    <a:pt x="21" y="11"/>
                    <a:pt x="22" y="10"/>
                  </a:cubicBezTo>
                  <a:cubicBezTo>
                    <a:pt x="23" y="10"/>
                    <a:pt x="23" y="10"/>
                    <a:pt x="24" y="11"/>
                  </a:cubicBezTo>
                  <a:cubicBezTo>
                    <a:pt x="31" y="12"/>
                    <a:pt x="30" y="14"/>
                    <a:pt x="35" y="11"/>
                  </a:cubicBezTo>
                  <a:cubicBezTo>
                    <a:pt x="39" y="8"/>
                    <a:pt x="38" y="0"/>
                    <a:pt x="42" y="0"/>
                  </a:cubicBezTo>
                  <a:cubicBezTo>
                    <a:pt x="42" y="1"/>
                    <a:pt x="43" y="3"/>
                    <a:pt x="43" y="3"/>
                  </a:cubicBezTo>
                  <a:cubicBezTo>
                    <a:pt x="44" y="4"/>
                    <a:pt x="47" y="9"/>
                    <a:pt x="49" y="11"/>
                  </a:cubicBezTo>
                  <a:cubicBezTo>
                    <a:pt x="52" y="14"/>
                    <a:pt x="52" y="14"/>
                    <a:pt x="53" y="20"/>
                  </a:cubicBezTo>
                  <a:cubicBezTo>
                    <a:pt x="54" y="25"/>
                    <a:pt x="55" y="26"/>
                    <a:pt x="54" y="3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32" name="Freeform 921">
              <a:extLst>
                <a:ext uri="{FF2B5EF4-FFF2-40B4-BE49-F238E27FC236}">
                  <a16:creationId xmlns:a16="http://schemas.microsoft.com/office/drawing/2014/main" id="{44F7729E-7C5D-324A-9BB3-0716E8EF35EE}"/>
                </a:ext>
              </a:extLst>
            </p:cNvPr>
            <p:cNvSpPr>
              <a:spLocks/>
            </p:cNvSpPr>
            <p:nvPr/>
          </p:nvSpPr>
          <p:spPr bwMode="auto">
            <a:xfrm>
              <a:off x="4249751" y="2607133"/>
              <a:ext cx="47625" cy="33338"/>
            </a:xfrm>
            <a:custGeom>
              <a:avLst/>
              <a:gdLst>
                <a:gd name="T0" fmla="*/ 51 w 51"/>
                <a:gd name="T1" fmla="*/ 14 h 36"/>
                <a:gd name="T2" fmla="*/ 50 w 51"/>
                <a:gd name="T3" fmla="*/ 34 h 36"/>
                <a:gd name="T4" fmla="*/ 1 w 51"/>
                <a:gd name="T5" fmla="*/ 36 h 36"/>
                <a:gd name="T6" fmla="*/ 0 w 51"/>
                <a:gd name="T7" fmla="*/ 32 h 36"/>
                <a:gd name="T8" fmla="*/ 15 w 51"/>
                <a:gd name="T9" fmla="*/ 12 h 36"/>
                <a:gd name="T10" fmla="*/ 13 w 51"/>
                <a:gd name="T11" fmla="*/ 0 h 36"/>
                <a:gd name="T12" fmla="*/ 30 w 51"/>
                <a:gd name="T13" fmla="*/ 4 h 36"/>
                <a:gd name="T14" fmla="*/ 49 w 51"/>
                <a:gd name="T15" fmla="*/ 2 h 36"/>
                <a:gd name="T16" fmla="*/ 50 w 51"/>
                <a:gd name="T17" fmla="*/ 3 h 36"/>
                <a:gd name="T18" fmla="*/ 51 w 51"/>
                <a:gd name="T19" fmla="*/ 1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6">
                  <a:moveTo>
                    <a:pt x="51" y="14"/>
                  </a:moveTo>
                  <a:cubicBezTo>
                    <a:pt x="51" y="20"/>
                    <a:pt x="50" y="34"/>
                    <a:pt x="50" y="34"/>
                  </a:cubicBezTo>
                  <a:cubicBezTo>
                    <a:pt x="1" y="36"/>
                    <a:pt x="1" y="36"/>
                    <a:pt x="1" y="36"/>
                  </a:cubicBezTo>
                  <a:cubicBezTo>
                    <a:pt x="0" y="35"/>
                    <a:pt x="0" y="34"/>
                    <a:pt x="0" y="32"/>
                  </a:cubicBezTo>
                  <a:cubicBezTo>
                    <a:pt x="1" y="22"/>
                    <a:pt x="15" y="13"/>
                    <a:pt x="15" y="12"/>
                  </a:cubicBezTo>
                  <a:cubicBezTo>
                    <a:pt x="16" y="11"/>
                    <a:pt x="11" y="8"/>
                    <a:pt x="13" y="0"/>
                  </a:cubicBezTo>
                  <a:cubicBezTo>
                    <a:pt x="16" y="1"/>
                    <a:pt x="21" y="3"/>
                    <a:pt x="30" y="4"/>
                  </a:cubicBezTo>
                  <a:cubicBezTo>
                    <a:pt x="39" y="4"/>
                    <a:pt x="46" y="3"/>
                    <a:pt x="49" y="2"/>
                  </a:cubicBezTo>
                  <a:cubicBezTo>
                    <a:pt x="50" y="2"/>
                    <a:pt x="50" y="3"/>
                    <a:pt x="50" y="3"/>
                  </a:cubicBezTo>
                  <a:cubicBezTo>
                    <a:pt x="51" y="7"/>
                    <a:pt x="51" y="9"/>
                    <a:pt x="51" y="1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33" name="Freeform 922">
              <a:extLst>
                <a:ext uri="{FF2B5EF4-FFF2-40B4-BE49-F238E27FC236}">
                  <a16:creationId xmlns:a16="http://schemas.microsoft.com/office/drawing/2014/main" id="{ED794198-84E0-5C42-823E-7684C24F90ED}"/>
                </a:ext>
              </a:extLst>
            </p:cNvPr>
            <p:cNvSpPr>
              <a:spLocks/>
            </p:cNvSpPr>
            <p:nvPr/>
          </p:nvSpPr>
          <p:spPr bwMode="auto">
            <a:xfrm>
              <a:off x="3617924" y="2219782"/>
              <a:ext cx="147638" cy="120650"/>
            </a:xfrm>
            <a:custGeom>
              <a:avLst/>
              <a:gdLst>
                <a:gd name="T0" fmla="*/ 149 w 155"/>
                <a:gd name="T1" fmla="*/ 122 h 126"/>
                <a:gd name="T2" fmla="*/ 147 w 155"/>
                <a:gd name="T3" fmla="*/ 125 h 126"/>
                <a:gd name="T4" fmla="*/ 128 w 155"/>
                <a:gd name="T5" fmla="*/ 124 h 126"/>
                <a:gd name="T6" fmla="*/ 114 w 155"/>
                <a:gd name="T7" fmla="*/ 119 h 126"/>
                <a:gd name="T8" fmla="*/ 94 w 155"/>
                <a:gd name="T9" fmla="*/ 115 h 126"/>
                <a:gd name="T10" fmla="*/ 90 w 155"/>
                <a:gd name="T11" fmla="*/ 115 h 126"/>
                <a:gd name="T12" fmla="*/ 63 w 155"/>
                <a:gd name="T13" fmla="*/ 115 h 126"/>
                <a:gd name="T14" fmla="*/ 47 w 155"/>
                <a:gd name="T15" fmla="*/ 117 h 126"/>
                <a:gd name="T16" fmla="*/ 15 w 155"/>
                <a:gd name="T17" fmla="*/ 115 h 126"/>
                <a:gd name="T18" fmla="*/ 15 w 155"/>
                <a:gd name="T19" fmla="*/ 107 h 126"/>
                <a:gd name="T20" fmla="*/ 14 w 155"/>
                <a:gd name="T21" fmla="*/ 102 h 126"/>
                <a:gd name="T22" fmla="*/ 17 w 155"/>
                <a:gd name="T23" fmla="*/ 102 h 126"/>
                <a:gd name="T24" fmla="*/ 31 w 155"/>
                <a:gd name="T25" fmla="*/ 100 h 126"/>
                <a:gd name="T26" fmla="*/ 38 w 155"/>
                <a:gd name="T27" fmla="*/ 100 h 126"/>
                <a:gd name="T28" fmla="*/ 46 w 155"/>
                <a:gd name="T29" fmla="*/ 94 h 126"/>
                <a:gd name="T30" fmla="*/ 59 w 155"/>
                <a:gd name="T31" fmla="*/ 90 h 126"/>
                <a:gd name="T32" fmla="*/ 69 w 155"/>
                <a:gd name="T33" fmla="*/ 95 h 126"/>
                <a:gd name="T34" fmla="*/ 84 w 155"/>
                <a:gd name="T35" fmla="*/ 98 h 126"/>
                <a:gd name="T36" fmla="*/ 90 w 155"/>
                <a:gd name="T37" fmla="*/ 91 h 126"/>
                <a:gd name="T38" fmla="*/ 77 w 155"/>
                <a:gd name="T39" fmla="*/ 91 h 126"/>
                <a:gd name="T40" fmla="*/ 69 w 155"/>
                <a:gd name="T41" fmla="*/ 86 h 126"/>
                <a:gd name="T42" fmla="*/ 59 w 155"/>
                <a:gd name="T43" fmla="*/ 82 h 126"/>
                <a:gd name="T44" fmla="*/ 50 w 155"/>
                <a:gd name="T45" fmla="*/ 85 h 126"/>
                <a:gd name="T46" fmla="*/ 35 w 155"/>
                <a:gd name="T47" fmla="*/ 90 h 126"/>
                <a:gd name="T48" fmla="*/ 22 w 155"/>
                <a:gd name="T49" fmla="*/ 89 h 126"/>
                <a:gd name="T50" fmla="*/ 18 w 155"/>
                <a:gd name="T51" fmla="*/ 78 h 126"/>
                <a:gd name="T52" fmla="*/ 8 w 155"/>
                <a:gd name="T53" fmla="*/ 61 h 126"/>
                <a:gd name="T54" fmla="*/ 3 w 155"/>
                <a:gd name="T55" fmla="*/ 53 h 126"/>
                <a:gd name="T56" fmla="*/ 21 w 155"/>
                <a:gd name="T57" fmla="*/ 33 h 126"/>
                <a:gd name="T58" fmla="*/ 27 w 155"/>
                <a:gd name="T59" fmla="*/ 13 h 126"/>
                <a:gd name="T60" fmla="*/ 32 w 155"/>
                <a:gd name="T61" fmla="*/ 8 h 126"/>
                <a:gd name="T62" fmla="*/ 40 w 155"/>
                <a:gd name="T63" fmla="*/ 7 h 126"/>
                <a:gd name="T64" fmla="*/ 49 w 155"/>
                <a:gd name="T65" fmla="*/ 8 h 126"/>
                <a:gd name="T66" fmla="*/ 58 w 155"/>
                <a:gd name="T67" fmla="*/ 6 h 126"/>
                <a:gd name="T68" fmla="*/ 66 w 155"/>
                <a:gd name="T69" fmla="*/ 2 h 126"/>
                <a:gd name="T70" fmla="*/ 78 w 155"/>
                <a:gd name="T71" fmla="*/ 5 h 126"/>
                <a:gd name="T72" fmla="*/ 89 w 155"/>
                <a:gd name="T73" fmla="*/ 14 h 126"/>
                <a:gd name="T74" fmla="*/ 99 w 155"/>
                <a:gd name="T75" fmla="*/ 17 h 126"/>
                <a:gd name="T76" fmla="*/ 107 w 155"/>
                <a:gd name="T77" fmla="*/ 28 h 126"/>
                <a:gd name="T78" fmla="*/ 111 w 155"/>
                <a:gd name="T79" fmla="*/ 37 h 126"/>
                <a:gd name="T80" fmla="*/ 125 w 155"/>
                <a:gd name="T81" fmla="*/ 52 h 126"/>
                <a:gd name="T82" fmla="*/ 132 w 155"/>
                <a:gd name="T83" fmla="*/ 57 h 126"/>
                <a:gd name="T84" fmla="*/ 131 w 155"/>
                <a:gd name="T85" fmla="*/ 62 h 126"/>
                <a:gd name="T86" fmla="*/ 136 w 155"/>
                <a:gd name="T87" fmla="*/ 73 h 126"/>
                <a:gd name="T88" fmla="*/ 134 w 155"/>
                <a:gd name="T89" fmla="*/ 86 h 126"/>
                <a:gd name="T90" fmla="*/ 144 w 155"/>
                <a:gd name="T91" fmla="*/ 94 h 126"/>
                <a:gd name="T92" fmla="*/ 150 w 155"/>
                <a:gd name="T93" fmla="*/ 108 h 126"/>
                <a:gd name="T94" fmla="*/ 149 w 155"/>
                <a:gd name="T95" fmla="*/ 12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5" h="126">
                  <a:moveTo>
                    <a:pt x="149" y="122"/>
                  </a:moveTo>
                  <a:cubicBezTo>
                    <a:pt x="149" y="124"/>
                    <a:pt x="148" y="124"/>
                    <a:pt x="147" y="125"/>
                  </a:cubicBezTo>
                  <a:cubicBezTo>
                    <a:pt x="142" y="126"/>
                    <a:pt x="132" y="123"/>
                    <a:pt x="128" y="124"/>
                  </a:cubicBezTo>
                  <a:cubicBezTo>
                    <a:pt x="123" y="125"/>
                    <a:pt x="120" y="123"/>
                    <a:pt x="114" y="119"/>
                  </a:cubicBezTo>
                  <a:cubicBezTo>
                    <a:pt x="108" y="116"/>
                    <a:pt x="106" y="115"/>
                    <a:pt x="94" y="115"/>
                  </a:cubicBezTo>
                  <a:cubicBezTo>
                    <a:pt x="93" y="115"/>
                    <a:pt x="91" y="115"/>
                    <a:pt x="90" y="115"/>
                  </a:cubicBezTo>
                  <a:cubicBezTo>
                    <a:pt x="74" y="116"/>
                    <a:pt x="72" y="115"/>
                    <a:pt x="63" y="115"/>
                  </a:cubicBezTo>
                  <a:cubicBezTo>
                    <a:pt x="54" y="115"/>
                    <a:pt x="50" y="118"/>
                    <a:pt x="47" y="117"/>
                  </a:cubicBezTo>
                  <a:cubicBezTo>
                    <a:pt x="44" y="116"/>
                    <a:pt x="23" y="115"/>
                    <a:pt x="15" y="115"/>
                  </a:cubicBezTo>
                  <a:cubicBezTo>
                    <a:pt x="15" y="113"/>
                    <a:pt x="14" y="111"/>
                    <a:pt x="15" y="107"/>
                  </a:cubicBezTo>
                  <a:cubicBezTo>
                    <a:pt x="15" y="104"/>
                    <a:pt x="15" y="103"/>
                    <a:pt x="14" y="102"/>
                  </a:cubicBezTo>
                  <a:cubicBezTo>
                    <a:pt x="17" y="102"/>
                    <a:pt x="17" y="102"/>
                    <a:pt x="17" y="102"/>
                  </a:cubicBezTo>
                  <a:cubicBezTo>
                    <a:pt x="17" y="102"/>
                    <a:pt x="26" y="101"/>
                    <a:pt x="31" y="100"/>
                  </a:cubicBezTo>
                  <a:cubicBezTo>
                    <a:pt x="37" y="100"/>
                    <a:pt x="34" y="101"/>
                    <a:pt x="38" y="100"/>
                  </a:cubicBezTo>
                  <a:cubicBezTo>
                    <a:pt x="43" y="100"/>
                    <a:pt x="43" y="96"/>
                    <a:pt x="46" y="94"/>
                  </a:cubicBezTo>
                  <a:cubicBezTo>
                    <a:pt x="49" y="92"/>
                    <a:pt x="55" y="94"/>
                    <a:pt x="59" y="90"/>
                  </a:cubicBezTo>
                  <a:cubicBezTo>
                    <a:pt x="63" y="87"/>
                    <a:pt x="67" y="93"/>
                    <a:pt x="69" y="95"/>
                  </a:cubicBezTo>
                  <a:cubicBezTo>
                    <a:pt x="71" y="97"/>
                    <a:pt x="77" y="98"/>
                    <a:pt x="84" y="98"/>
                  </a:cubicBezTo>
                  <a:cubicBezTo>
                    <a:pt x="90" y="98"/>
                    <a:pt x="89" y="95"/>
                    <a:pt x="90" y="91"/>
                  </a:cubicBezTo>
                  <a:cubicBezTo>
                    <a:pt x="90" y="87"/>
                    <a:pt x="85" y="90"/>
                    <a:pt x="77" y="91"/>
                  </a:cubicBezTo>
                  <a:cubicBezTo>
                    <a:pt x="70" y="92"/>
                    <a:pt x="74" y="89"/>
                    <a:pt x="69" y="86"/>
                  </a:cubicBezTo>
                  <a:cubicBezTo>
                    <a:pt x="63" y="83"/>
                    <a:pt x="64" y="83"/>
                    <a:pt x="59" y="82"/>
                  </a:cubicBezTo>
                  <a:cubicBezTo>
                    <a:pt x="55" y="81"/>
                    <a:pt x="56" y="82"/>
                    <a:pt x="50" y="85"/>
                  </a:cubicBezTo>
                  <a:cubicBezTo>
                    <a:pt x="45" y="88"/>
                    <a:pt x="44" y="89"/>
                    <a:pt x="35" y="90"/>
                  </a:cubicBezTo>
                  <a:cubicBezTo>
                    <a:pt x="27" y="91"/>
                    <a:pt x="27" y="90"/>
                    <a:pt x="22" y="89"/>
                  </a:cubicBezTo>
                  <a:cubicBezTo>
                    <a:pt x="22" y="86"/>
                    <a:pt x="21" y="82"/>
                    <a:pt x="18" y="78"/>
                  </a:cubicBezTo>
                  <a:cubicBezTo>
                    <a:pt x="13" y="72"/>
                    <a:pt x="13" y="64"/>
                    <a:pt x="8" y="61"/>
                  </a:cubicBezTo>
                  <a:cubicBezTo>
                    <a:pt x="2" y="59"/>
                    <a:pt x="0" y="54"/>
                    <a:pt x="3" y="53"/>
                  </a:cubicBezTo>
                  <a:cubicBezTo>
                    <a:pt x="6" y="52"/>
                    <a:pt x="16" y="43"/>
                    <a:pt x="21" y="33"/>
                  </a:cubicBezTo>
                  <a:cubicBezTo>
                    <a:pt x="26" y="25"/>
                    <a:pt x="27" y="20"/>
                    <a:pt x="27" y="13"/>
                  </a:cubicBezTo>
                  <a:cubicBezTo>
                    <a:pt x="29" y="11"/>
                    <a:pt x="30" y="9"/>
                    <a:pt x="32" y="8"/>
                  </a:cubicBezTo>
                  <a:cubicBezTo>
                    <a:pt x="33" y="7"/>
                    <a:pt x="37" y="8"/>
                    <a:pt x="40" y="7"/>
                  </a:cubicBezTo>
                  <a:cubicBezTo>
                    <a:pt x="44" y="7"/>
                    <a:pt x="43" y="8"/>
                    <a:pt x="49" y="8"/>
                  </a:cubicBezTo>
                  <a:cubicBezTo>
                    <a:pt x="55" y="8"/>
                    <a:pt x="55" y="8"/>
                    <a:pt x="58" y="6"/>
                  </a:cubicBezTo>
                  <a:cubicBezTo>
                    <a:pt x="61" y="4"/>
                    <a:pt x="61" y="4"/>
                    <a:pt x="66" y="2"/>
                  </a:cubicBezTo>
                  <a:cubicBezTo>
                    <a:pt x="72" y="0"/>
                    <a:pt x="69" y="2"/>
                    <a:pt x="78" y="5"/>
                  </a:cubicBezTo>
                  <a:cubicBezTo>
                    <a:pt x="87" y="8"/>
                    <a:pt x="86" y="10"/>
                    <a:pt x="89" y="14"/>
                  </a:cubicBezTo>
                  <a:cubicBezTo>
                    <a:pt x="92" y="19"/>
                    <a:pt x="92" y="17"/>
                    <a:pt x="99" y="17"/>
                  </a:cubicBezTo>
                  <a:cubicBezTo>
                    <a:pt x="105" y="17"/>
                    <a:pt x="106" y="20"/>
                    <a:pt x="107" y="28"/>
                  </a:cubicBezTo>
                  <a:cubicBezTo>
                    <a:pt x="109" y="35"/>
                    <a:pt x="108" y="32"/>
                    <a:pt x="111" y="37"/>
                  </a:cubicBezTo>
                  <a:cubicBezTo>
                    <a:pt x="114" y="42"/>
                    <a:pt x="118" y="43"/>
                    <a:pt x="125" y="52"/>
                  </a:cubicBezTo>
                  <a:cubicBezTo>
                    <a:pt x="128" y="57"/>
                    <a:pt x="130" y="57"/>
                    <a:pt x="132" y="57"/>
                  </a:cubicBezTo>
                  <a:cubicBezTo>
                    <a:pt x="132" y="59"/>
                    <a:pt x="132" y="61"/>
                    <a:pt x="131" y="62"/>
                  </a:cubicBezTo>
                  <a:cubicBezTo>
                    <a:pt x="129" y="64"/>
                    <a:pt x="135" y="69"/>
                    <a:pt x="136" y="73"/>
                  </a:cubicBezTo>
                  <a:cubicBezTo>
                    <a:pt x="138" y="77"/>
                    <a:pt x="135" y="79"/>
                    <a:pt x="134" y="86"/>
                  </a:cubicBezTo>
                  <a:cubicBezTo>
                    <a:pt x="134" y="93"/>
                    <a:pt x="140" y="93"/>
                    <a:pt x="144" y="94"/>
                  </a:cubicBezTo>
                  <a:cubicBezTo>
                    <a:pt x="149" y="95"/>
                    <a:pt x="146" y="103"/>
                    <a:pt x="150" y="108"/>
                  </a:cubicBezTo>
                  <a:cubicBezTo>
                    <a:pt x="155" y="114"/>
                    <a:pt x="149" y="117"/>
                    <a:pt x="149" y="122"/>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34" name="Freeform 923">
              <a:extLst>
                <a:ext uri="{FF2B5EF4-FFF2-40B4-BE49-F238E27FC236}">
                  <a16:creationId xmlns:a16="http://schemas.microsoft.com/office/drawing/2014/main" id="{156D41EA-ED05-BB43-9B48-17F1FA312F2B}"/>
                </a:ext>
              </a:extLst>
            </p:cNvPr>
            <p:cNvSpPr>
              <a:spLocks/>
            </p:cNvSpPr>
            <p:nvPr/>
          </p:nvSpPr>
          <p:spPr bwMode="auto">
            <a:xfrm>
              <a:off x="3630624" y="2297570"/>
              <a:ext cx="73025" cy="19050"/>
            </a:xfrm>
            <a:custGeom>
              <a:avLst/>
              <a:gdLst>
                <a:gd name="T0" fmla="*/ 76 w 76"/>
                <a:gd name="T1" fmla="*/ 10 h 21"/>
                <a:gd name="T2" fmla="*/ 70 w 76"/>
                <a:gd name="T3" fmla="*/ 17 h 21"/>
                <a:gd name="T4" fmla="*/ 55 w 76"/>
                <a:gd name="T5" fmla="*/ 14 h 21"/>
                <a:gd name="T6" fmla="*/ 45 w 76"/>
                <a:gd name="T7" fmla="*/ 9 h 21"/>
                <a:gd name="T8" fmla="*/ 32 w 76"/>
                <a:gd name="T9" fmla="*/ 13 h 21"/>
                <a:gd name="T10" fmla="*/ 24 w 76"/>
                <a:gd name="T11" fmla="*/ 19 h 21"/>
                <a:gd name="T12" fmla="*/ 17 w 76"/>
                <a:gd name="T13" fmla="*/ 19 h 21"/>
                <a:gd name="T14" fmla="*/ 3 w 76"/>
                <a:gd name="T15" fmla="*/ 21 h 21"/>
                <a:gd name="T16" fmla="*/ 0 w 76"/>
                <a:gd name="T17" fmla="*/ 21 h 21"/>
                <a:gd name="T18" fmla="*/ 2 w 76"/>
                <a:gd name="T19" fmla="*/ 17 h 21"/>
                <a:gd name="T20" fmla="*/ 8 w 76"/>
                <a:gd name="T21" fmla="*/ 10 h 21"/>
                <a:gd name="T22" fmla="*/ 8 w 76"/>
                <a:gd name="T23" fmla="*/ 8 h 21"/>
                <a:gd name="T24" fmla="*/ 21 w 76"/>
                <a:gd name="T25" fmla="*/ 9 h 21"/>
                <a:gd name="T26" fmla="*/ 36 w 76"/>
                <a:gd name="T27" fmla="*/ 4 h 21"/>
                <a:gd name="T28" fmla="*/ 45 w 76"/>
                <a:gd name="T29" fmla="*/ 1 h 21"/>
                <a:gd name="T30" fmla="*/ 55 w 76"/>
                <a:gd name="T31" fmla="*/ 5 h 21"/>
                <a:gd name="T32" fmla="*/ 63 w 76"/>
                <a:gd name="T33" fmla="*/ 10 h 21"/>
                <a:gd name="T34" fmla="*/ 76 w 76"/>
                <a:gd name="T35"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21">
                  <a:moveTo>
                    <a:pt x="76" y="10"/>
                  </a:moveTo>
                  <a:cubicBezTo>
                    <a:pt x="75" y="14"/>
                    <a:pt x="76" y="17"/>
                    <a:pt x="70" y="17"/>
                  </a:cubicBezTo>
                  <a:cubicBezTo>
                    <a:pt x="63" y="17"/>
                    <a:pt x="57" y="16"/>
                    <a:pt x="55" y="14"/>
                  </a:cubicBezTo>
                  <a:cubicBezTo>
                    <a:pt x="53" y="12"/>
                    <a:pt x="49" y="6"/>
                    <a:pt x="45" y="9"/>
                  </a:cubicBezTo>
                  <a:cubicBezTo>
                    <a:pt x="41" y="13"/>
                    <a:pt x="35" y="11"/>
                    <a:pt x="32" y="13"/>
                  </a:cubicBezTo>
                  <a:cubicBezTo>
                    <a:pt x="29" y="15"/>
                    <a:pt x="29" y="19"/>
                    <a:pt x="24" y="19"/>
                  </a:cubicBezTo>
                  <a:cubicBezTo>
                    <a:pt x="20" y="20"/>
                    <a:pt x="23" y="19"/>
                    <a:pt x="17" y="19"/>
                  </a:cubicBezTo>
                  <a:cubicBezTo>
                    <a:pt x="12" y="20"/>
                    <a:pt x="3" y="21"/>
                    <a:pt x="3" y="21"/>
                  </a:cubicBezTo>
                  <a:cubicBezTo>
                    <a:pt x="0" y="21"/>
                    <a:pt x="0" y="21"/>
                    <a:pt x="0" y="21"/>
                  </a:cubicBezTo>
                  <a:cubicBezTo>
                    <a:pt x="0" y="20"/>
                    <a:pt x="0" y="20"/>
                    <a:pt x="2" y="17"/>
                  </a:cubicBezTo>
                  <a:cubicBezTo>
                    <a:pt x="6" y="11"/>
                    <a:pt x="8" y="13"/>
                    <a:pt x="8" y="10"/>
                  </a:cubicBezTo>
                  <a:cubicBezTo>
                    <a:pt x="8" y="9"/>
                    <a:pt x="8" y="9"/>
                    <a:pt x="8" y="8"/>
                  </a:cubicBezTo>
                  <a:cubicBezTo>
                    <a:pt x="14" y="9"/>
                    <a:pt x="13" y="11"/>
                    <a:pt x="21" y="9"/>
                  </a:cubicBezTo>
                  <a:cubicBezTo>
                    <a:pt x="30" y="8"/>
                    <a:pt x="31" y="7"/>
                    <a:pt x="36" y="4"/>
                  </a:cubicBezTo>
                  <a:cubicBezTo>
                    <a:pt x="42" y="1"/>
                    <a:pt x="41" y="0"/>
                    <a:pt x="45" y="1"/>
                  </a:cubicBezTo>
                  <a:cubicBezTo>
                    <a:pt x="50" y="2"/>
                    <a:pt x="49" y="2"/>
                    <a:pt x="55" y="5"/>
                  </a:cubicBezTo>
                  <a:cubicBezTo>
                    <a:pt x="60" y="8"/>
                    <a:pt x="56" y="11"/>
                    <a:pt x="63" y="10"/>
                  </a:cubicBezTo>
                  <a:cubicBezTo>
                    <a:pt x="71" y="9"/>
                    <a:pt x="76" y="6"/>
                    <a:pt x="76" y="10"/>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35" name="Freeform 924">
              <a:extLst>
                <a:ext uri="{FF2B5EF4-FFF2-40B4-BE49-F238E27FC236}">
                  <a16:creationId xmlns:a16="http://schemas.microsoft.com/office/drawing/2014/main" id="{9A84A5D5-FB3D-EF40-B604-EFA634BCD89D}"/>
                </a:ext>
              </a:extLst>
            </p:cNvPr>
            <p:cNvSpPr>
              <a:spLocks/>
            </p:cNvSpPr>
            <p:nvPr/>
          </p:nvSpPr>
          <p:spPr bwMode="auto">
            <a:xfrm>
              <a:off x="3630624" y="2329320"/>
              <a:ext cx="80963" cy="46038"/>
            </a:xfrm>
            <a:custGeom>
              <a:avLst/>
              <a:gdLst>
                <a:gd name="T0" fmla="*/ 78 w 85"/>
                <a:gd name="T1" fmla="*/ 24 h 49"/>
                <a:gd name="T2" fmla="*/ 58 w 85"/>
                <a:gd name="T3" fmla="*/ 29 h 49"/>
                <a:gd name="T4" fmla="*/ 45 w 85"/>
                <a:gd name="T5" fmla="*/ 45 h 49"/>
                <a:gd name="T6" fmla="*/ 43 w 85"/>
                <a:gd name="T7" fmla="*/ 49 h 49"/>
                <a:gd name="T8" fmla="*/ 41 w 85"/>
                <a:gd name="T9" fmla="*/ 45 h 49"/>
                <a:gd name="T10" fmla="*/ 34 w 85"/>
                <a:gd name="T11" fmla="*/ 31 h 49"/>
                <a:gd name="T12" fmla="*/ 35 w 85"/>
                <a:gd name="T13" fmla="*/ 24 h 49"/>
                <a:gd name="T14" fmla="*/ 30 w 85"/>
                <a:gd name="T15" fmla="*/ 22 h 49"/>
                <a:gd name="T16" fmla="*/ 24 w 85"/>
                <a:gd name="T17" fmla="*/ 26 h 49"/>
                <a:gd name="T18" fmla="*/ 16 w 85"/>
                <a:gd name="T19" fmla="*/ 20 h 49"/>
                <a:gd name="T20" fmla="*/ 13 w 85"/>
                <a:gd name="T21" fmla="*/ 12 h 49"/>
                <a:gd name="T22" fmla="*/ 7 w 85"/>
                <a:gd name="T23" fmla="*/ 10 h 49"/>
                <a:gd name="T24" fmla="*/ 1 w 85"/>
                <a:gd name="T25" fmla="*/ 4 h 49"/>
                <a:gd name="T26" fmla="*/ 1 w 85"/>
                <a:gd name="T27" fmla="*/ 0 h 49"/>
                <a:gd name="T28" fmla="*/ 33 w 85"/>
                <a:gd name="T29" fmla="*/ 2 h 49"/>
                <a:gd name="T30" fmla="*/ 49 w 85"/>
                <a:gd name="T31" fmla="*/ 0 h 49"/>
                <a:gd name="T32" fmla="*/ 76 w 85"/>
                <a:gd name="T33" fmla="*/ 0 h 49"/>
                <a:gd name="T34" fmla="*/ 80 w 85"/>
                <a:gd name="T35" fmla="*/ 0 h 49"/>
                <a:gd name="T36" fmla="*/ 79 w 85"/>
                <a:gd name="T37" fmla="*/ 5 h 49"/>
                <a:gd name="T38" fmla="*/ 73 w 85"/>
                <a:gd name="T39" fmla="*/ 15 h 49"/>
                <a:gd name="T40" fmla="*/ 78 w 85"/>
                <a:gd name="T41" fmla="*/ 2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5" h="49">
                  <a:moveTo>
                    <a:pt x="78" y="24"/>
                  </a:moveTo>
                  <a:cubicBezTo>
                    <a:pt x="70" y="27"/>
                    <a:pt x="64" y="26"/>
                    <a:pt x="58" y="29"/>
                  </a:cubicBezTo>
                  <a:cubicBezTo>
                    <a:pt x="52" y="33"/>
                    <a:pt x="48" y="41"/>
                    <a:pt x="45" y="45"/>
                  </a:cubicBezTo>
                  <a:cubicBezTo>
                    <a:pt x="44" y="47"/>
                    <a:pt x="43" y="48"/>
                    <a:pt x="43" y="49"/>
                  </a:cubicBezTo>
                  <a:cubicBezTo>
                    <a:pt x="42" y="48"/>
                    <a:pt x="41" y="47"/>
                    <a:pt x="41" y="45"/>
                  </a:cubicBezTo>
                  <a:cubicBezTo>
                    <a:pt x="37" y="37"/>
                    <a:pt x="32" y="35"/>
                    <a:pt x="34" y="31"/>
                  </a:cubicBezTo>
                  <a:cubicBezTo>
                    <a:pt x="36" y="27"/>
                    <a:pt x="37" y="25"/>
                    <a:pt x="35" y="24"/>
                  </a:cubicBezTo>
                  <a:cubicBezTo>
                    <a:pt x="33" y="22"/>
                    <a:pt x="33" y="18"/>
                    <a:pt x="30" y="22"/>
                  </a:cubicBezTo>
                  <a:cubicBezTo>
                    <a:pt x="27" y="25"/>
                    <a:pt x="26" y="26"/>
                    <a:pt x="24" y="26"/>
                  </a:cubicBezTo>
                  <a:cubicBezTo>
                    <a:pt x="22" y="25"/>
                    <a:pt x="18" y="24"/>
                    <a:pt x="16" y="20"/>
                  </a:cubicBezTo>
                  <a:cubicBezTo>
                    <a:pt x="14" y="17"/>
                    <a:pt x="11" y="14"/>
                    <a:pt x="13" y="12"/>
                  </a:cubicBezTo>
                  <a:cubicBezTo>
                    <a:pt x="14" y="11"/>
                    <a:pt x="12" y="13"/>
                    <a:pt x="7" y="10"/>
                  </a:cubicBezTo>
                  <a:cubicBezTo>
                    <a:pt x="2" y="6"/>
                    <a:pt x="0" y="9"/>
                    <a:pt x="1" y="4"/>
                  </a:cubicBezTo>
                  <a:cubicBezTo>
                    <a:pt x="1" y="3"/>
                    <a:pt x="1" y="1"/>
                    <a:pt x="1" y="0"/>
                  </a:cubicBezTo>
                  <a:cubicBezTo>
                    <a:pt x="9" y="0"/>
                    <a:pt x="30" y="1"/>
                    <a:pt x="33" y="2"/>
                  </a:cubicBezTo>
                  <a:cubicBezTo>
                    <a:pt x="36" y="3"/>
                    <a:pt x="40" y="0"/>
                    <a:pt x="49" y="0"/>
                  </a:cubicBezTo>
                  <a:cubicBezTo>
                    <a:pt x="58" y="0"/>
                    <a:pt x="60" y="1"/>
                    <a:pt x="76" y="0"/>
                  </a:cubicBezTo>
                  <a:cubicBezTo>
                    <a:pt x="77" y="0"/>
                    <a:pt x="79" y="0"/>
                    <a:pt x="80" y="0"/>
                  </a:cubicBezTo>
                  <a:cubicBezTo>
                    <a:pt x="81" y="1"/>
                    <a:pt x="81" y="3"/>
                    <a:pt x="79" y="5"/>
                  </a:cubicBezTo>
                  <a:cubicBezTo>
                    <a:pt x="76" y="9"/>
                    <a:pt x="70" y="10"/>
                    <a:pt x="73" y="15"/>
                  </a:cubicBezTo>
                  <a:cubicBezTo>
                    <a:pt x="76" y="19"/>
                    <a:pt x="85" y="20"/>
                    <a:pt x="78" y="2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36" name="Freeform 925">
              <a:extLst>
                <a:ext uri="{FF2B5EF4-FFF2-40B4-BE49-F238E27FC236}">
                  <a16:creationId xmlns:a16="http://schemas.microsoft.com/office/drawing/2014/main" id="{CB7C004A-8A0A-FC49-90DA-7A6A5A6F82AA}"/>
                </a:ext>
              </a:extLst>
            </p:cNvPr>
            <p:cNvSpPr>
              <a:spLocks/>
            </p:cNvSpPr>
            <p:nvPr/>
          </p:nvSpPr>
          <p:spPr bwMode="auto">
            <a:xfrm>
              <a:off x="3671899" y="2329320"/>
              <a:ext cx="179388" cy="144463"/>
            </a:xfrm>
            <a:custGeom>
              <a:avLst/>
              <a:gdLst>
                <a:gd name="T0" fmla="*/ 173 w 189"/>
                <a:gd name="T1" fmla="*/ 131 h 151"/>
                <a:gd name="T2" fmla="*/ 162 w 189"/>
                <a:gd name="T3" fmla="*/ 139 h 151"/>
                <a:gd name="T4" fmla="*/ 151 w 189"/>
                <a:gd name="T5" fmla="*/ 151 h 151"/>
                <a:gd name="T6" fmla="*/ 140 w 189"/>
                <a:gd name="T7" fmla="*/ 140 h 151"/>
                <a:gd name="T8" fmla="*/ 124 w 189"/>
                <a:gd name="T9" fmla="*/ 116 h 151"/>
                <a:gd name="T10" fmla="*/ 110 w 189"/>
                <a:gd name="T11" fmla="*/ 121 h 151"/>
                <a:gd name="T12" fmla="*/ 111 w 189"/>
                <a:gd name="T13" fmla="*/ 103 h 151"/>
                <a:gd name="T14" fmla="*/ 104 w 189"/>
                <a:gd name="T15" fmla="*/ 84 h 151"/>
                <a:gd name="T16" fmla="*/ 90 w 189"/>
                <a:gd name="T17" fmla="*/ 74 h 151"/>
                <a:gd name="T18" fmla="*/ 71 w 189"/>
                <a:gd name="T19" fmla="*/ 79 h 151"/>
                <a:gd name="T20" fmla="*/ 57 w 189"/>
                <a:gd name="T21" fmla="*/ 92 h 151"/>
                <a:gd name="T22" fmla="*/ 45 w 189"/>
                <a:gd name="T23" fmla="*/ 102 h 151"/>
                <a:gd name="T24" fmla="*/ 34 w 189"/>
                <a:gd name="T25" fmla="*/ 83 h 151"/>
                <a:gd name="T26" fmla="*/ 23 w 189"/>
                <a:gd name="T27" fmla="*/ 71 h 151"/>
                <a:gd name="T28" fmla="*/ 10 w 189"/>
                <a:gd name="T29" fmla="*/ 56 h 151"/>
                <a:gd name="T30" fmla="*/ 0 w 189"/>
                <a:gd name="T31" fmla="*/ 49 h 151"/>
                <a:gd name="T32" fmla="*/ 15 w 189"/>
                <a:gd name="T33" fmla="*/ 29 h 151"/>
                <a:gd name="T34" fmla="*/ 30 w 189"/>
                <a:gd name="T35" fmla="*/ 15 h 151"/>
                <a:gd name="T36" fmla="*/ 37 w 189"/>
                <a:gd name="T37" fmla="*/ 0 h 151"/>
                <a:gd name="T38" fmla="*/ 71 w 189"/>
                <a:gd name="T39" fmla="*/ 9 h 151"/>
                <a:gd name="T40" fmla="*/ 92 w 189"/>
                <a:gd name="T41" fmla="*/ 15 h 151"/>
                <a:gd name="T42" fmla="*/ 107 w 189"/>
                <a:gd name="T43" fmla="*/ 13 h 151"/>
                <a:gd name="T44" fmla="*/ 118 w 189"/>
                <a:gd name="T45" fmla="*/ 14 h 151"/>
                <a:gd name="T46" fmla="*/ 131 w 189"/>
                <a:gd name="T47" fmla="*/ 18 h 151"/>
                <a:gd name="T48" fmla="*/ 151 w 189"/>
                <a:gd name="T49" fmla="*/ 4 h 151"/>
                <a:gd name="T50" fmla="*/ 158 w 189"/>
                <a:gd name="T51" fmla="*/ 22 h 151"/>
                <a:gd name="T52" fmla="*/ 166 w 189"/>
                <a:gd name="T53" fmla="*/ 38 h 151"/>
                <a:gd name="T54" fmla="*/ 168 w 189"/>
                <a:gd name="T55" fmla="*/ 52 h 151"/>
                <a:gd name="T56" fmla="*/ 177 w 189"/>
                <a:gd name="T57" fmla="*/ 64 h 151"/>
                <a:gd name="T58" fmla="*/ 172 w 189"/>
                <a:gd name="T59" fmla="*/ 84 h 151"/>
                <a:gd name="T60" fmla="*/ 179 w 189"/>
                <a:gd name="T61" fmla="*/ 102 h 151"/>
                <a:gd name="T62" fmla="*/ 182 w 189"/>
                <a:gd name="T63" fmla="*/ 11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9" h="151">
                  <a:moveTo>
                    <a:pt x="170" y="123"/>
                  </a:moveTo>
                  <a:cubicBezTo>
                    <a:pt x="172" y="127"/>
                    <a:pt x="175" y="125"/>
                    <a:pt x="173" y="131"/>
                  </a:cubicBezTo>
                  <a:cubicBezTo>
                    <a:pt x="171" y="137"/>
                    <a:pt x="174" y="142"/>
                    <a:pt x="169" y="142"/>
                  </a:cubicBezTo>
                  <a:cubicBezTo>
                    <a:pt x="167" y="142"/>
                    <a:pt x="165" y="140"/>
                    <a:pt x="162" y="139"/>
                  </a:cubicBezTo>
                  <a:cubicBezTo>
                    <a:pt x="160" y="138"/>
                    <a:pt x="158" y="137"/>
                    <a:pt x="158" y="140"/>
                  </a:cubicBezTo>
                  <a:cubicBezTo>
                    <a:pt x="157" y="146"/>
                    <a:pt x="157" y="151"/>
                    <a:pt x="151" y="151"/>
                  </a:cubicBezTo>
                  <a:cubicBezTo>
                    <a:pt x="145" y="151"/>
                    <a:pt x="142" y="150"/>
                    <a:pt x="139" y="147"/>
                  </a:cubicBezTo>
                  <a:cubicBezTo>
                    <a:pt x="136" y="144"/>
                    <a:pt x="140" y="147"/>
                    <a:pt x="140" y="140"/>
                  </a:cubicBezTo>
                  <a:cubicBezTo>
                    <a:pt x="140" y="133"/>
                    <a:pt x="141" y="125"/>
                    <a:pt x="137" y="121"/>
                  </a:cubicBezTo>
                  <a:cubicBezTo>
                    <a:pt x="132" y="118"/>
                    <a:pt x="126" y="116"/>
                    <a:pt x="124" y="116"/>
                  </a:cubicBezTo>
                  <a:cubicBezTo>
                    <a:pt x="123" y="117"/>
                    <a:pt x="122" y="117"/>
                    <a:pt x="121" y="117"/>
                  </a:cubicBezTo>
                  <a:cubicBezTo>
                    <a:pt x="116" y="115"/>
                    <a:pt x="115" y="120"/>
                    <a:pt x="110" y="121"/>
                  </a:cubicBezTo>
                  <a:cubicBezTo>
                    <a:pt x="104" y="123"/>
                    <a:pt x="107" y="116"/>
                    <a:pt x="111" y="113"/>
                  </a:cubicBezTo>
                  <a:cubicBezTo>
                    <a:pt x="114" y="110"/>
                    <a:pt x="111" y="109"/>
                    <a:pt x="111" y="103"/>
                  </a:cubicBezTo>
                  <a:cubicBezTo>
                    <a:pt x="111" y="97"/>
                    <a:pt x="109" y="97"/>
                    <a:pt x="109" y="94"/>
                  </a:cubicBezTo>
                  <a:cubicBezTo>
                    <a:pt x="109" y="90"/>
                    <a:pt x="104" y="89"/>
                    <a:pt x="104" y="84"/>
                  </a:cubicBezTo>
                  <a:cubicBezTo>
                    <a:pt x="104" y="80"/>
                    <a:pt x="100" y="84"/>
                    <a:pt x="98" y="80"/>
                  </a:cubicBezTo>
                  <a:cubicBezTo>
                    <a:pt x="97" y="76"/>
                    <a:pt x="92" y="75"/>
                    <a:pt x="90" y="74"/>
                  </a:cubicBezTo>
                  <a:cubicBezTo>
                    <a:pt x="89" y="74"/>
                    <a:pt x="86" y="74"/>
                    <a:pt x="80" y="79"/>
                  </a:cubicBezTo>
                  <a:cubicBezTo>
                    <a:pt x="74" y="83"/>
                    <a:pt x="74" y="79"/>
                    <a:pt x="71" y="79"/>
                  </a:cubicBezTo>
                  <a:cubicBezTo>
                    <a:pt x="69" y="78"/>
                    <a:pt x="66" y="79"/>
                    <a:pt x="63" y="84"/>
                  </a:cubicBezTo>
                  <a:cubicBezTo>
                    <a:pt x="60" y="89"/>
                    <a:pt x="59" y="89"/>
                    <a:pt x="57" y="92"/>
                  </a:cubicBezTo>
                  <a:cubicBezTo>
                    <a:pt x="55" y="95"/>
                    <a:pt x="53" y="98"/>
                    <a:pt x="50" y="101"/>
                  </a:cubicBezTo>
                  <a:cubicBezTo>
                    <a:pt x="48" y="104"/>
                    <a:pt x="48" y="102"/>
                    <a:pt x="45" y="102"/>
                  </a:cubicBezTo>
                  <a:cubicBezTo>
                    <a:pt x="45" y="100"/>
                    <a:pt x="44" y="97"/>
                    <a:pt x="41" y="94"/>
                  </a:cubicBezTo>
                  <a:cubicBezTo>
                    <a:pt x="36" y="91"/>
                    <a:pt x="37" y="85"/>
                    <a:pt x="34" y="83"/>
                  </a:cubicBezTo>
                  <a:cubicBezTo>
                    <a:pt x="31" y="82"/>
                    <a:pt x="32" y="77"/>
                    <a:pt x="29" y="76"/>
                  </a:cubicBezTo>
                  <a:cubicBezTo>
                    <a:pt x="26" y="74"/>
                    <a:pt x="29" y="74"/>
                    <a:pt x="23" y="71"/>
                  </a:cubicBezTo>
                  <a:cubicBezTo>
                    <a:pt x="17" y="69"/>
                    <a:pt x="20" y="73"/>
                    <a:pt x="15" y="65"/>
                  </a:cubicBezTo>
                  <a:cubicBezTo>
                    <a:pt x="10" y="57"/>
                    <a:pt x="10" y="58"/>
                    <a:pt x="10" y="56"/>
                  </a:cubicBezTo>
                  <a:cubicBezTo>
                    <a:pt x="10" y="53"/>
                    <a:pt x="9" y="44"/>
                    <a:pt x="6" y="47"/>
                  </a:cubicBezTo>
                  <a:cubicBezTo>
                    <a:pt x="3" y="49"/>
                    <a:pt x="2" y="52"/>
                    <a:pt x="0" y="49"/>
                  </a:cubicBezTo>
                  <a:cubicBezTo>
                    <a:pt x="0" y="48"/>
                    <a:pt x="1" y="47"/>
                    <a:pt x="2" y="45"/>
                  </a:cubicBezTo>
                  <a:cubicBezTo>
                    <a:pt x="5" y="41"/>
                    <a:pt x="9" y="33"/>
                    <a:pt x="15" y="29"/>
                  </a:cubicBezTo>
                  <a:cubicBezTo>
                    <a:pt x="21" y="26"/>
                    <a:pt x="27" y="27"/>
                    <a:pt x="35" y="24"/>
                  </a:cubicBezTo>
                  <a:cubicBezTo>
                    <a:pt x="42" y="20"/>
                    <a:pt x="33" y="19"/>
                    <a:pt x="30" y="15"/>
                  </a:cubicBezTo>
                  <a:cubicBezTo>
                    <a:pt x="27" y="10"/>
                    <a:pt x="33" y="9"/>
                    <a:pt x="36" y="5"/>
                  </a:cubicBezTo>
                  <a:cubicBezTo>
                    <a:pt x="38" y="3"/>
                    <a:pt x="38" y="1"/>
                    <a:pt x="37" y="0"/>
                  </a:cubicBezTo>
                  <a:cubicBezTo>
                    <a:pt x="49" y="0"/>
                    <a:pt x="51" y="1"/>
                    <a:pt x="57" y="4"/>
                  </a:cubicBezTo>
                  <a:cubicBezTo>
                    <a:pt x="63" y="8"/>
                    <a:pt x="66" y="10"/>
                    <a:pt x="71" y="9"/>
                  </a:cubicBezTo>
                  <a:cubicBezTo>
                    <a:pt x="75" y="8"/>
                    <a:pt x="85" y="11"/>
                    <a:pt x="90" y="10"/>
                  </a:cubicBezTo>
                  <a:cubicBezTo>
                    <a:pt x="90" y="11"/>
                    <a:pt x="90" y="13"/>
                    <a:pt x="92" y="15"/>
                  </a:cubicBezTo>
                  <a:cubicBezTo>
                    <a:pt x="97" y="18"/>
                    <a:pt x="98" y="20"/>
                    <a:pt x="100" y="16"/>
                  </a:cubicBezTo>
                  <a:cubicBezTo>
                    <a:pt x="102" y="13"/>
                    <a:pt x="106" y="12"/>
                    <a:pt x="107" y="13"/>
                  </a:cubicBezTo>
                  <a:cubicBezTo>
                    <a:pt x="109" y="13"/>
                    <a:pt x="104" y="14"/>
                    <a:pt x="110" y="18"/>
                  </a:cubicBezTo>
                  <a:cubicBezTo>
                    <a:pt x="116" y="22"/>
                    <a:pt x="117" y="15"/>
                    <a:pt x="118" y="14"/>
                  </a:cubicBezTo>
                  <a:cubicBezTo>
                    <a:pt x="118" y="13"/>
                    <a:pt x="126" y="12"/>
                    <a:pt x="126" y="13"/>
                  </a:cubicBezTo>
                  <a:cubicBezTo>
                    <a:pt x="126" y="15"/>
                    <a:pt x="126" y="20"/>
                    <a:pt x="131" y="18"/>
                  </a:cubicBezTo>
                  <a:cubicBezTo>
                    <a:pt x="136" y="16"/>
                    <a:pt x="140" y="13"/>
                    <a:pt x="142" y="11"/>
                  </a:cubicBezTo>
                  <a:cubicBezTo>
                    <a:pt x="144" y="9"/>
                    <a:pt x="149" y="2"/>
                    <a:pt x="151" y="4"/>
                  </a:cubicBezTo>
                  <a:cubicBezTo>
                    <a:pt x="152" y="6"/>
                    <a:pt x="153" y="7"/>
                    <a:pt x="153" y="12"/>
                  </a:cubicBezTo>
                  <a:cubicBezTo>
                    <a:pt x="154" y="17"/>
                    <a:pt x="155" y="18"/>
                    <a:pt x="158" y="22"/>
                  </a:cubicBezTo>
                  <a:cubicBezTo>
                    <a:pt x="161" y="27"/>
                    <a:pt x="155" y="23"/>
                    <a:pt x="161" y="29"/>
                  </a:cubicBezTo>
                  <a:cubicBezTo>
                    <a:pt x="167" y="36"/>
                    <a:pt x="170" y="35"/>
                    <a:pt x="166" y="38"/>
                  </a:cubicBezTo>
                  <a:cubicBezTo>
                    <a:pt x="162" y="42"/>
                    <a:pt x="154" y="44"/>
                    <a:pt x="160" y="45"/>
                  </a:cubicBezTo>
                  <a:cubicBezTo>
                    <a:pt x="166" y="46"/>
                    <a:pt x="167" y="48"/>
                    <a:pt x="168" y="52"/>
                  </a:cubicBezTo>
                  <a:cubicBezTo>
                    <a:pt x="169" y="55"/>
                    <a:pt x="173" y="62"/>
                    <a:pt x="177" y="64"/>
                  </a:cubicBezTo>
                  <a:cubicBezTo>
                    <a:pt x="177" y="64"/>
                    <a:pt x="177" y="64"/>
                    <a:pt x="177" y="64"/>
                  </a:cubicBezTo>
                  <a:cubicBezTo>
                    <a:pt x="180" y="67"/>
                    <a:pt x="179" y="68"/>
                    <a:pt x="177" y="71"/>
                  </a:cubicBezTo>
                  <a:cubicBezTo>
                    <a:pt x="175" y="74"/>
                    <a:pt x="170" y="78"/>
                    <a:pt x="172" y="84"/>
                  </a:cubicBezTo>
                  <a:cubicBezTo>
                    <a:pt x="175" y="90"/>
                    <a:pt x="179" y="90"/>
                    <a:pt x="179" y="93"/>
                  </a:cubicBezTo>
                  <a:cubicBezTo>
                    <a:pt x="179" y="97"/>
                    <a:pt x="180" y="99"/>
                    <a:pt x="179" y="102"/>
                  </a:cubicBezTo>
                  <a:cubicBezTo>
                    <a:pt x="178" y="104"/>
                    <a:pt x="177" y="103"/>
                    <a:pt x="179" y="109"/>
                  </a:cubicBezTo>
                  <a:cubicBezTo>
                    <a:pt x="182" y="115"/>
                    <a:pt x="189" y="115"/>
                    <a:pt x="182" y="115"/>
                  </a:cubicBezTo>
                  <a:cubicBezTo>
                    <a:pt x="175" y="116"/>
                    <a:pt x="168" y="119"/>
                    <a:pt x="170" y="123"/>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37" name="Freeform 926">
              <a:extLst>
                <a:ext uri="{FF2B5EF4-FFF2-40B4-BE49-F238E27FC236}">
                  <a16:creationId xmlns:a16="http://schemas.microsoft.com/office/drawing/2014/main" id="{B48ABF32-009D-6C4D-BF24-5100A99EBCE2}"/>
                </a:ext>
              </a:extLst>
            </p:cNvPr>
            <p:cNvSpPr>
              <a:spLocks/>
            </p:cNvSpPr>
            <p:nvPr/>
          </p:nvSpPr>
          <p:spPr bwMode="auto">
            <a:xfrm>
              <a:off x="3711587" y="2399170"/>
              <a:ext cx="76200" cy="85725"/>
            </a:xfrm>
            <a:custGeom>
              <a:avLst/>
              <a:gdLst>
                <a:gd name="T0" fmla="*/ 80 w 80"/>
                <a:gd name="T1" fmla="*/ 43 h 90"/>
                <a:gd name="T2" fmla="*/ 77 w 80"/>
                <a:gd name="T3" fmla="*/ 47 h 90"/>
                <a:gd name="T4" fmla="*/ 71 w 80"/>
                <a:gd name="T5" fmla="*/ 54 h 90"/>
                <a:gd name="T6" fmla="*/ 67 w 80"/>
                <a:gd name="T7" fmla="*/ 62 h 90"/>
                <a:gd name="T8" fmla="*/ 61 w 80"/>
                <a:gd name="T9" fmla="*/ 66 h 90"/>
                <a:gd name="T10" fmla="*/ 54 w 80"/>
                <a:gd name="T11" fmla="*/ 75 h 90"/>
                <a:gd name="T12" fmla="*/ 48 w 80"/>
                <a:gd name="T13" fmla="*/ 86 h 90"/>
                <a:gd name="T14" fmla="*/ 46 w 80"/>
                <a:gd name="T15" fmla="*/ 90 h 90"/>
                <a:gd name="T16" fmla="*/ 46 w 80"/>
                <a:gd name="T17" fmla="*/ 89 h 90"/>
                <a:gd name="T18" fmla="*/ 36 w 80"/>
                <a:gd name="T19" fmla="*/ 81 h 90"/>
                <a:gd name="T20" fmla="*/ 25 w 80"/>
                <a:gd name="T21" fmla="*/ 73 h 90"/>
                <a:gd name="T22" fmla="*/ 10 w 80"/>
                <a:gd name="T23" fmla="*/ 68 h 90"/>
                <a:gd name="T24" fmla="*/ 14 w 80"/>
                <a:gd name="T25" fmla="*/ 62 h 90"/>
                <a:gd name="T26" fmla="*/ 4 w 80"/>
                <a:gd name="T27" fmla="*/ 47 h 90"/>
                <a:gd name="T28" fmla="*/ 4 w 80"/>
                <a:gd name="T29" fmla="*/ 41 h 90"/>
                <a:gd name="T30" fmla="*/ 7 w 80"/>
                <a:gd name="T31" fmla="*/ 36 h 90"/>
                <a:gd name="T32" fmla="*/ 4 w 80"/>
                <a:gd name="T33" fmla="*/ 29 h 90"/>
                <a:gd name="T34" fmla="*/ 4 w 80"/>
                <a:gd name="T35" fmla="*/ 28 h 90"/>
                <a:gd name="T36" fmla="*/ 9 w 80"/>
                <a:gd name="T37" fmla="*/ 27 h 90"/>
                <a:gd name="T38" fmla="*/ 16 w 80"/>
                <a:gd name="T39" fmla="*/ 18 h 90"/>
                <a:gd name="T40" fmla="*/ 22 w 80"/>
                <a:gd name="T41" fmla="*/ 10 h 90"/>
                <a:gd name="T42" fmla="*/ 30 w 80"/>
                <a:gd name="T43" fmla="*/ 5 h 90"/>
                <a:gd name="T44" fmla="*/ 39 w 80"/>
                <a:gd name="T45" fmla="*/ 5 h 90"/>
                <a:gd name="T46" fmla="*/ 49 w 80"/>
                <a:gd name="T47" fmla="*/ 0 h 90"/>
                <a:gd name="T48" fmla="*/ 57 w 80"/>
                <a:gd name="T49" fmla="*/ 6 h 90"/>
                <a:gd name="T50" fmla="*/ 63 w 80"/>
                <a:gd name="T51" fmla="*/ 10 h 90"/>
                <a:gd name="T52" fmla="*/ 68 w 80"/>
                <a:gd name="T53" fmla="*/ 20 h 90"/>
                <a:gd name="T54" fmla="*/ 70 w 80"/>
                <a:gd name="T55" fmla="*/ 29 h 90"/>
                <a:gd name="T56" fmla="*/ 70 w 80"/>
                <a:gd name="T57" fmla="*/ 39 h 90"/>
                <a:gd name="T58" fmla="*/ 69 w 80"/>
                <a:gd name="T59" fmla="*/ 47 h 90"/>
                <a:gd name="T60" fmla="*/ 80 w 80"/>
                <a:gd name="T61" fmla="*/ 4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90">
                  <a:moveTo>
                    <a:pt x="80" y="43"/>
                  </a:moveTo>
                  <a:cubicBezTo>
                    <a:pt x="79" y="43"/>
                    <a:pt x="77" y="44"/>
                    <a:pt x="77" y="47"/>
                  </a:cubicBezTo>
                  <a:cubicBezTo>
                    <a:pt x="77" y="51"/>
                    <a:pt x="76" y="49"/>
                    <a:pt x="71" y="54"/>
                  </a:cubicBezTo>
                  <a:cubicBezTo>
                    <a:pt x="67" y="59"/>
                    <a:pt x="68" y="59"/>
                    <a:pt x="67" y="62"/>
                  </a:cubicBezTo>
                  <a:cubicBezTo>
                    <a:pt x="66" y="65"/>
                    <a:pt x="66" y="62"/>
                    <a:pt x="61" y="66"/>
                  </a:cubicBezTo>
                  <a:cubicBezTo>
                    <a:pt x="56" y="71"/>
                    <a:pt x="56" y="69"/>
                    <a:pt x="54" y="75"/>
                  </a:cubicBezTo>
                  <a:cubicBezTo>
                    <a:pt x="52" y="81"/>
                    <a:pt x="48" y="84"/>
                    <a:pt x="48" y="86"/>
                  </a:cubicBezTo>
                  <a:cubicBezTo>
                    <a:pt x="48" y="88"/>
                    <a:pt x="47" y="89"/>
                    <a:pt x="46" y="90"/>
                  </a:cubicBezTo>
                  <a:cubicBezTo>
                    <a:pt x="46" y="89"/>
                    <a:pt x="46" y="89"/>
                    <a:pt x="46" y="89"/>
                  </a:cubicBezTo>
                  <a:cubicBezTo>
                    <a:pt x="44" y="84"/>
                    <a:pt x="45" y="89"/>
                    <a:pt x="36" y="81"/>
                  </a:cubicBezTo>
                  <a:cubicBezTo>
                    <a:pt x="26" y="74"/>
                    <a:pt x="30" y="77"/>
                    <a:pt x="25" y="73"/>
                  </a:cubicBezTo>
                  <a:cubicBezTo>
                    <a:pt x="19" y="70"/>
                    <a:pt x="5" y="71"/>
                    <a:pt x="10" y="68"/>
                  </a:cubicBezTo>
                  <a:cubicBezTo>
                    <a:pt x="15" y="65"/>
                    <a:pt x="18" y="66"/>
                    <a:pt x="14" y="62"/>
                  </a:cubicBezTo>
                  <a:cubicBezTo>
                    <a:pt x="11" y="58"/>
                    <a:pt x="8" y="52"/>
                    <a:pt x="4" y="47"/>
                  </a:cubicBezTo>
                  <a:cubicBezTo>
                    <a:pt x="0" y="42"/>
                    <a:pt x="0" y="42"/>
                    <a:pt x="4" y="41"/>
                  </a:cubicBezTo>
                  <a:cubicBezTo>
                    <a:pt x="8" y="40"/>
                    <a:pt x="10" y="40"/>
                    <a:pt x="7" y="36"/>
                  </a:cubicBezTo>
                  <a:cubicBezTo>
                    <a:pt x="4" y="32"/>
                    <a:pt x="3" y="31"/>
                    <a:pt x="4" y="29"/>
                  </a:cubicBezTo>
                  <a:cubicBezTo>
                    <a:pt x="4" y="29"/>
                    <a:pt x="4" y="28"/>
                    <a:pt x="4" y="28"/>
                  </a:cubicBezTo>
                  <a:cubicBezTo>
                    <a:pt x="7" y="28"/>
                    <a:pt x="7" y="30"/>
                    <a:pt x="9" y="27"/>
                  </a:cubicBezTo>
                  <a:cubicBezTo>
                    <a:pt x="12" y="24"/>
                    <a:pt x="14" y="21"/>
                    <a:pt x="16" y="18"/>
                  </a:cubicBezTo>
                  <a:cubicBezTo>
                    <a:pt x="18" y="15"/>
                    <a:pt x="19" y="15"/>
                    <a:pt x="22" y="10"/>
                  </a:cubicBezTo>
                  <a:cubicBezTo>
                    <a:pt x="25" y="5"/>
                    <a:pt x="28" y="4"/>
                    <a:pt x="30" y="5"/>
                  </a:cubicBezTo>
                  <a:cubicBezTo>
                    <a:pt x="33" y="5"/>
                    <a:pt x="33" y="9"/>
                    <a:pt x="39" y="5"/>
                  </a:cubicBezTo>
                  <a:cubicBezTo>
                    <a:pt x="45" y="0"/>
                    <a:pt x="48" y="0"/>
                    <a:pt x="49" y="0"/>
                  </a:cubicBezTo>
                  <a:cubicBezTo>
                    <a:pt x="51" y="1"/>
                    <a:pt x="56" y="2"/>
                    <a:pt x="57" y="6"/>
                  </a:cubicBezTo>
                  <a:cubicBezTo>
                    <a:pt x="59" y="10"/>
                    <a:pt x="63" y="6"/>
                    <a:pt x="63" y="10"/>
                  </a:cubicBezTo>
                  <a:cubicBezTo>
                    <a:pt x="63" y="15"/>
                    <a:pt x="68" y="16"/>
                    <a:pt x="68" y="20"/>
                  </a:cubicBezTo>
                  <a:cubicBezTo>
                    <a:pt x="68" y="23"/>
                    <a:pt x="70" y="23"/>
                    <a:pt x="70" y="29"/>
                  </a:cubicBezTo>
                  <a:cubicBezTo>
                    <a:pt x="70" y="35"/>
                    <a:pt x="73" y="36"/>
                    <a:pt x="70" y="39"/>
                  </a:cubicBezTo>
                  <a:cubicBezTo>
                    <a:pt x="66" y="42"/>
                    <a:pt x="63" y="49"/>
                    <a:pt x="69" y="47"/>
                  </a:cubicBezTo>
                  <a:cubicBezTo>
                    <a:pt x="74" y="46"/>
                    <a:pt x="75" y="41"/>
                    <a:pt x="80" y="43"/>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38" name="Freeform 927">
              <a:extLst>
                <a:ext uri="{FF2B5EF4-FFF2-40B4-BE49-F238E27FC236}">
                  <a16:creationId xmlns:a16="http://schemas.microsoft.com/office/drawing/2014/main" id="{1D1701EB-EF6A-0645-AA10-B98B766BBEBC}"/>
                </a:ext>
              </a:extLst>
            </p:cNvPr>
            <p:cNvSpPr>
              <a:spLocks/>
            </p:cNvSpPr>
            <p:nvPr/>
          </p:nvSpPr>
          <p:spPr bwMode="auto">
            <a:xfrm>
              <a:off x="3754450" y="2440445"/>
              <a:ext cx="100013" cy="109538"/>
            </a:xfrm>
            <a:custGeom>
              <a:avLst/>
              <a:gdLst>
                <a:gd name="T0" fmla="*/ 102 w 105"/>
                <a:gd name="T1" fmla="*/ 92 h 115"/>
                <a:gd name="T2" fmla="*/ 100 w 105"/>
                <a:gd name="T3" fmla="*/ 104 h 115"/>
                <a:gd name="T4" fmla="*/ 98 w 105"/>
                <a:gd name="T5" fmla="*/ 112 h 115"/>
                <a:gd name="T6" fmla="*/ 100 w 105"/>
                <a:gd name="T7" fmla="*/ 115 h 115"/>
                <a:gd name="T8" fmla="*/ 93 w 105"/>
                <a:gd name="T9" fmla="*/ 115 h 115"/>
                <a:gd name="T10" fmla="*/ 75 w 105"/>
                <a:gd name="T11" fmla="*/ 106 h 115"/>
                <a:gd name="T12" fmla="*/ 56 w 105"/>
                <a:gd name="T13" fmla="*/ 95 h 115"/>
                <a:gd name="T14" fmla="*/ 45 w 105"/>
                <a:gd name="T15" fmla="*/ 83 h 115"/>
                <a:gd name="T16" fmla="*/ 30 w 105"/>
                <a:gd name="T17" fmla="*/ 69 h 115"/>
                <a:gd name="T18" fmla="*/ 16 w 105"/>
                <a:gd name="T19" fmla="*/ 58 h 115"/>
                <a:gd name="T20" fmla="*/ 0 w 105"/>
                <a:gd name="T21" fmla="*/ 48 h 115"/>
                <a:gd name="T22" fmla="*/ 2 w 105"/>
                <a:gd name="T23" fmla="*/ 44 h 115"/>
                <a:gd name="T24" fmla="*/ 8 w 105"/>
                <a:gd name="T25" fmla="*/ 33 h 115"/>
                <a:gd name="T26" fmla="*/ 15 w 105"/>
                <a:gd name="T27" fmla="*/ 24 h 115"/>
                <a:gd name="T28" fmla="*/ 21 w 105"/>
                <a:gd name="T29" fmla="*/ 20 h 115"/>
                <a:gd name="T30" fmla="*/ 25 w 105"/>
                <a:gd name="T31" fmla="*/ 12 h 115"/>
                <a:gd name="T32" fmla="*/ 31 w 105"/>
                <a:gd name="T33" fmla="*/ 5 h 115"/>
                <a:gd name="T34" fmla="*/ 34 w 105"/>
                <a:gd name="T35" fmla="*/ 1 h 115"/>
                <a:gd name="T36" fmla="*/ 37 w 105"/>
                <a:gd name="T37" fmla="*/ 0 h 115"/>
                <a:gd name="T38" fmla="*/ 50 w 105"/>
                <a:gd name="T39" fmla="*/ 5 h 115"/>
                <a:gd name="T40" fmla="*/ 53 w 105"/>
                <a:gd name="T41" fmla="*/ 24 h 115"/>
                <a:gd name="T42" fmla="*/ 52 w 105"/>
                <a:gd name="T43" fmla="*/ 31 h 115"/>
                <a:gd name="T44" fmla="*/ 64 w 105"/>
                <a:gd name="T45" fmla="*/ 35 h 115"/>
                <a:gd name="T46" fmla="*/ 71 w 105"/>
                <a:gd name="T47" fmla="*/ 24 h 115"/>
                <a:gd name="T48" fmla="*/ 75 w 105"/>
                <a:gd name="T49" fmla="*/ 23 h 115"/>
                <a:gd name="T50" fmla="*/ 76 w 105"/>
                <a:gd name="T51" fmla="*/ 29 h 115"/>
                <a:gd name="T52" fmla="*/ 80 w 105"/>
                <a:gd name="T53" fmla="*/ 39 h 115"/>
                <a:gd name="T54" fmla="*/ 77 w 105"/>
                <a:gd name="T55" fmla="*/ 48 h 115"/>
                <a:gd name="T56" fmla="*/ 75 w 105"/>
                <a:gd name="T57" fmla="*/ 58 h 115"/>
                <a:gd name="T58" fmla="*/ 87 w 105"/>
                <a:gd name="T59" fmla="*/ 63 h 115"/>
                <a:gd name="T60" fmla="*/ 92 w 105"/>
                <a:gd name="T61" fmla="*/ 70 h 115"/>
                <a:gd name="T62" fmla="*/ 98 w 105"/>
                <a:gd name="T63" fmla="*/ 73 h 115"/>
                <a:gd name="T64" fmla="*/ 103 w 105"/>
                <a:gd name="T65" fmla="*/ 81 h 115"/>
                <a:gd name="T66" fmla="*/ 102 w 105"/>
                <a:gd name="T67" fmla="*/ 9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 h="115">
                  <a:moveTo>
                    <a:pt x="102" y="92"/>
                  </a:moveTo>
                  <a:cubicBezTo>
                    <a:pt x="98" y="96"/>
                    <a:pt x="100" y="101"/>
                    <a:pt x="100" y="104"/>
                  </a:cubicBezTo>
                  <a:cubicBezTo>
                    <a:pt x="99" y="107"/>
                    <a:pt x="97" y="112"/>
                    <a:pt x="98" y="112"/>
                  </a:cubicBezTo>
                  <a:cubicBezTo>
                    <a:pt x="98" y="113"/>
                    <a:pt x="99" y="114"/>
                    <a:pt x="100" y="115"/>
                  </a:cubicBezTo>
                  <a:cubicBezTo>
                    <a:pt x="97" y="115"/>
                    <a:pt x="95" y="115"/>
                    <a:pt x="93" y="115"/>
                  </a:cubicBezTo>
                  <a:cubicBezTo>
                    <a:pt x="90" y="115"/>
                    <a:pt x="86" y="113"/>
                    <a:pt x="75" y="106"/>
                  </a:cubicBezTo>
                  <a:cubicBezTo>
                    <a:pt x="63" y="100"/>
                    <a:pt x="59" y="99"/>
                    <a:pt x="56" y="95"/>
                  </a:cubicBezTo>
                  <a:cubicBezTo>
                    <a:pt x="53" y="90"/>
                    <a:pt x="50" y="89"/>
                    <a:pt x="45" y="83"/>
                  </a:cubicBezTo>
                  <a:cubicBezTo>
                    <a:pt x="40" y="77"/>
                    <a:pt x="39" y="77"/>
                    <a:pt x="30" y="69"/>
                  </a:cubicBezTo>
                  <a:cubicBezTo>
                    <a:pt x="22" y="62"/>
                    <a:pt x="21" y="65"/>
                    <a:pt x="16" y="58"/>
                  </a:cubicBezTo>
                  <a:cubicBezTo>
                    <a:pt x="11" y="52"/>
                    <a:pt x="3" y="51"/>
                    <a:pt x="0" y="48"/>
                  </a:cubicBezTo>
                  <a:cubicBezTo>
                    <a:pt x="1" y="47"/>
                    <a:pt x="2" y="46"/>
                    <a:pt x="2" y="44"/>
                  </a:cubicBezTo>
                  <a:cubicBezTo>
                    <a:pt x="2" y="42"/>
                    <a:pt x="6" y="39"/>
                    <a:pt x="8" y="33"/>
                  </a:cubicBezTo>
                  <a:cubicBezTo>
                    <a:pt x="10" y="27"/>
                    <a:pt x="10" y="29"/>
                    <a:pt x="15" y="24"/>
                  </a:cubicBezTo>
                  <a:cubicBezTo>
                    <a:pt x="20" y="20"/>
                    <a:pt x="20" y="23"/>
                    <a:pt x="21" y="20"/>
                  </a:cubicBezTo>
                  <a:cubicBezTo>
                    <a:pt x="22" y="17"/>
                    <a:pt x="21" y="17"/>
                    <a:pt x="25" y="12"/>
                  </a:cubicBezTo>
                  <a:cubicBezTo>
                    <a:pt x="30" y="7"/>
                    <a:pt x="31" y="9"/>
                    <a:pt x="31" y="5"/>
                  </a:cubicBezTo>
                  <a:cubicBezTo>
                    <a:pt x="31" y="2"/>
                    <a:pt x="33" y="1"/>
                    <a:pt x="34" y="1"/>
                  </a:cubicBezTo>
                  <a:cubicBezTo>
                    <a:pt x="35" y="1"/>
                    <a:pt x="36" y="1"/>
                    <a:pt x="37" y="0"/>
                  </a:cubicBezTo>
                  <a:cubicBezTo>
                    <a:pt x="39" y="0"/>
                    <a:pt x="45" y="2"/>
                    <a:pt x="50" y="5"/>
                  </a:cubicBezTo>
                  <a:cubicBezTo>
                    <a:pt x="54" y="9"/>
                    <a:pt x="53" y="17"/>
                    <a:pt x="53" y="24"/>
                  </a:cubicBezTo>
                  <a:cubicBezTo>
                    <a:pt x="53" y="31"/>
                    <a:pt x="49" y="28"/>
                    <a:pt x="52" y="31"/>
                  </a:cubicBezTo>
                  <a:cubicBezTo>
                    <a:pt x="55" y="34"/>
                    <a:pt x="58" y="35"/>
                    <a:pt x="64" y="35"/>
                  </a:cubicBezTo>
                  <a:cubicBezTo>
                    <a:pt x="70" y="35"/>
                    <a:pt x="70" y="30"/>
                    <a:pt x="71" y="24"/>
                  </a:cubicBezTo>
                  <a:cubicBezTo>
                    <a:pt x="71" y="21"/>
                    <a:pt x="73" y="22"/>
                    <a:pt x="75" y="23"/>
                  </a:cubicBezTo>
                  <a:cubicBezTo>
                    <a:pt x="75" y="25"/>
                    <a:pt x="74" y="26"/>
                    <a:pt x="76" y="29"/>
                  </a:cubicBezTo>
                  <a:cubicBezTo>
                    <a:pt x="79" y="33"/>
                    <a:pt x="80" y="36"/>
                    <a:pt x="80" y="39"/>
                  </a:cubicBezTo>
                  <a:cubicBezTo>
                    <a:pt x="79" y="42"/>
                    <a:pt x="80" y="44"/>
                    <a:pt x="77" y="48"/>
                  </a:cubicBezTo>
                  <a:cubicBezTo>
                    <a:pt x="74" y="53"/>
                    <a:pt x="69" y="53"/>
                    <a:pt x="75" y="58"/>
                  </a:cubicBezTo>
                  <a:cubicBezTo>
                    <a:pt x="80" y="63"/>
                    <a:pt x="83" y="61"/>
                    <a:pt x="87" y="63"/>
                  </a:cubicBezTo>
                  <a:cubicBezTo>
                    <a:pt x="92" y="66"/>
                    <a:pt x="92" y="68"/>
                    <a:pt x="92" y="70"/>
                  </a:cubicBezTo>
                  <a:cubicBezTo>
                    <a:pt x="93" y="71"/>
                    <a:pt x="95" y="71"/>
                    <a:pt x="98" y="73"/>
                  </a:cubicBezTo>
                  <a:cubicBezTo>
                    <a:pt x="100" y="76"/>
                    <a:pt x="103" y="77"/>
                    <a:pt x="103" y="81"/>
                  </a:cubicBezTo>
                  <a:cubicBezTo>
                    <a:pt x="102" y="84"/>
                    <a:pt x="105" y="87"/>
                    <a:pt x="102" y="92"/>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39" name="Freeform 928">
              <a:extLst>
                <a:ext uri="{FF2B5EF4-FFF2-40B4-BE49-F238E27FC236}">
                  <a16:creationId xmlns:a16="http://schemas.microsoft.com/office/drawing/2014/main" id="{D35F078C-78AD-074F-94FF-FC6FA3D699EC}"/>
                </a:ext>
              </a:extLst>
            </p:cNvPr>
            <p:cNvSpPr>
              <a:spLocks/>
            </p:cNvSpPr>
            <p:nvPr/>
          </p:nvSpPr>
          <p:spPr bwMode="auto">
            <a:xfrm>
              <a:off x="3821125" y="2380120"/>
              <a:ext cx="149225" cy="169863"/>
            </a:xfrm>
            <a:custGeom>
              <a:avLst/>
              <a:gdLst>
                <a:gd name="T0" fmla="*/ 152 w 158"/>
                <a:gd name="T1" fmla="*/ 79 h 178"/>
                <a:gd name="T2" fmla="*/ 146 w 158"/>
                <a:gd name="T3" fmla="*/ 96 h 178"/>
                <a:gd name="T4" fmla="*/ 137 w 158"/>
                <a:gd name="T5" fmla="*/ 111 h 178"/>
                <a:gd name="T6" fmla="*/ 142 w 158"/>
                <a:gd name="T7" fmla="*/ 131 h 178"/>
                <a:gd name="T8" fmla="*/ 146 w 158"/>
                <a:gd name="T9" fmla="*/ 144 h 178"/>
                <a:gd name="T10" fmla="*/ 151 w 158"/>
                <a:gd name="T11" fmla="*/ 159 h 178"/>
                <a:gd name="T12" fmla="*/ 115 w 158"/>
                <a:gd name="T13" fmla="*/ 154 h 178"/>
                <a:gd name="T14" fmla="*/ 82 w 158"/>
                <a:gd name="T15" fmla="*/ 160 h 178"/>
                <a:gd name="T16" fmla="*/ 49 w 158"/>
                <a:gd name="T17" fmla="*/ 168 h 178"/>
                <a:gd name="T18" fmla="*/ 31 w 158"/>
                <a:gd name="T19" fmla="*/ 178 h 178"/>
                <a:gd name="T20" fmla="*/ 31 w 158"/>
                <a:gd name="T21" fmla="*/ 167 h 178"/>
                <a:gd name="T22" fmla="*/ 34 w 158"/>
                <a:gd name="T23" fmla="*/ 144 h 178"/>
                <a:gd name="T24" fmla="*/ 23 w 158"/>
                <a:gd name="T25" fmla="*/ 133 h 178"/>
                <a:gd name="T26" fmla="*/ 6 w 158"/>
                <a:gd name="T27" fmla="*/ 121 h 178"/>
                <a:gd name="T28" fmla="*/ 11 w 158"/>
                <a:gd name="T29" fmla="*/ 102 h 178"/>
                <a:gd name="T30" fmla="*/ 6 w 158"/>
                <a:gd name="T31" fmla="*/ 86 h 178"/>
                <a:gd name="T32" fmla="*/ 17 w 158"/>
                <a:gd name="T33" fmla="*/ 78 h 178"/>
                <a:gd name="T34" fmla="*/ 26 w 158"/>
                <a:gd name="T35" fmla="*/ 62 h 178"/>
                <a:gd name="T36" fmla="*/ 23 w 158"/>
                <a:gd name="T37" fmla="*/ 49 h 178"/>
                <a:gd name="T38" fmla="*/ 16 w 158"/>
                <a:gd name="T39" fmla="*/ 31 h 178"/>
                <a:gd name="T40" fmla="*/ 21 w 158"/>
                <a:gd name="T41" fmla="*/ 11 h 178"/>
                <a:gd name="T42" fmla="*/ 35 w 158"/>
                <a:gd name="T43" fmla="*/ 12 h 178"/>
                <a:gd name="T44" fmla="*/ 51 w 158"/>
                <a:gd name="T45" fmla="*/ 6 h 178"/>
                <a:gd name="T46" fmla="*/ 63 w 158"/>
                <a:gd name="T47" fmla="*/ 2 h 178"/>
                <a:gd name="T48" fmla="*/ 78 w 158"/>
                <a:gd name="T49" fmla="*/ 11 h 178"/>
                <a:gd name="T50" fmla="*/ 86 w 158"/>
                <a:gd name="T51" fmla="*/ 13 h 178"/>
                <a:gd name="T52" fmla="*/ 98 w 158"/>
                <a:gd name="T53" fmla="*/ 27 h 178"/>
                <a:gd name="T54" fmla="*/ 116 w 158"/>
                <a:gd name="T55" fmla="*/ 27 h 178"/>
                <a:gd name="T56" fmla="*/ 142 w 158"/>
                <a:gd name="T57" fmla="*/ 26 h 178"/>
                <a:gd name="T58" fmla="*/ 151 w 158"/>
                <a:gd name="T59" fmla="*/ 38 h 178"/>
                <a:gd name="T60" fmla="*/ 151 w 158"/>
                <a:gd name="T61" fmla="*/ 46 h 178"/>
                <a:gd name="T62" fmla="*/ 157 w 158"/>
                <a:gd name="T63" fmla="*/ 6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8" h="178">
                  <a:moveTo>
                    <a:pt x="157" y="67"/>
                  </a:moveTo>
                  <a:cubicBezTo>
                    <a:pt x="156" y="71"/>
                    <a:pt x="155" y="75"/>
                    <a:pt x="152" y="79"/>
                  </a:cubicBezTo>
                  <a:cubicBezTo>
                    <a:pt x="148" y="83"/>
                    <a:pt x="147" y="83"/>
                    <a:pt x="147" y="87"/>
                  </a:cubicBezTo>
                  <a:cubicBezTo>
                    <a:pt x="147" y="91"/>
                    <a:pt x="147" y="93"/>
                    <a:pt x="146" y="96"/>
                  </a:cubicBezTo>
                  <a:cubicBezTo>
                    <a:pt x="145" y="99"/>
                    <a:pt x="144" y="100"/>
                    <a:pt x="141" y="103"/>
                  </a:cubicBezTo>
                  <a:cubicBezTo>
                    <a:pt x="138" y="107"/>
                    <a:pt x="135" y="107"/>
                    <a:pt x="137" y="111"/>
                  </a:cubicBezTo>
                  <a:cubicBezTo>
                    <a:pt x="138" y="116"/>
                    <a:pt x="136" y="116"/>
                    <a:pt x="138" y="120"/>
                  </a:cubicBezTo>
                  <a:cubicBezTo>
                    <a:pt x="140" y="125"/>
                    <a:pt x="141" y="128"/>
                    <a:pt x="142" y="131"/>
                  </a:cubicBezTo>
                  <a:cubicBezTo>
                    <a:pt x="143" y="134"/>
                    <a:pt x="142" y="134"/>
                    <a:pt x="145" y="138"/>
                  </a:cubicBezTo>
                  <a:cubicBezTo>
                    <a:pt x="147" y="142"/>
                    <a:pt x="143" y="144"/>
                    <a:pt x="146" y="144"/>
                  </a:cubicBezTo>
                  <a:cubicBezTo>
                    <a:pt x="150" y="145"/>
                    <a:pt x="151" y="146"/>
                    <a:pt x="151" y="148"/>
                  </a:cubicBezTo>
                  <a:cubicBezTo>
                    <a:pt x="151" y="150"/>
                    <a:pt x="151" y="156"/>
                    <a:pt x="151" y="159"/>
                  </a:cubicBezTo>
                  <a:cubicBezTo>
                    <a:pt x="150" y="158"/>
                    <a:pt x="148" y="156"/>
                    <a:pt x="139" y="156"/>
                  </a:cubicBezTo>
                  <a:cubicBezTo>
                    <a:pt x="125" y="156"/>
                    <a:pt x="130" y="154"/>
                    <a:pt x="115" y="154"/>
                  </a:cubicBezTo>
                  <a:cubicBezTo>
                    <a:pt x="101" y="155"/>
                    <a:pt x="103" y="153"/>
                    <a:pt x="95" y="155"/>
                  </a:cubicBezTo>
                  <a:cubicBezTo>
                    <a:pt x="87" y="158"/>
                    <a:pt x="90" y="156"/>
                    <a:pt x="82" y="160"/>
                  </a:cubicBezTo>
                  <a:cubicBezTo>
                    <a:pt x="75" y="163"/>
                    <a:pt x="71" y="164"/>
                    <a:pt x="63" y="166"/>
                  </a:cubicBezTo>
                  <a:cubicBezTo>
                    <a:pt x="56" y="168"/>
                    <a:pt x="51" y="166"/>
                    <a:pt x="49" y="168"/>
                  </a:cubicBezTo>
                  <a:cubicBezTo>
                    <a:pt x="46" y="170"/>
                    <a:pt x="43" y="173"/>
                    <a:pt x="38" y="175"/>
                  </a:cubicBezTo>
                  <a:cubicBezTo>
                    <a:pt x="36" y="177"/>
                    <a:pt x="33" y="178"/>
                    <a:pt x="31" y="178"/>
                  </a:cubicBezTo>
                  <a:cubicBezTo>
                    <a:pt x="30" y="177"/>
                    <a:pt x="29" y="176"/>
                    <a:pt x="29" y="175"/>
                  </a:cubicBezTo>
                  <a:cubicBezTo>
                    <a:pt x="28" y="175"/>
                    <a:pt x="30" y="170"/>
                    <a:pt x="31" y="167"/>
                  </a:cubicBezTo>
                  <a:cubicBezTo>
                    <a:pt x="31" y="164"/>
                    <a:pt x="29" y="159"/>
                    <a:pt x="33" y="155"/>
                  </a:cubicBezTo>
                  <a:cubicBezTo>
                    <a:pt x="36" y="150"/>
                    <a:pt x="33" y="147"/>
                    <a:pt x="34" y="144"/>
                  </a:cubicBezTo>
                  <a:cubicBezTo>
                    <a:pt x="34" y="140"/>
                    <a:pt x="31" y="139"/>
                    <a:pt x="29" y="136"/>
                  </a:cubicBezTo>
                  <a:cubicBezTo>
                    <a:pt x="26" y="134"/>
                    <a:pt x="24" y="134"/>
                    <a:pt x="23" y="133"/>
                  </a:cubicBezTo>
                  <a:cubicBezTo>
                    <a:pt x="23" y="131"/>
                    <a:pt x="23" y="129"/>
                    <a:pt x="18" y="126"/>
                  </a:cubicBezTo>
                  <a:cubicBezTo>
                    <a:pt x="14" y="124"/>
                    <a:pt x="11" y="126"/>
                    <a:pt x="6" y="121"/>
                  </a:cubicBezTo>
                  <a:cubicBezTo>
                    <a:pt x="0" y="116"/>
                    <a:pt x="5" y="116"/>
                    <a:pt x="8" y="111"/>
                  </a:cubicBezTo>
                  <a:cubicBezTo>
                    <a:pt x="11" y="107"/>
                    <a:pt x="10" y="105"/>
                    <a:pt x="11" y="102"/>
                  </a:cubicBezTo>
                  <a:cubicBezTo>
                    <a:pt x="11" y="99"/>
                    <a:pt x="10" y="96"/>
                    <a:pt x="7" y="92"/>
                  </a:cubicBezTo>
                  <a:cubicBezTo>
                    <a:pt x="5" y="89"/>
                    <a:pt x="6" y="88"/>
                    <a:pt x="6" y="86"/>
                  </a:cubicBezTo>
                  <a:cubicBezTo>
                    <a:pt x="9" y="87"/>
                    <a:pt x="11" y="89"/>
                    <a:pt x="13" y="89"/>
                  </a:cubicBezTo>
                  <a:cubicBezTo>
                    <a:pt x="18" y="89"/>
                    <a:pt x="15" y="84"/>
                    <a:pt x="17" y="78"/>
                  </a:cubicBezTo>
                  <a:cubicBezTo>
                    <a:pt x="19" y="72"/>
                    <a:pt x="16" y="74"/>
                    <a:pt x="14" y="70"/>
                  </a:cubicBezTo>
                  <a:cubicBezTo>
                    <a:pt x="12" y="66"/>
                    <a:pt x="19" y="63"/>
                    <a:pt x="26" y="62"/>
                  </a:cubicBezTo>
                  <a:cubicBezTo>
                    <a:pt x="33" y="62"/>
                    <a:pt x="26" y="62"/>
                    <a:pt x="23" y="56"/>
                  </a:cubicBezTo>
                  <a:cubicBezTo>
                    <a:pt x="21" y="50"/>
                    <a:pt x="22" y="51"/>
                    <a:pt x="23" y="49"/>
                  </a:cubicBezTo>
                  <a:cubicBezTo>
                    <a:pt x="24" y="46"/>
                    <a:pt x="23" y="44"/>
                    <a:pt x="23" y="40"/>
                  </a:cubicBezTo>
                  <a:cubicBezTo>
                    <a:pt x="23" y="37"/>
                    <a:pt x="19" y="37"/>
                    <a:pt x="16" y="31"/>
                  </a:cubicBezTo>
                  <a:cubicBezTo>
                    <a:pt x="14" y="25"/>
                    <a:pt x="19" y="21"/>
                    <a:pt x="21" y="18"/>
                  </a:cubicBezTo>
                  <a:cubicBezTo>
                    <a:pt x="23" y="15"/>
                    <a:pt x="24" y="14"/>
                    <a:pt x="21" y="11"/>
                  </a:cubicBezTo>
                  <a:cubicBezTo>
                    <a:pt x="22" y="11"/>
                    <a:pt x="26" y="11"/>
                    <a:pt x="26" y="10"/>
                  </a:cubicBezTo>
                  <a:cubicBezTo>
                    <a:pt x="27" y="8"/>
                    <a:pt x="32" y="9"/>
                    <a:pt x="35" y="12"/>
                  </a:cubicBezTo>
                  <a:cubicBezTo>
                    <a:pt x="37" y="14"/>
                    <a:pt x="41" y="18"/>
                    <a:pt x="44" y="16"/>
                  </a:cubicBezTo>
                  <a:cubicBezTo>
                    <a:pt x="48" y="13"/>
                    <a:pt x="51" y="12"/>
                    <a:pt x="51" y="6"/>
                  </a:cubicBezTo>
                  <a:cubicBezTo>
                    <a:pt x="52" y="1"/>
                    <a:pt x="56" y="4"/>
                    <a:pt x="57" y="5"/>
                  </a:cubicBezTo>
                  <a:cubicBezTo>
                    <a:pt x="59" y="5"/>
                    <a:pt x="61" y="4"/>
                    <a:pt x="63" y="2"/>
                  </a:cubicBezTo>
                  <a:cubicBezTo>
                    <a:pt x="66" y="0"/>
                    <a:pt x="61" y="9"/>
                    <a:pt x="65" y="15"/>
                  </a:cubicBezTo>
                  <a:cubicBezTo>
                    <a:pt x="68" y="21"/>
                    <a:pt x="69" y="12"/>
                    <a:pt x="78" y="11"/>
                  </a:cubicBezTo>
                  <a:cubicBezTo>
                    <a:pt x="80" y="10"/>
                    <a:pt x="81" y="10"/>
                    <a:pt x="82" y="10"/>
                  </a:cubicBezTo>
                  <a:cubicBezTo>
                    <a:pt x="83" y="11"/>
                    <a:pt x="84" y="13"/>
                    <a:pt x="86" y="13"/>
                  </a:cubicBezTo>
                  <a:cubicBezTo>
                    <a:pt x="89" y="14"/>
                    <a:pt x="93" y="12"/>
                    <a:pt x="94" y="17"/>
                  </a:cubicBezTo>
                  <a:cubicBezTo>
                    <a:pt x="95" y="22"/>
                    <a:pt x="93" y="22"/>
                    <a:pt x="98" y="27"/>
                  </a:cubicBezTo>
                  <a:cubicBezTo>
                    <a:pt x="103" y="31"/>
                    <a:pt x="105" y="32"/>
                    <a:pt x="108" y="32"/>
                  </a:cubicBezTo>
                  <a:cubicBezTo>
                    <a:pt x="111" y="32"/>
                    <a:pt x="114" y="29"/>
                    <a:pt x="116" y="27"/>
                  </a:cubicBezTo>
                  <a:cubicBezTo>
                    <a:pt x="118" y="26"/>
                    <a:pt x="117" y="25"/>
                    <a:pt x="123" y="25"/>
                  </a:cubicBezTo>
                  <a:cubicBezTo>
                    <a:pt x="128" y="25"/>
                    <a:pt x="142" y="24"/>
                    <a:pt x="142" y="26"/>
                  </a:cubicBezTo>
                  <a:cubicBezTo>
                    <a:pt x="143" y="28"/>
                    <a:pt x="144" y="32"/>
                    <a:pt x="147" y="35"/>
                  </a:cubicBezTo>
                  <a:cubicBezTo>
                    <a:pt x="148" y="37"/>
                    <a:pt x="150" y="37"/>
                    <a:pt x="151" y="38"/>
                  </a:cubicBezTo>
                  <a:cubicBezTo>
                    <a:pt x="152" y="39"/>
                    <a:pt x="152" y="40"/>
                    <a:pt x="152" y="41"/>
                  </a:cubicBezTo>
                  <a:cubicBezTo>
                    <a:pt x="152" y="44"/>
                    <a:pt x="148" y="41"/>
                    <a:pt x="151" y="46"/>
                  </a:cubicBezTo>
                  <a:cubicBezTo>
                    <a:pt x="154" y="52"/>
                    <a:pt x="155" y="50"/>
                    <a:pt x="156" y="56"/>
                  </a:cubicBezTo>
                  <a:cubicBezTo>
                    <a:pt x="156" y="61"/>
                    <a:pt x="158" y="63"/>
                    <a:pt x="157" y="67"/>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40" name="Freeform 929">
              <a:extLst>
                <a:ext uri="{FF2B5EF4-FFF2-40B4-BE49-F238E27FC236}">
                  <a16:creationId xmlns:a16="http://schemas.microsoft.com/office/drawing/2014/main" id="{0FB04C3D-D727-8E45-8D6E-5F2C9FC71B02}"/>
                </a:ext>
              </a:extLst>
            </p:cNvPr>
            <p:cNvSpPr>
              <a:spLocks/>
            </p:cNvSpPr>
            <p:nvPr/>
          </p:nvSpPr>
          <p:spPr bwMode="auto">
            <a:xfrm>
              <a:off x="3949713" y="2369007"/>
              <a:ext cx="109538" cy="171450"/>
            </a:xfrm>
            <a:custGeom>
              <a:avLst/>
              <a:gdLst>
                <a:gd name="T0" fmla="*/ 114 w 116"/>
                <a:gd name="T1" fmla="*/ 142 h 180"/>
                <a:gd name="T2" fmla="*/ 112 w 116"/>
                <a:gd name="T3" fmla="*/ 144 h 180"/>
                <a:gd name="T4" fmla="*/ 106 w 116"/>
                <a:gd name="T5" fmla="*/ 151 h 180"/>
                <a:gd name="T6" fmla="*/ 91 w 116"/>
                <a:gd name="T7" fmla="*/ 151 h 180"/>
                <a:gd name="T8" fmla="*/ 81 w 116"/>
                <a:gd name="T9" fmla="*/ 156 h 180"/>
                <a:gd name="T10" fmla="*/ 68 w 116"/>
                <a:gd name="T11" fmla="*/ 163 h 180"/>
                <a:gd name="T12" fmla="*/ 58 w 116"/>
                <a:gd name="T13" fmla="*/ 170 h 180"/>
                <a:gd name="T14" fmla="*/ 43 w 116"/>
                <a:gd name="T15" fmla="*/ 173 h 180"/>
                <a:gd name="T16" fmla="*/ 31 w 116"/>
                <a:gd name="T17" fmla="*/ 178 h 180"/>
                <a:gd name="T18" fmla="*/ 19 w 116"/>
                <a:gd name="T19" fmla="*/ 173 h 180"/>
                <a:gd name="T20" fmla="*/ 16 w 116"/>
                <a:gd name="T21" fmla="*/ 170 h 180"/>
                <a:gd name="T22" fmla="*/ 16 w 116"/>
                <a:gd name="T23" fmla="*/ 159 h 180"/>
                <a:gd name="T24" fmla="*/ 11 w 116"/>
                <a:gd name="T25" fmla="*/ 155 h 180"/>
                <a:gd name="T26" fmla="*/ 10 w 116"/>
                <a:gd name="T27" fmla="*/ 149 h 180"/>
                <a:gd name="T28" fmla="*/ 7 w 116"/>
                <a:gd name="T29" fmla="*/ 142 h 180"/>
                <a:gd name="T30" fmla="*/ 3 w 116"/>
                <a:gd name="T31" fmla="*/ 131 h 180"/>
                <a:gd name="T32" fmla="*/ 2 w 116"/>
                <a:gd name="T33" fmla="*/ 122 h 180"/>
                <a:gd name="T34" fmla="*/ 6 w 116"/>
                <a:gd name="T35" fmla="*/ 114 h 180"/>
                <a:gd name="T36" fmla="*/ 11 w 116"/>
                <a:gd name="T37" fmla="*/ 107 h 180"/>
                <a:gd name="T38" fmla="*/ 12 w 116"/>
                <a:gd name="T39" fmla="*/ 98 h 180"/>
                <a:gd name="T40" fmla="*/ 17 w 116"/>
                <a:gd name="T41" fmla="*/ 90 h 180"/>
                <a:gd name="T42" fmla="*/ 22 w 116"/>
                <a:gd name="T43" fmla="*/ 78 h 180"/>
                <a:gd name="T44" fmla="*/ 21 w 116"/>
                <a:gd name="T45" fmla="*/ 67 h 180"/>
                <a:gd name="T46" fmla="*/ 16 w 116"/>
                <a:gd name="T47" fmla="*/ 57 h 180"/>
                <a:gd name="T48" fmla="*/ 17 w 116"/>
                <a:gd name="T49" fmla="*/ 52 h 180"/>
                <a:gd name="T50" fmla="*/ 16 w 116"/>
                <a:gd name="T51" fmla="*/ 49 h 180"/>
                <a:gd name="T52" fmla="*/ 17 w 116"/>
                <a:gd name="T53" fmla="*/ 45 h 180"/>
                <a:gd name="T54" fmla="*/ 15 w 116"/>
                <a:gd name="T55" fmla="*/ 36 h 180"/>
                <a:gd name="T56" fmla="*/ 15 w 116"/>
                <a:gd name="T57" fmla="*/ 25 h 180"/>
                <a:gd name="T58" fmla="*/ 13 w 116"/>
                <a:gd name="T59" fmla="*/ 19 h 180"/>
                <a:gd name="T60" fmla="*/ 11 w 116"/>
                <a:gd name="T61" fmla="*/ 11 h 180"/>
                <a:gd name="T62" fmla="*/ 14 w 116"/>
                <a:gd name="T63" fmla="*/ 5 h 180"/>
                <a:gd name="T64" fmla="*/ 66 w 116"/>
                <a:gd name="T65" fmla="*/ 5 h 180"/>
                <a:gd name="T66" fmla="*/ 69 w 116"/>
                <a:gd name="T67" fmla="*/ 6 h 180"/>
                <a:gd name="T68" fmla="*/ 76 w 116"/>
                <a:gd name="T69" fmla="*/ 2 h 180"/>
                <a:gd name="T70" fmla="*/ 83 w 116"/>
                <a:gd name="T71" fmla="*/ 2 h 180"/>
                <a:gd name="T72" fmla="*/ 83 w 116"/>
                <a:gd name="T73" fmla="*/ 3 h 180"/>
                <a:gd name="T74" fmla="*/ 83 w 116"/>
                <a:gd name="T75" fmla="*/ 7 h 180"/>
                <a:gd name="T76" fmla="*/ 83 w 116"/>
                <a:gd name="T77" fmla="*/ 14 h 180"/>
                <a:gd name="T78" fmla="*/ 91 w 116"/>
                <a:gd name="T79" fmla="*/ 22 h 180"/>
                <a:gd name="T80" fmla="*/ 95 w 116"/>
                <a:gd name="T81" fmla="*/ 31 h 180"/>
                <a:gd name="T82" fmla="*/ 93 w 116"/>
                <a:gd name="T83" fmla="*/ 44 h 180"/>
                <a:gd name="T84" fmla="*/ 94 w 116"/>
                <a:gd name="T85" fmla="*/ 48 h 180"/>
                <a:gd name="T86" fmla="*/ 97 w 116"/>
                <a:gd name="T87" fmla="*/ 54 h 180"/>
                <a:gd name="T88" fmla="*/ 93 w 116"/>
                <a:gd name="T89" fmla="*/ 67 h 180"/>
                <a:gd name="T90" fmla="*/ 98 w 116"/>
                <a:gd name="T91" fmla="*/ 73 h 180"/>
                <a:gd name="T92" fmla="*/ 100 w 116"/>
                <a:gd name="T93" fmla="*/ 84 h 180"/>
                <a:gd name="T94" fmla="*/ 99 w 116"/>
                <a:gd name="T95" fmla="*/ 93 h 180"/>
                <a:gd name="T96" fmla="*/ 97 w 116"/>
                <a:gd name="T97" fmla="*/ 101 h 180"/>
                <a:gd name="T98" fmla="*/ 99 w 116"/>
                <a:gd name="T99" fmla="*/ 109 h 180"/>
                <a:gd name="T100" fmla="*/ 98 w 116"/>
                <a:gd name="T101" fmla="*/ 116 h 180"/>
                <a:gd name="T102" fmla="*/ 97 w 116"/>
                <a:gd name="T103" fmla="*/ 123 h 180"/>
                <a:gd name="T104" fmla="*/ 103 w 116"/>
                <a:gd name="T105" fmla="*/ 132 h 180"/>
                <a:gd name="T106" fmla="*/ 112 w 116"/>
                <a:gd name="T107" fmla="*/ 140 h 180"/>
                <a:gd name="T108" fmla="*/ 114 w 116"/>
                <a:gd name="T109" fmla="*/ 14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6" h="180">
                  <a:moveTo>
                    <a:pt x="114" y="142"/>
                  </a:moveTo>
                  <a:cubicBezTo>
                    <a:pt x="114" y="142"/>
                    <a:pt x="113" y="143"/>
                    <a:pt x="112" y="144"/>
                  </a:cubicBezTo>
                  <a:cubicBezTo>
                    <a:pt x="108" y="148"/>
                    <a:pt x="116" y="151"/>
                    <a:pt x="106" y="151"/>
                  </a:cubicBezTo>
                  <a:cubicBezTo>
                    <a:pt x="97" y="151"/>
                    <a:pt x="94" y="151"/>
                    <a:pt x="91" y="151"/>
                  </a:cubicBezTo>
                  <a:cubicBezTo>
                    <a:pt x="89" y="151"/>
                    <a:pt x="86" y="153"/>
                    <a:pt x="81" y="156"/>
                  </a:cubicBezTo>
                  <a:cubicBezTo>
                    <a:pt x="77" y="160"/>
                    <a:pt x="72" y="161"/>
                    <a:pt x="68" y="163"/>
                  </a:cubicBezTo>
                  <a:cubicBezTo>
                    <a:pt x="64" y="165"/>
                    <a:pt x="66" y="168"/>
                    <a:pt x="58" y="170"/>
                  </a:cubicBezTo>
                  <a:cubicBezTo>
                    <a:pt x="51" y="171"/>
                    <a:pt x="47" y="168"/>
                    <a:pt x="43" y="173"/>
                  </a:cubicBezTo>
                  <a:cubicBezTo>
                    <a:pt x="39" y="178"/>
                    <a:pt x="34" y="180"/>
                    <a:pt x="31" y="178"/>
                  </a:cubicBezTo>
                  <a:cubicBezTo>
                    <a:pt x="28" y="176"/>
                    <a:pt x="25" y="177"/>
                    <a:pt x="19" y="173"/>
                  </a:cubicBezTo>
                  <a:cubicBezTo>
                    <a:pt x="17" y="172"/>
                    <a:pt x="16" y="171"/>
                    <a:pt x="16" y="170"/>
                  </a:cubicBezTo>
                  <a:cubicBezTo>
                    <a:pt x="16" y="167"/>
                    <a:pt x="16" y="161"/>
                    <a:pt x="16" y="159"/>
                  </a:cubicBezTo>
                  <a:cubicBezTo>
                    <a:pt x="16" y="157"/>
                    <a:pt x="15" y="156"/>
                    <a:pt x="11" y="155"/>
                  </a:cubicBezTo>
                  <a:cubicBezTo>
                    <a:pt x="8" y="155"/>
                    <a:pt x="12" y="153"/>
                    <a:pt x="10" y="149"/>
                  </a:cubicBezTo>
                  <a:cubicBezTo>
                    <a:pt x="7" y="145"/>
                    <a:pt x="8" y="145"/>
                    <a:pt x="7" y="142"/>
                  </a:cubicBezTo>
                  <a:cubicBezTo>
                    <a:pt x="6" y="139"/>
                    <a:pt x="5" y="136"/>
                    <a:pt x="3" y="131"/>
                  </a:cubicBezTo>
                  <a:cubicBezTo>
                    <a:pt x="1" y="127"/>
                    <a:pt x="3" y="127"/>
                    <a:pt x="2" y="122"/>
                  </a:cubicBezTo>
                  <a:cubicBezTo>
                    <a:pt x="0" y="118"/>
                    <a:pt x="3" y="118"/>
                    <a:pt x="6" y="114"/>
                  </a:cubicBezTo>
                  <a:cubicBezTo>
                    <a:pt x="9" y="111"/>
                    <a:pt x="10" y="110"/>
                    <a:pt x="11" y="107"/>
                  </a:cubicBezTo>
                  <a:cubicBezTo>
                    <a:pt x="12" y="104"/>
                    <a:pt x="12" y="102"/>
                    <a:pt x="12" y="98"/>
                  </a:cubicBezTo>
                  <a:cubicBezTo>
                    <a:pt x="12" y="94"/>
                    <a:pt x="13" y="94"/>
                    <a:pt x="17" y="90"/>
                  </a:cubicBezTo>
                  <a:cubicBezTo>
                    <a:pt x="20" y="86"/>
                    <a:pt x="21" y="82"/>
                    <a:pt x="22" y="78"/>
                  </a:cubicBezTo>
                  <a:cubicBezTo>
                    <a:pt x="23" y="74"/>
                    <a:pt x="21" y="72"/>
                    <a:pt x="21" y="67"/>
                  </a:cubicBezTo>
                  <a:cubicBezTo>
                    <a:pt x="20" y="61"/>
                    <a:pt x="19" y="63"/>
                    <a:pt x="16" y="57"/>
                  </a:cubicBezTo>
                  <a:cubicBezTo>
                    <a:pt x="13" y="52"/>
                    <a:pt x="17" y="55"/>
                    <a:pt x="17" y="52"/>
                  </a:cubicBezTo>
                  <a:cubicBezTo>
                    <a:pt x="17" y="51"/>
                    <a:pt x="17" y="50"/>
                    <a:pt x="16" y="49"/>
                  </a:cubicBezTo>
                  <a:cubicBezTo>
                    <a:pt x="17" y="48"/>
                    <a:pt x="17" y="45"/>
                    <a:pt x="17" y="45"/>
                  </a:cubicBezTo>
                  <a:cubicBezTo>
                    <a:pt x="16" y="44"/>
                    <a:pt x="15" y="40"/>
                    <a:pt x="15" y="36"/>
                  </a:cubicBezTo>
                  <a:cubicBezTo>
                    <a:pt x="15" y="32"/>
                    <a:pt x="16" y="26"/>
                    <a:pt x="15" y="25"/>
                  </a:cubicBezTo>
                  <a:cubicBezTo>
                    <a:pt x="13" y="24"/>
                    <a:pt x="14" y="22"/>
                    <a:pt x="13" y="19"/>
                  </a:cubicBezTo>
                  <a:cubicBezTo>
                    <a:pt x="12" y="17"/>
                    <a:pt x="11" y="14"/>
                    <a:pt x="11" y="11"/>
                  </a:cubicBezTo>
                  <a:cubicBezTo>
                    <a:pt x="11" y="9"/>
                    <a:pt x="11" y="5"/>
                    <a:pt x="14" y="5"/>
                  </a:cubicBezTo>
                  <a:cubicBezTo>
                    <a:pt x="17" y="4"/>
                    <a:pt x="65" y="4"/>
                    <a:pt x="66" y="5"/>
                  </a:cubicBezTo>
                  <a:cubicBezTo>
                    <a:pt x="68" y="5"/>
                    <a:pt x="67" y="6"/>
                    <a:pt x="69" y="6"/>
                  </a:cubicBezTo>
                  <a:cubicBezTo>
                    <a:pt x="70" y="6"/>
                    <a:pt x="73" y="4"/>
                    <a:pt x="76" y="2"/>
                  </a:cubicBezTo>
                  <a:cubicBezTo>
                    <a:pt x="79" y="0"/>
                    <a:pt x="83" y="2"/>
                    <a:pt x="83" y="2"/>
                  </a:cubicBezTo>
                  <a:cubicBezTo>
                    <a:pt x="83" y="2"/>
                    <a:pt x="83" y="2"/>
                    <a:pt x="83" y="3"/>
                  </a:cubicBezTo>
                  <a:cubicBezTo>
                    <a:pt x="84" y="3"/>
                    <a:pt x="84" y="5"/>
                    <a:pt x="83" y="7"/>
                  </a:cubicBezTo>
                  <a:cubicBezTo>
                    <a:pt x="82" y="10"/>
                    <a:pt x="79" y="11"/>
                    <a:pt x="83" y="14"/>
                  </a:cubicBezTo>
                  <a:cubicBezTo>
                    <a:pt x="86" y="17"/>
                    <a:pt x="89" y="20"/>
                    <a:pt x="91" y="22"/>
                  </a:cubicBezTo>
                  <a:cubicBezTo>
                    <a:pt x="93" y="24"/>
                    <a:pt x="96" y="26"/>
                    <a:pt x="95" y="31"/>
                  </a:cubicBezTo>
                  <a:cubicBezTo>
                    <a:pt x="93" y="36"/>
                    <a:pt x="93" y="41"/>
                    <a:pt x="93" y="44"/>
                  </a:cubicBezTo>
                  <a:cubicBezTo>
                    <a:pt x="93" y="46"/>
                    <a:pt x="93" y="48"/>
                    <a:pt x="94" y="48"/>
                  </a:cubicBezTo>
                  <a:cubicBezTo>
                    <a:pt x="95" y="49"/>
                    <a:pt x="98" y="49"/>
                    <a:pt x="97" y="54"/>
                  </a:cubicBezTo>
                  <a:cubicBezTo>
                    <a:pt x="97" y="58"/>
                    <a:pt x="94" y="64"/>
                    <a:pt x="93" y="67"/>
                  </a:cubicBezTo>
                  <a:cubicBezTo>
                    <a:pt x="91" y="70"/>
                    <a:pt x="94" y="69"/>
                    <a:pt x="98" y="73"/>
                  </a:cubicBezTo>
                  <a:cubicBezTo>
                    <a:pt x="103" y="78"/>
                    <a:pt x="102" y="81"/>
                    <a:pt x="100" y="84"/>
                  </a:cubicBezTo>
                  <a:cubicBezTo>
                    <a:pt x="99" y="87"/>
                    <a:pt x="99" y="89"/>
                    <a:pt x="99" y="93"/>
                  </a:cubicBezTo>
                  <a:cubicBezTo>
                    <a:pt x="99" y="97"/>
                    <a:pt x="96" y="95"/>
                    <a:pt x="97" y="101"/>
                  </a:cubicBezTo>
                  <a:cubicBezTo>
                    <a:pt x="98" y="107"/>
                    <a:pt x="99" y="105"/>
                    <a:pt x="99" y="109"/>
                  </a:cubicBezTo>
                  <a:cubicBezTo>
                    <a:pt x="99" y="112"/>
                    <a:pt x="100" y="113"/>
                    <a:pt x="98" y="116"/>
                  </a:cubicBezTo>
                  <a:cubicBezTo>
                    <a:pt x="97" y="120"/>
                    <a:pt x="93" y="119"/>
                    <a:pt x="97" y="123"/>
                  </a:cubicBezTo>
                  <a:cubicBezTo>
                    <a:pt x="101" y="128"/>
                    <a:pt x="99" y="129"/>
                    <a:pt x="103" y="132"/>
                  </a:cubicBezTo>
                  <a:cubicBezTo>
                    <a:pt x="107" y="136"/>
                    <a:pt x="109" y="138"/>
                    <a:pt x="112" y="140"/>
                  </a:cubicBezTo>
                  <a:cubicBezTo>
                    <a:pt x="113" y="141"/>
                    <a:pt x="114" y="141"/>
                    <a:pt x="114" y="142"/>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41" name="Freeform 930">
              <a:extLst>
                <a:ext uri="{FF2B5EF4-FFF2-40B4-BE49-F238E27FC236}">
                  <a16:creationId xmlns:a16="http://schemas.microsoft.com/office/drawing/2014/main" id="{1BB803BA-C640-C747-9F70-05D2E9833303}"/>
                </a:ext>
              </a:extLst>
            </p:cNvPr>
            <p:cNvSpPr>
              <a:spLocks/>
            </p:cNvSpPr>
            <p:nvPr/>
          </p:nvSpPr>
          <p:spPr bwMode="auto">
            <a:xfrm>
              <a:off x="4024325" y="2370595"/>
              <a:ext cx="46038" cy="133350"/>
            </a:xfrm>
            <a:custGeom>
              <a:avLst/>
              <a:gdLst>
                <a:gd name="T0" fmla="*/ 49 w 49"/>
                <a:gd name="T1" fmla="*/ 134 h 140"/>
                <a:gd name="T2" fmla="*/ 47 w 49"/>
                <a:gd name="T3" fmla="*/ 135 h 140"/>
                <a:gd name="T4" fmla="*/ 40 w 49"/>
                <a:gd name="T5" fmla="*/ 137 h 140"/>
                <a:gd name="T6" fmla="*/ 35 w 49"/>
                <a:gd name="T7" fmla="*/ 140 h 140"/>
                <a:gd name="T8" fmla="*/ 33 w 49"/>
                <a:gd name="T9" fmla="*/ 138 h 140"/>
                <a:gd name="T10" fmla="*/ 24 w 49"/>
                <a:gd name="T11" fmla="*/ 130 h 140"/>
                <a:gd name="T12" fmla="*/ 18 w 49"/>
                <a:gd name="T13" fmla="*/ 121 h 140"/>
                <a:gd name="T14" fmla="*/ 19 w 49"/>
                <a:gd name="T15" fmla="*/ 114 h 140"/>
                <a:gd name="T16" fmla="*/ 20 w 49"/>
                <a:gd name="T17" fmla="*/ 107 h 140"/>
                <a:gd name="T18" fmla="*/ 18 w 49"/>
                <a:gd name="T19" fmla="*/ 99 h 140"/>
                <a:gd name="T20" fmla="*/ 20 w 49"/>
                <a:gd name="T21" fmla="*/ 91 h 140"/>
                <a:gd name="T22" fmla="*/ 21 w 49"/>
                <a:gd name="T23" fmla="*/ 82 h 140"/>
                <a:gd name="T24" fmla="*/ 19 w 49"/>
                <a:gd name="T25" fmla="*/ 71 h 140"/>
                <a:gd name="T26" fmla="*/ 14 w 49"/>
                <a:gd name="T27" fmla="*/ 65 h 140"/>
                <a:gd name="T28" fmla="*/ 18 w 49"/>
                <a:gd name="T29" fmla="*/ 52 h 140"/>
                <a:gd name="T30" fmla="*/ 15 w 49"/>
                <a:gd name="T31" fmla="*/ 46 h 140"/>
                <a:gd name="T32" fmla="*/ 14 w 49"/>
                <a:gd name="T33" fmla="*/ 42 h 140"/>
                <a:gd name="T34" fmla="*/ 16 w 49"/>
                <a:gd name="T35" fmla="*/ 29 h 140"/>
                <a:gd name="T36" fmla="*/ 12 w 49"/>
                <a:gd name="T37" fmla="*/ 20 h 140"/>
                <a:gd name="T38" fmla="*/ 4 w 49"/>
                <a:gd name="T39" fmla="*/ 12 h 140"/>
                <a:gd name="T40" fmla="*/ 4 w 49"/>
                <a:gd name="T41" fmla="*/ 5 h 140"/>
                <a:gd name="T42" fmla="*/ 4 w 49"/>
                <a:gd name="T43" fmla="*/ 1 h 140"/>
                <a:gd name="T44" fmla="*/ 10 w 49"/>
                <a:gd name="T45" fmla="*/ 1 h 140"/>
                <a:gd name="T46" fmla="*/ 19 w 49"/>
                <a:gd name="T47" fmla="*/ 3 h 140"/>
                <a:gd name="T48" fmla="*/ 28 w 49"/>
                <a:gd name="T49" fmla="*/ 3 h 140"/>
                <a:gd name="T50" fmla="*/ 28 w 49"/>
                <a:gd name="T51" fmla="*/ 4 h 140"/>
                <a:gd name="T52" fmla="*/ 26 w 49"/>
                <a:gd name="T53" fmla="*/ 10 h 140"/>
                <a:gd name="T54" fmla="*/ 25 w 49"/>
                <a:gd name="T55" fmla="*/ 16 h 140"/>
                <a:gd name="T56" fmla="*/ 30 w 49"/>
                <a:gd name="T57" fmla="*/ 25 h 140"/>
                <a:gd name="T58" fmla="*/ 38 w 49"/>
                <a:gd name="T59" fmla="*/ 30 h 140"/>
                <a:gd name="T60" fmla="*/ 39 w 49"/>
                <a:gd name="T61" fmla="*/ 37 h 140"/>
                <a:gd name="T62" fmla="*/ 40 w 49"/>
                <a:gd name="T63" fmla="*/ 44 h 140"/>
                <a:gd name="T64" fmla="*/ 41 w 49"/>
                <a:gd name="T65" fmla="*/ 49 h 140"/>
                <a:gd name="T66" fmla="*/ 44 w 49"/>
                <a:gd name="T67" fmla="*/ 56 h 140"/>
                <a:gd name="T68" fmla="*/ 45 w 49"/>
                <a:gd name="T69" fmla="*/ 70 h 140"/>
                <a:gd name="T70" fmla="*/ 46 w 49"/>
                <a:gd name="T71" fmla="*/ 116 h 140"/>
                <a:gd name="T72" fmla="*/ 44 w 49"/>
                <a:gd name="T73" fmla="*/ 123 h 140"/>
                <a:gd name="T74" fmla="*/ 49 w 49"/>
                <a:gd name="T75" fmla="*/ 13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140">
                  <a:moveTo>
                    <a:pt x="49" y="134"/>
                  </a:moveTo>
                  <a:cubicBezTo>
                    <a:pt x="49" y="134"/>
                    <a:pt x="48" y="134"/>
                    <a:pt x="47" y="135"/>
                  </a:cubicBezTo>
                  <a:cubicBezTo>
                    <a:pt x="42" y="136"/>
                    <a:pt x="45" y="133"/>
                    <a:pt x="40" y="137"/>
                  </a:cubicBezTo>
                  <a:cubicBezTo>
                    <a:pt x="37" y="139"/>
                    <a:pt x="36" y="139"/>
                    <a:pt x="35" y="140"/>
                  </a:cubicBezTo>
                  <a:cubicBezTo>
                    <a:pt x="35" y="139"/>
                    <a:pt x="34" y="139"/>
                    <a:pt x="33" y="138"/>
                  </a:cubicBezTo>
                  <a:cubicBezTo>
                    <a:pt x="30" y="136"/>
                    <a:pt x="28" y="134"/>
                    <a:pt x="24" y="130"/>
                  </a:cubicBezTo>
                  <a:cubicBezTo>
                    <a:pt x="20" y="127"/>
                    <a:pt x="22" y="126"/>
                    <a:pt x="18" y="121"/>
                  </a:cubicBezTo>
                  <a:cubicBezTo>
                    <a:pt x="14" y="117"/>
                    <a:pt x="18" y="118"/>
                    <a:pt x="19" y="114"/>
                  </a:cubicBezTo>
                  <a:cubicBezTo>
                    <a:pt x="21" y="111"/>
                    <a:pt x="20" y="110"/>
                    <a:pt x="20" y="107"/>
                  </a:cubicBezTo>
                  <a:cubicBezTo>
                    <a:pt x="20" y="103"/>
                    <a:pt x="19" y="105"/>
                    <a:pt x="18" y="99"/>
                  </a:cubicBezTo>
                  <a:cubicBezTo>
                    <a:pt x="17" y="93"/>
                    <a:pt x="20" y="95"/>
                    <a:pt x="20" y="91"/>
                  </a:cubicBezTo>
                  <a:cubicBezTo>
                    <a:pt x="20" y="87"/>
                    <a:pt x="20" y="85"/>
                    <a:pt x="21" y="82"/>
                  </a:cubicBezTo>
                  <a:cubicBezTo>
                    <a:pt x="23" y="79"/>
                    <a:pt x="24" y="76"/>
                    <a:pt x="19" y="71"/>
                  </a:cubicBezTo>
                  <a:cubicBezTo>
                    <a:pt x="15" y="67"/>
                    <a:pt x="12" y="68"/>
                    <a:pt x="14" y="65"/>
                  </a:cubicBezTo>
                  <a:cubicBezTo>
                    <a:pt x="15" y="62"/>
                    <a:pt x="18" y="56"/>
                    <a:pt x="18" y="52"/>
                  </a:cubicBezTo>
                  <a:cubicBezTo>
                    <a:pt x="19" y="47"/>
                    <a:pt x="16" y="47"/>
                    <a:pt x="15" y="46"/>
                  </a:cubicBezTo>
                  <a:cubicBezTo>
                    <a:pt x="14" y="46"/>
                    <a:pt x="14" y="44"/>
                    <a:pt x="14" y="42"/>
                  </a:cubicBezTo>
                  <a:cubicBezTo>
                    <a:pt x="14" y="39"/>
                    <a:pt x="14" y="34"/>
                    <a:pt x="16" y="29"/>
                  </a:cubicBezTo>
                  <a:cubicBezTo>
                    <a:pt x="17" y="24"/>
                    <a:pt x="14" y="22"/>
                    <a:pt x="12" y="20"/>
                  </a:cubicBezTo>
                  <a:cubicBezTo>
                    <a:pt x="10" y="18"/>
                    <a:pt x="7" y="15"/>
                    <a:pt x="4" y="12"/>
                  </a:cubicBezTo>
                  <a:cubicBezTo>
                    <a:pt x="0" y="9"/>
                    <a:pt x="3" y="8"/>
                    <a:pt x="4" y="5"/>
                  </a:cubicBezTo>
                  <a:cubicBezTo>
                    <a:pt x="5" y="3"/>
                    <a:pt x="5" y="1"/>
                    <a:pt x="4" y="1"/>
                  </a:cubicBezTo>
                  <a:cubicBezTo>
                    <a:pt x="6" y="1"/>
                    <a:pt x="8" y="0"/>
                    <a:pt x="10" y="1"/>
                  </a:cubicBezTo>
                  <a:cubicBezTo>
                    <a:pt x="13" y="2"/>
                    <a:pt x="14" y="2"/>
                    <a:pt x="19" y="3"/>
                  </a:cubicBezTo>
                  <a:cubicBezTo>
                    <a:pt x="23" y="3"/>
                    <a:pt x="27" y="2"/>
                    <a:pt x="28" y="3"/>
                  </a:cubicBezTo>
                  <a:cubicBezTo>
                    <a:pt x="28" y="3"/>
                    <a:pt x="28" y="4"/>
                    <a:pt x="28" y="4"/>
                  </a:cubicBezTo>
                  <a:cubicBezTo>
                    <a:pt x="28" y="6"/>
                    <a:pt x="28" y="8"/>
                    <a:pt x="26" y="10"/>
                  </a:cubicBezTo>
                  <a:cubicBezTo>
                    <a:pt x="25" y="12"/>
                    <a:pt x="25" y="12"/>
                    <a:pt x="25" y="16"/>
                  </a:cubicBezTo>
                  <a:cubicBezTo>
                    <a:pt x="26" y="21"/>
                    <a:pt x="27" y="23"/>
                    <a:pt x="30" y="25"/>
                  </a:cubicBezTo>
                  <a:cubicBezTo>
                    <a:pt x="34" y="28"/>
                    <a:pt x="37" y="27"/>
                    <a:pt x="38" y="30"/>
                  </a:cubicBezTo>
                  <a:cubicBezTo>
                    <a:pt x="38" y="33"/>
                    <a:pt x="39" y="34"/>
                    <a:pt x="39" y="37"/>
                  </a:cubicBezTo>
                  <a:cubicBezTo>
                    <a:pt x="39" y="40"/>
                    <a:pt x="39" y="41"/>
                    <a:pt x="40" y="44"/>
                  </a:cubicBezTo>
                  <a:cubicBezTo>
                    <a:pt x="40" y="46"/>
                    <a:pt x="39" y="46"/>
                    <a:pt x="41" y="49"/>
                  </a:cubicBezTo>
                  <a:cubicBezTo>
                    <a:pt x="43" y="52"/>
                    <a:pt x="43" y="54"/>
                    <a:pt x="44" y="56"/>
                  </a:cubicBezTo>
                  <a:cubicBezTo>
                    <a:pt x="45" y="58"/>
                    <a:pt x="45" y="68"/>
                    <a:pt x="45" y="70"/>
                  </a:cubicBezTo>
                  <a:cubicBezTo>
                    <a:pt x="45" y="72"/>
                    <a:pt x="46" y="116"/>
                    <a:pt x="46" y="116"/>
                  </a:cubicBezTo>
                  <a:cubicBezTo>
                    <a:pt x="46" y="116"/>
                    <a:pt x="42" y="119"/>
                    <a:pt x="44" y="123"/>
                  </a:cubicBezTo>
                  <a:cubicBezTo>
                    <a:pt x="46" y="126"/>
                    <a:pt x="49" y="133"/>
                    <a:pt x="49" y="134"/>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42" name="Freeform 931">
              <a:extLst>
                <a:ext uri="{FF2B5EF4-FFF2-40B4-BE49-F238E27FC236}">
                  <a16:creationId xmlns:a16="http://schemas.microsoft.com/office/drawing/2014/main" id="{A85A6748-2C17-6A4C-8EC4-5E07DCAC8264}"/>
                </a:ext>
              </a:extLst>
            </p:cNvPr>
            <p:cNvSpPr>
              <a:spLocks/>
            </p:cNvSpPr>
            <p:nvPr/>
          </p:nvSpPr>
          <p:spPr bwMode="auto">
            <a:xfrm>
              <a:off x="4048138" y="2335670"/>
              <a:ext cx="74613" cy="163513"/>
            </a:xfrm>
            <a:custGeom>
              <a:avLst/>
              <a:gdLst>
                <a:gd name="T0" fmla="*/ 70 w 78"/>
                <a:gd name="T1" fmla="*/ 58 h 173"/>
                <a:gd name="T2" fmla="*/ 72 w 78"/>
                <a:gd name="T3" fmla="*/ 67 h 173"/>
                <a:gd name="T4" fmla="*/ 66 w 78"/>
                <a:gd name="T5" fmla="*/ 73 h 173"/>
                <a:gd name="T6" fmla="*/ 59 w 78"/>
                <a:gd name="T7" fmla="*/ 84 h 173"/>
                <a:gd name="T8" fmla="*/ 57 w 78"/>
                <a:gd name="T9" fmla="*/ 92 h 173"/>
                <a:gd name="T10" fmla="*/ 49 w 78"/>
                <a:gd name="T11" fmla="*/ 96 h 173"/>
                <a:gd name="T12" fmla="*/ 49 w 78"/>
                <a:gd name="T13" fmla="*/ 135 h 173"/>
                <a:gd name="T14" fmla="*/ 50 w 78"/>
                <a:gd name="T15" fmla="*/ 147 h 173"/>
                <a:gd name="T16" fmla="*/ 49 w 78"/>
                <a:gd name="T17" fmla="*/ 155 h 173"/>
                <a:gd name="T18" fmla="*/ 49 w 78"/>
                <a:gd name="T19" fmla="*/ 163 h 173"/>
                <a:gd name="T20" fmla="*/ 48 w 78"/>
                <a:gd name="T21" fmla="*/ 168 h 173"/>
                <a:gd name="T22" fmla="*/ 43 w 78"/>
                <a:gd name="T23" fmla="*/ 169 h 173"/>
                <a:gd name="T24" fmla="*/ 24 w 78"/>
                <a:gd name="T25" fmla="*/ 172 h 173"/>
                <a:gd name="T26" fmla="*/ 19 w 78"/>
                <a:gd name="T27" fmla="*/ 161 h 173"/>
                <a:gd name="T28" fmla="*/ 21 w 78"/>
                <a:gd name="T29" fmla="*/ 154 h 173"/>
                <a:gd name="T30" fmla="*/ 20 w 78"/>
                <a:gd name="T31" fmla="*/ 108 h 173"/>
                <a:gd name="T32" fmla="*/ 19 w 78"/>
                <a:gd name="T33" fmla="*/ 94 h 173"/>
                <a:gd name="T34" fmla="*/ 16 w 78"/>
                <a:gd name="T35" fmla="*/ 87 h 173"/>
                <a:gd name="T36" fmla="*/ 15 w 78"/>
                <a:gd name="T37" fmla="*/ 82 h 173"/>
                <a:gd name="T38" fmla="*/ 14 w 78"/>
                <a:gd name="T39" fmla="*/ 75 h 173"/>
                <a:gd name="T40" fmla="*/ 13 w 78"/>
                <a:gd name="T41" fmla="*/ 68 h 173"/>
                <a:gd name="T42" fmla="*/ 5 w 78"/>
                <a:gd name="T43" fmla="*/ 63 h 173"/>
                <a:gd name="T44" fmla="*/ 0 w 78"/>
                <a:gd name="T45" fmla="*/ 54 h 173"/>
                <a:gd name="T46" fmla="*/ 1 w 78"/>
                <a:gd name="T47" fmla="*/ 48 h 173"/>
                <a:gd name="T48" fmla="*/ 3 w 78"/>
                <a:gd name="T49" fmla="*/ 42 h 173"/>
                <a:gd name="T50" fmla="*/ 3 w 78"/>
                <a:gd name="T51" fmla="*/ 41 h 173"/>
                <a:gd name="T52" fmla="*/ 6 w 78"/>
                <a:gd name="T53" fmla="*/ 37 h 173"/>
                <a:gd name="T54" fmla="*/ 11 w 78"/>
                <a:gd name="T55" fmla="*/ 31 h 173"/>
                <a:gd name="T56" fmla="*/ 20 w 78"/>
                <a:gd name="T57" fmla="*/ 28 h 173"/>
                <a:gd name="T58" fmla="*/ 29 w 78"/>
                <a:gd name="T59" fmla="*/ 28 h 173"/>
                <a:gd name="T60" fmla="*/ 35 w 78"/>
                <a:gd name="T61" fmla="*/ 24 h 173"/>
                <a:gd name="T62" fmla="*/ 40 w 78"/>
                <a:gd name="T63" fmla="*/ 16 h 173"/>
                <a:gd name="T64" fmla="*/ 40 w 78"/>
                <a:gd name="T65" fmla="*/ 14 h 173"/>
                <a:gd name="T66" fmla="*/ 40 w 78"/>
                <a:gd name="T67" fmla="*/ 6 h 173"/>
                <a:gd name="T68" fmla="*/ 49 w 78"/>
                <a:gd name="T69" fmla="*/ 2 h 173"/>
                <a:gd name="T70" fmla="*/ 57 w 78"/>
                <a:gd name="T71" fmla="*/ 5 h 173"/>
                <a:gd name="T72" fmla="*/ 68 w 78"/>
                <a:gd name="T73" fmla="*/ 16 h 173"/>
                <a:gd name="T74" fmla="*/ 70 w 78"/>
                <a:gd name="T75" fmla="*/ 19 h 173"/>
                <a:gd name="T76" fmla="*/ 67 w 78"/>
                <a:gd name="T77" fmla="*/ 24 h 173"/>
                <a:gd name="T78" fmla="*/ 74 w 78"/>
                <a:gd name="T79" fmla="*/ 37 h 173"/>
                <a:gd name="T80" fmla="*/ 74 w 78"/>
                <a:gd name="T81" fmla="*/ 49 h 173"/>
                <a:gd name="T82" fmla="*/ 70 w 78"/>
                <a:gd name="T83" fmla="*/ 5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 h="173">
                  <a:moveTo>
                    <a:pt x="70" y="58"/>
                  </a:moveTo>
                  <a:cubicBezTo>
                    <a:pt x="69" y="59"/>
                    <a:pt x="70" y="63"/>
                    <a:pt x="72" y="67"/>
                  </a:cubicBezTo>
                  <a:cubicBezTo>
                    <a:pt x="73" y="71"/>
                    <a:pt x="69" y="69"/>
                    <a:pt x="66" y="73"/>
                  </a:cubicBezTo>
                  <a:cubicBezTo>
                    <a:pt x="64" y="77"/>
                    <a:pt x="61" y="81"/>
                    <a:pt x="59" y="84"/>
                  </a:cubicBezTo>
                  <a:cubicBezTo>
                    <a:pt x="57" y="87"/>
                    <a:pt x="58" y="91"/>
                    <a:pt x="57" y="92"/>
                  </a:cubicBezTo>
                  <a:cubicBezTo>
                    <a:pt x="56" y="93"/>
                    <a:pt x="50" y="95"/>
                    <a:pt x="49" y="96"/>
                  </a:cubicBezTo>
                  <a:cubicBezTo>
                    <a:pt x="48" y="97"/>
                    <a:pt x="48" y="132"/>
                    <a:pt x="49" y="135"/>
                  </a:cubicBezTo>
                  <a:cubicBezTo>
                    <a:pt x="49" y="138"/>
                    <a:pt x="53" y="144"/>
                    <a:pt x="50" y="147"/>
                  </a:cubicBezTo>
                  <a:cubicBezTo>
                    <a:pt x="47" y="149"/>
                    <a:pt x="47" y="153"/>
                    <a:pt x="49" y="155"/>
                  </a:cubicBezTo>
                  <a:cubicBezTo>
                    <a:pt x="50" y="157"/>
                    <a:pt x="49" y="162"/>
                    <a:pt x="49" y="163"/>
                  </a:cubicBezTo>
                  <a:cubicBezTo>
                    <a:pt x="48" y="163"/>
                    <a:pt x="48" y="166"/>
                    <a:pt x="48" y="168"/>
                  </a:cubicBezTo>
                  <a:cubicBezTo>
                    <a:pt x="48" y="167"/>
                    <a:pt x="47" y="167"/>
                    <a:pt x="43" y="169"/>
                  </a:cubicBezTo>
                  <a:cubicBezTo>
                    <a:pt x="36" y="173"/>
                    <a:pt x="29" y="172"/>
                    <a:pt x="24" y="172"/>
                  </a:cubicBezTo>
                  <a:cubicBezTo>
                    <a:pt x="24" y="170"/>
                    <a:pt x="21" y="164"/>
                    <a:pt x="19" y="161"/>
                  </a:cubicBezTo>
                  <a:cubicBezTo>
                    <a:pt x="17" y="157"/>
                    <a:pt x="21" y="154"/>
                    <a:pt x="21" y="154"/>
                  </a:cubicBezTo>
                  <a:cubicBezTo>
                    <a:pt x="21" y="154"/>
                    <a:pt x="20" y="110"/>
                    <a:pt x="20" y="108"/>
                  </a:cubicBezTo>
                  <a:cubicBezTo>
                    <a:pt x="20" y="106"/>
                    <a:pt x="20" y="96"/>
                    <a:pt x="19" y="94"/>
                  </a:cubicBezTo>
                  <a:cubicBezTo>
                    <a:pt x="18" y="92"/>
                    <a:pt x="18" y="90"/>
                    <a:pt x="16" y="87"/>
                  </a:cubicBezTo>
                  <a:cubicBezTo>
                    <a:pt x="14" y="84"/>
                    <a:pt x="15" y="84"/>
                    <a:pt x="15" y="82"/>
                  </a:cubicBezTo>
                  <a:cubicBezTo>
                    <a:pt x="14" y="79"/>
                    <a:pt x="14" y="78"/>
                    <a:pt x="14" y="75"/>
                  </a:cubicBezTo>
                  <a:cubicBezTo>
                    <a:pt x="14" y="72"/>
                    <a:pt x="13" y="71"/>
                    <a:pt x="13" y="68"/>
                  </a:cubicBezTo>
                  <a:cubicBezTo>
                    <a:pt x="12" y="65"/>
                    <a:pt x="9" y="66"/>
                    <a:pt x="5" y="63"/>
                  </a:cubicBezTo>
                  <a:cubicBezTo>
                    <a:pt x="2" y="61"/>
                    <a:pt x="1" y="59"/>
                    <a:pt x="0" y="54"/>
                  </a:cubicBezTo>
                  <a:cubicBezTo>
                    <a:pt x="0" y="50"/>
                    <a:pt x="0" y="50"/>
                    <a:pt x="1" y="48"/>
                  </a:cubicBezTo>
                  <a:cubicBezTo>
                    <a:pt x="3" y="46"/>
                    <a:pt x="3" y="44"/>
                    <a:pt x="3" y="42"/>
                  </a:cubicBezTo>
                  <a:cubicBezTo>
                    <a:pt x="3" y="41"/>
                    <a:pt x="3" y="41"/>
                    <a:pt x="3" y="41"/>
                  </a:cubicBezTo>
                  <a:cubicBezTo>
                    <a:pt x="4" y="40"/>
                    <a:pt x="5" y="39"/>
                    <a:pt x="6" y="37"/>
                  </a:cubicBezTo>
                  <a:cubicBezTo>
                    <a:pt x="8" y="32"/>
                    <a:pt x="9" y="33"/>
                    <a:pt x="11" y="31"/>
                  </a:cubicBezTo>
                  <a:cubicBezTo>
                    <a:pt x="14" y="29"/>
                    <a:pt x="16" y="29"/>
                    <a:pt x="20" y="28"/>
                  </a:cubicBezTo>
                  <a:cubicBezTo>
                    <a:pt x="23" y="27"/>
                    <a:pt x="25" y="28"/>
                    <a:pt x="29" y="28"/>
                  </a:cubicBezTo>
                  <a:cubicBezTo>
                    <a:pt x="33" y="28"/>
                    <a:pt x="33" y="25"/>
                    <a:pt x="35" y="24"/>
                  </a:cubicBezTo>
                  <a:cubicBezTo>
                    <a:pt x="37" y="22"/>
                    <a:pt x="39" y="21"/>
                    <a:pt x="40" y="16"/>
                  </a:cubicBezTo>
                  <a:cubicBezTo>
                    <a:pt x="40" y="15"/>
                    <a:pt x="40" y="14"/>
                    <a:pt x="40" y="14"/>
                  </a:cubicBezTo>
                  <a:cubicBezTo>
                    <a:pt x="40" y="11"/>
                    <a:pt x="40" y="11"/>
                    <a:pt x="40" y="6"/>
                  </a:cubicBezTo>
                  <a:cubicBezTo>
                    <a:pt x="40" y="0"/>
                    <a:pt x="44" y="4"/>
                    <a:pt x="49" y="2"/>
                  </a:cubicBezTo>
                  <a:cubicBezTo>
                    <a:pt x="53" y="0"/>
                    <a:pt x="51" y="2"/>
                    <a:pt x="57" y="5"/>
                  </a:cubicBezTo>
                  <a:cubicBezTo>
                    <a:pt x="62" y="8"/>
                    <a:pt x="63" y="14"/>
                    <a:pt x="68" y="16"/>
                  </a:cubicBezTo>
                  <a:cubicBezTo>
                    <a:pt x="69" y="17"/>
                    <a:pt x="70" y="18"/>
                    <a:pt x="70" y="19"/>
                  </a:cubicBezTo>
                  <a:cubicBezTo>
                    <a:pt x="71" y="20"/>
                    <a:pt x="69" y="22"/>
                    <a:pt x="67" y="24"/>
                  </a:cubicBezTo>
                  <a:cubicBezTo>
                    <a:pt x="63" y="27"/>
                    <a:pt x="71" y="34"/>
                    <a:pt x="74" y="37"/>
                  </a:cubicBezTo>
                  <a:cubicBezTo>
                    <a:pt x="78" y="40"/>
                    <a:pt x="74" y="47"/>
                    <a:pt x="74" y="49"/>
                  </a:cubicBezTo>
                  <a:cubicBezTo>
                    <a:pt x="75" y="51"/>
                    <a:pt x="72" y="57"/>
                    <a:pt x="70" y="58"/>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43" name="Freeform 932">
              <a:extLst>
                <a:ext uri="{FF2B5EF4-FFF2-40B4-BE49-F238E27FC236}">
                  <a16:creationId xmlns:a16="http://schemas.microsoft.com/office/drawing/2014/main" id="{0F84D3F5-3F3E-BB4F-B082-9136FD22B0A0}"/>
                </a:ext>
              </a:extLst>
            </p:cNvPr>
            <p:cNvSpPr>
              <a:spLocks/>
            </p:cNvSpPr>
            <p:nvPr/>
          </p:nvSpPr>
          <p:spPr bwMode="auto">
            <a:xfrm>
              <a:off x="3898913" y="2264232"/>
              <a:ext cx="187326" cy="152400"/>
            </a:xfrm>
            <a:custGeom>
              <a:avLst/>
              <a:gdLst>
                <a:gd name="T0" fmla="*/ 197 w 197"/>
                <a:gd name="T1" fmla="*/ 91 h 160"/>
                <a:gd name="T2" fmla="*/ 186 w 197"/>
                <a:gd name="T3" fmla="*/ 103 h 160"/>
                <a:gd name="T4" fmla="*/ 168 w 197"/>
                <a:gd name="T5" fmla="*/ 106 h 160"/>
                <a:gd name="T6" fmla="*/ 160 w 197"/>
                <a:gd name="T7" fmla="*/ 116 h 160"/>
                <a:gd name="T8" fmla="*/ 142 w 197"/>
                <a:gd name="T9" fmla="*/ 114 h 160"/>
                <a:gd name="T10" fmla="*/ 136 w 197"/>
                <a:gd name="T11" fmla="*/ 113 h 160"/>
                <a:gd name="T12" fmla="*/ 122 w 197"/>
                <a:gd name="T13" fmla="*/ 117 h 160"/>
                <a:gd name="T14" fmla="*/ 67 w 197"/>
                <a:gd name="T15" fmla="*/ 116 h 160"/>
                <a:gd name="T16" fmla="*/ 66 w 197"/>
                <a:gd name="T17" fmla="*/ 130 h 160"/>
                <a:gd name="T18" fmla="*/ 68 w 197"/>
                <a:gd name="T19" fmla="*/ 147 h 160"/>
                <a:gd name="T20" fmla="*/ 70 w 197"/>
                <a:gd name="T21" fmla="*/ 160 h 160"/>
                <a:gd name="T22" fmla="*/ 60 w 197"/>
                <a:gd name="T23" fmla="*/ 148 h 160"/>
                <a:gd name="T24" fmla="*/ 34 w 197"/>
                <a:gd name="T25" fmla="*/ 149 h 160"/>
                <a:gd name="T26" fmla="*/ 16 w 197"/>
                <a:gd name="T27" fmla="*/ 149 h 160"/>
                <a:gd name="T28" fmla="*/ 4 w 197"/>
                <a:gd name="T29" fmla="*/ 135 h 160"/>
                <a:gd name="T30" fmla="*/ 1 w 197"/>
                <a:gd name="T31" fmla="*/ 126 h 160"/>
                <a:gd name="T32" fmla="*/ 8 w 197"/>
                <a:gd name="T33" fmla="*/ 103 h 160"/>
                <a:gd name="T34" fmla="*/ 19 w 197"/>
                <a:gd name="T35" fmla="*/ 87 h 160"/>
                <a:gd name="T36" fmla="*/ 27 w 197"/>
                <a:gd name="T37" fmla="*/ 68 h 160"/>
                <a:gd name="T38" fmla="*/ 33 w 197"/>
                <a:gd name="T39" fmla="*/ 55 h 160"/>
                <a:gd name="T40" fmla="*/ 46 w 197"/>
                <a:gd name="T41" fmla="*/ 53 h 160"/>
                <a:gd name="T42" fmla="*/ 57 w 197"/>
                <a:gd name="T43" fmla="*/ 44 h 160"/>
                <a:gd name="T44" fmla="*/ 66 w 197"/>
                <a:gd name="T45" fmla="*/ 37 h 160"/>
                <a:gd name="T46" fmla="*/ 83 w 197"/>
                <a:gd name="T47" fmla="*/ 27 h 160"/>
                <a:gd name="T48" fmla="*/ 105 w 197"/>
                <a:gd name="T49" fmla="*/ 14 h 160"/>
                <a:gd name="T50" fmla="*/ 133 w 197"/>
                <a:gd name="T51" fmla="*/ 2 h 160"/>
                <a:gd name="T52" fmla="*/ 143 w 197"/>
                <a:gd name="T53" fmla="*/ 4 h 160"/>
                <a:gd name="T54" fmla="*/ 145 w 197"/>
                <a:gd name="T55" fmla="*/ 22 h 160"/>
                <a:gd name="T56" fmla="*/ 162 w 197"/>
                <a:gd name="T57" fmla="*/ 43 h 160"/>
                <a:gd name="T58" fmla="*/ 166 w 197"/>
                <a:gd name="T59" fmla="*/ 59 h 160"/>
                <a:gd name="T60" fmla="*/ 184 w 197"/>
                <a:gd name="T61" fmla="*/ 68 h 160"/>
                <a:gd name="T62" fmla="*/ 193 w 197"/>
                <a:gd name="T63" fmla="*/ 77 h 160"/>
                <a:gd name="T64" fmla="*/ 197 w 197"/>
                <a:gd name="T65" fmla="*/ 8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7" h="160">
                  <a:moveTo>
                    <a:pt x="197" y="89"/>
                  </a:moveTo>
                  <a:cubicBezTo>
                    <a:pt x="197" y="89"/>
                    <a:pt x="197" y="90"/>
                    <a:pt x="197" y="91"/>
                  </a:cubicBezTo>
                  <a:cubicBezTo>
                    <a:pt x="196" y="96"/>
                    <a:pt x="194" y="97"/>
                    <a:pt x="192" y="99"/>
                  </a:cubicBezTo>
                  <a:cubicBezTo>
                    <a:pt x="190" y="100"/>
                    <a:pt x="190" y="103"/>
                    <a:pt x="186" y="103"/>
                  </a:cubicBezTo>
                  <a:cubicBezTo>
                    <a:pt x="182" y="103"/>
                    <a:pt x="180" y="102"/>
                    <a:pt x="177" y="103"/>
                  </a:cubicBezTo>
                  <a:cubicBezTo>
                    <a:pt x="173" y="104"/>
                    <a:pt x="171" y="104"/>
                    <a:pt x="168" y="106"/>
                  </a:cubicBezTo>
                  <a:cubicBezTo>
                    <a:pt x="166" y="108"/>
                    <a:pt x="165" y="107"/>
                    <a:pt x="163" y="112"/>
                  </a:cubicBezTo>
                  <a:cubicBezTo>
                    <a:pt x="162" y="114"/>
                    <a:pt x="161" y="116"/>
                    <a:pt x="160" y="116"/>
                  </a:cubicBezTo>
                  <a:cubicBezTo>
                    <a:pt x="159" y="115"/>
                    <a:pt x="155" y="116"/>
                    <a:pt x="151" y="116"/>
                  </a:cubicBezTo>
                  <a:cubicBezTo>
                    <a:pt x="146" y="115"/>
                    <a:pt x="145" y="115"/>
                    <a:pt x="142" y="114"/>
                  </a:cubicBezTo>
                  <a:cubicBezTo>
                    <a:pt x="140" y="113"/>
                    <a:pt x="138" y="114"/>
                    <a:pt x="136" y="114"/>
                  </a:cubicBezTo>
                  <a:cubicBezTo>
                    <a:pt x="136" y="113"/>
                    <a:pt x="136" y="113"/>
                    <a:pt x="136" y="113"/>
                  </a:cubicBezTo>
                  <a:cubicBezTo>
                    <a:pt x="136" y="113"/>
                    <a:pt x="132" y="111"/>
                    <a:pt x="129" y="113"/>
                  </a:cubicBezTo>
                  <a:cubicBezTo>
                    <a:pt x="126" y="115"/>
                    <a:pt x="123" y="117"/>
                    <a:pt x="122" y="117"/>
                  </a:cubicBezTo>
                  <a:cubicBezTo>
                    <a:pt x="120" y="117"/>
                    <a:pt x="121" y="116"/>
                    <a:pt x="119" y="116"/>
                  </a:cubicBezTo>
                  <a:cubicBezTo>
                    <a:pt x="118" y="115"/>
                    <a:pt x="70" y="115"/>
                    <a:pt x="67" y="116"/>
                  </a:cubicBezTo>
                  <a:cubicBezTo>
                    <a:pt x="64" y="116"/>
                    <a:pt x="64" y="120"/>
                    <a:pt x="64" y="122"/>
                  </a:cubicBezTo>
                  <a:cubicBezTo>
                    <a:pt x="64" y="125"/>
                    <a:pt x="65" y="128"/>
                    <a:pt x="66" y="130"/>
                  </a:cubicBezTo>
                  <a:cubicBezTo>
                    <a:pt x="67" y="133"/>
                    <a:pt x="66" y="135"/>
                    <a:pt x="68" y="136"/>
                  </a:cubicBezTo>
                  <a:cubicBezTo>
                    <a:pt x="69" y="137"/>
                    <a:pt x="68" y="143"/>
                    <a:pt x="68" y="147"/>
                  </a:cubicBezTo>
                  <a:cubicBezTo>
                    <a:pt x="68" y="151"/>
                    <a:pt x="69" y="155"/>
                    <a:pt x="70" y="156"/>
                  </a:cubicBezTo>
                  <a:cubicBezTo>
                    <a:pt x="70" y="157"/>
                    <a:pt x="70" y="159"/>
                    <a:pt x="70" y="160"/>
                  </a:cubicBezTo>
                  <a:cubicBezTo>
                    <a:pt x="68" y="159"/>
                    <a:pt x="66" y="159"/>
                    <a:pt x="65" y="157"/>
                  </a:cubicBezTo>
                  <a:cubicBezTo>
                    <a:pt x="62" y="154"/>
                    <a:pt x="61" y="150"/>
                    <a:pt x="60" y="148"/>
                  </a:cubicBezTo>
                  <a:cubicBezTo>
                    <a:pt x="60" y="146"/>
                    <a:pt x="46" y="147"/>
                    <a:pt x="41" y="147"/>
                  </a:cubicBezTo>
                  <a:cubicBezTo>
                    <a:pt x="35" y="147"/>
                    <a:pt x="36" y="148"/>
                    <a:pt x="34" y="149"/>
                  </a:cubicBezTo>
                  <a:cubicBezTo>
                    <a:pt x="32" y="151"/>
                    <a:pt x="29" y="154"/>
                    <a:pt x="26" y="154"/>
                  </a:cubicBezTo>
                  <a:cubicBezTo>
                    <a:pt x="23" y="154"/>
                    <a:pt x="21" y="153"/>
                    <a:pt x="16" y="149"/>
                  </a:cubicBezTo>
                  <a:cubicBezTo>
                    <a:pt x="11" y="144"/>
                    <a:pt x="13" y="144"/>
                    <a:pt x="12" y="139"/>
                  </a:cubicBezTo>
                  <a:cubicBezTo>
                    <a:pt x="11" y="134"/>
                    <a:pt x="7" y="136"/>
                    <a:pt x="4" y="135"/>
                  </a:cubicBezTo>
                  <a:cubicBezTo>
                    <a:pt x="2" y="135"/>
                    <a:pt x="1" y="133"/>
                    <a:pt x="0" y="132"/>
                  </a:cubicBezTo>
                  <a:cubicBezTo>
                    <a:pt x="3" y="130"/>
                    <a:pt x="0" y="129"/>
                    <a:pt x="1" y="126"/>
                  </a:cubicBezTo>
                  <a:cubicBezTo>
                    <a:pt x="3" y="123"/>
                    <a:pt x="1" y="123"/>
                    <a:pt x="1" y="117"/>
                  </a:cubicBezTo>
                  <a:cubicBezTo>
                    <a:pt x="1" y="111"/>
                    <a:pt x="7" y="109"/>
                    <a:pt x="8" y="103"/>
                  </a:cubicBezTo>
                  <a:cubicBezTo>
                    <a:pt x="10" y="98"/>
                    <a:pt x="4" y="97"/>
                    <a:pt x="4" y="93"/>
                  </a:cubicBezTo>
                  <a:cubicBezTo>
                    <a:pt x="4" y="89"/>
                    <a:pt x="13" y="89"/>
                    <a:pt x="19" y="87"/>
                  </a:cubicBezTo>
                  <a:cubicBezTo>
                    <a:pt x="25" y="84"/>
                    <a:pt x="25" y="84"/>
                    <a:pt x="26" y="78"/>
                  </a:cubicBezTo>
                  <a:cubicBezTo>
                    <a:pt x="27" y="72"/>
                    <a:pt x="30" y="72"/>
                    <a:pt x="27" y="68"/>
                  </a:cubicBezTo>
                  <a:cubicBezTo>
                    <a:pt x="24" y="64"/>
                    <a:pt x="31" y="68"/>
                    <a:pt x="33" y="65"/>
                  </a:cubicBezTo>
                  <a:cubicBezTo>
                    <a:pt x="36" y="62"/>
                    <a:pt x="33" y="61"/>
                    <a:pt x="33" y="55"/>
                  </a:cubicBezTo>
                  <a:cubicBezTo>
                    <a:pt x="34" y="48"/>
                    <a:pt x="35" y="54"/>
                    <a:pt x="37" y="49"/>
                  </a:cubicBezTo>
                  <a:cubicBezTo>
                    <a:pt x="40" y="44"/>
                    <a:pt x="41" y="50"/>
                    <a:pt x="46" y="53"/>
                  </a:cubicBezTo>
                  <a:cubicBezTo>
                    <a:pt x="50" y="57"/>
                    <a:pt x="49" y="53"/>
                    <a:pt x="55" y="52"/>
                  </a:cubicBezTo>
                  <a:cubicBezTo>
                    <a:pt x="60" y="50"/>
                    <a:pt x="56" y="49"/>
                    <a:pt x="57" y="44"/>
                  </a:cubicBezTo>
                  <a:cubicBezTo>
                    <a:pt x="58" y="39"/>
                    <a:pt x="58" y="41"/>
                    <a:pt x="61" y="41"/>
                  </a:cubicBezTo>
                  <a:cubicBezTo>
                    <a:pt x="64" y="41"/>
                    <a:pt x="65" y="41"/>
                    <a:pt x="66" y="37"/>
                  </a:cubicBezTo>
                  <a:cubicBezTo>
                    <a:pt x="68" y="33"/>
                    <a:pt x="70" y="29"/>
                    <a:pt x="71" y="25"/>
                  </a:cubicBezTo>
                  <a:cubicBezTo>
                    <a:pt x="73" y="22"/>
                    <a:pt x="78" y="26"/>
                    <a:pt x="83" y="27"/>
                  </a:cubicBezTo>
                  <a:cubicBezTo>
                    <a:pt x="89" y="29"/>
                    <a:pt x="87" y="22"/>
                    <a:pt x="92" y="19"/>
                  </a:cubicBezTo>
                  <a:cubicBezTo>
                    <a:pt x="97" y="16"/>
                    <a:pt x="101" y="16"/>
                    <a:pt x="105" y="14"/>
                  </a:cubicBezTo>
                  <a:cubicBezTo>
                    <a:pt x="110" y="11"/>
                    <a:pt x="114" y="4"/>
                    <a:pt x="119" y="2"/>
                  </a:cubicBezTo>
                  <a:cubicBezTo>
                    <a:pt x="124" y="0"/>
                    <a:pt x="124" y="2"/>
                    <a:pt x="133" y="2"/>
                  </a:cubicBezTo>
                  <a:cubicBezTo>
                    <a:pt x="142" y="3"/>
                    <a:pt x="138" y="4"/>
                    <a:pt x="142" y="4"/>
                  </a:cubicBezTo>
                  <a:cubicBezTo>
                    <a:pt x="142" y="4"/>
                    <a:pt x="143" y="4"/>
                    <a:pt x="143" y="4"/>
                  </a:cubicBezTo>
                  <a:cubicBezTo>
                    <a:pt x="142" y="7"/>
                    <a:pt x="145" y="10"/>
                    <a:pt x="145" y="13"/>
                  </a:cubicBezTo>
                  <a:cubicBezTo>
                    <a:pt x="145" y="15"/>
                    <a:pt x="139" y="13"/>
                    <a:pt x="145" y="22"/>
                  </a:cubicBezTo>
                  <a:cubicBezTo>
                    <a:pt x="150" y="31"/>
                    <a:pt x="145" y="27"/>
                    <a:pt x="151" y="35"/>
                  </a:cubicBezTo>
                  <a:cubicBezTo>
                    <a:pt x="157" y="43"/>
                    <a:pt x="158" y="40"/>
                    <a:pt x="162" y="43"/>
                  </a:cubicBezTo>
                  <a:cubicBezTo>
                    <a:pt x="165" y="45"/>
                    <a:pt x="167" y="46"/>
                    <a:pt x="165" y="49"/>
                  </a:cubicBezTo>
                  <a:cubicBezTo>
                    <a:pt x="163" y="52"/>
                    <a:pt x="162" y="55"/>
                    <a:pt x="166" y="59"/>
                  </a:cubicBezTo>
                  <a:cubicBezTo>
                    <a:pt x="169" y="64"/>
                    <a:pt x="169" y="66"/>
                    <a:pt x="175" y="67"/>
                  </a:cubicBezTo>
                  <a:cubicBezTo>
                    <a:pt x="181" y="68"/>
                    <a:pt x="180" y="70"/>
                    <a:pt x="184" y="68"/>
                  </a:cubicBezTo>
                  <a:cubicBezTo>
                    <a:pt x="189" y="67"/>
                    <a:pt x="193" y="65"/>
                    <a:pt x="193" y="69"/>
                  </a:cubicBezTo>
                  <a:cubicBezTo>
                    <a:pt x="193" y="73"/>
                    <a:pt x="194" y="76"/>
                    <a:pt x="193" y="77"/>
                  </a:cubicBezTo>
                  <a:cubicBezTo>
                    <a:pt x="192" y="77"/>
                    <a:pt x="187" y="83"/>
                    <a:pt x="190" y="85"/>
                  </a:cubicBezTo>
                  <a:cubicBezTo>
                    <a:pt x="193" y="87"/>
                    <a:pt x="196" y="88"/>
                    <a:pt x="197" y="89"/>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44" name="Freeform 933">
              <a:extLst>
                <a:ext uri="{FF2B5EF4-FFF2-40B4-BE49-F238E27FC236}">
                  <a16:creationId xmlns:a16="http://schemas.microsoft.com/office/drawing/2014/main" id="{95E3FD2A-DC0E-954F-B5F1-9EE0D465287C}"/>
                </a:ext>
              </a:extLst>
            </p:cNvPr>
            <p:cNvSpPr>
              <a:spLocks/>
            </p:cNvSpPr>
            <p:nvPr/>
          </p:nvSpPr>
          <p:spPr bwMode="auto">
            <a:xfrm>
              <a:off x="5319730" y="3221496"/>
              <a:ext cx="19050" cy="19050"/>
            </a:xfrm>
            <a:custGeom>
              <a:avLst/>
              <a:gdLst>
                <a:gd name="T0" fmla="*/ 2 w 19"/>
                <a:gd name="T1" fmla="*/ 6 h 20"/>
                <a:gd name="T2" fmla="*/ 7 w 19"/>
                <a:gd name="T3" fmla="*/ 19 h 20"/>
                <a:gd name="T4" fmla="*/ 18 w 19"/>
                <a:gd name="T5" fmla="*/ 15 h 20"/>
                <a:gd name="T6" fmla="*/ 16 w 19"/>
                <a:gd name="T7" fmla="*/ 6 h 20"/>
                <a:gd name="T8" fmla="*/ 8 w 19"/>
                <a:gd name="T9" fmla="*/ 2 h 20"/>
                <a:gd name="T10" fmla="*/ 2 w 19"/>
                <a:gd name="T11" fmla="*/ 6 h 20"/>
              </a:gdLst>
              <a:ahLst/>
              <a:cxnLst>
                <a:cxn ang="0">
                  <a:pos x="T0" y="T1"/>
                </a:cxn>
                <a:cxn ang="0">
                  <a:pos x="T2" y="T3"/>
                </a:cxn>
                <a:cxn ang="0">
                  <a:pos x="T4" y="T5"/>
                </a:cxn>
                <a:cxn ang="0">
                  <a:pos x="T6" y="T7"/>
                </a:cxn>
                <a:cxn ang="0">
                  <a:pos x="T8" y="T9"/>
                </a:cxn>
                <a:cxn ang="0">
                  <a:pos x="T10" y="T11"/>
                </a:cxn>
              </a:cxnLst>
              <a:rect l="0" t="0" r="r" b="b"/>
              <a:pathLst>
                <a:path w="19" h="20">
                  <a:moveTo>
                    <a:pt x="2" y="6"/>
                  </a:moveTo>
                  <a:cubicBezTo>
                    <a:pt x="2" y="11"/>
                    <a:pt x="3" y="17"/>
                    <a:pt x="7" y="19"/>
                  </a:cubicBezTo>
                  <a:cubicBezTo>
                    <a:pt x="12" y="20"/>
                    <a:pt x="18" y="19"/>
                    <a:pt x="18" y="15"/>
                  </a:cubicBezTo>
                  <a:cubicBezTo>
                    <a:pt x="18" y="10"/>
                    <a:pt x="19" y="11"/>
                    <a:pt x="16" y="6"/>
                  </a:cubicBezTo>
                  <a:cubicBezTo>
                    <a:pt x="13" y="2"/>
                    <a:pt x="11" y="1"/>
                    <a:pt x="8" y="2"/>
                  </a:cubicBezTo>
                  <a:cubicBezTo>
                    <a:pt x="6" y="3"/>
                    <a:pt x="0" y="0"/>
                    <a:pt x="2"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45" name="Freeform 934">
              <a:extLst>
                <a:ext uri="{FF2B5EF4-FFF2-40B4-BE49-F238E27FC236}">
                  <a16:creationId xmlns:a16="http://schemas.microsoft.com/office/drawing/2014/main" id="{B0237332-8B3B-A640-B1F3-98DCB7FDD6D8}"/>
                </a:ext>
              </a:extLst>
            </p:cNvPr>
            <p:cNvSpPr>
              <a:spLocks/>
            </p:cNvSpPr>
            <p:nvPr/>
          </p:nvSpPr>
          <p:spPr bwMode="auto">
            <a:xfrm>
              <a:off x="5372117" y="3197683"/>
              <a:ext cx="12700" cy="17463"/>
            </a:xfrm>
            <a:custGeom>
              <a:avLst/>
              <a:gdLst>
                <a:gd name="T0" fmla="*/ 6 w 14"/>
                <a:gd name="T1" fmla="*/ 6 h 18"/>
                <a:gd name="T2" fmla="*/ 1 w 14"/>
                <a:gd name="T3" fmla="*/ 15 h 18"/>
                <a:gd name="T4" fmla="*/ 9 w 14"/>
                <a:gd name="T5" fmla="*/ 18 h 18"/>
                <a:gd name="T6" fmla="*/ 13 w 14"/>
                <a:gd name="T7" fmla="*/ 12 h 18"/>
                <a:gd name="T8" fmla="*/ 6 w 14"/>
                <a:gd name="T9" fmla="*/ 6 h 18"/>
              </a:gdLst>
              <a:ahLst/>
              <a:cxnLst>
                <a:cxn ang="0">
                  <a:pos x="T0" y="T1"/>
                </a:cxn>
                <a:cxn ang="0">
                  <a:pos x="T2" y="T3"/>
                </a:cxn>
                <a:cxn ang="0">
                  <a:pos x="T4" y="T5"/>
                </a:cxn>
                <a:cxn ang="0">
                  <a:pos x="T6" y="T7"/>
                </a:cxn>
                <a:cxn ang="0">
                  <a:pos x="T8" y="T9"/>
                </a:cxn>
              </a:cxnLst>
              <a:rect l="0" t="0" r="r" b="b"/>
              <a:pathLst>
                <a:path w="14" h="18">
                  <a:moveTo>
                    <a:pt x="6" y="6"/>
                  </a:moveTo>
                  <a:cubicBezTo>
                    <a:pt x="4" y="8"/>
                    <a:pt x="0" y="12"/>
                    <a:pt x="1" y="15"/>
                  </a:cubicBezTo>
                  <a:cubicBezTo>
                    <a:pt x="2" y="18"/>
                    <a:pt x="6" y="18"/>
                    <a:pt x="9" y="18"/>
                  </a:cubicBezTo>
                  <a:cubicBezTo>
                    <a:pt x="11" y="17"/>
                    <a:pt x="14" y="17"/>
                    <a:pt x="13" y="12"/>
                  </a:cubicBezTo>
                  <a:cubicBezTo>
                    <a:pt x="12" y="7"/>
                    <a:pt x="11" y="0"/>
                    <a:pt x="6" y="6"/>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46" name="Freeform 935">
              <a:extLst>
                <a:ext uri="{FF2B5EF4-FFF2-40B4-BE49-F238E27FC236}">
                  <a16:creationId xmlns:a16="http://schemas.microsoft.com/office/drawing/2014/main" id="{2C7C3DB4-9864-8A4A-905E-0E24529189E1}"/>
                </a:ext>
              </a:extLst>
            </p:cNvPr>
            <p:cNvSpPr>
              <a:spLocks/>
            </p:cNvSpPr>
            <p:nvPr/>
          </p:nvSpPr>
          <p:spPr bwMode="auto">
            <a:xfrm>
              <a:off x="5048266" y="2964321"/>
              <a:ext cx="11113" cy="23813"/>
            </a:xfrm>
            <a:custGeom>
              <a:avLst/>
              <a:gdLst>
                <a:gd name="T0" fmla="*/ 4 w 11"/>
                <a:gd name="T1" fmla="*/ 7 h 26"/>
                <a:gd name="T2" fmla="*/ 10 w 11"/>
                <a:gd name="T3" fmla="*/ 10 h 26"/>
                <a:gd name="T4" fmla="*/ 10 w 11"/>
                <a:gd name="T5" fmla="*/ 24 h 26"/>
                <a:gd name="T6" fmla="*/ 6 w 11"/>
                <a:gd name="T7" fmla="*/ 23 h 26"/>
                <a:gd name="T8" fmla="*/ 1 w 11"/>
                <a:gd name="T9" fmla="*/ 16 h 26"/>
                <a:gd name="T10" fmla="*/ 4 w 11"/>
                <a:gd name="T11" fmla="*/ 7 h 26"/>
              </a:gdLst>
              <a:ahLst/>
              <a:cxnLst>
                <a:cxn ang="0">
                  <a:pos x="T0" y="T1"/>
                </a:cxn>
                <a:cxn ang="0">
                  <a:pos x="T2" y="T3"/>
                </a:cxn>
                <a:cxn ang="0">
                  <a:pos x="T4" y="T5"/>
                </a:cxn>
                <a:cxn ang="0">
                  <a:pos x="T6" y="T7"/>
                </a:cxn>
                <a:cxn ang="0">
                  <a:pos x="T8" y="T9"/>
                </a:cxn>
                <a:cxn ang="0">
                  <a:pos x="T10" y="T11"/>
                </a:cxn>
              </a:cxnLst>
              <a:rect l="0" t="0" r="r" b="b"/>
              <a:pathLst>
                <a:path w="11" h="26">
                  <a:moveTo>
                    <a:pt x="4" y="7"/>
                  </a:moveTo>
                  <a:cubicBezTo>
                    <a:pt x="8" y="7"/>
                    <a:pt x="9" y="0"/>
                    <a:pt x="10" y="10"/>
                  </a:cubicBezTo>
                  <a:cubicBezTo>
                    <a:pt x="11" y="20"/>
                    <a:pt x="10" y="22"/>
                    <a:pt x="10" y="24"/>
                  </a:cubicBezTo>
                  <a:cubicBezTo>
                    <a:pt x="9" y="26"/>
                    <a:pt x="8" y="26"/>
                    <a:pt x="6" y="23"/>
                  </a:cubicBezTo>
                  <a:cubicBezTo>
                    <a:pt x="4" y="20"/>
                    <a:pt x="0" y="19"/>
                    <a:pt x="1" y="16"/>
                  </a:cubicBezTo>
                  <a:cubicBezTo>
                    <a:pt x="3" y="13"/>
                    <a:pt x="4" y="7"/>
                    <a:pt x="4" y="7"/>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47" name="Freeform 936">
              <a:extLst>
                <a:ext uri="{FF2B5EF4-FFF2-40B4-BE49-F238E27FC236}">
                  <a16:creationId xmlns:a16="http://schemas.microsoft.com/office/drawing/2014/main" id="{1E75BD0D-F3F9-8B47-828C-6713668C8324}"/>
                </a:ext>
              </a:extLst>
            </p:cNvPr>
            <p:cNvSpPr>
              <a:spLocks/>
            </p:cNvSpPr>
            <p:nvPr/>
          </p:nvSpPr>
          <p:spPr bwMode="auto">
            <a:xfrm>
              <a:off x="5075254" y="2988133"/>
              <a:ext cx="11113" cy="12700"/>
            </a:xfrm>
            <a:custGeom>
              <a:avLst/>
              <a:gdLst>
                <a:gd name="T0" fmla="*/ 1 w 13"/>
                <a:gd name="T1" fmla="*/ 6 h 12"/>
                <a:gd name="T2" fmla="*/ 6 w 13"/>
                <a:gd name="T3" fmla="*/ 9 h 12"/>
                <a:gd name="T4" fmla="*/ 10 w 13"/>
                <a:gd name="T5" fmla="*/ 9 h 12"/>
                <a:gd name="T6" fmla="*/ 9 w 13"/>
                <a:gd name="T7" fmla="*/ 3 h 12"/>
                <a:gd name="T8" fmla="*/ 1 w 13"/>
                <a:gd name="T9" fmla="*/ 2 h 12"/>
                <a:gd name="T10" fmla="*/ 1 w 13"/>
                <a:gd name="T11" fmla="*/ 6 h 12"/>
              </a:gdLst>
              <a:ahLst/>
              <a:cxnLst>
                <a:cxn ang="0">
                  <a:pos x="T0" y="T1"/>
                </a:cxn>
                <a:cxn ang="0">
                  <a:pos x="T2" y="T3"/>
                </a:cxn>
                <a:cxn ang="0">
                  <a:pos x="T4" y="T5"/>
                </a:cxn>
                <a:cxn ang="0">
                  <a:pos x="T6" y="T7"/>
                </a:cxn>
                <a:cxn ang="0">
                  <a:pos x="T8" y="T9"/>
                </a:cxn>
                <a:cxn ang="0">
                  <a:pos x="T10" y="T11"/>
                </a:cxn>
              </a:cxnLst>
              <a:rect l="0" t="0" r="r" b="b"/>
              <a:pathLst>
                <a:path w="13" h="12">
                  <a:moveTo>
                    <a:pt x="1" y="6"/>
                  </a:moveTo>
                  <a:cubicBezTo>
                    <a:pt x="3" y="7"/>
                    <a:pt x="4" y="7"/>
                    <a:pt x="6" y="9"/>
                  </a:cubicBezTo>
                  <a:cubicBezTo>
                    <a:pt x="8" y="12"/>
                    <a:pt x="10" y="12"/>
                    <a:pt x="10" y="9"/>
                  </a:cubicBezTo>
                  <a:cubicBezTo>
                    <a:pt x="10" y="7"/>
                    <a:pt x="13" y="4"/>
                    <a:pt x="9" y="3"/>
                  </a:cubicBezTo>
                  <a:cubicBezTo>
                    <a:pt x="6" y="1"/>
                    <a:pt x="1" y="0"/>
                    <a:pt x="1" y="2"/>
                  </a:cubicBezTo>
                  <a:cubicBezTo>
                    <a:pt x="0" y="3"/>
                    <a:pt x="0" y="3"/>
                    <a:pt x="1" y="6"/>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48" name="Freeform 937">
              <a:extLst>
                <a:ext uri="{FF2B5EF4-FFF2-40B4-BE49-F238E27FC236}">
                  <a16:creationId xmlns:a16="http://schemas.microsoft.com/office/drawing/2014/main" id="{BDA5F98A-856F-E547-A206-7AD83CFD1EA3}"/>
                </a:ext>
              </a:extLst>
            </p:cNvPr>
            <p:cNvSpPr>
              <a:spLocks/>
            </p:cNvSpPr>
            <p:nvPr/>
          </p:nvSpPr>
          <p:spPr bwMode="auto">
            <a:xfrm>
              <a:off x="5059379" y="2992896"/>
              <a:ext cx="7938" cy="7938"/>
            </a:xfrm>
            <a:custGeom>
              <a:avLst/>
              <a:gdLst>
                <a:gd name="T0" fmla="*/ 1 w 8"/>
                <a:gd name="T1" fmla="*/ 1 h 7"/>
                <a:gd name="T2" fmla="*/ 8 w 8"/>
                <a:gd name="T3" fmla="*/ 2 h 7"/>
                <a:gd name="T4" fmla="*/ 4 w 8"/>
                <a:gd name="T5" fmla="*/ 5 h 7"/>
                <a:gd name="T6" fmla="*/ 1 w 8"/>
                <a:gd name="T7" fmla="*/ 1 h 7"/>
              </a:gdLst>
              <a:ahLst/>
              <a:cxnLst>
                <a:cxn ang="0">
                  <a:pos x="T0" y="T1"/>
                </a:cxn>
                <a:cxn ang="0">
                  <a:pos x="T2" y="T3"/>
                </a:cxn>
                <a:cxn ang="0">
                  <a:pos x="T4" y="T5"/>
                </a:cxn>
                <a:cxn ang="0">
                  <a:pos x="T6" y="T7"/>
                </a:cxn>
              </a:cxnLst>
              <a:rect l="0" t="0" r="r" b="b"/>
              <a:pathLst>
                <a:path w="8" h="7">
                  <a:moveTo>
                    <a:pt x="1" y="1"/>
                  </a:moveTo>
                  <a:cubicBezTo>
                    <a:pt x="3" y="1"/>
                    <a:pt x="8" y="0"/>
                    <a:pt x="8" y="2"/>
                  </a:cubicBezTo>
                  <a:cubicBezTo>
                    <a:pt x="8" y="5"/>
                    <a:pt x="6" y="7"/>
                    <a:pt x="4" y="5"/>
                  </a:cubicBezTo>
                  <a:cubicBezTo>
                    <a:pt x="2" y="3"/>
                    <a:pt x="0" y="4"/>
                    <a:pt x="1" y="1"/>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49" name="Freeform 938">
              <a:extLst>
                <a:ext uri="{FF2B5EF4-FFF2-40B4-BE49-F238E27FC236}">
                  <a16:creationId xmlns:a16="http://schemas.microsoft.com/office/drawing/2014/main" id="{F0ACD7DF-D3EF-6149-97B0-D376B4294C6B}"/>
                </a:ext>
              </a:extLst>
            </p:cNvPr>
            <p:cNvSpPr>
              <a:spLocks/>
            </p:cNvSpPr>
            <p:nvPr/>
          </p:nvSpPr>
          <p:spPr bwMode="auto">
            <a:xfrm>
              <a:off x="5091129" y="3004008"/>
              <a:ext cx="9525" cy="11113"/>
            </a:xfrm>
            <a:custGeom>
              <a:avLst/>
              <a:gdLst>
                <a:gd name="T0" fmla="*/ 3 w 10"/>
                <a:gd name="T1" fmla="*/ 2 h 12"/>
                <a:gd name="T2" fmla="*/ 3 w 10"/>
                <a:gd name="T3" fmla="*/ 12 h 12"/>
                <a:gd name="T4" fmla="*/ 7 w 10"/>
                <a:gd name="T5" fmla="*/ 10 h 12"/>
                <a:gd name="T6" fmla="*/ 8 w 10"/>
                <a:gd name="T7" fmla="*/ 4 h 12"/>
                <a:gd name="T8" fmla="*/ 3 w 10"/>
                <a:gd name="T9" fmla="*/ 2 h 12"/>
              </a:gdLst>
              <a:ahLst/>
              <a:cxnLst>
                <a:cxn ang="0">
                  <a:pos x="T0" y="T1"/>
                </a:cxn>
                <a:cxn ang="0">
                  <a:pos x="T2" y="T3"/>
                </a:cxn>
                <a:cxn ang="0">
                  <a:pos x="T4" y="T5"/>
                </a:cxn>
                <a:cxn ang="0">
                  <a:pos x="T6" y="T7"/>
                </a:cxn>
                <a:cxn ang="0">
                  <a:pos x="T8" y="T9"/>
                </a:cxn>
              </a:cxnLst>
              <a:rect l="0" t="0" r="r" b="b"/>
              <a:pathLst>
                <a:path w="10" h="12">
                  <a:moveTo>
                    <a:pt x="3" y="2"/>
                  </a:moveTo>
                  <a:cubicBezTo>
                    <a:pt x="3" y="5"/>
                    <a:pt x="0" y="11"/>
                    <a:pt x="3" y="12"/>
                  </a:cubicBezTo>
                  <a:cubicBezTo>
                    <a:pt x="6" y="12"/>
                    <a:pt x="5" y="12"/>
                    <a:pt x="7" y="10"/>
                  </a:cubicBezTo>
                  <a:cubicBezTo>
                    <a:pt x="8" y="8"/>
                    <a:pt x="10" y="6"/>
                    <a:pt x="8" y="4"/>
                  </a:cubicBezTo>
                  <a:cubicBezTo>
                    <a:pt x="6" y="2"/>
                    <a:pt x="2" y="0"/>
                    <a:pt x="3"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50" name="Freeform 939">
              <a:extLst>
                <a:ext uri="{FF2B5EF4-FFF2-40B4-BE49-F238E27FC236}">
                  <a16:creationId xmlns:a16="http://schemas.microsoft.com/office/drawing/2014/main" id="{615EEEA4-AD75-BC45-B820-1A932A6D9D13}"/>
                </a:ext>
              </a:extLst>
            </p:cNvPr>
            <p:cNvSpPr>
              <a:spLocks/>
            </p:cNvSpPr>
            <p:nvPr/>
          </p:nvSpPr>
          <p:spPr bwMode="auto">
            <a:xfrm>
              <a:off x="5297504" y="2697620"/>
              <a:ext cx="20638" cy="11113"/>
            </a:xfrm>
            <a:custGeom>
              <a:avLst/>
              <a:gdLst>
                <a:gd name="T0" fmla="*/ 8 w 22"/>
                <a:gd name="T1" fmla="*/ 8 h 11"/>
                <a:gd name="T2" fmla="*/ 10 w 22"/>
                <a:gd name="T3" fmla="*/ 7 h 11"/>
                <a:gd name="T4" fmla="*/ 14 w 22"/>
                <a:gd name="T5" fmla="*/ 9 h 11"/>
                <a:gd name="T6" fmla="*/ 16 w 22"/>
                <a:gd name="T7" fmla="*/ 10 h 11"/>
                <a:gd name="T8" fmla="*/ 19 w 22"/>
                <a:gd name="T9" fmla="*/ 9 h 11"/>
                <a:gd name="T10" fmla="*/ 21 w 22"/>
                <a:gd name="T11" fmla="*/ 7 h 11"/>
                <a:gd name="T12" fmla="*/ 17 w 22"/>
                <a:gd name="T13" fmla="*/ 3 h 11"/>
                <a:gd name="T14" fmla="*/ 11 w 22"/>
                <a:gd name="T15" fmla="*/ 1 h 11"/>
                <a:gd name="T16" fmla="*/ 6 w 22"/>
                <a:gd name="T17" fmla="*/ 1 h 11"/>
                <a:gd name="T18" fmla="*/ 2 w 22"/>
                <a:gd name="T19" fmla="*/ 2 h 11"/>
                <a:gd name="T20" fmla="*/ 3 w 22"/>
                <a:gd name="T21" fmla="*/ 6 h 11"/>
                <a:gd name="T22" fmla="*/ 8 w 22"/>
                <a:gd name="T23"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11">
                  <a:moveTo>
                    <a:pt x="8" y="8"/>
                  </a:moveTo>
                  <a:cubicBezTo>
                    <a:pt x="8" y="7"/>
                    <a:pt x="8" y="6"/>
                    <a:pt x="10" y="7"/>
                  </a:cubicBezTo>
                  <a:cubicBezTo>
                    <a:pt x="12" y="8"/>
                    <a:pt x="14" y="8"/>
                    <a:pt x="14" y="9"/>
                  </a:cubicBezTo>
                  <a:cubicBezTo>
                    <a:pt x="15" y="10"/>
                    <a:pt x="15" y="11"/>
                    <a:pt x="16" y="10"/>
                  </a:cubicBezTo>
                  <a:cubicBezTo>
                    <a:pt x="17" y="10"/>
                    <a:pt x="18" y="10"/>
                    <a:pt x="19" y="9"/>
                  </a:cubicBezTo>
                  <a:cubicBezTo>
                    <a:pt x="19" y="9"/>
                    <a:pt x="22" y="8"/>
                    <a:pt x="21" y="7"/>
                  </a:cubicBezTo>
                  <a:cubicBezTo>
                    <a:pt x="20" y="5"/>
                    <a:pt x="20" y="4"/>
                    <a:pt x="17" y="3"/>
                  </a:cubicBezTo>
                  <a:cubicBezTo>
                    <a:pt x="15" y="1"/>
                    <a:pt x="14" y="2"/>
                    <a:pt x="11" y="1"/>
                  </a:cubicBezTo>
                  <a:cubicBezTo>
                    <a:pt x="7" y="0"/>
                    <a:pt x="8" y="2"/>
                    <a:pt x="6" y="1"/>
                  </a:cubicBezTo>
                  <a:cubicBezTo>
                    <a:pt x="3" y="0"/>
                    <a:pt x="3" y="0"/>
                    <a:pt x="2" y="2"/>
                  </a:cubicBezTo>
                  <a:cubicBezTo>
                    <a:pt x="2" y="4"/>
                    <a:pt x="0" y="5"/>
                    <a:pt x="3" y="6"/>
                  </a:cubicBezTo>
                  <a:cubicBezTo>
                    <a:pt x="6" y="8"/>
                    <a:pt x="7" y="9"/>
                    <a:pt x="8" y="8"/>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51" name="Freeform 940">
              <a:extLst>
                <a:ext uri="{FF2B5EF4-FFF2-40B4-BE49-F238E27FC236}">
                  <a16:creationId xmlns:a16="http://schemas.microsoft.com/office/drawing/2014/main" id="{2E92FB33-06D8-7E4B-80E2-60B79A997BBD}"/>
                </a:ext>
              </a:extLst>
            </p:cNvPr>
            <p:cNvSpPr>
              <a:spLocks/>
            </p:cNvSpPr>
            <p:nvPr/>
          </p:nvSpPr>
          <p:spPr bwMode="auto">
            <a:xfrm>
              <a:off x="5318142" y="2688095"/>
              <a:ext cx="19050" cy="7938"/>
            </a:xfrm>
            <a:custGeom>
              <a:avLst/>
              <a:gdLst>
                <a:gd name="T0" fmla="*/ 6 w 19"/>
                <a:gd name="T1" fmla="*/ 7 h 9"/>
                <a:gd name="T2" fmla="*/ 10 w 19"/>
                <a:gd name="T3" fmla="*/ 8 h 9"/>
                <a:gd name="T4" fmla="*/ 12 w 19"/>
                <a:gd name="T5" fmla="*/ 8 h 9"/>
                <a:gd name="T6" fmla="*/ 14 w 19"/>
                <a:gd name="T7" fmla="*/ 9 h 9"/>
                <a:gd name="T8" fmla="*/ 16 w 19"/>
                <a:gd name="T9" fmla="*/ 8 h 9"/>
                <a:gd name="T10" fmla="*/ 18 w 19"/>
                <a:gd name="T11" fmla="*/ 6 h 9"/>
                <a:gd name="T12" fmla="*/ 15 w 19"/>
                <a:gd name="T13" fmla="*/ 2 h 9"/>
                <a:gd name="T14" fmla="*/ 10 w 19"/>
                <a:gd name="T15" fmla="*/ 2 h 9"/>
                <a:gd name="T16" fmla="*/ 4 w 19"/>
                <a:gd name="T17" fmla="*/ 0 h 9"/>
                <a:gd name="T18" fmla="*/ 4 w 19"/>
                <a:gd name="T19" fmla="*/ 3 h 9"/>
                <a:gd name="T20" fmla="*/ 2 w 19"/>
                <a:gd name="T21" fmla="*/ 5 h 9"/>
                <a:gd name="T22" fmla="*/ 6 w 19"/>
                <a:gd name="T23"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9">
                  <a:moveTo>
                    <a:pt x="6" y="7"/>
                  </a:moveTo>
                  <a:cubicBezTo>
                    <a:pt x="7" y="6"/>
                    <a:pt x="8" y="8"/>
                    <a:pt x="10" y="8"/>
                  </a:cubicBezTo>
                  <a:cubicBezTo>
                    <a:pt x="11" y="9"/>
                    <a:pt x="12" y="7"/>
                    <a:pt x="12" y="8"/>
                  </a:cubicBezTo>
                  <a:cubicBezTo>
                    <a:pt x="12" y="8"/>
                    <a:pt x="13" y="9"/>
                    <a:pt x="14" y="9"/>
                  </a:cubicBezTo>
                  <a:cubicBezTo>
                    <a:pt x="15" y="9"/>
                    <a:pt x="16" y="9"/>
                    <a:pt x="16" y="8"/>
                  </a:cubicBezTo>
                  <a:cubicBezTo>
                    <a:pt x="16" y="7"/>
                    <a:pt x="19" y="7"/>
                    <a:pt x="18" y="6"/>
                  </a:cubicBezTo>
                  <a:cubicBezTo>
                    <a:pt x="17" y="4"/>
                    <a:pt x="17" y="3"/>
                    <a:pt x="15" y="2"/>
                  </a:cubicBezTo>
                  <a:cubicBezTo>
                    <a:pt x="12" y="1"/>
                    <a:pt x="13" y="3"/>
                    <a:pt x="10" y="2"/>
                  </a:cubicBezTo>
                  <a:cubicBezTo>
                    <a:pt x="7" y="2"/>
                    <a:pt x="6" y="1"/>
                    <a:pt x="4" y="0"/>
                  </a:cubicBezTo>
                  <a:cubicBezTo>
                    <a:pt x="2" y="0"/>
                    <a:pt x="5" y="1"/>
                    <a:pt x="4" y="3"/>
                  </a:cubicBezTo>
                  <a:cubicBezTo>
                    <a:pt x="4" y="5"/>
                    <a:pt x="0" y="4"/>
                    <a:pt x="2" y="5"/>
                  </a:cubicBezTo>
                  <a:cubicBezTo>
                    <a:pt x="5" y="7"/>
                    <a:pt x="6" y="7"/>
                    <a:pt x="6" y="7"/>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52" name="Freeform 941">
              <a:extLst>
                <a:ext uri="{FF2B5EF4-FFF2-40B4-BE49-F238E27FC236}">
                  <a16:creationId xmlns:a16="http://schemas.microsoft.com/office/drawing/2014/main" id="{060BD6D7-C4E4-3148-A4DD-038EF4A44D3A}"/>
                </a:ext>
              </a:extLst>
            </p:cNvPr>
            <p:cNvSpPr>
              <a:spLocks/>
            </p:cNvSpPr>
            <p:nvPr/>
          </p:nvSpPr>
          <p:spPr bwMode="auto">
            <a:xfrm>
              <a:off x="3427424" y="2203907"/>
              <a:ext cx="20638" cy="19050"/>
            </a:xfrm>
            <a:custGeom>
              <a:avLst/>
              <a:gdLst>
                <a:gd name="T0" fmla="*/ 9 w 21"/>
                <a:gd name="T1" fmla="*/ 5 h 20"/>
                <a:gd name="T2" fmla="*/ 5 w 21"/>
                <a:gd name="T3" fmla="*/ 13 h 20"/>
                <a:gd name="T4" fmla="*/ 13 w 21"/>
                <a:gd name="T5" fmla="*/ 16 h 20"/>
                <a:gd name="T6" fmla="*/ 20 w 21"/>
                <a:gd name="T7" fmla="*/ 16 h 20"/>
                <a:gd name="T8" fmla="*/ 17 w 21"/>
                <a:gd name="T9" fmla="*/ 7 h 20"/>
                <a:gd name="T10" fmla="*/ 12 w 21"/>
                <a:gd name="T11" fmla="*/ 2 h 20"/>
                <a:gd name="T12" fmla="*/ 9 w 21"/>
                <a:gd name="T13" fmla="*/ 5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9" y="5"/>
                  </a:moveTo>
                  <a:cubicBezTo>
                    <a:pt x="6" y="9"/>
                    <a:pt x="0" y="10"/>
                    <a:pt x="5" y="13"/>
                  </a:cubicBezTo>
                  <a:cubicBezTo>
                    <a:pt x="11" y="16"/>
                    <a:pt x="9" y="12"/>
                    <a:pt x="13" y="16"/>
                  </a:cubicBezTo>
                  <a:cubicBezTo>
                    <a:pt x="17" y="19"/>
                    <a:pt x="21" y="20"/>
                    <a:pt x="20" y="16"/>
                  </a:cubicBezTo>
                  <a:cubicBezTo>
                    <a:pt x="19" y="12"/>
                    <a:pt x="17" y="11"/>
                    <a:pt x="17" y="7"/>
                  </a:cubicBezTo>
                  <a:cubicBezTo>
                    <a:pt x="17" y="3"/>
                    <a:pt x="12" y="2"/>
                    <a:pt x="12" y="2"/>
                  </a:cubicBezTo>
                  <a:cubicBezTo>
                    <a:pt x="12" y="2"/>
                    <a:pt x="7" y="0"/>
                    <a:pt x="9"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53" name="Freeform 942">
              <a:extLst>
                <a:ext uri="{FF2B5EF4-FFF2-40B4-BE49-F238E27FC236}">
                  <a16:creationId xmlns:a16="http://schemas.microsoft.com/office/drawing/2014/main" id="{8A1BD807-2684-8C42-A6DA-FF7171EA469A}"/>
                </a:ext>
              </a:extLst>
            </p:cNvPr>
            <p:cNvSpPr>
              <a:spLocks/>
            </p:cNvSpPr>
            <p:nvPr/>
          </p:nvSpPr>
          <p:spPr bwMode="auto">
            <a:xfrm>
              <a:off x="3486161" y="2230895"/>
              <a:ext cx="15875" cy="14288"/>
            </a:xfrm>
            <a:custGeom>
              <a:avLst/>
              <a:gdLst>
                <a:gd name="T0" fmla="*/ 4 w 16"/>
                <a:gd name="T1" fmla="*/ 4 h 16"/>
                <a:gd name="T2" fmla="*/ 3 w 16"/>
                <a:gd name="T3" fmla="*/ 10 h 16"/>
                <a:gd name="T4" fmla="*/ 12 w 16"/>
                <a:gd name="T5" fmla="*/ 12 h 16"/>
                <a:gd name="T6" fmla="*/ 12 w 16"/>
                <a:gd name="T7" fmla="*/ 3 h 16"/>
                <a:gd name="T8" fmla="*/ 4 w 16"/>
                <a:gd name="T9" fmla="*/ 4 h 16"/>
              </a:gdLst>
              <a:ahLst/>
              <a:cxnLst>
                <a:cxn ang="0">
                  <a:pos x="T0" y="T1"/>
                </a:cxn>
                <a:cxn ang="0">
                  <a:pos x="T2" y="T3"/>
                </a:cxn>
                <a:cxn ang="0">
                  <a:pos x="T4" y="T5"/>
                </a:cxn>
                <a:cxn ang="0">
                  <a:pos x="T6" y="T7"/>
                </a:cxn>
                <a:cxn ang="0">
                  <a:pos x="T8" y="T9"/>
                </a:cxn>
              </a:cxnLst>
              <a:rect l="0" t="0" r="r" b="b"/>
              <a:pathLst>
                <a:path w="16" h="16">
                  <a:moveTo>
                    <a:pt x="4" y="4"/>
                  </a:moveTo>
                  <a:cubicBezTo>
                    <a:pt x="5" y="8"/>
                    <a:pt x="0" y="6"/>
                    <a:pt x="3" y="10"/>
                  </a:cubicBezTo>
                  <a:cubicBezTo>
                    <a:pt x="6" y="15"/>
                    <a:pt x="9" y="16"/>
                    <a:pt x="12" y="12"/>
                  </a:cubicBezTo>
                  <a:cubicBezTo>
                    <a:pt x="14" y="9"/>
                    <a:pt x="16" y="6"/>
                    <a:pt x="12" y="3"/>
                  </a:cubicBezTo>
                  <a:cubicBezTo>
                    <a:pt x="7" y="0"/>
                    <a:pt x="5" y="3"/>
                    <a:pt x="4"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54" name="Freeform 943">
              <a:extLst>
                <a:ext uri="{FF2B5EF4-FFF2-40B4-BE49-F238E27FC236}">
                  <a16:creationId xmlns:a16="http://schemas.microsoft.com/office/drawing/2014/main" id="{6D0E78F0-2DAB-924B-8FDF-D557FD42470C}"/>
                </a:ext>
              </a:extLst>
            </p:cNvPr>
            <p:cNvSpPr>
              <a:spLocks/>
            </p:cNvSpPr>
            <p:nvPr/>
          </p:nvSpPr>
          <p:spPr bwMode="auto">
            <a:xfrm>
              <a:off x="3468699" y="2254707"/>
              <a:ext cx="11113" cy="22225"/>
            </a:xfrm>
            <a:custGeom>
              <a:avLst/>
              <a:gdLst>
                <a:gd name="T0" fmla="*/ 2 w 12"/>
                <a:gd name="T1" fmla="*/ 5 h 23"/>
                <a:gd name="T2" fmla="*/ 2 w 12"/>
                <a:gd name="T3" fmla="*/ 13 h 23"/>
                <a:gd name="T4" fmla="*/ 8 w 12"/>
                <a:gd name="T5" fmla="*/ 18 h 23"/>
                <a:gd name="T6" fmla="*/ 9 w 12"/>
                <a:gd name="T7" fmla="*/ 7 h 23"/>
                <a:gd name="T8" fmla="*/ 4 w 12"/>
                <a:gd name="T9" fmla="*/ 1 h 23"/>
                <a:gd name="T10" fmla="*/ 2 w 12"/>
                <a:gd name="T11" fmla="*/ 5 h 23"/>
              </a:gdLst>
              <a:ahLst/>
              <a:cxnLst>
                <a:cxn ang="0">
                  <a:pos x="T0" y="T1"/>
                </a:cxn>
                <a:cxn ang="0">
                  <a:pos x="T2" y="T3"/>
                </a:cxn>
                <a:cxn ang="0">
                  <a:pos x="T4" y="T5"/>
                </a:cxn>
                <a:cxn ang="0">
                  <a:pos x="T6" y="T7"/>
                </a:cxn>
                <a:cxn ang="0">
                  <a:pos x="T8" y="T9"/>
                </a:cxn>
                <a:cxn ang="0">
                  <a:pos x="T10" y="T11"/>
                </a:cxn>
              </a:cxnLst>
              <a:rect l="0" t="0" r="r" b="b"/>
              <a:pathLst>
                <a:path w="12" h="23">
                  <a:moveTo>
                    <a:pt x="2" y="5"/>
                  </a:moveTo>
                  <a:cubicBezTo>
                    <a:pt x="3" y="8"/>
                    <a:pt x="1" y="9"/>
                    <a:pt x="2" y="13"/>
                  </a:cubicBezTo>
                  <a:cubicBezTo>
                    <a:pt x="4" y="17"/>
                    <a:pt x="6" y="23"/>
                    <a:pt x="8" y="18"/>
                  </a:cubicBezTo>
                  <a:cubicBezTo>
                    <a:pt x="10" y="13"/>
                    <a:pt x="12" y="11"/>
                    <a:pt x="9" y="7"/>
                  </a:cubicBezTo>
                  <a:cubicBezTo>
                    <a:pt x="7" y="3"/>
                    <a:pt x="5" y="1"/>
                    <a:pt x="4" y="1"/>
                  </a:cubicBezTo>
                  <a:cubicBezTo>
                    <a:pt x="2" y="0"/>
                    <a:pt x="0" y="4"/>
                    <a:pt x="2"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55" name="Freeform 944">
              <a:extLst>
                <a:ext uri="{FF2B5EF4-FFF2-40B4-BE49-F238E27FC236}">
                  <a16:creationId xmlns:a16="http://schemas.microsoft.com/office/drawing/2014/main" id="{CAD57D0E-20DC-5948-8A44-75576232863C}"/>
                </a:ext>
              </a:extLst>
            </p:cNvPr>
            <p:cNvSpPr>
              <a:spLocks/>
            </p:cNvSpPr>
            <p:nvPr/>
          </p:nvSpPr>
          <p:spPr bwMode="auto">
            <a:xfrm>
              <a:off x="3449649" y="2261057"/>
              <a:ext cx="9525" cy="17463"/>
            </a:xfrm>
            <a:custGeom>
              <a:avLst/>
              <a:gdLst>
                <a:gd name="T0" fmla="*/ 3 w 10"/>
                <a:gd name="T1" fmla="*/ 4 h 19"/>
                <a:gd name="T2" fmla="*/ 4 w 10"/>
                <a:gd name="T3" fmla="*/ 14 h 19"/>
                <a:gd name="T4" fmla="*/ 10 w 10"/>
                <a:gd name="T5" fmla="*/ 14 h 19"/>
                <a:gd name="T6" fmla="*/ 6 w 10"/>
                <a:gd name="T7" fmla="*/ 2 h 19"/>
                <a:gd name="T8" fmla="*/ 3 w 10"/>
                <a:gd name="T9" fmla="*/ 4 h 19"/>
              </a:gdLst>
              <a:ahLst/>
              <a:cxnLst>
                <a:cxn ang="0">
                  <a:pos x="T0" y="T1"/>
                </a:cxn>
                <a:cxn ang="0">
                  <a:pos x="T2" y="T3"/>
                </a:cxn>
                <a:cxn ang="0">
                  <a:pos x="T4" y="T5"/>
                </a:cxn>
                <a:cxn ang="0">
                  <a:pos x="T6" y="T7"/>
                </a:cxn>
                <a:cxn ang="0">
                  <a:pos x="T8" y="T9"/>
                </a:cxn>
              </a:cxnLst>
              <a:rect l="0" t="0" r="r" b="b"/>
              <a:pathLst>
                <a:path w="10" h="19">
                  <a:moveTo>
                    <a:pt x="3" y="4"/>
                  </a:moveTo>
                  <a:cubicBezTo>
                    <a:pt x="6" y="9"/>
                    <a:pt x="2" y="12"/>
                    <a:pt x="4" y="14"/>
                  </a:cubicBezTo>
                  <a:cubicBezTo>
                    <a:pt x="6" y="15"/>
                    <a:pt x="10" y="19"/>
                    <a:pt x="10" y="14"/>
                  </a:cubicBezTo>
                  <a:cubicBezTo>
                    <a:pt x="10" y="8"/>
                    <a:pt x="8" y="4"/>
                    <a:pt x="6" y="2"/>
                  </a:cubicBezTo>
                  <a:cubicBezTo>
                    <a:pt x="5" y="0"/>
                    <a:pt x="0" y="0"/>
                    <a:pt x="3"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56" name="Freeform 945">
              <a:extLst>
                <a:ext uri="{FF2B5EF4-FFF2-40B4-BE49-F238E27FC236}">
                  <a16:creationId xmlns:a16="http://schemas.microsoft.com/office/drawing/2014/main" id="{403D47FD-51BC-5D43-B359-7499B5A13AED}"/>
                </a:ext>
              </a:extLst>
            </p:cNvPr>
            <p:cNvSpPr>
              <a:spLocks/>
            </p:cNvSpPr>
            <p:nvPr/>
          </p:nvSpPr>
          <p:spPr bwMode="auto">
            <a:xfrm>
              <a:off x="3454411" y="2218195"/>
              <a:ext cx="11113" cy="14288"/>
            </a:xfrm>
            <a:custGeom>
              <a:avLst/>
              <a:gdLst>
                <a:gd name="T0" fmla="*/ 10 w 13"/>
                <a:gd name="T1" fmla="*/ 6 h 16"/>
                <a:gd name="T2" fmla="*/ 1 w 13"/>
                <a:gd name="T3" fmla="*/ 6 h 16"/>
                <a:gd name="T4" fmla="*/ 5 w 13"/>
                <a:gd name="T5" fmla="*/ 14 h 16"/>
                <a:gd name="T6" fmla="*/ 13 w 13"/>
                <a:gd name="T7" fmla="*/ 12 h 16"/>
                <a:gd name="T8" fmla="*/ 10 w 13"/>
                <a:gd name="T9" fmla="*/ 6 h 16"/>
              </a:gdLst>
              <a:ahLst/>
              <a:cxnLst>
                <a:cxn ang="0">
                  <a:pos x="T0" y="T1"/>
                </a:cxn>
                <a:cxn ang="0">
                  <a:pos x="T2" y="T3"/>
                </a:cxn>
                <a:cxn ang="0">
                  <a:pos x="T4" y="T5"/>
                </a:cxn>
                <a:cxn ang="0">
                  <a:pos x="T6" y="T7"/>
                </a:cxn>
                <a:cxn ang="0">
                  <a:pos x="T8" y="T9"/>
                </a:cxn>
              </a:cxnLst>
              <a:rect l="0" t="0" r="r" b="b"/>
              <a:pathLst>
                <a:path w="13" h="16">
                  <a:moveTo>
                    <a:pt x="10" y="6"/>
                  </a:moveTo>
                  <a:cubicBezTo>
                    <a:pt x="5" y="5"/>
                    <a:pt x="0" y="0"/>
                    <a:pt x="1" y="6"/>
                  </a:cubicBezTo>
                  <a:cubicBezTo>
                    <a:pt x="2" y="13"/>
                    <a:pt x="2" y="14"/>
                    <a:pt x="5" y="14"/>
                  </a:cubicBezTo>
                  <a:cubicBezTo>
                    <a:pt x="9" y="14"/>
                    <a:pt x="12" y="16"/>
                    <a:pt x="13" y="12"/>
                  </a:cubicBezTo>
                  <a:cubicBezTo>
                    <a:pt x="13" y="8"/>
                    <a:pt x="11" y="10"/>
                    <a:pt x="10"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57" name="Freeform 946">
              <a:extLst>
                <a:ext uri="{FF2B5EF4-FFF2-40B4-BE49-F238E27FC236}">
                  <a16:creationId xmlns:a16="http://schemas.microsoft.com/office/drawing/2014/main" id="{4E2CBEA4-5CF3-2849-A80D-7EDC67BD1F8D}"/>
                </a:ext>
              </a:extLst>
            </p:cNvPr>
            <p:cNvSpPr>
              <a:spLocks/>
            </p:cNvSpPr>
            <p:nvPr/>
          </p:nvSpPr>
          <p:spPr bwMode="auto">
            <a:xfrm>
              <a:off x="3482986" y="2254707"/>
              <a:ext cx="11113" cy="15875"/>
            </a:xfrm>
            <a:custGeom>
              <a:avLst/>
              <a:gdLst>
                <a:gd name="T0" fmla="*/ 1 w 12"/>
                <a:gd name="T1" fmla="*/ 5 h 16"/>
                <a:gd name="T2" fmla="*/ 5 w 12"/>
                <a:gd name="T3" fmla="*/ 15 h 16"/>
                <a:gd name="T4" fmla="*/ 10 w 12"/>
                <a:gd name="T5" fmla="*/ 10 h 16"/>
                <a:gd name="T6" fmla="*/ 5 w 12"/>
                <a:gd name="T7" fmla="*/ 4 h 16"/>
                <a:gd name="T8" fmla="*/ 1 w 12"/>
                <a:gd name="T9" fmla="*/ 5 h 16"/>
              </a:gdLst>
              <a:ahLst/>
              <a:cxnLst>
                <a:cxn ang="0">
                  <a:pos x="T0" y="T1"/>
                </a:cxn>
                <a:cxn ang="0">
                  <a:pos x="T2" y="T3"/>
                </a:cxn>
                <a:cxn ang="0">
                  <a:pos x="T4" y="T5"/>
                </a:cxn>
                <a:cxn ang="0">
                  <a:pos x="T6" y="T7"/>
                </a:cxn>
                <a:cxn ang="0">
                  <a:pos x="T8" y="T9"/>
                </a:cxn>
              </a:cxnLst>
              <a:rect l="0" t="0" r="r" b="b"/>
              <a:pathLst>
                <a:path w="12" h="16">
                  <a:moveTo>
                    <a:pt x="1" y="5"/>
                  </a:moveTo>
                  <a:cubicBezTo>
                    <a:pt x="1" y="9"/>
                    <a:pt x="2" y="14"/>
                    <a:pt x="5" y="15"/>
                  </a:cubicBezTo>
                  <a:cubicBezTo>
                    <a:pt x="8" y="16"/>
                    <a:pt x="12" y="13"/>
                    <a:pt x="10" y="10"/>
                  </a:cubicBezTo>
                  <a:cubicBezTo>
                    <a:pt x="8" y="7"/>
                    <a:pt x="10" y="8"/>
                    <a:pt x="5" y="4"/>
                  </a:cubicBezTo>
                  <a:cubicBezTo>
                    <a:pt x="0" y="0"/>
                    <a:pt x="4" y="1"/>
                    <a:pt x="1"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58" name="Freeform 947">
              <a:extLst>
                <a:ext uri="{FF2B5EF4-FFF2-40B4-BE49-F238E27FC236}">
                  <a16:creationId xmlns:a16="http://schemas.microsoft.com/office/drawing/2014/main" id="{D65FCC45-803F-8E48-BF72-792EFD3AED8D}"/>
                </a:ext>
              </a:extLst>
            </p:cNvPr>
            <p:cNvSpPr>
              <a:spLocks/>
            </p:cNvSpPr>
            <p:nvPr/>
          </p:nvSpPr>
          <p:spPr bwMode="auto">
            <a:xfrm>
              <a:off x="3703649" y="1884819"/>
              <a:ext cx="26988" cy="33338"/>
            </a:xfrm>
            <a:custGeom>
              <a:avLst/>
              <a:gdLst>
                <a:gd name="T0" fmla="*/ 9 w 27"/>
                <a:gd name="T1" fmla="*/ 17 h 35"/>
                <a:gd name="T2" fmla="*/ 6 w 27"/>
                <a:gd name="T3" fmla="*/ 25 h 35"/>
                <a:gd name="T4" fmla="*/ 1 w 27"/>
                <a:gd name="T5" fmla="*/ 32 h 35"/>
                <a:gd name="T6" fmla="*/ 6 w 27"/>
                <a:gd name="T7" fmla="*/ 34 h 35"/>
                <a:gd name="T8" fmla="*/ 16 w 27"/>
                <a:gd name="T9" fmla="*/ 30 h 35"/>
                <a:gd name="T10" fmla="*/ 16 w 27"/>
                <a:gd name="T11" fmla="*/ 21 h 35"/>
                <a:gd name="T12" fmla="*/ 15 w 27"/>
                <a:gd name="T13" fmla="*/ 16 h 35"/>
                <a:gd name="T14" fmla="*/ 17 w 27"/>
                <a:gd name="T15" fmla="*/ 12 h 35"/>
                <a:gd name="T16" fmla="*/ 24 w 27"/>
                <a:gd name="T17" fmla="*/ 10 h 35"/>
                <a:gd name="T18" fmla="*/ 22 w 27"/>
                <a:gd name="T19" fmla="*/ 2 h 35"/>
                <a:gd name="T20" fmla="*/ 14 w 27"/>
                <a:gd name="T21" fmla="*/ 7 h 35"/>
                <a:gd name="T22" fmla="*/ 11 w 27"/>
                <a:gd name="T23" fmla="*/ 12 h 35"/>
                <a:gd name="T24" fmla="*/ 9 w 27"/>
                <a:gd name="T25"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5">
                  <a:moveTo>
                    <a:pt x="9" y="17"/>
                  </a:moveTo>
                  <a:cubicBezTo>
                    <a:pt x="9" y="23"/>
                    <a:pt x="9" y="21"/>
                    <a:pt x="6" y="25"/>
                  </a:cubicBezTo>
                  <a:cubicBezTo>
                    <a:pt x="4" y="29"/>
                    <a:pt x="0" y="30"/>
                    <a:pt x="1" y="32"/>
                  </a:cubicBezTo>
                  <a:cubicBezTo>
                    <a:pt x="3" y="33"/>
                    <a:pt x="0" y="35"/>
                    <a:pt x="6" y="34"/>
                  </a:cubicBezTo>
                  <a:cubicBezTo>
                    <a:pt x="12" y="32"/>
                    <a:pt x="16" y="34"/>
                    <a:pt x="16" y="30"/>
                  </a:cubicBezTo>
                  <a:cubicBezTo>
                    <a:pt x="16" y="25"/>
                    <a:pt x="16" y="24"/>
                    <a:pt x="16" y="21"/>
                  </a:cubicBezTo>
                  <a:cubicBezTo>
                    <a:pt x="16" y="18"/>
                    <a:pt x="15" y="18"/>
                    <a:pt x="15" y="16"/>
                  </a:cubicBezTo>
                  <a:cubicBezTo>
                    <a:pt x="16" y="14"/>
                    <a:pt x="13" y="13"/>
                    <a:pt x="17" y="12"/>
                  </a:cubicBezTo>
                  <a:cubicBezTo>
                    <a:pt x="22" y="11"/>
                    <a:pt x="24" y="15"/>
                    <a:pt x="24" y="10"/>
                  </a:cubicBezTo>
                  <a:cubicBezTo>
                    <a:pt x="25" y="5"/>
                    <a:pt x="27" y="0"/>
                    <a:pt x="22" y="2"/>
                  </a:cubicBezTo>
                  <a:cubicBezTo>
                    <a:pt x="17" y="4"/>
                    <a:pt x="16" y="5"/>
                    <a:pt x="14" y="7"/>
                  </a:cubicBezTo>
                  <a:cubicBezTo>
                    <a:pt x="12" y="9"/>
                    <a:pt x="11" y="10"/>
                    <a:pt x="11" y="12"/>
                  </a:cubicBezTo>
                  <a:cubicBezTo>
                    <a:pt x="10" y="14"/>
                    <a:pt x="7" y="14"/>
                    <a:pt x="9" y="17"/>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59" name="Freeform 948">
              <a:extLst>
                <a:ext uri="{FF2B5EF4-FFF2-40B4-BE49-F238E27FC236}">
                  <a16:creationId xmlns:a16="http://schemas.microsoft.com/office/drawing/2014/main" id="{7E182229-63DF-BE4D-AD65-61848E708FE3}"/>
                </a:ext>
              </a:extLst>
            </p:cNvPr>
            <p:cNvSpPr>
              <a:spLocks/>
            </p:cNvSpPr>
            <p:nvPr/>
          </p:nvSpPr>
          <p:spPr bwMode="auto">
            <a:xfrm>
              <a:off x="3670312" y="1914982"/>
              <a:ext cx="14288" cy="15875"/>
            </a:xfrm>
            <a:custGeom>
              <a:avLst/>
              <a:gdLst>
                <a:gd name="T0" fmla="*/ 2 w 14"/>
                <a:gd name="T1" fmla="*/ 3 h 16"/>
                <a:gd name="T2" fmla="*/ 2 w 14"/>
                <a:gd name="T3" fmla="*/ 10 h 16"/>
                <a:gd name="T4" fmla="*/ 7 w 14"/>
                <a:gd name="T5" fmla="*/ 13 h 16"/>
                <a:gd name="T6" fmla="*/ 12 w 14"/>
                <a:gd name="T7" fmla="*/ 7 h 16"/>
                <a:gd name="T8" fmla="*/ 12 w 14"/>
                <a:gd name="T9" fmla="*/ 0 h 16"/>
                <a:gd name="T10" fmla="*/ 6 w 14"/>
                <a:gd name="T11" fmla="*/ 0 h 16"/>
                <a:gd name="T12" fmla="*/ 2 w 14"/>
                <a:gd name="T13" fmla="*/ 3 h 16"/>
              </a:gdLst>
              <a:ahLst/>
              <a:cxnLst>
                <a:cxn ang="0">
                  <a:pos x="T0" y="T1"/>
                </a:cxn>
                <a:cxn ang="0">
                  <a:pos x="T2" y="T3"/>
                </a:cxn>
                <a:cxn ang="0">
                  <a:pos x="T4" y="T5"/>
                </a:cxn>
                <a:cxn ang="0">
                  <a:pos x="T6" y="T7"/>
                </a:cxn>
                <a:cxn ang="0">
                  <a:pos x="T8" y="T9"/>
                </a:cxn>
                <a:cxn ang="0">
                  <a:pos x="T10" y="T11"/>
                </a:cxn>
                <a:cxn ang="0">
                  <a:pos x="T12" y="T13"/>
                </a:cxn>
              </a:cxnLst>
              <a:rect l="0" t="0" r="r" b="b"/>
              <a:pathLst>
                <a:path w="14" h="16">
                  <a:moveTo>
                    <a:pt x="2" y="3"/>
                  </a:moveTo>
                  <a:cubicBezTo>
                    <a:pt x="1" y="5"/>
                    <a:pt x="0" y="8"/>
                    <a:pt x="2" y="10"/>
                  </a:cubicBezTo>
                  <a:cubicBezTo>
                    <a:pt x="5" y="13"/>
                    <a:pt x="4" y="16"/>
                    <a:pt x="7" y="13"/>
                  </a:cubicBezTo>
                  <a:cubicBezTo>
                    <a:pt x="10" y="10"/>
                    <a:pt x="10" y="9"/>
                    <a:pt x="12" y="7"/>
                  </a:cubicBezTo>
                  <a:cubicBezTo>
                    <a:pt x="13" y="4"/>
                    <a:pt x="14" y="1"/>
                    <a:pt x="12" y="0"/>
                  </a:cubicBezTo>
                  <a:cubicBezTo>
                    <a:pt x="10" y="0"/>
                    <a:pt x="8" y="0"/>
                    <a:pt x="6" y="0"/>
                  </a:cubicBezTo>
                  <a:cubicBezTo>
                    <a:pt x="4" y="0"/>
                    <a:pt x="1" y="1"/>
                    <a:pt x="2" y="3"/>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60" name="Freeform 949">
              <a:extLst>
                <a:ext uri="{FF2B5EF4-FFF2-40B4-BE49-F238E27FC236}">
                  <a16:creationId xmlns:a16="http://schemas.microsoft.com/office/drawing/2014/main" id="{D16EBE05-3E23-2D42-A866-38752AB08686}"/>
                </a:ext>
              </a:extLst>
            </p:cNvPr>
            <p:cNvSpPr>
              <a:spLocks/>
            </p:cNvSpPr>
            <p:nvPr/>
          </p:nvSpPr>
          <p:spPr bwMode="auto">
            <a:xfrm>
              <a:off x="3644912" y="1899107"/>
              <a:ext cx="25400" cy="23813"/>
            </a:xfrm>
            <a:custGeom>
              <a:avLst/>
              <a:gdLst>
                <a:gd name="T0" fmla="*/ 2 w 26"/>
                <a:gd name="T1" fmla="*/ 12 h 25"/>
                <a:gd name="T2" fmla="*/ 5 w 26"/>
                <a:gd name="T3" fmla="*/ 18 h 25"/>
                <a:gd name="T4" fmla="*/ 9 w 26"/>
                <a:gd name="T5" fmla="*/ 21 h 25"/>
                <a:gd name="T6" fmla="*/ 15 w 26"/>
                <a:gd name="T7" fmla="*/ 15 h 25"/>
                <a:gd name="T8" fmla="*/ 21 w 26"/>
                <a:gd name="T9" fmla="*/ 10 h 25"/>
                <a:gd name="T10" fmla="*/ 21 w 26"/>
                <a:gd name="T11" fmla="*/ 3 h 25"/>
                <a:gd name="T12" fmla="*/ 13 w 26"/>
                <a:gd name="T13" fmla="*/ 7 h 25"/>
                <a:gd name="T14" fmla="*/ 7 w 26"/>
                <a:gd name="T15" fmla="*/ 8 h 25"/>
                <a:gd name="T16" fmla="*/ 2 w 26"/>
                <a:gd name="T17"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5">
                  <a:moveTo>
                    <a:pt x="2" y="12"/>
                  </a:moveTo>
                  <a:cubicBezTo>
                    <a:pt x="4" y="16"/>
                    <a:pt x="4" y="14"/>
                    <a:pt x="5" y="18"/>
                  </a:cubicBezTo>
                  <a:cubicBezTo>
                    <a:pt x="6" y="21"/>
                    <a:pt x="5" y="25"/>
                    <a:pt x="9" y="21"/>
                  </a:cubicBezTo>
                  <a:cubicBezTo>
                    <a:pt x="13" y="18"/>
                    <a:pt x="12" y="18"/>
                    <a:pt x="15" y="15"/>
                  </a:cubicBezTo>
                  <a:cubicBezTo>
                    <a:pt x="19" y="12"/>
                    <a:pt x="19" y="16"/>
                    <a:pt x="21" y="10"/>
                  </a:cubicBezTo>
                  <a:cubicBezTo>
                    <a:pt x="22" y="4"/>
                    <a:pt x="26" y="0"/>
                    <a:pt x="21" y="3"/>
                  </a:cubicBezTo>
                  <a:cubicBezTo>
                    <a:pt x="15" y="6"/>
                    <a:pt x="15" y="7"/>
                    <a:pt x="13" y="7"/>
                  </a:cubicBezTo>
                  <a:cubicBezTo>
                    <a:pt x="10" y="7"/>
                    <a:pt x="10" y="7"/>
                    <a:pt x="7" y="8"/>
                  </a:cubicBezTo>
                  <a:cubicBezTo>
                    <a:pt x="3" y="10"/>
                    <a:pt x="0" y="9"/>
                    <a:pt x="2" y="12"/>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61" name="Freeform 950">
              <a:extLst>
                <a:ext uri="{FF2B5EF4-FFF2-40B4-BE49-F238E27FC236}">
                  <a16:creationId xmlns:a16="http://schemas.microsoft.com/office/drawing/2014/main" id="{5DA1EF87-1918-DE4F-A41F-B02D4A92F947}"/>
                </a:ext>
              </a:extLst>
            </p:cNvPr>
            <p:cNvSpPr>
              <a:spLocks/>
            </p:cNvSpPr>
            <p:nvPr/>
          </p:nvSpPr>
          <p:spPr bwMode="auto">
            <a:xfrm>
              <a:off x="3621099" y="1891169"/>
              <a:ext cx="9525" cy="17463"/>
            </a:xfrm>
            <a:custGeom>
              <a:avLst/>
              <a:gdLst>
                <a:gd name="T0" fmla="*/ 3 w 10"/>
                <a:gd name="T1" fmla="*/ 9 h 19"/>
                <a:gd name="T2" fmla="*/ 5 w 10"/>
                <a:gd name="T3" fmla="*/ 16 h 19"/>
                <a:gd name="T4" fmla="*/ 9 w 10"/>
                <a:gd name="T5" fmla="*/ 16 h 19"/>
                <a:gd name="T6" fmla="*/ 10 w 10"/>
                <a:gd name="T7" fmla="*/ 9 h 19"/>
                <a:gd name="T8" fmla="*/ 4 w 10"/>
                <a:gd name="T9" fmla="*/ 3 h 19"/>
                <a:gd name="T10" fmla="*/ 3 w 10"/>
                <a:gd name="T11" fmla="*/ 9 h 19"/>
              </a:gdLst>
              <a:ahLst/>
              <a:cxnLst>
                <a:cxn ang="0">
                  <a:pos x="T0" y="T1"/>
                </a:cxn>
                <a:cxn ang="0">
                  <a:pos x="T2" y="T3"/>
                </a:cxn>
                <a:cxn ang="0">
                  <a:pos x="T4" y="T5"/>
                </a:cxn>
                <a:cxn ang="0">
                  <a:pos x="T6" y="T7"/>
                </a:cxn>
                <a:cxn ang="0">
                  <a:pos x="T8" y="T9"/>
                </a:cxn>
                <a:cxn ang="0">
                  <a:pos x="T10" y="T11"/>
                </a:cxn>
              </a:cxnLst>
              <a:rect l="0" t="0" r="r" b="b"/>
              <a:pathLst>
                <a:path w="10" h="19">
                  <a:moveTo>
                    <a:pt x="3" y="9"/>
                  </a:moveTo>
                  <a:cubicBezTo>
                    <a:pt x="3" y="11"/>
                    <a:pt x="3" y="15"/>
                    <a:pt x="5" y="16"/>
                  </a:cubicBezTo>
                  <a:cubicBezTo>
                    <a:pt x="6" y="18"/>
                    <a:pt x="8" y="19"/>
                    <a:pt x="9" y="16"/>
                  </a:cubicBezTo>
                  <a:cubicBezTo>
                    <a:pt x="10" y="13"/>
                    <a:pt x="10" y="13"/>
                    <a:pt x="10" y="9"/>
                  </a:cubicBezTo>
                  <a:cubicBezTo>
                    <a:pt x="9" y="4"/>
                    <a:pt x="8" y="0"/>
                    <a:pt x="4" y="3"/>
                  </a:cubicBezTo>
                  <a:cubicBezTo>
                    <a:pt x="0" y="6"/>
                    <a:pt x="1" y="6"/>
                    <a:pt x="3" y="9"/>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62" name="Freeform 951">
              <a:extLst>
                <a:ext uri="{FF2B5EF4-FFF2-40B4-BE49-F238E27FC236}">
                  <a16:creationId xmlns:a16="http://schemas.microsoft.com/office/drawing/2014/main" id="{44141425-4997-C547-BEF7-2B785CC760A9}"/>
                </a:ext>
              </a:extLst>
            </p:cNvPr>
            <p:cNvSpPr>
              <a:spLocks/>
            </p:cNvSpPr>
            <p:nvPr/>
          </p:nvSpPr>
          <p:spPr bwMode="auto">
            <a:xfrm>
              <a:off x="3635387" y="1911807"/>
              <a:ext cx="9525" cy="11113"/>
            </a:xfrm>
            <a:custGeom>
              <a:avLst/>
              <a:gdLst>
                <a:gd name="T0" fmla="*/ 3 w 11"/>
                <a:gd name="T1" fmla="*/ 3 h 11"/>
                <a:gd name="T2" fmla="*/ 2 w 11"/>
                <a:gd name="T3" fmla="*/ 7 h 11"/>
                <a:gd name="T4" fmla="*/ 5 w 11"/>
                <a:gd name="T5" fmla="*/ 10 h 11"/>
                <a:gd name="T6" fmla="*/ 9 w 11"/>
                <a:gd name="T7" fmla="*/ 8 h 11"/>
                <a:gd name="T8" fmla="*/ 10 w 11"/>
                <a:gd name="T9" fmla="*/ 3 h 11"/>
                <a:gd name="T10" fmla="*/ 6 w 11"/>
                <a:gd name="T11" fmla="*/ 0 h 11"/>
                <a:gd name="T12" fmla="*/ 3 w 11"/>
                <a:gd name="T13" fmla="*/ 3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3" y="3"/>
                  </a:moveTo>
                  <a:cubicBezTo>
                    <a:pt x="2" y="6"/>
                    <a:pt x="0" y="6"/>
                    <a:pt x="2" y="7"/>
                  </a:cubicBezTo>
                  <a:cubicBezTo>
                    <a:pt x="4" y="8"/>
                    <a:pt x="3" y="11"/>
                    <a:pt x="5" y="10"/>
                  </a:cubicBezTo>
                  <a:cubicBezTo>
                    <a:pt x="8" y="9"/>
                    <a:pt x="8" y="11"/>
                    <a:pt x="9" y="8"/>
                  </a:cubicBezTo>
                  <a:cubicBezTo>
                    <a:pt x="10" y="5"/>
                    <a:pt x="11" y="6"/>
                    <a:pt x="10" y="3"/>
                  </a:cubicBezTo>
                  <a:cubicBezTo>
                    <a:pt x="8" y="1"/>
                    <a:pt x="7" y="1"/>
                    <a:pt x="6" y="0"/>
                  </a:cubicBezTo>
                  <a:cubicBezTo>
                    <a:pt x="5" y="0"/>
                    <a:pt x="1" y="2"/>
                    <a:pt x="3" y="3"/>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63" name="Freeform 952">
              <a:extLst>
                <a:ext uri="{FF2B5EF4-FFF2-40B4-BE49-F238E27FC236}">
                  <a16:creationId xmlns:a16="http://schemas.microsoft.com/office/drawing/2014/main" id="{B8C3CF80-3906-DF42-836C-2EC39DF672E5}"/>
                </a:ext>
              </a:extLst>
            </p:cNvPr>
            <p:cNvSpPr>
              <a:spLocks/>
            </p:cNvSpPr>
            <p:nvPr/>
          </p:nvSpPr>
          <p:spPr bwMode="auto">
            <a:xfrm>
              <a:off x="3617924" y="1921332"/>
              <a:ext cx="7938" cy="12700"/>
            </a:xfrm>
            <a:custGeom>
              <a:avLst/>
              <a:gdLst>
                <a:gd name="T0" fmla="*/ 2 w 8"/>
                <a:gd name="T1" fmla="*/ 3 h 13"/>
                <a:gd name="T2" fmla="*/ 2 w 8"/>
                <a:gd name="T3" fmla="*/ 7 h 13"/>
                <a:gd name="T4" fmla="*/ 5 w 8"/>
                <a:gd name="T5" fmla="*/ 11 h 13"/>
                <a:gd name="T6" fmla="*/ 7 w 8"/>
                <a:gd name="T7" fmla="*/ 7 h 13"/>
                <a:gd name="T8" fmla="*/ 7 w 8"/>
                <a:gd name="T9" fmla="*/ 0 h 13"/>
                <a:gd name="T10" fmla="*/ 2 w 8"/>
                <a:gd name="T11" fmla="*/ 3 h 13"/>
              </a:gdLst>
              <a:ahLst/>
              <a:cxnLst>
                <a:cxn ang="0">
                  <a:pos x="T0" y="T1"/>
                </a:cxn>
                <a:cxn ang="0">
                  <a:pos x="T2" y="T3"/>
                </a:cxn>
                <a:cxn ang="0">
                  <a:pos x="T4" y="T5"/>
                </a:cxn>
                <a:cxn ang="0">
                  <a:pos x="T6" y="T7"/>
                </a:cxn>
                <a:cxn ang="0">
                  <a:pos x="T8" y="T9"/>
                </a:cxn>
                <a:cxn ang="0">
                  <a:pos x="T10" y="T11"/>
                </a:cxn>
              </a:cxnLst>
              <a:rect l="0" t="0" r="r" b="b"/>
              <a:pathLst>
                <a:path w="8" h="13">
                  <a:moveTo>
                    <a:pt x="2" y="3"/>
                  </a:moveTo>
                  <a:cubicBezTo>
                    <a:pt x="2" y="5"/>
                    <a:pt x="0" y="4"/>
                    <a:pt x="2" y="7"/>
                  </a:cubicBezTo>
                  <a:cubicBezTo>
                    <a:pt x="3" y="11"/>
                    <a:pt x="4" y="13"/>
                    <a:pt x="5" y="11"/>
                  </a:cubicBezTo>
                  <a:cubicBezTo>
                    <a:pt x="7" y="9"/>
                    <a:pt x="6" y="11"/>
                    <a:pt x="7" y="7"/>
                  </a:cubicBezTo>
                  <a:cubicBezTo>
                    <a:pt x="8" y="4"/>
                    <a:pt x="8" y="0"/>
                    <a:pt x="7" y="0"/>
                  </a:cubicBezTo>
                  <a:cubicBezTo>
                    <a:pt x="5" y="1"/>
                    <a:pt x="0" y="1"/>
                    <a:pt x="2" y="3"/>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64" name="Freeform 955">
              <a:extLst>
                <a:ext uri="{FF2B5EF4-FFF2-40B4-BE49-F238E27FC236}">
                  <a16:creationId xmlns:a16="http://schemas.microsoft.com/office/drawing/2014/main" id="{CB9E169C-886C-8646-B210-8491E61F5A64}"/>
                </a:ext>
              </a:extLst>
            </p:cNvPr>
            <p:cNvSpPr>
              <a:spLocks/>
            </p:cNvSpPr>
            <p:nvPr/>
          </p:nvSpPr>
          <p:spPr bwMode="auto">
            <a:xfrm>
              <a:off x="7985150" y="3832684"/>
              <a:ext cx="19050" cy="12700"/>
            </a:xfrm>
            <a:custGeom>
              <a:avLst/>
              <a:gdLst>
                <a:gd name="T0" fmla="*/ 6 w 20"/>
                <a:gd name="T1" fmla="*/ 3 h 14"/>
                <a:gd name="T2" fmla="*/ 6 w 20"/>
                <a:gd name="T3" fmla="*/ 8 h 14"/>
                <a:gd name="T4" fmla="*/ 4 w 20"/>
                <a:gd name="T5" fmla="*/ 13 h 14"/>
                <a:gd name="T6" fmla="*/ 11 w 20"/>
                <a:gd name="T7" fmla="*/ 10 h 14"/>
                <a:gd name="T8" fmla="*/ 14 w 20"/>
                <a:gd name="T9" fmla="*/ 6 h 14"/>
                <a:gd name="T10" fmla="*/ 18 w 20"/>
                <a:gd name="T11" fmla="*/ 1 h 14"/>
                <a:gd name="T12" fmla="*/ 13 w 20"/>
                <a:gd name="T13" fmla="*/ 1 h 14"/>
                <a:gd name="T14" fmla="*/ 6 w 20"/>
                <a:gd name="T15" fmla="*/ 1 h 14"/>
                <a:gd name="T16" fmla="*/ 6 w 20"/>
                <a:gd name="T17"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4">
                  <a:moveTo>
                    <a:pt x="6" y="3"/>
                  </a:moveTo>
                  <a:cubicBezTo>
                    <a:pt x="7" y="7"/>
                    <a:pt x="7" y="7"/>
                    <a:pt x="6" y="8"/>
                  </a:cubicBezTo>
                  <a:cubicBezTo>
                    <a:pt x="5" y="9"/>
                    <a:pt x="0" y="13"/>
                    <a:pt x="4" y="13"/>
                  </a:cubicBezTo>
                  <a:cubicBezTo>
                    <a:pt x="8" y="14"/>
                    <a:pt x="8" y="12"/>
                    <a:pt x="11" y="10"/>
                  </a:cubicBezTo>
                  <a:cubicBezTo>
                    <a:pt x="14" y="9"/>
                    <a:pt x="12" y="8"/>
                    <a:pt x="14" y="6"/>
                  </a:cubicBezTo>
                  <a:cubicBezTo>
                    <a:pt x="17" y="4"/>
                    <a:pt x="20" y="3"/>
                    <a:pt x="18" y="1"/>
                  </a:cubicBezTo>
                  <a:cubicBezTo>
                    <a:pt x="16" y="0"/>
                    <a:pt x="15" y="0"/>
                    <a:pt x="13" y="1"/>
                  </a:cubicBezTo>
                  <a:cubicBezTo>
                    <a:pt x="10" y="2"/>
                    <a:pt x="6" y="1"/>
                    <a:pt x="6" y="1"/>
                  </a:cubicBezTo>
                  <a:cubicBezTo>
                    <a:pt x="5" y="1"/>
                    <a:pt x="5" y="2"/>
                    <a:pt x="6" y="3"/>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65" name="Freeform 956">
              <a:extLst>
                <a:ext uri="{FF2B5EF4-FFF2-40B4-BE49-F238E27FC236}">
                  <a16:creationId xmlns:a16="http://schemas.microsoft.com/office/drawing/2014/main" id="{3D89275E-9B63-8D43-BDE4-7DDD4F0523A3}"/>
                </a:ext>
              </a:extLst>
            </p:cNvPr>
            <p:cNvSpPr>
              <a:spLocks/>
            </p:cNvSpPr>
            <p:nvPr/>
          </p:nvSpPr>
          <p:spPr bwMode="auto">
            <a:xfrm>
              <a:off x="7467624" y="4008897"/>
              <a:ext cx="17463" cy="12700"/>
            </a:xfrm>
            <a:custGeom>
              <a:avLst/>
              <a:gdLst>
                <a:gd name="T0" fmla="*/ 5 w 19"/>
                <a:gd name="T1" fmla="*/ 7 h 14"/>
                <a:gd name="T2" fmla="*/ 3 w 19"/>
                <a:gd name="T3" fmla="*/ 13 h 14"/>
                <a:gd name="T4" fmla="*/ 9 w 19"/>
                <a:gd name="T5" fmla="*/ 11 h 14"/>
                <a:gd name="T6" fmla="*/ 14 w 19"/>
                <a:gd name="T7" fmla="*/ 7 h 14"/>
                <a:gd name="T8" fmla="*/ 18 w 19"/>
                <a:gd name="T9" fmla="*/ 3 h 14"/>
                <a:gd name="T10" fmla="*/ 14 w 19"/>
                <a:gd name="T11" fmla="*/ 2 h 14"/>
                <a:gd name="T12" fmla="*/ 8 w 19"/>
                <a:gd name="T13" fmla="*/ 4 h 14"/>
                <a:gd name="T14" fmla="*/ 5 w 19"/>
                <a:gd name="T15" fmla="*/ 7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4">
                  <a:moveTo>
                    <a:pt x="5" y="7"/>
                  </a:moveTo>
                  <a:cubicBezTo>
                    <a:pt x="5" y="10"/>
                    <a:pt x="0" y="11"/>
                    <a:pt x="3" y="13"/>
                  </a:cubicBezTo>
                  <a:cubicBezTo>
                    <a:pt x="7" y="14"/>
                    <a:pt x="7" y="13"/>
                    <a:pt x="9" y="11"/>
                  </a:cubicBezTo>
                  <a:cubicBezTo>
                    <a:pt x="11" y="9"/>
                    <a:pt x="12" y="9"/>
                    <a:pt x="14" y="7"/>
                  </a:cubicBezTo>
                  <a:cubicBezTo>
                    <a:pt x="16" y="5"/>
                    <a:pt x="19" y="5"/>
                    <a:pt x="18" y="3"/>
                  </a:cubicBezTo>
                  <a:cubicBezTo>
                    <a:pt x="16" y="1"/>
                    <a:pt x="16" y="0"/>
                    <a:pt x="14" y="2"/>
                  </a:cubicBezTo>
                  <a:cubicBezTo>
                    <a:pt x="12" y="4"/>
                    <a:pt x="9" y="1"/>
                    <a:pt x="8" y="4"/>
                  </a:cubicBezTo>
                  <a:cubicBezTo>
                    <a:pt x="6" y="6"/>
                    <a:pt x="4" y="6"/>
                    <a:pt x="5" y="7"/>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66" name="Freeform 958">
              <a:extLst>
                <a:ext uri="{FF2B5EF4-FFF2-40B4-BE49-F238E27FC236}">
                  <a16:creationId xmlns:a16="http://schemas.microsoft.com/office/drawing/2014/main" id="{E95DD2F3-B057-E841-9609-81546FAE0EFF}"/>
                </a:ext>
              </a:extLst>
            </p:cNvPr>
            <p:cNvSpPr>
              <a:spLocks/>
            </p:cNvSpPr>
            <p:nvPr/>
          </p:nvSpPr>
          <p:spPr bwMode="auto">
            <a:xfrm>
              <a:off x="7202510" y="3721559"/>
              <a:ext cx="12700" cy="17463"/>
            </a:xfrm>
            <a:custGeom>
              <a:avLst/>
              <a:gdLst>
                <a:gd name="T0" fmla="*/ 7 w 13"/>
                <a:gd name="T1" fmla="*/ 3 h 19"/>
                <a:gd name="T2" fmla="*/ 2 w 13"/>
                <a:gd name="T3" fmla="*/ 8 h 19"/>
                <a:gd name="T4" fmla="*/ 1 w 13"/>
                <a:gd name="T5" fmla="*/ 15 h 19"/>
                <a:gd name="T6" fmla="*/ 5 w 13"/>
                <a:gd name="T7" fmla="*/ 16 h 19"/>
                <a:gd name="T8" fmla="*/ 11 w 13"/>
                <a:gd name="T9" fmla="*/ 10 h 19"/>
                <a:gd name="T10" fmla="*/ 11 w 13"/>
                <a:gd name="T11" fmla="*/ 3 h 19"/>
                <a:gd name="T12" fmla="*/ 7 w 13"/>
                <a:gd name="T13" fmla="*/ 3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7" y="3"/>
                  </a:moveTo>
                  <a:cubicBezTo>
                    <a:pt x="6" y="4"/>
                    <a:pt x="2" y="5"/>
                    <a:pt x="2" y="8"/>
                  </a:cubicBezTo>
                  <a:cubicBezTo>
                    <a:pt x="2" y="11"/>
                    <a:pt x="0" y="13"/>
                    <a:pt x="1" y="15"/>
                  </a:cubicBezTo>
                  <a:cubicBezTo>
                    <a:pt x="2" y="17"/>
                    <a:pt x="1" y="19"/>
                    <a:pt x="5" y="16"/>
                  </a:cubicBezTo>
                  <a:cubicBezTo>
                    <a:pt x="8" y="14"/>
                    <a:pt x="9" y="13"/>
                    <a:pt x="11" y="10"/>
                  </a:cubicBezTo>
                  <a:cubicBezTo>
                    <a:pt x="13" y="8"/>
                    <a:pt x="11" y="6"/>
                    <a:pt x="11" y="3"/>
                  </a:cubicBezTo>
                  <a:cubicBezTo>
                    <a:pt x="11" y="0"/>
                    <a:pt x="7" y="1"/>
                    <a:pt x="7" y="3"/>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67" name="Freeform 959">
              <a:extLst>
                <a:ext uri="{FF2B5EF4-FFF2-40B4-BE49-F238E27FC236}">
                  <a16:creationId xmlns:a16="http://schemas.microsoft.com/office/drawing/2014/main" id="{147AF430-0AE8-304C-B636-9D81DD6D975F}"/>
                </a:ext>
              </a:extLst>
            </p:cNvPr>
            <p:cNvSpPr>
              <a:spLocks/>
            </p:cNvSpPr>
            <p:nvPr/>
          </p:nvSpPr>
          <p:spPr bwMode="auto">
            <a:xfrm>
              <a:off x="7289823" y="3723146"/>
              <a:ext cx="14288" cy="26988"/>
            </a:xfrm>
            <a:custGeom>
              <a:avLst/>
              <a:gdLst>
                <a:gd name="T0" fmla="*/ 5 w 15"/>
                <a:gd name="T1" fmla="*/ 9 h 28"/>
                <a:gd name="T2" fmla="*/ 5 w 15"/>
                <a:gd name="T3" fmla="*/ 18 h 28"/>
                <a:gd name="T4" fmla="*/ 1 w 15"/>
                <a:gd name="T5" fmla="*/ 23 h 28"/>
                <a:gd name="T6" fmla="*/ 4 w 15"/>
                <a:gd name="T7" fmla="*/ 27 h 28"/>
                <a:gd name="T8" fmla="*/ 10 w 15"/>
                <a:gd name="T9" fmla="*/ 22 h 28"/>
                <a:gd name="T10" fmla="*/ 13 w 15"/>
                <a:gd name="T11" fmla="*/ 14 h 28"/>
                <a:gd name="T12" fmla="*/ 12 w 15"/>
                <a:gd name="T13" fmla="*/ 5 h 28"/>
                <a:gd name="T14" fmla="*/ 4 w 15"/>
                <a:gd name="T15" fmla="*/ 3 h 28"/>
                <a:gd name="T16" fmla="*/ 5 w 15"/>
                <a:gd name="T17"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28">
                  <a:moveTo>
                    <a:pt x="5" y="9"/>
                  </a:moveTo>
                  <a:cubicBezTo>
                    <a:pt x="5" y="13"/>
                    <a:pt x="6" y="15"/>
                    <a:pt x="5" y="18"/>
                  </a:cubicBezTo>
                  <a:cubicBezTo>
                    <a:pt x="3" y="20"/>
                    <a:pt x="0" y="19"/>
                    <a:pt x="1" y="23"/>
                  </a:cubicBezTo>
                  <a:cubicBezTo>
                    <a:pt x="2" y="26"/>
                    <a:pt x="0" y="28"/>
                    <a:pt x="4" y="27"/>
                  </a:cubicBezTo>
                  <a:cubicBezTo>
                    <a:pt x="8" y="26"/>
                    <a:pt x="10" y="26"/>
                    <a:pt x="10" y="22"/>
                  </a:cubicBezTo>
                  <a:cubicBezTo>
                    <a:pt x="10" y="18"/>
                    <a:pt x="11" y="17"/>
                    <a:pt x="13" y="14"/>
                  </a:cubicBezTo>
                  <a:cubicBezTo>
                    <a:pt x="15" y="10"/>
                    <a:pt x="13" y="7"/>
                    <a:pt x="12" y="5"/>
                  </a:cubicBezTo>
                  <a:cubicBezTo>
                    <a:pt x="10" y="4"/>
                    <a:pt x="4" y="0"/>
                    <a:pt x="4" y="3"/>
                  </a:cubicBezTo>
                  <a:cubicBezTo>
                    <a:pt x="4" y="6"/>
                    <a:pt x="2" y="8"/>
                    <a:pt x="5" y="9"/>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68" name="Freeform 960">
              <a:extLst>
                <a:ext uri="{FF2B5EF4-FFF2-40B4-BE49-F238E27FC236}">
                  <a16:creationId xmlns:a16="http://schemas.microsoft.com/office/drawing/2014/main" id="{943EC379-7396-5D48-B7D6-55EF81072CA9}"/>
                </a:ext>
              </a:extLst>
            </p:cNvPr>
            <p:cNvSpPr>
              <a:spLocks/>
            </p:cNvSpPr>
            <p:nvPr/>
          </p:nvSpPr>
          <p:spPr bwMode="auto">
            <a:xfrm>
              <a:off x="7096148" y="3618371"/>
              <a:ext cx="36513" cy="12700"/>
            </a:xfrm>
            <a:custGeom>
              <a:avLst/>
              <a:gdLst>
                <a:gd name="T0" fmla="*/ 11 w 39"/>
                <a:gd name="T1" fmla="*/ 2 h 13"/>
                <a:gd name="T2" fmla="*/ 2 w 39"/>
                <a:gd name="T3" fmla="*/ 6 h 13"/>
                <a:gd name="T4" fmla="*/ 5 w 39"/>
                <a:gd name="T5" fmla="*/ 13 h 13"/>
                <a:gd name="T6" fmla="*/ 15 w 39"/>
                <a:gd name="T7" fmla="*/ 11 h 13"/>
                <a:gd name="T8" fmla="*/ 18 w 39"/>
                <a:gd name="T9" fmla="*/ 9 h 13"/>
                <a:gd name="T10" fmla="*/ 25 w 39"/>
                <a:gd name="T11" fmla="*/ 12 h 13"/>
                <a:gd name="T12" fmla="*/ 29 w 39"/>
                <a:gd name="T13" fmla="*/ 7 h 13"/>
                <a:gd name="T14" fmla="*/ 37 w 39"/>
                <a:gd name="T15" fmla="*/ 7 h 13"/>
                <a:gd name="T16" fmla="*/ 35 w 39"/>
                <a:gd name="T17" fmla="*/ 3 h 13"/>
                <a:gd name="T18" fmla="*/ 29 w 39"/>
                <a:gd name="T19" fmla="*/ 2 h 13"/>
                <a:gd name="T20" fmla="*/ 21 w 39"/>
                <a:gd name="T21" fmla="*/ 0 h 13"/>
                <a:gd name="T22" fmla="*/ 11 w 39"/>
                <a:gd name="T23"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3">
                  <a:moveTo>
                    <a:pt x="11" y="2"/>
                  </a:moveTo>
                  <a:cubicBezTo>
                    <a:pt x="5" y="4"/>
                    <a:pt x="2" y="3"/>
                    <a:pt x="2" y="6"/>
                  </a:cubicBezTo>
                  <a:cubicBezTo>
                    <a:pt x="2" y="8"/>
                    <a:pt x="0" y="13"/>
                    <a:pt x="5" y="13"/>
                  </a:cubicBezTo>
                  <a:cubicBezTo>
                    <a:pt x="10" y="13"/>
                    <a:pt x="12" y="13"/>
                    <a:pt x="15" y="11"/>
                  </a:cubicBezTo>
                  <a:cubicBezTo>
                    <a:pt x="17" y="8"/>
                    <a:pt x="17" y="7"/>
                    <a:pt x="18" y="9"/>
                  </a:cubicBezTo>
                  <a:cubicBezTo>
                    <a:pt x="20" y="12"/>
                    <a:pt x="24" y="13"/>
                    <a:pt x="25" y="12"/>
                  </a:cubicBezTo>
                  <a:cubicBezTo>
                    <a:pt x="27" y="10"/>
                    <a:pt x="23" y="7"/>
                    <a:pt x="29" y="7"/>
                  </a:cubicBezTo>
                  <a:cubicBezTo>
                    <a:pt x="34" y="8"/>
                    <a:pt x="37" y="9"/>
                    <a:pt x="37" y="7"/>
                  </a:cubicBezTo>
                  <a:cubicBezTo>
                    <a:pt x="38" y="5"/>
                    <a:pt x="39" y="3"/>
                    <a:pt x="35" y="3"/>
                  </a:cubicBezTo>
                  <a:cubicBezTo>
                    <a:pt x="32" y="3"/>
                    <a:pt x="30" y="4"/>
                    <a:pt x="29" y="2"/>
                  </a:cubicBezTo>
                  <a:cubicBezTo>
                    <a:pt x="29" y="1"/>
                    <a:pt x="26" y="0"/>
                    <a:pt x="21" y="0"/>
                  </a:cubicBezTo>
                  <a:cubicBezTo>
                    <a:pt x="17" y="0"/>
                    <a:pt x="11" y="0"/>
                    <a:pt x="11" y="2"/>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69" name="Freeform 961">
              <a:extLst>
                <a:ext uri="{FF2B5EF4-FFF2-40B4-BE49-F238E27FC236}">
                  <a16:creationId xmlns:a16="http://schemas.microsoft.com/office/drawing/2014/main" id="{8290D121-7FBD-A548-8359-235E4CF900D6}"/>
                </a:ext>
              </a:extLst>
            </p:cNvPr>
            <p:cNvSpPr>
              <a:spLocks/>
            </p:cNvSpPr>
            <p:nvPr/>
          </p:nvSpPr>
          <p:spPr bwMode="auto">
            <a:xfrm>
              <a:off x="7105673" y="2964321"/>
              <a:ext cx="38100" cy="23813"/>
            </a:xfrm>
            <a:custGeom>
              <a:avLst/>
              <a:gdLst>
                <a:gd name="T0" fmla="*/ 12 w 40"/>
                <a:gd name="T1" fmla="*/ 3 h 24"/>
                <a:gd name="T2" fmla="*/ 4 w 40"/>
                <a:gd name="T3" fmla="*/ 10 h 24"/>
                <a:gd name="T4" fmla="*/ 2 w 40"/>
                <a:gd name="T5" fmla="*/ 18 h 24"/>
                <a:gd name="T6" fmla="*/ 11 w 40"/>
                <a:gd name="T7" fmla="*/ 21 h 24"/>
                <a:gd name="T8" fmla="*/ 20 w 40"/>
                <a:gd name="T9" fmla="*/ 20 h 24"/>
                <a:gd name="T10" fmla="*/ 29 w 40"/>
                <a:gd name="T11" fmla="*/ 21 h 24"/>
                <a:gd name="T12" fmla="*/ 35 w 40"/>
                <a:gd name="T13" fmla="*/ 14 h 24"/>
                <a:gd name="T14" fmla="*/ 39 w 40"/>
                <a:gd name="T15" fmla="*/ 8 h 24"/>
                <a:gd name="T16" fmla="*/ 35 w 40"/>
                <a:gd name="T17" fmla="*/ 2 h 24"/>
                <a:gd name="T18" fmla="*/ 29 w 40"/>
                <a:gd name="T19" fmla="*/ 4 h 24"/>
                <a:gd name="T20" fmla="*/ 21 w 40"/>
                <a:gd name="T21" fmla="*/ 6 h 24"/>
                <a:gd name="T22" fmla="*/ 16 w 40"/>
                <a:gd name="T23" fmla="*/ 4 h 24"/>
                <a:gd name="T24" fmla="*/ 12 w 40"/>
                <a:gd name="T25"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24">
                  <a:moveTo>
                    <a:pt x="12" y="3"/>
                  </a:moveTo>
                  <a:cubicBezTo>
                    <a:pt x="8" y="7"/>
                    <a:pt x="4" y="7"/>
                    <a:pt x="4" y="10"/>
                  </a:cubicBezTo>
                  <a:cubicBezTo>
                    <a:pt x="3" y="13"/>
                    <a:pt x="0" y="15"/>
                    <a:pt x="2" y="18"/>
                  </a:cubicBezTo>
                  <a:cubicBezTo>
                    <a:pt x="4" y="21"/>
                    <a:pt x="8" y="21"/>
                    <a:pt x="11" y="21"/>
                  </a:cubicBezTo>
                  <a:cubicBezTo>
                    <a:pt x="14" y="20"/>
                    <a:pt x="17" y="19"/>
                    <a:pt x="20" y="20"/>
                  </a:cubicBezTo>
                  <a:cubicBezTo>
                    <a:pt x="22" y="21"/>
                    <a:pt x="24" y="24"/>
                    <a:pt x="29" y="21"/>
                  </a:cubicBezTo>
                  <a:cubicBezTo>
                    <a:pt x="34" y="18"/>
                    <a:pt x="32" y="19"/>
                    <a:pt x="35" y="14"/>
                  </a:cubicBezTo>
                  <a:cubicBezTo>
                    <a:pt x="37" y="10"/>
                    <a:pt x="40" y="12"/>
                    <a:pt x="39" y="8"/>
                  </a:cubicBezTo>
                  <a:cubicBezTo>
                    <a:pt x="38" y="4"/>
                    <a:pt x="39" y="0"/>
                    <a:pt x="35" y="2"/>
                  </a:cubicBezTo>
                  <a:cubicBezTo>
                    <a:pt x="31" y="3"/>
                    <a:pt x="32" y="3"/>
                    <a:pt x="29" y="4"/>
                  </a:cubicBezTo>
                  <a:cubicBezTo>
                    <a:pt x="26" y="6"/>
                    <a:pt x="25" y="6"/>
                    <a:pt x="21" y="6"/>
                  </a:cubicBezTo>
                  <a:cubicBezTo>
                    <a:pt x="17" y="6"/>
                    <a:pt x="19" y="6"/>
                    <a:pt x="16" y="4"/>
                  </a:cubicBezTo>
                  <a:cubicBezTo>
                    <a:pt x="14" y="2"/>
                    <a:pt x="13" y="1"/>
                    <a:pt x="12"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70" name="Freeform 962">
              <a:extLst>
                <a:ext uri="{FF2B5EF4-FFF2-40B4-BE49-F238E27FC236}">
                  <a16:creationId xmlns:a16="http://schemas.microsoft.com/office/drawing/2014/main" id="{3CF950AC-8E85-684B-914F-5511A88CB7FA}"/>
                </a:ext>
              </a:extLst>
            </p:cNvPr>
            <p:cNvSpPr>
              <a:spLocks/>
            </p:cNvSpPr>
            <p:nvPr/>
          </p:nvSpPr>
          <p:spPr bwMode="auto">
            <a:xfrm>
              <a:off x="7616849" y="2735720"/>
              <a:ext cx="55563" cy="65088"/>
            </a:xfrm>
            <a:custGeom>
              <a:avLst/>
              <a:gdLst>
                <a:gd name="T0" fmla="*/ 46 w 58"/>
                <a:gd name="T1" fmla="*/ 45 h 68"/>
                <a:gd name="T2" fmla="*/ 44 w 58"/>
                <a:gd name="T3" fmla="*/ 36 h 68"/>
                <a:gd name="T4" fmla="*/ 30 w 58"/>
                <a:gd name="T5" fmla="*/ 24 h 68"/>
                <a:gd name="T6" fmla="*/ 16 w 58"/>
                <a:gd name="T7" fmla="*/ 16 h 68"/>
                <a:gd name="T8" fmla="*/ 10 w 58"/>
                <a:gd name="T9" fmla="*/ 11 h 68"/>
                <a:gd name="T10" fmla="*/ 2 w 58"/>
                <a:gd name="T11" fmla="*/ 4 h 68"/>
                <a:gd name="T12" fmla="*/ 10 w 58"/>
                <a:gd name="T13" fmla="*/ 4 h 68"/>
                <a:gd name="T14" fmla="*/ 20 w 58"/>
                <a:gd name="T15" fmla="*/ 12 h 68"/>
                <a:gd name="T16" fmla="*/ 28 w 58"/>
                <a:gd name="T17" fmla="*/ 17 h 68"/>
                <a:gd name="T18" fmla="*/ 39 w 58"/>
                <a:gd name="T19" fmla="*/ 23 h 68"/>
                <a:gd name="T20" fmla="*/ 46 w 58"/>
                <a:gd name="T21" fmla="*/ 31 h 68"/>
                <a:gd name="T22" fmla="*/ 53 w 58"/>
                <a:gd name="T23" fmla="*/ 40 h 68"/>
                <a:gd name="T24" fmla="*/ 58 w 58"/>
                <a:gd name="T25" fmla="*/ 50 h 68"/>
                <a:gd name="T26" fmla="*/ 54 w 58"/>
                <a:gd name="T27" fmla="*/ 64 h 68"/>
                <a:gd name="T28" fmla="*/ 46 w 58"/>
                <a:gd name="T29" fmla="*/ 62 h 68"/>
                <a:gd name="T30" fmla="*/ 46 w 58"/>
                <a:gd name="T31" fmla="*/ 50 h 68"/>
                <a:gd name="T32" fmla="*/ 46 w 58"/>
                <a:gd name="T33" fmla="*/ 4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68">
                  <a:moveTo>
                    <a:pt x="46" y="45"/>
                  </a:moveTo>
                  <a:cubicBezTo>
                    <a:pt x="44" y="36"/>
                    <a:pt x="53" y="43"/>
                    <a:pt x="44" y="36"/>
                  </a:cubicBezTo>
                  <a:cubicBezTo>
                    <a:pt x="34" y="28"/>
                    <a:pt x="41" y="28"/>
                    <a:pt x="30" y="24"/>
                  </a:cubicBezTo>
                  <a:cubicBezTo>
                    <a:pt x="19" y="21"/>
                    <a:pt x="19" y="19"/>
                    <a:pt x="16" y="16"/>
                  </a:cubicBezTo>
                  <a:cubicBezTo>
                    <a:pt x="13" y="13"/>
                    <a:pt x="15" y="13"/>
                    <a:pt x="10" y="11"/>
                  </a:cubicBezTo>
                  <a:cubicBezTo>
                    <a:pt x="5" y="8"/>
                    <a:pt x="0" y="6"/>
                    <a:pt x="2" y="4"/>
                  </a:cubicBezTo>
                  <a:cubicBezTo>
                    <a:pt x="4" y="2"/>
                    <a:pt x="6" y="0"/>
                    <a:pt x="10" y="4"/>
                  </a:cubicBezTo>
                  <a:cubicBezTo>
                    <a:pt x="14" y="9"/>
                    <a:pt x="16" y="9"/>
                    <a:pt x="20" y="12"/>
                  </a:cubicBezTo>
                  <a:cubicBezTo>
                    <a:pt x="24" y="15"/>
                    <a:pt x="21" y="14"/>
                    <a:pt x="28" y="17"/>
                  </a:cubicBezTo>
                  <a:cubicBezTo>
                    <a:pt x="34" y="20"/>
                    <a:pt x="36" y="20"/>
                    <a:pt x="39" y="23"/>
                  </a:cubicBezTo>
                  <a:cubicBezTo>
                    <a:pt x="43" y="27"/>
                    <a:pt x="42" y="28"/>
                    <a:pt x="46" y="31"/>
                  </a:cubicBezTo>
                  <a:cubicBezTo>
                    <a:pt x="50" y="34"/>
                    <a:pt x="51" y="36"/>
                    <a:pt x="53" y="40"/>
                  </a:cubicBezTo>
                  <a:cubicBezTo>
                    <a:pt x="55" y="45"/>
                    <a:pt x="58" y="46"/>
                    <a:pt x="58" y="50"/>
                  </a:cubicBezTo>
                  <a:cubicBezTo>
                    <a:pt x="58" y="55"/>
                    <a:pt x="55" y="62"/>
                    <a:pt x="54" y="64"/>
                  </a:cubicBezTo>
                  <a:cubicBezTo>
                    <a:pt x="52" y="65"/>
                    <a:pt x="46" y="68"/>
                    <a:pt x="46" y="62"/>
                  </a:cubicBezTo>
                  <a:cubicBezTo>
                    <a:pt x="46" y="57"/>
                    <a:pt x="46" y="51"/>
                    <a:pt x="46" y="50"/>
                  </a:cubicBezTo>
                  <a:cubicBezTo>
                    <a:pt x="46" y="49"/>
                    <a:pt x="43" y="45"/>
                    <a:pt x="46" y="4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71" name="Freeform 963">
              <a:extLst>
                <a:ext uri="{FF2B5EF4-FFF2-40B4-BE49-F238E27FC236}">
                  <a16:creationId xmlns:a16="http://schemas.microsoft.com/office/drawing/2014/main" id="{ED8CBF44-6989-6948-9033-AABB386D616C}"/>
                </a:ext>
              </a:extLst>
            </p:cNvPr>
            <p:cNvSpPr>
              <a:spLocks/>
            </p:cNvSpPr>
            <p:nvPr/>
          </p:nvSpPr>
          <p:spPr bwMode="auto">
            <a:xfrm>
              <a:off x="7512074" y="2711908"/>
              <a:ext cx="30163" cy="15875"/>
            </a:xfrm>
            <a:custGeom>
              <a:avLst/>
              <a:gdLst>
                <a:gd name="T0" fmla="*/ 5 w 31"/>
                <a:gd name="T1" fmla="*/ 11 h 16"/>
                <a:gd name="T2" fmla="*/ 11 w 31"/>
                <a:gd name="T3" fmla="*/ 6 h 16"/>
                <a:gd name="T4" fmla="*/ 20 w 31"/>
                <a:gd name="T5" fmla="*/ 3 h 16"/>
                <a:gd name="T6" fmla="*/ 25 w 31"/>
                <a:gd name="T7" fmla="*/ 11 h 16"/>
                <a:gd name="T8" fmla="*/ 13 w 31"/>
                <a:gd name="T9" fmla="*/ 15 h 16"/>
                <a:gd name="T10" fmla="*/ 7 w 31"/>
                <a:gd name="T11" fmla="*/ 15 h 16"/>
                <a:gd name="T12" fmla="*/ 5 w 31"/>
                <a:gd name="T13" fmla="*/ 11 h 16"/>
              </a:gdLst>
              <a:ahLst/>
              <a:cxnLst>
                <a:cxn ang="0">
                  <a:pos x="T0" y="T1"/>
                </a:cxn>
                <a:cxn ang="0">
                  <a:pos x="T2" y="T3"/>
                </a:cxn>
                <a:cxn ang="0">
                  <a:pos x="T4" y="T5"/>
                </a:cxn>
                <a:cxn ang="0">
                  <a:pos x="T6" y="T7"/>
                </a:cxn>
                <a:cxn ang="0">
                  <a:pos x="T8" y="T9"/>
                </a:cxn>
                <a:cxn ang="0">
                  <a:pos x="T10" y="T11"/>
                </a:cxn>
                <a:cxn ang="0">
                  <a:pos x="T12" y="T13"/>
                </a:cxn>
              </a:cxnLst>
              <a:rect l="0" t="0" r="r" b="b"/>
              <a:pathLst>
                <a:path w="31" h="16">
                  <a:moveTo>
                    <a:pt x="5" y="11"/>
                  </a:moveTo>
                  <a:cubicBezTo>
                    <a:pt x="5" y="7"/>
                    <a:pt x="8" y="5"/>
                    <a:pt x="11" y="6"/>
                  </a:cubicBezTo>
                  <a:cubicBezTo>
                    <a:pt x="14" y="7"/>
                    <a:pt x="17" y="0"/>
                    <a:pt x="20" y="3"/>
                  </a:cubicBezTo>
                  <a:cubicBezTo>
                    <a:pt x="24" y="6"/>
                    <a:pt x="31" y="9"/>
                    <a:pt x="25" y="11"/>
                  </a:cubicBezTo>
                  <a:cubicBezTo>
                    <a:pt x="18" y="14"/>
                    <a:pt x="16" y="15"/>
                    <a:pt x="13" y="15"/>
                  </a:cubicBezTo>
                  <a:cubicBezTo>
                    <a:pt x="9" y="15"/>
                    <a:pt x="9" y="14"/>
                    <a:pt x="7" y="15"/>
                  </a:cubicBezTo>
                  <a:cubicBezTo>
                    <a:pt x="5" y="16"/>
                    <a:pt x="0" y="8"/>
                    <a:pt x="5" y="1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72" name="Freeform 964">
              <a:extLst>
                <a:ext uri="{FF2B5EF4-FFF2-40B4-BE49-F238E27FC236}">
                  <a16:creationId xmlns:a16="http://schemas.microsoft.com/office/drawing/2014/main" id="{57A8AB2F-D1A4-8445-8161-BD3144D05533}"/>
                </a:ext>
              </a:extLst>
            </p:cNvPr>
            <p:cNvSpPr>
              <a:spLocks/>
            </p:cNvSpPr>
            <p:nvPr/>
          </p:nvSpPr>
          <p:spPr bwMode="auto">
            <a:xfrm>
              <a:off x="7593037" y="2729370"/>
              <a:ext cx="20638" cy="12700"/>
            </a:xfrm>
            <a:custGeom>
              <a:avLst/>
              <a:gdLst>
                <a:gd name="T0" fmla="*/ 5 w 22"/>
                <a:gd name="T1" fmla="*/ 7 h 13"/>
                <a:gd name="T2" fmla="*/ 14 w 22"/>
                <a:gd name="T3" fmla="*/ 8 h 13"/>
                <a:gd name="T4" fmla="*/ 19 w 22"/>
                <a:gd name="T5" fmla="*/ 7 h 13"/>
                <a:gd name="T6" fmla="*/ 17 w 22"/>
                <a:gd name="T7" fmla="*/ 1 h 13"/>
                <a:gd name="T8" fmla="*/ 7 w 22"/>
                <a:gd name="T9" fmla="*/ 0 h 13"/>
                <a:gd name="T10" fmla="*/ 5 w 22"/>
                <a:gd name="T11" fmla="*/ 7 h 13"/>
              </a:gdLst>
              <a:ahLst/>
              <a:cxnLst>
                <a:cxn ang="0">
                  <a:pos x="T0" y="T1"/>
                </a:cxn>
                <a:cxn ang="0">
                  <a:pos x="T2" y="T3"/>
                </a:cxn>
                <a:cxn ang="0">
                  <a:pos x="T4" y="T5"/>
                </a:cxn>
                <a:cxn ang="0">
                  <a:pos x="T6" y="T7"/>
                </a:cxn>
                <a:cxn ang="0">
                  <a:pos x="T8" y="T9"/>
                </a:cxn>
                <a:cxn ang="0">
                  <a:pos x="T10" y="T11"/>
                </a:cxn>
              </a:cxnLst>
              <a:rect l="0" t="0" r="r" b="b"/>
              <a:pathLst>
                <a:path w="22" h="13">
                  <a:moveTo>
                    <a:pt x="5" y="7"/>
                  </a:moveTo>
                  <a:cubicBezTo>
                    <a:pt x="11" y="9"/>
                    <a:pt x="10" y="7"/>
                    <a:pt x="14" y="8"/>
                  </a:cubicBezTo>
                  <a:cubicBezTo>
                    <a:pt x="17" y="9"/>
                    <a:pt x="19" y="13"/>
                    <a:pt x="19" y="7"/>
                  </a:cubicBezTo>
                  <a:cubicBezTo>
                    <a:pt x="19" y="2"/>
                    <a:pt x="22" y="2"/>
                    <a:pt x="17" y="1"/>
                  </a:cubicBezTo>
                  <a:cubicBezTo>
                    <a:pt x="13" y="0"/>
                    <a:pt x="9" y="0"/>
                    <a:pt x="7" y="0"/>
                  </a:cubicBezTo>
                  <a:cubicBezTo>
                    <a:pt x="5" y="0"/>
                    <a:pt x="0" y="1"/>
                    <a:pt x="5" y="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73" name="Freeform 1472">
              <a:extLst>
                <a:ext uri="{FF2B5EF4-FFF2-40B4-BE49-F238E27FC236}">
                  <a16:creationId xmlns:a16="http://schemas.microsoft.com/office/drawing/2014/main" id="{2D663DED-A66B-4E43-9E6D-459E0DFF4726}"/>
                </a:ext>
              </a:extLst>
            </p:cNvPr>
            <p:cNvSpPr>
              <a:spLocks/>
            </p:cNvSpPr>
            <p:nvPr/>
          </p:nvSpPr>
          <p:spPr bwMode="auto">
            <a:xfrm>
              <a:off x="7376375" y="2736905"/>
              <a:ext cx="225030" cy="216832"/>
            </a:xfrm>
            <a:custGeom>
              <a:avLst/>
              <a:gdLst>
                <a:gd name="connsiteX0" fmla="*/ 8750 w 225030"/>
                <a:gd name="connsiteY0" fmla="*/ 0 h 216832"/>
                <a:gd name="connsiteX1" fmla="*/ 15510 w 225030"/>
                <a:gd name="connsiteY1" fmla="*/ 1915 h 216832"/>
                <a:gd name="connsiteX2" fmla="*/ 30740 w 225030"/>
                <a:gd name="connsiteY2" fmla="*/ 9527 h 216832"/>
                <a:gd name="connsiteX3" fmla="*/ 41210 w 225030"/>
                <a:gd name="connsiteY3" fmla="*/ 15235 h 216832"/>
                <a:gd name="connsiteX4" fmla="*/ 58344 w 225030"/>
                <a:gd name="connsiteY4" fmla="*/ 20944 h 216832"/>
                <a:gd name="connsiteX5" fmla="*/ 67862 w 225030"/>
                <a:gd name="connsiteY5" fmla="*/ 25701 h 216832"/>
                <a:gd name="connsiteX6" fmla="*/ 79284 w 225030"/>
                <a:gd name="connsiteY6" fmla="*/ 33313 h 216832"/>
                <a:gd name="connsiteX7" fmla="*/ 98322 w 225030"/>
                <a:gd name="connsiteY7" fmla="*/ 43778 h 216832"/>
                <a:gd name="connsiteX8" fmla="*/ 110696 w 225030"/>
                <a:gd name="connsiteY8" fmla="*/ 49487 h 216832"/>
                <a:gd name="connsiteX9" fmla="*/ 118311 w 225030"/>
                <a:gd name="connsiteY9" fmla="*/ 57098 h 216832"/>
                <a:gd name="connsiteX10" fmla="*/ 120253 w 225030"/>
                <a:gd name="connsiteY10" fmla="*/ 62919 h 216832"/>
                <a:gd name="connsiteX11" fmla="*/ 120142 w 225030"/>
                <a:gd name="connsiteY11" fmla="*/ 70565 h 216832"/>
                <a:gd name="connsiteX12" fmla="*/ 119190 w 225030"/>
                <a:gd name="connsiteY12" fmla="*/ 75348 h 216832"/>
                <a:gd name="connsiteX13" fmla="*/ 119393 w 225030"/>
                <a:gd name="connsiteY13" fmla="*/ 75474 h 216832"/>
                <a:gd name="connsiteX14" fmla="*/ 119262 w 225030"/>
                <a:gd name="connsiteY14" fmla="*/ 76127 h 216832"/>
                <a:gd name="connsiteX15" fmla="*/ 134492 w 225030"/>
                <a:gd name="connsiteY15" fmla="*/ 81836 h 216832"/>
                <a:gd name="connsiteX16" fmla="*/ 143059 w 225030"/>
                <a:gd name="connsiteY16" fmla="*/ 86593 h 216832"/>
                <a:gd name="connsiteX17" fmla="*/ 152577 w 225030"/>
                <a:gd name="connsiteY17" fmla="*/ 90398 h 216832"/>
                <a:gd name="connsiteX18" fmla="*/ 164952 w 225030"/>
                <a:gd name="connsiteY18" fmla="*/ 96107 h 216832"/>
                <a:gd name="connsiteX19" fmla="*/ 168557 w 225030"/>
                <a:gd name="connsiteY19" fmla="*/ 105116 h 216832"/>
                <a:gd name="connsiteX20" fmla="*/ 162290 w 225030"/>
                <a:gd name="connsiteY20" fmla="*/ 109429 h 216832"/>
                <a:gd name="connsiteX21" fmla="*/ 148717 w 225030"/>
                <a:gd name="connsiteY21" fmla="*/ 111701 h 216832"/>
                <a:gd name="connsiteX22" fmla="*/ 143240 w 225030"/>
                <a:gd name="connsiteY22" fmla="*/ 112777 h 216832"/>
                <a:gd name="connsiteX23" fmla="*/ 143436 w 225030"/>
                <a:gd name="connsiteY23" fmla="*/ 113325 h 216832"/>
                <a:gd name="connsiteX24" fmla="*/ 143297 w 225030"/>
                <a:gd name="connsiteY24" fmla="*/ 113352 h 216832"/>
                <a:gd name="connsiteX25" fmla="*/ 144963 w 225030"/>
                <a:gd name="connsiteY25" fmla="*/ 117990 h 216832"/>
                <a:gd name="connsiteX26" fmla="*/ 150674 w 225030"/>
                <a:gd name="connsiteY26" fmla="*/ 127504 h 216832"/>
                <a:gd name="connsiteX27" fmla="*/ 153529 w 225030"/>
                <a:gd name="connsiteY27" fmla="*/ 134164 h 216832"/>
                <a:gd name="connsiteX28" fmla="*/ 166855 w 225030"/>
                <a:gd name="connsiteY28" fmla="*/ 143679 h 216832"/>
                <a:gd name="connsiteX29" fmla="*/ 170657 w 225030"/>
                <a:gd name="connsiteY29" fmla="*/ 147478 h 216832"/>
                <a:gd name="connsiteX30" fmla="*/ 171577 w 225030"/>
                <a:gd name="connsiteY30" fmla="*/ 158577 h 216832"/>
                <a:gd name="connsiteX31" fmla="*/ 171591 w 225030"/>
                <a:gd name="connsiteY31" fmla="*/ 158606 h 216832"/>
                <a:gd name="connsiteX32" fmla="*/ 171615 w 225030"/>
                <a:gd name="connsiteY32" fmla="*/ 158901 h 216832"/>
                <a:gd name="connsiteX33" fmla="*/ 177326 w 225030"/>
                <a:gd name="connsiteY33" fmla="*/ 171270 h 216832"/>
                <a:gd name="connsiteX34" fmla="*/ 184941 w 225030"/>
                <a:gd name="connsiteY34" fmla="*/ 171270 h 216832"/>
                <a:gd name="connsiteX35" fmla="*/ 194370 w 225030"/>
                <a:gd name="connsiteY35" fmla="*/ 173155 h 216832"/>
                <a:gd name="connsiteX36" fmla="*/ 191580 w 225030"/>
                <a:gd name="connsiteY36" fmla="*/ 182494 h 216832"/>
                <a:gd name="connsiteX37" fmla="*/ 191654 w 225030"/>
                <a:gd name="connsiteY37" fmla="*/ 182521 h 216832"/>
                <a:gd name="connsiteX38" fmla="*/ 191604 w 225030"/>
                <a:gd name="connsiteY38" fmla="*/ 182687 h 216832"/>
                <a:gd name="connsiteX39" fmla="*/ 202074 w 225030"/>
                <a:gd name="connsiteY39" fmla="*/ 186493 h 216832"/>
                <a:gd name="connsiteX40" fmla="*/ 209583 w 225030"/>
                <a:gd name="connsiteY40" fmla="*/ 187431 h 216832"/>
                <a:gd name="connsiteX41" fmla="*/ 204915 w 225030"/>
                <a:gd name="connsiteY41" fmla="*/ 194930 h 216832"/>
                <a:gd name="connsiteX42" fmla="*/ 204082 w 225030"/>
                <a:gd name="connsiteY42" fmla="*/ 197202 h 216832"/>
                <a:gd name="connsiteX43" fmla="*/ 204129 w 225030"/>
                <a:gd name="connsiteY43" fmla="*/ 197229 h 216832"/>
                <a:gd name="connsiteX44" fmla="*/ 204097 w 225030"/>
                <a:gd name="connsiteY44" fmla="*/ 197316 h 216832"/>
                <a:gd name="connsiteX45" fmla="*/ 206833 w 225030"/>
                <a:gd name="connsiteY45" fmla="*/ 198862 h 216832"/>
                <a:gd name="connsiteX46" fmla="*/ 214448 w 225030"/>
                <a:gd name="connsiteY46" fmla="*/ 200764 h 216832"/>
                <a:gd name="connsiteX47" fmla="*/ 223967 w 225030"/>
                <a:gd name="connsiteY47" fmla="*/ 204570 h 216832"/>
                <a:gd name="connsiteX48" fmla="*/ 225030 w 225030"/>
                <a:gd name="connsiteY48" fmla="*/ 207993 h 216832"/>
                <a:gd name="connsiteX49" fmla="*/ 223965 w 225030"/>
                <a:gd name="connsiteY49" fmla="*/ 212150 h 216832"/>
                <a:gd name="connsiteX50" fmla="*/ 215393 w 225030"/>
                <a:gd name="connsiteY50" fmla="*/ 215977 h 216832"/>
                <a:gd name="connsiteX51" fmla="*/ 207773 w 225030"/>
                <a:gd name="connsiteY51" fmla="*/ 214063 h 216832"/>
                <a:gd name="connsiteX52" fmla="*/ 199200 w 225030"/>
                <a:gd name="connsiteY52" fmla="*/ 209280 h 216832"/>
                <a:gd name="connsiteX53" fmla="*/ 184913 w 225030"/>
                <a:gd name="connsiteY53" fmla="*/ 204497 h 216832"/>
                <a:gd name="connsiteX54" fmla="*/ 173483 w 225030"/>
                <a:gd name="connsiteY54" fmla="*/ 202584 h 216832"/>
                <a:gd name="connsiteX55" fmla="*/ 165862 w 225030"/>
                <a:gd name="connsiteY55" fmla="*/ 201627 h 216832"/>
                <a:gd name="connsiteX56" fmla="*/ 156337 w 225030"/>
                <a:gd name="connsiteY56" fmla="*/ 201627 h 216832"/>
                <a:gd name="connsiteX57" fmla="*/ 148717 w 225030"/>
                <a:gd name="connsiteY57" fmla="*/ 194930 h 216832"/>
                <a:gd name="connsiteX58" fmla="*/ 143002 w 225030"/>
                <a:gd name="connsiteY58" fmla="*/ 185364 h 216832"/>
                <a:gd name="connsiteX59" fmla="*/ 139192 w 225030"/>
                <a:gd name="connsiteY59" fmla="*/ 177710 h 216832"/>
                <a:gd name="connsiteX60" fmla="*/ 131572 w 225030"/>
                <a:gd name="connsiteY60" fmla="*/ 168144 h 216832"/>
                <a:gd name="connsiteX61" fmla="*/ 127762 w 225030"/>
                <a:gd name="connsiteY61" fmla="*/ 157621 h 216832"/>
                <a:gd name="connsiteX62" fmla="*/ 121095 w 225030"/>
                <a:gd name="connsiteY62" fmla="*/ 147097 h 216832"/>
                <a:gd name="connsiteX63" fmla="*/ 110617 w 225030"/>
                <a:gd name="connsiteY63" fmla="*/ 141357 h 216832"/>
                <a:gd name="connsiteX64" fmla="*/ 97282 w 225030"/>
                <a:gd name="connsiteY64" fmla="*/ 142314 h 216832"/>
                <a:gd name="connsiteX65" fmla="*/ 88710 w 225030"/>
                <a:gd name="connsiteY65" fmla="*/ 133704 h 216832"/>
                <a:gd name="connsiteX66" fmla="*/ 80137 w 225030"/>
                <a:gd name="connsiteY66" fmla="*/ 135617 h 216832"/>
                <a:gd name="connsiteX67" fmla="*/ 72517 w 225030"/>
                <a:gd name="connsiteY67" fmla="*/ 137531 h 216832"/>
                <a:gd name="connsiteX68" fmla="*/ 65850 w 225030"/>
                <a:gd name="connsiteY68" fmla="*/ 145184 h 216832"/>
                <a:gd name="connsiteX69" fmla="*/ 60135 w 225030"/>
                <a:gd name="connsiteY69" fmla="*/ 149011 h 216832"/>
                <a:gd name="connsiteX70" fmla="*/ 47752 w 225030"/>
                <a:gd name="connsiteY70" fmla="*/ 151881 h 216832"/>
                <a:gd name="connsiteX71" fmla="*/ 44537 w 225030"/>
                <a:gd name="connsiteY71" fmla="*/ 155946 h 216832"/>
                <a:gd name="connsiteX72" fmla="*/ 44856 w 225030"/>
                <a:gd name="connsiteY72" fmla="*/ 156040 h 216832"/>
                <a:gd name="connsiteX73" fmla="*/ 44661 w 225030"/>
                <a:gd name="connsiteY73" fmla="*/ 156285 h 216832"/>
                <a:gd name="connsiteX74" fmla="*/ 53584 w 225030"/>
                <a:gd name="connsiteY74" fmla="*/ 158901 h 216832"/>
                <a:gd name="connsiteX75" fmla="*/ 56723 w 225030"/>
                <a:gd name="connsiteY75" fmla="*/ 161142 h 216832"/>
                <a:gd name="connsiteX76" fmla="*/ 54419 w 225030"/>
                <a:gd name="connsiteY76" fmla="*/ 166231 h 216832"/>
                <a:gd name="connsiteX77" fmla="*/ 46799 w 225030"/>
                <a:gd name="connsiteY77" fmla="*/ 175797 h 216832"/>
                <a:gd name="connsiteX78" fmla="*/ 33464 w 225030"/>
                <a:gd name="connsiteY78" fmla="*/ 177710 h 216832"/>
                <a:gd name="connsiteX79" fmla="*/ 24892 w 225030"/>
                <a:gd name="connsiteY79" fmla="*/ 175797 h 216832"/>
                <a:gd name="connsiteX80" fmla="*/ 12509 w 225030"/>
                <a:gd name="connsiteY80" fmla="*/ 175797 h 216832"/>
                <a:gd name="connsiteX81" fmla="*/ 1079 w 225030"/>
                <a:gd name="connsiteY81" fmla="*/ 175797 h 216832"/>
                <a:gd name="connsiteX82" fmla="*/ 127 w 225030"/>
                <a:gd name="connsiteY82" fmla="*/ 175797 h 216832"/>
                <a:gd name="connsiteX83" fmla="*/ 127 w 225030"/>
                <a:gd name="connsiteY83" fmla="*/ 171970 h 216832"/>
                <a:gd name="connsiteX84" fmla="*/ 127 w 225030"/>
                <a:gd name="connsiteY84" fmla="*/ 147097 h 216832"/>
                <a:gd name="connsiteX85" fmla="*/ 4889 w 225030"/>
                <a:gd name="connsiteY85" fmla="*/ 127964 h 216832"/>
                <a:gd name="connsiteX86" fmla="*/ 127 w 225030"/>
                <a:gd name="connsiteY86" fmla="*/ 110744 h 216832"/>
                <a:gd name="connsiteX87" fmla="*/ 3937 w 225030"/>
                <a:gd name="connsiteY87" fmla="*/ 74391 h 216832"/>
                <a:gd name="connsiteX88" fmla="*/ 8699 w 225030"/>
                <a:gd name="connsiteY88" fmla="*/ 40908 h 216832"/>
                <a:gd name="connsiteX89" fmla="*/ 8699 w 225030"/>
                <a:gd name="connsiteY89" fmla="*/ 14122 h 216832"/>
                <a:gd name="connsiteX90" fmla="*/ 9056 w 225030"/>
                <a:gd name="connsiteY90" fmla="*/ 7186 h 216832"/>
                <a:gd name="connsiteX91" fmla="*/ 8750 w 225030"/>
                <a:gd name="connsiteY91" fmla="*/ 0 h 21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25030" h="216832">
                  <a:moveTo>
                    <a:pt x="8750" y="0"/>
                  </a:moveTo>
                  <a:lnTo>
                    <a:pt x="15510" y="1915"/>
                  </a:lnTo>
                  <a:cubicBezTo>
                    <a:pt x="21221" y="3818"/>
                    <a:pt x="19317" y="3818"/>
                    <a:pt x="30740" y="9527"/>
                  </a:cubicBezTo>
                  <a:cubicBezTo>
                    <a:pt x="42162" y="16187"/>
                    <a:pt x="34547" y="12381"/>
                    <a:pt x="41210" y="15235"/>
                  </a:cubicBezTo>
                  <a:cubicBezTo>
                    <a:pt x="47873" y="18090"/>
                    <a:pt x="48825" y="19041"/>
                    <a:pt x="58344" y="20944"/>
                  </a:cubicBezTo>
                  <a:cubicBezTo>
                    <a:pt x="67862" y="23798"/>
                    <a:pt x="62151" y="22847"/>
                    <a:pt x="67862" y="25701"/>
                  </a:cubicBezTo>
                  <a:cubicBezTo>
                    <a:pt x="74525" y="28555"/>
                    <a:pt x="76429" y="32361"/>
                    <a:pt x="79284" y="33313"/>
                  </a:cubicBezTo>
                  <a:cubicBezTo>
                    <a:pt x="83092" y="34264"/>
                    <a:pt x="92610" y="39021"/>
                    <a:pt x="98322" y="43778"/>
                  </a:cubicBezTo>
                  <a:cubicBezTo>
                    <a:pt x="104033" y="48535"/>
                    <a:pt x="102129" y="46633"/>
                    <a:pt x="110696" y="49487"/>
                  </a:cubicBezTo>
                  <a:cubicBezTo>
                    <a:pt x="119262" y="52341"/>
                    <a:pt x="117359" y="56147"/>
                    <a:pt x="118311" y="57098"/>
                  </a:cubicBezTo>
                  <a:lnTo>
                    <a:pt x="120253" y="62919"/>
                  </a:lnTo>
                  <a:lnTo>
                    <a:pt x="120142" y="70565"/>
                  </a:lnTo>
                  <a:cubicBezTo>
                    <a:pt x="117285" y="74391"/>
                    <a:pt x="117285" y="73435"/>
                    <a:pt x="119190" y="75348"/>
                  </a:cubicBezTo>
                  <a:lnTo>
                    <a:pt x="119393" y="75474"/>
                  </a:lnTo>
                  <a:lnTo>
                    <a:pt x="119262" y="76127"/>
                  </a:lnTo>
                  <a:cubicBezTo>
                    <a:pt x="121166" y="78030"/>
                    <a:pt x="123070" y="78981"/>
                    <a:pt x="134492" y="81836"/>
                  </a:cubicBezTo>
                  <a:cubicBezTo>
                    <a:pt x="144963" y="83738"/>
                    <a:pt x="139251" y="82787"/>
                    <a:pt x="143059" y="86593"/>
                  </a:cubicBezTo>
                  <a:cubicBezTo>
                    <a:pt x="146866" y="89447"/>
                    <a:pt x="148770" y="90398"/>
                    <a:pt x="152577" y="90398"/>
                  </a:cubicBezTo>
                  <a:cubicBezTo>
                    <a:pt x="155433" y="90398"/>
                    <a:pt x="162096" y="95156"/>
                    <a:pt x="164952" y="96107"/>
                  </a:cubicBezTo>
                  <a:lnTo>
                    <a:pt x="168557" y="105116"/>
                  </a:lnTo>
                  <a:lnTo>
                    <a:pt x="162290" y="109429"/>
                  </a:lnTo>
                  <a:cubicBezTo>
                    <a:pt x="158480" y="110744"/>
                    <a:pt x="153480" y="111701"/>
                    <a:pt x="148717" y="111701"/>
                  </a:cubicBezTo>
                  <a:cubicBezTo>
                    <a:pt x="143955" y="111701"/>
                    <a:pt x="143002" y="111940"/>
                    <a:pt x="143240" y="112777"/>
                  </a:cubicBezTo>
                  <a:lnTo>
                    <a:pt x="143436" y="113325"/>
                  </a:lnTo>
                  <a:lnTo>
                    <a:pt x="143297" y="113352"/>
                  </a:lnTo>
                  <a:cubicBezTo>
                    <a:pt x="143535" y="114184"/>
                    <a:pt x="144963" y="115612"/>
                    <a:pt x="144963" y="117990"/>
                  </a:cubicBezTo>
                  <a:cubicBezTo>
                    <a:pt x="144963" y="121796"/>
                    <a:pt x="147818" y="123698"/>
                    <a:pt x="150674" y="127504"/>
                  </a:cubicBezTo>
                  <a:cubicBezTo>
                    <a:pt x="152577" y="131310"/>
                    <a:pt x="153529" y="134164"/>
                    <a:pt x="153529" y="134164"/>
                  </a:cubicBezTo>
                  <a:cubicBezTo>
                    <a:pt x="155433" y="135116"/>
                    <a:pt x="162096" y="142727"/>
                    <a:pt x="166855" y="143679"/>
                  </a:cubicBezTo>
                  <a:lnTo>
                    <a:pt x="170657" y="147478"/>
                  </a:lnTo>
                  <a:lnTo>
                    <a:pt x="171577" y="158577"/>
                  </a:lnTo>
                  <a:lnTo>
                    <a:pt x="171591" y="158606"/>
                  </a:lnTo>
                  <a:lnTo>
                    <a:pt x="171615" y="158901"/>
                  </a:lnTo>
                  <a:cubicBezTo>
                    <a:pt x="174470" y="162707"/>
                    <a:pt x="175422" y="165561"/>
                    <a:pt x="177326" y="171270"/>
                  </a:cubicBezTo>
                  <a:cubicBezTo>
                    <a:pt x="179229" y="176027"/>
                    <a:pt x="181133" y="172221"/>
                    <a:pt x="184941" y="171270"/>
                  </a:cubicBezTo>
                  <a:lnTo>
                    <a:pt x="194370" y="173155"/>
                  </a:lnTo>
                  <a:lnTo>
                    <a:pt x="191580" y="182494"/>
                  </a:lnTo>
                  <a:lnTo>
                    <a:pt x="191654" y="182521"/>
                  </a:lnTo>
                  <a:lnTo>
                    <a:pt x="191604" y="182687"/>
                  </a:lnTo>
                  <a:cubicBezTo>
                    <a:pt x="191604" y="186493"/>
                    <a:pt x="196363" y="186493"/>
                    <a:pt x="202074" y="186493"/>
                  </a:cubicBezTo>
                  <a:lnTo>
                    <a:pt x="209583" y="187431"/>
                  </a:lnTo>
                  <a:lnTo>
                    <a:pt x="204915" y="194930"/>
                  </a:lnTo>
                  <a:cubicBezTo>
                    <a:pt x="202534" y="195409"/>
                    <a:pt x="203010" y="196365"/>
                    <a:pt x="204082" y="197202"/>
                  </a:cubicBezTo>
                  <a:lnTo>
                    <a:pt x="204129" y="197229"/>
                  </a:lnTo>
                  <a:lnTo>
                    <a:pt x="204097" y="197316"/>
                  </a:lnTo>
                  <a:cubicBezTo>
                    <a:pt x="205167" y="198148"/>
                    <a:pt x="206833" y="198862"/>
                    <a:pt x="206833" y="198862"/>
                  </a:cubicBezTo>
                  <a:cubicBezTo>
                    <a:pt x="207785" y="199813"/>
                    <a:pt x="210641" y="200764"/>
                    <a:pt x="214448" y="200764"/>
                  </a:cubicBezTo>
                  <a:cubicBezTo>
                    <a:pt x="219208" y="200764"/>
                    <a:pt x="220159" y="204570"/>
                    <a:pt x="223967" y="204570"/>
                  </a:cubicBezTo>
                  <a:lnTo>
                    <a:pt x="225030" y="207993"/>
                  </a:lnTo>
                  <a:lnTo>
                    <a:pt x="223965" y="212150"/>
                  </a:lnTo>
                  <a:cubicBezTo>
                    <a:pt x="223965" y="214063"/>
                    <a:pt x="221108" y="215020"/>
                    <a:pt x="215393" y="215977"/>
                  </a:cubicBezTo>
                  <a:cubicBezTo>
                    <a:pt x="210630" y="216933"/>
                    <a:pt x="208725" y="217890"/>
                    <a:pt x="207773" y="214063"/>
                  </a:cubicBezTo>
                  <a:cubicBezTo>
                    <a:pt x="205868" y="210237"/>
                    <a:pt x="203010" y="212150"/>
                    <a:pt x="199200" y="209280"/>
                  </a:cubicBezTo>
                  <a:cubicBezTo>
                    <a:pt x="195390" y="206410"/>
                    <a:pt x="186818" y="206410"/>
                    <a:pt x="184913" y="204497"/>
                  </a:cubicBezTo>
                  <a:cubicBezTo>
                    <a:pt x="183008" y="202584"/>
                    <a:pt x="178245" y="204497"/>
                    <a:pt x="173483" y="202584"/>
                  </a:cubicBezTo>
                  <a:cubicBezTo>
                    <a:pt x="169672" y="201627"/>
                    <a:pt x="167767" y="202584"/>
                    <a:pt x="165862" y="201627"/>
                  </a:cubicBezTo>
                  <a:cubicBezTo>
                    <a:pt x="163005" y="201627"/>
                    <a:pt x="161100" y="204497"/>
                    <a:pt x="156337" y="201627"/>
                  </a:cubicBezTo>
                  <a:cubicBezTo>
                    <a:pt x="151575" y="199714"/>
                    <a:pt x="149670" y="198757"/>
                    <a:pt x="148717" y="194930"/>
                  </a:cubicBezTo>
                  <a:cubicBezTo>
                    <a:pt x="148717" y="190147"/>
                    <a:pt x="144907" y="191104"/>
                    <a:pt x="143002" y="185364"/>
                  </a:cubicBezTo>
                  <a:cubicBezTo>
                    <a:pt x="140145" y="179624"/>
                    <a:pt x="141097" y="181537"/>
                    <a:pt x="139192" y="177710"/>
                  </a:cubicBezTo>
                  <a:cubicBezTo>
                    <a:pt x="137287" y="173884"/>
                    <a:pt x="133477" y="172927"/>
                    <a:pt x="131572" y="168144"/>
                  </a:cubicBezTo>
                  <a:cubicBezTo>
                    <a:pt x="128715" y="164317"/>
                    <a:pt x="127762" y="161447"/>
                    <a:pt x="127762" y="157621"/>
                  </a:cubicBezTo>
                  <a:cubicBezTo>
                    <a:pt x="127762" y="153794"/>
                    <a:pt x="122047" y="152837"/>
                    <a:pt x="121095" y="147097"/>
                  </a:cubicBezTo>
                  <a:cubicBezTo>
                    <a:pt x="120142" y="141357"/>
                    <a:pt x="115380" y="144227"/>
                    <a:pt x="110617" y="141357"/>
                  </a:cubicBezTo>
                  <a:cubicBezTo>
                    <a:pt x="105855" y="139444"/>
                    <a:pt x="97282" y="143271"/>
                    <a:pt x="97282" y="142314"/>
                  </a:cubicBezTo>
                  <a:cubicBezTo>
                    <a:pt x="97282" y="140401"/>
                    <a:pt x="91567" y="135617"/>
                    <a:pt x="88710" y="133704"/>
                  </a:cubicBezTo>
                  <a:cubicBezTo>
                    <a:pt x="85852" y="131791"/>
                    <a:pt x="85852" y="134661"/>
                    <a:pt x="80137" y="135617"/>
                  </a:cubicBezTo>
                  <a:cubicBezTo>
                    <a:pt x="75375" y="136574"/>
                    <a:pt x="76327" y="137531"/>
                    <a:pt x="72517" y="137531"/>
                  </a:cubicBezTo>
                  <a:cubicBezTo>
                    <a:pt x="69660" y="137531"/>
                    <a:pt x="71565" y="143271"/>
                    <a:pt x="65850" y="145184"/>
                  </a:cubicBezTo>
                  <a:cubicBezTo>
                    <a:pt x="61087" y="148054"/>
                    <a:pt x="64897" y="148054"/>
                    <a:pt x="60135" y="149011"/>
                  </a:cubicBezTo>
                  <a:cubicBezTo>
                    <a:pt x="54419" y="149967"/>
                    <a:pt x="56324" y="148054"/>
                    <a:pt x="47752" y="151881"/>
                  </a:cubicBezTo>
                  <a:cubicBezTo>
                    <a:pt x="42990" y="154273"/>
                    <a:pt x="42751" y="155229"/>
                    <a:pt x="44537" y="155946"/>
                  </a:cubicBezTo>
                  <a:lnTo>
                    <a:pt x="44856" y="156040"/>
                  </a:lnTo>
                  <a:lnTo>
                    <a:pt x="44661" y="156285"/>
                  </a:lnTo>
                  <a:cubicBezTo>
                    <a:pt x="46445" y="156999"/>
                    <a:pt x="50253" y="157474"/>
                    <a:pt x="53584" y="158901"/>
                  </a:cubicBezTo>
                  <a:lnTo>
                    <a:pt x="56723" y="161142"/>
                  </a:lnTo>
                  <a:lnTo>
                    <a:pt x="54419" y="166231"/>
                  </a:lnTo>
                  <a:cubicBezTo>
                    <a:pt x="54419" y="172927"/>
                    <a:pt x="52514" y="171970"/>
                    <a:pt x="46799" y="175797"/>
                  </a:cubicBezTo>
                  <a:cubicBezTo>
                    <a:pt x="41084" y="179624"/>
                    <a:pt x="39179" y="179624"/>
                    <a:pt x="33464" y="177710"/>
                  </a:cubicBezTo>
                  <a:cubicBezTo>
                    <a:pt x="27749" y="176754"/>
                    <a:pt x="31559" y="177710"/>
                    <a:pt x="24892" y="175797"/>
                  </a:cubicBezTo>
                  <a:cubicBezTo>
                    <a:pt x="18224" y="173884"/>
                    <a:pt x="18224" y="175797"/>
                    <a:pt x="12509" y="175797"/>
                  </a:cubicBezTo>
                  <a:cubicBezTo>
                    <a:pt x="5842" y="174840"/>
                    <a:pt x="5842" y="175797"/>
                    <a:pt x="1079" y="175797"/>
                  </a:cubicBezTo>
                  <a:cubicBezTo>
                    <a:pt x="127" y="175797"/>
                    <a:pt x="127" y="175797"/>
                    <a:pt x="127" y="175797"/>
                  </a:cubicBezTo>
                  <a:cubicBezTo>
                    <a:pt x="127" y="171970"/>
                    <a:pt x="127" y="171970"/>
                    <a:pt x="127" y="171970"/>
                  </a:cubicBezTo>
                  <a:cubicBezTo>
                    <a:pt x="127" y="171970"/>
                    <a:pt x="127" y="155707"/>
                    <a:pt x="127" y="147097"/>
                  </a:cubicBezTo>
                  <a:cubicBezTo>
                    <a:pt x="127" y="137531"/>
                    <a:pt x="2032" y="134661"/>
                    <a:pt x="4889" y="127964"/>
                  </a:cubicBezTo>
                  <a:cubicBezTo>
                    <a:pt x="7747" y="121268"/>
                    <a:pt x="1079" y="119354"/>
                    <a:pt x="127" y="110744"/>
                  </a:cubicBezTo>
                  <a:cubicBezTo>
                    <a:pt x="-826" y="102134"/>
                    <a:pt x="3937" y="81088"/>
                    <a:pt x="3937" y="74391"/>
                  </a:cubicBezTo>
                  <a:cubicBezTo>
                    <a:pt x="3937" y="67695"/>
                    <a:pt x="7747" y="48561"/>
                    <a:pt x="8699" y="40908"/>
                  </a:cubicBezTo>
                  <a:cubicBezTo>
                    <a:pt x="9652" y="32298"/>
                    <a:pt x="7747" y="16992"/>
                    <a:pt x="8699" y="14122"/>
                  </a:cubicBezTo>
                  <a:cubicBezTo>
                    <a:pt x="9176" y="13165"/>
                    <a:pt x="9176" y="10295"/>
                    <a:pt x="9056" y="7186"/>
                  </a:cubicBezTo>
                  <a:lnTo>
                    <a:pt x="8750"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74" name="Freeform 1473">
              <a:extLst>
                <a:ext uri="{FF2B5EF4-FFF2-40B4-BE49-F238E27FC236}">
                  <a16:creationId xmlns:a16="http://schemas.microsoft.com/office/drawing/2014/main" id="{0BD31FA9-9B3B-2F45-80AA-52543E23EDB7}"/>
                </a:ext>
              </a:extLst>
            </p:cNvPr>
            <p:cNvSpPr>
              <a:spLocks/>
            </p:cNvSpPr>
            <p:nvPr/>
          </p:nvSpPr>
          <p:spPr bwMode="auto">
            <a:xfrm>
              <a:off x="7137402" y="2675391"/>
              <a:ext cx="295888" cy="240692"/>
            </a:xfrm>
            <a:custGeom>
              <a:avLst/>
              <a:gdLst>
                <a:gd name="connsiteX0" fmla="*/ 50190 w 295888"/>
                <a:gd name="connsiteY0" fmla="*/ 396 h 240692"/>
                <a:gd name="connsiteX1" fmla="*/ 54592 w 295888"/>
                <a:gd name="connsiteY1" fmla="*/ 2537 h 240692"/>
                <a:gd name="connsiteX2" fmla="*/ 63159 w 295888"/>
                <a:gd name="connsiteY2" fmla="*/ 10148 h 240692"/>
                <a:gd name="connsiteX3" fmla="*/ 71725 w 295888"/>
                <a:gd name="connsiteY3" fmla="*/ 12051 h 240692"/>
                <a:gd name="connsiteX4" fmla="*/ 82196 w 295888"/>
                <a:gd name="connsiteY4" fmla="*/ 14905 h 240692"/>
                <a:gd name="connsiteX5" fmla="*/ 86003 w 295888"/>
                <a:gd name="connsiteY5" fmla="*/ 19662 h 240692"/>
                <a:gd name="connsiteX6" fmla="*/ 86955 w 295888"/>
                <a:gd name="connsiteY6" fmla="*/ 29177 h 240692"/>
                <a:gd name="connsiteX7" fmla="*/ 86003 w 295888"/>
                <a:gd name="connsiteY7" fmla="*/ 41545 h 240692"/>
                <a:gd name="connsiteX8" fmla="*/ 86003 w 295888"/>
                <a:gd name="connsiteY8" fmla="*/ 51060 h 240692"/>
                <a:gd name="connsiteX9" fmla="*/ 87907 w 295888"/>
                <a:gd name="connsiteY9" fmla="*/ 63428 h 240692"/>
                <a:gd name="connsiteX10" fmla="*/ 94570 w 295888"/>
                <a:gd name="connsiteY10" fmla="*/ 59623 h 240692"/>
                <a:gd name="connsiteX11" fmla="*/ 97425 w 295888"/>
                <a:gd name="connsiteY11" fmla="*/ 68185 h 240692"/>
                <a:gd name="connsiteX12" fmla="*/ 103137 w 295888"/>
                <a:gd name="connsiteY12" fmla="*/ 80554 h 240692"/>
                <a:gd name="connsiteX13" fmla="*/ 111703 w 295888"/>
                <a:gd name="connsiteY13" fmla="*/ 82457 h 240692"/>
                <a:gd name="connsiteX14" fmla="*/ 115511 w 295888"/>
                <a:gd name="connsiteY14" fmla="*/ 81505 h 240692"/>
                <a:gd name="connsiteX15" fmla="*/ 125029 w 295888"/>
                <a:gd name="connsiteY15" fmla="*/ 70088 h 240692"/>
                <a:gd name="connsiteX16" fmla="*/ 130740 w 295888"/>
                <a:gd name="connsiteY16" fmla="*/ 62477 h 240692"/>
                <a:gd name="connsiteX17" fmla="*/ 135500 w 295888"/>
                <a:gd name="connsiteY17" fmla="*/ 53914 h 240692"/>
                <a:gd name="connsiteX18" fmla="*/ 143115 w 295888"/>
                <a:gd name="connsiteY18" fmla="*/ 50108 h 240692"/>
                <a:gd name="connsiteX19" fmla="*/ 154537 w 295888"/>
                <a:gd name="connsiteY19" fmla="*/ 47254 h 240692"/>
                <a:gd name="connsiteX20" fmla="*/ 157392 w 295888"/>
                <a:gd name="connsiteY20" fmla="*/ 39643 h 240692"/>
                <a:gd name="connsiteX21" fmla="*/ 162152 w 295888"/>
                <a:gd name="connsiteY21" fmla="*/ 34885 h 240692"/>
                <a:gd name="connsiteX22" fmla="*/ 175478 w 295888"/>
                <a:gd name="connsiteY22" fmla="*/ 32983 h 240692"/>
                <a:gd name="connsiteX23" fmla="*/ 192611 w 295888"/>
                <a:gd name="connsiteY23" fmla="*/ 39643 h 240692"/>
                <a:gd name="connsiteX24" fmla="*/ 203082 w 295888"/>
                <a:gd name="connsiteY24" fmla="*/ 46303 h 240692"/>
                <a:gd name="connsiteX25" fmla="*/ 212600 w 295888"/>
                <a:gd name="connsiteY25" fmla="*/ 52011 h 240692"/>
                <a:gd name="connsiteX26" fmla="*/ 229734 w 295888"/>
                <a:gd name="connsiteY26" fmla="*/ 53914 h 240692"/>
                <a:gd name="connsiteX27" fmla="*/ 240204 w 295888"/>
                <a:gd name="connsiteY27" fmla="*/ 58671 h 240692"/>
                <a:gd name="connsiteX28" fmla="*/ 247343 w 295888"/>
                <a:gd name="connsiteY28" fmla="*/ 61406 h 240692"/>
                <a:gd name="connsiteX29" fmla="*/ 247722 w 295888"/>
                <a:gd name="connsiteY29" fmla="*/ 61513 h 240692"/>
                <a:gd name="connsiteX30" fmla="*/ 248028 w 295888"/>
                <a:gd name="connsiteY30" fmla="*/ 68699 h 240692"/>
                <a:gd name="connsiteX31" fmla="*/ 247671 w 295888"/>
                <a:gd name="connsiteY31" fmla="*/ 75635 h 240692"/>
                <a:gd name="connsiteX32" fmla="*/ 247671 w 295888"/>
                <a:gd name="connsiteY32" fmla="*/ 102421 h 240692"/>
                <a:gd name="connsiteX33" fmla="*/ 242909 w 295888"/>
                <a:gd name="connsiteY33" fmla="*/ 135904 h 240692"/>
                <a:gd name="connsiteX34" fmla="*/ 239099 w 295888"/>
                <a:gd name="connsiteY34" fmla="*/ 172257 h 240692"/>
                <a:gd name="connsiteX35" fmla="*/ 243861 w 295888"/>
                <a:gd name="connsiteY35" fmla="*/ 189477 h 240692"/>
                <a:gd name="connsiteX36" fmla="*/ 239099 w 295888"/>
                <a:gd name="connsiteY36" fmla="*/ 208610 h 240692"/>
                <a:gd name="connsiteX37" fmla="*/ 239099 w 295888"/>
                <a:gd name="connsiteY37" fmla="*/ 233483 h 240692"/>
                <a:gd name="connsiteX38" fmla="*/ 239099 w 295888"/>
                <a:gd name="connsiteY38" fmla="*/ 237310 h 240692"/>
                <a:gd name="connsiteX39" fmla="*/ 240051 w 295888"/>
                <a:gd name="connsiteY39" fmla="*/ 237310 h 240692"/>
                <a:gd name="connsiteX40" fmla="*/ 251481 w 295888"/>
                <a:gd name="connsiteY40" fmla="*/ 237310 h 240692"/>
                <a:gd name="connsiteX41" fmla="*/ 263864 w 295888"/>
                <a:gd name="connsiteY41" fmla="*/ 237310 h 240692"/>
                <a:gd name="connsiteX42" fmla="*/ 272436 w 295888"/>
                <a:gd name="connsiteY42" fmla="*/ 239223 h 240692"/>
                <a:gd name="connsiteX43" fmla="*/ 285771 w 295888"/>
                <a:gd name="connsiteY43" fmla="*/ 237310 h 240692"/>
                <a:gd name="connsiteX44" fmla="*/ 293391 w 295888"/>
                <a:gd name="connsiteY44" fmla="*/ 227744 h 240692"/>
                <a:gd name="connsiteX45" fmla="*/ 295695 w 295888"/>
                <a:gd name="connsiteY45" fmla="*/ 222655 h 240692"/>
                <a:gd name="connsiteX46" fmla="*/ 295888 w 295888"/>
                <a:gd name="connsiteY46" fmla="*/ 222793 h 240692"/>
                <a:gd name="connsiteX47" fmla="*/ 293508 w 295888"/>
                <a:gd name="connsiteY47" fmla="*/ 228026 h 240692"/>
                <a:gd name="connsiteX48" fmla="*/ 285893 w 295888"/>
                <a:gd name="connsiteY48" fmla="*/ 237540 h 240692"/>
                <a:gd name="connsiteX49" fmla="*/ 272567 w 295888"/>
                <a:gd name="connsiteY49" fmla="*/ 239443 h 240692"/>
                <a:gd name="connsiteX50" fmla="*/ 264001 w 295888"/>
                <a:gd name="connsiteY50" fmla="*/ 237540 h 240692"/>
                <a:gd name="connsiteX51" fmla="*/ 251626 w 295888"/>
                <a:gd name="connsiteY51" fmla="*/ 237540 h 240692"/>
                <a:gd name="connsiteX52" fmla="*/ 240204 w 295888"/>
                <a:gd name="connsiteY52" fmla="*/ 237540 h 240692"/>
                <a:gd name="connsiteX53" fmla="*/ 231637 w 295888"/>
                <a:gd name="connsiteY53" fmla="*/ 232783 h 240692"/>
                <a:gd name="connsiteX54" fmla="*/ 224023 w 295888"/>
                <a:gd name="connsiteY54" fmla="*/ 224220 h 240692"/>
                <a:gd name="connsiteX55" fmla="*/ 217360 w 295888"/>
                <a:gd name="connsiteY55" fmla="*/ 217560 h 240692"/>
                <a:gd name="connsiteX56" fmla="*/ 211648 w 295888"/>
                <a:gd name="connsiteY56" fmla="*/ 210900 h 240692"/>
                <a:gd name="connsiteX57" fmla="*/ 198322 w 295888"/>
                <a:gd name="connsiteY57" fmla="*/ 210900 h 240692"/>
                <a:gd name="connsiteX58" fmla="*/ 183093 w 295888"/>
                <a:gd name="connsiteY58" fmla="*/ 213754 h 240692"/>
                <a:gd name="connsiteX59" fmla="*/ 170718 w 295888"/>
                <a:gd name="connsiteY59" fmla="*/ 219463 h 240692"/>
                <a:gd name="connsiteX60" fmla="*/ 159296 w 295888"/>
                <a:gd name="connsiteY60" fmla="*/ 212803 h 240692"/>
                <a:gd name="connsiteX61" fmla="*/ 165007 w 295888"/>
                <a:gd name="connsiteY61" fmla="*/ 201386 h 240692"/>
                <a:gd name="connsiteX62" fmla="*/ 175478 w 295888"/>
                <a:gd name="connsiteY62" fmla="*/ 192823 h 240692"/>
                <a:gd name="connsiteX63" fmla="*/ 188804 w 295888"/>
                <a:gd name="connsiteY63" fmla="*/ 188066 h 240692"/>
                <a:gd name="connsiteX64" fmla="*/ 188804 w 295888"/>
                <a:gd name="connsiteY64" fmla="*/ 183309 h 240692"/>
                <a:gd name="connsiteX65" fmla="*/ 186900 w 295888"/>
                <a:gd name="connsiteY65" fmla="*/ 177600 h 240692"/>
                <a:gd name="connsiteX66" fmla="*/ 184996 w 295888"/>
                <a:gd name="connsiteY66" fmla="*/ 169989 h 240692"/>
                <a:gd name="connsiteX67" fmla="*/ 179285 w 295888"/>
                <a:gd name="connsiteY67" fmla="*/ 157620 h 240692"/>
                <a:gd name="connsiteX68" fmla="*/ 177381 w 295888"/>
                <a:gd name="connsiteY68" fmla="*/ 147154 h 240692"/>
                <a:gd name="connsiteX69" fmla="*/ 165959 w 295888"/>
                <a:gd name="connsiteY69" fmla="*/ 130028 h 240692"/>
                <a:gd name="connsiteX70" fmla="*/ 151681 w 295888"/>
                <a:gd name="connsiteY70" fmla="*/ 126223 h 240692"/>
                <a:gd name="connsiteX71" fmla="*/ 135500 w 295888"/>
                <a:gd name="connsiteY71" fmla="*/ 117660 h 240692"/>
                <a:gd name="connsiteX72" fmla="*/ 120270 w 295888"/>
                <a:gd name="connsiteY72" fmla="*/ 113854 h 240692"/>
                <a:gd name="connsiteX73" fmla="*/ 103137 w 295888"/>
                <a:gd name="connsiteY73" fmla="*/ 111951 h 240692"/>
                <a:gd name="connsiteX74" fmla="*/ 97425 w 295888"/>
                <a:gd name="connsiteY74" fmla="*/ 98631 h 240692"/>
                <a:gd name="connsiteX75" fmla="*/ 87907 w 295888"/>
                <a:gd name="connsiteY75" fmla="*/ 97680 h 240692"/>
                <a:gd name="connsiteX76" fmla="*/ 80292 w 295888"/>
                <a:gd name="connsiteY76" fmla="*/ 94826 h 240692"/>
                <a:gd name="connsiteX77" fmla="*/ 73629 w 295888"/>
                <a:gd name="connsiteY77" fmla="*/ 88166 h 240692"/>
                <a:gd name="connsiteX78" fmla="*/ 70773 w 295888"/>
                <a:gd name="connsiteY78" fmla="*/ 85311 h 240692"/>
                <a:gd name="connsiteX79" fmla="*/ 66966 w 295888"/>
                <a:gd name="connsiteY79" fmla="*/ 96728 h 240692"/>
                <a:gd name="connsiteX80" fmla="*/ 60303 w 295888"/>
                <a:gd name="connsiteY80" fmla="*/ 103388 h 240692"/>
                <a:gd name="connsiteX81" fmla="*/ 50784 w 295888"/>
                <a:gd name="connsiteY81" fmla="*/ 96728 h 240692"/>
                <a:gd name="connsiteX82" fmla="*/ 51736 w 295888"/>
                <a:gd name="connsiteY82" fmla="*/ 86263 h 240692"/>
                <a:gd name="connsiteX83" fmla="*/ 47929 w 295888"/>
                <a:gd name="connsiteY83" fmla="*/ 77700 h 240692"/>
                <a:gd name="connsiteX84" fmla="*/ 36507 w 295888"/>
                <a:gd name="connsiteY84" fmla="*/ 72943 h 240692"/>
                <a:gd name="connsiteX85" fmla="*/ 35555 w 295888"/>
                <a:gd name="connsiteY85" fmla="*/ 66283 h 240692"/>
                <a:gd name="connsiteX86" fmla="*/ 45073 w 295888"/>
                <a:gd name="connsiteY86" fmla="*/ 67234 h 240692"/>
                <a:gd name="connsiteX87" fmla="*/ 52688 w 295888"/>
                <a:gd name="connsiteY87" fmla="*/ 62477 h 240692"/>
                <a:gd name="connsiteX88" fmla="*/ 60303 w 295888"/>
                <a:gd name="connsiteY88" fmla="*/ 58671 h 240692"/>
                <a:gd name="connsiteX89" fmla="*/ 73629 w 295888"/>
                <a:gd name="connsiteY89" fmla="*/ 59623 h 240692"/>
                <a:gd name="connsiteX90" fmla="*/ 78388 w 295888"/>
                <a:gd name="connsiteY90" fmla="*/ 55817 h 240692"/>
                <a:gd name="connsiteX91" fmla="*/ 77436 w 295888"/>
                <a:gd name="connsiteY91" fmla="*/ 51060 h 240692"/>
                <a:gd name="connsiteX92" fmla="*/ 62207 w 295888"/>
                <a:gd name="connsiteY92" fmla="*/ 53914 h 240692"/>
                <a:gd name="connsiteX93" fmla="*/ 48881 w 295888"/>
                <a:gd name="connsiteY93" fmla="*/ 52963 h 240692"/>
                <a:gd name="connsiteX94" fmla="*/ 38410 w 295888"/>
                <a:gd name="connsiteY94" fmla="*/ 52011 h 240692"/>
                <a:gd name="connsiteX95" fmla="*/ 32699 w 295888"/>
                <a:gd name="connsiteY95" fmla="*/ 43448 h 240692"/>
                <a:gd name="connsiteX96" fmla="*/ 33651 w 295888"/>
                <a:gd name="connsiteY96" fmla="*/ 35837 h 240692"/>
                <a:gd name="connsiteX97" fmla="*/ 23181 w 295888"/>
                <a:gd name="connsiteY97" fmla="*/ 32031 h 240692"/>
                <a:gd name="connsiteX98" fmla="*/ 14614 w 295888"/>
                <a:gd name="connsiteY98" fmla="*/ 31080 h 240692"/>
                <a:gd name="connsiteX99" fmla="*/ 6047 w 295888"/>
                <a:gd name="connsiteY99" fmla="*/ 25371 h 240692"/>
                <a:gd name="connsiteX100" fmla="*/ 336 w 295888"/>
                <a:gd name="connsiteY100" fmla="*/ 16808 h 240692"/>
                <a:gd name="connsiteX101" fmla="*/ 7951 w 295888"/>
                <a:gd name="connsiteY101" fmla="*/ 15857 h 240692"/>
                <a:gd name="connsiteX102" fmla="*/ 14614 w 295888"/>
                <a:gd name="connsiteY102" fmla="*/ 20614 h 240692"/>
                <a:gd name="connsiteX103" fmla="*/ 20325 w 295888"/>
                <a:gd name="connsiteY103" fmla="*/ 13954 h 240692"/>
                <a:gd name="connsiteX104" fmla="*/ 27940 w 295888"/>
                <a:gd name="connsiteY104" fmla="*/ 9197 h 240692"/>
                <a:gd name="connsiteX105" fmla="*/ 42218 w 295888"/>
                <a:gd name="connsiteY105" fmla="*/ 2537 h 240692"/>
                <a:gd name="connsiteX106" fmla="*/ 50190 w 295888"/>
                <a:gd name="connsiteY106" fmla="*/ 396 h 24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295888" h="240692">
                  <a:moveTo>
                    <a:pt x="50190" y="396"/>
                  </a:moveTo>
                  <a:cubicBezTo>
                    <a:pt x="51498" y="1110"/>
                    <a:pt x="52212" y="2537"/>
                    <a:pt x="54592" y="2537"/>
                  </a:cubicBezTo>
                  <a:cubicBezTo>
                    <a:pt x="60303" y="2537"/>
                    <a:pt x="60303" y="8245"/>
                    <a:pt x="63159" y="10148"/>
                  </a:cubicBezTo>
                  <a:cubicBezTo>
                    <a:pt x="65062" y="11100"/>
                    <a:pt x="68870" y="12051"/>
                    <a:pt x="71725" y="12051"/>
                  </a:cubicBezTo>
                  <a:cubicBezTo>
                    <a:pt x="74581" y="12051"/>
                    <a:pt x="77436" y="13954"/>
                    <a:pt x="82196" y="14905"/>
                  </a:cubicBezTo>
                  <a:cubicBezTo>
                    <a:pt x="86955" y="14905"/>
                    <a:pt x="86003" y="17760"/>
                    <a:pt x="86003" y="19662"/>
                  </a:cubicBezTo>
                  <a:cubicBezTo>
                    <a:pt x="86003" y="21565"/>
                    <a:pt x="86955" y="23468"/>
                    <a:pt x="86955" y="29177"/>
                  </a:cubicBezTo>
                  <a:cubicBezTo>
                    <a:pt x="87907" y="33934"/>
                    <a:pt x="86003" y="34885"/>
                    <a:pt x="86003" y="41545"/>
                  </a:cubicBezTo>
                  <a:cubicBezTo>
                    <a:pt x="86003" y="49157"/>
                    <a:pt x="86003" y="46303"/>
                    <a:pt x="86003" y="51060"/>
                  </a:cubicBezTo>
                  <a:cubicBezTo>
                    <a:pt x="86003" y="56768"/>
                    <a:pt x="86003" y="57720"/>
                    <a:pt x="87907" y="63428"/>
                  </a:cubicBezTo>
                  <a:cubicBezTo>
                    <a:pt x="88859" y="69137"/>
                    <a:pt x="92666" y="61525"/>
                    <a:pt x="94570" y="59623"/>
                  </a:cubicBezTo>
                  <a:cubicBezTo>
                    <a:pt x="95522" y="57720"/>
                    <a:pt x="97425" y="64380"/>
                    <a:pt x="97425" y="68185"/>
                  </a:cubicBezTo>
                  <a:cubicBezTo>
                    <a:pt x="97425" y="71991"/>
                    <a:pt x="98377" y="73894"/>
                    <a:pt x="103137" y="80554"/>
                  </a:cubicBezTo>
                  <a:cubicBezTo>
                    <a:pt x="106944" y="86263"/>
                    <a:pt x="105992" y="81505"/>
                    <a:pt x="111703" y="82457"/>
                  </a:cubicBezTo>
                  <a:cubicBezTo>
                    <a:pt x="117414" y="84360"/>
                    <a:pt x="113607" y="82457"/>
                    <a:pt x="115511" y="81505"/>
                  </a:cubicBezTo>
                  <a:cubicBezTo>
                    <a:pt x="118366" y="79603"/>
                    <a:pt x="121222" y="74845"/>
                    <a:pt x="125029" y="70088"/>
                  </a:cubicBezTo>
                  <a:cubicBezTo>
                    <a:pt x="128837" y="65331"/>
                    <a:pt x="127885" y="67234"/>
                    <a:pt x="130740" y="62477"/>
                  </a:cubicBezTo>
                  <a:cubicBezTo>
                    <a:pt x="133596" y="58671"/>
                    <a:pt x="134548" y="58671"/>
                    <a:pt x="135500" y="53914"/>
                  </a:cubicBezTo>
                  <a:cubicBezTo>
                    <a:pt x="136452" y="50108"/>
                    <a:pt x="138355" y="52011"/>
                    <a:pt x="143115" y="50108"/>
                  </a:cubicBezTo>
                  <a:cubicBezTo>
                    <a:pt x="146922" y="49157"/>
                    <a:pt x="149778" y="49157"/>
                    <a:pt x="154537" y="47254"/>
                  </a:cubicBezTo>
                  <a:cubicBezTo>
                    <a:pt x="159296" y="46303"/>
                    <a:pt x="157392" y="45351"/>
                    <a:pt x="157392" y="39643"/>
                  </a:cubicBezTo>
                  <a:cubicBezTo>
                    <a:pt x="157392" y="33934"/>
                    <a:pt x="161200" y="36788"/>
                    <a:pt x="162152" y="34885"/>
                  </a:cubicBezTo>
                  <a:cubicBezTo>
                    <a:pt x="164055" y="32983"/>
                    <a:pt x="171670" y="32983"/>
                    <a:pt x="175478" y="32983"/>
                  </a:cubicBezTo>
                  <a:cubicBezTo>
                    <a:pt x="179285" y="32983"/>
                    <a:pt x="183093" y="35837"/>
                    <a:pt x="192611" y="39643"/>
                  </a:cubicBezTo>
                  <a:cubicBezTo>
                    <a:pt x="202130" y="43448"/>
                    <a:pt x="196419" y="42497"/>
                    <a:pt x="203082" y="46303"/>
                  </a:cubicBezTo>
                  <a:cubicBezTo>
                    <a:pt x="209745" y="49157"/>
                    <a:pt x="207841" y="48205"/>
                    <a:pt x="212600" y="52011"/>
                  </a:cubicBezTo>
                  <a:cubicBezTo>
                    <a:pt x="216408" y="56768"/>
                    <a:pt x="224974" y="53914"/>
                    <a:pt x="229734" y="53914"/>
                  </a:cubicBezTo>
                  <a:cubicBezTo>
                    <a:pt x="234493" y="53914"/>
                    <a:pt x="233541" y="55817"/>
                    <a:pt x="240204" y="58671"/>
                  </a:cubicBezTo>
                  <a:cubicBezTo>
                    <a:pt x="243536" y="60098"/>
                    <a:pt x="245439" y="60812"/>
                    <a:pt x="247343" y="61406"/>
                  </a:cubicBezTo>
                  <a:lnTo>
                    <a:pt x="247722" y="61513"/>
                  </a:lnTo>
                  <a:lnTo>
                    <a:pt x="248028" y="68699"/>
                  </a:lnTo>
                  <a:cubicBezTo>
                    <a:pt x="248148" y="71808"/>
                    <a:pt x="248148" y="74678"/>
                    <a:pt x="247671" y="75635"/>
                  </a:cubicBezTo>
                  <a:cubicBezTo>
                    <a:pt x="246719" y="78505"/>
                    <a:pt x="248624" y="93811"/>
                    <a:pt x="247671" y="102421"/>
                  </a:cubicBezTo>
                  <a:cubicBezTo>
                    <a:pt x="246719" y="110074"/>
                    <a:pt x="242909" y="129208"/>
                    <a:pt x="242909" y="135904"/>
                  </a:cubicBezTo>
                  <a:cubicBezTo>
                    <a:pt x="242909" y="142601"/>
                    <a:pt x="238146" y="163647"/>
                    <a:pt x="239099" y="172257"/>
                  </a:cubicBezTo>
                  <a:cubicBezTo>
                    <a:pt x="240051" y="180867"/>
                    <a:pt x="246719" y="182781"/>
                    <a:pt x="243861" y="189477"/>
                  </a:cubicBezTo>
                  <a:cubicBezTo>
                    <a:pt x="241004" y="196174"/>
                    <a:pt x="239099" y="199044"/>
                    <a:pt x="239099" y="208610"/>
                  </a:cubicBezTo>
                  <a:cubicBezTo>
                    <a:pt x="239099" y="217220"/>
                    <a:pt x="239099" y="233483"/>
                    <a:pt x="239099" y="233483"/>
                  </a:cubicBezTo>
                  <a:cubicBezTo>
                    <a:pt x="239099" y="233483"/>
                    <a:pt x="239099" y="233483"/>
                    <a:pt x="239099" y="237310"/>
                  </a:cubicBezTo>
                  <a:cubicBezTo>
                    <a:pt x="239099" y="237310"/>
                    <a:pt x="239099" y="237310"/>
                    <a:pt x="240051" y="237310"/>
                  </a:cubicBezTo>
                  <a:cubicBezTo>
                    <a:pt x="244814" y="237310"/>
                    <a:pt x="244814" y="236353"/>
                    <a:pt x="251481" y="237310"/>
                  </a:cubicBezTo>
                  <a:cubicBezTo>
                    <a:pt x="257196" y="237310"/>
                    <a:pt x="257196" y="235397"/>
                    <a:pt x="263864" y="237310"/>
                  </a:cubicBezTo>
                  <a:cubicBezTo>
                    <a:pt x="270531" y="239223"/>
                    <a:pt x="266721" y="238267"/>
                    <a:pt x="272436" y="239223"/>
                  </a:cubicBezTo>
                  <a:cubicBezTo>
                    <a:pt x="278151" y="241137"/>
                    <a:pt x="280056" y="241137"/>
                    <a:pt x="285771" y="237310"/>
                  </a:cubicBezTo>
                  <a:cubicBezTo>
                    <a:pt x="291486" y="233483"/>
                    <a:pt x="293391" y="234440"/>
                    <a:pt x="293391" y="227744"/>
                  </a:cubicBezTo>
                  <a:lnTo>
                    <a:pt x="295695" y="222655"/>
                  </a:lnTo>
                  <a:lnTo>
                    <a:pt x="295888" y="222793"/>
                  </a:lnTo>
                  <a:cubicBezTo>
                    <a:pt x="295174" y="223744"/>
                    <a:pt x="293508" y="225172"/>
                    <a:pt x="293508" y="228026"/>
                  </a:cubicBezTo>
                  <a:cubicBezTo>
                    <a:pt x="293508" y="234686"/>
                    <a:pt x="291604" y="233734"/>
                    <a:pt x="285893" y="237540"/>
                  </a:cubicBezTo>
                  <a:cubicBezTo>
                    <a:pt x="280182" y="241346"/>
                    <a:pt x="278278" y="241346"/>
                    <a:pt x="272567" y="239443"/>
                  </a:cubicBezTo>
                  <a:cubicBezTo>
                    <a:pt x="266856" y="238492"/>
                    <a:pt x="270664" y="239443"/>
                    <a:pt x="264001" y="237540"/>
                  </a:cubicBezTo>
                  <a:cubicBezTo>
                    <a:pt x="257338" y="235637"/>
                    <a:pt x="257338" y="237540"/>
                    <a:pt x="251626" y="237540"/>
                  </a:cubicBezTo>
                  <a:cubicBezTo>
                    <a:pt x="244963" y="236589"/>
                    <a:pt x="244963" y="237540"/>
                    <a:pt x="240204" y="237540"/>
                  </a:cubicBezTo>
                  <a:cubicBezTo>
                    <a:pt x="234493" y="237540"/>
                    <a:pt x="234493" y="236589"/>
                    <a:pt x="231637" y="232783"/>
                  </a:cubicBezTo>
                  <a:cubicBezTo>
                    <a:pt x="229734" y="228026"/>
                    <a:pt x="226878" y="228977"/>
                    <a:pt x="224023" y="224220"/>
                  </a:cubicBezTo>
                  <a:cubicBezTo>
                    <a:pt x="222119" y="218512"/>
                    <a:pt x="219263" y="219463"/>
                    <a:pt x="217360" y="217560"/>
                  </a:cubicBezTo>
                  <a:cubicBezTo>
                    <a:pt x="215456" y="214706"/>
                    <a:pt x="214504" y="213754"/>
                    <a:pt x="211648" y="210900"/>
                  </a:cubicBezTo>
                  <a:cubicBezTo>
                    <a:pt x="208793" y="208997"/>
                    <a:pt x="202130" y="211852"/>
                    <a:pt x="198322" y="210900"/>
                  </a:cubicBezTo>
                  <a:cubicBezTo>
                    <a:pt x="195467" y="209949"/>
                    <a:pt x="192611" y="207094"/>
                    <a:pt x="183093" y="213754"/>
                  </a:cubicBezTo>
                  <a:cubicBezTo>
                    <a:pt x="173574" y="220414"/>
                    <a:pt x="175478" y="218512"/>
                    <a:pt x="170718" y="219463"/>
                  </a:cubicBezTo>
                  <a:cubicBezTo>
                    <a:pt x="165959" y="220414"/>
                    <a:pt x="161200" y="221366"/>
                    <a:pt x="159296" y="212803"/>
                  </a:cubicBezTo>
                  <a:cubicBezTo>
                    <a:pt x="157392" y="204240"/>
                    <a:pt x="163104" y="208046"/>
                    <a:pt x="165007" y="201386"/>
                  </a:cubicBezTo>
                  <a:cubicBezTo>
                    <a:pt x="167863" y="194726"/>
                    <a:pt x="171670" y="195677"/>
                    <a:pt x="175478" y="192823"/>
                  </a:cubicBezTo>
                  <a:cubicBezTo>
                    <a:pt x="179285" y="189969"/>
                    <a:pt x="184996" y="190920"/>
                    <a:pt x="188804" y="188066"/>
                  </a:cubicBezTo>
                  <a:cubicBezTo>
                    <a:pt x="192611" y="186163"/>
                    <a:pt x="190708" y="186163"/>
                    <a:pt x="188804" y="183309"/>
                  </a:cubicBezTo>
                  <a:cubicBezTo>
                    <a:pt x="187852" y="181406"/>
                    <a:pt x="186900" y="178551"/>
                    <a:pt x="186900" y="177600"/>
                  </a:cubicBezTo>
                  <a:cubicBezTo>
                    <a:pt x="186900" y="175697"/>
                    <a:pt x="187852" y="172843"/>
                    <a:pt x="184996" y="169989"/>
                  </a:cubicBezTo>
                  <a:cubicBezTo>
                    <a:pt x="182141" y="166183"/>
                    <a:pt x="182141" y="165231"/>
                    <a:pt x="179285" y="157620"/>
                  </a:cubicBezTo>
                  <a:cubicBezTo>
                    <a:pt x="176430" y="149057"/>
                    <a:pt x="177381" y="147154"/>
                    <a:pt x="177381" y="147154"/>
                  </a:cubicBezTo>
                  <a:cubicBezTo>
                    <a:pt x="177381" y="147154"/>
                    <a:pt x="167863" y="133834"/>
                    <a:pt x="165959" y="130028"/>
                  </a:cubicBezTo>
                  <a:cubicBezTo>
                    <a:pt x="164055" y="126223"/>
                    <a:pt x="161200" y="129077"/>
                    <a:pt x="151681" y="126223"/>
                  </a:cubicBezTo>
                  <a:cubicBezTo>
                    <a:pt x="142163" y="124320"/>
                    <a:pt x="139307" y="120514"/>
                    <a:pt x="135500" y="117660"/>
                  </a:cubicBezTo>
                  <a:cubicBezTo>
                    <a:pt x="131692" y="114806"/>
                    <a:pt x="127885" y="115757"/>
                    <a:pt x="120270" y="113854"/>
                  </a:cubicBezTo>
                  <a:cubicBezTo>
                    <a:pt x="112655" y="112903"/>
                    <a:pt x="116463" y="113854"/>
                    <a:pt x="103137" y="111951"/>
                  </a:cubicBezTo>
                  <a:cubicBezTo>
                    <a:pt x="89811" y="110048"/>
                    <a:pt x="97425" y="103388"/>
                    <a:pt x="97425" y="98631"/>
                  </a:cubicBezTo>
                  <a:cubicBezTo>
                    <a:pt x="97425" y="93874"/>
                    <a:pt x="94570" y="98631"/>
                    <a:pt x="87907" y="97680"/>
                  </a:cubicBezTo>
                  <a:cubicBezTo>
                    <a:pt x="81244" y="96728"/>
                    <a:pt x="85051" y="96728"/>
                    <a:pt x="80292" y="94826"/>
                  </a:cubicBezTo>
                  <a:cubicBezTo>
                    <a:pt x="74581" y="93874"/>
                    <a:pt x="74581" y="92923"/>
                    <a:pt x="73629" y="88166"/>
                  </a:cubicBezTo>
                  <a:cubicBezTo>
                    <a:pt x="73629" y="83408"/>
                    <a:pt x="73629" y="81505"/>
                    <a:pt x="70773" y="85311"/>
                  </a:cubicBezTo>
                  <a:cubicBezTo>
                    <a:pt x="68870" y="89117"/>
                    <a:pt x="68870" y="91971"/>
                    <a:pt x="66966" y="96728"/>
                  </a:cubicBezTo>
                  <a:cubicBezTo>
                    <a:pt x="65062" y="100534"/>
                    <a:pt x="66014" y="101486"/>
                    <a:pt x="60303" y="103388"/>
                  </a:cubicBezTo>
                  <a:cubicBezTo>
                    <a:pt x="55544" y="106243"/>
                    <a:pt x="52688" y="101486"/>
                    <a:pt x="50784" y="96728"/>
                  </a:cubicBezTo>
                  <a:cubicBezTo>
                    <a:pt x="48881" y="91971"/>
                    <a:pt x="50784" y="91020"/>
                    <a:pt x="51736" y="86263"/>
                  </a:cubicBezTo>
                  <a:cubicBezTo>
                    <a:pt x="52688" y="82457"/>
                    <a:pt x="48881" y="82457"/>
                    <a:pt x="47929" y="77700"/>
                  </a:cubicBezTo>
                  <a:cubicBezTo>
                    <a:pt x="47929" y="73894"/>
                    <a:pt x="40314" y="74845"/>
                    <a:pt x="36507" y="72943"/>
                  </a:cubicBezTo>
                  <a:cubicBezTo>
                    <a:pt x="32699" y="71991"/>
                    <a:pt x="34603" y="69137"/>
                    <a:pt x="35555" y="66283"/>
                  </a:cubicBezTo>
                  <a:cubicBezTo>
                    <a:pt x="36507" y="63428"/>
                    <a:pt x="41266" y="66283"/>
                    <a:pt x="45073" y="67234"/>
                  </a:cubicBezTo>
                  <a:cubicBezTo>
                    <a:pt x="49833" y="69137"/>
                    <a:pt x="51736" y="66283"/>
                    <a:pt x="52688" y="62477"/>
                  </a:cubicBezTo>
                  <a:cubicBezTo>
                    <a:pt x="53640" y="57720"/>
                    <a:pt x="55544" y="60574"/>
                    <a:pt x="60303" y="58671"/>
                  </a:cubicBezTo>
                  <a:cubicBezTo>
                    <a:pt x="66014" y="57720"/>
                    <a:pt x="66966" y="60574"/>
                    <a:pt x="73629" y="59623"/>
                  </a:cubicBezTo>
                  <a:cubicBezTo>
                    <a:pt x="80292" y="59623"/>
                    <a:pt x="76485" y="58671"/>
                    <a:pt x="78388" y="55817"/>
                  </a:cubicBezTo>
                  <a:cubicBezTo>
                    <a:pt x="80292" y="52011"/>
                    <a:pt x="78388" y="52011"/>
                    <a:pt x="77436" y="51060"/>
                  </a:cubicBezTo>
                  <a:cubicBezTo>
                    <a:pt x="75533" y="50108"/>
                    <a:pt x="67918" y="52963"/>
                    <a:pt x="62207" y="53914"/>
                  </a:cubicBezTo>
                  <a:cubicBezTo>
                    <a:pt x="56496" y="54865"/>
                    <a:pt x="57447" y="55817"/>
                    <a:pt x="48881" y="52963"/>
                  </a:cubicBezTo>
                  <a:cubicBezTo>
                    <a:pt x="39362" y="50108"/>
                    <a:pt x="46025" y="52963"/>
                    <a:pt x="38410" y="52011"/>
                  </a:cubicBezTo>
                  <a:cubicBezTo>
                    <a:pt x="31747" y="51060"/>
                    <a:pt x="34603" y="50108"/>
                    <a:pt x="32699" y="43448"/>
                  </a:cubicBezTo>
                  <a:cubicBezTo>
                    <a:pt x="31747" y="37740"/>
                    <a:pt x="33651" y="36788"/>
                    <a:pt x="33651" y="35837"/>
                  </a:cubicBezTo>
                  <a:cubicBezTo>
                    <a:pt x="33651" y="33934"/>
                    <a:pt x="26988" y="35837"/>
                    <a:pt x="23181" y="32031"/>
                  </a:cubicBezTo>
                  <a:cubicBezTo>
                    <a:pt x="19373" y="29177"/>
                    <a:pt x="20325" y="31080"/>
                    <a:pt x="14614" y="31080"/>
                  </a:cubicBezTo>
                  <a:cubicBezTo>
                    <a:pt x="8903" y="31080"/>
                    <a:pt x="8903" y="29177"/>
                    <a:pt x="6047" y="25371"/>
                  </a:cubicBezTo>
                  <a:cubicBezTo>
                    <a:pt x="2240" y="21565"/>
                    <a:pt x="2240" y="22517"/>
                    <a:pt x="336" y="16808"/>
                  </a:cubicBezTo>
                  <a:cubicBezTo>
                    <a:pt x="-1568" y="10148"/>
                    <a:pt x="5095" y="15857"/>
                    <a:pt x="7951" y="15857"/>
                  </a:cubicBezTo>
                  <a:cubicBezTo>
                    <a:pt x="11758" y="15857"/>
                    <a:pt x="10806" y="16808"/>
                    <a:pt x="14614" y="20614"/>
                  </a:cubicBezTo>
                  <a:cubicBezTo>
                    <a:pt x="18421" y="24420"/>
                    <a:pt x="17469" y="18711"/>
                    <a:pt x="20325" y="13954"/>
                  </a:cubicBezTo>
                  <a:cubicBezTo>
                    <a:pt x="23181" y="9197"/>
                    <a:pt x="25084" y="11100"/>
                    <a:pt x="27940" y="9197"/>
                  </a:cubicBezTo>
                  <a:cubicBezTo>
                    <a:pt x="30795" y="6342"/>
                    <a:pt x="33651" y="8245"/>
                    <a:pt x="42218" y="2537"/>
                  </a:cubicBezTo>
                  <a:cubicBezTo>
                    <a:pt x="46977" y="-318"/>
                    <a:pt x="48881" y="-318"/>
                    <a:pt x="50190" y="39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75" name="Freeform 1474">
              <a:extLst>
                <a:ext uri="{FF2B5EF4-FFF2-40B4-BE49-F238E27FC236}">
                  <a16:creationId xmlns:a16="http://schemas.microsoft.com/office/drawing/2014/main" id="{D1F0258F-3E6D-F443-806D-4722F3890FD9}"/>
                </a:ext>
              </a:extLst>
            </p:cNvPr>
            <p:cNvSpPr>
              <a:spLocks/>
            </p:cNvSpPr>
            <p:nvPr/>
          </p:nvSpPr>
          <p:spPr bwMode="auto">
            <a:xfrm>
              <a:off x="7385074" y="2735720"/>
              <a:ext cx="111562" cy="64104"/>
            </a:xfrm>
            <a:custGeom>
              <a:avLst/>
              <a:gdLst>
                <a:gd name="connsiteX0" fmla="*/ 0 w 111562"/>
                <a:gd name="connsiteY0" fmla="*/ 0 h 64104"/>
                <a:gd name="connsiteX1" fmla="*/ 6668 w 111562"/>
                <a:gd name="connsiteY1" fmla="*/ 1913 h 64104"/>
                <a:gd name="connsiteX2" fmla="*/ 21908 w 111562"/>
                <a:gd name="connsiteY2" fmla="*/ 9567 h 64104"/>
                <a:gd name="connsiteX3" fmla="*/ 32385 w 111562"/>
                <a:gd name="connsiteY3" fmla="*/ 15307 h 64104"/>
                <a:gd name="connsiteX4" fmla="*/ 49531 w 111562"/>
                <a:gd name="connsiteY4" fmla="*/ 21047 h 64104"/>
                <a:gd name="connsiteX5" fmla="*/ 59056 w 111562"/>
                <a:gd name="connsiteY5" fmla="*/ 25830 h 64104"/>
                <a:gd name="connsiteX6" fmla="*/ 70486 w 111562"/>
                <a:gd name="connsiteY6" fmla="*/ 33483 h 64104"/>
                <a:gd name="connsiteX7" fmla="*/ 89536 w 111562"/>
                <a:gd name="connsiteY7" fmla="*/ 44006 h 64104"/>
                <a:gd name="connsiteX8" fmla="*/ 101918 w 111562"/>
                <a:gd name="connsiteY8" fmla="*/ 49746 h 64104"/>
                <a:gd name="connsiteX9" fmla="*/ 109538 w 111562"/>
                <a:gd name="connsiteY9" fmla="*/ 57400 h 64104"/>
                <a:gd name="connsiteX10" fmla="*/ 111562 w 111562"/>
                <a:gd name="connsiteY10" fmla="*/ 63498 h 64104"/>
                <a:gd name="connsiteX11" fmla="*/ 111554 w 111562"/>
                <a:gd name="connsiteY11" fmla="*/ 64104 h 64104"/>
                <a:gd name="connsiteX12" fmla="*/ 109612 w 111562"/>
                <a:gd name="connsiteY12" fmla="*/ 58283 h 64104"/>
                <a:gd name="connsiteX13" fmla="*/ 101997 w 111562"/>
                <a:gd name="connsiteY13" fmla="*/ 50672 h 64104"/>
                <a:gd name="connsiteX14" fmla="*/ 89623 w 111562"/>
                <a:gd name="connsiteY14" fmla="*/ 44963 h 64104"/>
                <a:gd name="connsiteX15" fmla="*/ 70585 w 111562"/>
                <a:gd name="connsiteY15" fmla="*/ 34498 h 64104"/>
                <a:gd name="connsiteX16" fmla="*/ 59163 w 111562"/>
                <a:gd name="connsiteY16" fmla="*/ 26886 h 64104"/>
                <a:gd name="connsiteX17" fmla="*/ 49645 w 111562"/>
                <a:gd name="connsiteY17" fmla="*/ 22129 h 64104"/>
                <a:gd name="connsiteX18" fmla="*/ 32511 w 111562"/>
                <a:gd name="connsiteY18" fmla="*/ 16420 h 64104"/>
                <a:gd name="connsiteX19" fmla="*/ 22041 w 111562"/>
                <a:gd name="connsiteY19" fmla="*/ 10712 h 64104"/>
                <a:gd name="connsiteX20" fmla="*/ 6811 w 111562"/>
                <a:gd name="connsiteY20" fmla="*/ 3100 h 64104"/>
                <a:gd name="connsiteX21" fmla="*/ 51 w 111562"/>
                <a:gd name="connsiteY21" fmla="*/ 1185 h 64104"/>
                <a:gd name="connsiteX22" fmla="*/ 0 w 111562"/>
                <a:gd name="connsiteY22" fmla="*/ 0 h 6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1562" h="64104">
                  <a:moveTo>
                    <a:pt x="0" y="0"/>
                  </a:moveTo>
                  <a:cubicBezTo>
                    <a:pt x="1905" y="0"/>
                    <a:pt x="3810" y="957"/>
                    <a:pt x="6668" y="1913"/>
                  </a:cubicBezTo>
                  <a:cubicBezTo>
                    <a:pt x="12383" y="3827"/>
                    <a:pt x="10478" y="3827"/>
                    <a:pt x="21908" y="9567"/>
                  </a:cubicBezTo>
                  <a:cubicBezTo>
                    <a:pt x="33338" y="16263"/>
                    <a:pt x="25718" y="12437"/>
                    <a:pt x="32385" y="15307"/>
                  </a:cubicBezTo>
                  <a:cubicBezTo>
                    <a:pt x="39053" y="18177"/>
                    <a:pt x="40005" y="19133"/>
                    <a:pt x="49531" y="21047"/>
                  </a:cubicBezTo>
                  <a:cubicBezTo>
                    <a:pt x="59056" y="23917"/>
                    <a:pt x="53341" y="22960"/>
                    <a:pt x="59056" y="25830"/>
                  </a:cubicBezTo>
                  <a:cubicBezTo>
                    <a:pt x="65723" y="28700"/>
                    <a:pt x="67628" y="32527"/>
                    <a:pt x="70486" y="33483"/>
                  </a:cubicBezTo>
                  <a:cubicBezTo>
                    <a:pt x="74296" y="34440"/>
                    <a:pt x="83821" y="39223"/>
                    <a:pt x="89536" y="44006"/>
                  </a:cubicBezTo>
                  <a:cubicBezTo>
                    <a:pt x="95251" y="48790"/>
                    <a:pt x="93346" y="46876"/>
                    <a:pt x="101918" y="49746"/>
                  </a:cubicBezTo>
                  <a:cubicBezTo>
                    <a:pt x="110491" y="52616"/>
                    <a:pt x="108586" y="56443"/>
                    <a:pt x="109538" y="57400"/>
                  </a:cubicBezTo>
                  <a:cubicBezTo>
                    <a:pt x="109538" y="57878"/>
                    <a:pt x="110729" y="60509"/>
                    <a:pt x="111562" y="63498"/>
                  </a:cubicBezTo>
                  <a:lnTo>
                    <a:pt x="111554" y="64104"/>
                  </a:lnTo>
                  <a:lnTo>
                    <a:pt x="109612" y="58283"/>
                  </a:lnTo>
                  <a:cubicBezTo>
                    <a:pt x="108660" y="57332"/>
                    <a:pt x="110563" y="53526"/>
                    <a:pt x="101997" y="50672"/>
                  </a:cubicBezTo>
                  <a:cubicBezTo>
                    <a:pt x="93430" y="47818"/>
                    <a:pt x="95334" y="49720"/>
                    <a:pt x="89623" y="44963"/>
                  </a:cubicBezTo>
                  <a:cubicBezTo>
                    <a:pt x="83911" y="40206"/>
                    <a:pt x="74393" y="35449"/>
                    <a:pt x="70585" y="34498"/>
                  </a:cubicBezTo>
                  <a:cubicBezTo>
                    <a:pt x="67730" y="33546"/>
                    <a:pt x="65826" y="29740"/>
                    <a:pt x="59163" y="26886"/>
                  </a:cubicBezTo>
                  <a:cubicBezTo>
                    <a:pt x="53452" y="24032"/>
                    <a:pt x="59163" y="24983"/>
                    <a:pt x="49645" y="22129"/>
                  </a:cubicBezTo>
                  <a:cubicBezTo>
                    <a:pt x="40126" y="20226"/>
                    <a:pt x="39174" y="19275"/>
                    <a:pt x="32511" y="16420"/>
                  </a:cubicBezTo>
                  <a:cubicBezTo>
                    <a:pt x="25848" y="13566"/>
                    <a:pt x="33463" y="17372"/>
                    <a:pt x="22041" y="10712"/>
                  </a:cubicBezTo>
                  <a:cubicBezTo>
                    <a:pt x="10618" y="5003"/>
                    <a:pt x="12522" y="5003"/>
                    <a:pt x="6811" y="3100"/>
                  </a:cubicBezTo>
                  <a:lnTo>
                    <a:pt x="51" y="1185"/>
                  </a:lnTo>
                  <a:lnTo>
                    <a:pt x="0"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76" name="Freeform 1475">
              <a:extLst>
                <a:ext uri="{FF2B5EF4-FFF2-40B4-BE49-F238E27FC236}">
                  <a16:creationId xmlns:a16="http://schemas.microsoft.com/office/drawing/2014/main" id="{C559935A-1A74-C84E-A05E-19C5ACFDD1C8}"/>
                </a:ext>
              </a:extLst>
            </p:cNvPr>
            <p:cNvSpPr>
              <a:spLocks/>
            </p:cNvSpPr>
            <p:nvPr/>
          </p:nvSpPr>
          <p:spPr bwMode="auto">
            <a:xfrm>
              <a:off x="7494237" y="2799824"/>
              <a:ext cx="3264" cy="12555"/>
            </a:xfrm>
            <a:custGeom>
              <a:avLst/>
              <a:gdLst>
                <a:gd name="connsiteX0" fmla="*/ 2391 w 3264"/>
                <a:gd name="connsiteY0" fmla="*/ 0 h 12555"/>
                <a:gd name="connsiteX1" fmla="*/ 2472 w 3264"/>
                <a:gd name="connsiteY1" fmla="*/ 245 h 12555"/>
                <a:gd name="connsiteX2" fmla="*/ 2352 w 3264"/>
                <a:gd name="connsiteY2" fmla="*/ 8451 h 12555"/>
                <a:gd name="connsiteX3" fmla="*/ 1531 w 3264"/>
                <a:gd name="connsiteY3" fmla="*/ 12555 h 12555"/>
                <a:gd name="connsiteX4" fmla="*/ 1328 w 3264"/>
                <a:gd name="connsiteY4" fmla="*/ 12429 h 12555"/>
                <a:gd name="connsiteX5" fmla="*/ 2280 w 3264"/>
                <a:gd name="connsiteY5" fmla="*/ 7646 h 12555"/>
                <a:gd name="connsiteX6" fmla="*/ 2391 w 3264"/>
                <a:gd name="connsiteY6" fmla="*/ 0 h 12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4" h="12555">
                  <a:moveTo>
                    <a:pt x="2391" y="0"/>
                  </a:moveTo>
                  <a:lnTo>
                    <a:pt x="2472" y="245"/>
                  </a:lnTo>
                  <a:cubicBezTo>
                    <a:pt x="3304" y="3218"/>
                    <a:pt x="3780" y="6548"/>
                    <a:pt x="2352" y="8451"/>
                  </a:cubicBezTo>
                  <a:lnTo>
                    <a:pt x="1531" y="12555"/>
                  </a:lnTo>
                  <a:lnTo>
                    <a:pt x="1328" y="12429"/>
                  </a:lnTo>
                  <a:cubicBezTo>
                    <a:pt x="-577" y="10516"/>
                    <a:pt x="-577" y="11472"/>
                    <a:pt x="2280" y="7646"/>
                  </a:cubicBezTo>
                  <a:lnTo>
                    <a:pt x="2391"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77" name="Freeform 1476">
              <a:extLst>
                <a:ext uri="{FF2B5EF4-FFF2-40B4-BE49-F238E27FC236}">
                  <a16:creationId xmlns:a16="http://schemas.microsoft.com/office/drawing/2014/main" id="{506677AC-0206-8F46-AAD1-A8A0B6641110}"/>
                </a:ext>
              </a:extLst>
            </p:cNvPr>
            <p:cNvSpPr>
              <a:spLocks/>
            </p:cNvSpPr>
            <p:nvPr/>
          </p:nvSpPr>
          <p:spPr bwMode="auto">
            <a:xfrm>
              <a:off x="7495637" y="2812379"/>
              <a:ext cx="49458" cy="29642"/>
            </a:xfrm>
            <a:custGeom>
              <a:avLst/>
              <a:gdLst>
                <a:gd name="connsiteX0" fmla="*/ 131 w 49458"/>
                <a:gd name="connsiteY0" fmla="*/ 0 h 29642"/>
                <a:gd name="connsiteX1" fmla="*/ 3976 w 49458"/>
                <a:gd name="connsiteY1" fmla="*/ 2385 h 29642"/>
                <a:gd name="connsiteX2" fmla="*/ 15168 w 49458"/>
                <a:gd name="connsiteY2" fmla="*/ 5614 h 29642"/>
                <a:gd name="connsiteX3" fmla="*/ 23740 w 49458"/>
                <a:gd name="connsiteY3" fmla="*/ 10397 h 29642"/>
                <a:gd name="connsiteX4" fmla="*/ 33265 w 49458"/>
                <a:gd name="connsiteY4" fmla="*/ 14224 h 29642"/>
                <a:gd name="connsiteX5" fmla="*/ 45648 w 49458"/>
                <a:gd name="connsiteY5" fmla="*/ 19964 h 29642"/>
                <a:gd name="connsiteX6" fmla="*/ 49458 w 49458"/>
                <a:gd name="connsiteY6" fmla="*/ 29530 h 29642"/>
                <a:gd name="connsiteX7" fmla="*/ 49295 w 49458"/>
                <a:gd name="connsiteY7" fmla="*/ 29642 h 29642"/>
                <a:gd name="connsiteX8" fmla="*/ 45690 w 49458"/>
                <a:gd name="connsiteY8" fmla="*/ 20633 h 29642"/>
                <a:gd name="connsiteX9" fmla="*/ 33315 w 49458"/>
                <a:gd name="connsiteY9" fmla="*/ 14924 h 29642"/>
                <a:gd name="connsiteX10" fmla="*/ 23797 w 49458"/>
                <a:gd name="connsiteY10" fmla="*/ 11119 h 29642"/>
                <a:gd name="connsiteX11" fmla="*/ 15230 w 49458"/>
                <a:gd name="connsiteY11" fmla="*/ 6362 h 29642"/>
                <a:gd name="connsiteX12" fmla="*/ 0 w 49458"/>
                <a:gd name="connsiteY12" fmla="*/ 653 h 29642"/>
                <a:gd name="connsiteX13" fmla="*/ 131 w 49458"/>
                <a:gd name="connsiteY13" fmla="*/ 0 h 29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458" h="29642">
                  <a:moveTo>
                    <a:pt x="131" y="0"/>
                  </a:moveTo>
                  <a:lnTo>
                    <a:pt x="3976" y="2385"/>
                  </a:lnTo>
                  <a:cubicBezTo>
                    <a:pt x="6119" y="3222"/>
                    <a:pt x="9453" y="4179"/>
                    <a:pt x="15168" y="5614"/>
                  </a:cubicBezTo>
                  <a:cubicBezTo>
                    <a:pt x="25645" y="7527"/>
                    <a:pt x="19930" y="6570"/>
                    <a:pt x="23740" y="10397"/>
                  </a:cubicBezTo>
                  <a:cubicBezTo>
                    <a:pt x="27550" y="13267"/>
                    <a:pt x="29455" y="14224"/>
                    <a:pt x="33265" y="14224"/>
                  </a:cubicBezTo>
                  <a:cubicBezTo>
                    <a:pt x="36123" y="14224"/>
                    <a:pt x="42790" y="19007"/>
                    <a:pt x="45648" y="19964"/>
                  </a:cubicBezTo>
                  <a:cubicBezTo>
                    <a:pt x="48505" y="21877"/>
                    <a:pt x="48505" y="26660"/>
                    <a:pt x="49458" y="29530"/>
                  </a:cubicBezTo>
                  <a:lnTo>
                    <a:pt x="49295" y="29642"/>
                  </a:lnTo>
                  <a:lnTo>
                    <a:pt x="45690" y="20633"/>
                  </a:lnTo>
                  <a:cubicBezTo>
                    <a:pt x="42834" y="19682"/>
                    <a:pt x="36171" y="14924"/>
                    <a:pt x="33315" y="14924"/>
                  </a:cubicBezTo>
                  <a:cubicBezTo>
                    <a:pt x="29508" y="14924"/>
                    <a:pt x="27604" y="13973"/>
                    <a:pt x="23797" y="11119"/>
                  </a:cubicBezTo>
                  <a:cubicBezTo>
                    <a:pt x="19989" y="7313"/>
                    <a:pt x="25701" y="8264"/>
                    <a:pt x="15230" y="6362"/>
                  </a:cubicBezTo>
                  <a:cubicBezTo>
                    <a:pt x="3808" y="3507"/>
                    <a:pt x="1904" y="2556"/>
                    <a:pt x="0" y="653"/>
                  </a:cubicBezTo>
                  <a:lnTo>
                    <a:pt x="131"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78" name="Freeform 1477">
              <a:extLst>
                <a:ext uri="{FF2B5EF4-FFF2-40B4-BE49-F238E27FC236}">
                  <a16:creationId xmlns:a16="http://schemas.microsoft.com/office/drawing/2014/main" id="{5579A574-4732-954E-BB2F-2C2E7B53AA4A}"/>
                </a:ext>
              </a:extLst>
            </p:cNvPr>
            <p:cNvSpPr>
              <a:spLocks/>
            </p:cNvSpPr>
            <p:nvPr/>
          </p:nvSpPr>
          <p:spPr bwMode="auto">
            <a:xfrm>
              <a:off x="7519581" y="2842021"/>
              <a:ext cx="25553" cy="8209"/>
            </a:xfrm>
            <a:custGeom>
              <a:avLst/>
              <a:gdLst>
                <a:gd name="connsiteX0" fmla="*/ 25351 w 25553"/>
                <a:gd name="connsiteY0" fmla="*/ 0 h 8209"/>
                <a:gd name="connsiteX1" fmla="*/ 25553 w 25553"/>
                <a:gd name="connsiteY1" fmla="*/ 505 h 8209"/>
                <a:gd name="connsiteX2" fmla="*/ 5564 w 25553"/>
                <a:gd name="connsiteY2" fmla="*/ 7165 h 8209"/>
                <a:gd name="connsiteX3" fmla="*/ 230 w 25553"/>
                <a:gd name="connsiteY3" fmla="*/ 8209 h 8209"/>
                <a:gd name="connsiteX4" fmla="*/ 34 w 25553"/>
                <a:gd name="connsiteY4" fmla="*/ 7661 h 8209"/>
                <a:gd name="connsiteX5" fmla="*/ 5511 w 25553"/>
                <a:gd name="connsiteY5" fmla="*/ 6585 h 8209"/>
                <a:gd name="connsiteX6" fmla="*/ 19084 w 25553"/>
                <a:gd name="connsiteY6" fmla="*/ 4313 h 8209"/>
                <a:gd name="connsiteX7" fmla="*/ 25351 w 25553"/>
                <a:gd name="connsiteY7" fmla="*/ 0 h 8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53" h="8209">
                  <a:moveTo>
                    <a:pt x="25351" y="0"/>
                  </a:moveTo>
                  <a:lnTo>
                    <a:pt x="25553" y="505"/>
                  </a:lnTo>
                  <a:cubicBezTo>
                    <a:pt x="25553" y="3360"/>
                    <a:pt x="15083" y="7165"/>
                    <a:pt x="5564" y="7165"/>
                  </a:cubicBezTo>
                  <a:lnTo>
                    <a:pt x="230" y="8209"/>
                  </a:lnTo>
                  <a:lnTo>
                    <a:pt x="34" y="7661"/>
                  </a:lnTo>
                  <a:cubicBezTo>
                    <a:pt x="-204" y="6824"/>
                    <a:pt x="749" y="6585"/>
                    <a:pt x="5511" y="6585"/>
                  </a:cubicBezTo>
                  <a:cubicBezTo>
                    <a:pt x="10274" y="6585"/>
                    <a:pt x="15274" y="5628"/>
                    <a:pt x="19084" y="4313"/>
                  </a:cubicBezTo>
                  <a:lnTo>
                    <a:pt x="25351"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79" name="Freeform 1478">
              <a:extLst>
                <a:ext uri="{FF2B5EF4-FFF2-40B4-BE49-F238E27FC236}">
                  <a16:creationId xmlns:a16="http://schemas.microsoft.com/office/drawing/2014/main" id="{E167FA8B-3729-894D-AA1B-15742CF73668}"/>
                </a:ext>
              </a:extLst>
            </p:cNvPr>
            <p:cNvSpPr>
              <a:spLocks/>
            </p:cNvSpPr>
            <p:nvPr/>
          </p:nvSpPr>
          <p:spPr bwMode="auto">
            <a:xfrm>
              <a:off x="7519672" y="2850230"/>
              <a:ext cx="27360" cy="34153"/>
            </a:xfrm>
            <a:custGeom>
              <a:avLst/>
              <a:gdLst>
                <a:gd name="connsiteX0" fmla="*/ 139 w 27360"/>
                <a:gd name="connsiteY0" fmla="*/ 0 h 34153"/>
                <a:gd name="connsiteX1" fmla="*/ 1610 w 27360"/>
                <a:gd name="connsiteY1" fmla="*/ 4116 h 34153"/>
                <a:gd name="connsiteX2" fmla="*/ 7325 w 27360"/>
                <a:gd name="connsiteY2" fmla="*/ 13682 h 34153"/>
                <a:gd name="connsiteX3" fmla="*/ 10183 w 27360"/>
                <a:gd name="connsiteY3" fmla="*/ 20379 h 34153"/>
                <a:gd name="connsiteX4" fmla="*/ 23518 w 27360"/>
                <a:gd name="connsiteY4" fmla="*/ 29946 h 34153"/>
                <a:gd name="connsiteX5" fmla="*/ 27328 w 27360"/>
                <a:gd name="connsiteY5" fmla="*/ 33772 h 34153"/>
                <a:gd name="connsiteX6" fmla="*/ 27360 w 27360"/>
                <a:gd name="connsiteY6" fmla="*/ 34153 h 34153"/>
                <a:gd name="connsiteX7" fmla="*/ 23558 w 27360"/>
                <a:gd name="connsiteY7" fmla="*/ 30354 h 34153"/>
                <a:gd name="connsiteX8" fmla="*/ 10232 w 27360"/>
                <a:gd name="connsiteY8" fmla="*/ 20839 h 34153"/>
                <a:gd name="connsiteX9" fmla="*/ 7377 w 27360"/>
                <a:gd name="connsiteY9" fmla="*/ 14179 h 34153"/>
                <a:gd name="connsiteX10" fmla="*/ 1666 w 27360"/>
                <a:gd name="connsiteY10" fmla="*/ 4665 h 34153"/>
                <a:gd name="connsiteX11" fmla="*/ 0 w 27360"/>
                <a:gd name="connsiteY11" fmla="*/ 27 h 34153"/>
                <a:gd name="connsiteX12" fmla="*/ 139 w 27360"/>
                <a:gd name="connsiteY12" fmla="*/ 0 h 34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360" h="34153">
                  <a:moveTo>
                    <a:pt x="139" y="0"/>
                  </a:moveTo>
                  <a:lnTo>
                    <a:pt x="1610" y="4116"/>
                  </a:lnTo>
                  <a:cubicBezTo>
                    <a:pt x="1610" y="7943"/>
                    <a:pt x="4468" y="9856"/>
                    <a:pt x="7325" y="13682"/>
                  </a:cubicBezTo>
                  <a:cubicBezTo>
                    <a:pt x="9230" y="17509"/>
                    <a:pt x="10183" y="20379"/>
                    <a:pt x="10183" y="20379"/>
                  </a:cubicBezTo>
                  <a:cubicBezTo>
                    <a:pt x="12088" y="21336"/>
                    <a:pt x="18755" y="28989"/>
                    <a:pt x="23518" y="29946"/>
                  </a:cubicBezTo>
                  <a:cubicBezTo>
                    <a:pt x="27328" y="30902"/>
                    <a:pt x="27328" y="31859"/>
                    <a:pt x="27328" y="33772"/>
                  </a:cubicBezTo>
                  <a:lnTo>
                    <a:pt x="27360" y="34153"/>
                  </a:lnTo>
                  <a:lnTo>
                    <a:pt x="23558" y="30354"/>
                  </a:lnTo>
                  <a:cubicBezTo>
                    <a:pt x="18799" y="29402"/>
                    <a:pt x="12136" y="21791"/>
                    <a:pt x="10232" y="20839"/>
                  </a:cubicBezTo>
                  <a:cubicBezTo>
                    <a:pt x="10232" y="20839"/>
                    <a:pt x="9280" y="17985"/>
                    <a:pt x="7377" y="14179"/>
                  </a:cubicBezTo>
                  <a:cubicBezTo>
                    <a:pt x="4521" y="10373"/>
                    <a:pt x="1666" y="8471"/>
                    <a:pt x="1666" y="4665"/>
                  </a:cubicBezTo>
                  <a:cubicBezTo>
                    <a:pt x="1666" y="2287"/>
                    <a:pt x="238" y="859"/>
                    <a:pt x="0" y="27"/>
                  </a:cubicBezTo>
                  <a:lnTo>
                    <a:pt x="139"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80" name="Freeform 1479">
              <a:extLst>
                <a:ext uri="{FF2B5EF4-FFF2-40B4-BE49-F238E27FC236}">
                  <a16:creationId xmlns:a16="http://schemas.microsoft.com/office/drawing/2014/main" id="{84063358-909E-5745-97CC-DE9FE6FA8FBA}"/>
                </a:ext>
              </a:extLst>
            </p:cNvPr>
            <p:cNvSpPr>
              <a:spLocks/>
            </p:cNvSpPr>
            <p:nvPr/>
          </p:nvSpPr>
          <p:spPr bwMode="auto">
            <a:xfrm>
              <a:off x="7419886" y="2869965"/>
              <a:ext cx="181527" cy="83778"/>
            </a:xfrm>
            <a:custGeom>
              <a:avLst/>
              <a:gdLst>
                <a:gd name="connsiteX0" fmla="*/ 41984 w 181527"/>
                <a:gd name="connsiteY0" fmla="*/ 525 h 83778"/>
                <a:gd name="connsiteX1" fmla="*/ 45199 w 181527"/>
                <a:gd name="connsiteY1" fmla="*/ 644 h 83778"/>
                <a:gd name="connsiteX2" fmla="*/ 53771 w 181527"/>
                <a:gd name="connsiteY2" fmla="*/ 9254 h 83778"/>
                <a:gd name="connsiteX3" fmla="*/ 67106 w 181527"/>
                <a:gd name="connsiteY3" fmla="*/ 8297 h 83778"/>
                <a:gd name="connsiteX4" fmla="*/ 77584 w 181527"/>
                <a:gd name="connsiteY4" fmla="*/ 14037 h 83778"/>
                <a:gd name="connsiteX5" fmla="*/ 84251 w 181527"/>
                <a:gd name="connsiteY5" fmla="*/ 24561 h 83778"/>
                <a:gd name="connsiteX6" fmla="*/ 88061 w 181527"/>
                <a:gd name="connsiteY6" fmla="*/ 35084 h 83778"/>
                <a:gd name="connsiteX7" fmla="*/ 95681 w 181527"/>
                <a:gd name="connsiteY7" fmla="*/ 44650 h 83778"/>
                <a:gd name="connsiteX8" fmla="*/ 99491 w 181527"/>
                <a:gd name="connsiteY8" fmla="*/ 52304 h 83778"/>
                <a:gd name="connsiteX9" fmla="*/ 105206 w 181527"/>
                <a:gd name="connsiteY9" fmla="*/ 61870 h 83778"/>
                <a:gd name="connsiteX10" fmla="*/ 112826 w 181527"/>
                <a:gd name="connsiteY10" fmla="*/ 68567 h 83778"/>
                <a:gd name="connsiteX11" fmla="*/ 122351 w 181527"/>
                <a:gd name="connsiteY11" fmla="*/ 68567 h 83778"/>
                <a:gd name="connsiteX12" fmla="*/ 129972 w 181527"/>
                <a:gd name="connsiteY12" fmla="*/ 69524 h 83778"/>
                <a:gd name="connsiteX13" fmla="*/ 141402 w 181527"/>
                <a:gd name="connsiteY13" fmla="*/ 71437 h 83778"/>
                <a:gd name="connsiteX14" fmla="*/ 155689 w 181527"/>
                <a:gd name="connsiteY14" fmla="*/ 76220 h 83778"/>
                <a:gd name="connsiteX15" fmla="*/ 164262 w 181527"/>
                <a:gd name="connsiteY15" fmla="*/ 81003 h 83778"/>
                <a:gd name="connsiteX16" fmla="*/ 171882 w 181527"/>
                <a:gd name="connsiteY16" fmla="*/ 82917 h 83778"/>
                <a:gd name="connsiteX17" fmla="*/ 180454 w 181527"/>
                <a:gd name="connsiteY17" fmla="*/ 79090 h 83778"/>
                <a:gd name="connsiteX18" fmla="*/ 181519 w 181527"/>
                <a:gd name="connsiteY18" fmla="*/ 74933 h 83778"/>
                <a:gd name="connsiteX19" fmla="*/ 181527 w 181527"/>
                <a:gd name="connsiteY19" fmla="*/ 74959 h 83778"/>
                <a:gd name="connsiteX20" fmla="*/ 180456 w 181527"/>
                <a:gd name="connsiteY20" fmla="*/ 79122 h 83778"/>
                <a:gd name="connsiteX21" fmla="*/ 171889 w 181527"/>
                <a:gd name="connsiteY21" fmla="*/ 82927 h 83778"/>
                <a:gd name="connsiteX22" fmla="*/ 164274 w 181527"/>
                <a:gd name="connsiteY22" fmla="*/ 81024 h 83778"/>
                <a:gd name="connsiteX23" fmla="*/ 155708 w 181527"/>
                <a:gd name="connsiteY23" fmla="*/ 76267 h 83778"/>
                <a:gd name="connsiteX24" fmla="*/ 141430 w 181527"/>
                <a:gd name="connsiteY24" fmla="*/ 71510 h 83778"/>
                <a:gd name="connsiteX25" fmla="*/ 130007 w 181527"/>
                <a:gd name="connsiteY25" fmla="*/ 69607 h 83778"/>
                <a:gd name="connsiteX26" fmla="*/ 122392 w 181527"/>
                <a:gd name="connsiteY26" fmla="*/ 68656 h 83778"/>
                <a:gd name="connsiteX27" fmla="*/ 112874 w 181527"/>
                <a:gd name="connsiteY27" fmla="*/ 68656 h 83778"/>
                <a:gd name="connsiteX28" fmla="*/ 105259 w 181527"/>
                <a:gd name="connsiteY28" fmla="*/ 61996 h 83778"/>
                <a:gd name="connsiteX29" fmla="*/ 99548 w 181527"/>
                <a:gd name="connsiteY29" fmla="*/ 52481 h 83778"/>
                <a:gd name="connsiteX30" fmla="*/ 95740 w 181527"/>
                <a:gd name="connsiteY30" fmla="*/ 44870 h 83778"/>
                <a:gd name="connsiteX31" fmla="*/ 88126 w 181527"/>
                <a:gd name="connsiteY31" fmla="*/ 35356 h 83778"/>
                <a:gd name="connsiteX32" fmla="*/ 84318 w 181527"/>
                <a:gd name="connsiteY32" fmla="*/ 24890 h 83778"/>
                <a:gd name="connsiteX33" fmla="*/ 77655 w 181527"/>
                <a:gd name="connsiteY33" fmla="*/ 14424 h 83778"/>
                <a:gd name="connsiteX34" fmla="*/ 67185 w 181527"/>
                <a:gd name="connsiteY34" fmla="*/ 8716 h 83778"/>
                <a:gd name="connsiteX35" fmla="*/ 53859 w 181527"/>
                <a:gd name="connsiteY35" fmla="*/ 9667 h 83778"/>
                <a:gd name="connsiteX36" fmla="*/ 45292 w 181527"/>
                <a:gd name="connsiteY36" fmla="*/ 1104 h 83778"/>
                <a:gd name="connsiteX37" fmla="*/ 36725 w 181527"/>
                <a:gd name="connsiteY37" fmla="*/ 3007 h 83778"/>
                <a:gd name="connsiteX38" fmla="*/ 29110 w 181527"/>
                <a:gd name="connsiteY38" fmla="*/ 4910 h 83778"/>
                <a:gd name="connsiteX39" fmla="*/ 22447 w 181527"/>
                <a:gd name="connsiteY39" fmla="*/ 12521 h 83778"/>
                <a:gd name="connsiteX40" fmla="*/ 16736 w 181527"/>
                <a:gd name="connsiteY40" fmla="*/ 16327 h 83778"/>
                <a:gd name="connsiteX41" fmla="*/ 4362 w 181527"/>
                <a:gd name="connsiteY41" fmla="*/ 19181 h 83778"/>
                <a:gd name="connsiteX42" fmla="*/ 1345 w 181527"/>
                <a:gd name="connsiteY42" fmla="*/ 22980 h 83778"/>
                <a:gd name="connsiteX43" fmla="*/ 1026 w 181527"/>
                <a:gd name="connsiteY43" fmla="*/ 22886 h 83778"/>
                <a:gd name="connsiteX44" fmla="*/ 4241 w 181527"/>
                <a:gd name="connsiteY44" fmla="*/ 18821 h 83778"/>
                <a:gd name="connsiteX45" fmla="*/ 16624 w 181527"/>
                <a:gd name="connsiteY45" fmla="*/ 15951 h 83778"/>
                <a:gd name="connsiteX46" fmla="*/ 22339 w 181527"/>
                <a:gd name="connsiteY46" fmla="*/ 12124 h 83778"/>
                <a:gd name="connsiteX47" fmla="*/ 29006 w 181527"/>
                <a:gd name="connsiteY47" fmla="*/ 4471 h 83778"/>
                <a:gd name="connsiteX48" fmla="*/ 36626 w 181527"/>
                <a:gd name="connsiteY48" fmla="*/ 2557 h 83778"/>
                <a:gd name="connsiteX49" fmla="*/ 41984 w 181527"/>
                <a:gd name="connsiteY49" fmla="*/ 525 h 8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81527" h="83778">
                  <a:moveTo>
                    <a:pt x="41984" y="525"/>
                  </a:moveTo>
                  <a:cubicBezTo>
                    <a:pt x="43056" y="-73"/>
                    <a:pt x="43770" y="-312"/>
                    <a:pt x="45199" y="644"/>
                  </a:cubicBezTo>
                  <a:cubicBezTo>
                    <a:pt x="48056" y="2557"/>
                    <a:pt x="53771" y="7341"/>
                    <a:pt x="53771" y="9254"/>
                  </a:cubicBezTo>
                  <a:cubicBezTo>
                    <a:pt x="53771" y="10211"/>
                    <a:pt x="62344" y="6384"/>
                    <a:pt x="67106" y="8297"/>
                  </a:cubicBezTo>
                  <a:cubicBezTo>
                    <a:pt x="71869" y="11167"/>
                    <a:pt x="76631" y="8297"/>
                    <a:pt x="77584" y="14037"/>
                  </a:cubicBezTo>
                  <a:cubicBezTo>
                    <a:pt x="78536" y="19777"/>
                    <a:pt x="84251" y="20734"/>
                    <a:pt x="84251" y="24561"/>
                  </a:cubicBezTo>
                  <a:cubicBezTo>
                    <a:pt x="84251" y="28387"/>
                    <a:pt x="85204" y="31257"/>
                    <a:pt x="88061" y="35084"/>
                  </a:cubicBezTo>
                  <a:cubicBezTo>
                    <a:pt x="89966" y="39867"/>
                    <a:pt x="93776" y="40824"/>
                    <a:pt x="95681" y="44650"/>
                  </a:cubicBezTo>
                  <a:cubicBezTo>
                    <a:pt x="97586" y="48477"/>
                    <a:pt x="96634" y="46564"/>
                    <a:pt x="99491" y="52304"/>
                  </a:cubicBezTo>
                  <a:cubicBezTo>
                    <a:pt x="101396" y="58044"/>
                    <a:pt x="105206" y="57087"/>
                    <a:pt x="105206" y="61870"/>
                  </a:cubicBezTo>
                  <a:cubicBezTo>
                    <a:pt x="106159" y="65697"/>
                    <a:pt x="108064" y="66654"/>
                    <a:pt x="112826" y="68567"/>
                  </a:cubicBezTo>
                  <a:cubicBezTo>
                    <a:pt x="117589" y="71437"/>
                    <a:pt x="119494" y="68567"/>
                    <a:pt x="122351" y="68567"/>
                  </a:cubicBezTo>
                  <a:cubicBezTo>
                    <a:pt x="124256" y="69524"/>
                    <a:pt x="126161" y="68567"/>
                    <a:pt x="129972" y="69524"/>
                  </a:cubicBezTo>
                  <a:cubicBezTo>
                    <a:pt x="134734" y="71437"/>
                    <a:pt x="139497" y="69524"/>
                    <a:pt x="141402" y="71437"/>
                  </a:cubicBezTo>
                  <a:cubicBezTo>
                    <a:pt x="143307" y="73350"/>
                    <a:pt x="151879" y="73350"/>
                    <a:pt x="155689" y="76220"/>
                  </a:cubicBezTo>
                  <a:cubicBezTo>
                    <a:pt x="159499" y="79090"/>
                    <a:pt x="162357" y="77177"/>
                    <a:pt x="164262" y="81003"/>
                  </a:cubicBezTo>
                  <a:cubicBezTo>
                    <a:pt x="165214" y="84830"/>
                    <a:pt x="167119" y="83873"/>
                    <a:pt x="171882" y="82917"/>
                  </a:cubicBezTo>
                  <a:cubicBezTo>
                    <a:pt x="177597" y="81960"/>
                    <a:pt x="180454" y="81003"/>
                    <a:pt x="180454" y="79090"/>
                  </a:cubicBezTo>
                  <a:lnTo>
                    <a:pt x="181519" y="74933"/>
                  </a:lnTo>
                  <a:lnTo>
                    <a:pt x="181527" y="74959"/>
                  </a:lnTo>
                  <a:cubicBezTo>
                    <a:pt x="180932" y="76506"/>
                    <a:pt x="179980" y="78171"/>
                    <a:pt x="180456" y="79122"/>
                  </a:cubicBezTo>
                  <a:cubicBezTo>
                    <a:pt x="180456" y="81024"/>
                    <a:pt x="177600" y="81976"/>
                    <a:pt x="171889" y="82927"/>
                  </a:cubicBezTo>
                  <a:cubicBezTo>
                    <a:pt x="167130" y="83879"/>
                    <a:pt x="165226" y="84830"/>
                    <a:pt x="164274" y="81024"/>
                  </a:cubicBezTo>
                  <a:cubicBezTo>
                    <a:pt x="162371" y="77219"/>
                    <a:pt x="159515" y="79122"/>
                    <a:pt x="155708" y="76267"/>
                  </a:cubicBezTo>
                  <a:cubicBezTo>
                    <a:pt x="151900" y="73413"/>
                    <a:pt x="143333" y="73413"/>
                    <a:pt x="141430" y="71510"/>
                  </a:cubicBezTo>
                  <a:cubicBezTo>
                    <a:pt x="139526" y="69607"/>
                    <a:pt x="134767" y="71510"/>
                    <a:pt x="130007" y="69607"/>
                  </a:cubicBezTo>
                  <a:cubicBezTo>
                    <a:pt x="126200" y="68656"/>
                    <a:pt x="124296" y="69607"/>
                    <a:pt x="122392" y="68656"/>
                  </a:cubicBezTo>
                  <a:cubicBezTo>
                    <a:pt x="119537" y="68656"/>
                    <a:pt x="117633" y="71510"/>
                    <a:pt x="112874" y="68656"/>
                  </a:cubicBezTo>
                  <a:cubicBezTo>
                    <a:pt x="108115" y="66753"/>
                    <a:pt x="106211" y="65802"/>
                    <a:pt x="105259" y="61996"/>
                  </a:cubicBezTo>
                  <a:cubicBezTo>
                    <a:pt x="105259" y="57239"/>
                    <a:pt x="101452" y="58190"/>
                    <a:pt x="99548" y="52481"/>
                  </a:cubicBezTo>
                  <a:cubicBezTo>
                    <a:pt x="96692" y="46773"/>
                    <a:pt x="97644" y="48676"/>
                    <a:pt x="95740" y="44870"/>
                  </a:cubicBezTo>
                  <a:cubicBezTo>
                    <a:pt x="93837" y="41064"/>
                    <a:pt x="90029" y="40113"/>
                    <a:pt x="88126" y="35356"/>
                  </a:cubicBezTo>
                  <a:cubicBezTo>
                    <a:pt x="85270" y="31550"/>
                    <a:pt x="84318" y="28696"/>
                    <a:pt x="84318" y="24890"/>
                  </a:cubicBezTo>
                  <a:cubicBezTo>
                    <a:pt x="84318" y="21084"/>
                    <a:pt x="78607" y="20133"/>
                    <a:pt x="77655" y="14424"/>
                  </a:cubicBezTo>
                  <a:cubicBezTo>
                    <a:pt x="76703" y="8716"/>
                    <a:pt x="71944" y="11570"/>
                    <a:pt x="67185" y="8716"/>
                  </a:cubicBezTo>
                  <a:cubicBezTo>
                    <a:pt x="62425" y="6813"/>
                    <a:pt x="53859" y="10619"/>
                    <a:pt x="53859" y="9667"/>
                  </a:cubicBezTo>
                  <a:cubicBezTo>
                    <a:pt x="53859" y="7764"/>
                    <a:pt x="48148" y="3007"/>
                    <a:pt x="45292" y="1104"/>
                  </a:cubicBezTo>
                  <a:cubicBezTo>
                    <a:pt x="42436" y="-799"/>
                    <a:pt x="42436" y="2056"/>
                    <a:pt x="36725" y="3007"/>
                  </a:cubicBezTo>
                  <a:cubicBezTo>
                    <a:pt x="31966" y="3958"/>
                    <a:pt x="32918" y="4910"/>
                    <a:pt x="29110" y="4910"/>
                  </a:cubicBezTo>
                  <a:cubicBezTo>
                    <a:pt x="26255" y="4910"/>
                    <a:pt x="28159" y="10619"/>
                    <a:pt x="22447" y="12521"/>
                  </a:cubicBezTo>
                  <a:cubicBezTo>
                    <a:pt x="17688" y="15376"/>
                    <a:pt x="21496" y="15376"/>
                    <a:pt x="16736" y="16327"/>
                  </a:cubicBezTo>
                  <a:cubicBezTo>
                    <a:pt x="11025" y="17279"/>
                    <a:pt x="12929" y="15376"/>
                    <a:pt x="4362" y="19181"/>
                  </a:cubicBezTo>
                  <a:lnTo>
                    <a:pt x="1345" y="22980"/>
                  </a:lnTo>
                  <a:lnTo>
                    <a:pt x="1026" y="22886"/>
                  </a:lnTo>
                  <a:cubicBezTo>
                    <a:pt x="-760" y="22169"/>
                    <a:pt x="-521" y="21213"/>
                    <a:pt x="4241" y="18821"/>
                  </a:cubicBezTo>
                  <a:cubicBezTo>
                    <a:pt x="12813" y="14994"/>
                    <a:pt x="10908" y="16907"/>
                    <a:pt x="16624" y="15951"/>
                  </a:cubicBezTo>
                  <a:cubicBezTo>
                    <a:pt x="21386" y="14994"/>
                    <a:pt x="17576" y="14994"/>
                    <a:pt x="22339" y="12124"/>
                  </a:cubicBezTo>
                  <a:cubicBezTo>
                    <a:pt x="28054" y="10211"/>
                    <a:pt x="26149" y="4471"/>
                    <a:pt x="29006" y="4471"/>
                  </a:cubicBezTo>
                  <a:cubicBezTo>
                    <a:pt x="32816" y="4471"/>
                    <a:pt x="31864" y="3514"/>
                    <a:pt x="36626" y="2557"/>
                  </a:cubicBezTo>
                  <a:cubicBezTo>
                    <a:pt x="39484" y="2079"/>
                    <a:pt x="40912" y="1123"/>
                    <a:pt x="41984" y="52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81" name="Freeform 1480">
              <a:extLst>
                <a:ext uri="{FF2B5EF4-FFF2-40B4-BE49-F238E27FC236}">
                  <a16:creationId xmlns:a16="http://schemas.microsoft.com/office/drawing/2014/main" id="{DB535DAC-3262-B849-A089-5EA090C25200}"/>
                </a:ext>
              </a:extLst>
            </p:cNvPr>
            <p:cNvSpPr>
              <a:spLocks/>
            </p:cNvSpPr>
            <p:nvPr/>
          </p:nvSpPr>
          <p:spPr bwMode="auto">
            <a:xfrm>
              <a:off x="7547032" y="2884383"/>
              <a:ext cx="934" cy="11128"/>
            </a:xfrm>
            <a:custGeom>
              <a:avLst/>
              <a:gdLst>
                <a:gd name="connsiteX0" fmla="*/ 0 w 934"/>
                <a:gd name="connsiteY0" fmla="*/ 0 h 11128"/>
                <a:gd name="connsiteX1" fmla="*/ 6 w 934"/>
                <a:gd name="connsiteY1" fmla="*/ 6 h 11128"/>
                <a:gd name="connsiteX2" fmla="*/ 934 w 934"/>
                <a:gd name="connsiteY2" fmla="*/ 11128 h 11128"/>
                <a:gd name="connsiteX3" fmla="*/ 920 w 934"/>
                <a:gd name="connsiteY3" fmla="*/ 11099 h 11128"/>
                <a:gd name="connsiteX4" fmla="*/ 0 w 934"/>
                <a:gd name="connsiteY4" fmla="*/ 0 h 11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 h="11128">
                  <a:moveTo>
                    <a:pt x="0" y="0"/>
                  </a:moveTo>
                  <a:lnTo>
                    <a:pt x="6" y="6"/>
                  </a:lnTo>
                  <a:lnTo>
                    <a:pt x="934" y="11128"/>
                  </a:lnTo>
                  <a:lnTo>
                    <a:pt x="920" y="11099"/>
                  </a:lnTo>
                  <a:lnTo>
                    <a:pt x="0"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82" name="Freeform 1481">
              <a:extLst>
                <a:ext uri="{FF2B5EF4-FFF2-40B4-BE49-F238E27FC236}">
                  <a16:creationId xmlns:a16="http://schemas.microsoft.com/office/drawing/2014/main" id="{37DCD981-44C3-2841-8B9B-A7A68927CE6D}"/>
                </a:ext>
              </a:extLst>
            </p:cNvPr>
            <p:cNvSpPr>
              <a:spLocks/>
            </p:cNvSpPr>
            <p:nvPr/>
          </p:nvSpPr>
          <p:spPr bwMode="auto">
            <a:xfrm>
              <a:off x="7421036" y="2892945"/>
              <a:ext cx="12458" cy="5102"/>
            </a:xfrm>
            <a:custGeom>
              <a:avLst/>
              <a:gdLst>
                <a:gd name="connsiteX0" fmla="*/ 195 w 12458"/>
                <a:gd name="connsiteY0" fmla="*/ 0 h 5102"/>
                <a:gd name="connsiteX1" fmla="*/ 8806 w 12458"/>
                <a:gd name="connsiteY1" fmla="*/ 2537 h 5102"/>
                <a:gd name="connsiteX2" fmla="*/ 12140 w 12458"/>
                <a:gd name="connsiteY2" fmla="*/ 4929 h 5102"/>
                <a:gd name="connsiteX3" fmla="*/ 12062 w 12458"/>
                <a:gd name="connsiteY3" fmla="*/ 5102 h 5102"/>
                <a:gd name="connsiteX4" fmla="*/ 8923 w 12458"/>
                <a:gd name="connsiteY4" fmla="*/ 2861 h 5102"/>
                <a:gd name="connsiteX5" fmla="*/ 0 w 12458"/>
                <a:gd name="connsiteY5" fmla="*/ 245 h 5102"/>
                <a:gd name="connsiteX6" fmla="*/ 195 w 12458"/>
                <a:gd name="connsiteY6" fmla="*/ 0 h 5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58" h="5102">
                  <a:moveTo>
                    <a:pt x="195" y="0"/>
                  </a:moveTo>
                  <a:lnTo>
                    <a:pt x="8806" y="2537"/>
                  </a:lnTo>
                  <a:cubicBezTo>
                    <a:pt x="12616" y="3494"/>
                    <a:pt x="12854" y="3973"/>
                    <a:pt x="12140" y="4929"/>
                  </a:cubicBezTo>
                  <a:lnTo>
                    <a:pt x="12062" y="5102"/>
                  </a:lnTo>
                  <a:lnTo>
                    <a:pt x="8923" y="2861"/>
                  </a:lnTo>
                  <a:cubicBezTo>
                    <a:pt x="5592" y="1434"/>
                    <a:pt x="1784" y="959"/>
                    <a:pt x="0" y="245"/>
                  </a:cubicBezTo>
                  <a:lnTo>
                    <a:pt x="195"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83" name="Freeform 1482">
              <a:extLst>
                <a:ext uri="{FF2B5EF4-FFF2-40B4-BE49-F238E27FC236}">
                  <a16:creationId xmlns:a16="http://schemas.microsoft.com/office/drawing/2014/main" id="{22883146-F884-4F49-B4D8-9157AC050FB1}"/>
                </a:ext>
              </a:extLst>
            </p:cNvPr>
            <p:cNvSpPr>
              <a:spLocks/>
            </p:cNvSpPr>
            <p:nvPr/>
          </p:nvSpPr>
          <p:spPr bwMode="auto">
            <a:xfrm>
              <a:off x="7547966" y="2895511"/>
              <a:ext cx="22847" cy="15005"/>
            </a:xfrm>
            <a:custGeom>
              <a:avLst/>
              <a:gdLst>
                <a:gd name="connsiteX0" fmla="*/ 0 w 22847"/>
                <a:gd name="connsiteY0" fmla="*/ 0 h 15005"/>
                <a:gd name="connsiteX1" fmla="*/ 5702 w 22847"/>
                <a:gd name="connsiteY1" fmla="*/ 12408 h 15005"/>
                <a:gd name="connsiteX2" fmla="*/ 13322 w 22847"/>
                <a:gd name="connsiteY2" fmla="*/ 12408 h 15005"/>
                <a:gd name="connsiteX3" fmla="*/ 22847 w 22847"/>
                <a:gd name="connsiteY3" fmla="*/ 14321 h 15005"/>
                <a:gd name="connsiteX4" fmla="*/ 22779 w 22847"/>
                <a:gd name="connsiteY4" fmla="*/ 14549 h 15005"/>
                <a:gd name="connsiteX5" fmla="*/ 13350 w 22847"/>
                <a:gd name="connsiteY5" fmla="*/ 12664 h 15005"/>
                <a:gd name="connsiteX6" fmla="*/ 5735 w 22847"/>
                <a:gd name="connsiteY6" fmla="*/ 12664 h 15005"/>
                <a:gd name="connsiteX7" fmla="*/ 24 w 22847"/>
                <a:gd name="connsiteY7" fmla="*/ 295 h 15005"/>
                <a:gd name="connsiteX8" fmla="*/ 0 w 22847"/>
                <a:gd name="connsiteY8" fmla="*/ 0 h 1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47" h="15005">
                  <a:moveTo>
                    <a:pt x="0" y="0"/>
                  </a:moveTo>
                  <a:lnTo>
                    <a:pt x="5702" y="12408"/>
                  </a:lnTo>
                  <a:cubicBezTo>
                    <a:pt x="7607" y="17191"/>
                    <a:pt x="9512" y="13364"/>
                    <a:pt x="13322" y="12408"/>
                  </a:cubicBezTo>
                  <a:cubicBezTo>
                    <a:pt x="17132" y="11451"/>
                    <a:pt x="21894" y="12408"/>
                    <a:pt x="22847" y="14321"/>
                  </a:cubicBezTo>
                  <a:lnTo>
                    <a:pt x="22779" y="14549"/>
                  </a:lnTo>
                  <a:lnTo>
                    <a:pt x="13350" y="12664"/>
                  </a:lnTo>
                  <a:cubicBezTo>
                    <a:pt x="9542" y="13615"/>
                    <a:pt x="7638" y="17421"/>
                    <a:pt x="5735" y="12664"/>
                  </a:cubicBezTo>
                  <a:cubicBezTo>
                    <a:pt x="3831" y="6955"/>
                    <a:pt x="2879" y="4101"/>
                    <a:pt x="24" y="295"/>
                  </a:cubicBezTo>
                  <a:lnTo>
                    <a:pt x="0"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84" name="Freeform 1483">
              <a:extLst>
                <a:ext uri="{FF2B5EF4-FFF2-40B4-BE49-F238E27FC236}">
                  <a16:creationId xmlns:a16="http://schemas.microsoft.com/office/drawing/2014/main" id="{EFE800AD-B487-5045-B773-DC434039C08E}"/>
                </a:ext>
              </a:extLst>
            </p:cNvPr>
            <p:cNvSpPr>
              <a:spLocks/>
            </p:cNvSpPr>
            <p:nvPr/>
          </p:nvSpPr>
          <p:spPr bwMode="auto">
            <a:xfrm>
              <a:off x="7567955" y="2910060"/>
              <a:ext cx="2879" cy="9366"/>
            </a:xfrm>
            <a:custGeom>
              <a:avLst/>
              <a:gdLst>
                <a:gd name="connsiteX0" fmla="*/ 2790 w 2879"/>
                <a:gd name="connsiteY0" fmla="*/ 0 h 9366"/>
                <a:gd name="connsiteX1" fmla="*/ 2879 w 2879"/>
                <a:gd name="connsiteY1" fmla="*/ 18 h 9366"/>
                <a:gd name="connsiteX2" fmla="*/ 74 w 2879"/>
                <a:gd name="connsiteY2" fmla="*/ 9366 h 9366"/>
                <a:gd name="connsiteX3" fmla="*/ 0 w 2879"/>
                <a:gd name="connsiteY3" fmla="*/ 9339 h 9366"/>
                <a:gd name="connsiteX4" fmla="*/ 2790 w 2879"/>
                <a:gd name="connsiteY4" fmla="*/ 0 h 9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9" h="9366">
                  <a:moveTo>
                    <a:pt x="2790" y="0"/>
                  </a:moveTo>
                  <a:lnTo>
                    <a:pt x="2879" y="18"/>
                  </a:lnTo>
                  <a:lnTo>
                    <a:pt x="74" y="9366"/>
                  </a:lnTo>
                  <a:lnTo>
                    <a:pt x="0" y="9339"/>
                  </a:lnTo>
                  <a:lnTo>
                    <a:pt x="2790"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85" name="Freeform 1484">
              <a:extLst>
                <a:ext uri="{FF2B5EF4-FFF2-40B4-BE49-F238E27FC236}">
                  <a16:creationId xmlns:a16="http://schemas.microsoft.com/office/drawing/2014/main" id="{D5C32641-1A56-164E-B9E6-A71005CE7447}"/>
                </a:ext>
              </a:extLst>
            </p:cNvPr>
            <p:cNvSpPr>
              <a:spLocks/>
            </p:cNvSpPr>
            <p:nvPr/>
          </p:nvSpPr>
          <p:spPr bwMode="auto">
            <a:xfrm>
              <a:off x="7567979" y="2919426"/>
              <a:ext cx="18074" cy="4910"/>
            </a:xfrm>
            <a:custGeom>
              <a:avLst/>
              <a:gdLst>
                <a:gd name="connsiteX0" fmla="*/ 50 w 18074"/>
                <a:gd name="connsiteY0" fmla="*/ 0 h 4910"/>
                <a:gd name="connsiteX1" fmla="*/ 10454 w 18074"/>
                <a:gd name="connsiteY1" fmla="*/ 3799 h 4910"/>
                <a:gd name="connsiteX2" fmla="*/ 18074 w 18074"/>
                <a:gd name="connsiteY2" fmla="*/ 4756 h 4910"/>
                <a:gd name="connsiteX3" fmla="*/ 17979 w 18074"/>
                <a:gd name="connsiteY3" fmla="*/ 4910 h 4910"/>
                <a:gd name="connsiteX4" fmla="*/ 10470 w 18074"/>
                <a:gd name="connsiteY4" fmla="*/ 3972 h 4910"/>
                <a:gd name="connsiteX5" fmla="*/ 0 w 18074"/>
                <a:gd name="connsiteY5" fmla="*/ 166 h 4910"/>
                <a:gd name="connsiteX6" fmla="*/ 50 w 18074"/>
                <a:gd name="connsiteY6" fmla="*/ 0 h 4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74" h="4910">
                  <a:moveTo>
                    <a:pt x="50" y="0"/>
                  </a:moveTo>
                  <a:lnTo>
                    <a:pt x="10454" y="3799"/>
                  </a:lnTo>
                  <a:cubicBezTo>
                    <a:pt x="16169" y="3799"/>
                    <a:pt x="17121" y="3799"/>
                    <a:pt x="18074" y="4756"/>
                  </a:cubicBezTo>
                  <a:lnTo>
                    <a:pt x="17979" y="4910"/>
                  </a:lnTo>
                  <a:lnTo>
                    <a:pt x="10470" y="3972"/>
                  </a:lnTo>
                  <a:cubicBezTo>
                    <a:pt x="4759" y="3972"/>
                    <a:pt x="0" y="3972"/>
                    <a:pt x="0" y="166"/>
                  </a:cubicBezTo>
                  <a:lnTo>
                    <a:pt x="50"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86" name="Freeform 1485">
              <a:extLst>
                <a:ext uri="{FF2B5EF4-FFF2-40B4-BE49-F238E27FC236}">
                  <a16:creationId xmlns:a16="http://schemas.microsoft.com/office/drawing/2014/main" id="{ED3A44D8-1272-0A48-9A82-FCA9BF239C30}"/>
                </a:ext>
              </a:extLst>
            </p:cNvPr>
            <p:cNvSpPr>
              <a:spLocks/>
            </p:cNvSpPr>
            <p:nvPr/>
          </p:nvSpPr>
          <p:spPr bwMode="auto">
            <a:xfrm>
              <a:off x="7579575" y="2924336"/>
              <a:ext cx="6675" cy="9798"/>
            </a:xfrm>
            <a:custGeom>
              <a:avLst/>
              <a:gdLst>
                <a:gd name="connsiteX0" fmla="*/ 6383 w 6675"/>
                <a:gd name="connsiteY0" fmla="*/ 0 h 9798"/>
                <a:gd name="connsiteX1" fmla="*/ 6489 w 6675"/>
                <a:gd name="connsiteY1" fmla="*/ 13 h 9798"/>
                <a:gd name="connsiteX2" fmla="*/ 1730 w 6675"/>
                <a:gd name="connsiteY2" fmla="*/ 7625 h 9798"/>
                <a:gd name="connsiteX3" fmla="*/ 929 w 6675"/>
                <a:gd name="connsiteY3" fmla="*/ 9798 h 9798"/>
                <a:gd name="connsiteX4" fmla="*/ 882 w 6675"/>
                <a:gd name="connsiteY4" fmla="*/ 9771 h 9798"/>
                <a:gd name="connsiteX5" fmla="*/ 1715 w 6675"/>
                <a:gd name="connsiteY5" fmla="*/ 7499 h 9798"/>
                <a:gd name="connsiteX6" fmla="*/ 6383 w 6675"/>
                <a:gd name="connsiteY6" fmla="*/ 0 h 9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75" h="9798">
                  <a:moveTo>
                    <a:pt x="6383" y="0"/>
                  </a:moveTo>
                  <a:lnTo>
                    <a:pt x="6489" y="13"/>
                  </a:lnTo>
                  <a:cubicBezTo>
                    <a:pt x="7441" y="1916"/>
                    <a:pt x="4585" y="3819"/>
                    <a:pt x="1730" y="7625"/>
                  </a:cubicBezTo>
                  <a:lnTo>
                    <a:pt x="929" y="9798"/>
                  </a:lnTo>
                  <a:lnTo>
                    <a:pt x="882" y="9771"/>
                  </a:lnTo>
                  <a:cubicBezTo>
                    <a:pt x="-190" y="8934"/>
                    <a:pt x="-666" y="7978"/>
                    <a:pt x="1715" y="7499"/>
                  </a:cubicBezTo>
                  <a:lnTo>
                    <a:pt x="6383"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87" name="Freeform 1486">
              <a:extLst>
                <a:ext uri="{FF2B5EF4-FFF2-40B4-BE49-F238E27FC236}">
                  <a16:creationId xmlns:a16="http://schemas.microsoft.com/office/drawing/2014/main" id="{09D46299-EDCA-F64B-99FF-4D05162F9D14}"/>
                </a:ext>
              </a:extLst>
            </p:cNvPr>
            <p:cNvSpPr>
              <a:spLocks/>
            </p:cNvSpPr>
            <p:nvPr/>
          </p:nvSpPr>
          <p:spPr bwMode="auto">
            <a:xfrm>
              <a:off x="7580472" y="2934134"/>
              <a:ext cx="21368" cy="10764"/>
            </a:xfrm>
            <a:custGeom>
              <a:avLst/>
              <a:gdLst>
                <a:gd name="connsiteX0" fmla="*/ 32 w 21368"/>
                <a:gd name="connsiteY0" fmla="*/ 0 h 10764"/>
                <a:gd name="connsiteX1" fmla="*/ 2723 w 21368"/>
                <a:gd name="connsiteY1" fmla="*/ 1528 h 10764"/>
                <a:gd name="connsiteX2" fmla="*/ 10343 w 21368"/>
                <a:gd name="connsiteY2" fmla="*/ 3441 h 10764"/>
                <a:gd name="connsiteX3" fmla="*/ 19868 w 21368"/>
                <a:gd name="connsiteY3" fmla="*/ 7268 h 10764"/>
                <a:gd name="connsiteX4" fmla="*/ 20940 w 21368"/>
                <a:gd name="connsiteY4" fmla="*/ 10736 h 10764"/>
                <a:gd name="connsiteX5" fmla="*/ 20933 w 21368"/>
                <a:gd name="connsiteY5" fmla="*/ 10764 h 10764"/>
                <a:gd name="connsiteX6" fmla="*/ 19870 w 21368"/>
                <a:gd name="connsiteY6" fmla="*/ 7341 h 10764"/>
                <a:gd name="connsiteX7" fmla="*/ 10351 w 21368"/>
                <a:gd name="connsiteY7" fmla="*/ 3535 h 10764"/>
                <a:gd name="connsiteX8" fmla="*/ 2736 w 21368"/>
                <a:gd name="connsiteY8" fmla="*/ 1633 h 10764"/>
                <a:gd name="connsiteX9" fmla="*/ 0 w 21368"/>
                <a:gd name="connsiteY9" fmla="*/ 87 h 10764"/>
                <a:gd name="connsiteX10" fmla="*/ 32 w 21368"/>
                <a:gd name="connsiteY10" fmla="*/ 0 h 1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368" h="10764">
                  <a:moveTo>
                    <a:pt x="32" y="0"/>
                  </a:moveTo>
                  <a:lnTo>
                    <a:pt x="2723" y="1528"/>
                  </a:lnTo>
                  <a:cubicBezTo>
                    <a:pt x="3676" y="2485"/>
                    <a:pt x="6533" y="3441"/>
                    <a:pt x="10343" y="3441"/>
                  </a:cubicBezTo>
                  <a:cubicBezTo>
                    <a:pt x="15106" y="3441"/>
                    <a:pt x="16058" y="7268"/>
                    <a:pt x="19868" y="7268"/>
                  </a:cubicBezTo>
                  <a:cubicBezTo>
                    <a:pt x="21773" y="7747"/>
                    <a:pt x="21535" y="9182"/>
                    <a:pt x="20940" y="10736"/>
                  </a:cubicBezTo>
                  <a:lnTo>
                    <a:pt x="20933" y="10764"/>
                  </a:lnTo>
                  <a:lnTo>
                    <a:pt x="19870" y="7341"/>
                  </a:lnTo>
                  <a:cubicBezTo>
                    <a:pt x="16062" y="7341"/>
                    <a:pt x="15111" y="3535"/>
                    <a:pt x="10351" y="3535"/>
                  </a:cubicBezTo>
                  <a:cubicBezTo>
                    <a:pt x="6544" y="3535"/>
                    <a:pt x="3688" y="2584"/>
                    <a:pt x="2736" y="1633"/>
                  </a:cubicBezTo>
                  <a:cubicBezTo>
                    <a:pt x="2736" y="1633"/>
                    <a:pt x="1070" y="919"/>
                    <a:pt x="0" y="87"/>
                  </a:cubicBezTo>
                  <a:lnTo>
                    <a:pt x="32"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88" name="Freeform 966">
              <a:extLst>
                <a:ext uri="{FF2B5EF4-FFF2-40B4-BE49-F238E27FC236}">
                  <a16:creationId xmlns:a16="http://schemas.microsoft.com/office/drawing/2014/main" id="{C26A2563-0D11-AC46-9D52-0B1C3531F046}"/>
                </a:ext>
              </a:extLst>
            </p:cNvPr>
            <p:cNvSpPr>
              <a:spLocks/>
            </p:cNvSpPr>
            <p:nvPr/>
          </p:nvSpPr>
          <p:spPr bwMode="auto">
            <a:xfrm>
              <a:off x="7988325" y="3164346"/>
              <a:ext cx="14288" cy="12700"/>
            </a:xfrm>
            <a:custGeom>
              <a:avLst/>
              <a:gdLst>
                <a:gd name="T0" fmla="*/ 5 w 14"/>
                <a:gd name="T1" fmla="*/ 3 h 13"/>
                <a:gd name="T2" fmla="*/ 3 w 14"/>
                <a:gd name="T3" fmla="*/ 8 h 13"/>
                <a:gd name="T4" fmla="*/ 9 w 14"/>
                <a:gd name="T5" fmla="*/ 11 h 13"/>
                <a:gd name="T6" fmla="*/ 13 w 14"/>
                <a:gd name="T7" fmla="*/ 9 h 13"/>
                <a:gd name="T8" fmla="*/ 11 w 14"/>
                <a:gd name="T9" fmla="*/ 2 h 13"/>
                <a:gd name="T10" fmla="*/ 7 w 14"/>
                <a:gd name="T11" fmla="*/ 0 h 13"/>
                <a:gd name="T12" fmla="*/ 5 w 14"/>
                <a:gd name="T13" fmla="*/ 3 h 13"/>
              </a:gdLst>
              <a:ahLst/>
              <a:cxnLst>
                <a:cxn ang="0">
                  <a:pos x="T0" y="T1"/>
                </a:cxn>
                <a:cxn ang="0">
                  <a:pos x="T2" y="T3"/>
                </a:cxn>
                <a:cxn ang="0">
                  <a:pos x="T4" y="T5"/>
                </a:cxn>
                <a:cxn ang="0">
                  <a:pos x="T6" y="T7"/>
                </a:cxn>
                <a:cxn ang="0">
                  <a:pos x="T8" y="T9"/>
                </a:cxn>
                <a:cxn ang="0">
                  <a:pos x="T10" y="T11"/>
                </a:cxn>
                <a:cxn ang="0">
                  <a:pos x="T12" y="T13"/>
                </a:cxn>
              </a:cxnLst>
              <a:rect l="0" t="0" r="r" b="b"/>
              <a:pathLst>
                <a:path w="14" h="13">
                  <a:moveTo>
                    <a:pt x="5" y="3"/>
                  </a:moveTo>
                  <a:cubicBezTo>
                    <a:pt x="3" y="6"/>
                    <a:pt x="0" y="6"/>
                    <a:pt x="3" y="8"/>
                  </a:cubicBezTo>
                  <a:cubicBezTo>
                    <a:pt x="6" y="10"/>
                    <a:pt x="5" y="11"/>
                    <a:pt x="9" y="11"/>
                  </a:cubicBezTo>
                  <a:cubicBezTo>
                    <a:pt x="13" y="12"/>
                    <a:pt x="14" y="13"/>
                    <a:pt x="13" y="9"/>
                  </a:cubicBezTo>
                  <a:cubicBezTo>
                    <a:pt x="12" y="5"/>
                    <a:pt x="12" y="3"/>
                    <a:pt x="11" y="2"/>
                  </a:cubicBezTo>
                  <a:cubicBezTo>
                    <a:pt x="11" y="1"/>
                    <a:pt x="9" y="0"/>
                    <a:pt x="7" y="0"/>
                  </a:cubicBezTo>
                  <a:cubicBezTo>
                    <a:pt x="6" y="0"/>
                    <a:pt x="4" y="1"/>
                    <a:pt x="5"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89" name="Freeform 967">
              <a:extLst>
                <a:ext uri="{FF2B5EF4-FFF2-40B4-BE49-F238E27FC236}">
                  <a16:creationId xmlns:a16="http://schemas.microsoft.com/office/drawing/2014/main" id="{7EC33C2F-8837-6A4F-99FE-6AB70CBF8E4F}"/>
                </a:ext>
              </a:extLst>
            </p:cNvPr>
            <p:cNvSpPr>
              <a:spLocks/>
            </p:cNvSpPr>
            <p:nvPr/>
          </p:nvSpPr>
          <p:spPr bwMode="auto">
            <a:xfrm>
              <a:off x="7993088" y="3183396"/>
              <a:ext cx="6350" cy="11113"/>
            </a:xfrm>
            <a:custGeom>
              <a:avLst/>
              <a:gdLst>
                <a:gd name="T0" fmla="*/ 5 w 6"/>
                <a:gd name="T1" fmla="*/ 2 h 12"/>
                <a:gd name="T2" fmla="*/ 6 w 6"/>
                <a:gd name="T3" fmla="*/ 8 h 12"/>
                <a:gd name="T4" fmla="*/ 3 w 6"/>
                <a:gd name="T5" fmla="*/ 10 h 12"/>
                <a:gd name="T6" fmla="*/ 1 w 6"/>
                <a:gd name="T7" fmla="*/ 5 h 12"/>
                <a:gd name="T8" fmla="*/ 1 w 6"/>
                <a:gd name="T9" fmla="*/ 0 h 12"/>
                <a:gd name="T10" fmla="*/ 5 w 6"/>
                <a:gd name="T11" fmla="*/ 2 h 12"/>
              </a:gdLst>
              <a:ahLst/>
              <a:cxnLst>
                <a:cxn ang="0">
                  <a:pos x="T0" y="T1"/>
                </a:cxn>
                <a:cxn ang="0">
                  <a:pos x="T2" y="T3"/>
                </a:cxn>
                <a:cxn ang="0">
                  <a:pos x="T4" y="T5"/>
                </a:cxn>
                <a:cxn ang="0">
                  <a:pos x="T6" y="T7"/>
                </a:cxn>
                <a:cxn ang="0">
                  <a:pos x="T8" y="T9"/>
                </a:cxn>
                <a:cxn ang="0">
                  <a:pos x="T10" y="T11"/>
                </a:cxn>
              </a:cxnLst>
              <a:rect l="0" t="0" r="r" b="b"/>
              <a:pathLst>
                <a:path w="6" h="12">
                  <a:moveTo>
                    <a:pt x="5" y="2"/>
                  </a:moveTo>
                  <a:cubicBezTo>
                    <a:pt x="6" y="4"/>
                    <a:pt x="6" y="5"/>
                    <a:pt x="6" y="8"/>
                  </a:cubicBezTo>
                  <a:cubicBezTo>
                    <a:pt x="6" y="10"/>
                    <a:pt x="5" y="12"/>
                    <a:pt x="3" y="10"/>
                  </a:cubicBezTo>
                  <a:cubicBezTo>
                    <a:pt x="1" y="7"/>
                    <a:pt x="1" y="7"/>
                    <a:pt x="1" y="5"/>
                  </a:cubicBezTo>
                  <a:cubicBezTo>
                    <a:pt x="0" y="3"/>
                    <a:pt x="0" y="1"/>
                    <a:pt x="1" y="0"/>
                  </a:cubicBezTo>
                  <a:cubicBezTo>
                    <a:pt x="2" y="0"/>
                    <a:pt x="5" y="0"/>
                    <a:pt x="5"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90" name="Freeform 968">
              <a:extLst>
                <a:ext uri="{FF2B5EF4-FFF2-40B4-BE49-F238E27FC236}">
                  <a16:creationId xmlns:a16="http://schemas.microsoft.com/office/drawing/2014/main" id="{0CDCCACB-FACF-724F-9D92-07007C6FDA8D}"/>
                </a:ext>
              </a:extLst>
            </p:cNvPr>
            <p:cNvSpPr>
              <a:spLocks/>
            </p:cNvSpPr>
            <p:nvPr/>
          </p:nvSpPr>
          <p:spPr bwMode="auto">
            <a:xfrm>
              <a:off x="7951813" y="3053221"/>
              <a:ext cx="31750" cy="61913"/>
            </a:xfrm>
            <a:custGeom>
              <a:avLst/>
              <a:gdLst>
                <a:gd name="T0" fmla="*/ 6 w 32"/>
                <a:gd name="T1" fmla="*/ 20 h 66"/>
                <a:gd name="T2" fmla="*/ 10 w 32"/>
                <a:gd name="T3" fmla="*/ 5 h 66"/>
                <a:gd name="T4" fmla="*/ 15 w 32"/>
                <a:gd name="T5" fmla="*/ 20 h 66"/>
                <a:gd name="T6" fmla="*/ 20 w 32"/>
                <a:gd name="T7" fmla="*/ 25 h 66"/>
                <a:gd name="T8" fmla="*/ 16 w 32"/>
                <a:gd name="T9" fmla="*/ 33 h 66"/>
                <a:gd name="T10" fmla="*/ 20 w 32"/>
                <a:gd name="T11" fmla="*/ 42 h 66"/>
                <a:gd name="T12" fmla="*/ 31 w 32"/>
                <a:gd name="T13" fmla="*/ 52 h 66"/>
                <a:gd name="T14" fmla="*/ 23 w 32"/>
                <a:gd name="T15" fmla="*/ 60 h 66"/>
                <a:gd name="T16" fmla="*/ 18 w 32"/>
                <a:gd name="T17" fmla="*/ 51 h 66"/>
                <a:gd name="T18" fmla="*/ 5 w 32"/>
                <a:gd name="T19" fmla="*/ 36 h 66"/>
                <a:gd name="T20" fmla="*/ 5 w 32"/>
                <a:gd name="T21" fmla="*/ 25 h 66"/>
                <a:gd name="T22" fmla="*/ 6 w 32"/>
                <a:gd name="T23" fmla="*/ 2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66">
                  <a:moveTo>
                    <a:pt x="6" y="20"/>
                  </a:moveTo>
                  <a:cubicBezTo>
                    <a:pt x="5" y="9"/>
                    <a:pt x="5" y="0"/>
                    <a:pt x="10" y="5"/>
                  </a:cubicBezTo>
                  <a:cubicBezTo>
                    <a:pt x="14" y="10"/>
                    <a:pt x="12" y="20"/>
                    <a:pt x="15" y="20"/>
                  </a:cubicBezTo>
                  <a:cubicBezTo>
                    <a:pt x="18" y="19"/>
                    <a:pt x="20" y="22"/>
                    <a:pt x="20" y="25"/>
                  </a:cubicBezTo>
                  <a:cubicBezTo>
                    <a:pt x="20" y="28"/>
                    <a:pt x="15" y="29"/>
                    <a:pt x="16" y="33"/>
                  </a:cubicBezTo>
                  <a:cubicBezTo>
                    <a:pt x="16" y="37"/>
                    <a:pt x="15" y="38"/>
                    <a:pt x="20" y="42"/>
                  </a:cubicBezTo>
                  <a:cubicBezTo>
                    <a:pt x="26" y="47"/>
                    <a:pt x="30" y="46"/>
                    <a:pt x="31" y="52"/>
                  </a:cubicBezTo>
                  <a:cubicBezTo>
                    <a:pt x="32" y="59"/>
                    <a:pt x="29" y="66"/>
                    <a:pt x="23" y="60"/>
                  </a:cubicBezTo>
                  <a:cubicBezTo>
                    <a:pt x="17" y="53"/>
                    <a:pt x="22" y="57"/>
                    <a:pt x="18" y="51"/>
                  </a:cubicBezTo>
                  <a:cubicBezTo>
                    <a:pt x="14" y="45"/>
                    <a:pt x="11" y="42"/>
                    <a:pt x="5" y="36"/>
                  </a:cubicBezTo>
                  <a:cubicBezTo>
                    <a:pt x="0" y="29"/>
                    <a:pt x="5" y="31"/>
                    <a:pt x="5" y="25"/>
                  </a:cubicBezTo>
                  <a:cubicBezTo>
                    <a:pt x="6" y="20"/>
                    <a:pt x="0" y="18"/>
                    <a:pt x="6" y="20"/>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91" name="Freeform 969">
              <a:extLst>
                <a:ext uri="{FF2B5EF4-FFF2-40B4-BE49-F238E27FC236}">
                  <a16:creationId xmlns:a16="http://schemas.microsoft.com/office/drawing/2014/main" id="{3ADFF41A-D1DC-5D40-BEA3-F4AF41F9940D}"/>
                </a:ext>
              </a:extLst>
            </p:cNvPr>
            <p:cNvSpPr>
              <a:spLocks/>
            </p:cNvSpPr>
            <p:nvPr/>
          </p:nvSpPr>
          <p:spPr bwMode="auto">
            <a:xfrm>
              <a:off x="8142313" y="3240546"/>
              <a:ext cx="14288" cy="14288"/>
            </a:xfrm>
            <a:custGeom>
              <a:avLst/>
              <a:gdLst>
                <a:gd name="T0" fmla="*/ 4 w 14"/>
                <a:gd name="T1" fmla="*/ 5 h 16"/>
                <a:gd name="T2" fmla="*/ 4 w 14"/>
                <a:gd name="T3" fmla="*/ 13 h 16"/>
                <a:gd name="T4" fmla="*/ 14 w 14"/>
                <a:gd name="T5" fmla="*/ 10 h 16"/>
                <a:gd name="T6" fmla="*/ 4 w 14"/>
                <a:gd name="T7" fmla="*/ 5 h 16"/>
              </a:gdLst>
              <a:ahLst/>
              <a:cxnLst>
                <a:cxn ang="0">
                  <a:pos x="T0" y="T1"/>
                </a:cxn>
                <a:cxn ang="0">
                  <a:pos x="T2" y="T3"/>
                </a:cxn>
                <a:cxn ang="0">
                  <a:pos x="T4" y="T5"/>
                </a:cxn>
                <a:cxn ang="0">
                  <a:pos x="T6" y="T7"/>
                </a:cxn>
              </a:cxnLst>
              <a:rect l="0" t="0" r="r" b="b"/>
              <a:pathLst>
                <a:path w="14" h="16">
                  <a:moveTo>
                    <a:pt x="4" y="5"/>
                  </a:moveTo>
                  <a:cubicBezTo>
                    <a:pt x="4" y="5"/>
                    <a:pt x="0" y="11"/>
                    <a:pt x="4" y="13"/>
                  </a:cubicBezTo>
                  <a:cubicBezTo>
                    <a:pt x="8" y="16"/>
                    <a:pt x="14" y="14"/>
                    <a:pt x="14" y="10"/>
                  </a:cubicBezTo>
                  <a:cubicBezTo>
                    <a:pt x="14" y="6"/>
                    <a:pt x="2" y="0"/>
                    <a:pt x="4"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92" name="Freeform 970">
              <a:extLst>
                <a:ext uri="{FF2B5EF4-FFF2-40B4-BE49-F238E27FC236}">
                  <a16:creationId xmlns:a16="http://schemas.microsoft.com/office/drawing/2014/main" id="{0B2ABA90-3AB6-F249-8916-80FEF33206C2}"/>
                </a:ext>
              </a:extLst>
            </p:cNvPr>
            <p:cNvSpPr>
              <a:spLocks/>
            </p:cNvSpPr>
            <p:nvPr/>
          </p:nvSpPr>
          <p:spPr bwMode="auto">
            <a:xfrm>
              <a:off x="7937525" y="2686508"/>
              <a:ext cx="14288" cy="14288"/>
            </a:xfrm>
            <a:custGeom>
              <a:avLst/>
              <a:gdLst>
                <a:gd name="T0" fmla="*/ 5 w 15"/>
                <a:gd name="T1" fmla="*/ 11 h 15"/>
                <a:gd name="T2" fmla="*/ 13 w 15"/>
                <a:gd name="T3" fmla="*/ 10 h 15"/>
                <a:gd name="T4" fmla="*/ 9 w 15"/>
                <a:gd name="T5" fmla="*/ 1 h 15"/>
                <a:gd name="T6" fmla="*/ 5 w 15"/>
                <a:gd name="T7" fmla="*/ 11 h 15"/>
              </a:gdLst>
              <a:ahLst/>
              <a:cxnLst>
                <a:cxn ang="0">
                  <a:pos x="T0" y="T1"/>
                </a:cxn>
                <a:cxn ang="0">
                  <a:pos x="T2" y="T3"/>
                </a:cxn>
                <a:cxn ang="0">
                  <a:pos x="T4" y="T5"/>
                </a:cxn>
                <a:cxn ang="0">
                  <a:pos x="T6" y="T7"/>
                </a:cxn>
              </a:cxnLst>
              <a:rect l="0" t="0" r="r" b="b"/>
              <a:pathLst>
                <a:path w="15" h="15">
                  <a:moveTo>
                    <a:pt x="5" y="11"/>
                  </a:moveTo>
                  <a:cubicBezTo>
                    <a:pt x="5" y="11"/>
                    <a:pt x="11" y="14"/>
                    <a:pt x="13" y="10"/>
                  </a:cubicBezTo>
                  <a:cubicBezTo>
                    <a:pt x="15" y="5"/>
                    <a:pt x="12" y="0"/>
                    <a:pt x="9" y="1"/>
                  </a:cubicBezTo>
                  <a:cubicBezTo>
                    <a:pt x="5" y="1"/>
                    <a:pt x="0" y="15"/>
                    <a:pt x="5" y="1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93" name="Freeform 971">
              <a:extLst>
                <a:ext uri="{FF2B5EF4-FFF2-40B4-BE49-F238E27FC236}">
                  <a16:creationId xmlns:a16="http://schemas.microsoft.com/office/drawing/2014/main" id="{520BE1CD-5C07-4F4A-9110-86177B0FA118}"/>
                </a:ext>
              </a:extLst>
            </p:cNvPr>
            <p:cNvSpPr>
              <a:spLocks/>
            </p:cNvSpPr>
            <p:nvPr/>
          </p:nvSpPr>
          <p:spPr bwMode="auto">
            <a:xfrm>
              <a:off x="7980388" y="2465845"/>
              <a:ext cx="12700" cy="41275"/>
            </a:xfrm>
            <a:custGeom>
              <a:avLst/>
              <a:gdLst>
                <a:gd name="T0" fmla="*/ 5 w 13"/>
                <a:gd name="T1" fmla="*/ 6 h 42"/>
                <a:gd name="T2" fmla="*/ 1 w 13"/>
                <a:gd name="T3" fmla="*/ 14 h 42"/>
                <a:gd name="T4" fmla="*/ 1 w 13"/>
                <a:gd name="T5" fmla="*/ 30 h 42"/>
                <a:gd name="T6" fmla="*/ 5 w 13"/>
                <a:gd name="T7" fmla="*/ 33 h 42"/>
                <a:gd name="T8" fmla="*/ 5 w 13"/>
                <a:gd name="T9" fmla="*/ 21 h 42"/>
                <a:gd name="T10" fmla="*/ 8 w 13"/>
                <a:gd name="T11" fmla="*/ 8 h 42"/>
                <a:gd name="T12" fmla="*/ 5 w 13"/>
                <a:gd name="T13" fmla="*/ 6 h 42"/>
              </a:gdLst>
              <a:ahLst/>
              <a:cxnLst>
                <a:cxn ang="0">
                  <a:pos x="T0" y="T1"/>
                </a:cxn>
                <a:cxn ang="0">
                  <a:pos x="T2" y="T3"/>
                </a:cxn>
                <a:cxn ang="0">
                  <a:pos x="T4" y="T5"/>
                </a:cxn>
                <a:cxn ang="0">
                  <a:pos x="T6" y="T7"/>
                </a:cxn>
                <a:cxn ang="0">
                  <a:pos x="T8" y="T9"/>
                </a:cxn>
                <a:cxn ang="0">
                  <a:pos x="T10" y="T11"/>
                </a:cxn>
                <a:cxn ang="0">
                  <a:pos x="T12" y="T13"/>
                </a:cxn>
              </a:cxnLst>
              <a:rect l="0" t="0" r="r" b="b"/>
              <a:pathLst>
                <a:path w="13" h="42">
                  <a:moveTo>
                    <a:pt x="5" y="6"/>
                  </a:moveTo>
                  <a:cubicBezTo>
                    <a:pt x="3" y="8"/>
                    <a:pt x="2" y="9"/>
                    <a:pt x="1" y="14"/>
                  </a:cubicBezTo>
                  <a:cubicBezTo>
                    <a:pt x="0" y="19"/>
                    <a:pt x="1" y="24"/>
                    <a:pt x="1" y="30"/>
                  </a:cubicBezTo>
                  <a:cubicBezTo>
                    <a:pt x="2" y="35"/>
                    <a:pt x="3" y="42"/>
                    <a:pt x="5" y="33"/>
                  </a:cubicBezTo>
                  <a:cubicBezTo>
                    <a:pt x="6" y="25"/>
                    <a:pt x="3" y="29"/>
                    <a:pt x="5" y="21"/>
                  </a:cubicBezTo>
                  <a:cubicBezTo>
                    <a:pt x="7" y="13"/>
                    <a:pt x="4" y="10"/>
                    <a:pt x="8" y="8"/>
                  </a:cubicBezTo>
                  <a:cubicBezTo>
                    <a:pt x="13" y="6"/>
                    <a:pt x="11" y="0"/>
                    <a:pt x="5"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94" name="Freeform 972">
              <a:extLst>
                <a:ext uri="{FF2B5EF4-FFF2-40B4-BE49-F238E27FC236}">
                  <a16:creationId xmlns:a16="http://schemas.microsoft.com/office/drawing/2014/main" id="{CAFCA6C2-6D40-8046-B2E2-9324B4C38A4B}"/>
                </a:ext>
              </a:extLst>
            </p:cNvPr>
            <p:cNvSpPr>
              <a:spLocks/>
            </p:cNvSpPr>
            <p:nvPr/>
          </p:nvSpPr>
          <p:spPr bwMode="auto">
            <a:xfrm>
              <a:off x="7985150" y="2502357"/>
              <a:ext cx="36513" cy="11113"/>
            </a:xfrm>
            <a:custGeom>
              <a:avLst/>
              <a:gdLst>
                <a:gd name="T0" fmla="*/ 4 w 39"/>
                <a:gd name="T1" fmla="*/ 8 h 12"/>
                <a:gd name="T2" fmla="*/ 8 w 39"/>
                <a:gd name="T3" fmla="*/ 11 h 12"/>
                <a:gd name="T4" fmla="*/ 17 w 39"/>
                <a:gd name="T5" fmla="*/ 9 h 12"/>
                <a:gd name="T6" fmla="*/ 30 w 39"/>
                <a:gd name="T7" fmla="*/ 5 h 12"/>
                <a:gd name="T8" fmla="*/ 33 w 39"/>
                <a:gd name="T9" fmla="*/ 1 h 12"/>
                <a:gd name="T10" fmla="*/ 23 w 39"/>
                <a:gd name="T11" fmla="*/ 1 h 12"/>
                <a:gd name="T12" fmla="*/ 17 w 39"/>
                <a:gd name="T13" fmla="*/ 3 h 12"/>
                <a:gd name="T14" fmla="*/ 6 w 39"/>
                <a:gd name="T15" fmla="*/ 3 h 12"/>
                <a:gd name="T16" fmla="*/ 4 w 39"/>
                <a:gd name="T1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12">
                  <a:moveTo>
                    <a:pt x="4" y="8"/>
                  </a:moveTo>
                  <a:cubicBezTo>
                    <a:pt x="4" y="8"/>
                    <a:pt x="0" y="12"/>
                    <a:pt x="8" y="11"/>
                  </a:cubicBezTo>
                  <a:cubicBezTo>
                    <a:pt x="15" y="10"/>
                    <a:pt x="10" y="10"/>
                    <a:pt x="17" y="9"/>
                  </a:cubicBezTo>
                  <a:cubicBezTo>
                    <a:pt x="25" y="8"/>
                    <a:pt x="28" y="8"/>
                    <a:pt x="30" y="5"/>
                  </a:cubicBezTo>
                  <a:cubicBezTo>
                    <a:pt x="33" y="3"/>
                    <a:pt x="39" y="1"/>
                    <a:pt x="33" y="1"/>
                  </a:cubicBezTo>
                  <a:cubicBezTo>
                    <a:pt x="27" y="1"/>
                    <a:pt x="25" y="2"/>
                    <a:pt x="23" y="1"/>
                  </a:cubicBezTo>
                  <a:cubicBezTo>
                    <a:pt x="21" y="0"/>
                    <a:pt x="19" y="3"/>
                    <a:pt x="17" y="3"/>
                  </a:cubicBezTo>
                  <a:cubicBezTo>
                    <a:pt x="15" y="4"/>
                    <a:pt x="9" y="4"/>
                    <a:pt x="6" y="3"/>
                  </a:cubicBezTo>
                  <a:cubicBezTo>
                    <a:pt x="4" y="3"/>
                    <a:pt x="4" y="8"/>
                    <a:pt x="4" y="8"/>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95" name="Freeform 973">
              <a:extLst>
                <a:ext uri="{FF2B5EF4-FFF2-40B4-BE49-F238E27FC236}">
                  <a16:creationId xmlns:a16="http://schemas.microsoft.com/office/drawing/2014/main" id="{A6130A75-BD62-C645-9460-D451F1AD381C}"/>
                </a:ext>
              </a:extLst>
            </p:cNvPr>
            <p:cNvSpPr>
              <a:spLocks/>
            </p:cNvSpPr>
            <p:nvPr/>
          </p:nvSpPr>
          <p:spPr bwMode="auto">
            <a:xfrm>
              <a:off x="8032776" y="2465845"/>
              <a:ext cx="19050" cy="41275"/>
            </a:xfrm>
            <a:custGeom>
              <a:avLst/>
              <a:gdLst>
                <a:gd name="T0" fmla="*/ 5 w 19"/>
                <a:gd name="T1" fmla="*/ 37 h 44"/>
                <a:gd name="T2" fmla="*/ 13 w 19"/>
                <a:gd name="T3" fmla="*/ 18 h 44"/>
                <a:gd name="T4" fmla="*/ 15 w 19"/>
                <a:gd name="T5" fmla="*/ 8 h 44"/>
                <a:gd name="T6" fmla="*/ 8 w 19"/>
                <a:gd name="T7" fmla="*/ 6 h 44"/>
                <a:gd name="T8" fmla="*/ 6 w 19"/>
                <a:gd name="T9" fmla="*/ 18 h 44"/>
                <a:gd name="T10" fmla="*/ 0 w 19"/>
                <a:gd name="T11" fmla="*/ 32 h 44"/>
                <a:gd name="T12" fmla="*/ 5 w 19"/>
                <a:gd name="T13" fmla="*/ 37 h 44"/>
              </a:gdLst>
              <a:ahLst/>
              <a:cxnLst>
                <a:cxn ang="0">
                  <a:pos x="T0" y="T1"/>
                </a:cxn>
                <a:cxn ang="0">
                  <a:pos x="T2" y="T3"/>
                </a:cxn>
                <a:cxn ang="0">
                  <a:pos x="T4" y="T5"/>
                </a:cxn>
                <a:cxn ang="0">
                  <a:pos x="T6" y="T7"/>
                </a:cxn>
                <a:cxn ang="0">
                  <a:pos x="T8" y="T9"/>
                </a:cxn>
                <a:cxn ang="0">
                  <a:pos x="T10" y="T11"/>
                </a:cxn>
                <a:cxn ang="0">
                  <a:pos x="T12" y="T13"/>
                </a:cxn>
              </a:cxnLst>
              <a:rect l="0" t="0" r="r" b="b"/>
              <a:pathLst>
                <a:path w="19" h="44">
                  <a:moveTo>
                    <a:pt x="5" y="37"/>
                  </a:moveTo>
                  <a:cubicBezTo>
                    <a:pt x="5" y="28"/>
                    <a:pt x="10" y="25"/>
                    <a:pt x="13" y="18"/>
                  </a:cubicBezTo>
                  <a:cubicBezTo>
                    <a:pt x="15" y="12"/>
                    <a:pt x="19" y="10"/>
                    <a:pt x="15" y="8"/>
                  </a:cubicBezTo>
                  <a:cubicBezTo>
                    <a:pt x="11" y="5"/>
                    <a:pt x="11" y="0"/>
                    <a:pt x="8" y="6"/>
                  </a:cubicBezTo>
                  <a:cubicBezTo>
                    <a:pt x="5" y="13"/>
                    <a:pt x="6" y="10"/>
                    <a:pt x="6" y="18"/>
                  </a:cubicBezTo>
                  <a:cubicBezTo>
                    <a:pt x="6" y="27"/>
                    <a:pt x="0" y="27"/>
                    <a:pt x="0" y="32"/>
                  </a:cubicBezTo>
                  <a:cubicBezTo>
                    <a:pt x="0" y="37"/>
                    <a:pt x="5" y="44"/>
                    <a:pt x="5" y="3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96" name="Freeform 974">
              <a:extLst>
                <a:ext uri="{FF2B5EF4-FFF2-40B4-BE49-F238E27FC236}">
                  <a16:creationId xmlns:a16="http://schemas.microsoft.com/office/drawing/2014/main" id="{99D21F1A-D470-764A-B496-AB69AE47929C}"/>
                </a:ext>
              </a:extLst>
            </p:cNvPr>
            <p:cNvSpPr>
              <a:spLocks/>
            </p:cNvSpPr>
            <p:nvPr/>
          </p:nvSpPr>
          <p:spPr bwMode="auto">
            <a:xfrm>
              <a:off x="7373961" y="2211845"/>
              <a:ext cx="17463" cy="44450"/>
            </a:xfrm>
            <a:custGeom>
              <a:avLst/>
              <a:gdLst>
                <a:gd name="T0" fmla="*/ 11 w 18"/>
                <a:gd name="T1" fmla="*/ 16 h 47"/>
                <a:gd name="T2" fmla="*/ 4 w 18"/>
                <a:gd name="T3" fmla="*/ 41 h 47"/>
                <a:gd name="T4" fmla="*/ 11 w 18"/>
                <a:gd name="T5" fmla="*/ 39 h 47"/>
                <a:gd name="T6" fmla="*/ 11 w 18"/>
                <a:gd name="T7" fmla="*/ 16 h 47"/>
              </a:gdLst>
              <a:ahLst/>
              <a:cxnLst>
                <a:cxn ang="0">
                  <a:pos x="T0" y="T1"/>
                </a:cxn>
                <a:cxn ang="0">
                  <a:pos x="T2" y="T3"/>
                </a:cxn>
                <a:cxn ang="0">
                  <a:pos x="T4" y="T5"/>
                </a:cxn>
                <a:cxn ang="0">
                  <a:pos x="T6" y="T7"/>
                </a:cxn>
              </a:cxnLst>
              <a:rect l="0" t="0" r="r" b="b"/>
              <a:pathLst>
                <a:path w="18" h="47">
                  <a:moveTo>
                    <a:pt x="11" y="16"/>
                  </a:moveTo>
                  <a:cubicBezTo>
                    <a:pt x="4" y="26"/>
                    <a:pt x="7" y="39"/>
                    <a:pt x="4" y="41"/>
                  </a:cubicBezTo>
                  <a:cubicBezTo>
                    <a:pt x="0" y="43"/>
                    <a:pt x="5" y="47"/>
                    <a:pt x="11" y="39"/>
                  </a:cubicBezTo>
                  <a:cubicBezTo>
                    <a:pt x="18" y="31"/>
                    <a:pt x="17" y="0"/>
                    <a:pt x="11" y="1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97" name="Freeform 975">
              <a:extLst>
                <a:ext uri="{FF2B5EF4-FFF2-40B4-BE49-F238E27FC236}">
                  <a16:creationId xmlns:a16="http://schemas.microsoft.com/office/drawing/2014/main" id="{1F6B9A1C-0E08-C445-9EAA-39CCFEB16108}"/>
                </a:ext>
              </a:extLst>
            </p:cNvPr>
            <p:cNvSpPr>
              <a:spLocks/>
            </p:cNvSpPr>
            <p:nvPr/>
          </p:nvSpPr>
          <p:spPr bwMode="auto">
            <a:xfrm>
              <a:off x="7342211" y="2289632"/>
              <a:ext cx="12700" cy="22225"/>
            </a:xfrm>
            <a:custGeom>
              <a:avLst/>
              <a:gdLst>
                <a:gd name="T0" fmla="*/ 7 w 14"/>
                <a:gd name="T1" fmla="*/ 1 h 22"/>
                <a:gd name="T2" fmla="*/ 2 w 14"/>
                <a:gd name="T3" fmla="*/ 20 h 22"/>
                <a:gd name="T4" fmla="*/ 10 w 14"/>
                <a:gd name="T5" fmla="*/ 18 h 22"/>
                <a:gd name="T6" fmla="*/ 13 w 14"/>
                <a:gd name="T7" fmla="*/ 8 h 22"/>
                <a:gd name="T8" fmla="*/ 7 w 14"/>
                <a:gd name="T9" fmla="*/ 1 h 22"/>
              </a:gdLst>
              <a:ahLst/>
              <a:cxnLst>
                <a:cxn ang="0">
                  <a:pos x="T0" y="T1"/>
                </a:cxn>
                <a:cxn ang="0">
                  <a:pos x="T2" y="T3"/>
                </a:cxn>
                <a:cxn ang="0">
                  <a:pos x="T4" y="T5"/>
                </a:cxn>
                <a:cxn ang="0">
                  <a:pos x="T6" y="T7"/>
                </a:cxn>
                <a:cxn ang="0">
                  <a:pos x="T8" y="T9"/>
                </a:cxn>
              </a:cxnLst>
              <a:rect l="0" t="0" r="r" b="b"/>
              <a:pathLst>
                <a:path w="14" h="22">
                  <a:moveTo>
                    <a:pt x="7" y="1"/>
                  </a:moveTo>
                  <a:cubicBezTo>
                    <a:pt x="3" y="10"/>
                    <a:pt x="0" y="19"/>
                    <a:pt x="2" y="20"/>
                  </a:cubicBezTo>
                  <a:cubicBezTo>
                    <a:pt x="5" y="22"/>
                    <a:pt x="7" y="22"/>
                    <a:pt x="10" y="18"/>
                  </a:cubicBezTo>
                  <a:cubicBezTo>
                    <a:pt x="13" y="14"/>
                    <a:pt x="14" y="12"/>
                    <a:pt x="13" y="8"/>
                  </a:cubicBezTo>
                  <a:cubicBezTo>
                    <a:pt x="13" y="3"/>
                    <a:pt x="8" y="0"/>
                    <a:pt x="7" y="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98" name="Freeform 976">
              <a:extLst>
                <a:ext uri="{FF2B5EF4-FFF2-40B4-BE49-F238E27FC236}">
                  <a16:creationId xmlns:a16="http://schemas.microsoft.com/office/drawing/2014/main" id="{6F34E33A-128A-444B-AC30-00AEC0EC8D14}"/>
                </a:ext>
              </a:extLst>
            </p:cNvPr>
            <p:cNvSpPr>
              <a:spLocks/>
            </p:cNvSpPr>
            <p:nvPr/>
          </p:nvSpPr>
          <p:spPr bwMode="auto">
            <a:xfrm>
              <a:off x="7199335" y="2461082"/>
              <a:ext cx="41275" cy="36513"/>
            </a:xfrm>
            <a:custGeom>
              <a:avLst/>
              <a:gdLst>
                <a:gd name="T0" fmla="*/ 36 w 44"/>
                <a:gd name="T1" fmla="*/ 4 h 38"/>
                <a:gd name="T2" fmla="*/ 12 w 44"/>
                <a:gd name="T3" fmla="*/ 27 h 38"/>
                <a:gd name="T4" fmla="*/ 16 w 44"/>
                <a:gd name="T5" fmla="*/ 33 h 38"/>
                <a:gd name="T6" fmla="*/ 33 w 44"/>
                <a:gd name="T7" fmla="*/ 19 h 38"/>
                <a:gd name="T8" fmla="*/ 44 w 44"/>
                <a:gd name="T9" fmla="*/ 4 h 38"/>
                <a:gd name="T10" fmla="*/ 36 w 44"/>
                <a:gd name="T11" fmla="*/ 4 h 38"/>
              </a:gdLst>
              <a:ahLst/>
              <a:cxnLst>
                <a:cxn ang="0">
                  <a:pos x="T0" y="T1"/>
                </a:cxn>
                <a:cxn ang="0">
                  <a:pos x="T2" y="T3"/>
                </a:cxn>
                <a:cxn ang="0">
                  <a:pos x="T4" y="T5"/>
                </a:cxn>
                <a:cxn ang="0">
                  <a:pos x="T6" y="T7"/>
                </a:cxn>
                <a:cxn ang="0">
                  <a:pos x="T8" y="T9"/>
                </a:cxn>
                <a:cxn ang="0">
                  <a:pos x="T10" y="T11"/>
                </a:cxn>
              </a:cxnLst>
              <a:rect l="0" t="0" r="r" b="b"/>
              <a:pathLst>
                <a:path w="44" h="38">
                  <a:moveTo>
                    <a:pt x="36" y="4"/>
                  </a:moveTo>
                  <a:cubicBezTo>
                    <a:pt x="30" y="14"/>
                    <a:pt x="12" y="27"/>
                    <a:pt x="12" y="27"/>
                  </a:cubicBezTo>
                  <a:cubicBezTo>
                    <a:pt x="12" y="27"/>
                    <a:pt x="0" y="38"/>
                    <a:pt x="16" y="33"/>
                  </a:cubicBezTo>
                  <a:cubicBezTo>
                    <a:pt x="31" y="27"/>
                    <a:pt x="24" y="24"/>
                    <a:pt x="33" y="19"/>
                  </a:cubicBezTo>
                  <a:cubicBezTo>
                    <a:pt x="41" y="14"/>
                    <a:pt x="44" y="7"/>
                    <a:pt x="44" y="4"/>
                  </a:cubicBezTo>
                  <a:cubicBezTo>
                    <a:pt x="44" y="1"/>
                    <a:pt x="39" y="0"/>
                    <a:pt x="36"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499" name="Freeform 977">
              <a:extLst>
                <a:ext uri="{FF2B5EF4-FFF2-40B4-BE49-F238E27FC236}">
                  <a16:creationId xmlns:a16="http://schemas.microsoft.com/office/drawing/2014/main" id="{B4053638-D2C6-5046-97AF-79DAD5996C3D}"/>
                </a:ext>
              </a:extLst>
            </p:cNvPr>
            <p:cNvSpPr>
              <a:spLocks/>
            </p:cNvSpPr>
            <p:nvPr/>
          </p:nvSpPr>
          <p:spPr bwMode="auto">
            <a:xfrm>
              <a:off x="8053413" y="3111958"/>
              <a:ext cx="30163" cy="28575"/>
            </a:xfrm>
            <a:custGeom>
              <a:avLst/>
              <a:gdLst>
                <a:gd name="T0" fmla="*/ 8 w 32"/>
                <a:gd name="T1" fmla="*/ 12 h 30"/>
                <a:gd name="T2" fmla="*/ 7 w 32"/>
                <a:gd name="T3" fmla="*/ 1 h 30"/>
                <a:gd name="T4" fmla="*/ 16 w 32"/>
                <a:gd name="T5" fmla="*/ 3 h 30"/>
                <a:gd name="T6" fmla="*/ 23 w 32"/>
                <a:gd name="T7" fmla="*/ 7 h 30"/>
                <a:gd name="T8" fmla="*/ 22 w 32"/>
                <a:gd name="T9" fmla="*/ 13 h 30"/>
                <a:gd name="T10" fmla="*/ 29 w 32"/>
                <a:gd name="T11" fmla="*/ 17 h 30"/>
                <a:gd name="T12" fmla="*/ 23 w 32"/>
                <a:gd name="T13" fmla="*/ 20 h 30"/>
                <a:gd name="T14" fmla="*/ 19 w 32"/>
                <a:gd name="T15" fmla="*/ 27 h 30"/>
                <a:gd name="T16" fmla="*/ 14 w 32"/>
                <a:gd name="T17" fmla="*/ 25 h 30"/>
                <a:gd name="T18" fmla="*/ 7 w 32"/>
                <a:gd name="T19" fmla="*/ 23 h 30"/>
                <a:gd name="T20" fmla="*/ 1 w 32"/>
                <a:gd name="T21" fmla="*/ 19 h 30"/>
                <a:gd name="T22" fmla="*/ 8 w 32"/>
                <a:gd name="T23"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0">
                  <a:moveTo>
                    <a:pt x="8" y="12"/>
                  </a:moveTo>
                  <a:cubicBezTo>
                    <a:pt x="8" y="10"/>
                    <a:pt x="4" y="2"/>
                    <a:pt x="7" y="1"/>
                  </a:cubicBezTo>
                  <a:cubicBezTo>
                    <a:pt x="9" y="0"/>
                    <a:pt x="15" y="2"/>
                    <a:pt x="16" y="3"/>
                  </a:cubicBezTo>
                  <a:cubicBezTo>
                    <a:pt x="16" y="4"/>
                    <a:pt x="24" y="6"/>
                    <a:pt x="23" y="7"/>
                  </a:cubicBezTo>
                  <a:cubicBezTo>
                    <a:pt x="23" y="9"/>
                    <a:pt x="19" y="11"/>
                    <a:pt x="22" y="13"/>
                  </a:cubicBezTo>
                  <a:cubicBezTo>
                    <a:pt x="25" y="16"/>
                    <a:pt x="32" y="14"/>
                    <a:pt x="29" y="17"/>
                  </a:cubicBezTo>
                  <a:cubicBezTo>
                    <a:pt x="26" y="20"/>
                    <a:pt x="28" y="20"/>
                    <a:pt x="23" y="20"/>
                  </a:cubicBezTo>
                  <a:cubicBezTo>
                    <a:pt x="19" y="20"/>
                    <a:pt x="21" y="26"/>
                    <a:pt x="19" y="27"/>
                  </a:cubicBezTo>
                  <a:cubicBezTo>
                    <a:pt x="17" y="29"/>
                    <a:pt x="16" y="30"/>
                    <a:pt x="14" y="25"/>
                  </a:cubicBezTo>
                  <a:cubicBezTo>
                    <a:pt x="11" y="20"/>
                    <a:pt x="8" y="21"/>
                    <a:pt x="7" y="23"/>
                  </a:cubicBezTo>
                  <a:cubicBezTo>
                    <a:pt x="5" y="25"/>
                    <a:pt x="0" y="24"/>
                    <a:pt x="1" y="19"/>
                  </a:cubicBezTo>
                  <a:cubicBezTo>
                    <a:pt x="3" y="14"/>
                    <a:pt x="8" y="12"/>
                    <a:pt x="8" y="1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00" name="Freeform 978">
              <a:extLst>
                <a:ext uri="{FF2B5EF4-FFF2-40B4-BE49-F238E27FC236}">
                  <a16:creationId xmlns:a16="http://schemas.microsoft.com/office/drawing/2014/main" id="{8CB320C8-7070-D44B-9F7F-2B1A8BED2517}"/>
                </a:ext>
              </a:extLst>
            </p:cNvPr>
            <p:cNvSpPr>
              <a:spLocks/>
            </p:cNvSpPr>
            <p:nvPr/>
          </p:nvSpPr>
          <p:spPr bwMode="auto">
            <a:xfrm>
              <a:off x="2671771" y="4064459"/>
              <a:ext cx="98425" cy="60325"/>
            </a:xfrm>
            <a:custGeom>
              <a:avLst/>
              <a:gdLst>
                <a:gd name="T0" fmla="*/ 89 w 103"/>
                <a:gd name="T1" fmla="*/ 59 h 63"/>
                <a:gd name="T2" fmla="*/ 82 w 103"/>
                <a:gd name="T3" fmla="*/ 63 h 63"/>
                <a:gd name="T4" fmla="*/ 30 w 103"/>
                <a:gd name="T5" fmla="*/ 60 h 63"/>
                <a:gd name="T6" fmla="*/ 25 w 103"/>
                <a:gd name="T7" fmla="*/ 48 h 63"/>
                <a:gd name="T8" fmla="*/ 8 w 103"/>
                <a:gd name="T9" fmla="*/ 21 h 63"/>
                <a:gd name="T10" fmla="*/ 3 w 103"/>
                <a:gd name="T11" fmla="*/ 6 h 63"/>
                <a:gd name="T12" fmla="*/ 0 w 103"/>
                <a:gd name="T13" fmla="*/ 0 h 63"/>
                <a:gd name="T14" fmla="*/ 3 w 103"/>
                <a:gd name="T15" fmla="*/ 0 h 63"/>
                <a:gd name="T16" fmla="*/ 14 w 103"/>
                <a:gd name="T17" fmla="*/ 10 h 63"/>
                <a:gd name="T18" fmla="*/ 13 w 103"/>
                <a:gd name="T19" fmla="*/ 15 h 63"/>
                <a:gd name="T20" fmla="*/ 17 w 103"/>
                <a:gd name="T21" fmla="*/ 16 h 63"/>
                <a:gd name="T22" fmla="*/ 25 w 103"/>
                <a:gd name="T23" fmla="*/ 25 h 63"/>
                <a:gd name="T24" fmla="*/ 35 w 103"/>
                <a:gd name="T25" fmla="*/ 29 h 63"/>
                <a:gd name="T26" fmla="*/ 48 w 103"/>
                <a:gd name="T27" fmla="*/ 37 h 63"/>
                <a:gd name="T28" fmla="*/ 56 w 103"/>
                <a:gd name="T29" fmla="*/ 42 h 63"/>
                <a:gd name="T30" fmla="*/ 69 w 103"/>
                <a:gd name="T31" fmla="*/ 48 h 63"/>
                <a:gd name="T32" fmla="*/ 80 w 103"/>
                <a:gd name="T33" fmla="*/ 52 h 63"/>
                <a:gd name="T34" fmla="*/ 90 w 103"/>
                <a:gd name="T35" fmla="*/ 52 h 63"/>
                <a:gd name="T36" fmla="*/ 100 w 103"/>
                <a:gd name="T37" fmla="*/ 55 h 63"/>
                <a:gd name="T38" fmla="*/ 89 w 103"/>
                <a:gd name="T39" fmla="*/ 5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 h="63">
                  <a:moveTo>
                    <a:pt x="89" y="59"/>
                  </a:moveTo>
                  <a:cubicBezTo>
                    <a:pt x="83" y="60"/>
                    <a:pt x="83" y="61"/>
                    <a:pt x="82" y="63"/>
                  </a:cubicBezTo>
                  <a:cubicBezTo>
                    <a:pt x="55" y="54"/>
                    <a:pt x="30" y="60"/>
                    <a:pt x="30" y="60"/>
                  </a:cubicBezTo>
                  <a:cubicBezTo>
                    <a:pt x="27" y="58"/>
                    <a:pt x="26" y="51"/>
                    <a:pt x="25" y="48"/>
                  </a:cubicBezTo>
                  <a:cubicBezTo>
                    <a:pt x="23" y="44"/>
                    <a:pt x="9" y="25"/>
                    <a:pt x="8" y="21"/>
                  </a:cubicBezTo>
                  <a:cubicBezTo>
                    <a:pt x="7" y="18"/>
                    <a:pt x="3" y="8"/>
                    <a:pt x="3" y="6"/>
                  </a:cubicBezTo>
                  <a:cubicBezTo>
                    <a:pt x="2" y="5"/>
                    <a:pt x="1" y="2"/>
                    <a:pt x="0" y="0"/>
                  </a:cubicBezTo>
                  <a:cubicBezTo>
                    <a:pt x="1" y="0"/>
                    <a:pt x="2" y="0"/>
                    <a:pt x="3" y="0"/>
                  </a:cubicBezTo>
                  <a:cubicBezTo>
                    <a:pt x="6" y="0"/>
                    <a:pt x="9" y="4"/>
                    <a:pt x="14" y="10"/>
                  </a:cubicBezTo>
                  <a:cubicBezTo>
                    <a:pt x="18" y="16"/>
                    <a:pt x="14" y="10"/>
                    <a:pt x="13" y="15"/>
                  </a:cubicBezTo>
                  <a:cubicBezTo>
                    <a:pt x="12" y="19"/>
                    <a:pt x="13" y="15"/>
                    <a:pt x="17" y="16"/>
                  </a:cubicBezTo>
                  <a:cubicBezTo>
                    <a:pt x="22" y="17"/>
                    <a:pt x="23" y="23"/>
                    <a:pt x="25" y="25"/>
                  </a:cubicBezTo>
                  <a:cubicBezTo>
                    <a:pt x="26" y="26"/>
                    <a:pt x="28" y="28"/>
                    <a:pt x="35" y="29"/>
                  </a:cubicBezTo>
                  <a:cubicBezTo>
                    <a:pt x="42" y="30"/>
                    <a:pt x="43" y="35"/>
                    <a:pt x="48" y="37"/>
                  </a:cubicBezTo>
                  <a:cubicBezTo>
                    <a:pt x="53" y="39"/>
                    <a:pt x="52" y="40"/>
                    <a:pt x="56" y="42"/>
                  </a:cubicBezTo>
                  <a:cubicBezTo>
                    <a:pt x="60" y="43"/>
                    <a:pt x="62" y="45"/>
                    <a:pt x="69" y="48"/>
                  </a:cubicBezTo>
                  <a:cubicBezTo>
                    <a:pt x="76" y="50"/>
                    <a:pt x="73" y="50"/>
                    <a:pt x="80" y="52"/>
                  </a:cubicBezTo>
                  <a:cubicBezTo>
                    <a:pt x="87" y="54"/>
                    <a:pt x="86" y="53"/>
                    <a:pt x="90" y="52"/>
                  </a:cubicBezTo>
                  <a:cubicBezTo>
                    <a:pt x="93" y="50"/>
                    <a:pt x="96" y="52"/>
                    <a:pt x="100" y="55"/>
                  </a:cubicBezTo>
                  <a:cubicBezTo>
                    <a:pt x="103" y="58"/>
                    <a:pt x="97" y="59"/>
                    <a:pt x="89" y="59"/>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01" name="Freeform 979">
              <a:extLst>
                <a:ext uri="{FF2B5EF4-FFF2-40B4-BE49-F238E27FC236}">
                  <a16:creationId xmlns:a16="http://schemas.microsoft.com/office/drawing/2014/main" id="{39F270CC-01A4-AC47-8ED3-645A14A6436E}"/>
                </a:ext>
              </a:extLst>
            </p:cNvPr>
            <p:cNvSpPr>
              <a:spLocks/>
            </p:cNvSpPr>
            <p:nvPr/>
          </p:nvSpPr>
          <p:spPr bwMode="auto">
            <a:xfrm>
              <a:off x="1047754" y="1118056"/>
              <a:ext cx="98425" cy="49213"/>
            </a:xfrm>
            <a:custGeom>
              <a:avLst/>
              <a:gdLst>
                <a:gd name="T0" fmla="*/ 9 w 103"/>
                <a:gd name="T1" fmla="*/ 34 h 52"/>
                <a:gd name="T2" fmla="*/ 2 w 103"/>
                <a:gd name="T3" fmla="*/ 45 h 52"/>
                <a:gd name="T4" fmla="*/ 8 w 103"/>
                <a:gd name="T5" fmla="*/ 50 h 52"/>
                <a:gd name="T6" fmla="*/ 22 w 103"/>
                <a:gd name="T7" fmla="*/ 42 h 52"/>
                <a:gd name="T8" fmla="*/ 42 w 103"/>
                <a:gd name="T9" fmla="*/ 39 h 52"/>
                <a:gd name="T10" fmla="*/ 57 w 103"/>
                <a:gd name="T11" fmla="*/ 34 h 52"/>
                <a:gd name="T12" fmla="*/ 70 w 103"/>
                <a:gd name="T13" fmla="*/ 24 h 52"/>
                <a:gd name="T14" fmla="*/ 67 w 103"/>
                <a:gd name="T15" fmla="*/ 15 h 52"/>
                <a:gd name="T16" fmla="*/ 82 w 103"/>
                <a:gd name="T17" fmla="*/ 12 h 52"/>
                <a:gd name="T18" fmla="*/ 91 w 103"/>
                <a:gd name="T19" fmla="*/ 3 h 52"/>
                <a:gd name="T20" fmla="*/ 67 w 103"/>
                <a:gd name="T21" fmla="*/ 9 h 52"/>
                <a:gd name="T22" fmla="*/ 54 w 103"/>
                <a:gd name="T23" fmla="*/ 18 h 52"/>
                <a:gd name="T24" fmla="*/ 41 w 103"/>
                <a:gd name="T25" fmla="*/ 24 h 52"/>
                <a:gd name="T26" fmla="*/ 31 w 103"/>
                <a:gd name="T27" fmla="*/ 26 h 52"/>
                <a:gd name="T28" fmla="*/ 21 w 103"/>
                <a:gd name="T29" fmla="*/ 28 h 52"/>
                <a:gd name="T30" fmla="*/ 9 w 103"/>
                <a:gd name="T31" fmla="*/ 3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 h="52">
                  <a:moveTo>
                    <a:pt x="9" y="34"/>
                  </a:moveTo>
                  <a:cubicBezTo>
                    <a:pt x="8" y="36"/>
                    <a:pt x="2" y="42"/>
                    <a:pt x="2" y="45"/>
                  </a:cubicBezTo>
                  <a:cubicBezTo>
                    <a:pt x="2" y="48"/>
                    <a:pt x="0" y="52"/>
                    <a:pt x="8" y="50"/>
                  </a:cubicBezTo>
                  <a:cubicBezTo>
                    <a:pt x="15" y="47"/>
                    <a:pt x="12" y="42"/>
                    <a:pt x="22" y="42"/>
                  </a:cubicBezTo>
                  <a:cubicBezTo>
                    <a:pt x="31" y="42"/>
                    <a:pt x="36" y="42"/>
                    <a:pt x="42" y="39"/>
                  </a:cubicBezTo>
                  <a:cubicBezTo>
                    <a:pt x="47" y="36"/>
                    <a:pt x="50" y="37"/>
                    <a:pt x="57" y="34"/>
                  </a:cubicBezTo>
                  <a:cubicBezTo>
                    <a:pt x="65" y="30"/>
                    <a:pt x="73" y="28"/>
                    <a:pt x="70" y="24"/>
                  </a:cubicBezTo>
                  <a:cubicBezTo>
                    <a:pt x="67" y="19"/>
                    <a:pt x="61" y="16"/>
                    <a:pt x="67" y="15"/>
                  </a:cubicBezTo>
                  <a:cubicBezTo>
                    <a:pt x="73" y="15"/>
                    <a:pt x="71" y="17"/>
                    <a:pt x="82" y="12"/>
                  </a:cubicBezTo>
                  <a:cubicBezTo>
                    <a:pt x="93" y="8"/>
                    <a:pt x="103" y="0"/>
                    <a:pt x="91" y="3"/>
                  </a:cubicBezTo>
                  <a:cubicBezTo>
                    <a:pt x="78" y="7"/>
                    <a:pt x="77" y="5"/>
                    <a:pt x="67" y="9"/>
                  </a:cubicBezTo>
                  <a:cubicBezTo>
                    <a:pt x="57" y="13"/>
                    <a:pt x="61" y="15"/>
                    <a:pt x="54" y="18"/>
                  </a:cubicBezTo>
                  <a:cubicBezTo>
                    <a:pt x="48" y="22"/>
                    <a:pt x="45" y="23"/>
                    <a:pt x="41" y="24"/>
                  </a:cubicBezTo>
                  <a:cubicBezTo>
                    <a:pt x="38" y="25"/>
                    <a:pt x="36" y="25"/>
                    <a:pt x="31" y="26"/>
                  </a:cubicBezTo>
                  <a:cubicBezTo>
                    <a:pt x="27" y="28"/>
                    <a:pt x="27" y="27"/>
                    <a:pt x="21" y="28"/>
                  </a:cubicBezTo>
                  <a:cubicBezTo>
                    <a:pt x="15" y="29"/>
                    <a:pt x="10" y="32"/>
                    <a:pt x="9" y="3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02" name="Freeform 980">
              <a:extLst>
                <a:ext uri="{FF2B5EF4-FFF2-40B4-BE49-F238E27FC236}">
                  <a16:creationId xmlns:a16="http://schemas.microsoft.com/office/drawing/2014/main" id="{3C996CD0-2232-994D-B88F-2522F9105706}"/>
                </a:ext>
              </a:extLst>
            </p:cNvPr>
            <p:cNvSpPr>
              <a:spLocks/>
            </p:cNvSpPr>
            <p:nvPr/>
          </p:nvSpPr>
          <p:spPr bwMode="auto">
            <a:xfrm>
              <a:off x="893766" y="1073606"/>
              <a:ext cx="42863" cy="17463"/>
            </a:xfrm>
            <a:custGeom>
              <a:avLst/>
              <a:gdLst>
                <a:gd name="T0" fmla="*/ 4 w 46"/>
                <a:gd name="T1" fmla="*/ 9 h 19"/>
                <a:gd name="T2" fmla="*/ 4 w 46"/>
                <a:gd name="T3" fmla="*/ 13 h 19"/>
                <a:gd name="T4" fmla="*/ 16 w 46"/>
                <a:gd name="T5" fmla="*/ 19 h 19"/>
                <a:gd name="T6" fmla="*/ 25 w 46"/>
                <a:gd name="T7" fmla="*/ 16 h 19"/>
                <a:gd name="T8" fmla="*/ 35 w 46"/>
                <a:gd name="T9" fmla="*/ 14 h 19"/>
                <a:gd name="T10" fmla="*/ 42 w 46"/>
                <a:gd name="T11" fmla="*/ 6 h 19"/>
                <a:gd name="T12" fmla="*/ 34 w 46"/>
                <a:gd name="T13" fmla="*/ 3 h 19"/>
                <a:gd name="T14" fmla="*/ 18 w 46"/>
                <a:gd name="T15" fmla="*/ 5 h 19"/>
                <a:gd name="T16" fmla="*/ 7 w 46"/>
                <a:gd name="T17" fmla="*/ 8 h 19"/>
                <a:gd name="T18" fmla="*/ 4 w 46"/>
                <a:gd name="T19"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9">
                  <a:moveTo>
                    <a:pt x="4" y="9"/>
                  </a:moveTo>
                  <a:cubicBezTo>
                    <a:pt x="4" y="10"/>
                    <a:pt x="0" y="9"/>
                    <a:pt x="4" y="13"/>
                  </a:cubicBezTo>
                  <a:cubicBezTo>
                    <a:pt x="8" y="17"/>
                    <a:pt x="11" y="19"/>
                    <a:pt x="16" y="19"/>
                  </a:cubicBezTo>
                  <a:cubicBezTo>
                    <a:pt x="20" y="19"/>
                    <a:pt x="19" y="18"/>
                    <a:pt x="25" y="16"/>
                  </a:cubicBezTo>
                  <a:cubicBezTo>
                    <a:pt x="32" y="15"/>
                    <a:pt x="33" y="16"/>
                    <a:pt x="35" y="14"/>
                  </a:cubicBezTo>
                  <a:cubicBezTo>
                    <a:pt x="38" y="11"/>
                    <a:pt x="46" y="9"/>
                    <a:pt x="42" y="6"/>
                  </a:cubicBezTo>
                  <a:cubicBezTo>
                    <a:pt x="39" y="3"/>
                    <a:pt x="42" y="0"/>
                    <a:pt x="34" y="3"/>
                  </a:cubicBezTo>
                  <a:cubicBezTo>
                    <a:pt x="25" y="6"/>
                    <a:pt x="19" y="3"/>
                    <a:pt x="18" y="5"/>
                  </a:cubicBezTo>
                  <a:cubicBezTo>
                    <a:pt x="16" y="8"/>
                    <a:pt x="8" y="8"/>
                    <a:pt x="7" y="8"/>
                  </a:cubicBezTo>
                  <a:cubicBezTo>
                    <a:pt x="5" y="8"/>
                    <a:pt x="5" y="8"/>
                    <a:pt x="4" y="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03" name="Freeform 981">
              <a:extLst>
                <a:ext uri="{FF2B5EF4-FFF2-40B4-BE49-F238E27FC236}">
                  <a16:creationId xmlns:a16="http://schemas.microsoft.com/office/drawing/2014/main" id="{18D7EBDF-832C-8441-A67A-0E97351B56AF}"/>
                </a:ext>
              </a:extLst>
            </p:cNvPr>
            <p:cNvSpPr>
              <a:spLocks/>
            </p:cNvSpPr>
            <p:nvPr/>
          </p:nvSpPr>
          <p:spPr bwMode="auto">
            <a:xfrm>
              <a:off x="946153" y="1000581"/>
              <a:ext cx="33338" cy="14288"/>
            </a:xfrm>
            <a:custGeom>
              <a:avLst/>
              <a:gdLst>
                <a:gd name="T0" fmla="*/ 4 w 36"/>
                <a:gd name="T1" fmla="*/ 6 h 14"/>
                <a:gd name="T2" fmla="*/ 1 w 36"/>
                <a:gd name="T3" fmla="*/ 10 h 14"/>
                <a:gd name="T4" fmla="*/ 4 w 36"/>
                <a:gd name="T5" fmla="*/ 14 h 14"/>
                <a:gd name="T6" fmla="*/ 10 w 36"/>
                <a:gd name="T7" fmla="*/ 12 h 14"/>
                <a:gd name="T8" fmla="*/ 20 w 36"/>
                <a:gd name="T9" fmla="*/ 9 h 14"/>
                <a:gd name="T10" fmla="*/ 29 w 36"/>
                <a:gd name="T11" fmla="*/ 8 h 14"/>
                <a:gd name="T12" fmla="*/ 28 w 36"/>
                <a:gd name="T13" fmla="*/ 4 h 14"/>
                <a:gd name="T14" fmla="*/ 18 w 36"/>
                <a:gd name="T15" fmla="*/ 2 h 14"/>
                <a:gd name="T16" fmla="*/ 11 w 36"/>
                <a:gd name="T17" fmla="*/ 2 h 14"/>
                <a:gd name="T18" fmla="*/ 4 w 36"/>
                <a:gd name="T19"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4">
                  <a:moveTo>
                    <a:pt x="4" y="6"/>
                  </a:moveTo>
                  <a:cubicBezTo>
                    <a:pt x="3" y="7"/>
                    <a:pt x="0" y="8"/>
                    <a:pt x="1" y="10"/>
                  </a:cubicBezTo>
                  <a:cubicBezTo>
                    <a:pt x="1" y="13"/>
                    <a:pt x="1" y="14"/>
                    <a:pt x="4" y="14"/>
                  </a:cubicBezTo>
                  <a:cubicBezTo>
                    <a:pt x="7" y="14"/>
                    <a:pt x="6" y="13"/>
                    <a:pt x="10" y="12"/>
                  </a:cubicBezTo>
                  <a:cubicBezTo>
                    <a:pt x="14" y="10"/>
                    <a:pt x="14" y="9"/>
                    <a:pt x="20" y="9"/>
                  </a:cubicBezTo>
                  <a:cubicBezTo>
                    <a:pt x="25" y="10"/>
                    <a:pt x="27" y="10"/>
                    <a:pt x="29" y="8"/>
                  </a:cubicBezTo>
                  <a:cubicBezTo>
                    <a:pt x="31" y="6"/>
                    <a:pt x="36" y="4"/>
                    <a:pt x="28" y="4"/>
                  </a:cubicBezTo>
                  <a:cubicBezTo>
                    <a:pt x="21" y="4"/>
                    <a:pt x="20" y="3"/>
                    <a:pt x="18" y="2"/>
                  </a:cubicBezTo>
                  <a:cubicBezTo>
                    <a:pt x="15" y="1"/>
                    <a:pt x="15" y="0"/>
                    <a:pt x="11" y="2"/>
                  </a:cubicBezTo>
                  <a:cubicBezTo>
                    <a:pt x="6" y="4"/>
                    <a:pt x="4" y="5"/>
                    <a:pt x="4"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04" name="Freeform 982">
              <a:extLst>
                <a:ext uri="{FF2B5EF4-FFF2-40B4-BE49-F238E27FC236}">
                  <a16:creationId xmlns:a16="http://schemas.microsoft.com/office/drawing/2014/main" id="{05E9D550-1475-5642-9F2B-6D313E0AD1D8}"/>
                </a:ext>
              </a:extLst>
            </p:cNvPr>
            <p:cNvSpPr>
              <a:spLocks/>
            </p:cNvSpPr>
            <p:nvPr/>
          </p:nvSpPr>
          <p:spPr bwMode="auto">
            <a:xfrm>
              <a:off x="857253" y="822780"/>
              <a:ext cx="809628" cy="398463"/>
            </a:xfrm>
            <a:custGeom>
              <a:avLst/>
              <a:gdLst>
                <a:gd name="T0" fmla="*/ 660 w 851"/>
                <a:gd name="T1" fmla="*/ 404 h 419"/>
                <a:gd name="T2" fmla="*/ 644 w 851"/>
                <a:gd name="T3" fmla="*/ 394 h 419"/>
                <a:gd name="T4" fmla="*/ 620 w 851"/>
                <a:gd name="T5" fmla="*/ 404 h 419"/>
                <a:gd name="T6" fmla="*/ 590 w 851"/>
                <a:gd name="T7" fmla="*/ 389 h 419"/>
                <a:gd name="T8" fmla="*/ 622 w 851"/>
                <a:gd name="T9" fmla="*/ 372 h 419"/>
                <a:gd name="T10" fmla="*/ 643 w 851"/>
                <a:gd name="T11" fmla="*/ 346 h 419"/>
                <a:gd name="T12" fmla="*/ 596 w 851"/>
                <a:gd name="T13" fmla="*/ 339 h 419"/>
                <a:gd name="T14" fmla="*/ 646 w 851"/>
                <a:gd name="T15" fmla="*/ 312 h 419"/>
                <a:gd name="T16" fmla="*/ 596 w 851"/>
                <a:gd name="T17" fmla="*/ 319 h 419"/>
                <a:gd name="T18" fmla="*/ 571 w 851"/>
                <a:gd name="T19" fmla="*/ 284 h 419"/>
                <a:gd name="T20" fmla="*/ 516 w 851"/>
                <a:gd name="T21" fmla="*/ 278 h 419"/>
                <a:gd name="T22" fmla="*/ 474 w 851"/>
                <a:gd name="T23" fmla="*/ 266 h 419"/>
                <a:gd name="T24" fmla="*/ 443 w 851"/>
                <a:gd name="T25" fmla="*/ 260 h 419"/>
                <a:gd name="T26" fmla="*/ 422 w 851"/>
                <a:gd name="T27" fmla="*/ 279 h 419"/>
                <a:gd name="T28" fmla="*/ 378 w 851"/>
                <a:gd name="T29" fmla="*/ 286 h 419"/>
                <a:gd name="T30" fmla="*/ 326 w 851"/>
                <a:gd name="T31" fmla="*/ 293 h 419"/>
                <a:gd name="T32" fmla="*/ 392 w 851"/>
                <a:gd name="T33" fmla="*/ 259 h 419"/>
                <a:gd name="T34" fmla="*/ 377 w 851"/>
                <a:gd name="T35" fmla="*/ 256 h 419"/>
                <a:gd name="T36" fmla="*/ 327 w 851"/>
                <a:gd name="T37" fmla="*/ 279 h 419"/>
                <a:gd name="T38" fmla="*/ 285 w 851"/>
                <a:gd name="T39" fmla="*/ 303 h 419"/>
                <a:gd name="T40" fmla="*/ 223 w 851"/>
                <a:gd name="T41" fmla="*/ 331 h 419"/>
                <a:gd name="T42" fmla="*/ 157 w 851"/>
                <a:gd name="T43" fmla="*/ 357 h 419"/>
                <a:gd name="T44" fmla="*/ 91 w 851"/>
                <a:gd name="T45" fmla="*/ 384 h 419"/>
                <a:gd name="T46" fmla="*/ 38 w 851"/>
                <a:gd name="T47" fmla="*/ 397 h 419"/>
                <a:gd name="T48" fmla="*/ 28 w 851"/>
                <a:gd name="T49" fmla="*/ 404 h 419"/>
                <a:gd name="T50" fmla="*/ 23 w 851"/>
                <a:gd name="T51" fmla="*/ 386 h 419"/>
                <a:gd name="T52" fmla="*/ 89 w 851"/>
                <a:gd name="T53" fmla="*/ 362 h 419"/>
                <a:gd name="T54" fmla="*/ 160 w 851"/>
                <a:gd name="T55" fmla="*/ 336 h 419"/>
                <a:gd name="T56" fmla="*/ 177 w 851"/>
                <a:gd name="T57" fmla="*/ 304 h 419"/>
                <a:gd name="T58" fmla="*/ 124 w 851"/>
                <a:gd name="T59" fmla="*/ 312 h 419"/>
                <a:gd name="T60" fmla="*/ 135 w 851"/>
                <a:gd name="T61" fmla="*/ 288 h 419"/>
                <a:gd name="T62" fmla="*/ 97 w 851"/>
                <a:gd name="T63" fmla="*/ 269 h 419"/>
                <a:gd name="T64" fmla="*/ 122 w 851"/>
                <a:gd name="T65" fmla="*/ 249 h 419"/>
                <a:gd name="T66" fmla="*/ 151 w 851"/>
                <a:gd name="T67" fmla="*/ 219 h 419"/>
                <a:gd name="T68" fmla="*/ 200 w 851"/>
                <a:gd name="T69" fmla="*/ 199 h 419"/>
                <a:gd name="T70" fmla="*/ 254 w 851"/>
                <a:gd name="T71" fmla="*/ 188 h 419"/>
                <a:gd name="T72" fmla="*/ 306 w 851"/>
                <a:gd name="T73" fmla="*/ 171 h 419"/>
                <a:gd name="T74" fmla="*/ 273 w 851"/>
                <a:gd name="T75" fmla="*/ 165 h 419"/>
                <a:gd name="T76" fmla="*/ 241 w 851"/>
                <a:gd name="T77" fmla="*/ 146 h 419"/>
                <a:gd name="T78" fmla="*/ 287 w 851"/>
                <a:gd name="T79" fmla="*/ 119 h 419"/>
                <a:gd name="T80" fmla="*/ 319 w 851"/>
                <a:gd name="T81" fmla="*/ 123 h 419"/>
                <a:gd name="T82" fmla="*/ 361 w 851"/>
                <a:gd name="T83" fmla="*/ 121 h 419"/>
                <a:gd name="T84" fmla="*/ 372 w 851"/>
                <a:gd name="T85" fmla="*/ 107 h 419"/>
                <a:gd name="T86" fmla="*/ 346 w 851"/>
                <a:gd name="T87" fmla="*/ 70 h 419"/>
                <a:gd name="T88" fmla="*/ 404 w 851"/>
                <a:gd name="T89" fmla="*/ 54 h 419"/>
                <a:gd name="T90" fmla="*/ 467 w 851"/>
                <a:gd name="T91" fmla="*/ 36 h 419"/>
                <a:gd name="T92" fmla="*/ 522 w 851"/>
                <a:gd name="T93" fmla="*/ 21 h 419"/>
                <a:gd name="T94" fmla="*/ 617 w 851"/>
                <a:gd name="T95" fmla="*/ 5 h 419"/>
                <a:gd name="T96" fmla="*/ 665 w 851"/>
                <a:gd name="T97" fmla="*/ 11 h 419"/>
                <a:gd name="T98" fmla="*/ 714 w 851"/>
                <a:gd name="T99" fmla="*/ 20 h 419"/>
                <a:gd name="T100" fmla="*/ 795 w 851"/>
                <a:gd name="T101" fmla="*/ 30 h 419"/>
                <a:gd name="T102" fmla="*/ 851 w 851"/>
                <a:gd name="T103" fmla="*/ 40 h 419"/>
                <a:gd name="T104" fmla="*/ 610 w 851"/>
                <a:gd name="T105" fmla="*/ 269 h 419"/>
                <a:gd name="T106" fmla="*/ 608 w 851"/>
                <a:gd name="T107" fmla="*/ 304 h 419"/>
                <a:gd name="T108" fmla="*/ 654 w 851"/>
                <a:gd name="T109" fmla="*/ 286 h 419"/>
                <a:gd name="T110" fmla="*/ 667 w 851"/>
                <a:gd name="T111" fmla="*/ 297 h 419"/>
                <a:gd name="T112" fmla="*/ 668 w 851"/>
                <a:gd name="T113" fmla="*/ 334 h 419"/>
                <a:gd name="T114" fmla="*/ 666 w 851"/>
                <a:gd name="T115" fmla="*/ 368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51" h="419">
                  <a:moveTo>
                    <a:pt x="681" y="381"/>
                  </a:moveTo>
                  <a:cubicBezTo>
                    <a:pt x="680" y="383"/>
                    <a:pt x="679" y="384"/>
                    <a:pt x="676" y="386"/>
                  </a:cubicBezTo>
                  <a:cubicBezTo>
                    <a:pt x="673" y="388"/>
                    <a:pt x="671" y="388"/>
                    <a:pt x="668" y="393"/>
                  </a:cubicBezTo>
                  <a:cubicBezTo>
                    <a:pt x="665" y="398"/>
                    <a:pt x="666" y="401"/>
                    <a:pt x="660" y="404"/>
                  </a:cubicBezTo>
                  <a:cubicBezTo>
                    <a:pt x="654" y="408"/>
                    <a:pt x="648" y="409"/>
                    <a:pt x="645" y="412"/>
                  </a:cubicBezTo>
                  <a:cubicBezTo>
                    <a:pt x="643" y="413"/>
                    <a:pt x="638" y="413"/>
                    <a:pt x="636" y="414"/>
                  </a:cubicBezTo>
                  <a:cubicBezTo>
                    <a:pt x="638" y="406"/>
                    <a:pt x="640" y="410"/>
                    <a:pt x="646" y="405"/>
                  </a:cubicBezTo>
                  <a:cubicBezTo>
                    <a:pt x="652" y="399"/>
                    <a:pt x="641" y="399"/>
                    <a:pt x="644" y="394"/>
                  </a:cubicBezTo>
                  <a:cubicBezTo>
                    <a:pt x="648" y="388"/>
                    <a:pt x="640" y="394"/>
                    <a:pt x="629" y="391"/>
                  </a:cubicBezTo>
                  <a:cubicBezTo>
                    <a:pt x="619" y="388"/>
                    <a:pt x="636" y="386"/>
                    <a:pt x="639" y="382"/>
                  </a:cubicBezTo>
                  <a:cubicBezTo>
                    <a:pt x="641" y="377"/>
                    <a:pt x="634" y="378"/>
                    <a:pt x="625" y="385"/>
                  </a:cubicBezTo>
                  <a:cubicBezTo>
                    <a:pt x="617" y="392"/>
                    <a:pt x="623" y="393"/>
                    <a:pt x="620" y="404"/>
                  </a:cubicBezTo>
                  <a:cubicBezTo>
                    <a:pt x="618" y="415"/>
                    <a:pt x="616" y="408"/>
                    <a:pt x="607" y="414"/>
                  </a:cubicBezTo>
                  <a:cubicBezTo>
                    <a:pt x="597" y="419"/>
                    <a:pt x="593" y="410"/>
                    <a:pt x="591" y="406"/>
                  </a:cubicBezTo>
                  <a:cubicBezTo>
                    <a:pt x="589" y="402"/>
                    <a:pt x="600" y="398"/>
                    <a:pt x="602" y="393"/>
                  </a:cubicBezTo>
                  <a:cubicBezTo>
                    <a:pt x="603" y="388"/>
                    <a:pt x="591" y="393"/>
                    <a:pt x="590" y="389"/>
                  </a:cubicBezTo>
                  <a:cubicBezTo>
                    <a:pt x="590" y="386"/>
                    <a:pt x="591" y="386"/>
                    <a:pt x="593" y="384"/>
                  </a:cubicBezTo>
                  <a:cubicBezTo>
                    <a:pt x="594" y="382"/>
                    <a:pt x="599" y="384"/>
                    <a:pt x="605" y="384"/>
                  </a:cubicBezTo>
                  <a:cubicBezTo>
                    <a:pt x="611" y="384"/>
                    <a:pt x="614" y="384"/>
                    <a:pt x="614" y="375"/>
                  </a:cubicBezTo>
                  <a:cubicBezTo>
                    <a:pt x="614" y="366"/>
                    <a:pt x="620" y="373"/>
                    <a:pt x="622" y="372"/>
                  </a:cubicBezTo>
                  <a:cubicBezTo>
                    <a:pt x="623" y="370"/>
                    <a:pt x="630" y="368"/>
                    <a:pt x="633" y="367"/>
                  </a:cubicBezTo>
                  <a:cubicBezTo>
                    <a:pt x="637" y="365"/>
                    <a:pt x="648" y="359"/>
                    <a:pt x="652" y="352"/>
                  </a:cubicBezTo>
                  <a:cubicBezTo>
                    <a:pt x="657" y="345"/>
                    <a:pt x="654" y="340"/>
                    <a:pt x="653" y="331"/>
                  </a:cubicBezTo>
                  <a:cubicBezTo>
                    <a:pt x="652" y="323"/>
                    <a:pt x="651" y="338"/>
                    <a:pt x="643" y="346"/>
                  </a:cubicBezTo>
                  <a:cubicBezTo>
                    <a:pt x="635" y="353"/>
                    <a:pt x="635" y="347"/>
                    <a:pt x="617" y="347"/>
                  </a:cubicBezTo>
                  <a:cubicBezTo>
                    <a:pt x="599" y="347"/>
                    <a:pt x="617" y="352"/>
                    <a:pt x="610" y="365"/>
                  </a:cubicBezTo>
                  <a:cubicBezTo>
                    <a:pt x="603" y="378"/>
                    <a:pt x="588" y="373"/>
                    <a:pt x="593" y="369"/>
                  </a:cubicBezTo>
                  <a:cubicBezTo>
                    <a:pt x="598" y="365"/>
                    <a:pt x="596" y="349"/>
                    <a:pt x="596" y="339"/>
                  </a:cubicBezTo>
                  <a:cubicBezTo>
                    <a:pt x="597" y="330"/>
                    <a:pt x="606" y="337"/>
                    <a:pt x="607" y="336"/>
                  </a:cubicBezTo>
                  <a:cubicBezTo>
                    <a:pt x="609" y="335"/>
                    <a:pt x="619" y="335"/>
                    <a:pt x="629" y="331"/>
                  </a:cubicBezTo>
                  <a:cubicBezTo>
                    <a:pt x="639" y="328"/>
                    <a:pt x="636" y="331"/>
                    <a:pt x="647" y="326"/>
                  </a:cubicBezTo>
                  <a:cubicBezTo>
                    <a:pt x="658" y="321"/>
                    <a:pt x="647" y="319"/>
                    <a:pt x="646" y="312"/>
                  </a:cubicBezTo>
                  <a:cubicBezTo>
                    <a:pt x="644" y="306"/>
                    <a:pt x="646" y="312"/>
                    <a:pt x="633" y="321"/>
                  </a:cubicBezTo>
                  <a:cubicBezTo>
                    <a:pt x="620" y="330"/>
                    <a:pt x="628" y="319"/>
                    <a:pt x="628" y="309"/>
                  </a:cubicBezTo>
                  <a:cubicBezTo>
                    <a:pt x="628" y="300"/>
                    <a:pt x="622" y="307"/>
                    <a:pt x="618" y="320"/>
                  </a:cubicBezTo>
                  <a:cubicBezTo>
                    <a:pt x="614" y="333"/>
                    <a:pt x="599" y="323"/>
                    <a:pt x="596" y="319"/>
                  </a:cubicBezTo>
                  <a:cubicBezTo>
                    <a:pt x="592" y="316"/>
                    <a:pt x="592" y="309"/>
                    <a:pt x="592" y="306"/>
                  </a:cubicBezTo>
                  <a:cubicBezTo>
                    <a:pt x="593" y="304"/>
                    <a:pt x="591" y="300"/>
                    <a:pt x="583" y="296"/>
                  </a:cubicBezTo>
                  <a:cubicBezTo>
                    <a:pt x="576" y="292"/>
                    <a:pt x="576" y="290"/>
                    <a:pt x="583" y="286"/>
                  </a:cubicBezTo>
                  <a:cubicBezTo>
                    <a:pt x="589" y="282"/>
                    <a:pt x="585" y="283"/>
                    <a:pt x="571" y="284"/>
                  </a:cubicBezTo>
                  <a:cubicBezTo>
                    <a:pt x="557" y="285"/>
                    <a:pt x="562" y="284"/>
                    <a:pt x="561" y="281"/>
                  </a:cubicBezTo>
                  <a:cubicBezTo>
                    <a:pt x="560" y="278"/>
                    <a:pt x="555" y="281"/>
                    <a:pt x="548" y="278"/>
                  </a:cubicBezTo>
                  <a:cubicBezTo>
                    <a:pt x="541" y="275"/>
                    <a:pt x="538" y="277"/>
                    <a:pt x="534" y="274"/>
                  </a:cubicBezTo>
                  <a:cubicBezTo>
                    <a:pt x="529" y="272"/>
                    <a:pt x="522" y="277"/>
                    <a:pt x="516" y="278"/>
                  </a:cubicBezTo>
                  <a:cubicBezTo>
                    <a:pt x="510" y="279"/>
                    <a:pt x="500" y="282"/>
                    <a:pt x="503" y="277"/>
                  </a:cubicBezTo>
                  <a:cubicBezTo>
                    <a:pt x="506" y="273"/>
                    <a:pt x="489" y="270"/>
                    <a:pt x="485" y="268"/>
                  </a:cubicBezTo>
                  <a:cubicBezTo>
                    <a:pt x="482" y="266"/>
                    <a:pt x="466" y="273"/>
                    <a:pt x="460" y="272"/>
                  </a:cubicBezTo>
                  <a:cubicBezTo>
                    <a:pt x="454" y="271"/>
                    <a:pt x="467" y="266"/>
                    <a:pt x="474" y="266"/>
                  </a:cubicBezTo>
                  <a:cubicBezTo>
                    <a:pt x="482" y="266"/>
                    <a:pt x="477" y="261"/>
                    <a:pt x="478" y="255"/>
                  </a:cubicBezTo>
                  <a:cubicBezTo>
                    <a:pt x="479" y="250"/>
                    <a:pt x="468" y="252"/>
                    <a:pt x="466" y="250"/>
                  </a:cubicBezTo>
                  <a:cubicBezTo>
                    <a:pt x="464" y="248"/>
                    <a:pt x="455" y="253"/>
                    <a:pt x="449" y="251"/>
                  </a:cubicBezTo>
                  <a:cubicBezTo>
                    <a:pt x="444" y="250"/>
                    <a:pt x="459" y="256"/>
                    <a:pt x="443" y="260"/>
                  </a:cubicBezTo>
                  <a:cubicBezTo>
                    <a:pt x="427" y="264"/>
                    <a:pt x="441" y="266"/>
                    <a:pt x="435" y="267"/>
                  </a:cubicBezTo>
                  <a:cubicBezTo>
                    <a:pt x="428" y="268"/>
                    <a:pt x="429" y="269"/>
                    <a:pt x="433" y="272"/>
                  </a:cubicBezTo>
                  <a:cubicBezTo>
                    <a:pt x="437" y="276"/>
                    <a:pt x="438" y="276"/>
                    <a:pt x="434" y="279"/>
                  </a:cubicBezTo>
                  <a:cubicBezTo>
                    <a:pt x="429" y="283"/>
                    <a:pt x="425" y="282"/>
                    <a:pt x="422" y="279"/>
                  </a:cubicBezTo>
                  <a:cubicBezTo>
                    <a:pt x="419" y="277"/>
                    <a:pt x="420" y="279"/>
                    <a:pt x="413" y="278"/>
                  </a:cubicBezTo>
                  <a:cubicBezTo>
                    <a:pt x="405" y="277"/>
                    <a:pt x="408" y="278"/>
                    <a:pt x="403" y="277"/>
                  </a:cubicBezTo>
                  <a:cubicBezTo>
                    <a:pt x="397" y="276"/>
                    <a:pt x="397" y="279"/>
                    <a:pt x="392" y="279"/>
                  </a:cubicBezTo>
                  <a:cubicBezTo>
                    <a:pt x="388" y="279"/>
                    <a:pt x="388" y="283"/>
                    <a:pt x="378" y="286"/>
                  </a:cubicBezTo>
                  <a:cubicBezTo>
                    <a:pt x="368" y="289"/>
                    <a:pt x="372" y="289"/>
                    <a:pt x="362" y="292"/>
                  </a:cubicBezTo>
                  <a:cubicBezTo>
                    <a:pt x="352" y="295"/>
                    <a:pt x="355" y="294"/>
                    <a:pt x="343" y="297"/>
                  </a:cubicBezTo>
                  <a:cubicBezTo>
                    <a:pt x="330" y="300"/>
                    <a:pt x="335" y="301"/>
                    <a:pt x="324" y="301"/>
                  </a:cubicBezTo>
                  <a:cubicBezTo>
                    <a:pt x="313" y="301"/>
                    <a:pt x="323" y="296"/>
                    <a:pt x="326" y="293"/>
                  </a:cubicBezTo>
                  <a:cubicBezTo>
                    <a:pt x="329" y="291"/>
                    <a:pt x="337" y="287"/>
                    <a:pt x="339" y="284"/>
                  </a:cubicBezTo>
                  <a:cubicBezTo>
                    <a:pt x="340" y="281"/>
                    <a:pt x="349" y="281"/>
                    <a:pt x="355" y="279"/>
                  </a:cubicBezTo>
                  <a:cubicBezTo>
                    <a:pt x="360" y="277"/>
                    <a:pt x="366" y="272"/>
                    <a:pt x="371" y="268"/>
                  </a:cubicBezTo>
                  <a:cubicBezTo>
                    <a:pt x="377" y="264"/>
                    <a:pt x="384" y="261"/>
                    <a:pt x="392" y="259"/>
                  </a:cubicBezTo>
                  <a:cubicBezTo>
                    <a:pt x="399" y="256"/>
                    <a:pt x="401" y="255"/>
                    <a:pt x="412" y="253"/>
                  </a:cubicBezTo>
                  <a:cubicBezTo>
                    <a:pt x="422" y="252"/>
                    <a:pt x="419" y="252"/>
                    <a:pt x="422" y="249"/>
                  </a:cubicBezTo>
                  <a:cubicBezTo>
                    <a:pt x="424" y="245"/>
                    <a:pt x="408" y="249"/>
                    <a:pt x="396" y="251"/>
                  </a:cubicBezTo>
                  <a:cubicBezTo>
                    <a:pt x="384" y="253"/>
                    <a:pt x="387" y="254"/>
                    <a:pt x="377" y="256"/>
                  </a:cubicBezTo>
                  <a:cubicBezTo>
                    <a:pt x="367" y="259"/>
                    <a:pt x="371" y="261"/>
                    <a:pt x="367" y="261"/>
                  </a:cubicBezTo>
                  <a:cubicBezTo>
                    <a:pt x="363" y="262"/>
                    <a:pt x="366" y="264"/>
                    <a:pt x="352" y="268"/>
                  </a:cubicBezTo>
                  <a:cubicBezTo>
                    <a:pt x="339" y="272"/>
                    <a:pt x="348" y="271"/>
                    <a:pt x="340" y="273"/>
                  </a:cubicBezTo>
                  <a:cubicBezTo>
                    <a:pt x="331" y="275"/>
                    <a:pt x="338" y="279"/>
                    <a:pt x="327" y="279"/>
                  </a:cubicBezTo>
                  <a:cubicBezTo>
                    <a:pt x="317" y="279"/>
                    <a:pt x="321" y="281"/>
                    <a:pt x="311" y="282"/>
                  </a:cubicBezTo>
                  <a:cubicBezTo>
                    <a:pt x="301" y="282"/>
                    <a:pt x="308" y="287"/>
                    <a:pt x="297" y="288"/>
                  </a:cubicBezTo>
                  <a:cubicBezTo>
                    <a:pt x="286" y="289"/>
                    <a:pt x="283" y="293"/>
                    <a:pt x="278" y="296"/>
                  </a:cubicBezTo>
                  <a:cubicBezTo>
                    <a:pt x="273" y="299"/>
                    <a:pt x="281" y="301"/>
                    <a:pt x="285" y="303"/>
                  </a:cubicBezTo>
                  <a:cubicBezTo>
                    <a:pt x="288" y="305"/>
                    <a:pt x="283" y="309"/>
                    <a:pt x="277" y="313"/>
                  </a:cubicBezTo>
                  <a:cubicBezTo>
                    <a:pt x="271" y="316"/>
                    <a:pt x="271" y="316"/>
                    <a:pt x="261" y="320"/>
                  </a:cubicBezTo>
                  <a:cubicBezTo>
                    <a:pt x="251" y="323"/>
                    <a:pt x="256" y="321"/>
                    <a:pt x="241" y="325"/>
                  </a:cubicBezTo>
                  <a:cubicBezTo>
                    <a:pt x="226" y="328"/>
                    <a:pt x="235" y="327"/>
                    <a:pt x="223" y="331"/>
                  </a:cubicBezTo>
                  <a:cubicBezTo>
                    <a:pt x="212" y="335"/>
                    <a:pt x="221" y="332"/>
                    <a:pt x="203" y="339"/>
                  </a:cubicBezTo>
                  <a:cubicBezTo>
                    <a:pt x="185" y="346"/>
                    <a:pt x="199" y="341"/>
                    <a:pt x="188" y="342"/>
                  </a:cubicBezTo>
                  <a:cubicBezTo>
                    <a:pt x="177" y="343"/>
                    <a:pt x="185" y="344"/>
                    <a:pt x="174" y="350"/>
                  </a:cubicBezTo>
                  <a:cubicBezTo>
                    <a:pt x="162" y="355"/>
                    <a:pt x="169" y="354"/>
                    <a:pt x="157" y="357"/>
                  </a:cubicBezTo>
                  <a:cubicBezTo>
                    <a:pt x="146" y="360"/>
                    <a:pt x="149" y="361"/>
                    <a:pt x="139" y="361"/>
                  </a:cubicBezTo>
                  <a:cubicBezTo>
                    <a:pt x="129" y="361"/>
                    <a:pt x="124" y="367"/>
                    <a:pt x="114" y="367"/>
                  </a:cubicBezTo>
                  <a:cubicBezTo>
                    <a:pt x="104" y="367"/>
                    <a:pt x="111" y="369"/>
                    <a:pt x="99" y="373"/>
                  </a:cubicBezTo>
                  <a:cubicBezTo>
                    <a:pt x="87" y="377"/>
                    <a:pt x="97" y="377"/>
                    <a:pt x="91" y="384"/>
                  </a:cubicBezTo>
                  <a:cubicBezTo>
                    <a:pt x="86" y="392"/>
                    <a:pt x="81" y="384"/>
                    <a:pt x="73" y="386"/>
                  </a:cubicBezTo>
                  <a:cubicBezTo>
                    <a:pt x="65" y="388"/>
                    <a:pt x="60" y="391"/>
                    <a:pt x="57" y="388"/>
                  </a:cubicBezTo>
                  <a:cubicBezTo>
                    <a:pt x="54" y="385"/>
                    <a:pt x="47" y="390"/>
                    <a:pt x="44" y="390"/>
                  </a:cubicBezTo>
                  <a:cubicBezTo>
                    <a:pt x="41" y="390"/>
                    <a:pt x="44" y="392"/>
                    <a:pt x="38" y="397"/>
                  </a:cubicBezTo>
                  <a:cubicBezTo>
                    <a:pt x="32" y="402"/>
                    <a:pt x="41" y="399"/>
                    <a:pt x="47" y="401"/>
                  </a:cubicBezTo>
                  <a:cubicBezTo>
                    <a:pt x="52" y="402"/>
                    <a:pt x="48" y="404"/>
                    <a:pt x="42" y="408"/>
                  </a:cubicBezTo>
                  <a:cubicBezTo>
                    <a:pt x="36" y="412"/>
                    <a:pt x="36" y="409"/>
                    <a:pt x="30" y="409"/>
                  </a:cubicBezTo>
                  <a:cubicBezTo>
                    <a:pt x="23" y="409"/>
                    <a:pt x="31" y="404"/>
                    <a:pt x="28" y="404"/>
                  </a:cubicBezTo>
                  <a:cubicBezTo>
                    <a:pt x="24" y="405"/>
                    <a:pt x="22" y="404"/>
                    <a:pt x="22" y="401"/>
                  </a:cubicBezTo>
                  <a:cubicBezTo>
                    <a:pt x="21" y="398"/>
                    <a:pt x="18" y="403"/>
                    <a:pt x="9" y="402"/>
                  </a:cubicBezTo>
                  <a:cubicBezTo>
                    <a:pt x="0" y="402"/>
                    <a:pt x="8" y="398"/>
                    <a:pt x="10" y="394"/>
                  </a:cubicBezTo>
                  <a:cubicBezTo>
                    <a:pt x="13" y="390"/>
                    <a:pt x="23" y="392"/>
                    <a:pt x="23" y="386"/>
                  </a:cubicBezTo>
                  <a:cubicBezTo>
                    <a:pt x="23" y="381"/>
                    <a:pt x="31" y="385"/>
                    <a:pt x="42" y="384"/>
                  </a:cubicBezTo>
                  <a:cubicBezTo>
                    <a:pt x="53" y="383"/>
                    <a:pt x="45" y="383"/>
                    <a:pt x="50" y="380"/>
                  </a:cubicBezTo>
                  <a:cubicBezTo>
                    <a:pt x="56" y="378"/>
                    <a:pt x="58" y="375"/>
                    <a:pt x="72" y="370"/>
                  </a:cubicBezTo>
                  <a:cubicBezTo>
                    <a:pt x="85" y="366"/>
                    <a:pt x="79" y="367"/>
                    <a:pt x="89" y="362"/>
                  </a:cubicBezTo>
                  <a:cubicBezTo>
                    <a:pt x="98" y="356"/>
                    <a:pt x="97" y="360"/>
                    <a:pt x="107" y="359"/>
                  </a:cubicBezTo>
                  <a:cubicBezTo>
                    <a:pt x="117" y="357"/>
                    <a:pt x="115" y="354"/>
                    <a:pt x="120" y="350"/>
                  </a:cubicBezTo>
                  <a:cubicBezTo>
                    <a:pt x="125" y="345"/>
                    <a:pt x="128" y="345"/>
                    <a:pt x="143" y="343"/>
                  </a:cubicBezTo>
                  <a:cubicBezTo>
                    <a:pt x="158" y="341"/>
                    <a:pt x="152" y="342"/>
                    <a:pt x="160" y="336"/>
                  </a:cubicBezTo>
                  <a:cubicBezTo>
                    <a:pt x="168" y="330"/>
                    <a:pt x="167" y="330"/>
                    <a:pt x="172" y="326"/>
                  </a:cubicBezTo>
                  <a:cubicBezTo>
                    <a:pt x="178" y="321"/>
                    <a:pt x="186" y="319"/>
                    <a:pt x="198" y="314"/>
                  </a:cubicBezTo>
                  <a:cubicBezTo>
                    <a:pt x="211" y="309"/>
                    <a:pt x="198" y="311"/>
                    <a:pt x="190" y="312"/>
                  </a:cubicBezTo>
                  <a:cubicBezTo>
                    <a:pt x="182" y="313"/>
                    <a:pt x="181" y="310"/>
                    <a:pt x="177" y="304"/>
                  </a:cubicBezTo>
                  <a:cubicBezTo>
                    <a:pt x="174" y="299"/>
                    <a:pt x="168" y="311"/>
                    <a:pt x="164" y="314"/>
                  </a:cubicBezTo>
                  <a:cubicBezTo>
                    <a:pt x="161" y="317"/>
                    <a:pt x="159" y="319"/>
                    <a:pt x="151" y="318"/>
                  </a:cubicBezTo>
                  <a:cubicBezTo>
                    <a:pt x="143" y="317"/>
                    <a:pt x="150" y="308"/>
                    <a:pt x="146" y="304"/>
                  </a:cubicBezTo>
                  <a:cubicBezTo>
                    <a:pt x="143" y="300"/>
                    <a:pt x="131" y="308"/>
                    <a:pt x="124" y="312"/>
                  </a:cubicBezTo>
                  <a:cubicBezTo>
                    <a:pt x="117" y="317"/>
                    <a:pt x="120" y="315"/>
                    <a:pt x="104" y="317"/>
                  </a:cubicBezTo>
                  <a:cubicBezTo>
                    <a:pt x="88" y="320"/>
                    <a:pt x="98" y="310"/>
                    <a:pt x="102" y="309"/>
                  </a:cubicBezTo>
                  <a:cubicBezTo>
                    <a:pt x="107" y="309"/>
                    <a:pt x="111" y="307"/>
                    <a:pt x="120" y="298"/>
                  </a:cubicBezTo>
                  <a:cubicBezTo>
                    <a:pt x="130" y="289"/>
                    <a:pt x="134" y="291"/>
                    <a:pt x="135" y="288"/>
                  </a:cubicBezTo>
                  <a:cubicBezTo>
                    <a:pt x="137" y="285"/>
                    <a:pt x="148" y="272"/>
                    <a:pt x="148" y="267"/>
                  </a:cubicBezTo>
                  <a:cubicBezTo>
                    <a:pt x="148" y="262"/>
                    <a:pt x="139" y="277"/>
                    <a:pt x="124" y="281"/>
                  </a:cubicBezTo>
                  <a:cubicBezTo>
                    <a:pt x="108" y="285"/>
                    <a:pt x="108" y="283"/>
                    <a:pt x="102" y="282"/>
                  </a:cubicBezTo>
                  <a:cubicBezTo>
                    <a:pt x="95" y="281"/>
                    <a:pt x="98" y="277"/>
                    <a:pt x="97" y="269"/>
                  </a:cubicBezTo>
                  <a:cubicBezTo>
                    <a:pt x="96" y="262"/>
                    <a:pt x="108" y="263"/>
                    <a:pt x="113" y="261"/>
                  </a:cubicBezTo>
                  <a:cubicBezTo>
                    <a:pt x="118" y="260"/>
                    <a:pt x="133" y="261"/>
                    <a:pt x="136" y="258"/>
                  </a:cubicBezTo>
                  <a:cubicBezTo>
                    <a:pt x="140" y="254"/>
                    <a:pt x="128" y="257"/>
                    <a:pt x="118" y="256"/>
                  </a:cubicBezTo>
                  <a:cubicBezTo>
                    <a:pt x="107" y="255"/>
                    <a:pt x="116" y="252"/>
                    <a:pt x="122" y="249"/>
                  </a:cubicBezTo>
                  <a:cubicBezTo>
                    <a:pt x="128" y="245"/>
                    <a:pt x="117" y="244"/>
                    <a:pt x="118" y="240"/>
                  </a:cubicBezTo>
                  <a:cubicBezTo>
                    <a:pt x="118" y="236"/>
                    <a:pt x="118" y="236"/>
                    <a:pt x="120" y="234"/>
                  </a:cubicBezTo>
                  <a:cubicBezTo>
                    <a:pt x="121" y="232"/>
                    <a:pt x="127" y="231"/>
                    <a:pt x="132" y="229"/>
                  </a:cubicBezTo>
                  <a:cubicBezTo>
                    <a:pt x="137" y="227"/>
                    <a:pt x="142" y="224"/>
                    <a:pt x="151" y="219"/>
                  </a:cubicBezTo>
                  <a:cubicBezTo>
                    <a:pt x="160" y="214"/>
                    <a:pt x="156" y="218"/>
                    <a:pt x="162" y="215"/>
                  </a:cubicBezTo>
                  <a:cubicBezTo>
                    <a:pt x="168" y="212"/>
                    <a:pt x="174" y="215"/>
                    <a:pt x="175" y="210"/>
                  </a:cubicBezTo>
                  <a:cubicBezTo>
                    <a:pt x="177" y="206"/>
                    <a:pt x="181" y="208"/>
                    <a:pt x="186" y="204"/>
                  </a:cubicBezTo>
                  <a:cubicBezTo>
                    <a:pt x="190" y="200"/>
                    <a:pt x="191" y="202"/>
                    <a:pt x="200" y="199"/>
                  </a:cubicBezTo>
                  <a:cubicBezTo>
                    <a:pt x="209" y="195"/>
                    <a:pt x="214" y="192"/>
                    <a:pt x="215" y="198"/>
                  </a:cubicBezTo>
                  <a:cubicBezTo>
                    <a:pt x="215" y="203"/>
                    <a:pt x="218" y="200"/>
                    <a:pt x="223" y="199"/>
                  </a:cubicBezTo>
                  <a:cubicBezTo>
                    <a:pt x="229" y="198"/>
                    <a:pt x="235" y="194"/>
                    <a:pt x="236" y="193"/>
                  </a:cubicBezTo>
                  <a:cubicBezTo>
                    <a:pt x="237" y="192"/>
                    <a:pt x="250" y="188"/>
                    <a:pt x="254" y="188"/>
                  </a:cubicBezTo>
                  <a:cubicBezTo>
                    <a:pt x="258" y="187"/>
                    <a:pt x="261" y="188"/>
                    <a:pt x="266" y="186"/>
                  </a:cubicBezTo>
                  <a:cubicBezTo>
                    <a:pt x="271" y="185"/>
                    <a:pt x="270" y="187"/>
                    <a:pt x="279" y="188"/>
                  </a:cubicBezTo>
                  <a:cubicBezTo>
                    <a:pt x="289" y="188"/>
                    <a:pt x="287" y="184"/>
                    <a:pt x="292" y="178"/>
                  </a:cubicBezTo>
                  <a:cubicBezTo>
                    <a:pt x="296" y="173"/>
                    <a:pt x="299" y="173"/>
                    <a:pt x="306" y="171"/>
                  </a:cubicBezTo>
                  <a:cubicBezTo>
                    <a:pt x="313" y="168"/>
                    <a:pt x="321" y="163"/>
                    <a:pt x="329" y="155"/>
                  </a:cubicBezTo>
                  <a:cubicBezTo>
                    <a:pt x="337" y="147"/>
                    <a:pt x="326" y="156"/>
                    <a:pt x="317" y="158"/>
                  </a:cubicBezTo>
                  <a:cubicBezTo>
                    <a:pt x="308" y="160"/>
                    <a:pt x="306" y="161"/>
                    <a:pt x="294" y="164"/>
                  </a:cubicBezTo>
                  <a:cubicBezTo>
                    <a:pt x="283" y="166"/>
                    <a:pt x="281" y="166"/>
                    <a:pt x="273" y="165"/>
                  </a:cubicBezTo>
                  <a:cubicBezTo>
                    <a:pt x="265" y="163"/>
                    <a:pt x="267" y="165"/>
                    <a:pt x="250" y="162"/>
                  </a:cubicBezTo>
                  <a:cubicBezTo>
                    <a:pt x="233" y="160"/>
                    <a:pt x="236" y="166"/>
                    <a:pt x="220" y="163"/>
                  </a:cubicBezTo>
                  <a:cubicBezTo>
                    <a:pt x="204" y="160"/>
                    <a:pt x="220" y="153"/>
                    <a:pt x="223" y="150"/>
                  </a:cubicBezTo>
                  <a:cubicBezTo>
                    <a:pt x="226" y="147"/>
                    <a:pt x="237" y="149"/>
                    <a:pt x="241" y="146"/>
                  </a:cubicBezTo>
                  <a:cubicBezTo>
                    <a:pt x="244" y="144"/>
                    <a:pt x="221" y="144"/>
                    <a:pt x="217" y="137"/>
                  </a:cubicBezTo>
                  <a:cubicBezTo>
                    <a:pt x="213" y="130"/>
                    <a:pt x="227" y="134"/>
                    <a:pt x="240" y="129"/>
                  </a:cubicBezTo>
                  <a:cubicBezTo>
                    <a:pt x="252" y="123"/>
                    <a:pt x="251" y="125"/>
                    <a:pt x="268" y="124"/>
                  </a:cubicBezTo>
                  <a:cubicBezTo>
                    <a:pt x="284" y="123"/>
                    <a:pt x="280" y="124"/>
                    <a:pt x="287" y="119"/>
                  </a:cubicBezTo>
                  <a:cubicBezTo>
                    <a:pt x="294" y="113"/>
                    <a:pt x="297" y="116"/>
                    <a:pt x="300" y="115"/>
                  </a:cubicBezTo>
                  <a:cubicBezTo>
                    <a:pt x="303" y="113"/>
                    <a:pt x="313" y="112"/>
                    <a:pt x="323" y="110"/>
                  </a:cubicBezTo>
                  <a:cubicBezTo>
                    <a:pt x="333" y="109"/>
                    <a:pt x="332" y="114"/>
                    <a:pt x="329" y="115"/>
                  </a:cubicBezTo>
                  <a:cubicBezTo>
                    <a:pt x="327" y="116"/>
                    <a:pt x="325" y="118"/>
                    <a:pt x="319" y="123"/>
                  </a:cubicBezTo>
                  <a:cubicBezTo>
                    <a:pt x="314" y="128"/>
                    <a:pt x="321" y="125"/>
                    <a:pt x="329" y="126"/>
                  </a:cubicBezTo>
                  <a:cubicBezTo>
                    <a:pt x="337" y="127"/>
                    <a:pt x="334" y="126"/>
                    <a:pt x="340" y="125"/>
                  </a:cubicBezTo>
                  <a:cubicBezTo>
                    <a:pt x="346" y="124"/>
                    <a:pt x="345" y="126"/>
                    <a:pt x="354" y="126"/>
                  </a:cubicBezTo>
                  <a:cubicBezTo>
                    <a:pt x="363" y="126"/>
                    <a:pt x="359" y="124"/>
                    <a:pt x="361" y="121"/>
                  </a:cubicBezTo>
                  <a:cubicBezTo>
                    <a:pt x="364" y="118"/>
                    <a:pt x="364" y="121"/>
                    <a:pt x="372" y="122"/>
                  </a:cubicBezTo>
                  <a:cubicBezTo>
                    <a:pt x="380" y="122"/>
                    <a:pt x="372" y="115"/>
                    <a:pt x="372" y="114"/>
                  </a:cubicBezTo>
                  <a:cubicBezTo>
                    <a:pt x="372" y="112"/>
                    <a:pt x="378" y="109"/>
                    <a:pt x="382" y="106"/>
                  </a:cubicBezTo>
                  <a:cubicBezTo>
                    <a:pt x="387" y="102"/>
                    <a:pt x="375" y="107"/>
                    <a:pt x="372" y="107"/>
                  </a:cubicBezTo>
                  <a:cubicBezTo>
                    <a:pt x="369" y="107"/>
                    <a:pt x="361" y="103"/>
                    <a:pt x="359" y="103"/>
                  </a:cubicBezTo>
                  <a:cubicBezTo>
                    <a:pt x="356" y="102"/>
                    <a:pt x="357" y="95"/>
                    <a:pt x="359" y="94"/>
                  </a:cubicBezTo>
                  <a:cubicBezTo>
                    <a:pt x="361" y="92"/>
                    <a:pt x="357" y="86"/>
                    <a:pt x="357" y="85"/>
                  </a:cubicBezTo>
                  <a:cubicBezTo>
                    <a:pt x="357" y="83"/>
                    <a:pt x="348" y="73"/>
                    <a:pt x="346" y="70"/>
                  </a:cubicBezTo>
                  <a:cubicBezTo>
                    <a:pt x="344" y="66"/>
                    <a:pt x="355" y="65"/>
                    <a:pt x="359" y="61"/>
                  </a:cubicBezTo>
                  <a:cubicBezTo>
                    <a:pt x="362" y="58"/>
                    <a:pt x="367" y="60"/>
                    <a:pt x="375" y="59"/>
                  </a:cubicBezTo>
                  <a:cubicBezTo>
                    <a:pt x="382" y="58"/>
                    <a:pt x="385" y="58"/>
                    <a:pt x="390" y="58"/>
                  </a:cubicBezTo>
                  <a:cubicBezTo>
                    <a:pt x="395" y="57"/>
                    <a:pt x="395" y="56"/>
                    <a:pt x="404" y="54"/>
                  </a:cubicBezTo>
                  <a:cubicBezTo>
                    <a:pt x="413" y="52"/>
                    <a:pt x="412" y="53"/>
                    <a:pt x="421" y="51"/>
                  </a:cubicBezTo>
                  <a:cubicBezTo>
                    <a:pt x="430" y="49"/>
                    <a:pt x="427" y="50"/>
                    <a:pt x="438" y="49"/>
                  </a:cubicBezTo>
                  <a:cubicBezTo>
                    <a:pt x="448" y="47"/>
                    <a:pt x="449" y="42"/>
                    <a:pt x="449" y="42"/>
                  </a:cubicBezTo>
                  <a:cubicBezTo>
                    <a:pt x="449" y="42"/>
                    <a:pt x="461" y="39"/>
                    <a:pt x="467" y="36"/>
                  </a:cubicBezTo>
                  <a:cubicBezTo>
                    <a:pt x="473" y="34"/>
                    <a:pt x="474" y="34"/>
                    <a:pt x="480" y="31"/>
                  </a:cubicBezTo>
                  <a:cubicBezTo>
                    <a:pt x="485" y="28"/>
                    <a:pt x="489" y="28"/>
                    <a:pt x="495" y="24"/>
                  </a:cubicBezTo>
                  <a:cubicBezTo>
                    <a:pt x="501" y="21"/>
                    <a:pt x="507" y="25"/>
                    <a:pt x="510" y="24"/>
                  </a:cubicBezTo>
                  <a:cubicBezTo>
                    <a:pt x="513" y="22"/>
                    <a:pt x="515" y="23"/>
                    <a:pt x="522" y="21"/>
                  </a:cubicBezTo>
                  <a:cubicBezTo>
                    <a:pt x="528" y="19"/>
                    <a:pt x="539" y="21"/>
                    <a:pt x="543" y="19"/>
                  </a:cubicBezTo>
                  <a:cubicBezTo>
                    <a:pt x="547" y="17"/>
                    <a:pt x="553" y="17"/>
                    <a:pt x="565" y="13"/>
                  </a:cubicBezTo>
                  <a:cubicBezTo>
                    <a:pt x="577" y="9"/>
                    <a:pt x="578" y="14"/>
                    <a:pt x="586" y="13"/>
                  </a:cubicBezTo>
                  <a:cubicBezTo>
                    <a:pt x="595" y="12"/>
                    <a:pt x="602" y="9"/>
                    <a:pt x="617" y="5"/>
                  </a:cubicBezTo>
                  <a:cubicBezTo>
                    <a:pt x="633" y="0"/>
                    <a:pt x="623" y="2"/>
                    <a:pt x="632" y="1"/>
                  </a:cubicBezTo>
                  <a:cubicBezTo>
                    <a:pt x="642" y="1"/>
                    <a:pt x="643" y="5"/>
                    <a:pt x="651" y="6"/>
                  </a:cubicBezTo>
                  <a:cubicBezTo>
                    <a:pt x="660" y="6"/>
                    <a:pt x="655" y="7"/>
                    <a:pt x="651" y="10"/>
                  </a:cubicBezTo>
                  <a:cubicBezTo>
                    <a:pt x="647" y="12"/>
                    <a:pt x="652" y="11"/>
                    <a:pt x="665" y="11"/>
                  </a:cubicBezTo>
                  <a:cubicBezTo>
                    <a:pt x="679" y="11"/>
                    <a:pt x="675" y="9"/>
                    <a:pt x="684" y="10"/>
                  </a:cubicBezTo>
                  <a:cubicBezTo>
                    <a:pt x="692" y="11"/>
                    <a:pt x="689" y="15"/>
                    <a:pt x="687" y="20"/>
                  </a:cubicBezTo>
                  <a:cubicBezTo>
                    <a:pt x="685" y="25"/>
                    <a:pt x="689" y="22"/>
                    <a:pt x="697" y="21"/>
                  </a:cubicBezTo>
                  <a:cubicBezTo>
                    <a:pt x="705" y="19"/>
                    <a:pt x="702" y="20"/>
                    <a:pt x="714" y="20"/>
                  </a:cubicBezTo>
                  <a:cubicBezTo>
                    <a:pt x="725" y="20"/>
                    <a:pt x="722" y="21"/>
                    <a:pt x="730" y="22"/>
                  </a:cubicBezTo>
                  <a:cubicBezTo>
                    <a:pt x="738" y="23"/>
                    <a:pt x="745" y="25"/>
                    <a:pt x="755" y="27"/>
                  </a:cubicBezTo>
                  <a:cubicBezTo>
                    <a:pt x="764" y="29"/>
                    <a:pt x="761" y="27"/>
                    <a:pt x="773" y="25"/>
                  </a:cubicBezTo>
                  <a:cubicBezTo>
                    <a:pt x="785" y="24"/>
                    <a:pt x="779" y="26"/>
                    <a:pt x="795" y="30"/>
                  </a:cubicBezTo>
                  <a:cubicBezTo>
                    <a:pt x="810" y="33"/>
                    <a:pt x="800" y="30"/>
                    <a:pt x="810" y="27"/>
                  </a:cubicBezTo>
                  <a:cubicBezTo>
                    <a:pt x="820" y="25"/>
                    <a:pt x="815" y="27"/>
                    <a:pt x="826" y="27"/>
                  </a:cubicBezTo>
                  <a:cubicBezTo>
                    <a:pt x="837" y="27"/>
                    <a:pt x="834" y="29"/>
                    <a:pt x="844" y="36"/>
                  </a:cubicBezTo>
                  <a:cubicBezTo>
                    <a:pt x="849" y="40"/>
                    <a:pt x="851" y="40"/>
                    <a:pt x="851" y="40"/>
                  </a:cubicBezTo>
                  <a:cubicBezTo>
                    <a:pt x="823" y="63"/>
                    <a:pt x="590" y="249"/>
                    <a:pt x="575" y="269"/>
                  </a:cubicBezTo>
                  <a:cubicBezTo>
                    <a:pt x="584" y="270"/>
                    <a:pt x="580" y="273"/>
                    <a:pt x="589" y="272"/>
                  </a:cubicBezTo>
                  <a:cubicBezTo>
                    <a:pt x="597" y="270"/>
                    <a:pt x="600" y="268"/>
                    <a:pt x="604" y="268"/>
                  </a:cubicBezTo>
                  <a:cubicBezTo>
                    <a:pt x="608" y="268"/>
                    <a:pt x="614" y="266"/>
                    <a:pt x="610" y="269"/>
                  </a:cubicBezTo>
                  <a:cubicBezTo>
                    <a:pt x="607" y="273"/>
                    <a:pt x="604" y="273"/>
                    <a:pt x="604" y="276"/>
                  </a:cubicBezTo>
                  <a:cubicBezTo>
                    <a:pt x="605" y="280"/>
                    <a:pt x="605" y="280"/>
                    <a:pt x="606" y="286"/>
                  </a:cubicBezTo>
                  <a:cubicBezTo>
                    <a:pt x="608" y="292"/>
                    <a:pt x="611" y="292"/>
                    <a:pt x="609" y="296"/>
                  </a:cubicBezTo>
                  <a:cubicBezTo>
                    <a:pt x="607" y="300"/>
                    <a:pt x="605" y="303"/>
                    <a:pt x="608" y="304"/>
                  </a:cubicBezTo>
                  <a:cubicBezTo>
                    <a:pt x="610" y="304"/>
                    <a:pt x="612" y="306"/>
                    <a:pt x="616" y="304"/>
                  </a:cubicBezTo>
                  <a:cubicBezTo>
                    <a:pt x="620" y="301"/>
                    <a:pt x="624" y="301"/>
                    <a:pt x="630" y="298"/>
                  </a:cubicBezTo>
                  <a:cubicBezTo>
                    <a:pt x="635" y="296"/>
                    <a:pt x="639" y="292"/>
                    <a:pt x="641" y="290"/>
                  </a:cubicBezTo>
                  <a:cubicBezTo>
                    <a:pt x="643" y="288"/>
                    <a:pt x="648" y="287"/>
                    <a:pt x="654" y="286"/>
                  </a:cubicBezTo>
                  <a:cubicBezTo>
                    <a:pt x="659" y="285"/>
                    <a:pt x="660" y="285"/>
                    <a:pt x="662" y="285"/>
                  </a:cubicBezTo>
                  <a:cubicBezTo>
                    <a:pt x="663" y="284"/>
                    <a:pt x="666" y="282"/>
                    <a:pt x="668" y="284"/>
                  </a:cubicBezTo>
                  <a:cubicBezTo>
                    <a:pt x="670" y="286"/>
                    <a:pt x="670" y="286"/>
                    <a:pt x="669" y="289"/>
                  </a:cubicBezTo>
                  <a:cubicBezTo>
                    <a:pt x="667" y="292"/>
                    <a:pt x="665" y="293"/>
                    <a:pt x="667" y="297"/>
                  </a:cubicBezTo>
                  <a:cubicBezTo>
                    <a:pt x="670" y="301"/>
                    <a:pt x="671" y="303"/>
                    <a:pt x="670" y="306"/>
                  </a:cubicBezTo>
                  <a:cubicBezTo>
                    <a:pt x="669" y="309"/>
                    <a:pt x="674" y="311"/>
                    <a:pt x="673" y="314"/>
                  </a:cubicBezTo>
                  <a:cubicBezTo>
                    <a:pt x="673" y="314"/>
                    <a:pt x="670" y="318"/>
                    <a:pt x="670" y="322"/>
                  </a:cubicBezTo>
                  <a:cubicBezTo>
                    <a:pt x="670" y="326"/>
                    <a:pt x="667" y="331"/>
                    <a:pt x="668" y="334"/>
                  </a:cubicBezTo>
                  <a:cubicBezTo>
                    <a:pt x="668" y="338"/>
                    <a:pt x="666" y="342"/>
                    <a:pt x="665" y="347"/>
                  </a:cubicBezTo>
                  <a:cubicBezTo>
                    <a:pt x="664" y="351"/>
                    <a:pt x="663" y="351"/>
                    <a:pt x="662" y="354"/>
                  </a:cubicBezTo>
                  <a:cubicBezTo>
                    <a:pt x="661" y="358"/>
                    <a:pt x="658" y="361"/>
                    <a:pt x="659" y="363"/>
                  </a:cubicBezTo>
                  <a:cubicBezTo>
                    <a:pt x="660" y="365"/>
                    <a:pt x="663" y="366"/>
                    <a:pt x="666" y="368"/>
                  </a:cubicBezTo>
                  <a:cubicBezTo>
                    <a:pt x="669" y="370"/>
                    <a:pt x="668" y="369"/>
                    <a:pt x="673" y="373"/>
                  </a:cubicBezTo>
                  <a:cubicBezTo>
                    <a:pt x="677" y="377"/>
                    <a:pt x="681" y="379"/>
                    <a:pt x="681" y="38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05" name="Freeform 983">
              <a:extLst>
                <a:ext uri="{FF2B5EF4-FFF2-40B4-BE49-F238E27FC236}">
                  <a16:creationId xmlns:a16="http://schemas.microsoft.com/office/drawing/2014/main" id="{9688ADFB-4C33-574B-BEB2-A13839B855E9}"/>
                </a:ext>
              </a:extLst>
            </p:cNvPr>
            <p:cNvSpPr>
              <a:spLocks/>
            </p:cNvSpPr>
            <p:nvPr/>
          </p:nvSpPr>
          <p:spPr bwMode="auto">
            <a:xfrm>
              <a:off x="2716221" y="1333956"/>
              <a:ext cx="66675" cy="31750"/>
            </a:xfrm>
            <a:custGeom>
              <a:avLst/>
              <a:gdLst>
                <a:gd name="T0" fmla="*/ 10 w 70"/>
                <a:gd name="T1" fmla="*/ 8 h 33"/>
                <a:gd name="T2" fmla="*/ 21 w 70"/>
                <a:gd name="T3" fmla="*/ 17 h 33"/>
                <a:gd name="T4" fmla="*/ 33 w 70"/>
                <a:gd name="T5" fmla="*/ 25 h 33"/>
                <a:gd name="T6" fmla="*/ 60 w 70"/>
                <a:gd name="T7" fmla="*/ 32 h 33"/>
                <a:gd name="T8" fmla="*/ 63 w 70"/>
                <a:gd name="T9" fmla="*/ 24 h 33"/>
                <a:gd name="T10" fmla="*/ 48 w 70"/>
                <a:gd name="T11" fmla="*/ 14 h 33"/>
                <a:gd name="T12" fmla="*/ 32 w 70"/>
                <a:gd name="T13" fmla="*/ 8 h 33"/>
                <a:gd name="T14" fmla="*/ 10 w 70"/>
                <a:gd name="T15" fmla="*/ 8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33">
                  <a:moveTo>
                    <a:pt x="10" y="8"/>
                  </a:moveTo>
                  <a:cubicBezTo>
                    <a:pt x="17" y="13"/>
                    <a:pt x="19" y="11"/>
                    <a:pt x="21" y="17"/>
                  </a:cubicBezTo>
                  <a:cubicBezTo>
                    <a:pt x="23" y="22"/>
                    <a:pt x="20" y="21"/>
                    <a:pt x="33" y="25"/>
                  </a:cubicBezTo>
                  <a:cubicBezTo>
                    <a:pt x="46" y="29"/>
                    <a:pt x="57" y="31"/>
                    <a:pt x="60" y="32"/>
                  </a:cubicBezTo>
                  <a:cubicBezTo>
                    <a:pt x="62" y="33"/>
                    <a:pt x="70" y="29"/>
                    <a:pt x="63" y="24"/>
                  </a:cubicBezTo>
                  <a:cubicBezTo>
                    <a:pt x="57" y="20"/>
                    <a:pt x="56" y="18"/>
                    <a:pt x="48" y="14"/>
                  </a:cubicBezTo>
                  <a:cubicBezTo>
                    <a:pt x="41" y="11"/>
                    <a:pt x="44" y="9"/>
                    <a:pt x="32" y="8"/>
                  </a:cubicBezTo>
                  <a:cubicBezTo>
                    <a:pt x="20" y="7"/>
                    <a:pt x="0" y="0"/>
                    <a:pt x="10" y="8"/>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06" name="Freeform 984">
              <a:extLst>
                <a:ext uri="{FF2B5EF4-FFF2-40B4-BE49-F238E27FC236}">
                  <a16:creationId xmlns:a16="http://schemas.microsoft.com/office/drawing/2014/main" id="{429BD471-D025-AC44-8432-EF3B2519A930}"/>
                </a:ext>
              </a:extLst>
            </p:cNvPr>
            <p:cNvSpPr>
              <a:spLocks/>
            </p:cNvSpPr>
            <p:nvPr/>
          </p:nvSpPr>
          <p:spPr bwMode="auto">
            <a:xfrm>
              <a:off x="2692409" y="1411744"/>
              <a:ext cx="50800" cy="31750"/>
            </a:xfrm>
            <a:custGeom>
              <a:avLst/>
              <a:gdLst>
                <a:gd name="T0" fmla="*/ 3 w 53"/>
                <a:gd name="T1" fmla="*/ 11 h 33"/>
                <a:gd name="T2" fmla="*/ 8 w 53"/>
                <a:gd name="T3" fmla="*/ 17 h 33"/>
                <a:gd name="T4" fmla="*/ 11 w 53"/>
                <a:gd name="T5" fmla="*/ 22 h 33"/>
                <a:gd name="T6" fmla="*/ 16 w 53"/>
                <a:gd name="T7" fmla="*/ 26 h 33"/>
                <a:gd name="T8" fmla="*/ 25 w 53"/>
                <a:gd name="T9" fmla="*/ 27 h 33"/>
                <a:gd name="T10" fmla="*/ 28 w 53"/>
                <a:gd name="T11" fmla="*/ 29 h 33"/>
                <a:gd name="T12" fmla="*/ 33 w 53"/>
                <a:gd name="T13" fmla="*/ 33 h 33"/>
                <a:gd name="T14" fmla="*/ 39 w 53"/>
                <a:gd name="T15" fmla="*/ 29 h 33"/>
                <a:gd name="T16" fmla="*/ 43 w 53"/>
                <a:gd name="T17" fmla="*/ 23 h 33"/>
                <a:gd name="T18" fmla="*/ 50 w 53"/>
                <a:gd name="T19" fmla="*/ 22 h 33"/>
                <a:gd name="T20" fmla="*/ 48 w 53"/>
                <a:gd name="T21" fmla="*/ 18 h 33"/>
                <a:gd name="T22" fmla="*/ 37 w 53"/>
                <a:gd name="T23" fmla="*/ 20 h 33"/>
                <a:gd name="T24" fmla="*/ 27 w 53"/>
                <a:gd name="T25" fmla="*/ 20 h 33"/>
                <a:gd name="T26" fmla="*/ 21 w 53"/>
                <a:gd name="T27" fmla="*/ 17 h 33"/>
                <a:gd name="T28" fmla="*/ 14 w 53"/>
                <a:gd name="T29" fmla="*/ 16 h 33"/>
                <a:gd name="T30" fmla="*/ 12 w 53"/>
                <a:gd name="T31" fmla="*/ 9 h 33"/>
                <a:gd name="T32" fmla="*/ 15 w 53"/>
                <a:gd name="T33" fmla="*/ 4 h 33"/>
                <a:gd name="T34" fmla="*/ 8 w 53"/>
                <a:gd name="T35" fmla="*/ 3 h 33"/>
                <a:gd name="T36" fmla="*/ 1 w 53"/>
                <a:gd name="T37" fmla="*/ 9 h 33"/>
                <a:gd name="T38" fmla="*/ 3 w 53"/>
                <a:gd name="T39" fmla="*/ 1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3">
                  <a:moveTo>
                    <a:pt x="3" y="11"/>
                  </a:moveTo>
                  <a:cubicBezTo>
                    <a:pt x="5" y="15"/>
                    <a:pt x="7" y="14"/>
                    <a:pt x="8" y="17"/>
                  </a:cubicBezTo>
                  <a:cubicBezTo>
                    <a:pt x="8" y="20"/>
                    <a:pt x="9" y="19"/>
                    <a:pt x="11" y="22"/>
                  </a:cubicBezTo>
                  <a:cubicBezTo>
                    <a:pt x="13" y="24"/>
                    <a:pt x="12" y="26"/>
                    <a:pt x="16" y="26"/>
                  </a:cubicBezTo>
                  <a:cubicBezTo>
                    <a:pt x="20" y="27"/>
                    <a:pt x="22" y="29"/>
                    <a:pt x="25" y="27"/>
                  </a:cubicBezTo>
                  <a:cubicBezTo>
                    <a:pt x="27" y="25"/>
                    <a:pt x="27" y="27"/>
                    <a:pt x="28" y="29"/>
                  </a:cubicBezTo>
                  <a:cubicBezTo>
                    <a:pt x="29" y="31"/>
                    <a:pt x="30" y="33"/>
                    <a:pt x="33" y="33"/>
                  </a:cubicBezTo>
                  <a:cubicBezTo>
                    <a:pt x="36" y="33"/>
                    <a:pt x="37" y="33"/>
                    <a:pt x="39" y="29"/>
                  </a:cubicBezTo>
                  <a:cubicBezTo>
                    <a:pt x="41" y="25"/>
                    <a:pt x="38" y="24"/>
                    <a:pt x="43" y="23"/>
                  </a:cubicBezTo>
                  <a:cubicBezTo>
                    <a:pt x="47" y="22"/>
                    <a:pt x="46" y="24"/>
                    <a:pt x="50" y="22"/>
                  </a:cubicBezTo>
                  <a:cubicBezTo>
                    <a:pt x="53" y="19"/>
                    <a:pt x="53" y="18"/>
                    <a:pt x="48" y="18"/>
                  </a:cubicBezTo>
                  <a:cubicBezTo>
                    <a:pt x="43" y="18"/>
                    <a:pt x="41" y="19"/>
                    <a:pt x="37" y="20"/>
                  </a:cubicBezTo>
                  <a:cubicBezTo>
                    <a:pt x="33" y="20"/>
                    <a:pt x="30" y="21"/>
                    <a:pt x="27" y="20"/>
                  </a:cubicBezTo>
                  <a:cubicBezTo>
                    <a:pt x="25" y="19"/>
                    <a:pt x="26" y="18"/>
                    <a:pt x="21" y="17"/>
                  </a:cubicBezTo>
                  <a:cubicBezTo>
                    <a:pt x="16" y="16"/>
                    <a:pt x="16" y="20"/>
                    <a:pt x="14" y="16"/>
                  </a:cubicBezTo>
                  <a:cubicBezTo>
                    <a:pt x="12" y="12"/>
                    <a:pt x="10" y="12"/>
                    <a:pt x="12" y="9"/>
                  </a:cubicBezTo>
                  <a:cubicBezTo>
                    <a:pt x="14" y="7"/>
                    <a:pt x="15" y="7"/>
                    <a:pt x="15" y="4"/>
                  </a:cubicBezTo>
                  <a:cubicBezTo>
                    <a:pt x="14" y="2"/>
                    <a:pt x="12" y="0"/>
                    <a:pt x="8" y="3"/>
                  </a:cubicBezTo>
                  <a:cubicBezTo>
                    <a:pt x="3" y="7"/>
                    <a:pt x="0" y="8"/>
                    <a:pt x="1" y="9"/>
                  </a:cubicBezTo>
                  <a:cubicBezTo>
                    <a:pt x="3" y="11"/>
                    <a:pt x="2" y="10"/>
                    <a:pt x="3" y="1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07" name="Freeform 985">
              <a:extLst>
                <a:ext uri="{FF2B5EF4-FFF2-40B4-BE49-F238E27FC236}">
                  <a16:creationId xmlns:a16="http://schemas.microsoft.com/office/drawing/2014/main" id="{C4E16B1D-E426-C34F-8F74-AA3EBA03D901}"/>
                </a:ext>
              </a:extLst>
            </p:cNvPr>
            <p:cNvSpPr>
              <a:spLocks/>
            </p:cNvSpPr>
            <p:nvPr/>
          </p:nvSpPr>
          <p:spPr bwMode="auto">
            <a:xfrm>
              <a:off x="2809884" y="1295856"/>
              <a:ext cx="144463" cy="131763"/>
            </a:xfrm>
            <a:custGeom>
              <a:avLst/>
              <a:gdLst>
                <a:gd name="T0" fmla="*/ 9 w 152"/>
                <a:gd name="T1" fmla="*/ 96 h 138"/>
                <a:gd name="T2" fmla="*/ 23 w 152"/>
                <a:gd name="T3" fmla="*/ 88 h 138"/>
                <a:gd name="T4" fmla="*/ 17 w 152"/>
                <a:gd name="T5" fmla="*/ 84 h 138"/>
                <a:gd name="T6" fmla="*/ 18 w 152"/>
                <a:gd name="T7" fmla="*/ 79 h 138"/>
                <a:gd name="T8" fmla="*/ 29 w 152"/>
                <a:gd name="T9" fmla="*/ 74 h 138"/>
                <a:gd name="T10" fmla="*/ 44 w 152"/>
                <a:gd name="T11" fmla="*/ 66 h 138"/>
                <a:gd name="T12" fmla="*/ 46 w 152"/>
                <a:gd name="T13" fmla="*/ 58 h 138"/>
                <a:gd name="T14" fmla="*/ 57 w 152"/>
                <a:gd name="T15" fmla="*/ 44 h 138"/>
                <a:gd name="T16" fmla="*/ 72 w 152"/>
                <a:gd name="T17" fmla="*/ 27 h 138"/>
                <a:gd name="T18" fmla="*/ 91 w 152"/>
                <a:gd name="T19" fmla="*/ 13 h 138"/>
                <a:gd name="T20" fmla="*/ 106 w 152"/>
                <a:gd name="T21" fmla="*/ 4 h 138"/>
                <a:gd name="T22" fmla="*/ 123 w 152"/>
                <a:gd name="T23" fmla="*/ 3 h 138"/>
                <a:gd name="T24" fmla="*/ 111 w 152"/>
                <a:gd name="T25" fmla="*/ 11 h 138"/>
                <a:gd name="T26" fmla="*/ 108 w 152"/>
                <a:gd name="T27" fmla="*/ 21 h 138"/>
                <a:gd name="T28" fmla="*/ 96 w 152"/>
                <a:gd name="T29" fmla="*/ 32 h 138"/>
                <a:gd name="T30" fmla="*/ 79 w 152"/>
                <a:gd name="T31" fmla="*/ 49 h 138"/>
                <a:gd name="T32" fmla="*/ 93 w 152"/>
                <a:gd name="T33" fmla="*/ 42 h 138"/>
                <a:gd name="T34" fmla="*/ 111 w 152"/>
                <a:gd name="T35" fmla="*/ 45 h 138"/>
                <a:gd name="T36" fmla="*/ 92 w 152"/>
                <a:gd name="T37" fmla="*/ 57 h 138"/>
                <a:gd name="T38" fmla="*/ 106 w 152"/>
                <a:gd name="T39" fmla="*/ 58 h 138"/>
                <a:gd name="T40" fmla="*/ 119 w 152"/>
                <a:gd name="T41" fmla="*/ 61 h 138"/>
                <a:gd name="T42" fmla="*/ 126 w 152"/>
                <a:gd name="T43" fmla="*/ 59 h 138"/>
                <a:gd name="T44" fmla="*/ 142 w 152"/>
                <a:gd name="T45" fmla="*/ 60 h 138"/>
                <a:gd name="T46" fmla="*/ 134 w 152"/>
                <a:gd name="T47" fmla="*/ 76 h 138"/>
                <a:gd name="T48" fmla="*/ 141 w 152"/>
                <a:gd name="T49" fmla="*/ 84 h 138"/>
                <a:gd name="T50" fmla="*/ 145 w 152"/>
                <a:gd name="T51" fmla="*/ 90 h 138"/>
                <a:gd name="T52" fmla="*/ 128 w 152"/>
                <a:gd name="T53" fmla="*/ 100 h 138"/>
                <a:gd name="T54" fmla="*/ 132 w 152"/>
                <a:gd name="T55" fmla="*/ 107 h 138"/>
                <a:gd name="T56" fmla="*/ 146 w 152"/>
                <a:gd name="T57" fmla="*/ 95 h 138"/>
                <a:gd name="T58" fmla="*/ 136 w 152"/>
                <a:gd name="T59" fmla="*/ 112 h 138"/>
                <a:gd name="T60" fmla="*/ 135 w 152"/>
                <a:gd name="T61" fmla="*/ 132 h 138"/>
                <a:gd name="T62" fmla="*/ 118 w 152"/>
                <a:gd name="T63" fmla="*/ 132 h 138"/>
                <a:gd name="T64" fmla="*/ 119 w 152"/>
                <a:gd name="T65" fmla="*/ 123 h 138"/>
                <a:gd name="T66" fmla="*/ 114 w 152"/>
                <a:gd name="T67" fmla="*/ 120 h 138"/>
                <a:gd name="T68" fmla="*/ 117 w 152"/>
                <a:gd name="T69" fmla="*/ 102 h 138"/>
                <a:gd name="T70" fmla="*/ 103 w 152"/>
                <a:gd name="T71" fmla="*/ 116 h 138"/>
                <a:gd name="T72" fmla="*/ 86 w 152"/>
                <a:gd name="T73" fmla="*/ 125 h 138"/>
                <a:gd name="T74" fmla="*/ 68 w 152"/>
                <a:gd name="T75" fmla="*/ 126 h 138"/>
                <a:gd name="T76" fmla="*/ 82 w 152"/>
                <a:gd name="T77" fmla="*/ 118 h 138"/>
                <a:gd name="T78" fmla="*/ 97 w 152"/>
                <a:gd name="T79" fmla="*/ 107 h 138"/>
                <a:gd name="T80" fmla="*/ 81 w 152"/>
                <a:gd name="T81" fmla="*/ 114 h 138"/>
                <a:gd name="T82" fmla="*/ 77 w 152"/>
                <a:gd name="T83" fmla="*/ 108 h 138"/>
                <a:gd name="T84" fmla="*/ 65 w 152"/>
                <a:gd name="T85" fmla="*/ 108 h 138"/>
                <a:gd name="T86" fmla="*/ 45 w 152"/>
                <a:gd name="T87" fmla="*/ 108 h 138"/>
                <a:gd name="T88" fmla="*/ 24 w 152"/>
                <a:gd name="T89" fmla="*/ 106 h 138"/>
                <a:gd name="T90" fmla="*/ 8 w 152"/>
                <a:gd name="T91" fmla="*/ 109 h 138"/>
                <a:gd name="T92" fmla="*/ 3 w 152"/>
                <a:gd name="T93" fmla="*/ 10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 h="138">
                  <a:moveTo>
                    <a:pt x="3" y="100"/>
                  </a:moveTo>
                  <a:cubicBezTo>
                    <a:pt x="5" y="98"/>
                    <a:pt x="6" y="97"/>
                    <a:pt x="9" y="96"/>
                  </a:cubicBezTo>
                  <a:cubicBezTo>
                    <a:pt x="12" y="94"/>
                    <a:pt x="11" y="95"/>
                    <a:pt x="15" y="93"/>
                  </a:cubicBezTo>
                  <a:cubicBezTo>
                    <a:pt x="20" y="91"/>
                    <a:pt x="19" y="90"/>
                    <a:pt x="23" y="88"/>
                  </a:cubicBezTo>
                  <a:cubicBezTo>
                    <a:pt x="26" y="87"/>
                    <a:pt x="33" y="85"/>
                    <a:pt x="29" y="84"/>
                  </a:cubicBezTo>
                  <a:cubicBezTo>
                    <a:pt x="25" y="84"/>
                    <a:pt x="20" y="82"/>
                    <a:pt x="17" y="84"/>
                  </a:cubicBezTo>
                  <a:cubicBezTo>
                    <a:pt x="13" y="85"/>
                    <a:pt x="12" y="86"/>
                    <a:pt x="13" y="83"/>
                  </a:cubicBezTo>
                  <a:cubicBezTo>
                    <a:pt x="14" y="81"/>
                    <a:pt x="15" y="79"/>
                    <a:pt x="18" y="79"/>
                  </a:cubicBezTo>
                  <a:cubicBezTo>
                    <a:pt x="21" y="79"/>
                    <a:pt x="21" y="78"/>
                    <a:pt x="24" y="78"/>
                  </a:cubicBezTo>
                  <a:cubicBezTo>
                    <a:pt x="28" y="77"/>
                    <a:pt x="28" y="77"/>
                    <a:pt x="29" y="74"/>
                  </a:cubicBezTo>
                  <a:cubicBezTo>
                    <a:pt x="30" y="72"/>
                    <a:pt x="29" y="70"/>
                    <a:pt x="32" y="70"/>
                  </a:cubicBezTo>
                  <a:cubicBezTo>
                    <a:pt x="36" y="69"/>
                    <a:pt x="46" y="68"/>
                    <a:pt x="44" y="66"/>
                  </a:cubicBezTo>
                  <a:cubicBezTo>
                    <a:pt x="42" y="64"/>
                    <a:pt x="41" y="63"/>
                    <a:pt x="43" y="60"/>
                  </a:cubicBezTo>
                  <a:cubicBezTo>
                    <a:pt x="45" y="58"/>
                    <a:pt x="43" y="58"/>
                    <a:pt x="46" y="58"/>
                  </a:cubicBezTo>
                  <a:cubicBezTo>
                    <a:pt x="49" y="57"/>
                    <a:pt x="53" y="57"/>
                    <a:pt x="53" y="53"/>
                  </a:cubicBezTo>
                  <a:cubicBezTo>
                    <a:pt x="54" y="49"/>
                    <a:pt x="55" y="45"/>
                    <a:pt x="57" y="44"/>
                  </a:cubicBezTo>
                  <a:cubicBezTo>
                    <a:pt x="58" y="43"/>
                    <a:pt x="63" y="41"/>
                    <a:pt x="66" y="37"/>
                  </a:cubicBezTo>
                  <a:cubicBezTo>
                    <a:pt x="68" y="32"/>
                    <a:pt x="68" y="30"/>
                    <a:pt x="72" y="27"/>
                  </a:cubicBezTo>
                  <a:cubicBezTo>
                    <a:pt x="77" y="25"/>
                    <a:pt x="81" y="24"/>
                    <a:pt x="84" y="21"/>
                  </a:cubicBezTo>
                  <a:cubicBezTo>
                    <a:pt x="87" y="17"/>
                    <a:pt x="87" y="15"/>
                    <a:pt x="91" y="13"/>
                  </a:cubicBezTo>
                  <a:cubicBezTo>
                    <a:pt x="94" y="11"/>
                    <a:pt x="93" y="10"/>
                    <a:pt x="97" y="8"/>
                  </a:cubicBezTo>
                  <a:cubicBezTo>
                    <a:pt x="102" y="5"/>
                    <a:pt x="100" y="5"/>
                    <a:pt x="106" y="4"/>
                  </a:cubicBezTo>
                  <a:cubicBezTo>
                    <a:pt x="112" y="3"/>
                    <a:pt x="112" y="0"/>
                    <a:pt x="116" y="0"/>
                  </a:cubicBezTo>
                  <a:cubicBezTo>
                    <a:pt x="120" y="0"/>
                    <a:pt x="125" y="0"/>
                    <a:pt x="123" y="3"/>
                  </a:cubicBezTo>
                  <a:cubicBezTo>
                    <a:pt x="122" y="6"/>
                    <a:pt x="117" y="6"/>
                    <a:pt x="114" y="7"/>
                  </a:cubicBezTo>
                  <a:cubicBezTo>
                    <a:pt x="111" y="9"/>
                    <a:pt x="108" y="11"/>
                    <a:pt x="111" y="11"/>
                  </a:cubicBezTo>
                  <a:cubicBezTo>
                    <a:pt x="114" y="12"/>
                    <a:pt x="118" y="11"/>
                    <a:pt x="116" y="14"/>
                  </a:cubicBezTo>
                  <a:cubicBezTo>
                    <a:pt x="114" y="17"/>
                    <a:pt x="112" y="19"/>
                    <a:pt x="108" y="21"/>
                  </a:cubicBezTo>
                  <a:cubicBezTo>
                    <a:pt x="105" y="24"/>
                    <a:pt x="101" y="25"/>
                    <a:pt x="101" y="26"/>
                  </a:cubicBezTo>
                  <a:cubicBezTo>
                    <a:pt x="100" y="27"/>
                    <a:pt x="99" y="28"/>
                    <a:pt x="96" y="32"/>
                  </a:cubicBezTo>
                  <a:cubicBezTo>
                    <a:pt x="92" y="35"/>
                    <a:pt x="90" y="38"/>
                    <a:pt x="88" y="40"/>
                  </a:cubicBezTo>
                  <a:cubicBezTo>
                    <a:pt x="86" y="43"/>
                    <a:pt x="80" y="47"/>
                    <a:pt x="79" y="49"/>
                  </a:cubicBezTo>
                  <a:cubicBezTo>
                    <a:pt x="78" y="52"/>
                    <a:pt x="77" y="56"/>
                    <a:pt x="80" y="54"/>
                  </a:cubicBezTo>
                  <a:cubicBezTo>
                    <a:pt x="83" y="51"/>
                    <a:pt x="91" y="42"/>
                    <a:pt x="93" y="42"/>
                  </a:cubicBezTo>
                  <a:cubicBezTo>
                    <a:pt x="95" y="42"/>
                    <a:pt x="96" y="43"/>
                    <a:pt x="102" y="43"/>
                  </a:cubicBezTo>
                  <a:cubicBezTo>
                    <a:pt x="107" y="44"/>
                    <a:pt x="114" y="43"/>
                    <a:pt x="111" y="45"/>
                  </a:cubicBezTo>
                  <a:cubicBezTo>
                    <a:pt x="108" y="47"/>
                    <a:pt x="102" y="50"/>
                    <a:pt x="99" y="52"/>
                  </a:cubicBezTo>
                  <a:cubicBezTo>
                    <a:pt x="95" y="53"/>
                    <a:pt x="88" y="55"/>
                    <a:pt x="92" y="57"/>
                  </a:cubicBezTo>
                  <a:cubicBezTo>
                    <a:pt x="97" y="58"/>
                    <a:pt x="97" y="57"/>
                    <a:pt x="99" y="58"/>
                  </a:cubicBezTo>
                  <a:cubicBezTo>
                    <a:pt x="101" y="59"/>
                    <a:pt x="104" y="54"/>
                    <a:pt x="106" y="58"/>
                  </a:cubicBezTo>
                  <a:cubicBezTo>
                    <a:pt x="108" y="63"/>
                    <a:pt x="109" y="66"/>
                    <a:pt x="112" y="64"/>
                  </a:cubicBezTo>
                  <a:cubicBezTo>
                    <a:pt x="115" y="62"/>
                    <a:pt x="118" y="63"/>
                    <a:pt x="119" y="61"/>
                  </a:cubicBezTo>
                  <a:cubicBezTo>
                    <a:pt x="121" y="58"/>
                    <a:pt x="120" y="55"/>
                    <a:pt x="122" y="55"/>
                  </a:cubicBezTo>
                  <a:cubicBezTo>
                    <a:pt x="124" y="55"/>
                    <a:pt x="123" y="58"/>
                    <a:pt x="126" y="59"/>
                  </a:cubicBezTo>
                  <a:cubicBezTo>
                    <a:pt x="129" y="60"/>
                    <a:pt x="128" y="59"/>
                    <a:pt x="134" y="59"/>
                  </a:cubicBezTo>
                  <a:cubicBezTo>
                    <a:pt x="140" y="59"/>
                    <a:pt x="140" y="57"/>
                    <a:pt x="142" y="60"/>
                  </a:cubicBezTo>
                  <a:cubicBezTo>
                    <a:pt x="144" y="64"/>
                    <a:pt x="149" y="63"/>
                    <a:pt x="144" y="66"/>
                  </a:cubicBezTo>
                  <a:cubicBezTo>
                    <a:pt x="140" y="69"/>
                    <a:pt x="133" y="73"/>
                    <a:pt x="134" y="76"/>
                  </a:cubicBezTo>
                  <a:cubicBezTo>
                    <a:pt x="135" y="78"/>
                    <a:pt x="128" y="80"/>
                    <a:pt x="133" y="82"/>
                  </a:cubicBezTo>
                  <a:cubicBezTo>
                    <a:pt x="137" y="85"/>
                    <a:pt x="138" y="87"/>
                    <a:pt x="141" y="84"/>
                  </a:cubicBezTo>
                  <a:cubicBezTo>
                    <a:pt x="144" y="80"/>
                    <a:pt x="149" y="78"/>
                    <a:pt x="149" y="82"/>
                  </a:cubicBezTo>
                  <a:cubicBezTo>
                    <a:pt x="149" y="85"/>
                    <a:pt x="152" y="87"/>
                    <a:pt x="145" y="90"/>
                  </a:cubicBezTo>
                  <a:cubicBezTo>
                    <a:pt x="139" y="92"/>
                    <a:pt x="136" y="93"/>
                    <a:pt x="134" y="95"/>
                  </a:cubicBezTo>
                  <a:cubicBezTo>
                    <a:pt x="132" y="97"/>
                    <a:pt x="129" y="97"/>
                    <a:pt x="128" y="100"/>
                  </a:cubicBezTo>
                  <a:cubicBezTo>
                    <a:pt x="127" y="102"/>
                    <a:pt x="121" y="102"/>
                    <a:pt x="125" y="106"/>
                  </a:cubicBezTo>
                  <a:cubicBezTo>
                    <a:pt x="129" y="109"/>
                    <a:pt x="128" y="112"/>
                    <a:pt x="132" y="107"/>
                  </a:cubicBezTo>
                  <a:cubicBezTo>
                    <a:pt x="136" y="102"/>
                    <a:pt x="135" y="101"/>
                    <a:pt x="140" y="99"/>
                  </a:cubicBezTo>
                  <a:cubicBezTo>
                    <a:pt x="144" y="96"/>
                    <a:pt x="146" y="91"/>
                    <a:pt x="146" y="95"/>
                  </a:cubicBezTo>
                  <a:cubicBezTo>
                    <a:pt x="147" y="98"/>
                    <a:pt x="148" y="101"/>
                    <a:pt x="144" y="104"/>
                  </a:cubicBezTo>
                  <a:cubicBezTo>
                    <a:pt x="139" y="107"/>
                    <a:pt x="135" y="110"/>
                    <a:pt x="136" y="112"/>
                  </a:cubicBezTo>
                  <a:cubicBezTo>
                    <a:pt x="137" y="113"/>
                    <a:pt x="148" y="106"/>
                    <a:pt x="146" y="112"/>
                  </a:cubicBezTo>
                  <a:cubicBezTo>
                    <a:pt x="144" y="118"/>
                    <a:pt x="138" y="128"/>
                    <a:pt x="135" y="132"/>
                  </a:cubicBezTo>
                  <a:cubicBezTo>
                    <a:pt x="131" y="136"/>
                    <a:pt x="128" y="133"/>
                    <a:pt x="125" y="135"/>
                  </a:cubicBezTo>
                  <a:cubicBezTo>
                    <a:pt x="121" y="137"/>
                    <a:pt x="114" y="138"/>
                    <a:pt x="118" y="132"/>
                  </a:cubicBezTo>
                  <a:cubicBezTo>
                    <a:pt x="122" y="126"/>
                    <a:pt x="123" y="126"/>
                    <a:pt x="123" y="124"/>
                  </a:cubicBezTo>
                  <a:cubicBezTo>
                    <a:pt x="124" y="121"/>
                    <a:pt x="123" y="118"/>
                    <a:pt x="119" y="123"/>
                  </a:cubicBezTo>
                  <a:cubicBezTo>
                    <a:pt x="115" y="129"/>
                    <a:pt x="114" y="138"/>
                    <a:pt x="111" y="130"/>
                  </a:cubicBezTo>
                  <a:cubicBezTo>
                    <a:pt x="109" y="122"/>
                    <a:pt x="110" y="124"/>
                    <a:pt x="114" y="120"/>
                  </a:cubicBezTo>
                  <a:cubicBezTo>
                    <a:pt x="118" y="116"/>
                    <a:pt x="119" y="114"/>
                    <a:pt x="119" y="110"/>
                  </a:cubicBezTo>
                  <a:cubicBezTo>
                    <a:pt x="119" y="107"/>
                    <a:pt x="118" y="99"/>
                    <a:pt x="117" y="102"/>
                  </a:cubicBezTo>
                  <a:cubicBezTo>
                    <a:pt x="115" y="106"/>
                    <a:pt x="115" y="108"/>
                    <a:pt x="111" y="111"/>
                  </a:cubicBezTo>
                  <a:cubicBezTo>
                    <a:pt x="107" y="114"/>
                    <a:pt x="107" y="114"/>
                    <a:pt x="103" y="116"/>
                  </a:cubicBezTo>
                  <a:cubicBezTo>
                    <a:pt x="99" y="118"/>
                    <a:pt x="97" y="116"/>
                    <a:pt x="93" y="120"/>
                  </a:cubicBezTo>
                  <a:cubicBezTo>
                    <a:pt x="90" y="123"/>
                    <a:pt x="91" y="122"/>
                    <a:pt x="86" y="125"/>
                  </a:cubicBezTo>
                  <a:cubicBezTo>
                    <a:pt x="80" y="128"/>
                    <a:pt x="81" y="129"/>
                    <a:pt x="77" y="129"/>
                  </a:cubicBezTo>
                  <a:cubicBezTo>
                    <a:pt x="73" y="130"/>
                    <a:pt x="68" y="128"/>
                    <a:pt x="68" y="126"/>
                  </a:cubicBezTo>
                  <a:cubicBezTo>
                    <a:pt x="68" y="123"/>
                    <a:pt x="67" y="124"/>
                    <a:pt x="73" y="123"/>
                  </a:cubicBezTo>
                  <a:cubicBezTo>
                    <a:pt x="78" y="121"/>
                    <a:pt x="75" y="121"/>
                    <a:pt x="82" y="118"/>
                  </a:cubicBezTo>
                  <a:cubicBezTo>
                    <a:pt x="90" y="115"/>
                    <a:pt x="88" y="116"/>
                    <a:pt x="93" y="113"/>
                  </a:cubicBezTo>
                  <a:cubicBezTo>
                    <a:pt x="98" y="109"/>
                    <a:pt x="101" y="108"/>
                    <a:pt x="97" y="107"/>
                  </a:cubicBezTo>
                  <a:cubicBezTo>
                    <a:pt x="92" y="106"/>
                    <a:pt x="91" y="104"/>
                    <a:pt x="88" y="108"/>
                  </a:cubicBezTo>
                  <a:cubicBezTo>
                    <a:pt x="84" y="112"/>
                    <a:pt x="85" y="113"/>
                    <a:pt x="81" y="114"/>
                  </a:cubicBezTo>
                  <a:cubicBezTo>
                    <a:pt x="76" y="114"/>
                    <a:pt x="73" y="116"/>
                    <a:pt x="73" y="113"/>
                  </a:cubicBezTo>
                  <a:cubicBezTo>
                    <a:pt x="73" y="110"/>
                    <a:pt x="76" y="109"/>
                    <a:pt x="77" y="108"/>
                  </a:cubicBezTo>
                  <a:cubicBezTo>
                    <a:pt x="78" y="107"/>
                    <a:pt x="75" y="104"/>
                    <a:pt x="72" y="105"/>
                  </a:cubicBezTo>
                  <a:cubicBezTo>
                    <a:pt x="68" y="105"/>
                    <a:pt x="69" y="105"/>
                    <a:pt x="65" y="108"/>
                  </a:cubicBezTo>
                  <a:cubicBezTo>
                    <a:pt x="61" y="111"/>
                    <a:pt x="60" y="111"/>
                    <a:pt x="56" y="111"/>
                  </a:cubicBezTo>
                  <a:cubicBezTo>
                    <a:pt x="52" y="111"/>
                    <a:pt x="51" y="108"/>
                    <a:pt x="45" y="108"/>
                  </a:cubicBezTo>
                  <a:cubicBezTo>
                    <a:pt x="40" y="108"/>
                    <a:pt x="38" y="108"/>
                    <a:pt x="34" y="108"/>
                  </a:cubicBezTo>
                  <a:cubicBezTo>
                    <a:pt x="31" y="108"/>
                    <a:pt x="27" y="105"/>
                    <a:pt x="24" y="106"/>
                  </a:cubicBezTo>
                  <a:cubicBezTo>
                    <a:pt x="21" y="108"/>
                    <a:pt x="24" y="110"/>
                    <a:pt x="18" y="110"/>
                  </a:cubicBezTo>
                  <a:cubicBezTo>
                    <a:pt x="13" y="109"/>
                    <a:pt x="12" y="109"/>
                    <a:pt x="8" y="109"/>
                  </a:cubicBezTo>
                  <a:cubicBezTo>
                    <a:pt x="4" y="109"/>
                    <a:pt x="1" y="109"/>
                    <a:pt x="1" y="107"/>
                  </a:cubicBezTo>
                  <a:cubicBezTo>
                    <a:pt x="0" y="105"/>
                    <a:pt x="2" y="103"/>
                    <a:pt x="3" y="100"/>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08" name="Freeform 986">
              <a:extLst>
                <a:ext uri="{FF2B5EF4-FFF2-40B4-BE49-F238E27FC236}">
                  <a16:creationId xmlns:a16="http://schemas.microsoft.com/office/drawing/2014/main" id="{5E6E705C-949E-9848-A6F7-CAB70C5C2936}"/>
                </a:ext>
              </a:extLst>
            </p:cNvPr>
            <p:cNvSpPr>
              <a:spLocks/>
            </p:cNvSpPr>
            <p:nvPr/>
          </p:nvSpPr>
          <p:spPr bwMode="auto">
            <a:xfrm>
              <a:off x="1997082" y="748168"/>
              <a:ext cx="217488" cy="80963"/>
            </a:xfrm>
            <a:custGeom>
              <a:avLst/>
              <a:gdLst>
                <a:gd name="T0" fmla="*/ 90 w 229"/>
                <a:gd name="T1" fmla="*/ 11 h 84"/>
                <a:gd name="T2" fmla="*/ 79 w 229"/>
                <a:gd name="T3" fmla="*/ 25 h 84"/>
                <a:gd name="T4" fmla="*/ 55 w 229"/>
                <a:gd name="T5" fmla="*/ 33 h 84"/>
                <a:gd name="T6" fmla="*/ 45 w 229"/>
                <a:gd name="T7" fmla="*/ 43 h 84"/>
                <a:gd name="T8" fmla="*/ 25 w 229"/>
                <a:gd name="T9" fmla="*/ 52 h 84"/>
                <a:gd name="T10" fmla="*/ 6 w 229"/>
                <a:gd name="T11" fmla="*/ 61 h 84"/>
                <a:gd name="T12" fmla="*/ 22 w 229"/>
                <a:gd name="T13" fmla="*/ 72 h 84"/>
                <a:gd name="T14" fmla="*/ 23 w 229"/>
                <a:gd name="T15" fmla="*/ 84 h 84"/>
                <a:gd name="T16" fmla="*/ 47 w 229"/>
                <a:gd name="T17" fmla="*/ 80 h 84"/>
                <a:gd name="T18" fmla="*/ 73 w 229"/>
                <a:gd name="T19" fmla="*/ 74 h 84"/>
                <a:gd name="T20" fmla="*/ 86 w 229"/>
                <a:gd name="T21" fmla="*/ 67 h 84"/>
                <a:gd name="T22" fmla="*/ 106 w 229"/>
                <a:gd name="T23" fmla="*/ 57 h 84"/>
                <a:gd name="T24" fmla="*/ 118 w 229"/>
                <a:gd name="T25" fmla="*/ 53 h 84"/>
                <a:gd name="T26" fmla="*/ 147 w 229"/>
                <a:gd name="T27" fmla="*/ 45 h 84"/>
                <a:gd name="T28" fmla="*/ 162 w 229"/>
                <a:gd name="T29" fmla="*/ 41 h 84"/>
                <a:gd name="T30" fmla="*/ 199 w 229"/>
                <a:gd name="T31" fmla="*/ 33 h 84"/>
                <a:gd name="T32" fmla="*/ 227 w 229"/>
                <a:gd name="T33" fmla="*/ 27 h 84"/>
                <a:gd name="T34" fmla="*/ 220 w 229"/>
                <a:gd name="T35" fmla="*/ 15 h 84"/>
                <a:gd name="T36" fmla="*/ 197 w 229"/>
                <a:gd name="T37" fmla="*/ 11 h 84"/>
                <a:gd name="T38" fmla="*/ 180 w 229"/>
                <a:gd name="T39" fmla="*/ 11 h 84"/>
                <a:gd name="T40" fmla="*/ 164 w 229"/>
                <a:gd name="T41" fmla="*/ 3 h 84"/>
                <a:gd name="T42" fmla="*/ 150 w 229"/>
                <a:gd name="T43" fmla="*/ 1 h 84"/>
                <a:gd name="T44" fmla="*/ 131 w 229"/>
                <a:gd name="T45" fmla="*/ 4 h 84"/>
                <a:gd name="T46" fmla="*/ 107 w 229"/>
                <a:gd name="T47" fmla="*/ 8 h 84"/>
                <a:gd name="T48" fmla="*/ 90 w 229"/>
                <a:gd name="T49" fmla="*/ 1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9" h="84">
                  <a:moveTo>
                    <a:pt x="90" y="11"/>
                  </a:moveTo>
                  <a:cubicBezTo>
                    <a:pt x="89" y="22"/>
                    <a:pt x="91" y="20"/>
                    <a:pt x="79" y="25"/>
                  </a:cubicBezTo>
                  <a:cubicBezTo>
                    <a:pt x="66" y="30"/>
                    <a:pt x="57" y="27"/>
                    <a:pt x="55" y="33"/>
                  </a:cubicBezTo>
                  <a:cubicBezTo>
                    <a:pt x="53" y="39"/>
                    <a:pt x="54" y="39"/>
                    <a:pt x="45" y="43"/>
                  </a:cubicBezTo>
                  <a:cubicBezTo>
                    <a:pt x="35" y="46"/>
                    <a:pt x="37" y="45"/>
                    <a:pt x="25" y="52"/>
                  </a:cubicBezTo>
                  <a:cubicBezTo>
                    <a:pt x="13" y="59"/>
                    <a:pt x="0" y="56"/>
                    <a:pt x="6" y="61"/>
                  </a:cubicBezTo>
                  <a:cubicBezTo>
                    <a:pt x="13" y="66"/>
                    <a:pt x="25" y="68"/>
                    <a:pt x="22" y="72"/>
                  </a:cubicBezTo>
                  <a:cubicBezTo>
                    <a:pt x="20" y="76"/>
                    <a:pt x="13" y="84"/>
                    <a:pt x="23" y="84"/>
                  </a:cubicBezTo>
                  <a:cubicBezTo>
                    <a:pt x="34" y="84"/>
                    <a:pt x="39" y="83"/>
                    <a:pt x="47" y="80"/>
                  </a:cubicBezTo>
                  <a:cubicBezTo>
                    <a:pt x="55" y="77"/>
                    <a:pt x="64" y="78"/>
                    <a:pt x="73" y="74"/>
                  </a:cubicBezTo>
                  <a:cubicBezTo>
                    <a:pt x="82" y="70"/>
                    <a:pt x="72" y="74"/>
                    <a:pt x="86" y="67"/>
                  </a:cubicBezTo>
                  <a:cubicBezTo>
                    <a:pt x="101" y="60"/>
                    <a:pt x="94" y="61"/>
                    <a:pt x="106" y="57"/>
                  </a:cubicBezTo>
                  <a:cubicBezTo>
                    <a:pt x="118" y="53"/>
                    <a:pt x="107" y="55"/>
                    <a:pt x="118" y="53"/>
                  </a:cubicBezTo>
                  <a:cubicBezTo>
                    <a:pt x="129" y="51"/>
                    <a:pt x="139" y="49"/>
                    <a:pt x="147" y="45"/>
                  </a:cubicBezTo>
                  <a:cubicBezTo>
                    <a:pt x="155" y="42"/>
                    <a:pt x="130" y="44"/>
                    <a:pt x="162" y="41"/>
                  </a:cubicBezTo>
                  <a:cubicBezTo>
                    <a:pt x="193" y="37"/>
                    <a:pt x="185" y="35"/>
                    <a:pt x="199" y="33"/>
                  </a:cubicBezTo>
                  <a:cubicBezTo>
                    <a:pt x="213" y="30"/>
                    <a:pt x="229" y="36"/>
                    <a:pt x="227" y="27"/>
                  </a:cubicBezTo>
                  <a:cubicBezTo>
                    <a:pt x="225" y="18"/>
                    <a:pt x="226" y="16"/>
                    <a:pt x="220" y="15"/>
                  </a:cubicBezTo>
                  <a:cubicBezTo>
                    <a:pt x="215" y="14"/>
                    <a:pt x="202" y="12"/>
                    <a:pt x="197" y="11"/>
                  </a:cubicBezTo>
                  <a:cubicBezTo>
                    <a:pt x="193" y="10"/>
                    <a:pt x="189" y="11"/>
                    <a:pt x="180" y="11"/>
                  </a:cubicBezTo>
                  <a:cubicBezTo>
                    <a:pt x="172" y="11"/>
                    <a:pt x="165" y="6"/>
                    <a:pt x="164" y="3"/>
                  </a:cubicBezTo>
                  <a:cubicBezTo>
                    <a:pt x="162" y="1"/>
                    <a:pt x="156" y="0"/>
                    <a:pt x="150" y="1"/>
                  </a:cubicBezTo>
                  <a:cubicBezTo>
                    <a:pt x="145" y="2"/>
                    <a:pt x="145" y="2"/>
                    <a:pt x="131" y="4"/>
                  </a:cubicBezTo>
                  <a:cubicBezTo>
                    <a:pt x="117" y="7"/>
                    <a:pt x="117" y="6"/>
                    <a:pt x="107" y="8"/>
                  </a:cubicBezTo>
                  <a:cubicBezTo>
                    <a:pt x="97" y="9"/>
                    <a:pt x="86" y="4"/>
                    <a:pt x="90" y="1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09" name="Freeform 987">
              <a:extLst>
                <a:ext uri="{FF2B5EF4-FFF2-40B4-BE49-F238E27FC236}">
                  <a16:creationId xmlns:a16="http://schemas.microsoft.com/office/drawing/2014/main" id="{E4DDC3C2-2F57-2745-8ACA-559F9C9F601E}"/>
                </a:ext>
              </a:extLst>
            </p:cNvPr>
            <p:cNvSpPr>
              <a:spLocks/>
            </p:cNvSpPr>
            <p:nvPr/>
          </p:nvSpPr>
          <p:spPr bwMode="auto">
            <a:xfrm>
              <a:off x="2400308" y="760868"/>
              <a:ext cx="122238" cy="63500"/>
            </a:xfrm>
            <a:custGeom>
              <a:avLst/>
              <a:gdLst>
                <a:gd name="T0" fmla="*/ 3 w 129"/>
                <a:gd name="T1" fmla="*/ 33 h 67"/>
                <a:gd name="T2" fmla="*/ 12 w 129"/>
                <a:gd name="T3" fmla="*/ 26 h 67"/>
                <a:gd name="T4" fmla="*/ 24 w 129"/>
                <a:gd name="T5" fmla="*/ 24 h 67"/>
                <a:gd name="T6" fmla="*/ 27 w 129"/>
                <a:gd name="T7" fmla="*/ 33 h 67"/>
                <a:gd name="T8" fmla="*/ 38 w 129"/>
                <a:gd name="T9" fmla="*/ 33 h 67"/>
                <a:gd name="T10" fmla="*/ 49 w 129"/>
                <a:gd name="T11" fmla="*/ 27 h 67"/>
                <a:gd name="T12" fmla="*/ 54 w 129"/>
                <a:gd name="T13" fmla="*/ 23 h 67"/>
                <a:gd name="T14" fmla="*/ 47 w 129"/>
                <a:gd name="T15" fmla="*/ 20 h 67"/>
                <a:gd name="T16" fmla="*/ 42 w 129"/>
                <a:gd name="T17" fmla="*/ 14 h 67"/>
                <a:gd name="T18" fmla="*/ 52 w 129"/>
                <a:gd name="T19" fmla="*/ 14 h 67"/>
                <a:gd name="T20" fmla="*/ 57 w 129"/>
                <a:gd name="T21" fmla="*/ 13 h 67"/>
                <a:gd name="T22" fmla="*/ 61 w 129"/>
                <a:gd name="T23" fmla="*/ 9 h 67"/>
                <a:gd name="T24" fmla="*/ 72 w 129"/>
                <a:gd name="T25" fmla="*/ 5 h 67"/>
                <a:gd name="T26" fmla="*/ 81 w 129"/>
                <a:gd name="T27" fmla="*/ 5 h 67"/>
                <a:gd name="T28" fmla="*/ 88 w 129"/>
                <a:gd name="T29" fmla="*/ 9 h 67"/>
                <a:gd name="T30" fmla="*/ 94 w 129"/>
                <a:gd name="T31" fmla="*/ 9 h 67"/>
                <a:gd name="T32" fmla="*/ 100 w 129"/>
                <a:gd name="T33" fmla="*/ 5 h 67"/>
                <a:gd name="T34" fmla="*/ 109 w 129"/>
                <a:gd name="T35" fmla="*/ 4 h 67"/>
                <a:gd name="T36" fmla="*/ 123 w 129"/>
                <a:gd name="T37" fmla="*/ 1 h 67"/>
                <a:gd name="T38" fmla="*/ 119 w 129"/>
                <a:gd name="T39" fmla="*/ 7 h 67"/>
                <a:gd name="T40" fmla="*/ 125 w 129"/>
                <a:gd name="T41" fmla="*/ 10 h 67"/>
                <a:gd name="T42" fmla="*/ 122 w 129"/>
                <a:gd name="T43" fmla="*/ 15 h 67"/>
                <a:gd name="T44" fmla="*/ 111 w 129"/>
                <a:gd name="T45" fmla="*/ 17 h 67"/>
                <a:gd name="T46" fmla="*/ 101 w 129"/>
                <a:gd name="T47" fmla="*/ 21 h 67"/>
                <a:gd name="T48" fmla="*/ 88 w 129"/>
                <a:gd name="T49" fmla="*/ 26 h 67"/>
                <a:gd name="T50" fmla="*/ 95 w 129"/>
                <a:gd name="T51" fmla="*/ 28 h 67"/>
                <a:gd name="T52" fmla="*/ 101 w 129"/>
                <a:gd name="T53" fmla="*/ 28 h 67"/>
                <a:gd name="T54" fmla="*/ 106 w 129"/>
                <a:gd name="T55" fmla="*/ 32 h 67"/>
                <a:gd name="T56" fmla="*/ 112 w 129"/>
                <a:gd name="T57" fmla="*/ 24 h 67"/>
                <a:gd name="T58" fmla="*/ 116 w 129"/>
                <a:gd name="T59" fmla="*/ 27 h 67"/>
                <a:gd name="T60" fmla="*/ 109 w 129"/>
                <a:gd name="T61" fmla="*/ 36 h 67"/>
                <a:gd name="T62" fmla="*/ 101 w 129"/>
                <a:gd name="T63" fmla="*/ 43 h 67"/>
                <a:gd name="T64" fmla="*/ 92 w 129"/>
                <a:gd name="T65" fmla="*/ 51 h 67"/>
                <a:gd name="T66" fmla="*/ 83 w 129"/>
                <a:gd name="T67" fmla="*/ 56 h 67"/>
                <a:gd name="T68" fmla="*/ 64 w 129"/>
                <a:gd name="T69" fmla="*/ 59 h 67"/>
                <a:gd name="T70" fmla="*/ 59 w 129"/>
                <a:gd name="T71" fmla="*/ 59 h 67"/>
                <a:gd name="T72" fmla="*/ 51 w 129"/>
                <a:gd name="T73" fmla="*/ 59 h 67"/>
                <a:gd name="T74" fmla="*/ 49 w 129"/>
                <a:gd name="T75" fmla="*/ 65 h 67"/>
                <a:gd name="T76" fmla="*/ 36 w 129"/>
                <a:gd name="T77" fmla="*/ 65 h 67"/>
                <a:gd name="T78" fmla="*/ 28 w 129"/>
                <a:gd name="T79" fmla="*/ 62 h 67"/>
                <a:gd name="T80" fmla="*/ 27 w 129"/>
                <a:gd name="T81" fmla="*/ 54 h 67"/>
                <a:gd name="T82" fmla="*/ 15 w 129"/>
                <a:gd name="T83" fmla="*/ 43 h 67"/>
                <a:gd name="T84" fmla="*/ 6 w 129"/>
                <a:gd name="T85" fmla="*/ 41 h 67"/>
                <a:gd name="T86" fmla="*/ 3 w 129"/>
                <a:gd name="T87" fmla="*/ 3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9" h="67">
                  <a:moveTo>
                    <a:pt x="3" y="33"/>
                  </a:moveTo>
                  <a:cubicBezTo>
                    <a:pt x="6" y="27"/>
                    <a:pt x="10" y="26"/>
                    <a:pt x="12" y="26"/>
                  </a:cubicBezTo>
                  <a:cubicBezTo>
                    <a:pt x="13" y="27"/>
                    <a:pt x="23" y="21"/>
                    <a:pt x="24" y="24"/>
                  </a:cubicBezTo>
                  <a:cubicBezTo>
                    <a:pt x="26" y="27"/>
                    <a:pt x="21" y="33"/>
                    <a:pt x="27" y="33"/>
                  </a:cubicBezTo>
                  <a:cubicBezTo>
                    <a:pt x="33" y="34"/>
                    <a:pt x="31" y="34"/>
                    <a:pt x="38" y="33"/>
                  </a:cubicBezTo>
                  <a:cubicBezTo>
                    <a:pt x="46" y="32"/>
                    <a:pt x="44" y="29"/>
                    <a:pt x="49" y="27"/>
                  </a:cubicBezTo>
                  <a:cubicBezTo>
                    <a:pt x="54" y="25"/>
                    <a:pt x="58" y="24"/>
                    <a:pt x="54" y="23"/>
                  </a:cubicBezTo>
                  <a:cubicBezTo>
                    <a:pt x="51" y="21"/>
                    <a:pt x="52" y="21"/>
                    <a:pt x="47" y="20"/>
                  </a:cubicBezTo>
                  <a:cubicBezTo>
                    <a:pt x="42" y="18"/>
                    <a:pt x="38" y="15"/>
                    <a:pt x="42" y="14"/>
                  </a:cubicBezTo>
                  <a:cubicBezTo>
                    <a:pt x="46" y="14"/>
                    <a:pt x="48" y="15"/>
                    <a:pt x="52" y="14"/>
                  </a:cubicBezTo>
                  <a:cubicBezTo>
                    <a:pt x="55" y="14"/>
                    <a:pt x="57" y="17"/>
                    <a:pt x="57" y="13"/>
                  </a:cubicBezTo>
                  <a:cubicBezTo>
                    <a:pt x="57" y="10"/>
                    <a:pt x="56" y="9"/>
                    <a:pt x="61" y="9"/>
                  </a:cubicBezTo>
                  <a:cubicBezTo>
                    <a:pt x="67" y="8"/>
                    <a:pt x="68" y="4"/>
                    <a:pt x="72" y="5"/>
                  </a:cubicBezTo>
                  <a:cubicBezTo>
                    <a:pt x="76" y="6"/>
                    <a:pt x="78" y="3"/>
                    <a:pt x="81" y="5"/>
                  </a:cubicBezTo>
                  <a:cubicBezTo>
                    <a:pt x="84" y="7"/>
                    <a:pt x="84" y="8"/>
                    <a:pt x="88" y="9"/>
                  </a:cubicBezTo>
                  <a:cubicBezTo>
                    <a:pt x="91" y="9"/>
                    <a:pt x="94" y="12"/>
                    <a:pt x="94" y="9"/>
                  </a:cubicBezTo>
                  <a:cubicBezTo>
                    <a:pt x="94" y="6"/>
                    <a:pt x="93" y="5"/>
                    <a:pt x="100" y="5"/>
                  </a:cubicBezTo>
                  <a:cubicBezTo>
                    <a:pt x="106" y="5"/>
                    <a:pt x="101" y="5"/>
                    <a:pt x="109" y="4"/>
                  </a:cubicBezTo>
                  <a:cubicBezTo>
                    <a:pt x="116" y="3"/>
                    <a:pt x="123" y="0"/>
                    <a:pt x="123" y="1"/>
                  </a:cubicBezTo>
                  <a:cubicBezTo>
                    <a:pt x="124" y="2"/>
                    <a:pt x="114" y="4"/>
                    <a:pt x="119" y="7"/>
                  </a:cubicBezTo>
                  <a:cubicBezTo>
                    <a:pt x="123" y="9"/>
                    <a:pt x="125" y="7"/>
                    <a:pt x="125" y="10"/>
                  </a:cubicBezTo>
                  <a:cubicBezTo>
                    <a:pt x="125" y="12"/>
                    <a:pt x="129" y="15"/>
                    <a:pt x="122" y="15"/>
                  </a:cubicBezTo>
                  <a:cubicBezTo>
                    <a:pt x="116" y="15"/>
                    <a:pt x="112" y="16"/>
                    <a:pt x="111" y="17"/>
                  </a:cubicBezTo>
                  <a:cubicBezTo>
                    <a:pt x="109" y="18"/>
                    <a:pt x="108" y="18"/>
                    <a:pt x="101" y="21"/>
                  </a:cubicBezTo>
                  <a:cubicBezTo>
                    <a:pt x="94" y="24"/>
                    <a:pt x="87" y="25"/>
                    <a:pt x="88" y="26"/>
                  </a:cubicBezTo>
                  <a:cubicBezTo>
                    <a:pt x="89" y="28"/>
                    <a:pt x="88" y="28"/>
                    <a:pt x="95" y="28"/>
                  </a:cubicBezTo>
                  <a:cubicBezTo>
                    <a:pt x="101" y="28"/>
                    <a:pt x="99" y="23"/>
                    <a:pt x="101" y="28"/>
                  </a:cubicBezTo>
                  <a:cubicBezTo>
                    <a:pt x="103" y="33"/>
                    <a:pt x="105" y="36"/>
                    <a:pt x="106" y="32"/>
                  </a:cubicBezTo>
                  <a:cubicBezTo>
                    <a:pt x="107" y="28"/>
                    <a:pt x="109" y="24"/>
                    <a:pt x="112" y="24"/>
                  </a:cubicBezTo>
                  <a:cubicBezTo>
                    <a:pt x="115" y="24"/>
                    <a:pt x="117" y="24"/>
                    <a:pt x="116" y="27"/>
                  </a:cubicBezTo>
                  <a:cubicBezTo>
                    <a:pt x="114" y="30"/>
                    <a:pt x="110" y="33"/>
                    <a:pt x="109" y="36"/>
                  </a:cubicBezTo>
                  <a:cubicBezTo>
                    <a:pt x="109" y="39"/>
                    <a:pt x="104" y="39"/>
                    <a:pt x="101" y="43"/>
                  </a:cubicBezTo>
                  <a:cubicBezTo>
                    <a:pt x="97" y="47"/>
                    <a:pt x="96" y="47"/>
                    <a:pt x="92" y="51"/>
                  </a:cubicBezTo>
                  <a:cubicBezTo>
                    <a:pt x="89" y="54"/>
                    <a:pt x="94" y="55"/>
                    <a:pt x="83" y="56"/>
                  </a:cubicBezTo>
                  <a:cubicBezTo>
                    <a:pt x="72" y="58"/>
                    <a:pt x="68" y="59"/>
                    <a:pt x="64" y="59"/>
                  </a:cubicBezTo>
                  <a:cubicBezTo>
                    <a:pt x="61" y="60"/>
                    <a:pt x="62" y="58"/>
                    <a:pt x="59" y="59"/>
                  </a:cubicBezTo>
                  <a:cubicBezTo>
                    <a:pt x="55" y="60"/>
                    <a:pt x="51" y="56"/>
                    <a:pt x="51" y="59"/>
                  </a:cubicBezTo>
                  <a:cubicBezTo>
                    <a:pt x="52" y="63"/>
                    <a:pt x="56" y="64"/>
                    <a:pt x="49" y="65"/>
                  </a:cubicBezTo>
                  <a:cubicBezTo>
                    <a:pt x="43" y="66"/>
                    <a:pt x="43" y="64"/>
                    <a:pt x="36" y="65"/>
                  </a:cubicBezTo>
                  <a:cubicBezTo>
                    <a:pt x="30" y="66"/>
                    <a:pt x="26" y="67"/>
                    <a:pt x="28" y="62"/>
                  </a:cubicBezTo>
                  <a:cubicBezTo>
                    <a:pt x="30" y="57"/>
                    <a:pt x="35" y="60"/>
                    <a:pt x="27" y="54"/>
                  </a:cubicBezTo>
                  <a:cubicBezTo>
                    <a:pt x="18" y="49"/>
                    <a:pt x="19" y="45"/>
                    <a:pt x="15" y="43"/>
                  </a:cubicBezTo>
                  <a:cubicBezTo>
                    <a:pt x="10" y="42"/>
                    <a:pt x="10" y="43"/>
                    <a:pt x="6" y="41"/>
                  </a:cubicBezTo>
                  <a:cubicBezTo>
                    <a:pt x="1" y="38"/>
                    <a:pt x="0" y="37"/>
                    <a:pt x="3" y="3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10" name="Freeform 988">
              <a:extLst>
                <a:ext uri="{FF2B5EF4-FFF2-40B4-BE49-F238E27FC236}">
                  <a16:creationId xmlns:a16="http://schemas.microsoft.com/office/drawing/2014/main" id="{6BF3EF90-1E64-2F4A-A784-1BE448EA43C5}"/>
                </a:ext>
              </a:extLst>
            </p:cNvPr>
            <p:cNvSpPr>
              <a:spLocks/>
            </p:cNvSpPr>
            <p:nvPr/>
          </p:nvSpPr>
          <p:spPr bwMode="auto">
            <a:xfrm>
              <a:off x="2166945" y="691018"/>
              <a:ext cx="157163" cy="38100"/>
            </a:xfrm>
            <a:custGeom>
              <a:avLst/>
              <a:gdLst>
                <a:gd name="T0" fmla="*/ 4 w 165"/>
                <a:gd name="T1" fmla="*/ 28 h 40"/>
                <a:gd name="T2" fmla="*/ 28 w 165"/>
                <a:gd name="T3" fmla="*/ 24 h 40"/>
                <a:gd name="T4" fmla="*/ 58 w 165"/>
                <a:gd name="T5" fmla="*/ 17 h 40"/>
                <a:gd name="T6" fmla="*/ 74 w 165"/>
                <a:gd name="T7" fmla="*/ 11 h 40"/>
                <a:gd name="T8" fmla="*/ 109 w 165"/>
                <a:gd name="T9" fmla="*/ 6 h 40"/>
                <a:gd name="T10" fmla="*/ 134 w 165"/>
                <a:gd name="T11" fmla="*/ 3 h 40"/>
                <a:gd name="T12" fmla="*/ 164 w 165"/>
                <a:gd name="T13" fmla="*/ 3 h 40"/>
                <a:gd name="T14" fmla="*/ 149 w 165"/>
                <a:gd name="T15" fmla="*/ 10 h 40"/>
                <a:gd name="T16" fmla="*/ 142 w 165"/>
                <a:gd name="T17" fmla="*/ 14 h 40"/>
                <a:gd name="T18" fmla="*/ 133 w 165"/>
                <a:gd name="T19" fmla="*/ 20 h 40"/>
                <a:gd name="T20" fmla="*/ 112 w 165"/>
                <a:gd name="T21" fmla="*/ 22 h 40"/>
                <a:gd name="T22" fmla="*/ 94 w 165"/>
                <a:gd name="T23" fmla="*/ 26 h 40"/>
                <a:gd name="T24" fmla="*/ 93 w 165"/>
                <a:gd name="T25" fmla="*/ 18 h 40"/>
                <a:gd name="T26" fmla="*/ 78 w 165"/>
                <a:gd name="T27" fmla="*/ 25 h 40"/>
                <a:gd name="T28" fmla="*/ 70 w 165"/>
                <a:gd name="T29" fmla="*/ 30 h 40"/>
                <a:gd name="T30" fmla="*/ 60 w 165"/>
                <a:gd name="T31" fmla="*/ 32 h 40"/>
                <a:gd name="T32" fmla="*/ 43 w 165"/>
                <a:gd name="T33" fmla="*/ 37 h 40"/>
                <a:gd name="T34" fmla="*/ 34 w 165"/>
                <a:gd name="T35" fmla="*/ 35 h 40"/>
                <a:gd name="T36" fmla="*/ 21 w 165"/>
                <a:gd name="T37" fmla="*/ 39 h 40"/>
                <a:gd name="T38" fmla="*/ 7 w 165"/>
                <a:gd name="T39" fmla="*/ 37 h 40"/>
                <a:gd name="T40" fmla="*/ 0 w 165"/>
                <a:gd name="T41" fmla="*/ 34 h 40"/>
                <a:gd name="T42" fmla="*/ 4 w 165"/>
                <a:gd name="T43"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5" h="40">
                  <a:moveTo>
                    <a:pt x="4" y="28"/>
                  </a:moveTo>
                  <a:cubicBezTo>
                    <a:pt x="14" y="25"/>
                    <a:pt x="10" y="25"/>
                    <a:pt x="28" y="24"/>
                  </a:cubicBezTo>
                  <a:cubicBezTo>
                    <a:pt x="46" y="24"/>
                    <a:pt x="47" y="19"/>
                    <a:pt x="58" y="17"/>
                  </a:cubicBezTo>
                  <a:cubicBezTo>
                    <a:pt x="70" y="14"/>
                    <a:pt x="46" y="15"/>
                    <a:pt x="74" y="11"/>
                  </a:cubicBezTo>
                  <a:cubicBezTo>
                    <a:pt x="102" y="7"/>
                    <a:pt x="92" y="8"/>
                    <a:pt x="109" y="6"/>
                  </a:cubicBezTo>
                  <a:cubicBezTo>
                    <a:pt x="127" y="3"/>
                    <a:pt x="119" y="6"/>
                    <a:pt x="134" y="3"/>
                  </a:cubicBezTo>
                  <a:cubicBezTo>
                    <a:pt x="149" y="0"/>
                    <a:pt x="165" y="0"/>
                    <a:pt x="164" y="3"/>
                  </a:cubicBezTo>
                  <a:cubicBezTo>
                    <a:pt x="163" y="6"/>
                    <a:pt x="153" y="8"/>
                    <a:pt x="149" y="10"/>
                  </a:cubicBezTo>
                  <a:cubicBezTo>
                    <a:pt x="144" y="12"/>
                    <a:pt x="145" y="10"/>
                    <a:pt x="142" y="14"/>
                  </a:cubicBezTo>
                  <a:cubicBezTo>
                    <a:pt x="138" y="18"/>
                    <a:pt x="143" y="18"/>
                    <a:pt x="133" y="20"/>
                  </a:cubicBezTo>
                  <a:cubicBezTo>
                    <a:pt x="122" y="21"/>
                    <a:pt x="118" y="17"/>
                    <a:pt x="112" y="22"/>
                  </a:cubicBezTo>
                  <a:cubicBezTo>
                    <a:pt x="106" y="27"/>
                    <a:pt x="89" y="31"/>
                    <a:pt x="94" y="26"/>
                  </a:cubicBezTo>
                  <a:cubicBezTo>
                    <a:pt x="100" y="22"/>
                    <a:pt x="99" y="16"/>
                    <a:pt x="93" y="18"/>
                  </a:cubicBezTo>
                  <a:cubicBezTo>
                    <a:pt x="88" y="20"/>
                    <a:pt x="81" y="21"/>
                    <a:pt x="78" y="25"/>
                  </a:cubicBezTo>
                  <a:cubicBezTo>
                    <a:pt x="74" y="29"/>
                    <a:pt x="74" y="29"/>
                    <a:pt x="70" y="30"/>
                  </a:cubicBezTo>
                  <a:cubicBezTo>
                    <a:pt x="66" y="31"/>
                    <a:pt x="66" y="28"/>
                    <a:pt x="60" y="32"/>
                  </a:cubicBezTo>
                  <a:cubicBezTo>
                    <a:pt x="54" y="36"/>
                    <a:pt x="45" y="36"/>
                    <a:pt x="43" y="37"/>
                  </a:cubicBezTo>
                  <a:cubicBezTo>
                    <a:pt x="41" y="38"/>
                    <a:pt x="38" y="33"/>
                    <a:pt x="34" y="35"/>
                  </a:cubicBezTo>
                  <a:cubicBezTo>
                    <a:pt x="30" y="37"/>
                    <a:pt x="25" y="37"/>
                    <a:pt x="21" y="39"/>
                  </a:cubicBezTo>
                  <a:cubicBezTo>
                    <a:pt x="17" y="40"/>
                    <a:pt x="11" y="37"/>
                    <a:pt x="7" y="37"/>
                  </a:cubicBezTo>
                  <a:cubicBezTo>
                    <a:pt x="3" y="37"/>
                    <a:pt x="0" y="37"/>
                    <a:pt x="0" y="34"/>
                  </a:cubicBezTo>
                  <a:cubicBezTo>
                    <a:pt x="0" y="32"/>
                    <a:pt x="1" y="29"/>
                    <a:pt x="4" y="28"/>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11" name="Freeform 989">
              <a:extLst>
                <a:ext uri="{FF2B5EF4-FFF2-40B4-BE49-F238E27FC236}">
                  <a16:creationId xmlns:a16="http://schemas.microsoft.com/office/drawing/2014/main" id="{56D9CC32-7405-304C-B33F-8B48A4873EF2}"/>
                </a:ext>
              </a:extLst>
            </p:cNvPr>
            <p:cNvSpPr>
              <a:spLocks/>
            </p:cNvSpPr>
            <p:nvPr/>
          </p:nvSpPr>
          <p:spPr bwMode="auto">
            <a:xfrm>
              <a:off x="2222507" y="705305"/>
              <a:ext cx="217488" cy="57150"/>
            </a:xfrm>
            <a:custGeom>
              <a:avLst/>
              <a:gdLst>
                <a:gd name="T0" fmla="*/ 13 w 229"/>
                <a:gd name="T1" fmla="*/ 36 h 60"/>
                <a:gd name="T2" fmla="*/ 30 w 229"/>
                <a:gd name="T3" fmla="*/ 41 h 60"/>
                <a:gd name="T4" fmla="*/ 47 w 229"/>
                <a:gd name="T5" fmla="*/ 39 h 60"/>
                <a:gd name="T6" fmla="*/ 65 w 229"/>
                <a:gd name="T7" fmla="*/ 34 h 60"/>
                <a:gd name="T8" fmla="*/ 85 w 229"/>
                <a:gd name="T9" fmla="*/ 36 h 60"/>
                <a:gd name="T10" fmla="*/ 94 w 229"/>
                <a:gd name="T11" fmla="*/ 38 h 60"/>
                <a:gd name="T12" fmla="*/ 70 w 229"/>
                <a:gd name="T13" fmla="*/ 41 h 60"/>
                <a:gd name="T14" fmla="*/ 41 w 229"/>
                <a:gd name="T15" fmla="*/ 47 h 60"/>
                <a:gd name="T16" fmla="*/ 46 w 229"/>
                <a:gd name="T17" fmla="*/ 58 h 60"/>
                <a:gd name="T18" fmla="*/ 70 w 229"/>
                <a:gd name="T19" fmla="*/ 56 h 60"/>
                <a:gd name="T20" fmla="*/ 88 w 229"/>
                <a:gd name="T21" fmla="*/ 51 h 60"/>
                <a:gd name="T22" fmla="*/ 100 w 229"/>
                <a:gd name="T23" fmla="*/ 46 h 60"/>
                <a:gd name="T24" fmla="*/ 118 w 229"/>
                <a:gd name="T25" fmla="*/ 45 h 60"/>
                <a:gd name="T26" fmla="*/ 151 w 229"/>
                <a:gd name="T27" fmla="*/ 42 h 60"/>
                <a:gd name="T28" fmla="*/ 159 w 229"/>
                <a:gd name="T29" fmla="*/ 41 h 60"/>
                <a:gd name="T30" fmla="*/ 178 w 229"/>
                <a:gd name="T31" fmla="*/ 41 h 60"/>
                <a:gd name="T32" fmla="*/ 212 w 229"/>
                <a:gd name="T33" fmla="*/ 31 h 60"/>
                <a:gd name="T34" fmla="*/ 227 w 229"/>
                <a:gd name="T35" fmla="*/ 21 h 60"/>
                <a:gd name="T36" fmla="*/ 210 w 229"/>
                <a:gd name="T37" fmla="*/ 15 h 60"/>
                <a:gd name="T38" fmla="*/ 198 w 229"/>
                <a:gd name="T39" fmla="*/ 21 h 60"/>
                <a:gd name="T40" fmla="*/ 187 w 229"/>
                <a:gd name="T41" fmla="*/ 18 h 60"/>
                <a:gd name="T42" fmla="*/ 193 w 229"/>
                <a:gd name="T43" fmla="*/ 14 h 60"/>
                <a:gd name="T44" fmla="*/ 197 w 229"/>
                <a:gd name="T45" fmla="*/ 5 h 60"/>
                <a:gd name="T46" fmla="*/ 197 w 229"/>
                <a:gd name="T47" fmla="*/ 1 h 60"/>
                <a:gd name="T48" fmla="*/ 182 w 229"/>
                <a:gd name="T49" fmla="*/ 3 h 60"/>
                <a:gd name="T50" fmla="*/ 169 w 229"/>
                <a:gd name="T51" fmla="*/ 9 h 60"/>
                <a:gd name="T52" fmla="*/ 160 w 229"/>
                <a:gd name="T53" fmla="*/ 12 h 60"/>
                <a:gd name="T54" fmla="*/ 165 w 229"/>
                <a:gd name="T55" fmla="*/ 18 h 60"/>
                <a:gd name="T56" fmla="*/ 154 w 229"/>
                <a:gd name="T57" fmla="*/ 22 h 60"/>
                <a:gd name="T58" fmla="*/ 158 w 229"/>
                <a:gd name="T59" fmla="*/ 30 h 60"/>
                <a:gd name="T60" fmla="*/ 132 w 229"/>
                <a:gd name="T61" fmla="*/ 30 h 60"/>
                <a:gd name="T62" fmla="*/ 122 w 229"/>
                <a:gd name="T63" fmla="*/ 24 h 60"/>
                <a:gd name="T64" fmla="*/ 123 w 229"/>
                <a:gd name="T65" fmla="*/ 18 h 60"/>
                <a:gd name="T66" fmla="*/ 110 w 229"/>
                <a:gd name="T67" fmla="*/ 13 h 60"/>
                <a:gd name="T68" fmla="*/ 99 w 229"/>
                <a:gd name="T69" fmla="*/ 12 h 60"/>
                <a:gd name="T70" fmla="*/ 88 w 229"/>
                <a:gd name="T71" fmla="*/ 7 h 60"/>
                <a:gd name="T72" fmla="*/ 78 w 229"/>
                <a:gd name="T73" fmla="*/ 9 h 60"/>
                <a:gd name="T74" fmla="*/ 65 w 229"/>
                <a:gd name="T75" fmla="*/ 13 h 60"/>
                <a:gd name="T76" fmla="*/ 56 w 229"/>
                <a:gd name="T77" fmla="*/ 16 h 60"/>
                <a:gd name="T78" fmla="*/ 40 w 229"/>
                <a:gd name="T79" fmla="*/ 20 h 60"/>
                <a:gd name="T80" fmla="*/ 31 w 229"/>
                <a:gd name="T81" fmla="*/ 24 h 60"/>
                <a:gd name="T82" fmla="*/ 19 w 229"/>
                <a:gd name="T83" fmla="*/ 30 h 60"/>
                <a:gd name="T84" fmla="*/ 4 w 229"/>
                <a:gd name="T85" fmla="*/ 36 h 60"/>
                <a:gd name="T86" fmla="*/ 8 w 229"/>
                <a:gd name="T87" fmla="*/ 40 h 60"/>
                <a:gd name="T88" fmla="*/ 13 w 229"/>
                <a:gd name="T89" fmla="*/ 3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9" h="60">
                  <a:moveTo>
                    <a:pt x="13" y="36"/>
                  </a:moveTo>
                  <a:cubicBezTo>
                    <a:pt x="24" y="42"/>
                    <a:pt x="16" y="41"/>
                    <a:pt x="30" y="41"/>
                  </a:cubicBezTo>
                  <a:cubicBezTo>
                    <a:pt x="43" y="41"/>
                    <a:pt x="31" y="41"/>
                    <a:pt x="47" y="39"/>
                  </a:cubicBezTo>
                  <a:cubicBezTo>
                    <a:pt x="63" y="36"/>
                    <a:pt x="60" y="33"/>
                    <a:pt x="65" y="34"/>
                  </a:cubicBezTo>
                  <a:cubicBezTo>
                    <a:pt x="70" y="35"/>
                    <a:pt x="79" y="36"/>
                    <a:pt x="85" y="36"/>
                  </a:cubicBezTo>
                  <a:cubicBezTo>
                    <a:pt x="91" y="36"/>
                    <a:pt x="104" y="35"/>
                    <a:pt x="94" y="38"/>
                  </a:cubicBezTo>
                  <a:cubicBezTo>
                    <a:pt x="83" y="40"/>
                    <a:pt x="85" y="37"/>
                    <a:pt x="70" y="41"/>
                  </a:cubicBezTo>
                  <a:cubicBezTo>
                    <a:pt x="55" y="45"/>
                    <a:pt x="39" y="40"/>
                    <a:pt x="41" y="47"/>
                  </a:cubicBezTo>
                  <a:cubicBezTo>
                    <a:pt x="43" y="54"/>
                    <a:pt x="36" y="57"/>
                    <a:pt x="46" y="58"/>
                  </a:cubicBezTo>
                  <a:cubicBezTo>
                    <a:pt x="56" y="58"/>
                    <a:pt x="59" y="60"/>
                    <a:pt x="70" y="56"/>
                  </a:cubicBezTo>
                  <a:cubicBezTo>
                    <a:pt x="81" y="52"/>
                    <a:pt x="76" y="55"/>
                    <a:pt x="88" y="51"/>
                  </a:cubicBezTo>
                  <a:cubicBezTo>
                    <a:pt x="100" y="46"/>
                    <a:pt x="84" y="47"/>
                    <a:pt x="100" y="46"/>
                  </a:cubicBezTo>
                  <a:cubicBezTo>
                    <a:pt x="116" y="45"/>
                    <a:pt x="108" y="46"/>
                    <a:pt x="118" y="45"/>
                  </a:cubicBezTo>
                  <a:cubicBezTo>
                    <a:pt x="128" y="44"/>
                    <a:pt x="150" y="42"/>
                    <a:pt x="151" y="42"/>
                  </a:cubicBezTo>
                  <a:cubicBezTo>
                    <a:pt x="152" y="42"/>
                    <a:pt x="144" y="40"/>
                    <a:pt x="159" y="41"/>
                  </a:cubicBezTo>
                  <a:cubicBezTo>
                    <a:pt x="174" y="41"/>
                    <a:pt x="158" y="46"/>
                    <a:pt x="178" y="41"/>
                  </a:cubicBezTo>
                  <a:cubicBezTo>
                    <a:pt x="199" y="36"/>
                    <a:pt x="207" y="35"/>
                    <a:pt x="212" y="31"/>
                  </a:cubicBezTo>
                  <a:cubicBezTo>
                    <a:pt x="218" y="27"/>
                    <a:pt x="229" y="27"/>
                    <a:pt x="227" y="21"/>
                  </a:cubicBezTo>
                  <a:cubicBezTo>
                    <a:pt x="225" y="15"/>
                    <a:pt x="218" y="12"/>
                    <a:pt x="210" y="15"/>
                  </a:cubicBezTo>
                  <a:cubicBezTo>
                    <a:pt x="202" y="18"/>
                    <a:pt x="208" y="19"/>
                    <a:pt x="198" y="21"/>
                  </a:cubicBezTo>
                  <a:cubicBezTo>
                    <a:pt x="188" y="22"/>
                    <a:pt x="183" y="21"/>
                    <a:pt x="187" y="18"/>
                  </a:cubicBezTo>
                  <a:cubicBezTo>
                    <a:pt x="191" y="15"/>
                    <a:pt x="190" y="17"/>
                    <a:pt x="193" y="14"/>
                  </a:cubicBezTo>
                  <a:cubicBezTo>
                    <a:pt x="197" y="11"/>
                    <a:pt x="195" y="6"/>
                    <a:pt x="197" y="5"/>
                  </a:cubicBezTo>
                  <a:cubicBezTo>
                    <a:pt x="199" y="4"/>
                    <a:pt x="204" y="1"/>
                    <a:pt x="197" y="1"/>
                  </a:cubicBezTo>
                  <a:cubicBezTo>
                    <a:pt x="191" y="1"/>
                    <a:pt x="184" y="0"/>
                    <a:pt x="182" y="3"/>
                  </a:cubicBezTo>
                  <a:cubicBezTo>
                    <a:pt x="180" y="6"/>
                    <a:pt x="172" y="7"/>
                    <a:pt x="169" y="9"/>
                  </a:cubicBezTo>
                  <a:cubicBezTo>
                    <a:pt x="166" y="11"/>
                    <a:pt x="157" y="9"/>
                    <a:pt x="160" y="12"/>
                  </a:cubicBezTo>
                  <a:cubicBezTo>
                    <a:pt x="164" y="15"/>
                    <a:pt x="170" y="16"/>
                    <a:pt x="165" y="18"/>
                  </a:cubicBezTo>
                  <a:cubicBezTo>
                    <a:pt x="160" y="21"/>
                    <a:pt x="151" y="20"/>
                    <a:pt x="154" y="22"/>
                  </a:cubicBezTo>
                  <a:cubicBezTo>
                    <a:pt x="157" y="24"/>
                    <a:pt x="167" y="30"/>
                    <a:pt x="158" y="30"/>
                  </a:cubicBezTo>
                  <a:cubicBezTo>
                    <a:pt x="148" y="29"/>
                    <a:pt x="139" y="30"/>
                    <a:pt x="132" y="30"/>
                  </a:cubicBezTo>
                  <a:cubicBezTo>
                    <a:pt x="124" y="29"/>
                    <a:pt x="121" y="26"/>
                    <a:pt x="122" y="24"/>
                  </a:cubicBezTo>
                  <a:cubicBezTo>
                    <a:pt x="123" y="23"/>
                    <a:pt x="131" y="20"/>
                    <a:pt x="123" y="18"/>
                  </a:cubicBezTo>
                  <a:cubicBezTo>
                    <a:pt x="115" y="16"/>
                    <a:pt x="112" y="13"/>
                    <a:pt x="110" y="13"/>
                  </a:cubicBezTo>
                  <a:cubicBezTo>
                    <a:pt x="108" y="13"/>
                    <a:pt x="102" y="11"/>
                    <a:pt x="99" y="12"/>
                  </a:cubicBezTo>
                  <a:cubicBezTo>
                    <a:pt x="96" y="12"/>
                    <a:pt x="92" y="7"/>
                    <a:pt x="88" y="7"/>
                  </a:cubicBezTo>
                  <a:cubicBezTo>
                    <a:pt x="84" y="8"/>
                    <a:pt x="82" y="5"/>
                    <a:pt x="78" y="9"/>
                  </a:cubicBezTo>
                  <a:cubicBezTo>
                    <a:pt x="74" y="13"/>
                    <a:pt x="70" y="11"/>
                    <a:pt x="65" y="13"/>
                  </a:cubicBezTo>
                  <a:cubicBezTo>
                    <a:pt x="60" y="15"/>
                    <a:pt x="66" y="12"/>
                    <a:pt x="56" y="16"/>
                  </a:cubicBezTo>
                  <a:cubicBezTo>
                    <a:pt x="45" y="20"/>
                    <a:pt x="44" y="17"/>
                    <a:pt x="40" y="20"/>
                  </a:cubicBezTo>
                  <a:cubicBezTo>
                    <a:pt x="35" y="23"/>
                    <a:pt x="39" y="19"/>
                    <a:pt x="31" y="24"/>
                  </a:cubicBezTo>
                  <a:cubicBezTo>
                    <a:pt x="22" y="29"/>
                    <a:pt x="27" y="24"/>
                    <a:pt x="19" y="30"/>
                  </a:cubicBezTo>
                  <a:cubicBezTo>
                    <a:pt x="11" y="35"/>
                    <a:pt x="0" y="34"/>
                    <a:pt x="4" y="36"/>
                  </a:cubicBezTo>
                  <a:cubicBezTo>
                    <a:pt x="8" y="38"/>
                    <a:pt x="7" y="40"/>
                    <a:pt x="8" y="40"/>
                  </a:cubicBezTo>
                  <a:cubicBezTo>
                    <a:pt x="9" y="39"/>
                    <a:pt x="12" y="36"/>
                    <a:pt x="13" y="3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12" name="Freeform 990">
              <a:extLst>
                <a:ext uri="{FF2B5EF4-FFF2-40B4-BE49-F238E27FC236}">
                  <a16:creationId xmlns:a16="http://schemas.microsoft.com/office/drawing/2014/main" id="{274FCB51-0076-1E43-83AA-51278C957FD8}"/>
                </a:ext>
              </a:extLst>
            </p:cNvPr>
            <p:cNvSpPr>
              <a:spLocks/>
            </p:cNvSpPr>
            <p:nvPr/>
          </p:nvSpPr>
          <p:spPr bwMode="auto">
            <a:xfrm>
              <a:off x="2209807" y="719593"/>
              <a:ext cx="44450" cy="14288"/>
            </a:xfrm>
            <a:custGeom>
              <a:avLst/>
              <a:gdLst>
                <a:gd name="T0" fmla="*/ 3 w 46"/>
                <a:gd name="T1" fmla="*/ 14 h 14"/>
                <a:gd name="T2" fmla="*/ 13 w 46"/>
                <a:gd name="T3" fmla="*/ 13 h 14"/>
                <a:gd name="T4" fmla="*/ 21 w 46"/>
                <a:gd name="T5" fmla="*/ 11 h 14"/>
                <a:gd name="T6" fmla="*/ 27 w 46"/>
                <a:gd name="T7" fmla="*/ 9 h 14"/>
                <a:gd name="T8" fmla="*/ 35 w 46"/>
                <a:gd name="T9" fmla="*/ 7 h 14"/>
                <a:gd name="T10" fmla="*/ 39 w 46"/>
                <a:gd name="T11" fmla="*/ 5 h 14"/>
                <a:gd name="T12" fmla="*/ 43 w 46"/>
                <a:gd name="T13" fmla="*/ 2 h 14"/>
                <a:gd name="T14" fmla="*/ 35 w 46"/>
                <a:gd name="T15" fmla="*/ 1 h 14"/>
                <a:gd name="T16" fmla="*/ 27 w 46"/>
                <a:gd name="T17" fmla="*/ 3 h 14"/>
                <a:gd name="T18" fmla="*/ 20 w 46"/>
                <a:gd name="T19" fmla="*/ 5 h 14"/>
                <a:gd name="T20" fmla="*/ 13 w 46"/>
                <a:gd name="T21" fmla="*/ 8 h 14"/>
                <a:gd name="T22" fmla="*/ 4 w 46"/>
                <a:gd name="T23" fmla="*/ 10 h 14"/>
                <a:gd name="T24" fmla="*/ 3 w 46"/>
                <a:gd name="T2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14">
                  <a:moveTo>
                    <a:pt x="3" y="14"/>
                  </a:moveTo>
                  <a:cubicBezTo>
                    <a:pt x="8" y="14"/>
                    <a:pt x="10" y="13"/>
                    <a:pt x="13" y="13"/>
                  </a:cubicBezTo>
                  <a:cubicBezTo>
                    <a:pt x="17" y="12"/>
                    <a:pt x="18" y="13"/>
                    <a:pt x="21" y="11"/>
                  </a:cubicBezTo>
                  <a:cubicBezTo>
                    <a:pt x="25" y="10"/>
                    <a:pt x="23" y="11"/>
                    <a:pt x="27" y="9"/>
                  </a:cubicBezTo>
                  <a:cubicBezTo>
                    <a:pt x="32" y="7"/>
                    <a:pt x="31" y="8"/>
                    <a:pt x="35" y="7"/>
                  </a:cubicBezTo>
                  <a:cubicBezTo>
                    <a:pt x="38" y="6"/>
                    <a:pt x="36" y="7"/>
                    <a:pt x="39" y="5"/>
                  </a:cubicBezTo>
                  <a:cubicBezTo>
                    <a:pt x="43" y="3"/>
                    <a:pt x="46" y="3"/>
                    <a:pt x="43" y="2"/>
                  </a:cubicBezTo>
                  <a:cubicBezTo>
                    <a:pt x="40" y="1"/>
                    <a:pt x="38" y="0"/>
                    <a:pt x="35" y="1"/>
                  </a:cubicBezTo>
                  <a:cubicBezTo>
                    <a:pt x="31" y="2"/>
                    <a:pt x="30" y="2"/>
                    <a:pt x="27" y="3"/>
                  </a:cubicBezTo>
                  <a:cubicBezTo>
                    <a:pt x="24" y="4"/>
                    <a:pt x="23" y="4"/>
                    <a:pt x="20" y="5"/>
                  </a:cubicBezTo>
                  <a:cubicBezTo>
                    <a:pt x="17" y="6"/>
                    <a:pt x="18" y="6"/>
                    <a:pt x="13" y="8"/>
                  </a:cubicBezTo>
                  <a:cubicBezTo>
                    <a:pt x="9" y="9"/>
                    <a:pt x="8" y="7"/>
                    <a:pt x="4" y="10"/>
                  </a:cubicBezTo>
                  <a:cubicBezTo>
                    <a:pt x="0" y="13"/>
                    <a:pt x="1" y="14"/>
                    <a:pt x="3" y="1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13" name="Freeform 991">
              <a:extLst>
                <a:ext uri="{FF2B5EF4-FFF2-40B4-BE49-F238E27FC236}">
                  <a16:creationId xmlns:a16="http://schemas.microsoft.com/office/drawing/2014/main" id="{E72697F8-4B23-704B-B8ED-C1B56A4C599D}"/>
                </a:ext>
              </a:extLst>
            </p:cNvPr>
            <p:cNvSpPr>
              <a:spLocks/>
            </p:cNvSpPr>
            <p:nvPr/>
          </p:nvSpPr>
          <p:spPr bwMode="auto">
            <a:xfrm>
              <a:off x="2362208" y="678318"/>
              <a:ext cx="74613" cy="19050"/>
            </a:xfrm>
            <a:custGeom>
              <a:avLst/>
              <a:gdLst>
                <a:gd name="T0" fmla="*/ 10 w 78"/>
                <a:gd name="T1" fmla="*/ 9 h 20"/>
                <a:gd name="T2" fmla="*/ 3 w 78"/>
                <a:gd name="T3" fmla="*/ 17 h 20"/>
                <a:gd name="T4" fmla="*/ 16 w 78"/>
                <a:gd name="T5" fmla="*/ 20 h 20"/>
                <a:gd name="T6" fmla="*/ 30 w 78"/>
                <a:gd name="T7" fmla="*/ 18 h 20"/>
                <a:gd name="T8" fmla="*/ 46 w 78"/>
                <a:gd name="T9" fmla="*/ 17 h 20"/>
                <a:gd name="T10" fmla="*/ 59 w 78"/>
                <a:gd name="T11" fmla="*/ 13 h 20"/>
                <a:gd name="T12" fmla="*/ 59 w 78"/>
                <a:gd name="T13" fmla="*/ 8 h 20"/>
                <a:gd name="T14" fmla="*/ 77 w 78"/>
                <a:gd name="T15" fmla="*/ 5 h 20"/>
                <a:gd name="T16" fmla="*/ 67 w 78"/>
                <a:gd name="T17" fmla="*/ 2 h 20"/>
                <a:gd name="T18" fmla="*/ 51 w 78"/>
                <a:gd name="T19" fmla="*/ 2 h 20"/>
                <a:gd name="T20" fmla="*/ 43 w 78"/>
                <a:gd name="T21" fmla="*/ 5 h 20"/>
                <a:gd name="T22" fmla="*/ 32 w 78"/>
                <a:gd name="T23" fmla="*/ 6 h 20"/>
                <a:gd name="T24" fmla="*/ 19 w 78"/>
                <a:gd name="T25" fmla="*/ 7 h 20"/>
                <a:gd name="T26" fmla="*/ 10 w 78"/>
                <a:gd name="T27"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20">
                  <a:moveTo>
                    <a:pt x="10" y="9"/>
                  </a:moveTo>
                  <a:cubicBezTo>
                    <a:pt x="5" y="11"/>
                    <a:pt x="0" y="13"/>
                    <a:pt x="3" y="17"/>
                  </a:cubicBezTo>
                  <a:cubicBezTo>
                    <a:pt x="6" y="20"/>
                    <a:pt x="7" y="20"/>
                    <a:pt x="16" y="20"/>
                  </a:cubicBezTo>
                  <a:cubicBezTo>
                    <a:pt x="25" y="19"/>
                    <a:pt x="20" y="18"/>
                    <a:pt x="30" y="18"/>
                  </a:cubicBezTo>
                  <a:cubicBezTo>
                    <a:pt x="40" y="18"/>
                    <a:pt x="35" y="19"/>
                    <a:pt x="46" y="17"/>
                  </a:cubicBezTo>
                  <a:cubicBezTo>
                    <a:pt x="56" y="15"/>
                    <a:pt x="57" y="16"/>
                    <a:pt x="59" y="13"/>
                  </a:cubicBezTo>
                  <a:cubicBezTo>
                    <a:pt x="60" y="10"/>
                    <a:pt x="50" y="8"/>
                    <a:pt x="59" y="8"/>
                  </a:cubicBezTo>
                  <a:cubicBezTo>
                    <a:pt x="67" y="7"/>
                    <a:pt x="75" y="7"/>
                    <a:pt x="77" y="5"/>
                  </a:cubicBezTo>
                  <a:cubicBezTo>
                    <a:pt x="78" y="4"/>
                    <a:pt x="75" y="2"/>
                    <a:pt x="67" y="2"/>
                  </a:cubicBezTo>
                  <a:cubicBezTo>
                    <a:pt x="58" y="2"/>
                    <a:pt x="55" y="0"/>
                    <a:pt x="51" y="2"/>
                  </a:cubicBezTo>
                  <a:cubicBezTo>
                    <a:pt x="48" y="4"/>
                    <a:pt x="48" y="5"/>
                    <a:pt x="43" y="5"/>
                  </a:cubicBezTo>
                  <a:cubicBezTo>
                    <a:pt x="38" y="5"/>
                    <a:pt x="37" y="6"/>
                    <a:pt x="32" y="6"/>
                  </a:cubicBezTo>
                  <a:cubicBezTo>
                    <a:pt x="27" y="7"/>
                    <a:pt x="26" y="7"/>
                    <a:pt x="19" y="7"/>
                  </a:cubicBezTo>
                  <a:cubicBezTo>
                    <a:pt x="12" y="8"/>
                    <a:pt x="9" y="7"/>
                    <a:pt x="10" y="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14" name="Freeform 992">
              <a:extLst>
                <a:ext uri="{FF2B5EF4-FFF2-40B4-BE49-F238E27FC236}">
                  <a16:creationId xmlns:a16="http://schemas.microsoft.com/office/drawing/2014/main" id="{89AAD544-620C-C044-8D9A-8C54F062D719}"/>
                </a:ext>
              </a:extLst>
            </p:cNvPr>
            <p:cNvSpPr>
              <a:spLocks/>
            </p:cNvSpPr>
            <p:nvPr/>
          </p:nvSpPr>
          <p:spPr bwMode="auto">
            <a:xfrm>
              <a:off x="2387608" y="665618"/>
              <a:ext cx="71438" cy="15875"/>
            </a:xfrm>
            <a:custGeom>
              <a:avLst/>
              <a:gdLst>
                <a:gd name="T0" fmla="*/ 8 w 74"/>
                <a:gd name="T1" fmla="*/ 7 h 17"/>
                <a:gd name="T2" fmla="*/ 24 w 74"/>
                <a:gd name="T3" fmla="*/ 5 h 17"/>
                <a:gd name="T4" fmla="*/ 38 w 74"/>
                <a:gd name="T5" fmla="*/ 4 h 17"/>
                <a:gd name="T6" fmla="*/ 53 w 74"/>
                <a:gd name="T7" fmla="*/ 1 h 17"/>
                <a:gd name="T8" fmla="*/ 65 w 74"/>
                <a:gd name="T9" fmla="*/ 4 h 17"/>
                <a:gd name="T10" fmla="*/ 68 w 74"/>
                <a:gd name="T11" fmla="*/ 9 h 17"/>
                <a:gd name="T12" fmla="*/ 56 w 74"/>
                <a:gd name="T13" fmla="*/ 12 h 17"/>
                <a:gd name="T14" fmla="*/ 42 w 74"/>
                <a:gd name="T15" fmla="*/ 11 h 17"/>
                <a:gd name="T16" fmla="*/ 24 w 74"/>
                <a:gd name="T17" fmla="*/ 10 h 17"/>
                <a:gd name="T18" fmla="*/ 13 w 74"/>
                <a:gd name="T19" fmla="*/ 12 h 17"/>
                <a:gd name="T20" fmla="*/ 1 w 74"/>
                <a:gd name="T21" fmla="*/ 13 h 17"/>
                <a:gd name="T22" fmla="*/ 8 w 74"/>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17">
                  <a:moveTo>
                    <a:pt x="8" y="7"/>
                  </a:moveTo>
                  <a:cubicBezTo>
                    <a:pt x="15" y="6"/>
                    <a:pt x="16" y="6"/>
                    <a:pt x="24" y="5"/>
                  </a:cubicBezTo>
                  <a:cubicBezTo>
                    <a:pt x="31" y="4"/>
                    <a:pt x="29" y="6"/>
                    <a:pt x="38" y="4"/>
                  </a:cubicBezTo>
                  <a:cubicBezTo>
                    <a:pt x="47" y="2"/>
                    <a:pt x="44" y="1"/>
                    <a:pt x="53" y="1"/>
                  </a:cubicBezTo>
                  <a:cubicBezTo>
                    <a:pt x="61" y="2"/>
                    <a:pt x="64" y="0"/>
                    <a:pt x="65" y="4"/>
                  </a:cubicBezTo>
                  <a:cubicBezTo>
                    <a:pt x="67" y="7"/>
                    <a:pt x="74" y="7"/>
                    <a:pt x="68" y="9"/>
                  </a:cubicBezTo>
                  <a:cubicBezTo>
                    <a:pt x="62" y="11"/>
                    <a:pt x="64" y="12"/>
                    <a:pt x="56" y="12"/>
                  </a:cubicBezTo>
                  <a:cubicBezTo>
                    <a:pt x="48" y="12"/>
                    <a:pt x="50" y="11"/>
                    <a:pt x="42" y="11"/>
                  </a:cubicBezTo>
                  <a:cubicBezTo>
                    <a:pt x="35" y="10"/>
                    <a:pt x="29" y="9"/>
                    <a:pt x="24" y="10"/>
                  </a:cubicBezTo>
                  <a:cubicBezTo>
                    <a:pt x="19" y="10"/>
                    <a:pt x="21" y="10"/>
                    <a:pt x="13" y="12"/>
                  </a:cubicBezTo>
                  <a:cubicBezTo>
                    <a:pt x="5" y="13"/>
                    <a:pt x="2" y="17"/>
                    <a:pt x="1" y="13"/>
                  </a:cubicBezTo>
                  <a:cubicBezTo>
                    <a:pt x="0" y="9"/>
                    <a:pt x="4" y="7"/>
                    <a:pt x="8" y="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15" name="Freeform 993">
              <a:extLst>
                <a:ext uri="{FF2B5EF4-FFF2-40B4-BE49-F238E27FC236}">
                  <a16:creationId xmlns:a16="http://schemas.microsoft.com/office/drawing/2014/main" id="{A91EA012-ED60-6E41-B6AB-35DD65C2B0BE}"/>
                </a:ext>
              </a:extLst>
            </p:cNvPr>
            <p:cNvSpPr>
              <a:spLocks/>
            </p:cNvSpPr>
            <p:nvPr/>
          </p:nvSpPr>
          <p:spPr bwMode="auto">
            <a:xfrm>
              <a:off x="2517783" y="654505"/>
              <a:ext cx="90488" cy="36513"/>
            </a:xfrm>
            <a:custGeom>
              <a:avLst/>
              <a:gdLst>
                <a:gd name="T0" fmla="*/ 34 w 95"/>
                <a:gd name="T1" fmla="*/ 3 h 38"/>
                <a:gd name="T2" fmla="*/ 19 w 95"/>
                <a:gd name="T3" fmla="*/ 5 h 38"/>
                <a:gd name="T4" fmla="*/ 12 w 95"/>
                <a:gd name="T5" fmla="*/ 7 h 38"/>
                <a:gd name="T6" fmla="*/ 21 w 95"/>
                <a:gd name="T7" fmla="*/ 14 h 38"/>
                <a:gd name="T8" fmla="*/ 30 w 95"/>
                <a:gd name="T9" fmla="*/ 16 h 38"/>
                <a:gd name="T10" fmla="*/ 25 w 95"/>
                <a:gd name="T11" fmla="*/ 20 h 38"/>
                <a:gd name="T12" fmla="*/ 11 w 95"/>
                <a:gd name="T13" fmla="*/ 21 h 38"/>
                <a:gd name="T14" fmla="*/ 2 w 95"/>
                <a:gd name="T15" fmla="*/ 22 h 38"/>
                <a:gd name="T16" fmla="*/ 13 w 95"/>
                <a:gd name="T17" fmla="*/ 26 h 38"/>
                <a:gd name="T18" fmla="*/ 26 w 95"/>
                <a:gd name="T19" fmla="*/ 25 h 38"/>
                <a:gd name="T20" fmla="*/ 41 w 95"/>
                <a:gd name="T21" fmla="*/ 26 h 38"/>
                <a:gd name="T22" fmla="*/ 52 w 95"/>
                <a:gd name="T23" fmla="*/ 29 h 38"/>
                <a:gd name="T24" fmla="*/ 57 w 95"/>
                <a:gd name="T25" fmla="*/ 32 h 38"/>
                <a:gd name="T26" fmla="*/ 70 w 95"/>
                <a:gd name="T27" fmla="*/ 35 h 38"/>
                <a:gd name="T28" fmla="*/ 81 w 95"/>
                <a:gd name="T29" fmla="*/ 32 h 38"/>
                <a:gd name="T30" fmla="*/ 84 w 95"/>
                <a:gd name="T31" fmla="*/ 24 h 38"/>
                <a:gd name="T32" fmla="*/ 88 w 95"/>
                <a:gd name="T33" fmla="*/ 19 h 38"/>
                <a:gd name="T34" fmla="*/ 87 w 95"/>
                <a:gd name="T35" fmla="*/ 14 h 38"/>
                <a:gd name="T36" fmla="*/ 72 w 95"/>
                <a:gd name="T37" fmla="*/ 10 h 38"/>
                <a:gd name="T38" fmla="*/ 61 w 95"/>
                <a:gd name="T39" fmla="*/ 8 h 38"/>
                <a:gd name="T40" fmla="*/ 56 w 95"/>
                <a:gd name="T41" fmla="*/ 11 h 38"/>
                <a:gd name="T42" fmla="*/ 50 w 95"/>
                <a:gd name="T43" fmla="*/ 3 h 38"/>
                <a:gd name="T44" fmla="*/ 36 w 95"/>
                <a:gd name="T45" fmla="*/ 2 h 38"/>
                <a:gd name="T46" fmla="*/ 34 w 95"/>
                <a:gd name="T4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 h="38">
                  <a:moveTo>
                    <a:pt x="34" y="3"/>
                  </a:moveTo>
                  <a:cubicBezTo>
                    <a:pt x="27" y="2"/>
                    <a:pt x="21" y="4"/>
                    <a:pt x="19" y="5"/>
                  </a:cubicBezTo>
                  <a:cubicBezTo>
                    <a:pt x="16" y="6"/>
                    <a:pt x="6" y="0"/>
                    <a:pt x="12" y="7"/>
                  </a:cubicBezTo>
                  <a:cubicBezTo>
                    <a:pt x="17" y="14"/>
                    <a:pt x="17" y="12"/>
                    <a:pt x="21" y="14"/>
                  </a:cubicBezTo>
                  <a:cubicBezTo>
                    <a:pt x="25" y="16"/>
                    <a:pt x="31" y="13"/>
                    <a:pt x="30" y="16"/>
                  </a:cubicBezTo>
                  <a:cubicBezTo>
                    <a:pt x="28" y="19"/>
                    <a:pt x="35" y="20"/>
                    <a:pt x="25" y="20"/>
                  </a:cubicBezTo>
                  <a:cubicBezTo>
                    <a:pt x="16" y="19"/>
                    <a:pt x="15" y="20"/>
                    <a:pt x="11" y="21"/>
                  </a:cubicBezTo>
                  <a:cubicBezTo>
                    <a:pt x="8" y="21"/>
                    <a:pt x="0" y="18"/>
                    <a:pt x="2" y="22"/>
                  </a:cubicBezTo>
                  <a:cubicBezTo>
                    <a:pt x="4" y="26"/>
                    <a:pt x="6" y="27"/>
                    <a:pt x="13" y="26"/>
                  </a:cubicBezTo>
                  <a:cubicBezTo>
                    <a:pt x="19" y="25"/>
                    <a:pt x="26" y="23"/>
                    <a:pt x="26" y="25"/>
                  </a:cubicBezTo>
                  <a:cubicBezTo>
                    <a:pt x="26" y="28"/>
                    <a:pt x="36" y="24"/>
                    <a:pt x="41" y="26"/>
                  </a:cubicBezTo>
                  <a:cubicBezTo>
                    <a:pt x="45" y="27"/>
                    <a:pt x="47" y="26"/>
                    <a:pt x="52" y="29"/>
                  </a:cubicBezTo>
                  <a:cubicBezTo>
                    <a:pt x="56" y="31"/>
                    <a:pt x="50" y="29"/>
                    <a:pt x="57" y="32"/>
                  </a:cubicBezTo>
                  <a:cubicBezTo>
                    <a:pt x="64" y="35"/>
                    <a:pt x="58" y="35"/>
                    <a:pt x="70" y="35"/>
                  </a:cubicBezTo>
                  <a:cubicBezTo>
                    <a:pt x="81" y="35"/>
                    <a:pt x="78" y="38"/>
                    <a:pt x="81" y="32"/>
                  </a:cubicBezTo>
                  <a:cubicBezTo>
                    <a:pt x="85" y="27"/>
                    <a:pt x="83" y="28"/>
                    <a:pt x="84" y="24"/>
                  </a:cubicBezTo>
                  <a:cubicBezTo>
                    <a:pt x="86" y="21"/>
                    <a:pt x="87" y="23"/>
                    <a:pt x="88" y="19"/>
                  </a:cubicBezTo>
                  <a:cubicBezTo>
                    <a:pt x="89" y="16"/>
                    <a:pt x="95" y="15"/>
                    <a:pt x="87" y="14"/>
                  </a:cubicBezTo>
                  <a:cubicBezTo>
                    <a:pt x="79" y="13"/>
                    <a:pt x="74" y="10"/>
                    <a:pt x="72" y="10"/>
                  </a:cubicBezTo>
                  <a:cubicBezTo>
                    <a:pt x="71" y="10"/>
                    <a:pt x="63" y="6"/>
                    <a:pt x="61" y="8"/>
                  </a:cubicBezTo>
                  <a:cubicBezTo>
                    <a:pt x="59" y="11"/>
                    <a:pt x="56" y="16"/>
                    <a:pt x="56" y="11"/>
                  </a:cubicBezTo>
                  <a:cubicBezTo>
                    <a:pt x="56" y="5"/>
                    <a:pt x="54" y="3"/>
                    <a:pt x="50" y="3"/>
                  </a:cubicBezTo>
                  <a:cubicBezTo>
                    <a:pt x="46" y="3"/>
                    <a:pt x="37" y="1"/>
                    <a:pt x="36" y="2"/>
                  </a:cubicBezTo>
                  <a:cubicBezTo>
                    <a:pt x="35" y="2"/>
                    <a:pt x="37" y="6"/>
                    <a:pt x="34"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16" name="Freeform 994">
              <a:extLst>
                <a:ext uri="{FF2B5EF4-FFF2-40B4-BE49-F238E27FC236}">
                  <a16:creationId xmlns:a16="http://schemas.microsoft.com/office/drawing/2014/main" id="{9D4AEE95-909F-2546-AEE6-997805A72E5B}"/>
                </a:ext>
              </a:extLst>
            </p:cNvPr>
            <p:cNvSpPr>
              <a:spLocks/>
            </p:cNvSpPr>
            <p:nvPr/>
          </p:nvSpPr>
          <p:spPr bwMode="auto">
            <a:xfrm>
              <a:off x="2473333" y="686255"/>
              <a:ext cx="22225" cy="17463"/>
            </a:xfrm>
            <a:custGeom>
              <a:avLst/>
              <a:gdLst>
                <a:gd name="T0" fmla="*/ 7 w 24"/>
                <a:gd name="T1" fmla="*/ 3 h 18"/>
                <a:gd name="T2" fmla="*/ 4 w 24"/>
                <a:gd name="T3" fmla="*/ 10 h 18"/>
                <a:gd name="T4" fmla="*/ 13 w 24"/>
                <a:gd name="T5" fmla="*/ 15 h 18"/>
                <a:gd name="T6" fmla="*/ 22 w 24"/>
                <a:gd name="T7" fmla="*/ 14 h 18"/>
                <a:gd name="T8" fmla="*/ 19 w 24"/>
                <a:gd name="T9" fmla="*/ 5 h 18"/>
                <a:gd name="T10" fmla="*/ 8 w 24"/>
                <a:gd name="T11" fmla="*/ 0 h 18"/>
                <a:gd name="T12" fmla="*/ 7 w 24"/>
                <a:gd name="T13" fmla="*/ 3 h 18"/>
              </a:gdLst>
              <a:ahLst/>
              <a:cxnLst>
                <a:cxn ang="0">
                  <a:pos x="T0" y="T1"/>
                </a:cxn>
                <a:cxn ang="0">
                  <a:pos x="T2" y="T3"/>
                </a:cxn>
                <a:cxn ang="0">
                  <a:pos x="T4" y="T5"/>
                </a:cxn>
                <a:cxn ang="0">
                  <a:pos x="T6" y="T7"/>
                </a:cxn>
                <a:cxn ang="0">
                  <a:pos x="T8" y="T9"/>
                </a:cxn>
                <a:cxn ang="0">
                  <a:pos x="T10" y="T11"/>
                </a:cxn>
                <a:cxn ang="0">
                  <a:pos x="T12" y="T13"/>
                </a:cxn>
              </a:cxnLst>
              <a:rect l="0" t="0" r="r" b="b"/>
              <a:pathLst>
                <a:path w="24" h="18">
                  <a:moveTo>
                    <a:pt x="7" y="3"/>
                  </a:moveTo>
                  <a:cubicBezTo>
                    <a:pt x="7" y="6"/>
                    <a:pt x="0" y="5"/>
                    <a:pt x="4" y="10"/>
                  </a:cubicBezTo>
                  <a:cubicBezTo>
                    <a:pt x="9" y="15"/>
                    <a:pt x="5" y="13"/>
                    <a:pt x="13" y="15"/>
                  </a:cubicBezTo>
                  <a:cubicBezTo>
                    <a:pt x="21" y="17"/>
                    <a:pt x="24" y="18"/>
                    <a:pt x="22" y="14"/>
                  </a:cubicBezTo>
                  <a:cubicBezTo>
                    <a:pt x="20" y="10"/>
                    <a:pt x="20" y="8"/>
                    <a:pt x="19" y="5"/>
                  </a:cubicBezTo>
                  <a:cubicBezTo>
                    <a:pt x="19" y="2"/>
                    <a:pt x="8" y="0"/>
                    <a:pt x="8" y="0"/>
                  </a:cubicBezTo>
                  <a:cubicBezTo>
                    <a:pt x="7" y="1"/>
                    <a:pt x="9" y="3"/>
                    <a:pt x="7"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17" name="Freeform 995">
              <a:extLst>
                <a:ext uri="{FF2B5EF4-FFF2-40B4-BE49-F238E27FC236}">
                  <a16:creationId xmlns:a16="http://schemas.microsoft.com/office/drawing/2014/main" id="{81E1E5B5-DF01-6C43-94F3-1066B11672C6}"/>
                </a:ext>
              </a:extLst>
            </p:cNvPr>
            <p:cNvSpPr>
              <a:spLocks/>
            </p:cNvSpPr>
            <p:nvPr/>
          </p:nvSpPr>
          <p:spPr bwMode="auto">
            <a:xfrm>
              <a:off x="2427295" y="732293"/>
              <a:ext cx="22225" cy="17463"/>
            </a:xfrm>
            <a:custGeom>
              <a:avLst/>
              <a:gdLst>
                <a:gd name="T0" fmla="*/ 10 w 24"/>
                <a:gd name="T1" fmla="*/ 4 h 18"/>
                <a:gd name="T2" fmla="*/ 20 w 24"/>
                <a:gd name="T3" fmla="*/ 2 h 18"/>
                <a:gd name="T4" fmla="*/ 22 w 24"/>
                <a:gd name="T5" fmla="*/ 9 h 18"/>
                <a:gd name="T6" fmla="*/ 14 w 24"/>
                <a:gd name="T7" fmla="*/ 13 h 18"/>
                <a:gd name="T8" fmla="*/ 2 w 24"/>
                <a:gd name="T9" fmla="*/ 13 h 18"/>
                <a:gd name="T10" fmla="*/ 10 w 24"/>
                <a:gd name="T11" fmla="*/ 4 h 18"/>
              </a:gdLst>
              <a:ahLst/>
              <a:cxnLst>
                <a:cxn ang="0">
                  <a:pos x="T0" y="T1"/>
                </a:cxn>
                <a:cxn ang="0">
                  <a:pos x="T2" y="T3"/>
                </a:cxn>
                <a:cxn ang="0">
                  <a:pos x="T4" y="T5"/>
                </a:cxn>
                <a:cxn ang="0">
                  <a:pos x="T6" y="T7"/>
                </a:cxn>
                <a:cxn ang="0">
                  <a:pos x="T8" y="T9"/>
                </a:cxn>
                <a:cxn ang="0">
                  <a:pos x="T10" y="T11"/>
                </a:cxn>
              </a:cxnLst>
              <a:rect l="0" t="0" r="r" b="b"/>
              <a:pathLst>
                <a:path w="24" h="18">
                  <a:moveTo>
                    <a:pt x="10" y="4"/>
                  </a:moveTo>
                  <a:cubicBezTo>
                    <a:pt x="17" y="1"/>
                    <a:pt x="19" y="0"/>
                    <a:pt x="20" y="2"/>
                  </a:cubicBezTo>
                  <a:cubicBezTo>
                    <a:pt x="22" y="4"/>
                    <a:pt x="24" y="7"/>
                    <a:pt x="22" y="9"/>
                  </a:cubicBezTo>
                  <a:cubicBezTo>
                    <a:pt x="20" y="11"/>
                    <a:pt x="20" y="13"/>
                    <a:pt x="14" y="13"/>
                  </a:cubicBezTo>
                  <a:cubicBezTo>
                    <a:pt x="9" y="13"/>
                    <a:pt x="0" y="18"/>
                    <a:pt x="2" y="13"/>
                  </a:cubicBezTo>
                  <a:cubicBezTo>
                    <a:pt x="3" y="8"/>
                    <a:pt x="5" y="4"/>
                    <a:pt x="10"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18" name="Freeform 996">
              <a:extLst>
                <a:ext uri="{FF2B5EF4-FFF2-40B4-BE49-F238E27FC236}">
                  <a16:creationId xmlns:a16="http://schemas.microsoft.com/office/drawing/2014/main" id="{64E3AF23-200D-2C4B-A147-D4AF9CF2EDD1}"/>
                </a:ext>
              </a:extLst>
            </p:cNvPr>
            <p:cNvSpPr>
              <a:spLocks/>
            </p:cNvSpPr>
            <p:nvPr/>
          </p:nvSpPr>
          <p:spPr bwMode="auto">
            <a:xfrm>
              <a:off x="2457458" y="705305"/>
              <a:ext cx="119063" cy="41275"/>
            </a:xfrm>
            <a:custGeom>
              <a:avLst/>
              <a:gdLst>
                <a:gd name="T0" fmla="*/ 15 w 124"/>
                <a:gd name="T1" fmla="*/ 6 h 42"/>
                <a:gd name="T2" fmla="*/ 25 w 124"/>
                <a:gd name="T3" fmla="*/ 4 h 42"/>
                <a:gd name="T4" fmla="*/ 36 w 124"/>
                <a:gd name="T5" fmla="*/ 9 h 42"/>
                <a:gd name="T6" fmla="*/ 40 w 124"/>
                <a:gd name="T7" fmla="*/ 19 h 42"/>
                <a:gd name="T8" fmla="*/ 47 w 124"/>
                <a:gd name="T9" fmla="*/ 20 h 42"/>
                <a:gd name="T10" fmla="*/ 48 w 124"/>
                <a:gd name="T11" fmla="*/ 12 h 42"/>
                <a:gd name="T12" fmla="*/ 59 w 124"/>
                <a:gd name="T13" fmla="*/ 8 h 42"/>
                <a:gd name="T14" fmla="*/ 65 w 124"/>
                <a:gd name="T15" fmla="*/ 13 h 42"/>
                <a:gd name="T16" fmla="*/ 72 w 124"/>
                <a:gd name="T17" fmla="*/ 19 h 42"/>
                <a:gd name="T18" fmla="*/ 76 w 124"/>
                <a:gd name="T19" fmla="*/ 18 h 42"/>
                <a:gd name="T20" fmla="*/ 75 w 124"/>
                <a:gd name="T21" fmla="*/ 13 h 42"/>
                <a:gd name="T22" fmla="*/ 69 w 124"/>
                <a:gd name="T23" fmla="*/ 8 h 42"/>
                <a:gd name="T24" fmla="*/ 68 w 124"/>
                <a:gd name="T25" fmla="*/ 4 h 42"/>
                <a:gd name="T26" fmla="*/ 75 w 124"/>
                <a:gd name="T27" fmla="*/ 3 h 42"/>
                <a:gd name="T28" fmla="*/ 88 w 124"/>
                <a:gd name="T29" fmla="*/ 3 h 42"/>
                <a:gd name="T30" fmla="*/ 99 w 124"/>
                <a:gd name="T31" fmla="*/ 2 h 42"/>
                <a:gd name="T32" fmla="*/ 104 w 124"/>
                <a:gd name="T33" fmla="*/ 4 h 42"/>
                <a:gd name="T34" fmla="*/ 115 w 124"/>
                <a:gd name="T35" fmla="*/ 5 h 42"/>
                <a:gd name="T36" fmla="*/ 123 w 124"/>
                <a:gd name="T37" fmla="*/ 12 h 42"/>
                <a:gd name="T38" fmla="*/ 115 w 124"/>
                <a:gd name="T39" fmla="*/ 19 h 42"/>
                <a:gd name="T40" fmla="*/ 109 w 124"/>
                <a:gd name="T41" fmla="*/ 22 h 42"/>
                <a:gd name="T42" fmla="*/ 105 w 124"/>
                <a:gd name="T43" fmla="*/ 27 h 42"/>
                <a:gd name="T44" fmla="*/ 97 w 124"/>
                <a:gd name="T45" fmla="*/ 31 h 42"/>
                <a:gd name="T46" fmla="*/ 91 w 124"/>
                <a:gd name="T47" fmla="*/ 35 h 42"/>
                <a:gd name="T48" fmla="*/ 84 w 124"/>
                <a:gd name="T49" fmla="*/ 39 h 42"/>
                <a:gd name="T50" fmla="*/ 72 w 124"/>
                <a:gd name="T51" fmla="*/ 41 h 42"/>
                <a:gd name="T52" fmla="*/ 58 w 124"/>
                <a:gd name="T53" fmla="*/ 41 h 42"/>
                <a:gd name="T54" fmla="*/ 48 w 124"/>
                <a:gd name="T55" fmla="*/ 41 h 42"/>
                <a:gd name="T56" fmla="*/ 45 w 124"/>
                <a:gd name="T57" fmla="*/ 37 h 42"/>
                <a:gd name="T58" fmla="*/ 48 w 124"/>
                <a:gd name="T59" fmla="*/ 32 h 42"/>
                <a:gd name="T60" fmla="*/ 39 w 124"/>
                <a:gd name="T61" fmla="*/ 27 h 42"/>
                <a:gd name="T62" fmla="*/ 34 w 124"/>
                <a:gd name="T63" fmla="*/ 28 h 42"/>
                <a:gd name="T64" fmla="*/ 24 w 124"/>
                <a:gd name="T65" fmla="*/ 29 h 42"/>
                <a:gd name="T66" fmla="*/ 15 w 124"/>
                <a:gd name="T67" fmla="*/ 27 h 42"/>
                <a:gd name="T68" fmla="*/ 11 w 124"/>
                <a:gd name="T69" fmla="*/ 23 h 42"/>
                <a:gd name="T70" fmla="*/ 7 w 124"/>
                <a:gd name="T71" fmla="*/ 19 h 42"/>
                <a:gd name="T72" fmla="*/ 2 w 124"/>
                <a:gd name="T73" fmla="*/ 15 h 42"/>
                <a:gd name="T74" fmla="*/ 7 w 124"/>
                <a:gd name="T75" fmla="*/ 10 h 42"/>
                <a:gd name="T76" fmla="*/ 15 w 124"/>
                <a:gd name="T7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4" h="42">
                  <a:moveTo>
                    <a:pt x="15" y="6"/>
                  </a:moveTo>
                  <a:cubicBezTo>
                    <a:pt x="21" y="4"/>
                    <a:pt x="23" y="3"/>
                    <a:pt x="25" y="4"/>
                  </a:cubicBezTo>
                  <a:cubicBezTo>
                    <a:pt x="27" y="6"/>
                    <a:pt x="36" y="6"/>
                    <a:pt x="36" y="9"/>
                  </a:cubicBezTo>
                  <a:cubicBezTo>
                    <a:pt x="36" y="13"/>
                    <a:pt x="34" y="17"/>
                    <a:pt x="40" y="19"/>
                  </a:cubicBezTo>
                  <a:cubicBezTo>
                    <a:pt x="46" y="21"/>
                    <a:pt x="47" y="24"/>
                    <a:pt x="47" y="20"/>
                  </a:cubicBezTo>
                  <a:cubicBezTo>
                    <a:pt x="47" y="16"/>
                    <a:pt x="39" y="14"/>
                    <a:pt x="48" y="12"/>
                  </a:cubicBezTo>
                  <a:cubicBezTo>
                    <a:pt x="56" y="10"/>
                    <a:pt x="56" y="5"/>
                    <a:pt x="59" y="8"/>
                  </a:cubicBezTo>
                  <a:cubicBezTo>
                    <a:pt x="61" y="10"/>
                    <a:pt x="60" y="9"/>
                    <a:pt x="65" y="13"/>
                  </a:cubicBezTo>
                  <a:cubicBezTo>
                    <a:pt x="69" y="17"/>
                    <a:pt x="69" y="17"/>
                    <a:pt x="72" y="19"/>
                  </a:cubicBezTo>
                  <a:cubicBezTo>
                    <a:pt x="75" y="21"/>
                    <a:pt x="76" y="21"/>
                    <a:pt x="76" y="18"/>
                  </a:cubicBezTo>
                  <a:cubicBezTo>
                    <a:pt x="76" y="16"/>
                    <a:pt x="77" y="15"/>
                    <a:pt x="75" y="13"/>
                  </a:cubicBezTo>
                  <a:cubicBezTo>
                    <a:pt x="72" y="11"/>
                    <a:pt x="71" y="9"/>
                    <a:pt x="69" y="8"/>
                  </a:cubicBezTo>
                  <a:cubicBezTo>
                    <a:pt x="68" y="6"/>
                    <a:pt x="62" y="5"/>
                    <a:pt x="68" y="4"/>
                  </a:cubicBezTo>
                  <a:cubicBezTo>
                    <a:pt x="73" y="4"/>
                    <a:pt x="65" y="3"/>
                    <a:pt x="75" y="3"/>
                  </a:cubicBezTo>
                  <a:cubicBezTo>
                    <a:pt x="86" y="3"/>
                    <a:pt x="81" y="3"/>
                    <a:pt x="88" y="3"/>
                  </a:cubicBezTo>
                  <a:cubicBezTo>
                    <a:pt x="94" y="2"/>
                    <a:pt x="96" y="0"/>
                    <a:pt x="99" y="2"/>
                  </a:cubicBezTo>
                  <a:cubicBezTo>
                    <a:pt x="103" y="3"/>
                    <a:pt x="98" y="3"/>
                    <a:pt x="104" y="4"/>
                  </a:cubicBezTo>
                  <a:cubicBezTo>
                    <a:pt x="111" y="5"/>
                    <a:pt x="114" y="4"/>
                    <a:pt x="115" y="5"/>
                  </a:cubicBezTo>
                  <a:cubicBezTo>
                    <a:pt x="117" y="7"/>
                    <a:pt x="124" y="9"/>
                    <a:pt x="123" y="12"/>
                  </a:cubicBezTo>
                  <a:cubicBezTo>
                    <a:pt x="122" y="14"/>
                    <a:pt x="118" y="17"/>
                    <a:pt x="115" y="19"/>
                  </a:cubicBezTo>
                  <a:cubicBezTo>
                    <a:pt x="113" y="21"/>
                    <a:pt x="110" y="19"/>
                    <a:pt x="109" y="22"/>
                  </a:cubicBezTo>
                  <a:cubicBezTo>
                    <a:pt x="108" y="26"/>
                    <a:pt x="107" y="24"/>
                    <a:pt x="105" y="27"/>
                  </a:cubicBezTo>
                  <a:cubicBezTo>
                    <a:pt x="103" y="30"/>
                    <a:pt x="98" y="28"/>
                    <a:pt x="97" y="31"/>
                  </a:cubicBezTo>
                  <a:cubicBezTo>
                    <a:pt x="96" y="33"/>
                    <a:pt x="91" y="32"/>
                    <a:pt x="91" y="35"/>
                  </a:cubicBezTo>
                  <a:cubicBezTo>
                    <a:pt x="91" y="37"/>
                    <a:pt x="90" y="37"/>
                    <a:pt x="84" y="39"/>
                  </a:cubicBezTo>
                  <a:cubicBezTo>
                    <a:pt x="79" y="40"/>
                    <a:pt x="78" y="40"/>
                    <a:pt x="72" y="41"/>
                  </a:cubicBezTo>
                  <a:cubicBezTo>
                    <a:pt x="66" y="42"/>
                    <a:pt x="64" y="40"/>
                    <a:pt x="58" y="41"/>
                  </a:cubicBezTo>
                  <a:cubicBezTo>
                    <a:pt x="52" y="42"/>
                    <a:pt x="51" y="41"/>
                    <a:pt x="48" y="41"/>
                  </a:cubicBezTo>
                  <a:cubicBezTo>
                    <a:pt x="45" y="41"/>
                    <a:pt x="42" y="39"/>
                    <a:pt x="45" y="37"/>
                  </a:cubicBezTo>
                  <a:cubicBezTo>
                    <a:pt x="48" y="35"/>
                    <a:pt x="52" y="34"/>
                    <a:pt x="48" y="32"/>
                  </a:cubicBezTo>
                  <a:cubicBezTo>
                    <a:pt x="44" y="31"/>
                    <a:pt x="40" y="26"/>
                    <a:pt x="39" y="27"/>
                  </a:cubicBezTo>
                  <a:cubicBezTo>
                    <a:pt x="37" y="28"/>
                    <a:pt x="38" y="26"/>
                    <a:pt x="34" y="28"/>
                  </a:cubicBezTo>
                  <a:cubicBezTo>
                    <a:pt x="30" y="29"/>
                    <a:pt x="30" y="28"/>
                    <a:pt x="24" y="29"/>
                  </a:cubicBezTo>
                  <a:cubicBezTo>
                    <a:pt x="19" y="29"/>
                    <a:pt x="16" y="28"/>
                    <a:pt x="15" y="27"/>
                  </a:cubicBezTo>
                  <a:cubicBezTo>
                    <a:pt x="14" y="26"/>
                    <a:pt x="12" y="24"/>
                    <a:pt x="11" y="23"/>
                  </a:cubicBezTo>
                  <a:cubicBezTo>
                    <a:pt x="9" y="22"/>
                    <a:pt x="12" y="21"/>
                    <a:pt x="7" y="19"/>
                  </a:cubicBezTo>
                  <a:cubicBezTo>
                    <a:pt x="2" y="17"/>
                    <a:pt x="0" y="16"/>
                    <a:pt x="2" y="15"/>
                  </a:cubicBezTo>
                  <a:cubicBezTo>
                    <a:pt x="4" y="14"/>
                    <a:pt x="5" y="10"/>
                    <a:pt x="7" y="10"/>
                  </a:cubicBezTo>
                  <a:cubicBezTo>
                    <a:pt x="9" y="10"/>
                    <a:pt x="13" y="4"/>
                    <a:pt x="15"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19" name="Freeform 997">
              <a:extLst>
                <a:ext uri="{FF2B5EF4-FFF2-40B4-BE49-F238E27FC236}">
                  <a16:creationId xmlns:a16="http://schemas.microsoft.com/office/drawing/2014/main" id="{3D8B6A0D-6F78-2C46-B598-97EE9CAFCE1B}"/>
                </a:ext>
              </a:extLst>
            </p:cNvPr>
            <p:cNvSpPr>
              <a:spLocks/>
            </p:cNvSpPr>
            <p:nvPr/>
          </p:nvSpPr>
          <p:spPr bwMode="auto">
            <a:xfrm>
              <a:off x="2533658" y="681493"/>
              <a:ext cx="30163" cy="9525"/>
            </a:xfrm>
            <a:custGeom>
              <a:avLst/>
              <a:gdLst>
                <a:gd name="T0" fmla="*/ 5 w 32"/>
                <a:gd name="T1" fmla="*/ 9 h 10"/>
                <a:gd name="T2" fmla="*/ 20 w 32"/>
                <a:gd name="T3" fmla="*/ 9 h 10"/>
                <a:gd name="T4" fmla="*/ 27 w 32"/>
                <a:gd name="T5" fmla="*/ 6 h 10"/>
                <a:gd name="T6" fmla="*/ 15 w 32"/>
                <a:gd name="T7" fmla="*/ 1 h 10"/>
                <a:gd name="T8" fmla="*/ 4 w 32"/>
                <a:gd name="T9" fmla="*/ 3 h 10"/>
                <a:gd name="T10" fmla="*/ 5 w 32"/>
                <a:gd name="T11" fmla="*/ 9 h 10"/>
              </a:gdLst>
              <a:ahLst/>
              <a:cxnLst>
                <a:cxn ang="0">
                  <a:pos x="T0" y="T1"/>
                </a:cxn>
                <a:cxn ang="0">
                  <a:pos x="T2" y="T3"/>
                </a:cxn>
                <a:cxn ang="0">
                  <a:pos x="T4" y="T5"/>
                </a:cxn>
                <a:cxn ang="0">
                  <a:pos x="T6" y="T7"/>
                </a:cxn>
                <a:cxn ang="0">
                  <a:pos x="T8" y="T9"/>
                </a:cxn>
                <a:cxn ang="0">
                  <a:pos x="T10" y="T11"/>
                </a:cxn>
              </a:cxnLst>
              <a:rect l="0" t="0" r="r" b="b"/>
              <a:pathLst>
                <a:path w="32" h="10">
                  <a:moveTo>
                    <a:pt x="5" y="9"/>
                  </a:moveTo>
                  <a:cubicBezTo>
                    <a:pt x="12" y="9"/>
                    <a:pt x="13" y="10"/>
                    <a:pt x="20" y="9"/>
                  </a:cubicBezTo>
                  <a:cubicBezTo>
                    <a:pt x="26" y="9"/>
                    <a:pt x="32" y="9"/>
                    <a:pt x="27" y="6"/>
                  </a:cubicBezTo>
                  <a:cubicBezTo>
                    <a:pt x="21" y="4"/>
                    <a:pt x="18" y="0"/>
                    <a:pt x="15" y="1"/>
                  </a:cubicBezTo>
                  <a:cubicBezTo>
                    <a:pt x="12" y="1"/>
                    <a:pt x="4" y="0"/>
                    <a:pt x="4" y="3"/>
                  </a:cubicBezTo>
                  <a:cubicBezTo>
                    <a:pt x="4" y="6"/>
                    <a:pt x="0" y="6"/>
                    <a:pt x="5" y="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20" name="Freeform 998">
              <a:extLst>
                <a:ext uri="{FF2B5EF4-FFF2-40B4-BE49-F238E27FC236}">
                  <a16:creationId xmlns:a16="http://schemas.microsoft.com/office/drawing/2014/main" id="{FF8C13D2-D9D1-9046-BC69-AB46284A115D}"/>
                </a:ext>
              </a:extLst>
            </p:cNvPr>
            <p:cNvSpPr>
              <a:spLocks/>
            </p:cNvSpPr>
            <p:nvPr/>
          </p:nvSpPr>
          <p:spPr bwMode="auto">
            <a:xfrm>
              <a:off x="2555883" y="729118"/>
              <a:ext cx="55563" cy="23813"/>
            </a:xfrm>
            <a:custGeom>
              <a:avLst/>
              <a:gdLst>
                <a:gd name="T0" fmla="*/ 10 w 58"/>
                <a:gd name="T1" fmla="*/ 12 h 25"/>
                <a:gd name="T2" fmla="*/ 20 w 58"/>
                <a:gd name="T3" fmla="*/ 6 h 25"/>
                <a:gd name="T4" fmla="*/ 28 w 58"/>
                <a:gd name="T5" fmla="*/ 3 h 25"/>
                <a:gd name="T6" fmla="*/ 42 w 58"/>
                <a:gd name="T7" fmla="*/ 1 h 25"/>
                <a:gd name="T8" fmla="*/ 56 w 58"/>
                <a:gd name="T9" fmla="*/ 5 h 25"/>
                <a:gd name="T10" fmla="*/ 53 w 58"/>
                <a:gd name="T11" fmla="*/ 18 h 25"/>
                <a:gd name="T12" fmla="*/ 44 w 58"/>
                <a:gd name="T13" fmla="*/ 19 h 25"/>
                <a:gd name="T14" fmla="*/ 33 w 58"/>
                <a:gd name="T15" fmla="*/ 24 h 25"/>
                <a:gd name="T16" fmla="*/ 22 w 58"/>
                <a:gd name="T17" fmla="*/ 24 h 25"/>
                <a:gd name="T18" fmla="*/ 6 w 58"/>
                <a:gd name="T19" fmla="*/ 19 h 25"/>
                <a:gd name="T20" fmla="*/ 3 w 58"/>
                <a:gd name="T21" fmla="*/ 14 h 25"/>
                <a:gd name="T22" fmla="*/ 10 w 58"/>
                <a:gd name="T2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5">
                  <a:moveTo>
                    <a:pt x="10" y="12"/>
                  </a:moveTo>
                  <a:cubicBezTo>
                    <a:pt x="12" y="11"/>
                    <a:pt x="16" y="8"/>
                    <a:pt x="20" y="6"/>
                  </a:cubicBezTo>
                  <a:cubicBezTo>
                    <a:pt x="24" y="3"/>
                    <a:pt x="21" y="2"/>
                    <a:pt x="28" y="3"/>
                  </a:cubicBezTo>
                  <a:cubicBezTo>
                    <a:pt x="36" y="3"/>
                    <a:pt x="38" y="0"/>
                    <a:pt x="42" y="1"/>
                  </a:cubicBezTo>
                  <a:cubicBezTo>
                    <a:pt x="46" y="2"/>
                    <a:pt x="56" y="1"/>
                    <a:pt x="56" y="5"/>
                  </a:cubicBezTo>
                  <a:cubicBezTo>
                    <a:pt x="56" y="8"/>
                    <a:pt x="58" y="16"/>
                    <a:pt x="53" y="18"/>
                  </a:cubicBezTo>
                  <a:cubicBezTo>
                    <a:pt x="49" y="19"/>
                    <a:pt x="50" y="16"/>
                    <a:pt x="44" y="19"/>
                  </a:cubicBezTo>
                  <a:cubicBezTo>
                    <a:pt x="37" y="23"/>
                    <a:pt x="41" y="23"/>
                    <a:pt x="33" y="24"/>
                  </a:cubicBezTo>
                  <a:cubicBezTo>
                    <a:pt x="26" y="25"/>
                    <a:pt x="28" y="24"/>
                    <a:pt x="22" y="24"/>
                  </a:cubicBezTo>
                  <a:cubicBezTo>
                    <a:pt x="16" y="24"/>
                    <a:pt x="12" y="23"/>
                    <a:pt x="6" y="19"/>
                  </a:cubicBezTo>
                  <a:cubicBezTo>
                    <a:pt x="0" y="16"/>
                    <a:pt x="2" y="14"/>
                    <a:pt x="3" y="14"/>
                  </a:cubicBezTo>
                  <a:cubicBezTo>
                    <a:pt x="4" y="14"/>
                    <a:pt x="6" y="10"/>
                    <a:pt x="10" y="1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21" name="Freeform 999">
              <a:extLst>
                <a:ext uri="{FF2B5EF4-FFF2-40B4-BE49-F238E27FC236}">
                  <a16:creationId xmlns:a16="http://schemas.microsoft.com/office/drawing/2014/main" id="{F0062105-4379-384B-8B82-44D6E1F9B3B4}"/>
                </a:ext>
              </a:extLst>
            </p:cNvPr>
            <p:cNvSpPr>
              <a:spLocks/>
            </p:cNvSpPr>
            <p:nvPr/>
          </p:nvSpPr>
          <p:spPr bwMode="auto">
            <a:xfrm>
              <a:off x="2620971" y="665618"/>
              <a:ext cx="60325" cy="33338"/>
            </a:xfrm>
            <a:custGeom>
              <a:avLst/>
              <a:gdLst>
                <a:gd name="T0" fmla="*/ 2 w 64"/>
                <a:gd name="T1" fmla="*/ 17 h 34"/>
                <a:gd name="T2" fmla="*/ 5 w 64"/>
                <a:gd name="T3" fmla="*/ 7 h 34"/>
                <a:gd name="T4" fmla="*/ 15 w 64"/>
                <a:gd name="T5" fmla="*/ 1 h 34"/>
                <a:gd name="T6" fmla="*/ 28 w 64"/>
                <a:gd name="T7" fmla="*/ 4 h 34"/>
                <a:gd name="T8" fmla="*/ 40 w 64"/>
                <a:gd name="T9" fmla="*/ 8 h 34"/>
                <a:gd name="T10" fmla="*/ 60 w 64"/>
                <a:gd name="T11" fmla="*/ 9 h 34"/>
                <a:gd name="T12" fmla="*/ 47 w 64"/>
                <a:gd name="T13" fmla="*/ 14 h 34"/>
                <a:gd name="T14" fmla="*/ 41 w 64"/>
                <a:gd name="T15" fmla="*/ 18 h 34"/>
                <a:gd name="T16" fmla="*/ 25 w 64"/>
                <a:gd name="T17" fmla="*/ 19 h 34"/>
                <a:gd name="T18" fmla="*/ 16 w 64"/>
                <a:gd name="T19" fmla="*/ 19 h 34"/>
                <a:gd name="T20" fmla="*/ 20 w 64"/>
                <a:gd name="T21" fmla="*/ 24 h 34"/>
                <a:gd name="T22" fmla="*/ 43 w 64"/>
                <a:gd name="T23" fmla="*/ 24 h 34"/>
                <a:gd name="T24" fmla="*/ 57 w 64"/>
                <a:gd name="T25" fmla="*/ 22 h 34"/>
                <a:gd name="T26" fmla="*/ 57 w 64"/>
                <a:gd name="T27" fmla="*/ 28 h 34"/>
                <a:gd name="T28" fmla="*/ 44 w 64"/>
                <a:gd name="T29" fmla="*/ 31 h 34"/>
                <a:gd name="T30" fmla="*/ 29 w 64"/>
                <a:gd name="T31" fmla="*/ 33 h 34"/>
                <a:gd name="T32" fmla="*/ 12 w 64"/>
                <a:gd name="T33" fmla="*/ 33 h 34"/>
                <a:gd name="T34" fmla="*/ 6 w 64"/>
                <a:gd name="T35" fmla="*/ 27 h 34"/>
                <a:gd name="T36" fmla="*/ 7 w 64"/>
                <a:gd name="T37" fmla="*/ 22 h 34"/>
                <a:gd name="T38" fmla="*/ 2 w 64"/>
                <a:gd name="T39"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34">
                  <a:moveTo>
                    <a:pt x="2" y="17"/>
                  </a:moveTo>
                  <a:cubicBezTo>
                    <a:pt x="2" y="9"/>
                    <a:pt x="0" y="8"/>
                    <a:pt x="5" y="7"/>
                  </a:cubicBezTo>
                  <a:cubicBezTo>
                    <a:pt x="10" y="6"/>
                    <a:pt x="8" y="0"/>
                    <a:pt x="15" y="1"/>
                  </a:cubicBezTo>
                  <a:cubicBezTo>
                    <a:pt x="22" y="2"/>
                    <a:pt x="23" y="1"/>
                    <a:pt x="28" y="4"/>
                  </a:cubicBezTo>
                  <a:cubicBezTo>
                    <a:pt x="33" y="8"/>
                    <a:pt x="36" y="6"/>
                    <a:pt x="40" y="8"/>
                  </a:cubicBezTo>
                  <a:cubicBezTo>
                    <a:pt x="44" y="10"/>
                    <a:pt x="64" y="5"/>
                    <a:pt x="60" y="9"/>
                  </a:cubicBezTo>
                  <a:cubicBezTo>
                    <a:pt x="55" y="13"/>
                    <a:pt x="49" y="12"/>
                    <a:pt x="47" y="14"/>
                  </a:cubicBezTo>
                  <a:cubicBezTo>
                    <a:pt x="45" y="16"/>
                    <a:pt x="43" y="17"/>
                    <a:pt x="41" y="18"/>
                  </a:cubicBezTo>
                  <a:cubicBezTo>
                    <a:pt x="39" y="19"/>
                    <a:pt x="28" y="19"/>
                    <a:pt x="25" y="19"/>
                  </a:cubicBezTo>
                  <a:cubicBezTo>
                    <a:pt x="22" y="20"/>
                    <a:pt x="16" y="17"/>
                    <a:pt x="16" y="19"/>
                  </a:cubicBezTo>
                  <a:cubicBezTo>
                    <a:pt x="16" y="22"/>
                    <a:pt x="7" y="23"/>
                    <a:pt x="20" y="24"/>
                  </a:cubicBezTo>
                  <a:cubicBezTo>
                    <a:pt x="34" y="25"/>
                    <a:pt x="32" y="24"/>
                    <a:pt x="43" y="24"/>
                  </a:cubicBezTo>
                  <a:cubicBezTo>
                    <a:pt x="53" y="23"/>
                    <a:pt x="56" y="21"/>
                    <a:pt x="57" y="22"/>
                  </a:cubicBezTo>
                  <a:cubicBezTo>
                    <a:pt x="59" y="24"/>
                    <a:pt x="64" y="26"/>
                    <a:pt x="57" y="28"/>
                  </a:cubicBezTo>
                  <a:cubicBezTo>
                    <a:pt x="50" y="30"/>
                    <a:pt x="53" y="30"/>
                    <a:pt x="44" y="31"/>
                  </a:cubicBezTo>
                  <a:cubicBezTo>
                    <a:pt x="34" y="31"/>
                    <a:pt x="34" y="32"/>
                    <a:pt x="29" y="33"/>
                  </a:cubicBezTo>
                  <a:cubicBezTo>
                    <a:pt x="23" y="34"/>
                    <a:pt x="15" y="33"/>
                    <a:pt x="12" y="33"/>
                  </a:cubicBezTo>
                  <a:cubicBezTo>
                    <a:pt x="10" y="33"/>
                    <a:pt x="5" y="29"/>
                    <a:pt x="6" y="27"/>
                  </a:cubicBezTo>
                  <a:cubicBezTo>
                    <a:pt x="7" y="25"/>
                    <a:pt x="12" y="23"/>
                    <a:pt x="7" y="22"/>
                  </a:cubicBezTo>
                  <a:cubicBezTo>
                    <a:pt x="3" y="22"/>
                    <a:pt x="6" y="16"/>
                    <a:pt x="2" y="1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22" name="Freeform 1000">
              <a:extLst>
                <a:ext uri="{FF2B5EF4-FFF2-40B4-BE49-F238E27FC236}">
                  <a16:creationId xmlns:a16="http://schemas.microsoft.com/office/drawing/2014/main" id="{DEE9D51A-5505-8240-86F0-893813DF72B8}"/>
                </a:ext>
              </a:extLst>
            </p:cNvPr>
            <p:cNvSpPr>
              <a:spLocks/>
            </p:cNvSpPr>
            <p:nvPr/>
          </p:nvSpPr>
          <p:spPr bwMode="auto">
            <a:xfrm>
              <a:off x="2592396" y="587830"/>
              <a:ext cx="661990" cy="169863"/>
            </a:xfrm>
            <a:custGeom>
              <a:avLst/>
              <a:gdLst>
                <a:gd name="T0" fmla="*/ 7 w 695"/>
                <a:gd name="T1" fmla="*/ 128 h 178"/>
                <a:gd name="T2" fmla="*/ 44 w 695"/>
                <a:gd name="T3" fmla="*/ 123 h 178"/>
                <a:gd name="T4" fmla="*/ 93 w 695"/>
                <a:gd name="T5" fmla="*/ 128 h 178"/>
                <a:gd name="T6" fmla="*/ 133 w 695"/>
                <a:gd name="T7" fmla="*/ 124 h 178"/>
                <a:gd name="T8" fmla="*/ 175 w 695"/>
                <a:gd name="T9" fmla="*/ 107 h 178"/>
                <a:gd name="T10" fmla="*/ 222 w 695"/>
                <a:gd name="T11" fmla="*/ 111 h 178"/>
                <a:gd name="T12" fmla="*/ 207 w 695"/>
                <a:gd name="T13" fmla="*/ 97 h 178"/>
                <a:gd name="T14" fmla="*/ 183 w 695"/>
                <a:gd name="T15" fmla="*/ 94 h 178"/>
                <a:gd name="T16" fmla="*/ 150 w 695"/>
                <a:gd name="T17" fmla="*/ 97 h 178"/>
                <a:gd name="T18" fmla="*/ 112 w 695"/>
                <a:gd name="T19" fmla="*/ 82 h 178"/>
                <a:gd name="T20" fmla="*/ 133 w 695"/>
                <a:gd name="T21" fmla="*/ 69 h 178"/>
                <a:gd name="T22" fmla="*/ 98 w 695"/>
                <a:gd name="T23" fmla="*/ 61 h 178"/>
                <a:gd name="T24" fmla="*/ 141 w 695"/>
                <a:gd name="T25" fmla="*/ 48 h 178"/>
                <a:gd name="T26" fmla="*/ 199 w 695"/>
                <a:gd name="T27" fmla="*/ 40 h 178"/>
                <a:gd name="T28" fmla="*/ 232 w 695"/>
                <a:gd name="T29" fmla="*/ 57 h 178"/>
                <a:gd name="T30" fmla="*/ 254 w 695"/>
                <a:gd name="T31" fmla="*/ 79 h 178"/>
                <a:gd name="T32" fmla="*/ 266 w 695"/>
                <a:gd name="T33" fmla="*/ 71 h 178"/>
                <a:gd name="T34" fmla="*/ 299 w 695"/>
                <a:gd name="T35" fmla="*/ 55 h 178"/>
                <a:gd name="T36" fmla="*/ 322 w 695"/>
                <a:gd name="T37" fmla="*/ 53 h 178"/>
                <a:gd name="T38" fmla="*/ 287 w 695"/>
                <a:gd name="T39" fmla="*/ 48 h 178"/>
                <a:gd name="T40" fmla="*/ 230 w 695"/>
                <a:gd name="T41" fmla="*/ 38 h 178"/>
                <a:gd name="T42" fmla="*/ 268 w 695"/>
                <a:gd name="T43" fmla="*/ 24 h 178"/>
                <a:gd name="T44" fmla="*/ 358 w 695"/>
                <a:gd name="T45" fmla="*/ 17 h 178"/>
                <a:gd name="T46" fmla="*/ 418 w 695"/>
                <a:gd name="T47" fmla="*/ 7 h 178"/>
                <a:gd name="T48" fmla="*/ 492 w 695"/>
                <a:gd name="T49" fmla="*/ 7 h 178"/>
                <a:gd name="T50" fmla="*/ 574 w 695"/>
                <a:gd name="T51" fmla="*/ 8 h 178"/>
                <a:gd name="T52" fmla="*/ 659 w 695"/>
                <a:gd name="T53" fmla="*/ 11 h 178"/>
                <a:gd name="T54" fmla="*/ 634 w 695"/>
                <a:gd name="T55" fmla="*/ 30 h 178"/>
                <a:gd name="T56" fmla="*/ 588 w 695"/>
                <a:gd name="T57" fmla="*/ 43 h 178"/>
                <a:gd name="T58" fmla="*/ 496 w 695"/>
                <a:gd name="T59" fmla="*/ 63 h 178"/>
                <a:gd name="T60" fmla="*/ 434 w 695"/>
                <a:gd name="T61" fmla="*/ 73 h 178"/>
                <a:gd name="T62" fmla="*/ 385 w 695"/>
                <a:gd name="T63" fmla="*/ 96 h 178"/>
                <a:gd name="T64" fmla="*/ 303 w 695"/>
                <a:gd name="T65" fmla="*/ 118 h 178"/>
                <a:gd name="T66" fmla="*/ 270 w 695"/>
                <a:gd name="T67" fmla="*/ 136 h 178"/>
                <a:gd name="T68" fmla="*/ 193 w 695"/>
                <a:gd name="T69" fmla="*/ 134 h 178"/>
                <a:gd name="T70" fmla="*/ 114 w 695"/>
                <a:gd name="T71" fmla="*/ 141 h 178"/>
                <a:gd name="T72" fmla="*/ 167 w 695"/>
                <a:gd name="T73" fmla="*/ 151 h 178"/>
                <a:gd name="T74" fmla="*/ 240 w 695"/>
                <a:gd name="T75" fmla="*/ 148 h 178"/>
                <a:gd name="T76" fmla="*/ 222 w 695"/>
                <a:gd name="T77" fmla="*/ 171 h 178"/>
                <a:gd name="T78" fmla="*/ 158 w 695"/>
                <a:gd name="T79" fmla="*/ 174 h 178"/>
                <a:gd name="T80" fmla="*/ 90 w 695"/>
                <a:gd name="T81" fmla="*/ 173 h 178"/>
                <a:gd name="T82" fmla="*/ 37 w 695"/>
                <a:gd name="T83" fmla="*/ 167 h 178"/>
                <a:gd name="T84" fmla="*/ 54 w 695"/>
                <a:gd name="T85" fmla="*/ 145 h 178"/>
                <a:gd name="T86" fmla="*/ 28 w 695"/>
                <a:gd name="T87" fmla="*/ 13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5" h="178">
                  <a:moveTo>
                    <a:pt x="28" y="138"/>
                  </a:moveTo>
                  <a:cubicBezTo>
                    <a:pt x="21" y="136"/>
                    <a:pt x="23" y="136"/>
                    <a:pt x="17" y="134"/>
                  </a:cubicBezTo>
                  <a:cubicBezTo>
                    <a:pt x="11" y="132"/>
                    <a:pt x="6" y="133"/>
                    <a:pt x="7" y="128"/>
                  </a:cubicBezTo>
                  <a:cubicBezTo>
                    <a:pt x="8" y="124"/>
                    <a:pt x="0" y="121"/>
                    <a:pt x="12" y="122"/>
                  </a:cubicBezTo>
                  <a:cubicBezTo>
                    <a:pt x="24" y="123"/>
                    <a:pt x="19" y="121"/>
                    <a:pt x="28" y="122"/>
                  </a:cubicBezTo>
                  <a:cubicBezTo>
                    <a:pt x="37" y="123"/>
                    <a:pt x="37" y="122"/>
                    <a:pt x="44" y="123"/>
                  </a:cubicBezTo>
                  <a:cubicBezTo>
                    <a:pt x="52" y="125"/>
                    <a:pt x="63" y="122"/>
                    <a:pt x="65" y="125"/>
                  </a:cubicBezTo>
                  <a:cubicBezTo>
                    <a:pt x="66" y="128"/>
                    <a:pt x="65" y="128"/>
                    <a:pt x="74" y="128"/>
                  </a:cubicBezTo>
                  <a:cubicBezTo>
                    <a:pt x="82" y="128"/>
                    <a:pt x="90" y="126"/>
                    <a:pt x="93" y="128"/>
                  </a:cubicBezTo>
                  <a:cubicBezTo>
                    <a:pt x="95" y="130"/>
                    <a:pt x="109" y="135"/>
                    <a:pt x="109" y="131"/>
                  </a:cubicBezTo>
                  <a:cubicBezTo>
                    <a:pt x="109" y="127"/>
                    <a:pt x="116" y="125"/>
                    <a:pt x="118" y="125"/>
                  </a:cubicBezTo>
                  <a:cubicBezTo>
                    <a:pt x="121" y="125"/>
                    <a:pt x="129" y="127"/>
                    <a:pt x="133" y="124"/>
                  </a:cubicBezTo>
                  <a:cubicBezTo>
                    <a:pt x="137" y="121"/>
                    <a:pt x="134" y="119"/>
                    <a:pt x="148" y="118"/>
                  </a:cubicBezTo>
                  <a:cubicBezTo>
                    <a:pt x="162" y="117"/>
                    <a:pt x="174" y="115"/>
                    <a:pt x="177" y="115"/>
                  </a:cubicBezTo>
                  <a:cubicBezTo>
                    <a:pt x="180" y="115"/>
                    <a:pt x="172" y="110"/>
                    <a:pt x="175" y="107"/>
                  </a:cubicBezTo>
                  <a:cubicBezTo>
                    <a:pt x="179" y="105"/>
                    <a:pt x="186" y="101"/>
                    <a:pt x="193" y="103"/>
                  </a:cubicBezTo>
                  <a:cubicBezTo>
                    <a:pt x="200" y="106"/>
                    <a:pt x="197" y="106"/>
                    <a:pt x="206" y="109"/>
                  </a:cubicBezTo>
                  <a:cubicBezTo>
                    <a:pt x="216" y="111"/>
                    <a:pt x="220" y="115"/>
                    <a:pt x="222" y="111"/>
                  </a:cubicBezTo>
                  <a:cubicBezTo>
                    <a:pt x="225" y="108"/>
                    <a:pt x="225" y="104"/>
                    <a:pt x="224" y="104"/>
                  </a:cubicBezTo>
                  <a:cubicBezTo>
                    <a:pt x="223" y="104"/>
                    <a:pt x="223" y="94"/>
                    <a:pt x="220" y="96"/>
                  </a:cubicBezTo>
                  <a:cubicBezTo>
                    <a:pt x="216" y="97"/>
                    <a:pt x="210" y="96"/>
                    <a:pt x="207" y="97"/>
                  </a:cubicBezTo>
                  <a:cubicBezTo>
                    <a:pt x="203" y="98"/>
                    <a:pt x="189" y="100"/>
                    <a:pt x="197" y="96"/>
                  </a:cubicBezTo>
                  <a:cubicBezTo>
                    <a:pt x="205" y="91"/>
                    <a:pt x="200" y="83"/>
                    <a:pt x="197" y="85"/>
                  </a:cubicBezTo>
                  <a:cubicBezTo>
                    <a:pt x="194" y="88"/>
                    <a:pt x="184" y="93"/>
                    <a:pt x="183" y="94"/>
                  </a:cubicBezTo>
                  <a:cubicBezTo>
                    <a:pt x="182" y="95"/>
                    <a:pt x="172" y="95"/>
                    <a:pt x="171" y="96"/>
                  </a:cubicBezTo>
                  <a:cubicBezTo>
                    <a:pt x="169" y="98"/>
                    <a:pt x="163" y="89"/>
                    <a:pt x="161" y="92"/>
                  </a:cubicBezTo>
                  <a:cubicBezTo>
                    <a:pt x="158" y="95"/>
                    <a:pt x="156" y="94"/>
                    <a:pt x="150" y="97"/>
                  </a:cubicBezTo>
                  <a:cubicBezTo>
                    <a:pt x="145" y="99"/>
                    <a:pt x="136" y="100"/>
                    <a:pt x="133" y="99"/>
                  </a:cubicBezTo>
                  <a:cubicBezTo>
                    <a:pt x="131" y="99"/>
                    <a:pt x="118" y="96"/>
                    <a:pt x="116" y="96"/>
                  </a:cubicBezTo>
                  <a:cubicBezTo>
                    <a:pt x="115" y="95"/>
                    <a:pt x="96" y="82"/>
                    <a:pt x="112" y="82"/>
                  </a:cubicBezTo>
                  <a:cubicBezTo>
                    <a:pt x="129" y="81"/>
                    <a:pt x="134" y="78"/>
                    <a:pt x="141" y="78"/>
                  </a:cubicBezTo>
                  <a:cubicBezTo>
                    <a:pt x="148" y="78"/>
                    <a:pt x="156" y="74"/>
                    <a:pt x="149" y="72"/>
                  </a:cubicBezTo>
                  <a:cubicBezTo>
                    <a:pt x="141" y="70"/>
                    <a:pt x="143" y="67"/>
                    <a:pt x="133" y="69"/>
                  </a:cubicBezTo>
                  <a:cubicBezTo>
                    <a:pt x="124" y="70"/>
                    <a:pt x="124" y="72"/>
                    <a:pt x="113" y="73"/>
                  </a:cubicBezTo>
                  <a:cubicBezTo>
                    <a:pt x="101" y="75"/>
                    <a:pt x="99" y="81"/>
                    <a:pt x="99" y="74"/>
                  </a:cubicBezTo>
                  <a:cubicBezTo>
                    <a:pt x="98" y="66"/>
                    <a:pt x="88" y="64"/>
                    <a:pt x="98" y="61"/>
                  </a:cubicBezTo>
                  <a:cubicBezTo>
                    <a:pt x="108" y="58"/>
                    <a:pt x="110" y="50"/>
                    <a:pt x="115" y="51"/>
                  </a:cubicBezTo>
                  <a:cubicBezTo>
                    <a:pt x="120" y="52"/>
                    <a:pt x="123" y="51"/>
                    <a:pt x="128" y="51"/>
                  </a:cubicBezTo>
                  <a:cubicBezTo>
                    <a:pt x="134" y="52"/>
                    <a:pt x="137" y="49"/>
                    <a:pt x="141" y="48"/>
                  </a:cubicBezTo>
                  <a:cubicBezTo>
                    <a:pt x="146" y="48"/>
                    <a:pt x="147" y="40"/>
                    <a:pt x="159" y="41"/>
                  </a:cubicBezTo>
                  <a:cubicBezTo>
                    <a:pt x="170" y="41"/>
                    <a:pt x="173" y="38"/>
                    <a:pt x="177" y="38"/>
                  </a:cubicBezTo>
                  <a:cubicBezTo>
                    <a:pt x="182" y="38"/>
                    <a:pt x="195" y="36"/>
                    <a:pt x="199" y="40"/>
                  </a:cubicBezTo>
                  <a:cubicBezTo>
                    <a:pt x="203" y="44"/>
                    <a:pt x="212" y="40"/>
                    <a:pt x="215" y="45"/>
                  </a:cubicBezTo>
                  <a:cubicBezTo>
                    <a:pt x="217" y="49"/>
                    <a:pt x="223" y="47"/>
                    <a:pt x="224" y="51"/>
                  </a:cubicBezTo>
                  <a:cubicBezTo>
                    <a:pt x="226" y="55"/>
                    <a:pt x="222" y="61"/>
                    <a:pt x="232" y="57"/>
                  </a:cubicBezTo>
                  <a:cubicBezTo>
                    <a:pt x="242" y="53"/>
                    <a:pt x="246" y="57"/>
                    <a:pt x="247" y="59"/>
                  </a:cubicBezTo>
                  <a:cubicBezTo>
                    <a:pt x="247" y="61"/>
                    <a:pt x="231" y="69"/>
                    <a:pt x="241" y="69"/>
                  </a:cubicBezTo>
                  <a:cubicBezTo>
                    <a:pt x="252" y="70"/>
                    <a:pt x="249" y="74"/>
                    <a:pt x="254" y="79"/>
                  </a:cubicBezTo>
                  <a:cubicBezTo>
                    <a:pt x="259" y="83"/>
                    <a:pt x="259" y="79"/>
                    <a:pt x="269" y="83"/>
                  </a:cubicBezTo>
                  <a:cubicBezTo>
                    <a:pt x="279" y="87"/>
                    <a:pt x="294" y="85"/>
                    <a:pt x="284" y="82"/>
                  </a:cubicBezTo>
                  <a:cubicBezTo>
                    <a:pt x="274" y="79"/>
                    <a:pt x="274" y="78"/>
                    <a:pt x="266" y="71"/>
                  </a:cubicBezTo>
                  <a:cubicBezTo>
                    <a:pt x="259" y="63"/>
                    <a:pt x="253" y="67"/>
                    <a:pt x="258" y="62"/>
                  </a:cubicBezTo>
                  <a:cubicBezTo>
                    <a:pt x="263" y="57"/>
                    <a:pt x="259" y="56"/>
                    <a:pt x="271" y="56"/>
                  </a:cubicBezTo>
                  <a:cubicBezTo>
                    <a:pt x="282" y="56"/>
                    <a:pt x="291" y="53"/>
                    <a:pt x="299" y="55"/>
                  </a:cubicBezTo>
                  <a:cubicBezTo>
                    <a:pt x="307" y="57"/>
                    <a:pt x="313" y="63"/>
                    <a:pt x="319" y="66"/>
                  </a:cubicBezTo>
                  <a:cubicBezTo>
                    <a:pt x="326" y="69"/>
                    <a:pt x="333" y="65"/>
                    <a:pt x="326" y="61"/>
                  </a:cubicBezTo>
                  <a:cubicBezTo>
                    <a:pt x="320" y="57"/>
                    <a:pt x="315" y="57"/>
                    <a:pt x="322" y="53"/>
                  </a:cubicBezTo>
                  <a:cubicBezTo>
                    <a:pt x="329" y="49"/>
                    <a:pt x="332" y="47"/>
                    <a:pt x="326" y="47"/>
                  </a:cubicBezTo>
                  <a:cubicBezTo>
                    <a:pt x="319" y="47"/>
                    <a:pt x="320" y="45"/>
                    <a:pt x="310" y="47"/>
                  </a:cubicBezTo>
                  <a:cubicBezTo>
                    <a:pt x="301" y="49"/>
                    <a:pt x="297" y="48"/>
                    <a:pt x="287" y="48"/>
                  </a:cubicBezTo>
                  <a:cubicBezTo>
                    <a:pt x="277" y="48"/>
                    <a:pt x="268" y="47"/>
                    <a:pt x="261" y="48"/>
                  </a:cubicBezTo>
                  <a:cubicBezTo>
                    <a:pt x="254" y="50"/>
                    <a:pt x="255" y="49"/>
                    <a:pt x="245" y="46"/>
                  </a:cubicBezTo>
                  <a:cubicBezTo>
                    <a:pt x="235" y="42"/>
                    <a:pt x="234" y="38"/>
                    <a:pt x="230" y="38"/>
                  </a:cubicBezTo>
                  <a:cubicBezTo>
                    <a:pt x="225" y="37"/>
                    <a:pt x="212" y="32"/>
                    <a:pt x="224" y="30"/>
                  </a:cubicBezTo>
                  <a:cubicBezTo>
                    <a:pt x="236" y="27"/>
                    <a:pt x="237" y="23"/>
                    <a:pt x="248" y="24"/>
                  </a:cubicBezTo>
                  <a:cubicBezTo>
                    <a:pt x="260" y="25"/>
                    <a:pt x="256" y="25"/>
                    <a:pt x="268" y="24"/>
                  </a:cubicBezTo>
                  <a:cubicBezTo>
                    <a:pt x="281" y="24"/>
                    <a:pt x="294" y="23"/>
                    <a:pt x="298" y="23"/>
                  </a:cubicBezTo>
                  <a:cubicBezTo>
                    <a:pt x="303" y="23"/>
                    <a:pt x="316" y="15"/>
                    <a:pt x="329" y="15"/>
                  </a:cubicBezTo>
                  <a:cubicBezTo>
                    <a:pt x="343" y="16"/>
                    <a:pt x="350" y="13"/>
                    <a:pt x="358" y="17"/>
                  </a:cubicBezTo>
                  <a:cubicBezTo>
                    <a:pt x="366" y="21"/>
                    <a:pt x="368" y="15"/>
                    <a:pt x="377" y="12"/>
                  </a:cubicBezTo>
                  <a:cubicBezTo>
                    <a:pt x="387" y="10"/>
                    <a:pt x="378" y="7"/>
                    <a:pt x="395" y="7"/>
                  </a:cubicBezTo>
                  <a:cubicBezTo>
                    <a:pt x="412" y="8"/>
                    <a:pt x="403" y="5"/>
                    <a:pt x="418" y="7"/>
                  </a:cubicBezTo>
                  <a:cubicBezTo>
                    <a:pt x="433" y="9"/>
                    <a:pt x="429" y="9"/>
                    <a:pt x="442" y="9"/>
                  </a:cubicBezTo>
                  <a:cubicBezTo>
                    <a:pt x="455" y="10"/>
                    <a:pt x="459" y="7"/>
                    <a:pt x="463" y="8"/>
                  </a:cubicBezTo>
                  <a:cubicBezTo>
                    <a:pt x="466" y="9"/>
                    <a:pt x="481" y="4"/>
                    <a:pt x="492" y="7"/>
                  </a:cubicBezTo>
                  <a:cubicBezTo>
                    <a:pt x="503" y="9"/>
                    <a:pt x="499" y="7"/>
                    <a:pt x="515" y="8"/>
                  </a:cubicBezTo>
                  <a:cubicBezTo>
                    <a:pt x="531" y="10"/>
                    <a:pt x="527" y="3"/>
                    <a:pt x="544" y="6"/>
                  </a:cubicBezTo>
                  <a:cubicBezTo>
                    <a:pt x="561" y="9"/>
                    <a:pt x="561" y="10"/>
                    <a:pt x="574" y="8"/>
                  </a:cubicBezTo>
                  <a:cubicBezTo>
                    <a:pt x="587" y="7"/>
                    <a:pt x="578" y="0"/>
                    <a:pt x="596" y="3"/>
                  </a:cubicBezTo>
                  <a:cubicBezTo>
                    <a:pt x="614" y="6"/>
                    <a:pt x="615" y="5"/>
                    <a:pt x="630" y="6"/>
                  </a:cubicBezTo>
                  <a:cubicBezTo>
                    <a:pt x="645" y="7"/>
                    <a:pt x="647" y="9"/>
                    <a:pt x="659" y="11"/>
                  </a:cubicBezTo>
                  <a:cubicBezTo>
                    <a:pt x="671" y="13"/>
                    <a:pt x="695" y="11"/>
                    <a:pt x="689" y="16"/>
                  </a:cubicBezTo>
                  <a:cubicBezTo>
                    <a:pt x="683" y="21"/>
                    <a:pt x="675" y="23"/>
                    <a:pt x="665" y="25"/>
                  </a:cubicBezTo>
                  <a:cubicBezTo>
                    <a:pt x="654" y="28"/>
                    <a:pt x="641" y="29"/>
                    <a:pt x="634" y="30"/>
                  </a:cubicBezTo>
                  <a:cubicBezTo>
                    <a:pt x="627" y="32"/>
                    <a:pt x="617" y="31"/>
                    <a:pt x="609" y="34"/>
                  </a:cubicBezTo>
                  <a:cubicBezTo>
                    <a:pt x="601" y="37"/>
                    <a:pt x="560" y="33"/>
                    <a:pt x="572" y="36"/>
                  </a:cubicBezTo>
                  <a:cubicBezTo>
                    <a:pt x="584" y="39"/>
                    <a:pt x="605" y="41"/>
                    <a:pt x="588" y="43"/>
                  </a:cubicBezTo>
                  <a:cubicBezTo>
                    <a:pt x="571" y="45"/>
                    <a:pt x="542" y="47"/>
                    <a:pt x="533" y="49"/>
                  </a:cubicBezTo>
                  <a:cubicBezTo>
                    <a:pt x="525" y="50"/>
                    <a:pt x="537" y="45"/>
                    <a:pt x="519" y="51"/>
                  </a:cubicBezTo>
                  <a:cubicBezTo>
                    <a:pt x="500" y="58"/>
                    <a:pt x="488" y="60"/>
                    <a:pt x="496" y="63"/>
                  </a:cubicBezTo>
                  <a:cubicBezTo>
                    <a:pt x="504" y="65"/>
                    <a:pt x="481" y="69"/>
                    <a:pt x="484" y="70"/>
                  </a:cubicBezTo>
                  <a:cubicBezTo>
                    <a:pt x="487" y="71"/>
                    <a:pt x="450" y="67"/>
                    <a:pt x="452" y="70"/>
                  </a:cubicBezTo>
                  <a:cubicBezTo>
                    <a:pt x="453" y="73"/>
                    <a:pt x="435" y="69"/>
                    <a:pt x="434" y="73"/>
                  </a:cubicBezTo>
                  <a:cubicBezTo>
                    <a:pt x="434" y="77"/>
                    <a:pt x="421" y="76"/>
                    <a:pt x="406" y="76"/>
                  </a:cubicBezTo>
                  <a:cubicBezTo>
                    <a:pt x="390" y="76"/>
                    <a:pt x="373" y="81"/>
                    <a:pt x="384" y="83"/>
                  </a:cubicBezTo>
                  <a:cubicBezTo>
                    <a:pt x="396" y="86"/>
                    <a:pt x="399" y="94"/>
                    <a:pt x="385" y="96"/>
                  </a:cubicBezTo>
                  <a:cubicBezTo>
                    <a:pt x="371" y="99"/>
                    <a:pt x="353" y="100"/>
                    <a:pt x="358" y="102"/>
                  </a:cubicBezTo>
                  <a:cubicBezTo>
                    <a:pt x="363" y="103"/>
                    <a:pt x="334" y="106"/>
                    <a:pt x="335" y="110"/>
                  </a:cubicBezTo>
                  <a:cubicBezTo>
                    <a:pt x="336" y="115"/>
                    <a:pt x="301" y="116"/>
                    <a:pt x="303" y="118"/>
                  </a:cubicBezTo>
                  <a:cubicBezTo>
                    <a:pt x="305" y="121"/>
                    <a:pt x="260" y="109"/>
                    <a:pt x="274" y="117"/>
                  </a:cubicBezTo>
                  <a:cubicBezTo>
                    <a:pt x="289" y="125"/>
                    <a:pt x="314" y="128"/>
                    <a:pt x="301" y="131"/>
                  </a:cubicBezTo>
                  <a:cubicBezTo>
                    <a:pt x="288" y="134"/>
                    <a:pt x="286" y="136"/>
                    <a:pt x="270" y="136"/>
                  </a:cubicBezTo>
                  <a:cubicBezTo>
                    <a:pt x="254" y="136"/>
                    <a:pt x="252" y="121"/>
                    <a:pt x="244" y="128"/>
                  </a:cubicBezTo>
                  <a:cubicBezTo>
                    <a:pt x="235" y="135"/>
                    <a:pt x="233" y="135"/>
                    <a:pt x="219" y="135"/>
                  </a:cubicBezTo>
                  <a:cubicBezTo>
                    <a:pt x="206" y="135"/>
                    <a:pt x="201" y="131"/>
                    <a:pt x="193" y="134"/>
                  </a:cubicBezTo>
                  <a:cubicBezTo>
                    <a:pt x="184" y="137"/>
                    <a:pt x="187" y="136"/>
                    <a:pt x="171" y="138"/>
                  </a:cubicBezTo>
                  <a:cubicBezTo>
                    <a:pt x="156" y="139"/>
                    <a:pt x="150" y="135"/>
                    <a:pt x="142" y="138"/>
                  </a:cubicBezTo>
                  <a:cubicBezTo>
                    <a:pt x="134" y="141"/>
                    <a:pt x="119" y="138"/>
                    <a:pt x="114" y="141"/>
                  </a:cubicBezTo>
                  <a:cubicBezTo>
                    <a:pt x="110" y="143"/>
                    <a:pt x="101" y="147"/>
                    <a:pt x="110" y="149"/>
                  </a:cubicBezTo>
                  <a:cubicBezTo>
                    <a:pt x="119" y="151"/>
                    <a:pt x="118" y="152"/>
                    <a:pt x="141" y="153"/>
                  </a:cubicBezTo>
                  <a:cubicBezTo>
                    <a:pt x="164" y="154"/>
                    <a:pt x="152" y="152"/>
                    <a:pt x="167" y="151"/>
                  </a:cubicBezTo>
                  <a:cubicBezTo>
                    <a:pt x="183" y="150"/>
                    <a:pt x="170" y="146"/>
                    <a:pt x="189" y="147"/>
                  </a:cubicBezTo>
                  <a:cubicBezTo>
                    <a:pt x="207" y="148"/>
                    <a:pt x="197" y="147"/>
                    <a:pt x="217" y="148"/>
                  </a:cubicBezTo>
                  <a:cubicBezTo>
                    <a:pt x="236" y="149"/>
                    <a:pt x="229" y="146"/>
                    <a:pt x="240" y="148"/>
                  </a:cubicBezTo>
                  <a:cubicBezTo>
                    <a:pt x="251" y="151"/>
                    <a:pt x="255" y="153"/>
                    <a:pt x="253" y="158"/>
                  </a:cubicBezTo>
                  <a:cubicBezTo>
                    <a:pt x="251" y="163"/>
                    <a:pt x="255" y="160"/>
                    <a:pt x="242" y="164"/>
                  </a:cubicBezTo>
                  <a:cubicBezTo>
                    <a:pt x="228" y="168"/>
                    <a:pt x="234" y="166"/>
                    <a:pt x="222" y="171"/>
                  </a:cubicBezTo>
                  <a:cubicBezTo>
                    <a:pt x="210" y="175"/>
                    <a:pt x="208" y="175"/>
                    <a:pt x="196" y="176"/>
                  </a:cubicBezTo>
                  <a:cubicBezTo>
                    <a:pt x="185" y="178"/>
                    <a:pt x="175" y="170"/>
                    <a:pt x="172" y="171"/>
                  </a:cubicBezTo>
                  <a:cubicBezTo>
                    <a:pt x="170" y="172"/>
                    <a:pt x="171" y="172"/>
                    <a:pt x="158" y="174"/>
                  </a:cubicBezTo>
                  <a:cubicBezTo>
                    <a:pt x="144" y="176"/>
                    <a:pt x="153" y="173"/>
                    <a:pt x="135" y="175"/>
                  </a:cubicBezTo>
                  <a:cubicBezTo>
                    <a:pt x="117" y="177"/>
                    <a:pt x="111" y="176"/>
                    <a:pt x="105" y="177"/>
                  </a:cubicBezTo>
                  <a:cubicBezTo>
                    <a:pt x="100" y="177"/>
                    <a:pt x="95" y="173"/>
                    <a:pt x="90" y="173"/>
                  </a:cubicBezTo>
                  <a:cubicBezTo>
                    <a:pt x="84" y="173"/>
                    <a:pt x="86" y="168"/>
                    <a:pt x="75" y="171"/>
                  </a:cubicBezTo>
                  <a:cubicBezTo>
                    <a:pt x="65" y="174"/>
                    <a:pt x="56" y="172"/>
                    <a:pt x="53" y="172"/>
                  </a:cubicBezTo>
                  <a:cubicBezTo>
                    <a:pt x="50" y="173"/>
                    <a:pt x="40" y="166"/>
                    <a:pt x="37" y="167"/>
                  </a:cubicBezTo>
                  <a:cubicBezTo>
                    <a:pt x="34" y="168"/>
                    <a:pt x="24" y="163"/>
                    <a:pt x="32" y="161"/>
                  </a:cubicBezTo>
                  <a:cubicBezTo>
                    <a:pt x="40" y="158"/>
                    <a:pt x="38" y="157"/>
                    <a:pt x="44" y="154"/>
                  </a:cubicBezTo>
                  <a:cubicBezTo>
                    <a:pt x="50" y="150"/>
                    <a:pt x="51" y="150"/>
                    <a:pt x="54" y="145"/>
                  </a:cubicBezTo>
                  <a:cubicBezTo>
                    <a:pt x="57" y="141"/>
                    <a:pt x="60" y="134"/>
                    <a:pt x="53" y="134"/>
                  </a:cubicBezTo>
                  <a:cubicBezTo>
                    <a:pt x="45" y="134"/>
                    <a:pt x="45" y="135"/>
                    <a:pt x="40" y="136"/>
                  </a:cubicBezTo>
                  <a:cubicBezTo>
                    <a:pt x="36" y="137"/>
                    <a:pt x="33" y="136"/>
                    <a:pt x="28" y="138"/>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23" name="Freeform 1001">
              <a:extLst>
                <a:ext uri="{FF2B5EF4-FFF2-40B4-BE49-F238E27FC236}">
                  <a16:creationId xmlns:a16="http://schemas.microsoft.com/office/drawing/2014/main" id="{D40ABB5D-9322-5B43-A4D5-4D63748F58E9}"/>
                </a:ext>
              </a:extLst>
            </p:cNvPr>
            <p:cNvSpPr>
              <a:spLocks/>
            </p:cNvSpPr>
            <p:nvPr/>
          </p:nvSpPr>
          <p:spPr bwMode="auto">
            <a:xfrm>
              <a:off x="2473333" y="943430"/>
              <a:ext cx="146050" cy="69850"/>
            </a:xfrm>
            <a:custGeom>
              <a:avLst/>
              <a:gdLst>
                <a:gd name="T0" fmla="*/ 60 w 153"/>
                <a:gd name="T1" fmla="*/ 16 h 73"/>
                <a:gd name="T2" fmla="*/ 49 w 153"/>
                <a:gd name="T3" fmla="*/ 27 h 73"/>
                <a:gd name="T4" fmla="*/ 43 w 153"/>
                <a:gd name="T5" fmla="*/ 35 h 73"/>
                <a:gd name="T6" fmla="*/ 37 w 153"/>
                <a:gd name="T7" fmla="*/ 43 h 73"/>
                <a:gd name="T8" fmla="*/ 24 w 153"/>
                <a:gd name="T9" fmla="*/ 48 h 73"/>
                <a:gd name="T10" fmla="*/ 8 w 153"/>
                <a:gd name="T11" fmla="*/ 52 h 73"/>
                <a:gd name="T12" fmla="*/ 13 w 153"/>
                <a:gd name="T13" fmla="*/ 60 h 73"/>
                <a:gd name="T14" fmla="*/ 33 w 153"/>
                <a:gd name="T15" fmla="*/ 57 h 73"/>
                <a:gd name="T16" fmla="*/ 36 w 153"/>
                <a:gd name="T17" fmla="*/ 58 h 73"/>
                <a:gd name="T18" fmla="*/ 31 w 153"/>
                <a:gd name="T19" fmla="*/ 69 h 73"/>
                <a:gd name="T20" fmla="*/ 54 w 153"/>
                <a:gd name="T21" fmla="*/ 67 h 73"/>
                <a:gd name="T22" fmla="*/ 66 w 153"/>
                <a:gd name="T23" fmla="*/ 59 h 73"/>
                <a:gd name="T24" fmla="*/ 86 w 153"/>
                <a:gd name="T25" fmla="*/ 46 h 73"/>
                <a:gd name="T26" fmla="*/ 99 w 153"/>
                <a:gd name="T27" fmla="*/ 46 h 73"/>
                <a:gd name="T28" fmla="*/ 106 w 153"/>
                <a:gd name="T29" fmla="*/ 54 h 73"/>
                <a:gd name="T30" fmla="*/ 121 w 153"/>
                <a:gd name="T31" fmla="*/ 59 h 73"/>
                <a:gd name="T32" fmla="*/ 135 w 153"/>
                <a:gd name="T33" fmla="*/ 58 h 73"/>
                <a:gd name="T34" fmla="*/ 144 w 153"/>
                <a:gd name="T35" fmla="*/ 48 h 73"/>
                <a:gd name="T36" fmla="*/ 123 w 153"/>
                <a:gd name="T37" fmla="*/ 44 h 73"/>
                <a:gd name="T38" fmla="*/ 127 w 153"/>
                <a:gd name="T39" fmla="*/ 32 h 73"/>
                <a:gd name="T40" fmla="*/ 111 w 153"/>
                <a:gd name="T41" fmla="*/ 27 h 73"/>
                <a:gd name="T42" fmla="*/ 100 w 153"/>
                <a:gd name="T43" fmla="*/ 19 h 73"/>
                <a:gd name="T44" fmla="*/ 89 w 153"/>
                <a:gd name="T45" fmla="*/ 13 h 73"/>
                <a:gd name="T46" fmla="*/ 77 w 153"/>
                <a:gd name="T47" fmla="*/ 2 h 73"/>
                <a:gd name="T48" fmla="*/ 65 w 153"/>
                <a:gd name="T49" fmla="*/ 11 h 73"/>
                <a:gd name="T50" fmla="*/ 60 w 153"/>
                <a:gd name="T51" fmla="*/ 1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73">
                  <a:moveTo>
                    <a:pt x="60" y="16"/>
                  </a:moveTo>
                  <a:cubicBezTo>
                    <a:pt x="54" y="22"/>
                    <a:pt x="49" y="20"/>
                    <a:pt x="49" y="27"/>
                  </a:cubicBezTo>
                  <a:cubicBezTo>
                    <a:pt x="48" y="34"/>
                    <a:pt x="45" y="30"/>
                    <a:pt x="43" y="35"/>
                  </a:cubicBezTo>
                  <a:cubicBezTo>
                    <a:pt x="41" y="40"/>
                    <a:pt x="43" y="40"/>
                    <a:pt x="37" y="43"/>
                  </a:cubicBezTo>
                  <a:cubicBezTo>
                    <a:pt x="31" y="46"/>
                    <a:pt x="29" y="45"/>
                    <a:pt x="24" y="48"/>
                  </a:cubicBezTo>
                  <a:cubicBezTo>
                    <a:pt x="19" y="50"/>
                    <a:pt x="8" y="47"/>
                    <a:pt x="8" y="52"/>
                  </a:cubicBezTo>
                  <a:cubicBezTo>
                    <a:pt x="8" y="57"/>
                    <a:pt x="0" y="64"/>
                    <a:pt x="13" y="60"/>
                  </a:cubicBezTo>
                  <a:cubicBezTo>
                    <a:pt x="26" y="57"/>
                    <a:pt x="29" y="55"/>
                    <a:pt x="33" y="57"/>
                  </a:cubicBezTo>
                  <a:cubicBezTo>
                    <a:pt x="36" y="58"/>
                    <a:pt x="37" y="54"/>
                    <a:pt x="36" y="58"/>
                  </a:cubicBezTo>
                  <a:cubicBezTo>
                    <a:pt x="35" y="62"/>
                    <a:pt x="15" y="66"/>
                    <a:pt x="31" y="69"/>
                  </a:cubicBezTo>
                  <a:cubicBezTo>
                    <a:pt x="48" y="72"/>
                    <a:pt x="47" y="73"/>
                    <a:pt x="54" y="67"/>
                  </a:cubicBezTo>
                  <a:cubicBezTo>
                    <a:pt x="62" y="61"/>
                    <a:pt x="50" y="67"/>
                    <a:pt x="66" y="59"/>
                  </a:cubicBezTo>
                  <a:cubicBezTo>
                    <a:pt x="82" y="51"/>
                    <a:pt x="80" y="46"/>
                    <a:pt x="86" y="46"/>
                  </a:cubicBezTo>
                  <a:cubicBezTo>
                    <a:pt x="92" y="46"/>
                    <a:pt x="95" y="41"/>
                    <a:pt x="99" y="46"/>
                  </a:cubicBezTo>
                  <a:cubicBezTo>
                    <a:pt x="104" y="52"/>
                    <a:pt x="99" y="50"/>
                    <a:pt x="106" y="54"/>
                  </a:cubicBezTo>
                  <a:cubicBezTo>
                    <a:pt x="112" y="58"/>
                    <a:pt x="111" y="59"/>
                    <a:pt x="121" y="59"/>
                  </a:cubicBezTo>
                  <a:cubicBezTo>
                    <a:pt x="130" y="59"/>
                    <a:pt x="116" y="60"/>
                    <a:pt x="135" y="58"/>
                  </a:cubicBezTo>
                  <a:cubicBezTo>
                    <a:pt x="153" y="56"/>
                    <a:pt x="153" y="48"/>
                    <a:pt x="144" y="48"/>
                  </a:cubicBezTo>
                  <a:cubicBezTo>
                    <a:pt x="134" y="48"/>
                    <a:pt x="121" y="52"/>
                    <a:pt x="123" y="44"/>
                  </a:cubicBezTo>
                  <a:cubicBezTo>
                    <a:pt x="126" y="36"/>
                    <a:pt x="139" y="37"/>
                    <a:pt x="127" y="32"/>
                  </a:cubicBezTo>
                  <a:cubicBezTo>
                    <a:pt x="114" y="28"/>
                    <a:pt x="113" y="28"/>
                    <a:pt x="111" y="27"/>
                  </a:cubicBezTo>
                  <a:cubicBezTo>
                    <a:pt x="108" y="27"/>
                    <a:pt x="102" y="19"/>
                    <a:pt x="100" y="19"/>
                  </a:cubicBezTo>
                  <a:cubicBezTo>
                    <a:pt x="97" y="19"/>
                    <a:pt x="90" y="12"/>
                    <a:pt x="89" y="13"/>
                  </a:cubicBezTo>
                  <a:cubicBezTo>
                    <a:pt x="87" y="13"/>
                    <a:pt x="82" y="0"/>
                    <a:pt x="77" y="2"/>
                  </a:cubicBezTo>
                  <a:cubicBezTo>
                    <a:pt x="71" y="5"/>
                    <a:pt x="66" y="8"/>
                    <a:pt x="65" y="11"/>
                  </a:cubicBezTo>
                  <a:cubicBezTo>
                    <a:pt x="65" y="13"/>
                    <a:pt x="60" y="10"/>
                    <a:pt x="60" y="1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24" name="Freeform 1002">
              <a:extLst>
                <a:ext uri="{FF2B5EF4-FFF2-40B4-BE49-F238E27FC236}">
                  <a16:creationId xmlns:a16="http://schemas.microsoft.com/office/drawing/2014/main" id="{1B2CD56A-B567-0249-A69E-634B005B7D4C}"/>
                </a:ext>
              </a:extLst>
            </p:cNvPr>
            <p:cNvSpPr>
              <a:spLocks/>
            </p:cNvSpPr>
            <p:nvPr/>
          </p:nvSpPr>
          <p:spPr bwMode="auto">
            <a:xfrm>
              <a:off x="2513021" y="1011693"/>
              <a:ext cx="55563" cy="26988"/>
            </a:xfrm>
            <a:custGeom>
              <a:avLst/>
              <a:gdLst>
                <a:gd name="T0" fmla="*/ 23 w 58"/>
                <a:gd name="T1" fmla="*/ 6 h 28"/>
                <a:gd name="T2" fmla="*/ 11 w 58"/>
                <a:gd name="T3" fmla="*/ 17 h 28"/>
                <a:gd name="T4" fmla="*/ 13 w 58"/>
                <a:gd name="T5" fmla="*/ 23 h 28"/>
                <a:gd name="T6" fmla="*/ 29 w 58"/>
                <a:gd name="T7" fmla="*/ 23 h 28"/>
                <a:gd name="T8" fmla="*/ 43 w 58"/>
                <a:gd name="T9" fmla="*/ 14 h 28"/>
                <a:gd name="T10" fmla="*/ 56 w 58"/>
                <a:gd name="T11" fmla="*/ 6 h 28"/>
                <a:gd name="T12" fmla="*/ 52 w 58"/>
                <a:gd name="T13" fmla="*/ 3 h 28"/>
                <a:gd name="T14" fmla="*/ 37 w 58"/>
                <a:gd name="T15" fmla="*/ 3 h 28"/>
                <a:gd name="T16" fmla="*/ 23 w 58"/>
                <a:gd name="T17"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28">
                  <a:moveTo>
                    <a:pt x="23" y="6"/>
                  </a:moveTo>
                  <a:cubicBezTo>
                    <a:pt x="18" y="9"/>
                    <a:pt x="13" y="15"/>
                    <a:pt x="11" y="17"/>
                  </a:cubicBezTo>
                  <a:cubicBezTo>
                    <a:pt x="10" y="18"/>
                    <a:pt x="0" y="22"/>
                    <a:pt x="13" y="23"/>
                  </a:cubicBezTo>
                  <a:cubicBezTo>
                    <a:pt x="26" y="23"/>
                    <a:pt x="19" y="28"/>
                    <a:pt x="29" y="23"/>
                  </a:cubicBezTo>
                  <a:cubicBezTo>
                    <a:pt x="39" y="17"/>
                    <a:pt x="33" y="19"/>
                    <a:pt x="43" y="14"/>
                  </a:cubicBezTo>
                  <a:cubicBezTo>
                    <a:pt x="52" y="9"/>
                    <a:pt x="55" y="7"/>
                    <a:pt x="56" y="6"/>
                  </a:cubicBezTo>
                  <a:cubicBezTo>
                    <a:pt x="57" y="4"/>
                    <a:pt x="58" y="3"/>
                    <a:pt x="52" y="3"/>
                  </a:cubicBezTo>
                  <a:cubicBezTo>
                    <a:pt x="47" y="3"/>
                    <a:pt x="40" y="0"/>
                    <a:pt x="37" y="3"/>
                  </a:cubicBezTo>
                  <a:cubicBezTo>
                    <a:pt x="34" y="6"/>
                    <a:pt x="22" y="2"/>
                    <a:pt x="23"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25" name="Freeform 1003">
              <a:extLst>
                <a:ext uri="{FF2B5EF4-FFF2-40B4-BE49-F238E27FC236}">
                  <a16:creationId xmlns:a16="http://schemas.microsoft.com/office/drawing/2014/main" id="{68AC9CB3-38A4-E741-846F-F74D1B8CCC15}"/>
                </a:ext>
              </a:extLst>
            </p:cNvPr>
            <p:cNvSpPr>
              <a:spLocks/>
            </p:cNvSpPr>
            <p:nvPr/>
          </p:nvSpPr>
          <p:spPr bwMode="auto">
            <a:xfrm>
              <a:off x="2576521" y="1022806"/>
              <a:ext cx="26988" cy="28575"/>
            </a:xfrm>
            <a:custGeom>
              <a:avLst/>
              <a:gdLst>
                <a:gd name="T0" fmla="*/ 22 w 29"/>
                <a:gd name="T1" fmla="*/ 6 h 30"/>
                <a:gd name="T2" fmla="*/ 6 w 29"/>
                <a:gd name="T3" fmla="*/ 11 h 30"/>
                <a:gd name="T4" fmla="*/ 4 w 29"/>
                <a:gd name="T5" fmla="*/ 18 h 30"/>
                <a:gd name="T6" fmla="*/ 9 w 29"/>
                <a:gd name="T7" fmla="*/ 26 h 30"/>
                <a:gd name="T8" fmla="*/ 19 w 29"/>
                <a:gd name="T9" fmla="*/ 24 h 30"/>
                <a:gd name="T10" fmla="*/ 26 w 29"/>
                <a:gd name="T11" fmla="*/ 14 h 30"/>
                <a:gd name="T12" fmla="*/ 29 w 29"/>
                <a:gd name="T13" fmla="*/ 6 h 30"/>
                <a:gd name="T14" fmla="*/ 22 w 29"/>
                <a:gd name="T15" fmla="*/ 6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30">
                  <a:moveTo>
                    <a:pt x="22" y="6"/>
                  </a:moveTo>
                  <a:cubicBezTo>
                    <a:pt x="18" y="9"/>
                    <a:pt x="8" y="8"/>
                    <a:pt x="6" y="11"/>
                  </a:cubicBezTo>
                  <a:cubicBezTo>
                    <a:pt x="4" y="14"/>
                    <a:pt x="0" y="11"/>
                    <a:pt x="4" y="18"/>
                  </a:cubicBezTo>
                  <a:cubicBezTo>
                    <a:pt x="7" y="24"/>
                    <a:pt x="2" y="26"/>
                    <a:pt x="9" y="26"/>
                  </a:cubicBezTo>
                  <a:cubicBezTo>
                    <a:pt x="16" y="27"/>
                    <a:pt x="14" y="30"/>
                    <a:pt x="19" y="24"/>
                  </a:cubicBezTo>
                  <a:cubicBezTo>
                    <a:pt x="25" y="17"/>
                    <a:pt x="23" y="19"/>
                    <a:pt x="26" y="14"/>
                  </a:cubicBezTo>
                  <a:cubicBezTo>
                    <a:pt x="29" y="10"/>
                    <a:pt x="29" y="9"/>
                    <a:pt x="29" y="6"/>
                  </a:cubicBezTo>
                  <a:cubicBezTo>
                    <a:pt x="29" y="4"/>
                    <a:pt x="21" y="0"/>
                    <a:pt x="22"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26" name="Freeform 1004">
              <a:extLst>
                <a:ext uri="{FF2B5EF4-FFF2-40B4-BE49-F238E27FC236}">
                  <a16:creationId xmlns:a16="http://schemas.microsoft.com/office/drawing/2014/main" id="{7A9A617C-DFF4-CD4B-AEC1-1F807BC5A062}"/>
                </a:ext>
              </a:extLst>
            </p:cNvPr>
            <p:cNvSpPr>
              <a:spLocks/>
            </p:cNvSpPr>
            <p:nvPr/>
          </p:nvSpPr>
          <p:spPr bwMode="auto">
            <a:xfrm>
              <a:off x="2630496" y="995818"/>
              <a:ext cx="26988" cy="20638"/>
            </a:xfrm>
            <a:custGeom>
              <a:avLst/>
              <a:gdLst>
                <a:gd name="T0" fmla="*/ 5 w 28"/>
                <a:gd name="T1" fmla="*/ 6 h 21"/>
                <a:gd name="T2" fmla="*/ 10 w 28"/>
                <a:gd name="T3" fmla="*/ 15 h 21"/>
                <a:gd name="T4" fmla="*/ 24 w 28"/>
                <a:gd name="T5" fmla="*/ 15 h 21"/>
                <a:gd name="T6" fmla="*/ 22 w 28"/>
                <a:gd name="T7" fmla="*/ 6 h 21"/>
                <a:gd name="T8" fmla="*/ 10 w 28"/>
                <a:gd name="T9" fmla="*/ 2 h 21"/>
                <a:gd name="T10" fmla="*/ 5 w 28"/>
                <a:gd name="T11" fmla="*/ 6 h 21"/>
              </a:gdLst>
              <a:ahLst/>
              <a:cxnLst>
                <a:cxn ang="0">
                  <a:pos x="T0" y="T1"/>
                </a:cxn>
                <a:cxn ang="0">
                  <a:pos x="T2" y="T3"/>
                </a:cxn>
                <a:cxn ang="0">
                  <a:pos x="T4" y="T5"/>
                </a:cxn>
                <a:cxn ang="0">
                  <a:pos x="T6" y="T7"/>
                </a:cxn>
                <a:cxn ang="0">
                  <a:pos x="T8" y="T9"/>
                </a:cxn>
                <a:cxn ang="0">
                  <a:pos x="T10" y="T11"/>
                </a:cxn>
              </a:cxnLst>
              <a:rect l="0" t="0" r="r" b="b"/>
              <a:pathLst>
                <a:path w="28" h="21">
                  <a:moveTo>
                    <a:pt x="5" y="6"/>
                  </a:moveTo>
                  <a:cubicBezTo>
                    <a:pt x="5" y="11"/>
                    <a:pt x="0" y="13"/>
                    <a:pt x="10" y="15"/>
                  </a:cubicBezTo>
                  <a:cubicBezTo>
                    <a:pt x="21" y="18"/>
                    <a:pt x="23" y="21"/>
                    <a:pt x="24" y="15"/>
                  </a:cubicBezTo>
                  <a:cubicBezTo>
                    <a:pt x="26" y="9"/>
                    <a:pt x="28" y="9"/>
                    <a:pt x="22" y="6"/>
                  </a:cubicBezTo>
                  <a:cubicBezTo>
                    <a:pt x="17" y="3"/>
                    <a:pt x="14" y="0"/>
                    <a:pt x="10" y="2"/>
                  </a:cubicBezTo>
                  <a:cubicBezTo>
                    <a:pt x="7" y="4"/>
                    <a:pt x="3" y="4"/>
                    <a:pt x="5"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27" name="Freeform 1005">
              <a:extLst>
                <a:ext uri="{FF2B5EF4-FFF2-40B4-BE49-F238E27FC236}">
                  <a16:creationId xmlns:a16="http://schemas.microsoft.com/office/drawing/2014/main" id="{D7B7EE18-0FBA-504C-8B0A-7DA4E8666348}"/>
                </a:ext>
              </a:extLst>
            </p:cNvPr>
            <p:cNvSpPr>
              <a:spLocks/>
            </p:cNvSpPr>
            <p:nvPr/>
          </p:nvSpPr>
          <p:spPr bwMode="auto">
            <a:xfrm>
              <a:off x="2660659" y="994231"/>
              <a:ext cx="15875" cy="14288"/>
            </a:xfrm>
            <a:custGeom>
              <a:avLst/>
              <a:gdLst>
                <a:gd name="T0" fmla="*/ 1 w 17"/>
                <a:gd name="T1" fmla="*/ 4 h 14"/>
                <a:gd name="T2" fmla="*/ 7 w 17"/>
                <a:gd name="T3" fmla="*/ 10 h 14"/>
                <a:gd name="T4" fmla="*/ 15 w 17"/>
                <a:gd name="T5" fmla="*/ 10 h 14"/>
                <a:gd name="T6" fmla="*/ 12 w 17"/>
                <a:gd name="T7" fmla="*/ 4 h 14"/>
                <a:gd name="T8" fmla="*/ 1 w 17"/>
                <a:gd name="T9" fmla="*/ 0 h 14"/>
                <a:gd name="T10" fmla="*/ 1 w 17"/>
                <a:gd name="T11" fmla="*/ 4 h 14"/>
              </a:gdLst>
              <a:ahLst/>
              <a:cxnLst>
                <a:cxn ang="0">
                  <a:pos x="T0" y="T1"/>
                </a:cxn>
                <a:cxn ang="0">
                  <a:pos x="T2" y="T3"/>
                </a:cxn>
                <a:cxn ang="0">
                  <a:pos x="T4" y="T5"/>
                </a:cxn>
                <a:cxn ang="0">
                  <a:pos x="T6" y="T7"/>
                </a:cxn>
                <a:cxn ang="0">
                  <a:pos x="T8" y="T9"/>
                </a:cxn>
                <a:cxn ang="0">
                  <a:pos x="T10" y="T11"/>
                </a:cxn>
              </a:cxnLst>
              <a:rect l="0" t="0" r="r" b="b"/>
              <a:pathLst>
                <a:path w="17" h="14">
                  <a:moveTo>
                    <a:pt x="1" y="4"/>
                  </a:moveTo>
                  <a:cubicBezTo>
                    <a:pt x="2" y="7"/>
                    <a:pt x="1" y="10"/>
                    <a:pt x="7" y="10"/>
                  </a:cubicBezTo>
                  <a:cubicBezTo>
                    <a:pt x="13" y="11"/>
                    <a:pt x="15" y="14"/>
                    <a:pt x="15" y="10"/>
                  </a:cubicBezTo>
                  <a:cubicBezTo>
                    <a:pt x="15" y="7"/>
                    <a:pt x="17" y="6"/>
                    <a:pt x="12" y="4"/>
                  </a:cubicBezTo>
                  <a:cubicBezTo>
                    <a:pt x="7" y="1"/>
                    <a:pt x="1" y="0"/>
                    <a:pt x="1" y="0"/>
                  </a:cubicBezTo>
                  <a:cubicBezTo>
                    <a:pt x="1" y="0"/>
                    <a:pt x="0" y="1"/>
                    <a:pt x="1"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28" name="Freeform 1006">
              <a:extLst>
                <a:ext uri="{FF2B5EF4-FFF2-40B4-BE49-F238E27FC236}">
                  <a16:creationId xmlns:a16="http://schemas.microsoft.com/office/drawing/2014/main" id="{612B726C-9756-4D43-BA76-D06A13CD2957}"/>
                </a:ext>
              </a:extLst>
            </p:cNvPr>
            <p:cNvSpPr>
              <a:spLocks/>
            </p:cNvSpPr>
            <p:nvPr/>
          </p:nvSpPr>
          <p:spPr bwMode="auto">
            <a:xfrm>
              <a:off x="2724159" y="889455"/>
              <a:ext cx="57150" cy="28575"/>
            </a:xfrm>
            <a:custGeom>
              <a:avLst/>
              <a:gdLst>
                <a:gd name="T0" fmla="*/ 28 w 59"/>
                <a:gd name="T1" fmla="*/ 3 h 30"/>
                <a:gd name="T2" fmla="*/ 9 w 59"/>
                <a:gd name="T3" fmla="*/ 12 h 30"/>
                <a:gd name="T4" fmla="*/ 3 w 59"/>
                <a:gd name="T5" fmla="*/ 19 h 30"/>
                <a:gd name="T6" fmla="*/ 12 w 59"/>
                <a:gd name="T7" fmla="*/ 29 h 30"/>
                <a:gd name="T8" fmla="*/ 30 w 59"/>
                <a:gd name="T9" fmla="*/ 26 h 30"/>
                <a:gd name="T10" fmla="*/ 42 w 59"/>
                <a:gd name="T11" fmla="*/ 20 h 30"/>
                <a:gd name="T12" fmla="*/ 52 w 59"/>
                <a:gd name="T13" fmla="*/ 12 h 30"/>
                <a:gd name="T14" fmla="*/ 54 w 59"/>
                <a:gd name="T15" fmla="*/ 3 h 30"/>
                <a:gd name="T16" fmla="*/ 40 w 59"/>
                <a:gd name="T17" fmla="*/ 1 h 30"/>
                <a:gd name="T18" fmla="*/ 29 w 59"/>
                <a:gd name="T19" fmla="*/ 3 h 30"/>
                <a:gd name="T20" fmla="*/ 28 w 59"/>
                <a:gd name="T21" fmla="*/ 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30">
                  <a:moveTo>
                    <a:pt x="28" y="3"/>
                  </a:moveTo>
                  <a:cubicBezTo>
                    <a:pt x="17" y="7"/>
                    <a:pt x="14" y="8"/>
                    <a:pt x="9" y="12"/>
                  </a:cubicBezTo>
                  <a:cubicBezTo>
                    <a:pt x="5" y="15"/>
                    <a:pt x="0" y="11"/>
                    <a:pt x="3" y="19"/>
                  </a:cubicBezTo>
                  <a:cubicBezTo>
                    <a:pt x="6" y="27"/>
                    <a:pt x="4" y="30"/>
                    <a:pt x="12" y="29"/>
                  </a:cubicBezTo>
                  <a:cubicBezTo>
                    <a:pt x="19" y="29"/>
                    <a:pt x="22" y="28"/>
                    <a:pt x="30" y="26"/>
                  </a:cubicBezTo>
                  <a:cubicBezTo>
                    <a:pt x="37" y="23"/>
                    <a:pt x="37" y="25"/>
                    <a:pt x="42" y="20"/>
                  </a:cubicBezTo>
                  <a:cubicBezTo>
                    <a:pt x="48" y="16"/>
                    <a:pt x="49" y="15"/>
                    <a:pt x="52" y="12"/>
                  </a:cubicBezTo>
                  <a:cubicBezTo>
                    <a:pt x="56" y="8"/>
                    <a:pt x="59" y="4"/>
                    <a:pt x="54" y="3"/>
                  </a:cubicBezTo>
                  <a:cubicBezTo>
                    <a:pt x="48" y="2"/>
                    <a:pt x="47" y="0"/>
                    <a:pt x="40" y="1"/>
                  </a:cubicBezTo>
                  <a:cubicBezTo>
                    <a:pt x="33" y="3"/>
                    <a:pt x="29" y="3"/>
                    <a:pt x="29" y="3"/>
                  </a:cubicBezTo>
                  <a:lnTo>
                    <a:pt x="28" y="3"/>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29" name="Freeform 1007">
              <a:extLst>
                <a:ext uri="{FF2B5EF4-FFF2-40B4-BE49-F238E27FC236}">
                  <a16:creationId xmlns:a16="http://schemas.microsoft.com/office/drawing/2014/main" id="{86788564-C0F6-5F49-8A2E-182C7FE16CB3}"/>
                </a:ext>
              </a:extLst>
            </p:cNvPr>
            <p:cNvSpPr>
              <a:spLocks/>
            </p:cNvSpPr>
            <p:nvPr/>
          </p:nvSpPr>
          <p:spPr bwMode="auto">
            <a:xfrm>
              <a:off x="2489208" y="1168856"/>
              <a:ext cx="41275" cy="25400"/>
            </a:xfrm>
            <a:custGeom>
              <a:avLst/>
              <a:gdLst>
                <a:gd name="T0" fmla="*/ 18 w 44"/>
                <a:gd name="T1" fmla="*/ 4 h 26"/>
                <a:gd name="T2" fmla="*/ 6 w 44"/>
                <a:gd name="T3" fmla="*/ 9 h 26"/>
                <a:gd name="T4" fmla="*/ 2 w 44"/>
                <a:gd name="T5" fmla="*/ 18 h 26"/>
                <a:gd name="T6" fmla="*/ 4 w 44"/>
                <a:gd name="T7" fmla="*/ 23 h 26"/>
                <a:gd name="T8" fmla="*/ 10 w 44"/>
                <a:gd name="T9" fmla="*/ 20 h 26"/>
                <a:gd name="T10" fmla="*/ 18 w 44"/>
                <a:gd name="T11" fmla="*/ 22 h 26"/>
                <a:gd name="T12" fmla="*/ 25 w 44"/>
                <a:gd name="T13" fmla="*/ 19 h 26"/>
                <a:gd name="T14" fmla="*/ 30 w 44"/>
                <a:gd name="T15" fmla="*/ 12 h 26"/>
                <a:gd name="T16" fmla="*/ 36 w 44"/>
                <a:gd name="T17" fmla="*/ 6 h 26"/>
                <a:gd name="T18" fmla="*/ 23 w 44"/>
                <a:gd name="T19" fmla="*/ 1 h 26"/>
                <a:gd name="T20" fmla="*/ 18 w 44"/>
                <a:gd name="T21"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26">
                  <a:moveTo>
                    <a:pt x="18" y="4"/>
                  </a:moveTo>
                  <a:cubicBezTo>
                    <a:pt x="12" y="7"/>
                    <a:pt x="8" y="5"/>
                    <a:pt x="6" y="9"/>
                  </a:cubicBezTo>
                  <a:cubicBezTo>
                    <a:pt x="4" y="14"/>
                    <a:pt x="2" y="16"/>
                    <a:pt x="2" y="18"/>
                  </a:cubicBezTo>
                  <a:cubicBezTo>
                    <a:pt x="1" y="20"/>
                    <a:pt x="0" y="26"/>
                    <a:pt x="4" y="23"/>
                  </a:cubicBezTo>
                  <a:cubicBezTo>
                    <a:pt x="7" y="21"/>
                    <a:pt x="6" y="20"/>
                    <a:pt x="10" y="20"/>
                  </a:cubicBezTo>
                  <a:cubicBezTo>
                    <a:pt x="15" y="21"/>
                    <a:pt x="15" y="20"/>
                    <a:pt x="18" y="22"/>
                  </a:cubicBezTo>
                  <a:cubicBezTo>
                    <a:pt x="21" y="23"/>
                    <a:pt x="24" y="23"/>
                    <a:pt x="25" y="19"/>
                  </a:cubicBezTo>
                  <a:cubicBezTo>
                    <a:pt x="26" y="14"/>
                    <a:pt x="27" y="14"/>
                    <a:pt x="30" y="12"/>
                  </a:cubicBezTo>
                  <a:cubicBezTo>
                    <a:pt x="33" y="10"/>
                    <a:pt x="44" y="6"/>
                    <a:pt x="36" y="6"/>
                  </a:cubicBezTo>
                  <a:cubicBezTo>
                    <a:pt x="28" y="5"/>
                    <a:pt x="27" y="1"/>
                    <a:pt x="23" y="1"/>
                  </a:cubicBezTo>
                  <a:cubicBezTo>
                    <a:pt x="19" y="0"/>
                    <a:pt x="25" y="3"/>
                    <a:pt x="18"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30" name="Freeform 1008">
              <a:extLst>
                <a:ext uri="{FF2B5EF4-FFF2-40B4-BE49-F238E27FC236}">
                  <a16:creationId xmlns:a16="http://schemas.microsoft.com/office/drawing/2014/main" id="{DA4CB80E-C471-5649-A410-9ECF4245066E}"/>
                </a:ext>
              </a:extLst>
            </p:cNvPr>
            <p:cNvSpPr>
              <a:spLocks/>
            </p:cNvSpPr>
            <p:nvPr/>
          </p:nvSpPr>
          <p:spPr bwMode="auto">
            <a:xfrm>
              <a:off x="2692409" y="686255"/>
              <a:ext cx="36513" cy="17463"/>
            </a:xfrm>
            <a:custGeom>
              <a:avLst/>
              <a:gdLst>
                <a:gd name="T0" fmla="*/ 18 w 39"/>
                <a:gd name="T1" fmla="*/ 4 h 17"/>
                <a:gd name="T2" fmla="*/ 11 w 39"/>
                <a:gd name="T3" fmla="*/ 10 h 17"/>
                <a:gd name="T4" fmla="*/ 9 w 39"/>
                <a:gd name="T5" fmla="*/ 15 h 17"/>
                <a:gd name="T6" fmla="*/ 24 w 39"/>
                <a:gd name="T7" fmla="*/ 11 h 17"/>
                <a:gd name="T8" fmla="*/ 35 w 39"/>
                <a:gd name="T9" fmla="*/ 6 h 17"/>
                <a:gd name="T10" fmla="*/ 18 w 39"/>
                <a:gd name="T11" fmla="*/ 4 h 17"/>
              </a:gdLst>
              <a:ahLst/>
              <a:cxnLst>
                <a:cxn ang="0">
                  <a:pos x="T0" y="T1"/>
                </a:cxn>
                <a:cxn ang="0">
                  <a:pos x="T2" y="T3"/>
                </a:cxn>
                <a:cxn ang="0">
                  <a:pos x="T4" y="T5"/>
                </a:cxn>
                <a:cxn ang="0">
                  <a:pos x="T6" y="T7"/>
                </a:cxn>
                <a:cxn ang="0">
                  <a:pos x="T8" y="T9"/>
                </a:cxn>
                <a:cxn ang="0">
                  <a:pos x="T10" y="T11"/>
                </a:cxn>
              </a:cxnLst>
              <a:rect l="0" t="0" r="r" b="b"/>
              <a:pathLst>
                <a:path w="39" h="17">
                  <a:moveTo>
                    <a:pt x="18" y="4"/>
                  </a:moveTo>
                  <a:cubicBezTo>
                    <a:pt x="15" y="5"/>
                    <a:pt x="12" y="8"/>
                    <a:pt x="11" y="10"/>
                  </a:cubicBezTo>
                  <a:cubicBezTo>
                    <a:pt x="10" y="11"/>
                    <a:pt x="0" y="13"/>
                    <a:pt x="9" y="15"/>
                  </a:cubicBezTo>
                  <a:cubicBezTo>
                    <a:pt x="18" y="17"/>
                    <a:pt x="17" y="11"/>
                    <a:pt x="24" y="11"/>
                  </a:cubicBezTo>
                  <a:cubicBezTo>
                    <a:pt x="30" y="11"/>
                    <a:pt x="39" y="9"/>
                    <a:pt x="35" y="6"/>
                  </a:cubicBezTo>
                  <a:cubicBezTo>
                    <a:pt x="30" y="3"/>
                    <a:pt x="19" y="0"/>
                    <a:pt x="18"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31" name="Freeform 1009">
              <a:extLst>
                <a:ext uri="{FF2B5EF4-FFF2-40B4-BE49-F238E27FC236}">
                  <a16:creationId xmlns:a16="http://schemas.microsoft.com/office/drawing/2014/main" id="{789FBE2C-73EB-E744-845D-B0D375FA32B3}"/>
                </a:ext>
              </a:extLst>
            </p:cNvPr>
            <p:cNvSpPr>
              <a:spLocks/>
            </p:cNvSpPr>
            <p:nvPr/>
          </p:nvSpPr>
          <p:spPr bwMode="auto">
            <a:xfrm>
              <a:off x="2630496" y="638630"/>
              <a:ext cx="28575" cy="15875"/>
            </a:xfrm>
            <a:custGeom>
              <a:avLst/>
              <a:gdLst>
                <a:gd name="T0" fmla="*/ 10 w 30"/>
                <a:gd name="T1" fmla="*/ 3 h 17"/>
                <a:gd name="T2" fmla="*/ 4 w 30"/>
                <a:gd name="T3" fmla="*/ 11 h 17"/>
                <a:gd name="T4" fmla="*/ 13 w 30"/>
                <a:gd name="T5" fmla="*/ 14 h 17"/>
                <a:gd name="T6" fmla="*/ 23 w 30"/>
                <a:gd name="T7" fmla="*/ 14 h 17"/>
                <a:gd name="T8" fmla="*/ 25 w 30"/>
                <a:gd name="T9" fmla="*/ 5 h 17"/>
                <a:gd name="T10" fmla="*/ 15 w 30"/>
                <a:gd name="T11" fmla="*/ 1 h 17"/>
                <a:gd name="T12" fmla="*/ 10 w 30"/>
                <a:gd name="T13" fmla="*/ 3 h 17"/>
              </a:gdLst>
              <a:ahLst/>
              <a:cxnLst>
                <a:cxn ang="0">
                  <a:pos x="T0" y="T1"/>
                </a:cxn>
                <a:cxn ang="0">
                  <a:pos x="T2" y="T3"/>
                </a:cxn>
                <a:cxn ang="0">
                  <a:pos x="T4" y="T5"/>
                </a:cxn>
                <a:cxn ang="0">
                  <a:pos x="T6" y="T7"/>
                </a:cxn>
                <a:cxn ang="0">
                  <a:pos x="T8" y="T9"/>
                </a:cxn>
                <a:cxn ang="0">
                  <a:pos x="T10" y="T11"/>
                </a:cxn>
                <a:cxn ang="0">
                  <a:pos x="T12" y="T13"/>
                </a:cxn>
              </a:cxnLst>
              <a:rect l="0" t="0" r="r" b="b"/>
              <a:pathLst>
                <a:path w="30" h="17">
                  <a:moveTo>
                    <a:pt x="10" y="3"/>
                  </a:moveTo>
                  <a:cubicBezTo>
                    <a:pt x="6" y="5"/>
                    <a:pt x="0" y="8"/>
                    <a:pt x="4" y="11"/>
                  </a:cubicBezTo>
                  <a:cubicBezTo>
                    <a:pt x="9" y="13"/>
                    <a:pt x="9" y="10"/>
                    <a:pt x="13" y="14"/>
                  </a:cubicBezTo>
                  <a:cubicBezTo>
                    <a:pt x="18" y="17"/>
                    <a:pt x="17" y="17"/>
                    <a:pt x="23" y="14"/>
                  </a:cubicBezTo>
                  <a:cubicBezTo>
                    <a:pt x="29" y="10"/>
                    <a:pt x="30" y="7"/>
                    <a:pt x="25" y="5"/>
                  </a:cubicBezTo>
                  <a:cubicBezTo>
                    <a:pt x="19" y="3"/>
                    <a:pt x="17" y="0"/>
                    <a:pt x="15" y="1"/>
                  </a:cubicBezTo>
                  <a:cubicBezTo>
                    <a:pt x="14" y="2"/>
                    <a:pt x="10" y="1"/>
                    <a:pt x="10"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32" name="Freeform 1010">
              <a:extLst>
                <a:ext uri="{FF2B5EF4-FFF2-40B4-BE49-F238E27FC236}">
                  <a16:creationId xmlns:a16="http://schemas.microsoft.com/office/drawing/2014/main" id="{82E85C18-C69A-4D47-922D-B73F10E0133C}"/>
                </a:ext>
              </a:extLst>
            </p:cNvPr>
            <p:cNvSpPr>
              <a:spLocks/>
            </p:cNvSpPr>
            <p:nvPr/>
          </p:nvSpPr>
          <p:spPr bwMode="auto">
            <a:xfrm>
              <a:off x="2711459" y="854530"/>
              <a:ext cx="39688" cy="25400"/>
            </a:xfrm>
            <a:custGeom>
              <a:avLst/>
              <a:gdLst>
                <a:gd name="T0" fmla="*/ 27 w 41"/>
                <a:gd name="T1" fmla="*/ 9 h 27"/>
                <a:gd name="T2" fmla="*/ 17 w 41"/>
                <a:gd name="T3" fmla="*/ 17 h 27"/>
                <a:gd name="T4" fmla="*/ 4 w 41"/>
                <a:gd name="T5" fmla="*/ 24 h 27"/>
                <a:gd name="T6" fmla="*/ 23 w 41"/>
                <a:gd name="T7" fmla="*/ 24 h 27"/>
                <a:gd name="T8" fmla="*/ 33 w 41"/>
                <a:gd name="T9" fmla="*/ 16 h 27"/>
                <a:gd name="T10" fmla="*/ 37 w 41"/>
                <a:gd name="T11" fmla="*/ 7 h 27"/>
                <a:gd name="T12" fmla="*/ 33 w 41"/>
                <a:gd name="T13" fmla="*/ 4 h 27"/>
                <a:gd name="T14" fmla="*/ 27 w 41"/>
                <a:gd name="T15" fmla="*/ 9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27">
                  <a:moveTo>
                    <a:pt x="27" y="9"/>
                  </a:moveTo>
                  <a:cubicBezTo>
                    <a:pt x="26" y="14"/>
                    <a:pt x="25" y="15"/>
                    <a:pt x="17" y="17"/>
                  </a:cubicBezTo>
                  <a:cubicBezTo>
                    <a:pt x="10" y="20"/>
                    <a:pt x="0" y="21"/>
                    <a:pt x="4" y="24"/>
                  </a:cubicBezTo>
                  <a:cubicBezTo>
                    <a:pt x="8" y="27"/>
                    <a:pt x="18" y="27"/>
                    <a:pt x="23" y="24"/>
                  </a:cubicBezTo>
                  <a:cubicBezTo>
                    <a:pt x="28" y="21"/>
                    <a:pt x="30" y="21"/>
                    <a:pt x="33" y="16"/>
                  </a:cubicBezTo>
                  <a:cubicBezTo>
                    <a:pt x="37" y="10"/>
                    <a:pt x="34" y="7"/>
                    <a:pt x="37" y="7"/>
                  </a:cubicBezTo>
                  <a:cubicBezTo>
                    <a:pt x="41" y="6"/>
                    <a:pt x="37" y="0"/>
                    <a:pt x="33" y="4"/>
                  </a:cubicBezTo>
                  <a:cubicBezTo>
                    <a:pt x="29" y="8"/>
                    <a:pt x="26" y="4"/>
                    <a:pt x="27" y="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33" name="Freeform 1011">
              <a:extLst>
                <a:ext uri="{FF2B5EF4-FFF2-40B4-BE49-F238E27FC236}">
                  <a16:creationId xmlns:a16="http://schemas.microsoft.com/office/drawing/2014/main" id="{E7D635B9-8348-9443-B87A-F905006D06C8}"/>
                </a:ext>
              </a:extLst>
            </p:cNvPr>
            <p:cNvSpPr>
              <a:spLocks/>
            </p:cNvSpPr>
            <p:nvPr/>
          </p:nvSpPr>
          <p:spPr bwMode="auto">
            <a:xfrm>
              <a:off x="2779722" y="892630"/>
              <a:ext cx="30163" cy="11113"/>
            </a:xfrm>
            <a:custGeom>
              <a:avLst/>
              <a:gdLst>
                <a:gd name="T0" fmla="*/ 1 w 31"/>
                <a:gd name="T1" fmla="*/ 5 h 12"/>
                <a:gd name="T2" fmla="*/ 11 w 31"/>
                <a:gd name="T3" fmla="*/ 10 h 12"/>
                <a:gd name="T4" fmla="*/ 25 w 31"/>
                <a:gd name="T5" fmla="*/ 10 h 12"/>
                <a:gd name="T6" fmla="*/ 25 w 31"/>
                <a:gd name="T7" fmla="*/ 4 h 12"/>
                <a:gd name="T8" fmla="*/ 15 w 31"/>
                <a:gd name="T9" fmla="*/ 0 h 12"/>
                <a:gd name="T10" fmla="*/ 4 w 31"/>
                <a:gd name="T11" fmla="*/ 3 h 12"/>
                <a:gd name="T12" fmla="*/ 1 w 31"/>
                <a:gd name="T13" fmla="*/ 5 h 12"/>
              </a:gdLst>
              <a:ahLst/>
              <a:cxnLst>
                <a:cxn ang="0">
                  <a:pos x="T0" y="T1"/>
                </a:cxn>
                <a:cxn ang="0">
                  <a:pos x="T2" y="T3"/>
                </a:cxn>
                <a:cxn ang="0">
                  <a:pos x="T4" y="T5"/>
                </a:cxn>
                <a:cxn ang="0">
                  <a:pos x="T6" y="T7"/>
                </a:cxn>
                <a:cxn ang="0">
                  <a:pos x="T8" y="T9"/>
                </a:cxn>
                <a:cxn ang="0">
                  <a:pos x="T10" y="T11"/>
                </a:cxn>
                <a:cxn ang="0">
                  <a:pos x="T12" y="T13"/>
                </a:cxn>
              </a:cxnLst>
              <a:rect l="0" t="0" r="r" b="b"/>
              <a:pathLst>
                <a:path w="31" h="12">
                  <a:moveTo>
                    <a:pt x="1" y="5"/>
                  </a:moveTo>
                  <a:cubicBezTo>
                    <a:pt x="3" y="8"/>
                    <a:pt x="3" y="9"/>
                    <a:pt x="11" y="10"/>
                  </a:cubicBezTo>
                  <a:cubicBezTo>
                    <a:pt x="19" y="11"/>
                    <a:pt x="23" y="12"/>
                    <a:pt x="25" y="10"/>
                  </a:cubicBezTo>
                  <a:cubicBezTo>
                    <a:pt x="26" y="8"/>
                    <a:pt x="31" y="5"/>
                    <a:pt x="25" y="4"/>
                  </a:cubicBezTo>
                  <a:cubicBezTo>
                    <a:pt x="18" y="2"/>
                    <a:pt x="20" y="0"/>
                    <a:pt x="15" y="0"/>
                  </a:cubicBezTo>
                  <a:cubicBezTo>
                    <a:pt x="9" y="0"/>
                    <a:pt x="5" y="1"/>
                    <a:pt x="4" y="3"/>
                  </a:cubicBezTo>
                  <a:cubicBezTo>
                    <a:pt x="3" y="4"/>
                    <a:pt x="0" y="3"/>
                    <a:pt x="1"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34" name="Freeform 1012">
              <a:extLst>
                <a:ext uri="{FF2B5EF4-FFF2-40B4-BE49-F238E27FC236}">
                  <a16:creationId xmlns:a16="http://schemas.microsoft.com/office/drawing/2014/main" id="{2FFA9912-F7F5-8848-A237-997D94BC6FDB}"/>
                </a:ext>
              </a:extLst>
            </p:cNvPr>
            <p:cNvSpPr>
              <a:spLocks/>
            </p:cNvSpPr>
            <p:nvPr/>
          </p:nvSpPr>
          <p:spPr bwMode="auto">
            <a:xfrm>
              <a:off x="2776547" y="1068843"/>
              <a:ext cx="15875" cy="12700"/>
            </a:xfrm>
            <a:custGeom>
              <a:avLst/>
              <a:gdLst>
                <a:gd name="T0" fmla="*/ 4 w 17"/>
                <a:gd name="T1" fmla="*/ 7 h 14"/>
                <a:gd name="T2" fmla="*/ 4 w 17"/>
                <a:gd name="T3" fmla="*/ 12 h 14"/>
                <a:gd name="T4" fmla="*/ 12 w 17"/>
                <a:gd name="T5" fmla="*/ 11 h 14"/>
                <a:gd name="T6" fmla="*/ 17 w 17"/>
                <a:gd name="T7" fmla="*/ 6 h 14"/>
                <a:gd name="T8" fmla="*/ 11 w 17"/>
                <a:gd name="T9" fmla="*/ 2 h 14"/>
                <a:gd name="T10" fmla="*/ 4 w 17"/>
                <a:gd name="T11" fmla="*/ 7 h 14"/>
              </a:gdLst>
              <a:ahLst/>
              <a:cxnLst>
                <a:cxn ang="0">
                  <a:pos x="T0" y="T1"/>
                </a:cxn>
                <a:cxn ang="0">
                  <a:pos x="T2" y="T3"/>
                </a:cxn>
                <a:cxn ang="0">
                  <a:pos x="T4" y="T5"/>
                </a:cxn>
                <a:cxn ang="0">
                  <a:pos x="T6" y="T7"/>
                </a:cxn>
                <a:cxn ang="0">
                  <a:pos x="T8" y="T9"/>
                </a:cxn>
                <a:cxn ang="0">
                  <a:pos x="T10" y="T11"/>
                </a:cxn>
              </a:cxnLst>
              <a:rect l="0" t="0" r="r" b="b"/>
              <a:pathLst>
                <a:path w="17" h="14">
                  <a:moveTo>
                    <a:pt x="4" y="7"/>
                  </a:moveTo>
                  <a:cubicBezTo>
                    <a:pt x="3" y="9"/>
                    <a:pt x="0" y="12"/>
                    <a:pt x="4" y="12"/>
                  </a:cubicBezTo>
                  <a:cubicBezTo>
                    <a:pt x="7" y="13"/>
                    <a:pt x="9" y="14"/>
                    <a:pt x="12" y="11"/>
                  </a:cubicBezTo>
                  <a:cubicBezTo>
                    <a:pt x="15" y="9"/>
                    <a:pt x="17" y="9"/>
                    <a:pt x="17" y="6"/>
                  </a:cubicBezTo>
                  <a:cubicBezTo>
                    <a:pt x="16" y="3"/>
                    <a:pt x="14" y="0"/>
                    <a:pt x="11" y="2"/>
                  </a:cubicBezTo>
                  <a:cubicBezTo>
                    <a:pt x="8" y="4"/>
                    <a:pt x="3" y="6"/>
                    <a:pt x="4" y="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35" name="Freeform 1013">
              <a:extLst>
                <a:ext uri="{FF2B5EF4-FFF2-40B4-BE49-F238E27FC236}">
                  <a16:creationId xmlns:a16="http://schemas.microsoft.com/office/drawing/2014/main" id="{C33A2D6C-B835-6945-83AF-DD6387476F52}"/>
                </a:ext>
              </a:extLst>
            </p:cNvPr>
            <p:cNvSpPr>
              <a:spLocks/>
            </p:cNvSpPr>
            <p:nvPr/>
          </p:nvSpPr>
          <p:spPr bwMode="auto">
            <a:xfrm>
              <a:off x="2854334" y="1038681"/>
              <a:ext cx="17463" cy="15875"/>
            </a:xfrm>
            <a:custGeom>
              <a:avLst/>
              <a:gdLst>
                <a:gd name="T0" fmla="*/ 1 w 18"/>
                <a:gd name="T1" fmla="*/ 8 h 17"/>
                <a:gd name="T2" fmla="*/ 3 w 18"/>
                <a:gd name="T3" fmla="*/ 12 h 17"/>
                <a:gd name="T4" fmla="*/ 10 w 18"/>
                <a:gd name="T5" fmla="*/ 15 h 17"/>
                <a:gd name="T6" fmla="*/ 16 w 18"/>
                <a:gd name="T7" fmla="*/ 10 h 17"/>
                <a:gd name="T8" fmla="*/ 12 w 18"/>
                <a:gd name="T9" fmla="*/ 6 h 17"/>
                <a:gd name="T10" fmla="*/ 10 w 18"/>
                <a:gd name="T11" fmla="*/ 3 h 17"/>
                <a:gd name="T12" fmla="*/ 4 w 18"/>
                <a:gd name="T13" fmla="*/ 6 h 17"/>
                <a:gd name="T14" fmla="*/ 1 w 18"/>
                <a:gd name="T15" fmla="*/ 8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7">
                  <a:moveTo>
                    <a:pt x="1" y="8"/>
                  </a:moveTo>
                  <a:cubicBezTo>
                    <a:pt x="1" y="9"/>
                    <a:pt x="0" y="10"/>
                    <a:pt x="3" y="12"/>
                  </a:cubicBezTo>
                  <a:cubicBezTo>
                    <a:pt x="5" y="14"/>
                    <a:pt x="7" y="17"/>
                    <a:pt x="10" y="15"/>
                  </a:cubicBezTo>
                  <a:cubicBezTo>
                    <a:pt x="13" y="12"/>
                    <a:pt x="18" y="11"/>
                    <a:pt x="16" y="10"/>
                  </a:cubicBezTo>
                  <a:cubicBezTo>
                    <a:pt x="13" y="8"/>
                    <a:pt x="12" y="8"/>
                    <a:pt x="12" y="6"/>
                  </a:cubicBezTo>
                  <a:cubicBezTo>
                    <a:pt x="13" y="5"/>
                    <a:pt x="10" y="0"/>
                    <a:pt x="10" y="3"/>
                  </a:cubicBezTo>
                  <a:cubicBezTo>
                    <a:pt x="9" y="5"/>
                    <a:pt x="6" y="6"/>
                    <a:pt x="4" y="6"/>
                  </a:cubicBezTo>
                  <a:cubicBezTo>
                    <a:pt x="3" y="6"/>
                    <a:pt x="1" y="5"/>
                    <a:pt x="1" y="8"/>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36" name="Freeform 1014">
              <a:extLst>
                <a:ext uri="{FF2B5EF4-FFF2-40B4-BE49-F238E27FC236}">
                  <a16:creationId xmlns:a16="http://schemas.microsoft.com/office/drawing/2014/main" id="{E7A90F2A-5A94-394D-A058-C89DED086285}"/>
                </a:ext>
              </a:extLst>
            </p:cNvPr>
            <p:cNvSpPr>
              <a:spLocks/>
            </p:cNvSpPr>
            <p:nvPr/>
          </p:nvSpPr>
          <p:spPr bwMode="auto">
            <a:xfrm>
              <a:off x="2757496" y="864055"/>
              <a:ext cx="14288" cy="7938"/>
            </a:xfrm>
            <a:custGeom>
              <a:avLst/>
              <a:gdLst>
                <a:gd name="T0" fmla="*/ 4 w 16"/>
                <a:gd name="T1" fmla="*/ 1 h 9"/>
                <a:gd name="T2" fmla="*/ 1 w 16"/>
                <a:gd name="T3" fmla="*/ 6 h 9"/>
                <a:gd name="T4" fmla="*/ 7 w 16"/>
                <a:gd name="T5" fmla="*/ 8 h 9"/>
                <a:gd name="T6" fmla="*/ 14 w 16"/>
                <a:gd name="T7" fmla="*/ 5 h 9"/>
                <a:gd name="T8" fmla="*/ 12 w 16"/>
                <a:gd name="T9" fmla="*/ 1 h 9"/>
                <a:gd name="T10" fmla="*/ 4 w 16"/>
                <a:gd name="T11" fmla="*/ 1 h 9"/>
              </a:gdLst>
              <a:ahLst/>
              <a:cxnLst>
                <a:cxn ang="0">
                  <a:pos x="T0" y="T1"/>
                </a:cxn>
                <a:cxn ang="0">
                  <a:pos x="T2" y="T3"/>
                </a:cxn>
                <a:cxn ang="0">
                  <a:pos x="T4" y="T5"/>
                </a:cxn>
                <a:cxn ang="0">
                  <a:pos x="T6" y="T7"/>
                </a:cxn>
                <a:cxn ang="0">
                  <a:pos x="T8" y="T9"/>
                </a:cxn>
                <a:cxn ang="0">
                  <a:pos x="T10" y="T11"/>
                </a:cxn>
              </a:cxnLst>
              <a:rect l="0" t="0" r="r" b="b"/>
              <a:pathLst>
                <a:path w="16" h="9">
                  <a:moveTo>
                    <a:pt x="4" y="1"/>
                  </a:moveTo>
                  <a:cubicBezTo>
                    <a:pt x="3" y="2"/>
                    <a:pt x="0" y="4"/>
                    <a:pt x="1" y="6"/>
                  </a:cubicBezTo>
                  <a:cubicBezTo>
                    <a:pt x="2" y="8"/>
                    <a:pt x="4" y="9"/>
                    <a:pt x="7" y="8"/>
                  </a:cubicBezTo>
                  <a:cubicBezTo>
                    <a:pt x="10" y="7"/>
                    <a:pt x="13" y="6"/>
                    <a:pt x="14" y="5"/>
                  </a:cubicBezTo>
                  <a:cubicBezTo>
                    <a:pt x="15" y="3"/>
                    <a:pt x="16" y="2"/>
                    <a:pt x="12" y="1"/>
                  </a:cubicBezTo>
                  <a:cubicBezTo>
                    <a:pt x="8" y="1"/>
                    <a:pt x="4" y="0"/>
                    <a:pt x="4" y="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37" name="Freeform 1015">
              <a:extLst>
                <a:ext uri="{FF2B5EF4-FFF2-40B4-BE49-F238E27FC236}">
                  <a16:creationId xmlns:a16="http://schemas.microsoft.com/office/drawing/2014/main" id="{F0CE5338-0D8B-3F48-882C-4CA536D3A3AA}"/>
                </a:ext>
              </a:extLst>
            </p:cNvPr>
            <p:cNvSpPr>
              <a:spLocks noEditPoints="1"/>
            </p:cNvSpPr>
            <p:nvPr/>
          </p:nvSpPr>
          <p:spPr bwMode="auto">
            <a:xfrm>
              <a:off x="2578108" y="767218"/>
              <a:ext cx="427039" cy="280988"/>
            </a:xfrm>
            <a:custGeom>
              <a:avLst/>
              <a:gdLst>
                <a:gd name="T0" fmla="*/ 175 w 447"/>
                <a:gd name="T1" fmla="*/ 198 h 295"/>
                <a:gd name="T2" fmla="*/ 213 w 447"/>
                <a:gd name="T3" fmla="*/ 171 h 295"/>
                <a:gd name="T4" fmla="*/ 247 w 447"/>
                <a:gd name="T5" fmla="*/ 134 h 295"/>
                <a:gd name="T6" fmla="*/ 196 w 447"/>
                <a:gd name="T7" fmla="*/ 121 h 295"/>
                <a:gd name="T8" fmla="*/ 217 w 447"/>
                <a:gd name="T9" fmla="*/ 98 h 295"/>
                <a:gd name="T10" fmla="*/ 194 w 447"/>
                <a:gd name="T11" fmla="*/ 82 h 295"/>
                <a:gd name="T12" fmla="*/ 149 w 447"/>
                <a:gd name="T13" fmla="*/ 97 h 295"/>
                <a:gd name="T14" fmla="*/ 81 w 447"/>
                <a:gd name="T15" fmla="*/ 86 h 295"/>
                <a:gd name="T16" fmla="*/ 23 w 447"/>
                <a:gd name="T17" fmla="*/ 79 h 295"/>
                <a:gd name="T18" fmla="*/ 42 w 447"/>
                <a:gd name="T19" fmla="*/ 62 h 295"/>
                <a:gd name="T20" fmla="*/ 20 w 447"/>
                <a:gd name="T21" fmla="*/ 36 h 295"/>
                <a:gd name="T22" fmla="*/ 88 w 447"/>
                <a:gd name="T23" fmla="*/ 5 h 295"/>
                <a:gd name="T24" fmla="*/ 141 w 447"/>
                <a:gd name="T25" fmla="*/ 4 h 295"/>
                <a:gd name="T26" fmla="*/ 84 w 447"/>
                <a:gd name="T27" fmla="*/ 36 h 295"/>
                <a:gd name="T28" fmla="*/ 103 w 447"/>
                <a:gd name="T29" fmla="*/ 50 h 295"/>
                <a:gd name="T30" fmla="*/ 115 w 447"/>
                <a:gd name="T31" fmla="*/ 23 h 295"/>
                <a:gd name="T32" fmla="*/ 169 w 447"/>
                <a:gd name="T33" fmla="*/ 4 h 295"/>
                <a:gd name="T34" fmla="*/ 193 w 447"/>
                <a:gd name="T35" fmla="*/ 28 h 295"/>
                <a:gd name="T36" fmla="*/ 223 w 447"/>
                <a:gd name="T37" fmla="*/ 36 h 295"/>
                <a:gd name="T38" fmla="*/ 213 w 447"/>
                <a:gd name="T39" fmla="*/ 7 h 295"/>
                <a:gd name="T40" fmla="*/ 273 w 447"/>
                <a:gd name="T41" fmla="*/ 28 h 295"/>
                <a:gd name="T42" fmla="*/ 305 w 447"/>
                <a:gd name="T43" fmla="*/ 54 h 295"/>
                <a:gd name="T44" fmla="*/ 336 w 447"/>
                <a:gd name="T45" fmla="*/ 75 h 295"/>
                <a:gd name="T46" fmla="*/ 360 w 447"/>
                <a:gd name="T47" fmla="*/ 97 h 295"/>
                <a:gd name="T48" fmla="*/ 341 w 447"/>
                <a:gd name="T49" fmla="*/ 120 h 295"/>
                <a:gd name="T50" fmla="*/ 365 w 447"/>
                <a:gd name="T51" fmla="*/ 131 h 295"/>
                <a:gd name="T52" fmla="*/ 405 w 447"/>
                <a:gd name="T53" fmla="*/ 150 h 295"/>
                <a:gd name="T54" fmla="*/ 439 w 447"/>
                <a:gd name="T55" fmla="*/ 162 h 295"/>
                <a:gd name="T56" fmla="*/ 410 w 447"/>
                <a:gd name="T57" fmla="*/ 186 h 295"/>
                <a:gd name="T58" fmla="*/ 380 w 447"/>
                <a:gd name="T59" fmla="*/ 205 h 295"/>
                <a:gd name="T60" fmla="*/ 353 w 447"/>
                <a:gd name="T61" fmla="*/ 193 h 295"/>
                <a:gd name="T62" fmla="*/ 321 w 447"/>
                <a:gd name="T63" fmla="*/ 180 h 295"/>
                <a:gd name="T64" fmla="*/ 316 w 447"/>
                <a:gd name="T65" fmla="*/ 206 h 295"/>
                <a:gd name="T66" fmla="*/ 336 w 447"/>
                <a:gd name="T67" fmla="*/ 244 h 295"/>
                <a:gd name="T68" fmla="*/ 321 w 447"/>
                <a:gd name="T69" fmla="*/ 252 h 295"/>
                <a:gd name="T70" fmla="*/ 309 w 447"/>
                <a:gd name="T71" fmla="*/ 263 h 295"/>
                <a:gd name="T72" fmla="*/ 286 w 447"/>
                <a:gd name="T73" fmla="*/ 256 h 295"/>
                <a:gd name="T74" fmla="*/ 258 w 447"/>
                <a:gd name="T75" fmla="*/ 240 h 295"/>
                <a:gd name="T76" fmla="*/ 272 w 447"/>
                <a:gd name="T77" fmla="*/ 263 h 295"/>
                <a:gd name="T78" fmla="*/ 274 w 447"/>
                <a:gd name="T79" fmla="*/ 285 h 295"/>
                <a:gd name="T80" fmla="*/ 227 w 447"/>
                <a:gd name="T81" fmla="*/ 271 h 295"/>
                <a:gd name="T82" fmla="*/ 188 w 447"/>
                <a:gd name="T83" fmla="*/ 250 h 295"/>
                <a:gd name="T84" fmla="*/ 187 w 447"/>
                <a:gd name="T85" fmla="*/ 234 h 295"/>
                <a:gd name="T86" fmla="*/ 163 w 447"/>
                <a:gd name="T87" fmla="*/ 218 h 295"/>
                <a:gd name="T88" fmla="*/ 119 w 447"/>
                <a:gd name="T89" fmla="*/ 228 h 295"/>
                <a:gd name="T90" fmla="*/ 92 w 447"/>
                <a:gd name="T91" fmla="*/ 211 h 295"/>
                <a:gd name="T92" fmla="*/ 257 w 447"/>
                <a:gd name="T93" fmla="*/ 165 h 295"/>
                <a:gd name="T94" fmla="*/ 251 w 447"/>
                <a:gd name="T95" fmla="*/ 183 h 295"/>
                <a:gd name="T96" fmla="*/ 282 w 447"/>
                <a:gd name="T97" fmla="*/ 177 h 295"/>
                <a:gd name="T98" fmla="*/ 269 w 447"/>
                <a:gd name="T99" fmla="*/ 16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295">
                  <a:moveTo>
                    <a:pt x="114" y="201"/>
                  </a:moveTo>
                  <a:cubicBezTo>
                    <a:pt x="116" y="200"/>
                    <a:pt x="129" y="204"/>
                    <a:pt x="140" y="204"/>
                  </a:cubicBezTo>
                  <a:cubicBezTo>
                    <a:pt x="151" y="204"/>
                    <a:pt x="152" y="204"/>
                    <a:pt x="175" y="198"/>
                  </a:cubicBezTo>
                  <a:cubicBezTo>
                    <a:pt x="198" y="191"/>
                    <a:pt x="184" y="195"/>
                    <a:pt x="192" y="193"/>
                  </a:cubicBezTo>
                  <a:cubicBezTo>
                    <a:pt x="201" y="191"/>
                    <a:pt x="190" y="184"/>
                    <a:pt x="190" y="176"/>
                  </a:cubicBezTo>
                  <a:cubicBezTo>
                    <a:pt x="190" y="167"/>
                    <a:pt x="201" y="173"/>
                    <a:pt x="213" y="171"/>
                  </a:cubicBezTo>
                  <a:cubicBezTo>
                    <a:pt x="225" y="170"/>
                    <a:pt x="224" y="170"/>
                    <a:pt x="227" y="162"/>
                  </a:cubicBezTo>
                  <a:cubicBezTo>
                    <a:pt x="231" y="154"/>
                    <a:pt x="239" y="157"/>
                    <a:pt x="246" y="151"/>
                  </a:cubicBezTo>
                  <a:cubicBezTo>
                    <a:pt x="254" y="144"/>
                    <a:pt x="248" y="142"/>
                    <a:pt x="247" y="134"/>
                  </a:cubicBezTo>
                  <a:cubicBezTo>
                    <a:pt x="247" y="125"/>
                    <a:pt x="229" y="128"/>
                    <a:pt x="231" y="124"/>
                  </a:cubicBezTo>
                  <a:cubicBezTo>
                    <a:pt x="233" y="120"/>
                    <a:pt x="215" y="126"/>
                    <a:pt x="217" y="122"/>
                  </a:cubicBezTo>
                  <a:cubicBezTo>
                    <a:pt x="219" y="118"/>
                    <a:pt x="206" y="122"/>
                    <a:pt x="196" y="121"/>
                  </a:cubicBezTo>
                  <a:cubicBezTo>
                    <a:pt x="186" y="120"/>
                    <a:pt x="200" y="115"/>
                    <a:pt x="208" y="112"/>
                  </a:cubicBezTo>
                  <a:cubicBezTo>
                    <a:pt x="216" y="110"/>
                    <a:pt x="219" y="114"/>
                    <a:pt x="220" y="108"/>
                  </a:cubicBezTo>
                  <a:cubicBezTo>
                    <a:pt x="221" y="102"/>
                    <a:pt x="215" y="104"/>
                    <a:pt x="217" y="98"/>
                  </a:cubicBezTo>
                  <a:cubicBezTo>
                    <a:pt x="219" y="92"/>
                    <a:pt x="200" y="98"/>
                    <a:pt x="204" y="93"/>
                  </a:cubicBezTo>
                  <a:cubicBezTo>
                    <a:pt x="208" y="88"/>
                    <a:pt x="192" y="94"/>
                    <a:pt x="193" y="92"/>
                  </a:cubicBezTo>
                  <a:cubicBezTo>
                    <a:pt x="193" y="90"/>
                    <a:pt x="197" y="86"/>
                    <a:pt x="194" y="82"/>
                  </a:cubicBezTo>
                  <a:cubicBezTo>
                    <a:pt x="192" y="77"/>
                    <a:pt x="187" y="84"/>
                    <a:pt x="180" y="88"/>
                  </a:cubicBezTo>
                  <a:cubicBezTo>
                    <a:pt x="174" y="91"/>
                    <a:pt x="163" y="90"/>
                    <a:pt x="153" y="89"/>
                  </a:cubicBezTo>
                  <a:cubicBezTo>
                    <a:pt x="144" y="88"/>
                    <a:pt x="148" y="92"/>
                    <a:pt x="149" y="97"/>
                  </a:cubicBezTo>
                  <a:cubicBezTo>
                    <a:pt x="150" y="102"/>
                    <a:pt x="147" y="101"/>
                    <a:pt x="138" y="99"/>
                  </a:cubicBezTo>
                  <a:cubicBezTo>
                    <a:pt x="129" y="98"/>
                    <a:pt x="141" y="90"/>
                    <a:pt x="117" y="94"/>
                  </a:cubicBezTo>
                  <a:cubicBezTo>
                    <a:pt x="94" y="97"/>
                    <a:pt x="101" y="86"/>
                    <a:pt x="81" y="86"/>
                  </a:cubicBezTo>
                  <a:cubicBezTo>
                    <a:pt x="60" y="86"/>
                    <a:pt x="69" y="87"/>
                    <a:pt x="52" y="83"/>
                  </a:cubicBezTo>
                  <a:cubicBezTo>
                    <a:pt x="35" y="79"/>
                    <a:pt x="44" y="82"/>
                    <a:pt x="39" y="85"/>
                  </a:cubicBezTo>
                  <a:cubicBezTo>
                    <a:pt x="33" y="89"/>
                    <a:pt x="33" y="81"/>
                    <a:pt x="23" y="79"/>
                  </a:cubicBezTo>
                  <a:cubicBezTo>
                    <a:pt x="13" y="78"/>
                    <a:pt x="3" y="73"/>
                    <a:pt x="2" y="65"/>
                  </a:cubicBezTo>
                  <a:cubicBezTo>
                    <a:pt x="0" y="57"/>
                    <a:pt x="19" y="66"/>
                    <a:pt x="27" y="67"/>
                  </a:cubicBezTo>
                  <a:cubicBezTo>
                    <a:pt x="35" y="68"/>
                    <a:pt x="42" y="66"/>
                    <a:pt x="42" y="62"/>
                  </a:cubicBezTo>
                  <a:cubicBezTo>
                    <a:pt x="42" y="58"/>
                    <a:pt x="37" y="59"/>
                    <a:pt x="27" y="58"/>
                  </a:cubicBezTo>
                  <a:cubicBezTo>
                    <a:pt x="17" y="57"/>
                    <a:pt x="10" y="56"/>
                    <a:pt x="8" y="50"/>
                  </a:cubicBezTo>
                  <a:cubicBezTo>
                    <a:pt x="6" y="45"/>
                    <a:pt x="20" y="42"/>
                    <a:pt x="20" y="36"/>
                  </a:cubicBezTo>
                  <a:cubicBezTo>
                    <a:pt x="21" y="31"/>
                    <a:pt x="36" y="31"/>
                    <a:pt x="42" y="25"/>
                  </a:cubicBezTo>
                  <a:cubicBezTo>
                    <a:pt x="49" y="19"/>
                    <a:pt x="55" y="17"/>
                    <a:pt x="61" y="12"/>
                  </a:cubicBezTo>
                  <a:cubicBezTo>
                    <a:pt x="66" y="8"/>
                    <a:pt x="75" y="8"/>
                    <a:pt x="88" y="5"/>
                  </a:cubicBezTo>
                  <a:cubicBezTo>
                    <a:pt x="101" y="2"/>
                    <a:pt x="98" y="3"/>
                    <a:pt x="105" y="2"/>
                  </a:cubicBezTo>
                  <a:cubicBezTo>
                    <a:pt x="112" y="0"/>
                    <a:pt x="126" y="2"/>
                    <a:pt x="134" y="2"/>
                  </a:cubicBezTo>
                  <a:cubicBezTo>
                    <a:pt x="143" y="1"/>
                    <a:pt x="143" y="3"/>
                    <a:pt x="141" y="4"/>
                  </a:cubicBezTo>
                  <a:cubicBezTo>
                    <a:pt x="138" y="5"/>
                    <a:pt x="128" y="10"/>
                    <a:pt x="118" y="13"/>
                  </a:cubicBezTo>
                  <a:cubicBezTo>
                    <a:pt x="108" y="17"/>
                    <a:pt x="106" y="13"/>
                    <a:pt x="98" y="19"/>
                  </a:cubicBezTo>
                  <a:cubicBezTo>
                    <a:pt x="91" y="25"/>
                    <a:pt x="94" y="26"/>
                    <a:pt x="84" y="36"/>
                  </a:cubicBezTo>
                  <a:cubicBezTo>
                    <a:pt x="74" y="46"/>
                    <a:pt x="83" y="43"/>
                    <a:pt x="88" y="50"/>
                  </a:cubicBezTo>
                  <a:cubicBezTo>
                    <a:pt x="93" y="57"/>
                    <a:pt x="92" y="60"/>
                    <a:pt x="98" y="59"/>
                  </a:cubicBezTo>
                  <a:cubicBezTo>
                    <a:pt x="105" y="58"/>
                    <a:pt x="102" y="56"/>
                    <a:pt x="103" y="50"/>
                  </a:cubicBezTo>
                  <a:cubicBezTo>
                    <a:pt x="104" y="45"/>
                    <a:pt x="102" y="43"/>
                    <a:pt x="103" y="39"/>
                  </a:cubicBezTo>
                  <a:cubicBezTo>
                    <a:pt x="105" y="36"/>
                    <a:pt x="115" y="40"/>
                    <a:pt x="119" y="37"/>
                  </a:cubicBezTo>
                  <a:cubicBezTo>
                    <a:pt x="123" y="35"/>
                    <a:pt x="116" y="30"/>
                    <a:pt x="115" y="23"/>
                  </a:cubicBezTo>
                  <a:cubicBezTo>
                    <a:pt x="115" y="16"/>
                    <a:pt x="127" y="20"/>
                    <a:pt x="133" y="16"/>
                  </a:cubicBezTo>
                  <a:cubicBezTo>
                    <a:pt x="138" y="12"/>
                    <a:pt x="139" y="13"/>
                    <a:pt x="148" y="11"/>
                  </a:cubicBezTo>
                  <a:cubicBezTo>
                    <a:pt x="157" y="8"/>
                    <a:pt x="159" y="9"/>
                    <a:pt x="169" y="4"/>
                  </a:cubicBezTo>
                  <a:cubicBezTo>
                    <a:pt x="179" y="0"/>
                    <a:pt x="189" y="3"/>
                    <a:pt x="197" y="2"/>
                  </a:cubicBezTo>
                  <a:cubicBezTo>
                    <a:pt x="205" y="1"/>
                    <a:pt x="202" y="8"/>
                    <a:pt x="202" y="12"/>
                  </a:cubicBezTo>
                  <a:cubicBezTo>
                    <a:pt x="202" y="15"/>
                    <a:pt x="198" y="24"/>
                    <a:pt x="193" y="28"/>
                  </a:cubicBezTo>
                  <a:cubicBezTo>
                    <a:pt x="189" y="32"/>
                    <a:pt x="175" y="29"/>
                    <a:pt x="180" y="39"/>
                  </a:cubicBezTo>
                  <a:cubicBezTo>
                    <a:pt x="185" y="49"/>
                    <a:pt x="193" y="36"/>
                    <a:pt x="200" y="33"/>
                  </a:cubicBezTo>
                  <a:cubicBezTo>
                    <a:pt x="207" y="30"/>
                    <a:pt x="218" y="38"/>
                    <a:pt x="223" y="36"/>
                  </a:cubicBezTo>
                  <a:cubicBezTo>
                    <a:pt x="229" y="34"/>
                    <a:pt x="234" y="29"/>
                    <a:pt x="243" y="25"/>
                  </a:cubicBezTo>
                  <a:cubicBezTo>
                    <a:pt x="252" y="21"/>
                    <a:pt x="229" y="24"/>
                    <a:pt x="217" y="20"/>
                  </a:cubicBezTo>
                  <a:cubicBezTo>
                    <a:pt x="205" y="16"/>
                    <a:pt x="208" y="12"/>
                    <a:pt x="213" y="7"/>
                  </a:cubicBezTo>
                  <a:cubicBezTo>
                    <a:pt x="218" y="2"/>
                    <a:pt x="233" y="5"/>
                    <a:pt x="243" y="4"/>
                  </a:cubicBezTo>
                  <a:cubicBezTo>
                    <a:pt x="253" y="3"/>
                    <a:pt x="263" y="6"/>
                    <a:pt x="278" y="13"/>
                  </a:cubicBezTo>
                  <a:cubicBezTo>
                    <a:pt x="292" y="21"/>
                    <a:pt x="290" y="23"/>
                    <a:pt x="273" y="28"/>
                  </a:cubicBezTo>
                  <a:cubicBezTo>
                    <a:pt x="256" y="33"/>
                    <a:pt x="297" y="28"/>
                    <a:pt x="291" y="36"/>
                  </a:cubicBezTo>
                  <a:cubicBezTo>
                    <a:pt x="286" y="44"/>
                    <a:pt x="307" y="36"/>
                    <a:pt x="292" y="50"/>
                  </a:cubicBezTo>
                  <a:cubicBezTo>
                    <a:pt x="278" y="65"/>
                    <a:pt x="320" y="42"/>
                    <a:pt x="305" y="54"/>
                  </a:cubicBezTo>
                  <a:cubicBezTo>
                    <a:pt x="290" y="66"/>
                    <a:pt x="330" y="52"/>
                    <a:pt x="313" y="60"/>
                  </a:cubicBezTo>
                  <a:cubicBezTo>
                    <a:pt x="295" y="69"/>
                    <a:pt x="341" y="57"/>
                    <a:pt x="324" y="65"/>
                  </a:cubicBezTo>
                  <a:cubicBezTo>
                    <a:pt x="307" y="72"/>
                    <a:pt x="354" y="64"/>
                    <a:pt x="336" y="75"/>
                  </a:cubicBezTo>
                  <a:cubicBezTo>
                    <a:pt x="318" y="86"/>
                    <a:pt x="355" y="74"/>
                    <a:pt x="350" y="78"/>
                  </a:cubicBezTo>
                  <a:cubicBezTo>
                    <a:pt x="345" y="82"/>
                    <a:pt x="379" y="81"/>
                    <a:pt x="368" y="85"/>
                  </a:cubicBezTo>
                  <a:cubicBezTo>
                    <a:pt x="358" y="89"/>
                    <a:pt x="375" y="94"/>
                    <a:pt x="360" y="97"/>
                  </a:cubicBezTo>
                  <a:cubicBezTo>
                    <a:pt x="345" y="100"/>
                    <a:pt x="367" y="103"/>
                    <a:pt x="354" y="107"/>
                  </a:cubicBezTo>
                  <a:cubicBezTo>
                    <a:pt x="340" y="111"/>
                    <a:pt x="355" y="110"/>
                    <a:pt x="349" y="115"/>
                  </a:cubicBezTo>
                  <a:cubicBezTo>
                    <a:pt x="344" y="120"/>
                    <a:pt x="328" y="118"/>
                    <a:pt x="341" y="120"/>
                  </a:cubicBezTo>
                  <a:cubicBezTo>
                    <a:pt x="354" y="121"/>
                    <a:pt x="348" y="124"/>
                    <a:pt x="351" y="124"/>
                  </a:cubicBezTo>
                  <a:cubicBezTo>
                    <a:pt x="355" y="124"/>
                    <a:pt x="355" y="131"/>
                    <a:pt x="359" y="131"/>
                  </a:cubicBezTo>
                  <a:cubicBezTo>
                    <a:pt x="363" y="132"/>
                    <a:pt x="362" y="131"/>
                    <a:pt x="365" y="131"/>
                  </a:cubicBezTo>
                  <a:cubicBezTo>
                    <a:pt x="368" y="131"/>
                    <a:pt x="371" y="140"/>
                    <a:pt x="373" y="139"/>
                  </a:cubicBezTo>
                  <a:cubicBezTo>
                    <a:pt x="375" y="138"/>
                    <a:pt x="376" y="142"/>
                    <a:pt x="388" y="142"/>
                  </a:cubicBezTo>
                  <a:cubicBezTo>
                    <a:pt x="400" y="142"/>
                    <a:pt x="398" y="150"/>
                    <a:pt x="405" y="150"/>
                  </a:cubicBezTo>
                  <a:cubicBezTo>
                    <a:pt x="413" y="150"/>
                    <a:pt x="410" y="156"/>
                    <a:pt x="413" y="156"/>
                  </a:cubicBezTo>
                  <a:cubicBezTo>
                    <a:pt x="415" y="156"/>
                    <a:pt x="422" y="159"/>
                    <a:pt x="424" y="159"/>
                  </a:cubicBezTo>
                  <a:cubicBezTo>
                    <a:pt x="426" y="159"/>
                    <a:pt x="432" y="163"/>
                    <a:pt x="439" y="162"/>
                  </a:cubicBezTo>
                  <a:cubicBezTo>
                    <a:pt x="447" y="161"/>
                    <a:pt x="436" y="173"/>
                    <a:pt x="428" y="175"/>
                  </a:cubicBezTo>
                  <a:cubicBezTo>
                    <a:pt x="420" y="177"/>
                    <a:pt x="423" y="175"/>
                    <a:pt x="416" y="177"/>
                  </a:cubicBezTo>
                  <a:cubicBezTo>
                    <a:pt x="408" y="179"/>
                    <a:pt x="413" y="184"/>
                    <a:pt x="410" y="186"/>
                  </a:cubicBezTo>
                  <a:cubicBezTo>
                    <a:pt x="407" y="188"/>
                    <a:pt x="410" y="191"/>
                    <a:pt x="404" y="191"/>
                  </a:cubicBezTo>
                  <a:cubicBezTo>
                    <a:pt x="398" y="191"/>
                    <a:pt x="404" y="194"/>
                    <a:pt x="388" y="194"/>
                  </a:cubicBezTo>
                  <a:cubicBezTo>
                    <a:pt x="372" y="195"/>
                    <a:pt x="389" y="202"/>
                    <a:pt x="380" y="205"/>
                  </a:cubicBezTo>
                  <a:cubicBezTo>
                    <a:pt x="370" y="208"/>
                    <a:pt x="378" y="214"/>
                    <a:pt x="373" y="210"/>
                  </a:cubicBezTo>
                  <a:cubicBezTo>
                    <a:pt x="367" y="206"/>
                    <a:pt x="368" y="210"/>
                    <a:pt x="363" y="205"/>
                  </a:cubicBezTo>
                  <a:cubicBezTo>
                    <a:pt x="357" y="200"/>
                    <a:pt x="355" y="201"/>
                    <a:pt x="353" y="193"/>
                  </a:cubicBezTo>
                  <a:cubicBezTo>
                    <a:pt x="352" y="185"/>
                    <a:pt x="345" y="188"/>
                    <a:pt x="345" y="179"/>
                  </a:cubicBezTo>
                  <a:cubicBezTo>
                    <a:pt x="345" y="170"/>
                    <a:pt x="338" y="179"/>
                    <a:pt x="336" y="177"/>
                  </a:cubicBezTo>
                  <a:cubicBezTo>
                    <a:pt x="333" y="175"/>
                    <a:pt x="324" y="180"/>
                    <a:pt x="321" y="180"/>
                  </a:cubicBezTo>
                  <a:cubicBezTo>
                    <a:pt x="318" y="179"/>
                    <a:pt x="307" y="184"/>
                    <a:pt x="307" y="184"/>
                  </a:cubicBezTo>
                  <a:cubicBezTo>
                    <a:pt x="307" y="184"/>
                    <a:pt x="305" y="195"/>
                    <a:pt x="310" y="198"/>
                  </a:cubicBezTo>
                  <a:cubicBezTo>
                    <a:pt x="314" y="200"/>
                    <a:pt x="313" y="204"/>
                    <a:pt x="316" y="206"/>
                  </a:cubicBezTo>
                  <a:cubicBezTo>
                    <a:pt x="319" y="208"/>
                    <a:pt x="324" y="214"/>
                    <a:pt x="330" y="219"/>
                  </a:cubicBezTo>
                  <a:cubicBezTo>
                    <a:pt x="336" y="224"/>
                    <a:pt x="325" y="226"/>
                    <a:pt x="336" y="233"/>
                  </a:cubicBezTo>
                  <a:cubicBezTo>
                    <a:pt x="348" y="240"/>
                    <a:pt x="339" y="238"/>
                    <a:pt x="336" y="244"/>
                  </a:cubicBezTo>
                  <a:cubicBezTo>
                    <a:pt x="334" y="250"/>
                    <a:pt x="336" y="245"/>
                    <a:pt x="330" y="244"/>
                  </a:cubicBezTo>
                  <a:cubicBezTo>
                    <a:pt x="324" y="243"/>
                    <a:pt x="328" y="246"/>
                    <a:pt x="324" y="245"/>
                  </a:cubicBezTo>
                  <a:cubicBezTo>
                    <a:pt x="321" y="244"/>
                    <a:pt x="324" y="245"/>
                    <a:pt x="321" y="252"/>
                  </a:cubicBezTo>
                  <a:cubicBezTo>
                    <a:pt x="318" y="259"/>
                    <a:pt x="325" y="262"/>
                    <a:pt x="318" y="263"/>
                  </a:cubicBezTo>
                  <a:cubicBezTo>
                    <a:pt x="312" y="263"/>
                    <a:pt x="318" y="268"/>
                    <a:pt x="312" y="271"/>
                  </a:cubicBezTo>
                  <a:cubicBezTo>
                    <a:pt x="305" y="274"/>
                    <a:pt x="309" y="270"/>
                    <a:pt x="309" y="263"/>
                  </a:cubicBezTo>
                  <a:cubicBezTo>
                    <a:pt x="309" y="257"/>
                    <a:pt x="305" y="263"/>
                    <a:pt x="301" y="260"/>
                  </a:cubicBezTo>
                  <a:cubicBezTo>
                    <a:pt x="297" y="256"/>
                    <a:pt x="296" y="261"/>
                    <a:pt x="292" y="257"/>
                  </a:cubicBezTo>
                  <a:cubicBezTo>
                    <a:pt x="288" y="252"/>
                    <a:pt x="292" y="259"/>
                    <a:pt x="286" y="256"/>
                  </a:cubicBezTo>
                  <a:cubicBezTo>
                    <a:pt x="280" y="253"/>
                    <a:pt x="282" y="256"/>
                    <a:pt x="276" y="250"/>
                  </a:cubicBezTo>
                  <a:cubicBezTo>
                    <a:pt x="269" y="245"/>
                    <a:pt x="272" y="252"/>
                    <a:pt x="266" y="246"/>
                  </a:cubicBezTo>
                  <a:cubicBezTo>
                    <a:pt x="260" y="239"/>
                    <a:pt x="259" y="242"/>
                    <a:pt x="258" y="240"/>
                  </a:cubicBezTo>
                  <a:cubicBezTo>
                    <a:pt x="256" y="238"/>
                    <a:pt x="250" y="240"/>
                    <a:pt x="254" y="249"/>
                  </a:cubicBezTo>
                  <a:cubicBezTo>
                    <a:pt x="258" y="257"/>
                    <a:pt x="258" y="252"/>
                    <a:pt x="263" y="256"/>
                  </a:cubicBezTo>
                  <a:cubicBezTo>
                    <a:pt x="268" y="259"/>
                    <a:pt x="269" y="262"/>
                    <a:pt x="272" y="263"/>
                  </a:cubicBezTo>
                  <a:cubicBezTo>
                    <a:pt x="275" y="264"/>
                    <a:pt x="276" y="271"/>
                    <a:pt x="285" y="278"/>
                  </a:cubicBezTo>
                  <a:cubicBezTo>
                    <a:pt x="295" y="284"/>
                    <a:pt x="286" y="282"/>
                    <a:pt x="285" y="289"/>
                  </a:cubicBezTo>
                  <a:cubicBezTo>
                    <a:pt x="285" y="295"/>
                    <a:pt x="283" y="289"/>
                    <a:pt x="274" y="285"/>
                  </a:cubicBezTo>
                  <a:cubicBezTo>
                    <a:pt x="264" y="281"/>
                    <a:pt x="270" y="283"/>
                    <a:pt x="261" y="280"/>
                  </a:cubicBezTo>
                  <a:cubicBezTo>
                    <a:pt x="251" y="276"/>
                    <a:pt x="261" y="280"/>
                    <a:pt x="241" y="276"/>
                  </a:cubicBezTo>
                  <a:cubicBezTo>
                    <a:pt x="221" y="273"/>
                    <a:pt x="232" y="276"/>
                    <a:pt x="227" y="271"/>
                  </a:cubicBezTo>
                  <a:cubicBezTo>
                    <a:pt x="223" y="266"/>
                    <a:pt x="219" y="265"/>
                    <a:pt x="214" y="263"/>
                  </a:cubicBezTo>
                  <a:cubicBezTo>
                    <a:pt x="208" y="261"/>
                    <a:pt x="209" y="272"/>
                    <a:pt x="200" y="270"/>
                  </a:cubicBezTo>
                  <a:cubicBezTo>
                    <a:pt x="192" y="268"/>
                    <a:pt x="196" y="258"/>
                    <a:pt x="188" y="250"/>
                  </a:cubicBezTo>
                  <a:cubicBezTo>
                    <a:pt x="180" y="243"/>
                    <a:pt x="194" y="251"/>
                    <a:pt x="203" y="247"/>
                  </a:cubicBezTo>
                  <a:cubicBezTo>
                    <a:pt x="211" y="242"/>
                    <a:pt x="198" y="244"/>
                    <a:pt x="198" y="240"/>
                  </a:cubicBezTo>
                  <a:cubicBezTo>
                    <a:pt x="197" y="237"/>
                    <a:pt x="186" y="240"/>
                    <a:pt x="187" y="234"/>
                  </a:cubicBezTo>
                  <a:cubicBezTo>
                    <a:pt x="189" y="228"/>
                    <a:pt x="186" y="234"/>
                    <a:pt x="179" y="226"/>
                  </a:cubicBezTo>
                  <a:cubicBezTo>
                    <a:pt x="172" y="217"/>
                    <a:pt x="179" y="226"/>
                    <a:pt x="178" y="222"/>
                  </a:cubicBezTo>
                  <a:cubicBezTo>
                    <a:pt x="177" y="218"/>
                    <a:pt x="170" y="223"/>
                    <a:pt x="163" y="218"/>
                  </a:cubicBezTo>
                  <a:cubicBezTo>
                    <a:pt x="156" y="214"/>
                    <a:pt x="161" y="222"/>
                    <a:pt x="151" y="220"/>
                  </a:cubicBezTo>
                  <a:cubicBezTo>
                    <a:pt x="141" y="217"/>
                    <a:pt x="146" y="220"/>
                    <a:pt x="141" y="218"/>
                  </a:cubicBezTo>
                  <a:cubicBezTo>
                    <a:pt x="136" y="217"/>
                    <a:pt x="132" y="223"/>
                    <a:pt x="119" y="228"/>
                  </a:cubicBezTo>
                  <a:cubicBezTo>
                    <a:pt x="107" y="233"/>
                    <a:pt x="113" y="229"/>
                    <a:pt x="99" y="228"/>
                  </a:cubicBezTo>
                  <a:cubicBezTo>
                    <a:pt x="85" y="227"/>
                    <a:pt x="95" y="224"/>
                    <a:pt x="90" y="218"/>
                  </a:cubicBezTo>
                  <a:cubicBezTo>
                    <a:pt x="85" y="212"/>
                    <a:pt x="91" y="215"/>
                    <a:pt x="92" y="211"/>
                  </a:cubicBezTo>
                  <a:cubicBezTo>
                    <a:pt x="93" y="208"/>
                    <a:pt x="99" y="209"/>
                    <a:pt x="105" y="206"/>
                  </a:cubicBezTo>
                  <a:cubicBezTo>
                    <a:pt x="102" y="200"/>
                    <a:pt x="112" y="203"/>
                    <a:pt x="114" y="201"/>
                  </a:cubicBezTo>
                  <a:close/>
                  <a:moveTo>
                    <a:pt x="257" y="165"/>
                  </a:moveTo>
                  <a:cubicBezTo>
                    <a:pt x="257" y="167"/>
                    <a:pt x="247" y="171"/>
                    <a:pt x="249" y="173"/>
                  </a:cubicBezTo>
                  <a:cubicBezTo>
                    <a:pt x="250" y="175"/>
                    <a:pt x="249" y="180"/>
                    <a:pt x="248" y="181"/>
                  </a:cubicBezTo>
                  <a:cubicBezTo>
                    <a:pt x="247" y="182"/>
                    <a:pt x="248" y="184"/>
                    <a:pt x="251" y="183"/>
                  </a:cubicBezTo>
                  <a:cubicBezTo>
                    <a:pt x="254" y="182"/>
                    <a:pt x="256" y="177"/>
                    <a:pt x="261" y="178"/>
                  </a:cubicBezTo>
                  <a:cubicBezTo>
                    <a:pt x="266" y="179"/>
                    <a:pt x="268" y="177"/>
                    <a:pt x="272" y="178"/>
                  </a:cubicBezTo>
                  <a:cubicBezTo>
                    <a:pt x="277" y="179"/>
                    <a:pt x="280" y="181"/>
                    <a:pt x="282" y="177"/>
                  </a:cubicBezTo>
                  <a:cubicBezTo>
                    <a:pt x="285" y="174"/>
                    <a:pt x="290" y="170"/>
                    <a:pt x="286" y="169"/>
                  </a:cubicBezTo>
                  <a:cubicBezTo>
                    <a:pt x="283" y="168"/>
                    <a:pt x="282" y="165"/>
                    <a:pt x="277" y="166"/>
                  </a:cubicBezTo>
                  <a:cubicBezTo>
                    <a:pt x="273" y="168"/>
                    <a:pt x="271" y="169"/>
                    <a:pt x="269" y="164"/>
                  </a:cubicBezTo>
                  <a:cubicBezTo>
                    <a:pt x="268" y="160"/>
                    <a:pt x="265" y="159"/>
                    <a:pt x="263" y="161"/>
                  </a:cubicBezTo>
                  <a:cubicBezTo>
                    <a:pt x="261" y="164"/>
                    <a:pt x="257" y="163"/>
                    <a:pt x="257" y="16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38" name="Freeform 1016">
              <a:extLst>
                <a:ext uri="{FF2B5EF4-FFF2-40B4-BE49-F238E27FC236}">
                  <a16:creationId xmlns:a16="http://schemas.microsoft.com/office/drawing/2014/main" id="{F4EF1D35-39C8-274C-84E6-661504256A05}"/>
                </a:ext>
              </a:extLst>
            </p:cNvPr>
            <p:cNvSpPr>
              <a:spLocks noEditPoints="1"/>
            </p:cNvSpPr>
            <p:nvPr/>
          </p:nvSpPr>
          <p:spPr bwMode="auto">
            <a:xfrm>
              <a:off x="1404942" y="757693"/>
              <a:ext cx="1538292" cy="750888"/>
            </a:xfrm>
            <a:custGeom>
              <a:avLst/>
              <a:gdLst>
                <a:gd name="T0" fmla="*/ 1515 w 1616"/>
                <a:gd name="T1" fmla="*/ 518 h 788"/>
                <a:gd name="T2" fmla="*/ 1542 w 1616"/>
                <a:gd name="T3" fmla="*/ 454 h 788"/>
                <a:gd name="T4" fmla="*/ 1530 w 1616"/>
                <a:gd name="T5" fmla="*/ 376 h 788"/>
                <a:gd name="T6" fmla="*/ 1488 w 1616"/>
                <a:gd name="T7" fmla="*/ 359 h 788"/>
                <a:gd name="T8" fmla="*/ 1417 w 1616"/>
                <a:gd name="T9" fmla="*/ 374 h 788"/>
                <a:gd name="T10" fmla="*/ 1421 w 1616"/>
                <a:gd name="T11" fmla="*/ 322 h 788"/>
                <a:gd name="T12" fmla="*/ 1340 w 1616"/>
                <a:gd name="T13" fmla="*/ 287 h 788"/>
                <a:gd name="T14" fmla="*/ 1260 w 1616"/>
                <a:gd name="T15" fmla="*/ 319 h 788"/>
                <a:gd name="T16" fmla="*/ 1233 w 1616"/>
                <a:gd name="T17" fmla="*/ 400 h 788"/>
                <a:gd name="T18" fmla="*/ 1127 w 1616"/>
                <a:gd name="T19" fmla="*/ 498 h 788"/>
                <a:gd name="T20" fmla="*/ 1070 w 1616"/>
                <a:gd name="T21" fmla="*/ 578 h 788"/>
                <a:gd name="T22" fmla="*/ 1073 w 1616"/>
                <a:gd name="T23" fmla="*/ 523 h 788"/>
                <a:gd name="T24" fmla="*/ 1010 w 1616"/>
                <a:gd name="T25" fmla="*/ 456 h 788"/>
                <a:gd name="T26" fmla="*/ 908 w 1616"/>
                <a:gd name="T27" fmla="*/ 410 h 788"/>
                <a:gd name="T28" fmla="*/ 964 w 1616"/>
                <a:gd name="T29" fmla="*/ 303 h 788"/>
                <a:gd name="T30" fmla="*/ 1076 w 1616"/>
                <a:gd name="T31" fmla="*/ 251 h 788"/>
                <a:gd name="T32" fmla="*/ 1139 w 1616"/>
                <a:gd name="T33" fmla="*/ 198 h 788"/>
                <a:gd name="T34" fmla="*/ 1245 w 1616"/>
                <a:gd name="T35" fmla="*/ 202 h 788"/>
                <a:gd name="T36" fmla="*/ 1316 w 1616"/>
                <a:gd name="T37" fmla="*/ 132 h 788"/>
                <a:gd name="T38" fmla="*/ 1278 w 1616"/>
                <a:gd name="T39" fmla="*/ 113 h 788"/>
                <a:gd name="T40" fmla="*/ 1219 w 1616"/>
                <a:gd name="T41" fmla="*/ 159 h 788"/>
                <a:gd name="T42" fmla="*/ 1173 w 1616"/>
                <a:gd name="T43" fmla="*/ 128 h 788"/>
                <a:gd name="T44" fmla="*/ 1182 w 1616"/>
                <a:gd name="T45" fmla="*/ 63 h 788"/>
                <a:gd name="T46" fmla="*/ 1233 w 1616"/>
                <a:gd name="T47" fmla="*/ 1 h 788"/>
                <a:gd name="T48" fmla="*/ 1138 w 1616"/>
                <a:gd name="T49" fmla="*/ 68 h 788"/>
                <a:gd name="T50" fmla="*/ 1105 w 1616"/>
                <a:gd name="T51" fmla="*/ 134 h 788"/>
                <a:gd name="T52" fmla="*/ 1089 w 1616"/>
                <a:gd name="T53" fmla="*/ 124 h 788"/>
                <a:gd name="T54" fmla="*/ 1035 w 1616"/>
                <a:gd name="T55" fmla="*/ 133 h 788"/>
                <a:gd name="T56" fmla="*/ 935 w 1616"/>
                <a:gd name="T57" fmla="*/ 151 h 788"/>
                <a:gd name="T58" fmla="*/ 866 w 1616"/>
                <a:gd name="T59" fmla="*/ 145 h 788"/>
                <a:gd name="T60" fmla="*/ 718 w 1616"/>
                <a:gd name="T61" fmla="*/ 152 h 788"/>
                <a:gd name="T62" fmla="*/ 603 w 1616"/>
                <a:gd name="T63" fmla="*/ 107 h 788"/>
                <a:gd name="T64" fmla="*/ 523 w 1616"/>
                <a:gd name="T65" fmla="*/ 96 h 788"/>
                <a:gd name="T66" fmla="*/ 352 w 1616"/>
                <a:gd name="T67" fmla="*/ 117 h 788"/>
                <a:gd name="T68" fmla="*/ 29 w 1616"/>
                <a:gd name="T69" fmla="*/ 343 h 788"/>
                <a:gd name="T70" fmla="*/ 94 w 1616"/>
                <a:gd name="T71" fmla="*/ 356 h 788"/>
                <a:gd name="T72" fmla="*/ 98 w 1616"/>
                <a:gd name="T73" fmla="*/ 440 h 788"/>
                <a:gd name="T74" fmla="*/ 39 w 1616"/>
                <a:gd name="T75" fmla="*/ 508 h 788"/>
                <a:gd name="T76" fmla="*/ 69 w 1616"/>
                <a:gd name="T77" fmla="*/ 556 h 788"/>
                <a:gd name="T78" fmla="*/ 704 w 1616"/>
                <a:gd name="T79" fmla="*/ 636 h 788"/>
                <a:gd name="T80" fmla="*/ 784 w 1616"/>
                <a:gd name="T81" fmla="*/ 659 h 788"/>
                <a:gd name="T82" fmla="*/ 896 w 1616"/>
                <a:gd name="T83" fmla="*/ 646 h 788"/>
                <a:gd name="T84" fmla="*/ 990 w 1616"/>
                <a:gd name="T85" fmla="*/ 732 h 788"/>
                <a:gd name="T86" fmla="*/ 1206 w 1616"/>
                <a:gd name="T87" fmla="*/ 726 h 788"/>
                <a:gd name="T88" fmla="*/ 1274 w 1616"/>
                <a:gd name="T89" fmla="*/ 731 h 788"/>
                <a:gd name="T90" fmla="*/ 1325 w 1616"/>
                <a:gd name="T91" fmla="*/ 742 h 788"/>
                <a:gd name="T92" fmla="*/ 1343 w 1616"/>
                <a:gd name="T93" fmla="*/ 756 h 788"/>
                <a:gd name="T94" fmla="*/ 1426 w 1616"/>
                <a:gd name="T95" fmla="*/ 718 h 788"/>
                <a:gd name="T96" fmla="*/ 1358 w 1616"/>
                <a:gd name="T97" fmla="*/ 716 h 788"/>
                <a:gd name="T98" fmla="*/ 1320 w 1616"/>
                <a:gd name="T99" fmla="*/ 661 h 788"/>
                <a:gd name="T100" fmla="*/ 1307 w 1616"/>
                <a:gd name="T101" fmla="*/ 639 h 788"/>
                <a:gd name="T102" fmla="*/ 1351 w 1616"/>
                <a:gd name="T103" fmla="*/ 602 h 788"/>
                <a:gd name="T104" fmla="*/ 1514 w 1616"/>
                <a:gd name="T105" fmla="*/ 587 h 788"/>
                <a:gd name="T106" fmla="*/ 492 w 1616"/>
                <a:gd name="T107" fmla="*/ 208 h 788"/>
                <a:gd name="T108" fmla="*/ 506 w 1616"/>
                <a:gd name="T109" fmla="*/ 182 h 788"/>
                <a:gd name="T110" fmla="*/ 587 w 1616"/>
                <a:gd name="T111" fmla="*/ 187 h 788"/>
                <a:gd name="T112" fmla="*/ 504 w 1616"/>
                <a:gd name="T113" fmla="*/ 220 h 788"/>
                <a:gd name="T114" fmla="*/ 605 w 1616"/>
                <a:gd name="T115" fmla="*/ 303 h 788"/>
                <a:gd name="T116" fmla="*/ 558 w 1616"/>
                <a:gd name="T117" fmla="*/ 292 h 788"/>
                <a:gd name="T118" fmla="*/ 679 w 1616"/>
                <a:gd name="T119" fmla="*/ 279 h 788"/>
                <a:gd name="T120" fmla="*/ 705 w 1616"/>
                <a:gd name="T121" fmla="*/ 551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6" h="788">
                  <a:moveTo>
                    <a:pt x="1608" y="526"/>
                  </a:moveTo>
                  <a:cubicBezTo>
                    <a:pt x="1613" y="520"/>
                    <a:pt x="1616" y="518"/>
                    <a:pt x="1612" y="516"/>
                  </a:cubicBezTo>
                  <a:cubicBezTo>
                    <a:pt x="1607" y="514"/>
                    <a:pt x="1606" y="511"/>
                    <a:pt x="1603" y="511"/>
                  </a:cubicBezTo>
                  <a:cubicBezTo>
                    <a:pt x="1601" y="511"/>
                    <a:pt x="1595" y="507"/>
                    <a:pt x="1593" y="509"/>
                  </a:cubicBezTo>
                  <a:cubicBezTo>
                    <a:pt x="1591" y="511"/>
                    <a:pt x="1581" y="521"/>
                    <a:pt x="1584" y="515"/>
                  </a:cubicBezTo>
                  <a:cubicBezTo>
                    <a:pt x="1587" y="509"/>
                    <a:pt x="1592" y="506"/>
                    <a:pt x="1589" y="502"/>
                  </a:cubicBezTo>
                  <a:cubicBezTo>
                    <a:pt x="1585" y="498"/>
                    <a:pt x="1575" y="498"/>
                    <a:pt x="1571" y="500"/>
                  </a:cubicBezTo>
                  <a:cubicBezTo>
                    <a:pt x="1567" y="502"/>
                    <a:pt x="1558" y="506"/>
                    <a:pt x="1552" y="508"/>
                  </a:cubicBezTo>
                  <a:cubicBezTo>
                    <a:pt x="1546" y="511"/>
                    <a:pt x="1550" y="509"/>
                    <a:pt x="1533" y="514"/>
                  </a:cubicBezTo>
                  <a:cubicBezTo>
                    <a:pt x="1515" y="519"/>
                    <a:pt x="1508" y="523"/>
                    <a:pt x="1515" y="518"/>
                  </a:cubicBezTo>
                  <a:cubicBezTo>
                    <a:pt x="1521" y="513"/>
                    <a:pt x="1519" y="512"/>
                    <a:pt x="1531" y="509"/>
                  </a:cubicBezTo>
                  <a:cubicBezTo>
                    <a:pt x="1542" y="506"/>
                    <a:pt x="1546" y="500"/>
                    <a:pt x="1554" y="499"/>
                  </a:cubicBezTo>
                  <a:cubicBezTo>
                    <a:pt x="1563" y="498"/>
                    <a:pt x="1562" y="497"/>
                    <a:pt x="1574" y="493"/>
                  </a:cubicBezTo>
                  <a:cubicBezTo>
                    <a:pt x="1586" y="489"/>
                    <a:pt x="1600" y="490"/>
                    <a:pt x="1593" y="485"/>
                  </a:cubicBezTo>
                  <a:cubicBezTo>
                    <a:pt x="1587" y="480"/>
                    <a:pt x="1591" y="479"/>
                    <a:pt x="1580" y="478"/>
                  </a:cubicBezTo>
                  <a:cubicBezTo>
                    <a:pt x="1569" y="478"/>
                    <a:pt x="1562" y="474"/>
                    <a:pt x="1560" y="474"/>
                  </a:cubicBezTo>
                  <a:cubicBezTo>
                    <a:pt x="1557" y="474"/>
                    <a:pt x="1555" y="467"/>
                    <a:pt x="1550" y="467"/>
                  </a:cubicBezTo>
                  <a:cubicBezTo>
                    <a:pt x="1546" y="467"/>
                    <a:pt x="1537" y="467"/>
                    <a:pt x="1535" y="467"/>
                  </a:cubicBezTo>
                  <a:cubicBezTo>
                    <a:pt x="1533" y="467"/>
                    <a:pt x="1543" y="462"/>
                    <a:pt x="1542" y="460"/>
                  </a:cubicBezTo>
                  <a:cubicBezTo>
                    <a:pt x="1541" y="458"/>
                    <a:pt x="1549" y="456"/>
                    <a:pt x="1542" y="454"/>
                  </a:cubicBezTo>
                  <a:cubicBezTo>
                    <a:pt x="1535" y="452"/>
                    <a:pt x="1536" y="450"/>
                    <a:pt x="1532" y="448"/>
                  </a:cubicBezTo>
                  <a:cubicBezTo>
                    <a:pt x="1527" y="446"/>
                    <a:pt x="1521" y="442"/>
                    <a:pt x="1524" y="441"/>
                  </a:cubicBezTo>
                  <a:cubicBezTo>
                    <a:pt x="1526" y="440"/>
                    <a:pt x="1518" y="438"/>
                    <a:pt x="1527" y="434"/>
                  </a:cubicBezTo>
                  <a:cubicBezTo>
                    <a:pt x="1535" y="430"/>
                    <a:pt x="1530" y="428"/>
                    <a:pt x="1534" y="425"/>
                  </a:cubicBezTo>
                  <a:cubicBezTo>
                    <a:pt x="1539" y="422"/>
                    <a:pt x="1530" y="417"/>
                    <a:pt x="1536" y="416"/>
                  </a:cubicBezTo>
                  <a:cubicBezTo>
                    <a:pt x="1542" y="414"/>
                    <a:pt x="1533" y="412"/>
                    <a:pt x="1538" y="408"/>
                  </a:cubicBezTo>
                  <a:cubicBezTo>
                    <a:pt x="1542" y="404"/>
                    <a:pt x="1531" y="398"/>
                    <a:pt x="1534" y="397"/>
                  </a:cubicBezTo>
                  <a:cubicBezTo>
                    <a:pt x="1538" y="396"/>
                    <a:pt x="1541" y="392"/>
                    <a:pt x="1532" y="391"/>
                  </a:cubicBezTo>
                  <a:cubicBezTo>
                    <a:pt x="1523" y="390"/>
                    <a:pt x="1530" y="387"/>
                    <a:pt x="1527" y="385"/>
                  </a:cubicBezTo>
                  <a:cubicBezTo>
                    <a:pt x="1524" y="382"/>
                    <a:pt x="1534" y="381"/>
                    <a:pt x="1530" y="376"/>
                  </a:cubicBezTo>
                  <a:cubicBezTo>
                    <a:pt x="1526" y="371"/>
                    <a:pt x="1530" y="368"/>
                    <a:pt x="1528" y="366"/>
                  </a:cubicBezTo>
                  <a:cubicBezTo>
                    <a:pt x="1527" y="365"/>
                    <a:pt x="1518" y="365"/>
                    <a:pt x="1522" y="362"/>
                  </a:cubicBezTo>
                  <a:cubicBezTo>
                    <a:pt x="1526" y="360"/>
                    <a:pt x="1521" y="362"/>
                    <a:pt x="1523" y="356"/>
                  </a:cubicBezTo>
                  <a:cubicBezTo>
                    <a:pt x="1525" y="350"/>
                    <a:pt x="1518" y="349"/>
                    <a:pt x="1521" y="349"/>
                  </a:cubicBezTo>
                  <a:cubicBezTo>
                    <a:pt x="1524" y="350"/>
                    <a:pt x="1517" y="348"/>
                    <a:pt x="1519" y="344"/>
                  </a:cubicBezTo>
                  <a:cubicBezTo>
                    <a:pt x="1521" y="340"/>
                    <a:pt x="1519" y="332"/>
                    <a:pt x="1518" y="334"/>
                  </a:cubicBezTo>
                  <a:cubicBezTo>
                    <a:pt x="1516" y="336"/>
                    <a:pt x="1506" y="338"/>
                    <a:pt x="1506" y="342"/>
                  </a:cubicBezTo>
                  <a:cubicBezTo>
                    <a:pt x="1506" y="346"/>
                    <a:pt x="1501" y="348"/>
                    <a:pt x="1500" y="349"/>
                  </a:cubicBezTo>
                  <a:cubicBezTo>
                    <a:pt x="1499" y="351"/>
                    <a:pt x="1494" y="348"/>
                    <a:pt x="1494" y="352"/>
                  </a:cubicBezTo>
                  <a:cubicBezTo>
                    <a:pt x="1494" y="357"/>
                    <a:pt x="1490" y="356"/>
                    <a:pt x="1488" y="359"/>
                  </a:cubicBezTo>
                  <a:cubicBezTo>
                    <a:pt x="1486" y="363"/>
                    <a:pt x="1483" y="363"/>
                    <a:pt x="1482" y="365"/>
                  </a:cubicBezTo>
                  <a:cubicBezTo>
                    <a:pt x="1482" y="367"/>
                    <a:pt x="1475" y="367"/>
                    <a:pt x="1474" y="370"/>
                  </a:cubicBezTo>
                  <a:cubicBezTo>
                    <a:pt x="1474" y="372"/>
                    <a:pt x="1474" y="375"/>
                    <a:pt x="1468" y="376"/>
                  </a:cubicBezTo>
                  <a:cubicBezTo>
                    <a:pt x="1461" y="376"/>
                    <a:pt x="1461" y="374"/>
                    <a:pt x="1459" y="376"/>
                  </a:cubicBezTo>
                  <a:cubicBezTo>
                    <a:pt x="1456" y="379"/>
                    <a:pt x="1456" y="380"/>
                    <a:pt x="1451" y="382"/>
                  </a:cubicBezTo>
                  <a:cubicBezTo>
                    <a:pt x="1445" y="385"/>
                    <a:pt x="1441" y="386"/>
                    <a:pt x="1438" y="388"/>
                  </a:cubicBezTo>
                  <a:cubicBezTo>
                    <a:pt x="1435" y="390"/>
                    <a:pt x="1431" y="391"/>
                    <a:pt x="1430" y="391"/>
                  </a:cubicBezTo>
                  <a:cubicBezTo>
                    <a:pt x="1429" y="390"/>
                    <a:pt x="1431" y="393"/>
                    <a:pt x="1428" y="388"/>
                  </a:cubicBezTo>
                  <a:cubicBezTo>
                    <a:pt x="1425" y="383"/>
                    <a:pt x="1429" y="384"/>
                    <a:pt x="1423" y="381"/>
                  </a:cubicBezTo>
                  <a:cubicBezTo>
                    <a:pt x="1416" y="378"/>
                    <a:pt x="1416" y="377"/>
                    <a:pt x="1417" y="374"/>
                  </a:cubicBezTo>
                  <a:cubicBezTo>
                    <a:pt x="1417" y="372"/>
                    <a:pt x="1400" y="380"/>
                    <a:pt x="1402" y="374"/>
                  </a:cubicBezTo>
                  <a:cubicBezTo>
                    <a:pt x="1404" y="369"/>
                    <a:pt x="1382" y="382"/>
                    <a:pt x="1391" y="375"/>
                  </a:cubicBezTo>
                  <a:cubicBezTo>
                    <a:pt x="1401" y="368"/>
                    <a:pt x="1398" y="367"/>
                    <a:pt x="1404" y="365"/>
                  </a:cubicBezTo>
                  <a:cubicBezTo>
                    <a:pt x="1410" y="364"/>
                    <a:pt x="1406" y="363"/>
                    <a:pt x="1408" y="357"/>
                  </a:cubicBezTo>
                  <a:cubicBezTo>
                    <a:pt x="1410" y="352"/>
                    <a:pt x="1407" y="353"/>
                    <a:pt x="1410" y="348"/>
                  </a:cubicBezTo>
                  <a:cubicBezTo>
                    <a:pt x="1413" y="344"/>
                    <a:pt x="1406" y="343"/>
                    <a:pt x="1413" y="339"/>
                  </a:cubicBezTo>
                  <a:cubicBezTo>
                    <a:pt x="1421" y="335"/>
                    <a:pt x="1417" y="335"/>
                    <a:pt x="1422" y="331"/>
                  </a:cubicBezTo>
                  <a:cubicBezTo>
                    <a:pt x="1428" y="327"/>
                    <a:pt x="1426" y="326"/>
                    <a:pt x="1429" y="324"/>
                  </a:cubicBezTo>
                  <a:cubicBezTo>
                    <a:pt x="1433" y="322"/>
                    <a:pt x="1434" y="315"/>
                    <a:pt x="1430" y="319"/>
                  </a:cubicBezTo>
                  <a:cubicBezTo>
                    <a:pt x="1426" y="322"/>
                    <a:pt x="1424" y="326"/>
                    <a:pt x="1421" y="322"/>
                  </a:cubicBezTo>
                  <a:cubicBezTo>
                    <a:pt x="1418" y="319"/>
                    <a:pt x="1416" y="316"/>
                    <a:pt x="1411" y="316"/>
                  </a:cubicBezTo>
                  <a:cubicBezTo>
                    <a:pt x="1406" y="316"/>
                    <a:pt x="1398" y="315"/>
                    <a:pt x="1397" y="315"/>
                  </a:cubicBezTo>
                  <a:cubicBezTo>
                    <a:pt x="1396" y="315"/>
                    <a:pt x="1393" y="312"/>
                    <a:pt x="1396" y="307"/>
                  </a:cubicBezTo>
                  <a:cubicBezTo>
                    <a:pt x="1400" y="302"/>
                    <a:pt x="1407" y="303"/>
                    <a:pt x="1400" y="301"/>
                  </a:cubicBezTo>
                  <a:cubicBezTo>
                    <a:pt x="1393" y="298"/>
                    <a:pt x="1393" y="300"/>
                    <a:pt x="1389" y="295"/>
                  </a:cubicBezTo>
                  <a:cubicBezTo>
                    <a:pt x="1386" y="289"/>
                    <a:pt x="1384" y="287"/>
                    <a:pt x="1382" y="288"/>
                  </a:cubicBezTo>
                  <a:cubicBezTo>
                    <a:pt x="1379" y="289"/>
                    <a:pt x="1381" y="284"/>
                    <a:pt x="1375" y="284"/>
                  </a:cubicBezTo>
                  <a:cubicBezTo>
                    <a:pt x="1370" y="284"/>
                    <a:pt x="1362" y="281"/>
                    <a:pt x="1360" y="282"/>
                  </a:cubicBezTo>
                  <a:cubicBezTo>
                    <a:pt x="1358" y="284"/>
                    <a:pt x="1358" y="286"/>
                    <a:pt x="1353" y="287"/>
                  </a:cubicBezTo>
                  <a:cubicBezTo>
                    <a:pt x="1348" y="288"/>
                    <a:pt x="1347" y="287"/>
                    <a:pt x="1340" y="287"/>
                  </a:cubicBezTo>
                  <a:cubicBezTo>
                    <a:pt x="1334" y="287"/>
                    <a:pt x="1336" y="285"/>
                    <a:pt x="1330" y="285"/>
                  </a:cubicBezTo>
                  <a:cubicBezTo>
                    <a:pt x="1324" y="285"/>
                    <a:pt x="1322" y="285"/>
                    <a:pt x="1319" y="285"/>
                  </a:cubicBezTo>
                  <a:cubicBezTo>
                    <a:pt x="1315" y="284"/>
                    <a:pt x="1311" y="279"/>
                    <a:pt x="1308" y="279"/>
                  </a:cubicBezTo>
                  <a:cubicBezTo>
                    <a:pt x="1305" y="279"/>
                    <a:pt x="1299" y="279"/>
                    <a:pt x="1298" y="280"/>
                  </a:cubicBezTo>
                  <a:cubicBezTo>
                    <a:pt x="1297" y="282"/>
                    <a:pt x="1291" y="279"/>
                    <a:pt x="1288" y="283"/>
                  </a:cubicBezTo>
                  <a:cubicBezTo>
                    <a:pt x="1285" y="287"/>
                    <a:pt x="1279" y="288"/>
                    <a:pt x="1279" y="290"/>
                  </a:cubicBezTo>
                  <a:cubicBezTo>
                    <a:pt x="1279" y="293"/>
                    <a:pt x="1278" y="296"/>
                    <a:pt x="1278" y="299"/>
                  </a:cubicBezTo>
                  <a:cubicBezTo>
                    <a:pt x="1278" y="301"/>
                    <a:pt x="1284" y="302"/>
                    <a:pt x="1278" y="306"/>
                  </a:cubicBezTo>
                  <a:cubicBezTo>
                    <a:pt x="1272" y="310"/>
                    <a:pt x="1273" y="311"/>
                    <a:pt x="1268" y="315"/>
                  </a:cubicBezTo>
                  <a:cubicBezTo>
                    <a:pt x="1262" y="318"/>
                    <a:pt x="1265" y="317"/>
                    <a:pt x="1260" y="319"/>
                  </a:cubicBezTo>
                  <a:cubicBezTo>
                    <a:pt x="1254" y="322"/>
                    <a:pt x="1247" y="324"/>
                    <a:pt x="1253" y="325"/>
                  </a:cubicBezTo>
                  <a:cubicBezTo>
                    <a:pt x="1260" y="326"/>
                    <a:pt x="1267" y="324"/>
                    <a:pt x="1266" y="326"/>
                  </a:cubicBezTo>
                  <a:cubicBezTo>
                    <a:pt x="1265" y="328"/>
                    <a:pt x="1259" y="332"/>
                    <a:pt x="1259" y="334"/>
                  </a:cubicBezTo>
                  <a:cubicBezTo>
                    <a:pt x="1260" y="337"/>
                    <a:pt x="1262" y="341"/>
                    <a:pt x="1260" y="344"/>
                  </a:cubicBezTo>
                  <a:cubicBezTo>
                    <a:pt x="1258" y="346"/>
                    <a:pt x="1254" y="352"/>
                    <a:pt x="1251" y="353"/>
                  </a:cubicBezTo>
                  <a:cubicBezTo>
                    <a:pt x="1249" y="354"/>
                    <a:pt x="1249" y="354"/>
                    <a:pt x="1240" y="359"/>
                  </a:cubicBezTo>
                  <a:cubicBezTo>
                    <a:pt x="1231" y="365"/>
                    <a:pt x="1228" y="365"/>
                    <a:pt x="1225" y="368"/>
                  </a:cubicBezTo>
                  <a:cubicBezTo>
                    <a:pt x="1222" y="372"/>
                    <a:pt x="1214" y="370"/>
                    <a:pt x="1215" y="375"/>
                  </a:cubicBezTo>
                  <a:cubicBezTo>
                    <a:pt x="1216" y="380"/>
                    <a:pt x="1220" y="380"/>
                    <a:pt x="1224" y="387"/>
                  </a:cubicBezTo>
                  <a:cubicBezTo>
                    <a:pt x="1229" y="394"/>
                    <a:pt x="1235" y="394"/>
                    <a:pt x="1233" y="400"/>
                  </a:cubicBezTo>
                  <a:cubicBezTo>
                    <a:pt x="1232" y="407"/>
                    <a:pt x="1232" y="412"/>
                    <a:pt x="1230" y="419"/>
                  </a:cubicBezTo>
                  <a:cubicBezTo>
                    <a:pt x="1227" y="427"/>
                    <a:pt x="1224" y="428"/>
                    <a:pt x="1221" y="433"/>
                  </a:cubicBezTo>
                  <a:cubicBezTo>
                    <a:pt x="1218" y="439"/>
                    <a:pt x="1216" y="439"/>
                    <a:pt x="1211" y="445"/>
                  </a:cubicBezTo>
                  <a:cubicBezTo>
                    <a:pt x="1207" y="450"/>
                    <a:pt x="1195" y="456"/>
                    <a:pt x="1192" y="458"/>
                  </a:cubicBezTo>
                  <a:cubicBezTo>
                    <a:pt x="1190" y="460"/>
                    <a:pt x="1186" y="464"/>
                    <a:pt x="1179" y="466"/>
                  </a:cubicBezTo>
                  <a:cubicBezTo>
                    <a:pt x="1172" y="468"/>
                    <a:pt x="1173" y="469"/>
                    <a:pt x="1166" y="471"/>
                  </a:cubicBezTo>
                  <a:cubicBezTo>
                    <a:pt x="1159" y="473"/>
                    <a:pt x="1157" y="471"/>
                    <a:pt x="1151" y="474"/>
                  </a:cubicBezTo>
                  <a:cubicBezTo>
                    <a:pt x="1145" y="477"/>
                    <a:pt x="1138" y="480"/>
                    <a:pt x="1134" y="482"/>
                  </a:cubicBezTo>
                  <a:cubicBezTo>
                    <a:pt x="1130" y="484"/>
                    <a:pt x="1126" y="482"/>
                    <a:pt x="1126" y="486"/>
                  </a:cubicBezTo>
                  <a:cubicBezTo>
                    <a:pt x="1126" y="490"/>
                    <a:pt x="1125" y="496"/>
                    <a:pt x="1127" y="498"/>
                  </a:cubicBezTo>
                  <a:cubicBezTo>
                    <a:pt x="1129" y="500"/>
                    <a:pt x="1130" y="501"/>
                    <a:pt x="1128" y="506"/>
                  </a:cubicBezTo>
                  <a:cubicBezTo>
                    <a:pt x="1126" y="512"/>
                    <a:pt x="1119" y="518"/>
                    <a:pt x="1119" y="521"/>
                  </a:cubicBezTo>
                  <a:cubicBezTo>
                    <a:pt x="1119" y="525"/>
                    <a:pt x="1117" y="522"/>
                    <a:pt x="1117" y="528"/>
                  </a:cubicBezTo>
                  <a:cubicBezTo>
                    <a:pt x="1117" y="535"/>
                    <a:pt x="1111" y="541"/>
                    <a:pt x="1113" y="543"/>
                  </a:cubicBezTo>
                  <a:cubicBezTo>
                    <a:pt x="1115" y="546"/>
                    <a:pt x="1117" y="545"/>
                    <a:pt x="1111" y="550"/>
                  </a:cubicBezTo>
                  <a:cubicBezTo>
                    <a:pt x="1105" y="555"/>
                    <a:pt x="1099" y="557"/>
                    <a:pt x="1098" y="562"/>
                  </a:cubicBezTo>
                  <a:cubicBezTo>
                    <a:pt x="1097" y="567"/>
                    <a:pt x="1096" y="574"/>
                    <a:pt x="1094" y="571"/>
                  </a:cubicBezTo>
                  <a:cubicBezTo>
                    <a:pt x="1092" y="569"/>
                    <a:pt x="1086" y="565"/>
                    <a:pt x="1084" y="567"/>
                  </a:cubicBezTo>
                  <a:cubicBezTo>
                    <a:pt x="1083" y="569"/>
                    <a:pt x="1078" y="571"/>
                    <a:pt x="1077" y="575"/>
                  </a:cubicBezTo>
                  <a:cubicBezTo>
                    <a:pt x="1076" y="578"/>
                    <a:pt x="1073" y="583"/>
                    <a:pt x="1070" y="578"/>
                  </a:cubicBezTo>
                  <a:cubicBezTo>
                    <a:pt x="1067" y="573"/>
                    <a:pt x="1059" y="578"/>
                    <a:pt x="1060" y="573"/>
                  </a:cubicBezTo>
                  <a:cubicBezTo>
                    <a:pt x="1062" y="567"/>
                    <a:pt x="1067" y="572"/>
                    <a:pt x="1062" y="565"/>
                  </a:cubicBezTo>
                  <a:cubicBezTo>
                    <a:pt x="1057" y="557"/>
                    <a:pt x="1062" y="555"/>
                    <a:pt x="1056" y="552"/>
                  </a:cubicBezTo>
                  <a:cubicBezTo>
                    <a:pt x="1050" y="550"/>
                    <a:pt x="1046" y="547"/>
                    <a:pt x="1049" y="545"/>
                  </a:cubicBezTo>
                  <a:cubicBezTo>
                    <a:pt x="1052" y="543"/>
                    <a:pt x="1061" y="546"/>
                    <a:pt x="1054" y="541"/>
                  </a:cubicBezTo>
                  <a:cubicBezTo>
                    <a:pt x="1047" y="535"/>
                    <a:pt x="1043" y="534"/>
                    <a:pt x="1046" y="531"/>
                  </a:cubicBezTo>
                  <a:cubicBezTo>
                    <a:pt x="1049" y="527"/>
                    <a:pt x="1052" y="521"/>
                    <a:pt x="1054" y="526"/>
                  </a:cubicBezTo>
                  <a:cubicBezTo>
                    <a:pt x="1057" y="531"/>
                    <a:pt x="1055" y="533"/>
                    <a:pt x="1064" y="534"/>
                  </a:cubicBezTo>
                  <a:cubicBezTo>
                    <a:pt x="1072" y="535"/>
                    <a:pt x="1079" y="543"/>
                    <a:pt x="1078" y="534"/>
                  </a:cubicBezTo>
                  <a:cubicBezTo>
                    <a:pt x="1076" y="526"/>
                    <a:pt x="1082" y="524"/>
                    <a:pt x="1073" y="523"/>
                  </a:cubicBezTo>
                  <a:cubicBezTo>
                    <a:pt x="1064" y="522"/>
                    <a:pt x="1056" y="526"/>
                    <a:pt x="1056" y="521"/>
                  </a:cubicBezTo>
                  <a:cubicBezTo>
                    <a:pt x="1056" y="515"/>
                    <a:pt x="1057" y="511"/>
                    <a:pt x="1060" y="508"/>
                  </a:cubicBezTo>
                  <a:cubicBezTo>
                    <a:pt x="1063" y="505"/>
                    <a:pt x="1062" y="510"/>
                    <a:pt x="1062" y="501"/>
                  </a:cubicBezTo>
                  <a:cubicBezTo>
                    <a:pt x="1062" y="492"/>
                    <a:pt x="1065" y="495"/>
                    <a:pt x="1069" y="488"/>
                  </a:cubicBezTo>
                  <a:cubicBezTo>
                    <a:pt x="1073" y="481"/>
                    <a:pt x="1080" y="476"/>
                    <a:pt x="1080" y="474"/>
                  </a:cubicBezTo>
                  <a:cubicBezTo>
                    <a:pt x="1079" y="471"/>
                    <a:pt x="1081" y="470"/>
                    <a:pt x="1074" y="470"/>
                  </a:cubicBezTo>
                  <a:cubicBezTo>
                    <a:pt x="1066" y="470"/>
                    <a:pt x="1063" y="468"/>
                    <a:pt x="1056" y="468"/>
                  </a:cubicBezTo>
                  <a:cubicBezTo>
                    <a:pt x="1049" y="468"/>
                    <a:pt x="1046" y="466"/>
                    <a:pt x="1040" y="467"/>
                  </a:cubicBezTo>
                  <a:cubicBezTo>
                    <a:pt x="1033" y="468"/>
                    <a:pt x="1025" y="470"/>
                    <a:pt x="1022" y="466"/>
                  </a:cubicBezTo>
                  <a:cubicBezTo>
                    <a:pt x="1018" y="462"/>
                    <a:pt x="1019" y="459"/>
                    <a:pt x="1010" y="456"/>
                  </a:cubicBezTo>
                  <a:cubicBezTo>
                    <a:pt x="1001" y="453"/>
                    <a:pt x="998" y="451"/>
                    <a:pt x="993" y="449"/>
                  </a:cubicBezTo>
                  <a:cubicBezTo>
                    <a:pt x="989" y="448"/>
                    <a:pt x="987" y="449"/>
                    <a:pt x="985" y="444"/>
                  </a:cubicBezTo>
                  <a:cubicBezTo>
                    <a:pt x="984" y="439"/>
                    <a:pt x="984" y="438"/>
                    <a:pt x="979" y="433"/>
                  </a:cubicBezTo>
                  <a:cubicBezTo>
                    <a:pt x="974" y="429"/>
                    <a:pt x="974" y="424"/>
                    <a:pt x="967" y="424"/>
                  </a:cubicBezTo>
                  <a:cubicBezTo>
                    <a:pt x="961" y="423"/>
                    <a:pt x="965" y="422"/>
                    <a:pt x="956" y="420"/>
                  </a:cubicBezTo>
                  <a:cubicBezTo>
                    <a:pt x="947" y="418"/>
                    <a:pt x="947" y="416"/>
                    <a:pt x="939" y="416"/>
                  </a:cubicBezTo>
                  <a:cubicBezTo>
                    <a:pt x="932" y="416"/>
                    <a:pt x="929" y="414"/>
                    <a:pt x="922" y="416"/>
                  </a:cubicBezTo>
                  <a:cubicBezTo>
                    <a:pt x="915" y="419"/>
                    <a:pt x="918" y="418"/>
                    <a:pt x="910" y="420"/>
                  </a:cubicBezTo>
                  <a:cubicBezTo>
                    <a:pt x="903" y="423"/>
                    <a:pt x="894" y="429"/>
                    <a:pt x="900" y="423"/>
                  </a:cubicBezTo>
                  <a:cubicBezTo>
                    <a:pt x="906" y="417"/>
                    <a:pt x="905" y="417"/>
                    <a:pt x="908" y="410"/>
                  </a:cubicBezTo>
                  <a:cubicBezTo>
                    <a:pt x="912" y="403"/>
                    <a:pt x="912" y="404"/>
                    <a:pt x="914" y="396"/>
                  </a:cubicBezTo>
                  <a:cubicBezTo>
                    <a:pt x="916" y="388"/>
                    <a:pt x="914" y="388"/>
                    <a:pt x="917" y="380"/>
                  </a:cubicBezTo>
                  <a:cubicBezTo>
                    <a:pt x="920" y="373"/>
                    <a:pt x="918" y="374"/>
                    <a:pt x="912" y="374"/>
                  </a:cubicBezTo>
                  <a:cubicBezTo>
                    <a:pt x="907" y="374"/>
                    <a:pt x="904" y="374"/>
                    <a:pt x="901" y="375"/>
                  </a:cubicBezTo>
                  <a:cubicBezTo>
                    <a:pt x="898" y="375"/>
                    <a:pt x="889" y="379"/>
                    <a:pt x="894" y="370"/>
                  </a:cubicBezTo>
                  <a:cubicBezTo>
                    <a:pt x="899" y="362"/>
                    <a:pt x="904" y="349"/>
                    <a:pt x="911" y="344"/>
                  </a:cubicBezTo>
                  <a:cubicBezTo>
                    <a:pt x="919" y="340"/>
                    <a:pt x="911" y="339"/>
                    <a:pt x="923" y="333"/>
                  </a:cubicBezTo>
                  <a:cubicBezTo>
                    <a:pt x="936" y="327"/>
                    <a:pt x="932" y="328"/>
                    <a:pt x="941" y="322"/>
                  </a:cubicBezTo>
                  <a:cubicBezTo>
                    <a:pt x="949" y="315"/>
                    <a:pt x="948" y="315"/>
                    <a:pt x="954" y="311"/>
                  </a:cubicBezTo>
                  <a:cubicBezTo>
                    <a:pt x="961" y="306"/>
                    <a:pt x="955" y="305"/>
                    <a:pt x="964" y="303"/>
                  </a:cubicBezTo>
                  <a:cubicBezTo>
                    <a:pt x="973" y="301"/>
                    <a:pt x="972" y="301"/>
                    <a:pt x="979" y="297"/>
                  </a:cubicBezTo>
                  <a:cubicBezTo>
                    <a:pt x="987" y="294"/>
                    <a:pt x="983" y="289"/>
                    <a:pt x="994" y="286"/>
                  </a:cubicBezTo>
                  <a:cubicBezTo>
                    <a:pt x="1004" y="284"/>
                    <a:pt x="998" y="280"/>
                    <a:pt x="1007" y="279"/>
                  </a:cubicBezTo>
                  <a:cubicBezTo>
                    <a:pt x="1016" y="279"/>
                    <a:pt x="1017" y="271"/>
                    <a:pt x="1024" y="271"/>
                  </a:cubicBezTo>
                  <a:cubicBezTo>
                    <a:pt x="1032" y="271"/>
                    <a:pt x="1039" y="274"/>
                    <a:pt x="1048" y="270"/>
                  </a:cubicBezTo>
                  <a:cubicBezTo>
                    <a:pt x="1057" y="267"/>
                    <a:pt x="1065" y="263"/>
                    <a:pt x="1055" y="259"/>
                  </a:cubicBezTo>
                  <a:cubicBezTo>
                    <a:pt x="1046" y="255"/>
                    <a:pt x="1045" y="255"/>
                    <a:pt x="1038" y="252"/>
                  </a:cubicBezTo>
                  <a:cubicBezTo>
                    <a:pt x="1032" y="250"/>
                    <a:pt x="1023" y="243"/>
                    <a:pt x="1030" y="244"/>
                  </a:cubicBezTo>
                  <a:cubicBezTo>
                    <a:pt x="1038" y="245"/>
                    <a:pt x="1045" y="253"/>
                    <a:pt x="1055" y="254"/>
                  </a:cubicBezTo>
                  <a:cubicBezTo>
                    <a:pt x="1064" y="254"/>
                    <a:pt x="1068" y="257"/>
                    <a:pt x="1076" y="251"/>
                  </a:cubicBezTo>
                  <a:cubicBezTo>
                    <a:pt x="1085" y="244"/>
                    <a:pt x="1078" y="237"/>
                    <a:pt x="1086" y="239"/>
                  </a:cubicBezTo>
                  <a:cubicBezTo>
                    <a:pt x="1095" y="242"/>
                    <a:pt x="1091" y="249"/>
                    <a:pt x="1106" y="244"/>
                  </a:cubicBezTo>
                  <a:cubicBezTo>
                    <a:pt x="1121" y="239"/>
                    <a:pt x="1110" y="241"/>
                    <a:pt x="1126" y="238"/>
                  </a:cubicBezTo>
                  <a:cubicBezTo>
                    <a:pt x="1142" y="234"/>
                    <a:pt x="1137" y="232"/>
                    <a:pt x="1148" y="228"/>
                  </a:cubicBezTo>
                  <a:cubicBezTo>
                    <a:pt x="1159" y="224"/>
                    <a:pt x="1162" y="225"/>
                    <a:pt x="1162" y="219"/>
                  </a:cubicBezTo>
                  <a:cubicBezTo>
                    <a:pt x="1163" y="212"/>
                    <a:pt x="1168" y="211"/>
                    <a:pt x="1163" y="211"/>
                  </a:cubicBezTo>
                  <a:cubicBezTo>
                    <a:pt x="1157" y="211"/>
                    <a:pt x="1153" y="212"/>
                    <a:pt x="1145" y="211"/>
                  </a:cubicBezTo>
                  <a:cubicBezTo>
                    <a:pt x="1137" y="210"/>
                    <a:pt x="1131" y="215"/>
                    <a:pt x="1128" y="208"/>
                  </a:cubicBezTo>
                  <a:cubicBezTo>
                    <a:pt x="1125" y="201"/>
                    <a:pt x="1118" y="194"/>
                    <a:pt x="1125" y="196"/>
                  </a:cubicBezTo>
                  <a:cubicBezTo>
                    <a:pt x="1131" y="198"/>
                    <a:pt x="1134" y="195"/>
                    <a:pt x="1139" y="198"/>
                  </a:cubicBezTo>
                  <a:cubicBezTo>
                    <a:pt x="1144" y="200"/>
                    <a:pt x="1140" y="201"/>
                    <a:pt x="1148" y="203"/>
                  </a:cubicBezTo>
                  <a:cubicBezTo>
                    <a:pt x="1156" y="205"/>
                    <a:pt x="1153" y="206"/>
                    <a:pt x="1160" y="207"/>
                  </a:cubicBezTo>
                  <a:cubicBezTo>
                    <a:pt x="1168" y="207"/>
                    <a:pt x="1171" y="205"/>
                    <a:pt x="1175" y="204"/>
                  </a:cubicBezTo>
                  <a:cubicBezTo>
                    <a:pt x="1179" y="204"/>
                    <a:pt x="1182" y="202"/>
                    <a:pt x="1186" y="198"/>
                  </a:cubicBezTo>
                  <a:cubicBezTo>
                    <a:pt x="1191" y="195"/>
                    <a:pt x="1202" y="193"/>
                    <a:pt x="1203" y="191"/>
                  </a:cubicBezTo>
                  <a:cubicBezTo>
                    <a:pt x="1204" y="189"/>
                    <a:pt x="1192" y="184"/>
                    <a:pt x="1197" y="183"/>
                  </a:cubicBezTo>
                  <a:cubicBezTo>
                    <a:pt x="1202" y="181"/>
                    <a:pt x="1215" y="180"/>
                    <a:pt x="1218" y="181"/>
                  </a:cubicBezTo>
                  <a:cubicBezTo>
                    <a:pt x="1220" y="183"/>
                    <a:pt x="1220" y="186"/>
                    <a:pt x="1223" y="187"/>
                  </a:cubicBezTo>
                  <a:cubicBezTo>
                    <a:pt x="1226" y="188"/>
                    <a:pt x="1227" y="196"/>
                    <a:pt x="1227" y="196"/>
                  </a:cubicBezTo>
                  <a:cubicBezTo>
                    <a:pt x="1227" y="197"/>
                    <a:pt x="1241" y="203"/>
                    <a:pt x="1245" y="202"/>
                  </a:cubicBezTo>
                  <a:cubicBezTo>
                    <a:pt x="1249" y="200"/>
                    <a:pt x="1250" y="198"/>
                    <a:pt x="1246" y="195"/>
                  </a:cubicBezTo>
                  <a:cubicBezTo>
                    <a:pt x="1241" y="193"/>
                    <a:pt x="1237" y="187"/>
                    <a:pt x="1240" y="187"/>
                  </a:cubicBezTo>
                  <a:cubicBezTo>
                    <a:pt x="1244" y="188"/>
                    <a:pt x="1247" y="176"/>
                    <a:pt x="1251" y="180"/>
                  </a:cubicBezTo>
                  <a:cubicBezTo>
                    <a:pt x="1254" y="183"/>
                    <a:pt x="1245" y="193"/>
                    <a:pt x="1263" y="187"/>
                  </a:cubicBezTo>
                  <a:cubicBezTo>
                    <a:pt x="1282" y="181"/>
                    <a:pt x="1283" y="175"/>
                    <a:pt x="1288" y="175"/>
                  </a:cubicBezTo>
                  <a:cubicBezTo>
                    <a:pt x="1293" y="175"/>
                    <a:pt x="1290" y="174"/>
                    <a:pt x="1299" y="171"/>
                  </a:cubicBezTo>
                  <a:cubicBezTo>
                    <a:pt x="1309" y="167"/>
                    <a:pt x="1305" y="171"/>
                    <a:pt x="1312" y="164"/>
                  </a:cubicBezTo>
                  <a:cubicBezTo>
                    <a:pt x="1319" y="157"/>
                    <a:pt x="1321" y="159"/>
                    <a:pt x="1317" y="153"/>
                  </a:cubicBezTo>
                  <a:cubicBezTo>
                    <a:pt x="1313" y="148"/>
                    <a:pt x="1309" y="149"/>
                    <a:pt x="1312" y="142"/>
                  </a:cubicBezTo>
                  <a:cubicBezTo>
                    <a:pt x="1315" y="135"/>
                    <a:pt x="1304" y="128"/>
                    <a:pt x="1316" y="132"/>
                  </a:cubicBezTo>
                  <a:cubicBezTo>
                    <a:pt x="1328" y="135"/>
                    <a:pt x="1329" y="130"/>
                    <a:pt x="1335" y="128"/>
                  </a:cubicBezTo>
                  <a:cubicBezTo>
                    <a:pt x="1340" y="126"/>
                    <a:pt x="1342" y="122"/>
                    <a:pt x="1341" y="121"/>
                  </a:cubicBezTo>
                  <a:cubicBezTo>
                    <a:pt x="1339" y="120"/>
                    <a:pt x="1343" y="117"/>
                    <a:pt x="1339" y="115"/>
                  </a:cubicBezTo>
                  <a:cubicBezTo>
                    <a:pt x="1336" y="113"/>
                    <a:pt x="1332" y="111"/>
                    <a:pt x="1334" y="109"/>
                  </a:cubicBezTo>
                  <a:cubicBezTo>
                    <a:pt x="1336" y="108"/>
                    <a:pt x="1346" y="106"/>
                    <a:pt x="1331" y="105"/>
                  </a:cubicBezTo>
                  <a:cubicBezTo>
                    <a:pt x="1316" y="104"/>
                    <a:pt x="1316" y="104"/>
                    <a:pt x="1311" y="103"/>
                  </a:cubicBezTo>
                  <a:cubicBezTo>
                    <a:pt x="1306" y="103"/>
                    <a:pt x="1303" y="101"/>
                    <a:pt x="1300" y="102"/>
                  </a:cubicBezTo>
                  <a:cubicBezTo>
                    <a:pt x="1297" y="103"/>
                    <a:pt x="1291" y="103"/>
                    <a:pt x="1290" y="104"/>
                  </a:cubicBezTo>
                  <a:cubicBezTo>
                    <a:pt x="1288" y="104"/>
                    <a:pt x="1284" y="102"/>
                    <a:pt x="1283" y="104"/>
                  </a:cubicBezTo>
                  <a:cubicBezTo>
                    <a:pt x="1282" y="107"/>
                    <a:pt x="1278" y="109"/>
                    <a:pt x="1278" y="113"/>
                  </a:cubicBezTo>
                  <a:cubicBezTo>
                    <a:pt x="1277" y="116"/>
                    <a:pt x="1273" y="114"/>
                    <a:pt x="1275" y="117"/>
                  </a:cubicBezTo>
                  <a:cubicBezTo>
                    <a:pt x="1277" y="119"/>
                    <a:pt x="1279" y="121"/>
                    <a:pt x="1277" y="123"/>
                  </a:cubicBezTo>
                  <a:cubicBezTo>
                    <a:pt x="1274" y="125"/>
                    <a:pt x="1280" y="130"/>
                    <a:pt x="1272" y="129"/>
                  </a:cubicBezTo>
                  <a:cubicBezTo>
                    <a:pt x="1264" y="129"/>
                    <a:pt x="1263" y="127"/>
                    <a:pt x="1261" y="129"/>
                  </a:cubicBezTo>
                  <a:cubicBezTo>
                    <a:pt x="1258" y="130"/>
                    <a:pt x="1255" y="133"/>
                    <a:pt x="1252" y="137"/>
                  </a:cubicBezTo>
                  <a:cubicBezTo>
                    <a:pt x="1249" y="140"/>
                    <a:pt x="1239" y="144"/>
                    <a:pt x="1236" y="146"/>
                  </a:cubicBezTo>
                  <a:cubicBezTo>
                    <a:pt x="1236" y="146"/>
                    <a:pt x="1236" y="146"/>
                    <a:pt x="1236" y="146"/>
                  </a:cubicBezTo>
                  <a:cubicBezTo>
                    <a:pt x="1237" y="146"/>
                    <a:pt x="1243" y="138"/>
                    <a:pt x="1234" y="140"/>
                  </a:cubicBezTo>
                  <a:cubicBezTo>
                    <a:pt x="1223" y="142"/>
                    <a:pt x="1220" y="152"/>
                    <a:pt x="1221" y="153"/>
                  </a:cubicBezTo>
                  <a:cubicBezTo>
                    <a:pt x="1222" y="154"/>
                    <a:pt x="1227" y="156"/>
                    <a:pt x="1219" y="159"/>
                  </a:cubicBezTo>
                  <a:cubicBezTo>
                    <a:pt x="1211" y="161"/>
                    <a:pt x="1204" y="163"/>
                    <a:pt x="1201" y="165"/>
                  </a:cubicBezTo>
                  <a:cubicBezTo>
                    <a:pt x="1197" y="167"/>
                    <a:pt x="1194" y="168"/>
                    <a:pt x="1194" y="157"/>
                  </a:cubicBezTo>
                  <a:cubicBezTo>
                    <a:pt x="1194" y="147"/>
                    <a:pt x="1193" y="144"/>
                    <a:pt x="1197" y="142"/>
                  </a:cubicBezTo>
                  <a:cubicBezTo>
                    <a:pt x="1201" y="141"/>
                    <a:pt x="1198" y="140"/>
                    <a:pt x="1204" y="139"/>
                  </a:cubicBezTo>
                  <a:cubicBezTo>
                    <a:pt x="1210" y="138"/>
                    <a:pt x="1215" y="139"/>
                    <a:pt x="1218" y="132"/>
                  </a:cubicBezTo>
                  <a:cubicBezTo>
                    <a:pt x="1220" y="126"/>
                    <a:pt x="1222" y="117"/>
                    <a:pt x="1210" y="117"/>
                  </a:cubicBezTo>
                  <a:cubicBezTo>
                    <a:pt x="1198" y="117"/>
                    <a:pt x="1194" y="117"/>
                    <a:pt x="1189" y="122"/>
                  </a:cubicBezTo>
                  <a:cubicBezTo>
                    <a:pt x="1183" y="126"/>
                    <a:pt x="1181" y="132"/>
                    <a:pt x="1177" y="136"/>
                  </a:cubicBezTo>
                  <a:cubicBezTo>
                    <a:pt x="1173" y="141"/>
                    <a:pt x="1168" y="142"/>
                    <a:pt x="1168" y="137"/>
                  </a:cubicBezTo>
                  <a:cubicBezTo>
                    <a:pt x="1168" y="132"/>
                    <a:pt x="1169" y="134"/>
                    <a:pt x="1173" y="128"/>
                  </a:cubicBezTo>
                  <a:cubicBezTo>
                    <a:pt x="1176" y="122"/>
                    <a:pt x="1180" y="124"/>
                    <a:pt x="1176" y="119"/>
                  </a:cubicBezTo>
                  <a:cubicBezTo>
                    <a:pt x="1173" y="114"/>
                    <a:pt x="1168" y="112"/>
                    <a:pt x="1175" y="112"/>
                  </a:cubicBezTo>
                  <a:cubicBezTo>
                    <a:pt x="1182" y="112"/>
                    <a:pt x="1188" y="115"/>
                    <a:pt x="1189" y="112"/>
                  </a:cubicBezTo>
                  <a:cubicBezTo>
                    <a:pt x="1190" y="109"/>
                    <a:pt x="1198" y="104"/>
                    <a:pt x="1185" y="106"/>
                  </a:cubicBezTo>
                  <a:cubicBezTo>
                    <a:pt x="1172" y="107"/>
                    <a:pt x="1166" y="107"/>
                    <a:pt x="1163" y="107"/>
                  </a:cubicBezTo>
                  <a:cubicBezTo>
                    <a:pt x="1160" y="108"/>
                    <a:pt x="1153" y="106"/>
                    <a:pt x="1157" y="103"/>
                  </a:cubicBezTo>
                  <a:cubicBezTo>
                    <a:pt x="1162" y="99"/>
                    <a:pt x="1171" y="97"/>
                    <a:pt x="1178" y="94"/>
                  </a:cubicBezTo>
                  <a:cubicBezTo>
                    <a:pt x="1185" y="91"/>
                    <a:pt x="1185" y="89"/>
                    <a:pt x="1181" y="84"/>
                  </a:cubicBezTo>
                  <a:cubicBezTo>
                    <a:pt x="1178" y="80"/>
                    <a:pt x="1173" y="79"/>
                    <a:pt x="1178" y="73"/>
                  </a:cubicBezTo>
                  <a:cubicBezTo>
                    <a:pt x="1182" y="68"/>
                    <a:pt x="1187" y="66"/>
                    <a:pt x="1182" y="63"/>
                  </a:cubicBezTo>
                  <a:cubicBezTo>
                    <a:pt x="1178" y="60"/>
                    <a:pt x="1169" y="56"/>
                    <a:pt x="1174" y="54"/>
                  </a:cubicBezTo>
                  <a:cubicBezTo>
                    <a:pt x="1179" y="52"/>
                    <a:pt x="1183" y="51"/>
                    <a:pt x="1192" y="48"/>
                  </a:cubicBezTo>
                  <a:cubicBezTo>
                    <a:pt x="1200" y="45"/>
                    <a:pt x="1206" y="33"/>
                    <a:pt x="1211" y="35"/>
                  </a:cubicBezTo>
                  <a:cubicBezTo>
                    <a:pt x="1215" y="36"/>
                    <a:pt x="1221" y="37"/>
                    <a:pt x="1240" y="31"/>
                  </a:cubicBezTo>
                  <a:cubicBezTo>
                    <a:pt x="1258" y="25"/>
                    <a:pt x="1258" y="22"/>
                    <a:pt x="1269" y="18"/>
                  </a:cubicBezTo>
                  <a:cubicBezTo>
                    <a:pt x="1280" y="14"/>
                    <a:pt x="1281" y="11"/>
                    <a:pt x="1286" y="9"/>
                  </a:cubicBezTo>
                  <a:cubicBezTo>
                    <a:pt x="1291" y="7"/>
                    <a:pt x="1287" y="1"/>
                    <a:pt x="1278" y="3"/>
                  </a:cubicBezTo>
                  <a:cubicBezTo>
                    <a:pt x="1269" y="6"/>
                    <a:pt x="1262" y="5"/>
                    <a:pt x="1260" y="6"/>
                  </a:cubicBezTo>
                  <a:cubicBezTo>
                    <a:pt x="1258" y="6"/>
                    <a:pt x="1259" y="2"/>
                    <a:pt x="1252" y="3"/>
                  </a:cubicBezTo>
                  <a:cubicBezTo>
                    <a:pt x="1244" y="3"/>
                    <a:pt x="1239" y="0"/>
                    <a:pt x="1233" y="1"/>
                  </a:cubicBezTo>
                  <a:cubicBezTo>
                    <a:pt x="1227" y="2"/>
                    <a:pt x="1213" y="6"/>
                    <a:pt x="1210" y="7"/>
                  </a:cubicBezTo>
                  <a:cubicBezTo>
                    <a:pt x="1208" y="7"/>
                    <a:pt x="1204" y="8"/>
                    <a:pt x="1205" y="10"/>
                  </a:cubicBezTo>
                  <a:cubicBezTo>
                    <a:pt x="1206" y="12"/>
                    <a:pt x="1210" y="16"/>
                    <a:pt x="1204" y="15"/>
                  </a:cubicBezTo>
                  <a:cubicBezTo>
                    <a:pt x="1198" y="13"/>
                    <a:pt x="1197" y="10"/>
                    <a:pt x="1194" y="13"/>
                  </a:cubicBezTo>
                  <a:cubicBezTo>
                    <a:pt x="1191" y="15"/>
                    <a:pt x="1188" y="15"/>
                    <a:pt x="1184" y="22"/>
                  </a:cubicBezTo>
                  <a:cubicBezTo>
                    <a:pt x="1179" y="29"/>
                    <a:pt x="1172" y="33"/>
                    <a:pt x="1171" y="34"/>
                  </a:cubicBezTo>
                  <a:cubicBezTo>
                    <a:pt x="1170" y="35"/>
                    <a:pt x="1172" y="36"/>
                    <a:pt x="1171" y="41"/>
                  </a:cubicBezTo>
                  <a:cubicBezTo>
                    <a:pt x="1170" y="46"/>
                    <a:pt x="1160" y="48"/>
                    <a:pt x="1152" y="53"/>
                  </a:cubicBezTo>
                  <a:cubicBezTo>
                    <a:pt x="1144" y="57"/>
                    <a:pt x="1140" y="59"/>
                    <a:pt x="1140" y="61"/>
                  </a:cubicBezTo>
                  <a:cubicBezTo>
                    <a:pt x="1140" y="62"/>
                    <a:pt x="1147" y="67"/>
                    <a:pt x="1138" y="68"/>
                  </a:cubicBezTo>
                  <a:cubicBezTo>
                    <a:pt x="1129" y="68"/>
                    <a:pt x="1126" y="64"/>
                    <a:pt x="1120" y="68"/>
                  </a:cubicBezTo>
                  <a:cubicBezTo>
                    <a:pt x="1113" y="72"/>
                    <a:pt x="1107" y="75"/>
                    <a:pt x="1107" y="80"/>
                  </a:cubicBezTo>
                  <a:cubicBezTo>
                    <a:pt x="1108" y="84"/>
                    <a:pt x="1107" y="84"/>
                    <a:pt x="1102" y="90"/>
                  </a:cubicBezTo>
                  <a:cubicBezTo>
                    <a:pt x="1097" y="96"/>
                    <a:pt x="1090" y="94"/>
                    <a:pt x="1096" y="99"/>
                  </a:cubicBezTo>
                  <a:cubicBezTo>
                    <a:pt x="1102" y="104"/>
                    <a:pt x="1108" y="106"/>
                    <a:pt x="1113" y="107"/>
                  </a:cubicBezTo>
                  <a:cubicBezTo>
                    <a:pt x="1118" y="108"/>
                    <a:pt x="1122" y="109"/>
                    <a:pt x="1120" y="112"/>
                  </a:cubicBezTo>
                  <a:cubicBezTo>
                    <a:pt x="1118" y="115"/>
                    <a:pt x="1114" y="117"/>
                    <a:pt x="1112" y="119"/>
                  </a:cubicBezTo>
                  <a:cubicBezTo>
                    <a:pt x="1109" y="121"/>
                    <a:pt x="1104" y="128"/>
                    <a:pt x="1107" y="128"/>
                  </a:cubicBezTo>
                  <a:cubicBezTo>
                    <a:pt x="1109" y="128"/>
                    <a:pt x="1121" y="121"/>
                    <a:pt x="1118" y="125"/>
                  </a:cubicBezTo>
                  <a:cubicBezTo>
                    <a:pt x="1115" y="128"/>
                    <a:pt x="1112" y="133"/>
                    <a:pt x="1105" y="134"/>
                  </a:cubicBezTo>
                  <a:cubicBezTo>
                    <a:pt x="1098" y="135"/>
                    <a:pt x="1096" y="134"/>
                    <a:pt x="1090" y="138"/>
                  </a:cubicBezTo>
                  <a:cubicBezTo>
                    <a:pt x="1085" y="141"/>
                    <a:pt x="1085" y="144"/>
                    <a:pt x="1078" y="145"/>
                  </a:cubicBezTo>
                  <a:cubicBezTo>
                    <a:pt x="1071" y="146"/>
                    <a:pt x="1060" y="147"/>
                    <a:pt x="1059" y="151"/>
                  </a:cubicBezTo>
                  <a:cubicBezTo>
                    <a:pt x="1058" y="156"/>
                    <a:pt x="1061" y="160"/>
                    <a:pt x="1054" y="163"/>
                  </a:cubicBezTo>
                  <a:cubicBezTo>
                    <a:pt x="1047" y="167"/>
                    <a:pt x="1047" y="170"/>
                    <a:pt x="1042" y="165"/>
                  </a:cubicBezTo>
                  <a:cubicBezTo>
                    <a:pt x="1038" y="160"/>
                    <a:pt x="1031" y="160"/>
                    <a:pt x="1041" y="155"/>
                  </a:cubicBezTo>
                  <a:cubicBezTo>
                    <a:pt x="1052" y="149"/>
                    <a:pt x="1049" y="148"/>
                    <a:pt x="1055" y="144"/>
                  </a:cubicBezTo>
                  <a:cubicBezTo>
                    <a:pt x="1062" y="139"/>
                    <a:pt x="1034" y="136"/>
                    <a:pt x="1046" y="134"/>
                  </a:cubicBezTo>
                  <a:cubicBezTo>
                    <a:pt x="1058" y="133"/>
                    <a:pt x="1059" y="135"/>
                    <a:pt x="1070" y="131"/>
                  </a:cubicBezTo>
                  <a:cubicBezTo>
                    <a:pt x="1080" y="127"/>
                    <a:pt x="1095" y="129"/>
                    <a:pt x="1089" y="124"/>
                  </a:cubicBezTo>
                  <a:cubicBezTo>
                    <a:pt x="1083" y="119"/>
                    <a:pt x="1081" y="120"/>
                    <a:pt x="1081" y="116"/>
                  </a:cubicBezTo>
                  <a:cubicBezTo>
                    <a:pt x="1081" y="112"/>
                    <a:pt x="1102" y="110"/>
                    <a:pt x="1088" y="109"/>
                  </a:cubicBezTo>
                  <a:cubicBezTo>
                    <a:pt x="1074" y="107"/>
                    <a:pt x="1071" y="112"/>
                    <a:pt x="1068" y="106"/>
                  </a:cubicBezTo>
                  <a:cubicBezTo>
                    <a:pt x="1065" y="100"/>
                    <a:pt x="1065" y="96"/>
                    <a:pt x="1057" y="100"/>
                  </a:cubicBezTo>
                  <a:cubicBezTo>
                    <a:pt x="1049" y="105"/>
                    <a:pt x="1046" y="104"/>
                    <a:pt x="1044" y="108"/>
                  </a:cubicBezTo>
                  <a:cubicBezTo>
                    <a:pt x="1041" y="112"/>
                    <a:pt x="1041" y="115"/>
                    <a:pt x="1034" y="117"/>
                  </a:cubicBezTo>
                  <a:cubicBezTo>
                    <a:pt x="1028" y="118"/>
                    <a:pt x="1016" y="119"/>
                    <a:pt x="1015" y="120"/>
                  </a:cubicBezTo>
                  <a:cubicBezTo>
                    <a:pt x="1013" y="121"/>
                    <a:pt x="1010" y="126"/>
                    <a:pt x="1015" y="126"/>
                  </a:cubicBezTo>
                  <a:cubicBezTo>
                    <a:pt x="1020" y="127"/>
                    <a:pt x="1034" y="127"/>
                    <a:pt x="1035" y="129"/>
                  </a:cubicBezTo>
                  <a:cubicBezTo>
                    <a:pt x="1035" y="130"/>
                    <a:pt x="1039" y="131"/>
                    <a:pt x="1035" y="133"/>
                  </a:cubicBezTo>
                  <a:cubicBezTo>
                    <a:pt x="1031" y="135"/>
                    <a:pt x="1026" y="138"/>
                    <a:pt x="1023" y="138"/>
                  </a:cubicBezTo>
                  <a:cubicBezTo>
                    <a:pt x="1019" y="138"/>
                    <a:pt x="1014" y="135"/>
                    <a:pt x="1015" y="140"/>
                  </a:cubicBezTo>
                  <a:cubicBezTo>
                    <a:pt x="1017" y="145"/>
                    <a:pt x="1034" y="143"/>
                    <a:pt x="1034" y="147"/>
                  </a:cubicBezTo>
                  <a:cubicBezTo>
                    <a:pt x="1033" y="151"/>
                    <a:pt x="1030" y="153"/>
                    <a:pt x="1026" y="153"/>
                  </a:cubicBezTo>
                  <a:cubicBezTo>
                    <a:pt x="1022" y="154"/>
                    <a:pt x="1024" y="156"/>
                    <a:pt x="1015" y="151"/>
                  </a:cubicBezTo>
                  <a:cubicBezTo>
                    <a:pt x="1006" y="145"/>
                    <a:pt x="1003" y="144"/>
                    <a:pt x="1001" y="147"/>
                  </a:cubicBezTo>
                  <a:cubicBezTo>
                    <a:pt x="999" y="151"/>
                    <a:pt x="1007" y="155"/>
                    <a:pt x="995" y="152"/>
                  </a:cubicBezTo>
                  <a:cubicBezTo>
                    <a:pt x="982" y="149"/>
                    <a:pt x="988" y="147"/>
                    <a:pt x="977" y="149"/>
                  </a:cubicBezTo>
                  <a:cubicBezTo>
                    <a:pt x="966" y="151"/>
                    <a:pt x="964" y="152"/>
                    <a:pt x="955" y="152"/>
                  </a:cubicBezTo>
                  <a:cubicBezTo>
                    <a:pt x="945" y="153"/>
                    <a:pt x="945" y="154"/>
                    <a:pt x="935" y="151"/>
                  </a:cubicBezTo>
                  <a:cubicBezTo>
                    <a:pt x="925" y="148"/>
                    <a:pt x="917" y="144"/>
                    <a:pt x="911" y="144"/>
                  </a:cubicBezTo>
                  <a:cubicBezTo>
                    <a:pt x="905" y="145"/>
                    <a:pt x="901" y="146"/>
                    <a:pt x="899" y="142"/>
                  </a:cubicBezTo>
                  <a:cubicBezTo>
                    <a:pt x="897" y="138"/>
                    <a:pt x="894" y="135"/>
                    <a:pt x="895" y="132"/>
                  </a:cubicBezTo>
                  <a:cubicBezTo>
                    <a:pt x="896" y="129"/>
                    <a:pt x="908" y="122"/>
                    <a:pt x="891" y="123"/>
                  </a:cubicBezTo>
                  <a:cubicBezTo>
                    <a:pt x="875" y="124"/>
                    <a:pt x="881" y="124"/>
                    <a:pt x="867" y="127"/>
                  </a:cubicBezTo>
                  <a:cubicBezTo>
                    <a:pt x="854" y="130"/>
                    <a:pt x="847" y="130"/>
                    <a:pt x="841" y="133"/>
                  </a:cubicBezTo>
                  <a:cubicBezTo>
                    <a:pt x="835" y="135"/>
                    <a:pt x="825" y="140"/>
                    <a:pt x="831" y="142"/>
                  </a:cubicBezTo>
                  <a:cubicBezTo>
                    <a:pt x="837" y="144"/>
                    <a:pt x="850" y="141"/>
                    <a:pt x="859" y="140"/>
                  </a:cubicBezTo>
                  <a:cubicBezTo>
                    <a:pt x="869" y="138"/>
                    <a:pt x="888" y="132"/>
                    <a:pt x="885" y="136"/>
                  </a:cubicBezTo>
                  <a:cubicBezTo>
                    <a:pt x="883" y="139"/>
                    <a:pt x="877" y="143"/>
                    <a:pt x="866" y="145"/>
                  </a:cubicBezTo>
                  <a:cubicBezTo>
                    <a:pt x="856" y="146"/>
                    <a:pt x="852" y="146"/>
                    <a:pt x="845" y="148"/>
                  </a:cubicBezTo>
                  <a:cubicBezTo>
                    <a:pt x="839" y="151"/>
                    <a:pt x="828" y="152"/>
                    <a:pt x="826" y="159"/>
                  </a:cubicBezTo>
                  <a:cubicBezTo>
                    <a:pt x="825" y="166"/>
                    <a:pt x="825" y="179"/>
                    <a:pt x="820" y="171"/>
                  </a:cubicBezTo>
                  <a:cubicBezTo>
                    <a:pt x="814" y="164"/>
                    <a:pt x="820" y="166"/>
                    <a:pt x="814" y="159"/>
                  </a:cubicBezTo>
                  <a:cubicBezTo>
                    <a:pt x="808" y="153"/>
                    <a:pt x="808" y="151"/>
                    <a:pt x="803" y="151"/>
                  </a:cubicBezTo>
                  <a:cubicBezTo>
                    <a:pt x="798" y="151"/>
                    <a:pt x="798" y="146"/>
                    <a:pt x="789" y="147"/>
                  </a:cubicBezTo>
                  <a:cubicBezTo>
                    <a:pt x="781" y="149"/>
                    <a:pt x="789" y="148"/>
                    <a:pt x="776" y="150"/>
                  </a:cubicBezTo>
                  <a:cubicBezTo>
                    <a:pt x="762" y="152"/>
                    <a:pt x="759" y="152"/>
                    <a:pt x="748" y="153"/>
                  </a:cubicBezTo>
                  <a:cubicBezTo>
                    <a:pt x="738" y="154"/>
                    <a:pt x="740" y="155"/>
                    <a:pt x="730" y="154"/>
                  </a:cubicBezTo>
                  <a:cubicBezTo>
                    <a:pt x="720" y="152"/>
                    <a:pt x="730" y="152"/>
                    <a:pt x="718" y="152"/>
                  </a:cubicBezTo>
                  <a:cubicBezTo>
                    <a:pt x="705" y="151"/>
                    <a:pt x="695" y="144"/>
                    <a:pt x="705" y="142"/>
                  </a:cubicBezTo>
                  <a:cubicBezTo>
                    <a:pt x="715" y="140"/>
                    <a:pt x="729" y="142"/>
                    <a:pt x="735" y="139"/>
                  </a:cubicBezTo>
                  <a:cubicBezTo>
                    <a:pt x="741" y="136"/>
                    <a:pt x="742" y="131"/>
                    <a:pt x="733" y="128"/>
                  </a:cubicBezTo>
                  <a:cubicBezTo>
                    <a:pt x="723" y="124"/>
                    <a:pt x="718" y="123"/>
                    <a:pt x="708" y="124"/>
                  </a:cubicBezTo>
                  <a:cubicBezTo>
                    <a:pt x="698" y="125"/>
                    <a:pt x="696" y="126"/>
                    <a:pt x="690" y="125"/>
                  </a:cubicBezTo>
                  <a:cubicBezTo>
                    <a:pt x="685" y="123"/>
                    <a:pt x="687" y="123"/>
                    <a:pt x="676" y="120"/>
                  </a:cubicBezTo>
                  <a:cubicBezTo>
                    <a:pt x="666" y="116"/>
                    <a:pt x="670" y="117"/>
                    <a:pt x="660" y="114"/>
                  </a:cubicBezTo>
                  <a:cubicBezTo>
                    <a:pt x="650" y="111"/>
                    <a:pt x="653" y="110"/>
                    <a:pt x="643" y="108"/>
                  </a:cubicBezTo>
                  <a:cubicBezTo>
                    <a:pt x="633" y="105"/>
                    <a:pt x="638" y="103"/>
                    <a:pt x="625" y="104"/>
                  </a:cubicBezTo>
                  <a:cubicBezTo>
                    <a:pt x="612" y="105"/>
                    <a:pt x="607" y="106"/>
                    <a:pt x="603" y="107"/>
                  </a:cubicBezTo>
                  <a:cubicBezTo>
                    <a:pt x="600" y="108"/>
                    <a:pt x="601" y="113"/>
                    <a:pt x="591" y="115"/>
                  </a:cubicBezTo>
                  <a:cubicBezTo>
                    <a:pt x="580" y="117"/>
                    <a:pt x="564" y="115"/>
                    <a:pt x="586" y="104"/>
                  </a:cubicBezTo>
                  <a:cubicBezTo>
                    <a:pt x="591" y="99"/>
                    <a:pt x="600" y="95"/>
                    <a:pt x="592" y="96"/>
                  </a:cubicBezTo>
                  <a:cubicBezTo>
                    <a:pt x="583" y="97"/>
                    <a:pt x="574" y="97"/>
                    <a:pt x="570" y="100"/>
                  </a:cubicBezTo>
                  <a:cubicBezTo>
                    <a:pt x="566" y="103"/>
                    <a:pt x="560" y="102"/>
                    <a:pt x="556" y="107"/>
                  </a:cubicBezTo>
                  <a:cubicBezTo>
                    <a:pt x="551" y="112"/>
                    <a:pt x="546" y="116"/>
                    <a:pt x="544" y="109"/>
                  </a:cubicBezTo>
                  <a:cubicBezTo>
                    <a:pt x="542" y="102"/>
                    <a:pt x="540" y="102"/>
                    <a:pt x="544" y="99"/>
                  </a:cubicBezTo>
                  <a:cubicBezTo>
                    <a:pt x="548" y="95"/>
                    <a:pt x="557" y="86"/>
                    <a:pt x="544" y="84"/>
                  </a:cubicBezTo>
                  <a:cubicBezTo>
                    <a:pt x="530" y="82"/>
                    <a:pt x="526" y="80"/>
                    <a:pt x="528" y="87"/>
                  </a:cubicBezTo>
                  <a:cubicBezTo>
                    <a:pt x="530" y="94"/>
                    <a:pt x="532" y="94"/>
                    <a:pt x="523" y="96"/>
                  </a:cubicBezTo>
                  <a:cubicBezTo>
                    <a:pt x="514" y="98"/>
                    <a:pt x="513" y="104"/>
                    <a:pt x="507" y="104"/>
                  </a:cubicBezTo>
                  <a:cubicBezTo>
                    <a:pt x="502" y="105"/>
                    <a:pt x="498" y="106"/>
                    <a:pt x="499" y="101"/>
                  </a:cubicBezTo>
                  <a:cubicBezTo>
                    <a:pt x="501" y="95"/>
                    <a:pt x="496" y="93"/>
                    <a:pt x="486" y="94"/>
                  </a:cubicBezTo>
                  <a:cubicBezTo>
                    <a:pt x="477" y="94"/>
                    <a:pt x="464" y="94"/>
                    <a:pt x="462" y="97"/>
                  </a:cubicBezTo>
                  <a:cubicBezTo>
                    <a:pt x="460" y="100"/>
                    <a:pt x="450" y="104"/>
                    <a:pt x="445" y="104"/>
                  </a:cubicBezTo>
                  <a:cubicBezTo>
                    <a:pt x="441" y="104"/>
                    <a:pt x="439" y="101"/>
                    <a:pt x="431" y="105"/>
                  </a:cubicBezTo>
                  <a:cubicBezTo>
                    <a:pt x="422" y="109"/>
                    <a:pt x="427" y="107"/>
                    <a:pt x="417" y="110"/>
                  </a:cubicBezTo>
                  <a:cubicBezTo>
                    <a:pt x="407" y="113"/>
                    <a:pt x="410" y="107"/>
                    <a:pt x="396" y="108"/>
                  </a:cubicBezTo>
                  <a:cubicBezTo>
                    <a:pt x="381" y="109"/>
                    <a:pt x="382" y="107"/>
                    <a:pt x="370" y="110"/>
                  </a:cubicBezTo>
                  <a:cubicBezTo>
                    <a:pt x="358" y="114"/>
                    <a:pt x="353" y="111"/>
                    <a:pt x="352" y="117"/>
                  </a:cubicBezTo>
                  <a:cubicBezTo>
                    <a:pt x="350" y="123"/>
                    <a:pt x="356" y="125"/>
                    <a:pt x="343" y="124"/>
                  </a:cubicBezTo>
                  <a:cubicBezTo>
                    <a:pt x="330" y="123"/>
                    <a:pt x="335" y="129"/>
                    <a:pt x="323" y="123"/>
                  </a:cubicBezTo>
                  <a:cubicBezTo>
                    <a:pt x="311" y="116"/>
                    <a:pt x="318" y="111"/>
                    <a:pt x="305" y="110"/>
                  </a:cubicBezTo>
                  <a:cubicBezTo>
                    <a:pt x="293" y="108"/>
                    <a:pt x="289" y="106"/>
                    <a:pt x="281" y="106"/>
                  </a:cubicBezTo>
                  <a:cubicBezTo>
                    <a:pt x="278" y="106"/>
                    <a:pt x="277" y="107"/>
                    <a:pt x="276" y="107"/>
                  </a:cubicBezTo>
                  <a:cubicBezTo>
                    <a:pt x="248" y="130"/>
                    <a:pt x="15" y="316"/>
                    <a:pt x="0" y="336"/>
                  </a:cubicBezTo>
                  <a:cubicBezTo>
                    <a:pt x="9" y="337"/>
                    <a:pt x="5" y="340"/>
                    <a:pt x="14" y="339"/>
                  </a:cubicBezTo>
                  <a:cubicBezTo>
                    <a:pt x="22" y="337"/>
                    <a:pt x="25" y="335"/>
                    <a:pt x="29" y="335"/>
                  </a:cubicBezTo>
                  <a:cubicBezTo>
                    <a:pt x="33" y="335"/>
                    <a:pt x="39" y="333"/>
                    <a:pt x="35" y="336"/>
                  </a:cubicBezTo>
                  <a:cubicBezTo>
                    <a:pt x="32" y="340"/>
                    <a:pt x="29" y="340"/>
                    <a:pt x="29" y="343"/>
                  </a:cubicBezTo>
                  <a:cubicBezTo>
                    <a:pt x="30" y="347"/>
                    <a:pt x="30" y="347"/>
                    <a:pt x="31" y="353"/>
                  </a:cubicBezTo>
                  <a:cubicBezTo>
                    <a:pt x="33" y="359"/>
                    <a:pt x="36" y="359"/>
                    <a:pt x="34" y="363"/>
                  </a:cubicBezTo>
                  <a:cubicBezTo>
                    <a:pt x="32" y="367"/>
                    <a:pt x="30" y="370"/>
                    <a:pt x="33" y="371"/>
                  </a:cubicBezTo>
                  <a:cubicBezTo>
                    <a:pt x="35" y="371"/>
                    <a:pt x="37" y="373"/>
                    <a:pt x="41" y="371"/>
                  </a:cubicBezTo>
                  <a:cubicBezTo>
                    <a:pt x="45" y="368"/>
                    <a:pt x="49" y="368"/>
                    <a:pt x="55" y="365"/>
                  </a:cubicBezTo>
                  <a:cubicBezTo>
                    <a:pt x="60" y="363"/>
                    <a:pt x="64" y="359"/>
                    <a:pt x="66" y="357"/>
                  </a:cubicBezTo>
                  <a:cubicBezTo>
                    <a:pt x="68" y="355"/>
                    <a:pt x="73" y="354"/>
                    <a:pt x="79" y="353"/>
                  </a:cubicBezTo>
                  <a:cubicBezTo>
                    <a:pt x="84" y="352"/>
                    <a:pt x="85" y="352"/>
                    <a:pt x="87" y="352"/>
                  </a:cubicBezTo>
                  <a:cubicBezTo>
                    <a:pt x="88" y="351"/>
                    <a:pt x="91" y="349"/>
                    <a:pt x="93" y="351"/>
                  </a:cubicBezTo>
                  <a:cubicBezTo>
                    <a:pt x="95" y="353"/>
                    <a:pt x="95" y="353"/>
                    <a:pt x="94" y="356"/>
                  </a:cubicBezTo>
                  <a:cubicBezTo>
                    <a:pt x="92" y="359"/>
                    <a:pt x="90" y="360"/>
                    <a:pt x="92" y="364"/>
                  </a:cubicBezTo>
                  <a:cubicBezTo>
                    <a:pt x="95" y="368"/>
                    <a:pt x="96" y="370"/>
                    <a:pt x="95" y="373"/>
                  </a:cubicBezTo>
                  <a:cubicBezTo>
                    <a:pt x="94" y="376"/>
                    <a:pt x="99" y="378"/>
                    <a:pt x="98" y="381"/>
                  </a:cubicBezTo>
                  <a:cubicBezTo>
                    <a:pt x="98" y="381"/>
                    <a:pt x="95" y="385"/>
                    <a:pt x="95" y="389"/>
                  </a:cubicBezTo>
                  <a:cubicBezTo>
                    <a:pt x="95" y="393"/>
                    <a:pt x="92" y="398"/>
                    <a:pt x="93" y="401"/>
                  </a:cubicBezTo>
                  <a:cubicBezTo>
                    <a:pt x="93" y="405"/>
                    <a:pt x="91" y="409"/>
                    <a:pt x="90" y="414"/>
                  </a:cubicBezTo>
                  <a:cubicBezTo>
                    <a:pt x="89" y="418"/>
                    <a:pt x="88" y="418"/>
                    <a:pt x="87" y="421"/>
                  </a:cubicBezTo>
                  <a:cubicBezTo>
                    <a:pt x="86" y="425"/>
                    <a:pt x="83" y="428"/>
                    <a:pt x="84" y="430"/>
                  </a:cubicBezTo>
                  <a:cubicBezTo>
                    <a:pt x="85" y="432"/>
                    <a:pt x="88" y="433"/>
                    <a:pt x="91" y="435"/>
                  </a:cubicBezTo>
                  <a:cubicBezTo>
                    <a:pt x="94" y="437"/>
                    <a:pt x="93" y="436"/>
                    <a:pt x="98" y="440"/>
                  </a:cubicBezTo>
                  <a:cubicBezTo>
                    <a:pt x="102" y="444"/>
                    <a:pt x="106" y="446"/>
                    <a:pt x="106" y="448"/>
                  </a:cubicBezTo>
                  <a:cubicBezTo>
                    <a:pt x="105" y="450"/>
                    <a:pt x="104" y="451"/>
                    <a:pt x="101" y="453"/>
                  </a:cubicBezTo>
                  <a:cubicBezTo>
                    <a:pt x="98" y="455"/>
                    <a:pt x="96" y="455"/>
                    <a:pt x="93" y="460"/>
                  </a:cubicBezTo>
                  <a:cubicBezTo>
                    <a:pt x="90" y="465"/>
                    <a:pt x="91" y="468"/>
                    <a:pt x="85" y="471"/>
                  </a:cubicBezTo>
                  <a:cubicBezTo>
                    <a:pt x="79" y="475"/>
                    <a:pt x="73" y="476"/>
                    <a:pt x="70" y="479"/>
                  </a:cubicBezTo>
                  <a:cubicBezTo>
                    <a:pt x="68" y="480"/>
                    <a:pt x="63" y="480"/>
                    <a:pt x="61" y="481"/>
                  </a:cubicBezTo>
                  <a:cubicBezTo>
                    <a:pt x="61" y="481"/>
                    <a:pt x="61" y="481"/>
                    <a:pt x="61" y="482"/>
                  </a:cubicBezTo>
                  <a:cubicBezTo>
                    <a:pt x="59" y="491"/>
                    <a:pt x="62" y="494"/>
                    <a:pt x="58" y="497"/>
                  </a:cubicBezTo>
                  <a:cubicBezTo>
                    <a:pt x="54" y="501"/>
                    <a:pt x="52" y="500"/>
                    <a:pt x="48" y="504"/>
                  </a:cubicBezTo>
                  <a:cubicBezTo>
                    <a:pt x="45" y="507"/>
                    <a:pt x="41" y="501"/>
                    <a:pt x="39" y="508"/>
                  </a:cubicBezTo>
                  <a:cubicBezTo>
                    <a:pt x="38" y="516"/>
                    <a:pt x="25" y="519"/>
                    <a:pt x="37" y="520"/>
                  </a:cubicBezTo>
                  <a:cubicBezTo>
                    <a:pt x="49" y="521"/>
                    <a:pt x="38" y="521"/>
                    <a:pt x="50" y="514"/>
                  </a:cubicBezTo>
                  <a:cubicBezTo>
                    <a:pt x="61" y="506"/>
                    <a:pt x="55" y="507"/>
                    <a:pt x="64" y="504"/>
                  </a:cubicBezTo>
                  <a:cubicBezTo>
                    <a:pt x="74" y="501"/>
                    <a:pt x="79" y="489"/>
                    <a:pt x="81" y="497"/>
                  </a:cubicBezTo>
                  <a:cubicBezTo>
                    <a:pt x="83" y="506"/>
                    <a:pt x="87" y="505"/>
                    <a:pt x="75" y="511"/>
                  </a:cubicBezTo>
                  <a:cubicBezTo>
                    <a:pt x="62" y="518"/>
                    <a:pt x="60" y="522"/>
                    <a:pt x="52" y="525"/>
                  </a:cubicBezTo>
                  <a:cubicBezTo>
                    <a:pt x="45" y="527"/>
                    <a:pt x="40" y="523"/>
                    <a:pt x="41" y="530"/>
                  </a:cubicBezTo>
                  <a:cubicBezTo>
                    <a:pt x="42" y="537"/>
                    <a:pt x="53" y="527"/>
                    <a:pt x="49" y="535"/>
                  </a:cubicBezTo>
                  <a:cubicBezTo>
                    <a:pt x="45" y="543"/>
                    <a:pt x="64" y="541"/>
                    <a:pt x="58" y="546"/>
                  </a:cubicBezTo>
                  <a:cubicBezTo>
                    <a:pt x="51" y="550"/>
                    <a:pt x="81" y="549"/>
                    <a:pt x="69" y="556"/>
                  </a:cubicBezTo>
                  <a:cubicBezTo>
                    <a:pt x="58" y="562"/>
                    <a:pt x="49" y="557"/>
                    <a:pt x="45" y="566"/>
                  </a:cubicBezTo>
                  <a:cubicBezTo>
                    <a:pt x="42" y="574"/>
                    <a:pt x="32" y="585"/>
                    <a:pt x="40" y="587"/>
                  </a:cubicBezTo>
                  <a:cubicBezTo>
                    <a:pt x="48" y="588"/>
                    <a:pt x="45" y="587"/>
                    <a:pt x="56" y="590"/>
                  </a:cubicBezTo>
                  <a:cubicBezTo>
                    <a:pt x="67" y="593"/>
                    <a:pt x="67" y="588"/>
                    <a:pt x="72" y="595"/>
                  </a:cubicBezTo>
                  <a:cubicBezTo>
                    <a:pt x="77" y="603"/>
                    <a:pt x="88" y="600"/>
                    <a:pt x="85" y="604"/>
                  </a:cubicBezTo>
                  <a:cubicBezTo>
                    <a:pt x="82" y="607"/>
                    <a:pt x="89" y="605"/>
                    <a:pt x="88" y="611"/>
                  </a:cubicBezTo>
                  <a:cubicBezTo>
                    <a:pt x="87" y="617"/>
                    <a:pt x="96" y="615"/>
                    <a:pt x="95" y="621"/>
                  </a:cubicBezTo>
                  <a:cubicBezTo>
                    <a:pt x="94" y="627"/>
                    <a:pt x="105" y="628"/>
                    <a:pt x="104" y="633"/>
                  </a:cubicBezTo>
                  <a:cubicBezTo>
                    <a:pt x="104" y="634"/>
                    <a:pt x="104" y="635"/>
                    <a:pt x="104" y="636"/>
                  </a:cubicBezTo>
                  <a:cubicBezTo>
                    <a:pt x="150" y="636"/>
                    <a:pt x="697" y="639"/>
                    <a:pt x="704" y="636"/>
                  </a:cubicBezTo>
                  <a:cubicBezTo>
                    <a:pt x="711" y="633"/>
                    <a:pt x="719" y="619"/>
                    <a:pt x="719" y="627"/>
                  </a:cubicBezTo>
                  <a:cubicBezTo>
                    <a:pt x="719" y="635"/>
                    <a:pt x="713" y="643"/>
                    <a:pt x="715" y="643"/>
                  </a:cubicBezTo>
                  <a:cubicBezTo>
                    <a:pt x="717" y="643"/>
                    <a:pt x="723" y="643"/>
                    <a:pt x="726" y="645"/>
                  </a:cubicBezTo>
                  <a:cubicBezTo>
                    <a:pt x="730" y="647"/>
                    <a:pt x="733" y="649"/>
                    <a:pt x="735" y="648"/>
                  </a:cubicBezTo>
                  <a:cubicBezTo>
                    <a:pt x="738" y="647"/>
                    <a:pt x="741" y="643"/>
                    <a:pt x="745" y="644"/>
                  </a:cubicBezTo>
                  <a:cubicBezTo>
                    <a:pt x="748" y="645"/>
                    <a:pt x="751" y="647"/>
                    <a:pt x="753" y="649"/>
                  </a:cubicBezTo>
                  <a:cubicBezTo>
                    <a:pt x="755" y="650"/>
                    <a:pt x="755" y="650"/>
                    <a:pt x="757" y="653"/>
                  </a:cubicBezTo>
                  <a:cubicBezTo>
                    <a:pt x="758" y="656"/>
                    <a:pt x="761" y="652"/>
                    <a:pt x="764" y="655"/>
                  </a:cubicBezTo>
                  <a:cubicBezTo>
                    <a:pt x="767" y="658"/>
                    <a:pt x="764" y="660"/>
                    <a:pt x="771" y="660"/>
                  </a:cubicBezTo>
                  <a:cubicBezTo>
                    <a:pt x="778" y="661"/>
                    <a:pt x="779" y="659"/>
                    <a:pt x="784" y="659"/>
                  </a:cubicBezTo>
                  <a:cubicBezTo>
                    <a:pt x="789" y="658"/>
                    <a:pt x="790" y="658"/>
                    <a:pt x="792" y="660"/>
                  </a:cubicBezTo>
                  <a:cubicBezTo>
                    <a:pt x="795" y="661"/>
                    <a:pt x="809" y="666"/>
                    <a:pt x="809" y="668"/>
                  </a:cubicBezTo>
                  <a:cubicBezTo>
                    <a:pt x="810" y="669"/>
                    <a:pt x="810" y="674"/>
                    <a:pt x="810" y="674"/>
                  </a:cubicBezTo>
                  <a:cubicBezTo>
                    <a:pt x="811" y="674"/>
                    <a:pt x="811" y="674"/>
                    <a:pt x="811" y="674"/>
                  </a:cubicBezTo>
                  <a:cubicBezTo>
                    <a:pt x="814" y="674"/>
                    <a:pt x="817" y="667"/>
                    <a:pt x="819" y="665"/>
                  </a:cubicBezTo>
                  <a:cubicBezTo>
                    <a:pt x="824" y="661"/>
                    <a:pt x="823" y="656"/>
                    <a:pt x="833" y="652"/>
                  </a:cubicBezTo>
                  <a:cubicBezTo>
                    <a:pt x="842" y="649"/>
                    <a:pt x="844" y="641"/>
                    <a:pt x="849" y="642"/>
                  </a:cubicBezTo>
                  <a:cubicBezTo>
                    <a:pt x="854" y="643"/>
                    <a:pt x="856" y="637"/>
                    <a:pt x="862" y="637"/>
                  </a:cubicBezTo>
                  <a:cubicBezTo>
                    <a:pt x="868" y="637"/>
                    <a:pt x="876" y="641"/>
                    <a:pt x="882" y="641"/>
                  </a:cubicBezTo>
                  <a:cubicBezTo>
                    <a:pt x="888" y="641"/>
                    <a:pt x="896" y="642"/>
                    <a:pt x="896" y="646"/>
                  </a:cubicBezTo>
                  <a:cubicBezTo>
                    <a:pt x="895" y="651"/>
                    <a:pt x="885" y="661"/>
                    <a:pt x="896" y="663"/>
                  </a:cubicBezTo>
                  <a:cubicBezTo>
                    <a:pt x="907" y="664"/>
                    <a:pt x="914" y="661"/>
                    <a:pt x="914" y="666"/>
                  </a:cubicBezTo>
                  <a:cubicBezTo>
                    <a:pt x="913" y="670"/>
                    <a:pt x="905" y="672"/>
                    <a:pt x="911" y="676"/>
                  </a:cubicBezTo>
                  <a:cubicBezTo>
                    <a:pt x="917" y="681"/>
                    <a:pt x="908" y="688"/>
                    <a:pt x="910" y="689"/>
                  </a:cubicBezTo>
                  <a:cubicBezTo>
                    <a:pt x="911" y="690"/>
                    <a:pt x="912" y="690"/>
                    <a:pt x="909" y="695"/>
                  </a:cubicBezTo>
                  <a:cubicBezTo>
                    <a:pt x="906" y="700"/>
                    <a:pt x="906" y="703"/>
                    <a:pt x="914" y="705"/>
                  </a:cubicBezTo>
                  <a:cubicBezTo>
                    <a:pt x="921" y="708"/>
                    <a:pt x="920" y="709"/>
                    <a:pt x="931" y="710"/>
                  </a:cubicBezTo>
                  <a:cubicBezTo>
                    <a:pt x="942" y="710"/>
                    <a:pt x="941" y="710"/>
                    <a:pt x="955" y="712"/>
                  </a:cubicBezTo>
                  <a:cubicBezTo>
                    <a:pt x="969" y="715"/>
                    <a:pt x="971" y="714"/>
                    <a:pt x="977" y="720"/>
                  </a:cubicBezTo>
                  <a:cubicBezTo>
                    <a:pt x="983" y="726"/>
                    <a:pt x="992" y="720"/>
                    <a:pt x="990" y="732"/>
                  </a:cubicBezTo>
                  <a:cubicBezTo>
                    <a:pt x="989" y="739"/>
                    <a:pt x="988" y="743"/>
                    <a:pt x="988" y="747"/>
                  </a:cubicBezTo>
                  <a:cubicBezTo>
                    <a:pt x="989" y="747"/>
                    <a:pt x="990" y="748"/>
                    <a:pt x="994" y="751"/>
                  </a:cubicBezTo>
                  <a:cubicBezTo>
                    <a:pt x="1003" y="758"/>
                    <a:pt x="1029" y="759"/>
                    <a:pt x="1033" y="763"/>
                  </a:cubicBezTo>
                  <a:cubicBezTo>
                    <a:pt x="1037" y="767"/>
                    <a:pt x="1040" y="771"/>
                    <a:pt x="1045" y="772"/>
                  </a:cubicBezTo>
                  <a:cubicBezTo>
                    <a:pt x="1046" y="770"/>
                    <a:pt x="1047" y="768"/>
                    <a:pt x="1049" y="766"/>
                  </a:cubicBezTo>
                  <a:cubicBezTo>
                    <a:pt x="1054" y="760"/>
                    <a:pt x="1058" y="763"/>
                    <a:pt x="1061" y="767"/>
                  </a:cubicBezTo>
                  <a:cubicBezTo>
                    <a:pt x="1064" y="765"/>
                    <a:pt x="1073" y="761"/>
                    <a:pt x="1074" y="760"/>
                  </a:cubicBezTo>
                  <a:cubicBezTo>
                    <a:pt x="1076" y="759"/>
                    <a:pt x="1097" y="746"/>
                    <a:pt x="1097" y="746"/>
                  </a:cubicBezTo>
                  <a:cubicBezTo>
                    <a:pt x="1097" y="746"/>
                    <a:pt x="1171" y="752"/>
                    <a:pt x="1180" y="746"/>
                  </a:cubicBezTo>
                  <a:cubicBezTo>
                    <a:pt x="1188" y="739"/>
                    <a:pt x="1192" y="736"/>
                    <a:pt x="1206" y="726"/>
                  </a:cubicBezTo>
                  <a:cubicBezTo>
                    <a:pt x="1220" y="716"/>
                    <a:pt x="1219" y="711"/>
                    <a:pt x="1229" y="702"/>
                  </a:cubicBezTo>
                  <a:cubicBezTo>
                    <a:pt x="1239" y="692"/>
                    <a:pt x="1255" y="670"/>
                    <a:pt x="1256" y="676"/>
                  </a:cubicBezTo>
                  <a:cubicBezTo>
                    <a:pt x="1258" y="681"/>
                    <a:pt x="1255" y="683"/>
                    <a:pt x="1259" y="684"/>
                  </a:cubicBezTo>
                  <a:cubicBezTo>
                    <a:pt x="1263" y="685"/>
                    <a:pt x="1264" y="685"/>
                    <a:pt x="1269" y="684"/>
                  </a:cubicBezTo>
                  <a:cubicBezTo>
                    <a:pt x="1273" y="682"/>
                    <a:pt x="1280" y="679"/>
                    <a:pt x="1280" y="682"/>
                  </a:cubicBezTo>
                  <a:cubicBezTo>
                    <a:pt x="1280" y="685"/>
                    <a:pt x="1281" y="688"/>
                    <a:pt x="1280" y="692"/>
                  </a:cubicBezTo>
                  <a:cubicBezTo>
                    <a:pt x="1279" y="696"/>
                    <a:pt x="1280" y="696"/>
                    <a:pt x="1278" y="702"/>
                  </a:cubicBezTo>
                  <a:cubicBezTo>
                    <a:pt x="1275" y="709"/>
                    <a:pt x="1274" y="712"/>
                    <a:pt x="1272" y="717"/>
                  </a:cubicBezTo>
                  <a:cubicBezTo>
                    <a:pt x="1270" y="722"/>
                    <a:pt x="1269" y="726"/>
                    <a:pt x="1271" y="727"/>
                  </a:cubicBezTo>
                  <a:cubicBezTo>
                    <a:pt x="1273" y="728"/>
                    <a:pt x="1275" y="729"/>
                    <a:pt x="1274" y="731"/>
                  </a:cubicBezTo>
                  <a:cubicBezTo>
                    <a:pt x="1274" y="733"/>
                    <a:pt x="1271" y="739"/>
                    <a:pt x="1273" y="739"/>
                  </a:cubicBezTo>
                  <a:cubicBezTo>
                    <a:pt x="1274" y="739"/>
                    <a:pt x="1279" y="743"/>
                    <a:pt x="1279" y="744"/>
                  </a:cubicBezTo>
                  <a:cubicBezTo>
                    <a:pt x="1279" y="744"/>
                    <a:pt x="1279" y="745"/>
                    <a:pt x="1279" y="747"/>
                  </a:cubicBezTo>
                  <a:cubicBezTo>
                    <a:pt x="1281" y="746"/>
                    <a:pt x="1283" y="745"/>
                    <a:pt x="1287" y="744"/>
                  </a:cubicBezTo>
                  <a:cubicBezTo>
                    <a:pt x="1303" y="742"/>
                    <a:pt x="1299" y="735"/>
                    <a:pt x="1309" y="736"/>
                  </a:cubicBezTo>
                  <a:cubicBezTo>
                    <a:pt x="1318" y="737"/>
                    <a:pt x="1319" y="734"/>
                    <a:pt x="1327" y="732"/>
                  </a:cubicBezTo>
                  <a:cubicBezTo>
                    <a:pt x="1335" y="730"/>
                    <a:pt x="1346" y="718"/>
                    <a:pt x="1342" y="724"/>
                  </a:cubicBezTo>
                  <a:cubicBezTo>
                    <a:pt x="1339" y="729"/>
                    <a:pt x="1330" y="736"/>
                    <a:pt x="1337" y="736"/>
                  </a:cubicBezTo>
                  <a:cubicBezTo>
                    <a:pt x="1343" y="736"/>
                    <a:pt x="1356" y="738"/>
                    <a:pt x="1350" y="740"/>
                  </a:cubicBezTo>
                  <a:cubicBezTo>
                    <a:pt x="1344" y="742"/>
                    <a:pt x="1338" y="737"/>
                    <a:pt x="1325" y="742"/>
                  </a:cubicBezTo>
                  <a:cubicBezTo>
                    <a:pt x="1313" y="747"/>
                    <a:pt x="1310" y="752"/>
                    <a:pt x="1301" y="757"/>
                  </a:cubicBezTo>
                  <a:cubicBezTo>
                    <a:pt x="1292" y="761"/>
                    <a:pt x="1293" y="760"/>
                    <a:pt x="1291" y="765"/>
                  </a:cubicBezTo>
                  <a:cubicBezTo>
                    <a:pt x="1289" y="771"/>
                    <a:pt x="1283" y="770"/>
                    <a:pt x="1285" y="775"/>
                  </a:cubicBezTo>
                  <a:cubicBezTo>
                    <a:pt x="1287" y="779"/>
                    <a:pt x="1286" y="783"/>
                    <a:pt x="1289" y="783"/>
                  </a:cubicBezTo>
                  <a:cubicBezTo>
                    <a:pt x="1293" y="783"/>
                    <a:pt x="1290" y="788"/>
                    <a:pt x="1297" y="787"/>
                  </a:cubicBezTo>
                  <a:cubicBezTo>
                    <a:pt x="1304" y="785"/>
                    <a:pt x="1300" y="783"/>
                    <a:pt x="1306" y="781"/>
                  </a:cubicBezTo>
                  <a:cubicBezTo>
                    <a:pt x="1312" y="779"/>
                    <a:pt x="1309" y="780"/>
                    <a:pt x="1316" y="776"/>
                  </a:cubicBezTo>
                  <a:cubicBezTo>
                    <a:pt x="1323" y="772"/>
                    <a:pt x="1318" y="771"/>
                    <a:pt x="1324" y="768"/>
                  </a:cubicBezTo>
                  <a:cubicBezTo>
                    <a:pt x="1330" y="766"/>
                    <a:pt x="1330" y="766"/>
                    <a:pt x="1334" y="763"/>
                  </a:cubicBezTo>
                  <a:cubicBezTo>
                    <a:pt x="1338" y="761"/>
                    <a:pt x="1339" y="754"/>
                    <a:pt x="1343" y="756"/>
                  </a:cubicBezTo>
                  <a:cubicBezTo>
                    <a:pt x="1347" y="757"/>
                    <a:pt x="1350" y="758"/>
                    <a:pt x="1354" y="758"/>
                  </a:cubicBezTo>
                  <a:cubicBezTo>
                    <a:pt x="1359" y="758"/>
                    <a:pt x="1366" y="753"/>
                    <a:pt x="1372" y="752"/>
                  </a:cubicBezTo>
                  <a:cubicBezTo>
                    <a:pt x="1378" y="751"/>
                    <a:pt x="1375" y="752"/>
                    <a:pt x="1384" y="750"/>
                  </a:cubicBezTo>
                  <a:cubicBezTo>
                    <a:pt x="1393" y="748"/>
                    <a:pt x="1388" y="747"/>
                    <a:pt x="1397" y="744"/>
                  </a:cubicBezTo>
                  <a:cubicBezTo>
                    <a:pt x="1406" y="742"/>
                    <a:pt x="1410" y="745"/>
                    <a:pt x="1414" y="741"/>
                  </a:cubicBezTo>
                  <a:cubicBezTo>
                    <a:pt x="1418" y="736"/>
                    <a:pt x="1405" y="734"/>
                    <a:pt x="1414" y="732"/>
                  </a:cubicBezTo>
                  <a:cubicBezTo>
                    <a:pt x="1422" y="730"/>
                    <a:pt x="1419" y="734"/>
                    <a:pt x="1429" y="730"/>
                  </a:cubicBezTo>
                  <a:cubicBezTo>
                    <a:pt x="1439" y="726"/>
                    <a:pt x="1447" y="724"/>
                    <a:pt x="1449" y="719"/>
                  </a:cubicBezTo>
                  <a:cubicBezTo>
                    <a:pt x="1451" y="714"/>
                    <a:pt x="1451" y="705"/>
                    <a:pt x="1443" y="712"/>
                  </a:cubicBezTo>
                  <a:cubicBezTo>
                    <a:pt x="1434" y="720"/>
                    <a:pt x="1421" y="723"/>
                    <a:pt x="1426" y="718"/>
                  </a:cubicBezTo>
                  <a:cubicBezTo>
                    <a:pt x="1430" y="714"/>
                    <a:pt x="1435" y="712"/>
                    <a:pt x="1438" y="707"/>
                  </a:cubicBezTo>
                  <a:cubicBezTo>
                    <a:pt x="1442" y="701"/>
                    <a:pt x="1449" y="694"/>
                    <a:pt x="1445" y="693"/>
                  </a:cubicBezTo>
                  <a:cubicBezTo>
                    <a:pt x="1441" y="692"/>
                    <a:pt x="1435" y="691"/>
                    <a:pt x="1431" y="698"/>
                  </a:cubicBezTo>
                  <a:cubicBezTo>
                    <a:pt x="1426" y="706"/>
                    <a:pt x="1420" y="704"/>
                    <a:pt x="1415" y="713"/>
                  </a:cubicBezTo>
                  <a:cubicBezTo>
                    <a:pt x="1411" y="722"/>
                    <a:pt x="1412" y="727"/>
                    <a:pt x="1406" y="726"/>
                  </a:cubicBezTo>
                  <a:cubicBezTo>
                    <a:pt x="1400" y="726"/>
                    <a:pt x="1401" y="722"/>
                    <a:pt x="1395" y="724"/>
                  </a:cubicBezTo>
                  <a:cubicBezTo>
                    <a:pt x="1389" y="726"/>
                    <a:pt x="1394" y="732"/>
                    <a:pt x="1386" y="728"/>
                  </a:cubicBezTo>
                  <a:cubicBezTo>
                    <a:pt x="1379" y="724"/>
                    <a:pt x="1383" y="724"/>
                    <a:pt x="1377" y="723"/>
                  </a:cubicBezTo>
                  <a:cubicBezTo>
                    <a:pt x="1370" y="723"/>
                    <a:pt x="1369" y="722"/>
                    <a:pt x="1366" y="721"/>
                  </a:cubicBezTo>
                  <a:cubicBezTo>
                    <a:pt x="1363" y="720"/>
                    <a:pt x="1358" y="716"/>
                    <a:pt x="1358" y="716"/>
                  </a:cubicBezTo>
                  <a:cubicBezTo>
                    <a:pt x="1358" y="715"/>
                    <a:pt x="1356" y="710"/>
                    <a:pt x="1352" y="710"/>
                  </a:cubicBezTo>
                  <a:cubicBezTo>
                    <a:pt x="1348" y="711"/>
                    <a:pt x="1346" y="708"/>
                    <a:pt x="1347" y="703"/>
                  </a:cubicBezTo>
                  <a:cubicBezTo>
                    <a:pt x="1347" y="699"/>
                    <a:pt x="1344" y="697"/>
                    <a:pt x="1347" y="692"/>
                  </a:cubicBezTo>
                  <a:cubicBezTo>
                    <a:pt x="1349" y="688"/>
                    <a:pt x="1341" y="689"/>
                    <a:pt x="1346" y="684"/>
                  </a:cubicBezTo>
                  <a:cubicBezTo>
                    <a:pt x="1351" y="679"/>
                    <a:pt x="1356" y="675"/>
                    <a:pt x="1360" y="672"/>
                  </a:cubicBezTo>
                  <a:cubicBezTo>
                    <a:pt x="1363" y="668"/>
                    <a:pt x="1364" y="664"/>
                    <a:pt x="1360" y="666"/>
                  </a:cubicBezTo>
                  <a:cubicBezTo>
                    <a:pt x="1355" y="669"/>
                    <a:pt x="1353" y="668"/>
                    <a:pt x="1347" y="670"/>
                  </a:cubicBezTo>
                  <a:cubicBezTo>
                    <a:pt x="1342" y="671"/>
                    <a:pt x="1339" y="679"/>
                    <a:pt x="1336" y="673"/>
                  </a:cubicBezTo>
                  <a:cubicBezTo>
                    <a:pt x="1334" y="667"/>
                    <a:pt x="1331" y="665"/>
                    <a:pt x="1326" y="664"/>
                  </a:cubicBezTo>
                  <a:cubicBezTo>
                    <a:pt x="1321" y="664"/>
                    <a:pt x="1313" y="663"/>
                    <a:pt x="1320" y="661"/>
                  </a:cubicBezTo>
                  <a:cubicBezTo>
                    <a:pt x="1326" y="659"/>
                    <a:pt x="1324" y="658"/>
                    <a:pt x="1336" y="659"/>
                  </a:cubicBezTo>
                  <a:cubicBezTo>
                    <a:pt x="1348" y="660"/>
                    <a:pt x="1351" y="661"/>
                    <a:pt x="1355" y="660"/>
                  </a:cubicBezTo>
                  <a:cubicBezTo>
                    <a:pt x="1358" y="658"/>
                    <a:pt x="1357" y="656"/>
                    <a:pt x="1363" y="655"/>
                  </a:cubicBezTo>
                  <a:cubicBezTo>
                    <a:pt x="1369" y="653"/>
                    <a:pt x="1372" y="654"/>
                    <a:pt x="1375" y="652"/>
                  </a:cubicBezTo>
                  <a:cubicBezTo>
                    <a:pt x="1377" y="650"/>
                    <a:pt x="1379" y="647"/>
                    <a:pt x="1379" y="642"/>
                  </a:cubicBezTo>
                  <a:cubicBezTo>
                    <a:pt x="1379" y="637"/>
                    <a:pt x="1381" y="632"/>
                    <a:pt x="1376" y="632"/>
                  </a:cubicBezTo>
                  <a:cubicBezTo>
                    <a:pt x="1370" y="631"/>
                    <a:pt x="1367" y="627"/>
                    <a:pt x="1361" y="628"/>
                  </a:cubicBezTo>
                  <a:cubicBezTo>
                    <a:pt x="1356" y="629"/>
                    <a:pt x="1354" y="625"/>
                    <a:pt x="1345" y="628"/>
                  </a:cubicBezTo>
                  <a:cubicBezTo>
                    <a:pt x="1336" y="632"/>
                    <a:pt x="1346" y="629"/>
                    <a:pt x="1333" y="632"/>
                  </a:cubicBezTo>
                  <a:cubicBezTo>
                    <a:pt x="1319" y="635"/>
                    <a:pt x="1315" y="635"/>
                    <a:pt x="1307" y="639"/>
                  </a:cubicBezTo>
                  <a:cubicBezTo>
                    <a:pt x="1299" y="642"/>
                    <a:pt x="1294" y="645"/>
                    <a:pt x="1287" y="648"/>
                  </a:cubicBezTo>
                  <a:cubicBezTo>
                    <a:pt x="1280" y="651"/>
                    <a:pt x="1270" y="654"/>
                    <a:pt x="1266" y="658"/>
                  </a:cubicBezTo>
                  <a:cubicBezTo>
                    <a:pt x="1262" y="662"/>
                    <a:pt x="1259" y="666"/>
                    <a:pt x="1249" y="670"/>
                  </a:cubicBezTo>
                  <a:cubicBezTo>
                    <a:pt x="1240" y="674"/>
                    <a:pt x="1231" y="679"/>
                    <a:pt x="1240" y="670"/>
                  </a:cubicBezTo>
                  <a:cubicBezTo>
                    <a:pt x="1248" y="662"/>
                    <a:pt x="1261" y="655"/>
                    <a:pt x="1266" y="651"/>
                  </a:cubicBezTo>
                  <a:cubicBezTo>
                    <a:pt x="1271" y="647"/>
                    <a:pt x="1265" y="646"/>
                    <a:pt x="1277" y="641"/>
                  </a:cubicBezTo>
                  <a:cubicBezTo>
                    <a:pt x="1289" y="636"/>
                    <a:pt x="1294" y="633"/>
                    <a:pt x="1300" y="631"/>
                  </a:cubicBezTo>
                  <a:cubicBezTo>
                    <a:pt x="1305" y="628"/>
                    <a:pt x="1323" y="627"/>
                    <a:pt x="1326" y="623"/>
                  </a:cubicBezTo>
                  <a:cubicBezTo>
                    <a:pt x="1328" y="620"/>
                    <a:pt x="1325" y="614"/>
                    <a:pt x="1331" y="611"/>
                  </a:cubicBezTo>
                  <a:cubicBezTo>
                    <a:pt x="1338" y="608"/>
                    <a:pt x="1346" y="602"/>
                    <a:pt x="1351" y="602"/>
                  </a:cubicBezTo>
                  <a:cubicBezTo>
                    <a:pt x="1357" y="602"/>
                    <a:pt x="1366" y="600"/>
                    <a:pt x="1373" y="600"/>
                  </a:cubicBezTo>
                  <a:cubicBezTo>
                    <a:pt x="1380" y="601"/>
                    <a:pt x="1386" y="602"/>
                    <a:pt x="1389" y="602"/>
                  </a:cubicBezTo>
                  <a:cubicBezTo>
                    <a:pt x="1392" y="602"/>
                    <a:pt x="1398" y="599"/>
                    <a:pt x="1402" y="600"/>
                  </a:cubicBezTo>
                  <a:cubicBezTo>
                    <a:pt x="1406" y="601"/>
                    <a:pt x="1413" y="607"/>
                    <a:pt x="1418" y="604"/>
                  </a:cubicBezTo>
                  <a:cubicBezTo>
                    <a:pt x="1423" y="601"/>
                    <a:pt x="1420" y="598"/>
                    <a:pt x="1429" y="600"/>
                  </a:cubicBezTo>
                  <a:cubicBezTo>
                    <a:pt x="1438" y="602"/>
                    <a:pt x="1436" y="600"/>
                    <a:pt x="1445" y="603"/>
                  </a:cubicBezTo>
                  <a:cubicBezTo>
                    <a:pt x="1455" y="606"/>
                    <a:pt x="1458" y="608"/>
                    <a:pt x="1467" y="604"/>
                  </a:cubicBezTo>
                  <a:cubicBezTo>
                    <a:pt x="1476" y="601"/>
                    <a:pt x="1474" y="601"/>
                    <a:pt x="1481" y="600"/>
                  </a:cubicBezTo>
                  <a:cubicBezTo>
                    <a:pt x="1489" y="600"/>
                    <a:pt x="1486" y="604"/>
                    <a:pt x="1497" y="598"/>
                  </a:cubicBezTo>
                  <a:cubicBezTo>
                    <a:pt x="1507" y="591"/>
                    <a:pt x="1500" y="593"/>
                    <a:pt x="1514" y="587"/>
                  </a:cubicBezTo>
                  <a:cubicBezTo>
                    <a:pt x="1527" y="581"/>
                    <a:pt x="1518" y="578"/>
                    <a:pt x="1530" y="575"/>
                  </a:cubicBezTo>
                  <a:cubicBezTo>
                    <a:pt x="1543" y="573"/>
                    <a:pt x="1549" y="574"/>
                    <a:pt x="1558" y="571"/>
                  </a:cubicBezTo>
                  <a:cubicBezTo>
                    <a:pt x="1566" y="568"/>
                    <a:pt x="1570" y="571"/>
                    <a:pt x="1579" y="565"/>
                  </a:cubicBezTo>
                  <a:cubicBezTo>
                    <a:pt x="1589" y="559"/>
                    <a:pt x="1596" y="558"/>
                    <a:pt x="1602" y="552"/>
                  </a:cubicBezTo>
                  <a:cubicBezTo>
                    <a:pt x="1608" y="545"/>
                    <a:pt x="1607" y="546"/>
                    <a:pt x="1604" y="543"/>
                  </a:cubicBezTo>
                  <a:cubicBezTo>
                    <a:pt x="1601" y="541"/>
                    <a:pt x="1595" y="541"/>
                    <a:pt x="1602" y="536"/>
                  </a:cubicBezTo>
                  <a:cubicBezTo>
                    <a:pt x="1608" y="532"/>
                    <a:pt x="1609" y="530"/>
                    <a:pt x="1608" y="529"/>
                  </a:cubicBezTo>
                  <a:cubicBezTo>
                    <a:pt x="1607" y="528"/>
                    <a:pt x="1604" y="531"/>
                    <a:pt x="1608" y="526"/>
                  </a:cubicBezTo>
                  <a:close/>
                  <a:moveTo>
                    <a:pt x="476" y="212"/>
                  </a:moveTo>
                  <a:cubicBezTo>
                    <a:pt x="484" y="211"/>
                    <a:pt x="490" y="211"/>
                    <a:pt x="492" y="208"/>
                  </a:cubicBezTo>
                  <a:cubicBezTo>
                    <a:pt x="495" y="204"/>
                    <a:pt x="494" y="205"/>
                    <a:pt x="500" y="203"/>
                  </a:cubicBezTo>
                  <a:cubicBezTo>
                    <a:pt x="507" y="200"/>
                    <a:pt x="501" y="198"/>
                    <a:pt x="512" y="196"/>
                  </a:cubicBezTo>
                  <a:cubicBezTo>
                    <a:pt x="523" y="194"/>
                    <a:pt x="515" y="195"/>
                    <a:pt x="525" y="194"/>
                  </a:cubicBezTo>
                  <a:cubicBezTo>
                    <a:pt x="536" y="193"/>
                    <a:pt x="540" y="189"/>
                    <a:pt x="531" y="188"/>
                  </a:cubicBezTo>
                  <a:cubicBezTo>
                    <a:pt x="522" y="186"/>
                    <a:pt x="520" y="188"/>
                    <a:pt x="512" y="190"/>
                  </a:cubicBezTo>
                  <a:cubicBezTo>
                    <a:pt x="505" y="192"/>
                    <a:pt x="512" y="194"/>
                    <a:pt x="500" y="191"/>
                  </a:cubicBezTo>
                  <a:cubicBezTo>
                    <a:pt x="487" y="189"/>
                    <a:pt x="484" y="193"/>
                    <a:pt x="477" y="194"/>
                  </a:cubicBezTo>
                  <a:cubicBezTo>
                    <a:pt x="470" y="195"/>
                    <a:pt x="461" y="193"/>
                    <a:pt x="468" y="189"/>
                  </a:cubicBezTo>
                  <a:cubicBezTo>
                    <a:pt x="474" y="185"/>
                    <a:pt x="476" y="185"/>
                    <a:pt x="485" y="185"/>
                  </a:cubicBezTo>
                  <a:cubicBezTo>
                    <a:pt x="493" y="186"/>
                    <a:pt x="500" y="183"/>
                    <a:pt x="506" y="182"/>
                  </a:cubicBezTo>
                  <a:cubicBezTo>
                    <a:pt x="511" y="181"/>
                    <a:pt x="514" y="179"/>
                    <a:pt x="519" y="181"/>
                  </a:cubicBezTo>
                  <a:cubicBezTo>
                    <a:pt x="528" y="180"/>
                    <a:pt x="526" y="181"/>
                    <a:pt x="534" y="178"/>
                  </a:cubicBezTo>
                  <a:cubicBezTo>
                    <a:pt x="542" y="176"/>
                    <a:pt x="540" y="177"/>
                    <a:pt x="546" y="175"/>
                  </a:cubicBezTo>
                  <a:cubicBezTo>
                    <a:pt x="552" y="174"/>
                    <a:pt x="560" y="172"/>
                    <a:pt x="568" y="172"/>
                  </a:cubicBezTo>
                  <a:cubicBezTo>
                    <a:pt x="577" y="171"/>
                    <a:pt x="573" y="173"/>
                    <a:pt x="581" y="172"/>
                  </a:cubicBezTo>
                  <a:cubicBezTo>
                    <a:pt x="589" y="171"/>
                    <a:pt x="595" y="167"/>
                    <a:pt x="597" y="170"/>
                  </a:cubicBezTo>
                  <a:cubicBezTo>
                    <a:pt x="599" y="172"/>
                    <a:pt x="600" y="176"/>
                    <a:pt x="592" y="177"/>
                  </a:cubicBezTo>
                  <a:cubicBezTo>
                    <a:pt x="584" y="177"/>
                    <a:pt x="580" y="179"/>
                    <a:pt x="576" y="180"/>
                  </a:cubicBezTo>
                  <a:cubicBezTo>
                    <a:pt x="573" y="181"/>
                    <a:pt x="560" y="180"/>
                    <a:pt x="569" y="184"/>
                  </a:cubicBezTo>
                  <a:cubicBezTo>
                    <a:pt x="578" y="188"/>
                    <a:pt x="578" y="188"/>
                    <a:pt x="587" y="187"/>
                  </a:cubicBezTo>
                  <a:cubicBezTo>
                    <a:pt x="595" y="186"/>
                    <a:pt x="598" y="186"/>
                    <a:pt x="603" y="183"/>
                  </a:cubicBezTo>
                  <a:cubicBezTo>
                    <a:pt x="608" y="180"/>
                    <a:pt x="622" y="171"/>
                    <a:pt x="619" y="178"/>
                  </a:cubicBezTo>
                  <a:cubicBezTo>
                    <a:pt x="616" y="185"/>
                    <a:pt x="619" y="184"/>
                    <a:pt x="611" y="188"/>
                  </a:cubicBezTo>
                  <a:cubicBezTo>
                    <a:pt x="604" y="191"/>
                    <a:pt x="598" y="194"/>
                    <a:pt x="596" y="197"/>
                  </a:cubicBezTo>
                  <a:cubicBezTo>
                    <a:pt x="595" y="199"/>
                    <a:pt x="586" y="205"/>
                    <a:pt x="580" y="202"/>
                  </a:cubicBezTo>
                  <a:cubicBezTo>
                    <a:pt x="575" y="200"/>
                    <a:pt x="570" y="196"/>
                    <a:pt x="562" y="198"/>
                  </a:cubicBezTo>
                  <a:cubicBezTo>
                    <a:pt x="555" y="199"/>
                    <a:pt x="550" y="202"/>
                    <a:pt x="551" y="205"/>
                  </a:cubicBezTo>
                  <a:cubicBezTo>
                    <a:pt x="553" y="208"/>
                    <a:pt x="548" y="212"/>
                    <a:pt x="543" y="213"/>
                  </a:cubicBezTo>
                  <a:cubicBezTo>
                    <a:pt x="537" y="214"/>
                    <a:pt x="525" y="220"/>
                    <a:pt x="518" y="222"/>
                  </a:cubicBezTo>
                  <a:cubicBezTo>
                    <a:pt x="510" y="224"/>
                    <a:pt x="501" y="224"/>
                    <a:pt x="504" y="220"/>
                  </a:cubicBezTo>
                  <a:cubicBezTo>
                    <a:pt x="508" y="217"/>
                    <a:pt x="517" y="218"/>
                    <a:pt x="523" y="214"/>
                  </a:cubicBezTo>
                  <a:cubicBezTo>
                    <a:pt x="529" y="211"/>
                    <a:pt x="537" y="207"/>
                    <a:pt x="537" y="205"/>
                  </a:cubicBezTo>
                  <a:cubicBezTo>
                    <a:pt x="536" y="203"/>
                    <a:pt x="533" y="202"/>
                    <a:pt x="526" y="206"/>
                  </a:cubicBezTo>
                  <a:cubicBezTo>
                    <a:pt x="519" y="210"/>
                    <a:pt x="503" y="214"/>
                    <a:pt x="499" y="215"/>
                  </a:cubicBezTo>
                  <a:cubicBezTo>
                    <a:pt x="494" y="216"/>
                    <a:pt x="488" y="217"/>
                    <a:pt x="483" y="216"/>
                  </a:cubicBezTo>
                  <a:cubicBezTo>
                    <a:pt x="478" y="215"/>
                    <a:pt x="467" y="214"/>
                    <a:pt x="476" y="212"/>
                  </a:cubicBezTo>
                  <a:close/>
                  <a:moveTo>
                    <a:pt x="679" y="279"/>
                  </a:moveTo>
                  <a:cubicBezTo>
                    <a:pt x="674" y="276"/>
                    <a:pt x="671" y="275"/>
                    <a:pt x="661" y="279"/>
                  </a:cubicBezTo>
                  <a:cubicBezTo>
                    <a:pt x="651" y="282"/>
                    <a:pt x="647" y="288"/>
                    <a:pt x="632" y="292"/>
                  </a:cubicBezTo>
                  <a:cubicBezTo>
                    <a:pt x="616" y="296"/>
                    <a:pt x="616" y="301"/>
                    <a:pt x="605" y="303"/>
                  </a:cubicBezTo>
                  <a:cubicBezTo>
                    <a:pt x="593" y="305"/>
                    <a:pt x="585" y="306"/>
                    <a:pt x="577" y="308"/>
                  </a:cubicBezTo>
                  <a:cubicBezTo>
                    <a:pt x="570" y="309"/>
                    <a:pt x="572" y="310"/>
                    <a:pt x="564" y="313"/>
                  </a:cubicBezTo>
                  <a:cubicBezTo>
                    <a:pt x="555" y="317"/>
                    <a:pt x="553" y="319"/>
                    <a:pt x="540" y="322"/>
                  </a:cubicBezTo>
                  <a:cubicBezTo>
                    <a:pt x="528" y="324"/>
                    <a:pt x="519" y="327"/>
                    <a:pt x="511" y="324"/>
                  </a:cubicBezTo>
                  <a:cubicBezTo>
                    <a:pt x="503" y="322"/>
                    <a:pt x="486" y="318"/>
                    <a:pt x="487" y="315"/>
                  </a:cubicBezTo>
                  <a:cubicBezTo>
                    <a:pt x="487" y="312"/>
                    <a:pt x="490" y="312"/>
                    <a:pt x="496" y="313"/>
                  </a:cubicBezTo>
                  <a:cubicBezTo>
                    <a:pt x="504" y="312"/>
                    <a:pt x="503" y="311"/>
                    <a:pt x="514" y="311"/>
                  </a:cubicBezTo>
                  <a:cubicBezTo>
                    <a:pt x="525" y="311"/>
                    <a:pt x="532" y="306"/>
                    <a:pt x="533" y="304"/>
                  </a:cubicBezTo>
                  <a:cubicBezTo>
                    <a:pt x="534" y="302"/>
                    <a:pt x="543" y="303"/>
                    <a:pt x="549" y="301"/>
                  </a:cubicBezTo>
                  <a:cubicBezTo>
                    <a:pt x="555" y="298"/>
                    <a:pt x="560" y="298"/>
                    <a:pt x="558" y="292"/>
                  </a:cubicBezTo>
                  <a:cubicBezTo>
                    <a:pt x="557" y="286"/>
                    <a:pt x="562" y="287"/>
                    <a:pt x="558" y="282"/>
                  </a:cubicBezTo>
                  <a:cubicBezTo>
                    <a:pt x="555" y="277"/>
                    <a:pt x="551" y="274"/>
                    <a:pt x="555" y="274"/>
                  </a:cubicBezTo>
                  <a:cubicBezTo>
                    <a:pt x="558" y="274"/>
                    <a:pt x="562" y="275"/>
                    <a:pt x="571" y="279"/>
                  </a:cubicBezTo>
                  <a:cubicBezTo>
                    <a:pt x="581" y="282"/>
                    <a:pt x="581" y="283"/>
                    <a:pt x="582" y="287"/>
                  </a:cubicBezTo>
                  <a:cubicBezTo>
                    <a:pt x="582" y="291"/>
                    <a:pt x="586" y="294"/>
                    <a:pt x="590" y="294"/>
                  </a:cubicBezTo>
                  <a:cubicBezTo>
                    <a:pt x="595" y="293"/>
                    <a:pt x="605" y="293"/>
                    <a:pt x="610" y="291"/>
                  </a:cubicBezTo>
                  <a:cubicBezTo>
                    <a:pt x="616" y="288"/>
                    <a:pt x="627" y="288"/>
                    <a:pt x="634" y="282"/>
                  </a:cubicBezTo>
                  <a:cubicBezTo>
                    <a:pt x="641" y="277"/>
                    <a:pt x="646" y="274"/>
                    <a:pt x="654" y="274"/>
                  </a:cubicBezTo>
                  <a:cubicBezTo>
                    <a:pt x="662" y="274"/>
                    <a:pt x="691" y="266"/>
                    <a:pt x="688" y="272"/>
                  </a:cubicBezTo>
                  <a:cubicBezTo>
                    <a:pt x="686" y="279"/>
                    <a:pt x="683" y="282"/>
                    <a:pt x="679" y="279"/>
                  </a:cubicBezTo>
                  <a:close/>
                  <a:moveTo>
                    <a:pt x="724" y="529"/>
                  </a:moveTo>
                  <a:cubicBezTo>
                    <a:pt x="722" y="536"/>
                    <a:pt x="719" y="549"/>
                    <a:pt x="718" y="556"/>
                  </a:cubicBezTo>
                  <a:cubicBezTo>
                    <a:pt x="718" y="563"/>
                    <a:pt x="714" y="564"/>
                    <a:pt x="715" y="567"/>
                  </a:cubicBezTo>
                  <a:cubicBezTo>
                    <a:pt x="717" y="571"/>
                    <a:pt x="718" y="579"/>
                    <a:pt x="713" y="583"/>
                  </a:cubicBezTo>
                  <a:cubicBezTo>
                    <a:pt x="708" y="587"/>
                    <a:pt x="700" y="596"/>
                    <a:pt x="695" y="598"/>
                  </a:cubicBezTo>
                  <a:cubicBezTo>
                    <a:pt x="691" y="599"/>
                    <a:pt x="683" y="601"/>
                    <a:pt x="689" y="591"/>
                  </a:cubicBezTo>
                  <a:cubicBezTo>
                    <a:pt x="695" y="581"/>
                    <a:pt x="703" y="580"/>
                    <a:pt x="706" y="575"/>
                  </a:cubicBezTo>
                  <a:cubicBezTo>
                    <a:pt x="709" y="570"/>
                    <a:pt x="712" y="563"/>
                    <a:pt x="708" y="565"/>
                  </a:cubicBezTo>
                  <a:cubicBezTo>
                    <a:pt x="705" y="567"/>
                    <a:pt x="698" y="571"/>
                    <a:pt x="702" y="564"/>
                  </a:cubicBezTo>
                  <a:cubicBezTo>
                    <a:pt x="705" y="556"/>
                    <a:pt x="709" y="550"/>
                    <a:pt x="705" y="551"/>
                  </a:cubicBezTo>
                  <a:cubicBezTo>
                    <a:pt x="700" y="553"/>
                    <a:pt x="698" y="565"/>
                    <a:pt x="695" y="558"/>
                  </a:cubicBezTo>
                  <a:cubicBezTo>
                    <a:pt x="692" y="552"/>
                    <a:pt x="695" y="546"/>
                    <a:pt x="693" y="541"/>
                  </a:cubicBezTo>
                  <a:cubicBezTo>
                    <a:pt x="690" y="536"/>
                    <a:pt x="685" y="533"/>
                    <a:pt x="689" y="531"/>
                  </a:cubicBezTo>
                  <a:cubicBezTo>
                    <a:pt x="693" y="528"/>
                    <a:pt x="697" y="529"/>
                    <a:pt x="694" y="527"/>
                  </a:cubicBezTo>
                  <a:cubicBezTo>
                    <a:pt x="691" y="525"/>
                    <a:pt x="687" y="524"/>
                    <a:pt x="689" y="521"/>
                  </a:cubicBezTo>
                  <a:cubicBezTo>
                    <a:pt x="693" y="516"/>
                    <a:pt x="703" y="504"/>
                    <a:pt x="710" y="504"/>
                  </a:cubicBezTo>
                  <a:cubicBezTo>
                    <a:pt x="717" y="504"/>
                    <a:pt x="729" y="504"/>
                    <a:pt x="729" y="511"/>
                  </a:cubicBezTo>
                  <a:cubicBezTo>
                    <a:pt x="729" y="518"/>
                    <a:pt x="726" y="522"/>
                    <a:pt x="724" y="529"/>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39" name="Freeform 1017">
              <a:extLst>
                <a:ext uri="{FF2B5EF4-FFF2-40B4-BE49-F238E27FC236}">
                  <a16:creationId xmlns:a16="http://schemas.microsoft.com/office/drawing/2014/main" id="{25509009-FDCD-594D-AB4E-B65510C76F5D}"/>
                </a:ext>
              </a:extLst>
            </p:cNvPr>
            <p:cNvSpPr>
              <a:spLocks/>
            </p:cNvSpPr>
            <p:nvPr/>
          </p:nvSpPr>
          <p:spPr bwMode="auto">
            <a:xfrm>
              <a:off x="1381130" y="1227593"/>
              <a:ext cx="55563" cy="68263"/>
            </a:xfrm>
            <a:custGeom>
              <a:avLst/>
              <a:gdLst>
                <a:gd name="T0" fmla="*/ 18 w 57"/>
                <a:gd name="T1" fmla="*/ 7 h 73"/>
                <a:gd name="T2" fmla="*/ 6 w 57"/>
                <a:gd name="T3" fmla="*/ 39 h 73"/>
                <a:gd name="T4" fmla="*/ 6 w 57"/>
                <a:gd name="T5" fmla="*/ 62 h 73"/>
                <a:gd name="T6" fmla="*/ 14 w 57"/>
                <a:gd name="T7" fmla="*/ 53 h 73"/>
                <a:gd name="T8" fmla="*/ 25 w 57"/>
                <a:gd name="T9" fmla="*/ 26 h 73"/>
                <a:gd name="T10" fmla="*/ 42 w 57"/>
                <a:gd name="T11" fmla="*/ 12 h 73"/>
                <a:gd name="T12" fmla="*/ 46 w 57"/>
                <a:gd name="T13" fmla="*/ 3 h 73"/>
                <a:gd name="T14" fmla="*/ 31 w 57"/>
                <a:gd name="T15" fmla="*/ 6 h 73"/>
                <a:gd name="T16" fmla="*/ 27 w 57"/>
                <a:gd name="T17" fmla="*/ 2 h 73"/>
                <a:gd name="T18" fmla="*/ 18 w 57"/>
                <a:gd name="T19" fmla="*/ 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73">
                  <a:moveTo>
                    <a:pt x="18" y="7"/>
                  </a:moveTo>
                  <a:cubicBezTo>
                    <a:pt x="3" y="25"/>
                    <a:pt x="6" y="32"/>
                    <a:pt x="6" y="39"/>
                  </a:cubicBezTo>
                  <a:cubicBezTo>
                    <a:pt x="6" y="47"/>
                    <a:pt x="0" y="59"/>
                    <a:pt x="6" y="62"/>
                  </a:cubicBezTo>
                  <a:cubicBezTo>
                    <a:pt x="12" y="65"/>
                    <a:pt x="7" y="73"/>
                    <a:pt x="14" y="53"/>
                  </a:cubicBezTo>
                  <a:cubicBezTo>
                    <a:pt x="21" y="34"/>
                    <a:pt x="11" y="34"/>
                    <a:pt x="25" y="26"/>
                  </a:cubicBezTo>
                  <a:cubicBezTo>
                    <a:pt x="39" y="19"/>
                    <a:pt x="40" y="12"/>
                    <a:pt x="42" y="12"/>
                  </a:cubicBezTo>
                  <a:cubicBezTo>
                    <a:pt x="44" y="11"/>
                    <a:pt x="57" y="0"/>
                    <a:pt x="46" y="3"/>
                  </a:cubicBezTo>
                  <a:cubicBezTo>
                    <a:pt x="36" y="6"/>
                    <a:pt x="31" y="6"/>
                    <a:pt x="31" y="6"/>
                  </a:cubicBezTo>
                  <a:cubicBezTo>
                    <a:pt x="27" y="2"/>
                    <a:pt x="27" y="2"/>
                    <a:pt x="27" y="2"/>
                  </a:cubicBezTo>
                  <a:lnTo>
                    <a:pt x="18" y="7"/>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40" name="Freeform 1018">
              <a:extLst>
                <a:ext uri="{FF2B5EF4-FFF2-40B4-BE49-F238E27FC236}">
                  <a16:creationId xmlns:a16="http://schemas.microsoft.com/office/drawing/2014/main" id="{6EFAFD19-05CC-364C-8A46-2A9FE8B366E9}"/>
                </a:ext>
              </a:extLst>
            </p:cNvPr>
            <p:cNvSpPr>
              <a:spLocks/>
            </p:cNvSpPr>
            <p:nvPr/>
          </p:nvSpPr>
          <p:spPr bwMode="auto">
            <a:xfrm>
              <a:off x="1414467" y="1313318"/>
              <a:ext cx="71438" cy="66675"/>
            </a:xfrm>
            <a:custGeom>
              <a:avLst/>
              <a:gdLst>
                <a:gd name="T0" fmla="*/ 7 w 75"/>
                <a:gd name="T1" fmla="*/ 4 h 70"/>
                <a:gd name="T2" fmla="*/ 5 w 75"/>
                <a:gd name="T3" fmla="*/ 15 h 70"/>
                <a:gd name="T4" fmla="*/ 7 w 75"/>
                <a:gd name="T5" fmla="*/ 20 h 70"/>
                <a:gd name="T6" fmla="*/ 9 w 75"/>
                <a:gd name="T7" fmla="*/ 23 h 70"/>
                <a:gd name="T8" fmla="*/ 18 w 75"/>
                <a:gd name="T9" fmla="*/ 25 h 70"/>
                <a:gd name="T10" fmla="*/ 19 w 75"/>
                <a:gd name="T11" fmla="*/ 30 h 70"/>
                <a:gd name="T12" fmla="*/ 18 w 75"/>
                <a:gd name="T13" fmla="*/ 34 h 70"/>
                <a:gd name="T14" fmla="*/ 22 w 75"/>
                <a:gd name="T15" fmla="*/ 40 h 70"/>
                <a:gd name="T16" fmla="*/ 23 w 75"/>
                <a:gd name="T17" fmla="*/ 45 h 70"/>
                <a:gd name="T18" fmla="*/ 28 w 75"/>
                <a:gd name="T19" fmla="*/ 48 h 70"/>
                <a:gd name="T20" fmla="*/ 32 w 75"/>
                <a:gd name="T21" fmla="*/ 54 h 70"/>
                <a:gd name="T22" fmla="*/ 42 w 75"/>
                <a:gd name="T23" fmla="*/ 57 h 70"/>
                <a:gd name="T24" fmla="*/ 45 w 75"/>
                <a:gd name="T25" fmla="*/ 67 h 70"/>
                <a:gd name="T26" fmla="*/ 57 w 75"/>
                <a:gd name="T27" fmla="*/ 70 h 70"/>
                <a:gd name="T28" fmla="*/ 68 w 75"/>
                <a:gd name="T29" fmla="*/ 67 h 70"/>
                <a:gd name="T30" fmla="*/ 73 w 75"/>
                <a:gd name="T31" fmla="*/ 61 h 70"/>
                <a:gd name="T32" fmla="*/ 67 w 75"/>
                <a:gd name="T33" fmla="*/ 50 h 70"/>
                <a:gd name="T34" fmla="*/ 63 w 75"/>
                <a:gd name="T35" fmla="*/ 42 h 70"/>
                <a:gd name="T36" fmla="*/ 59 w 75"/>
                <a:gd name="T37" fmla="*/ 33 h 70"/>
                <a:gd name="T38" fmla="*/ 56 w 75"/>
                <a:gd name="T39" fmla="*/ 19 h 70"/>
                <a:gd name="T40" fmla="*/ 44 w 75"/>
                <a:gd name="T41" fmla="*/ 13 h 70"/>
                <a:gd name="T42" fmla="*/ 34 w 75"/>
                <a:gd name="T43" fmla="*/ 11 h 70"/>
                <a:gd name="T44" fmla="*/ 24 w 75"/>
                <a:gd name="T45" fmla="*/ 8 h 70"/>
                <a:gd name="T46" fmla="*/ 13 w 75"/>
                <a:gd name="T47" fmla="*/ 3 h 70"/>
                <a:gd name="T48" fmla="*/ 7 w 75"/>
                <a:gd name="T49"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5" h="70">
                  <a:moveTo>
                    <a:pt x="7" y="4"/>
                  </a:moveTo>
                  <a:cubicBezTo>
                    <a:pt x="4" y="10"/>
                    <a:pt x="2" y="14"/>
                    <a:pt x="5" y="15"/>
                  </a:cubicBezTo>
                  <a:cubicBezTo>
                    <a:pt x="9" y="16"/>
                    <a:pt x="5" y="18"/>
                    <a:pt x="7" y="20"/>
                  </a:cubicBezTo>
                  <a:cubicBezTo>
                    <a:pt x="10" y="21"/>
                    <a:pt x="0" y="22"/>
                    <a:pt x="9" y="23"/>
                  </a:cubicBezTo>
                  <a:cubicBezTo>
                    <a:pt x="18" y="25"/>
                    <a:pt x="13" y="23"/>
                    <a:pt x="18" y="25"/>
                  </a:cubicBezTo>
                  <a:cubicBezTo>
                    <a:pt x="22" y="27"/>
                    <a:pt x="15" y="28"/>
                    <a:pt x="19" y="30"/>
                  </a:cubicBezTo>
                  <a:cubicBezTo>
                    <a:pt x="23" y="32"/>
                    <a:pt x="13" y="31"/>
                    <a:pt x="18" y="34"/>
                  </a:cubicBezTo>
                  <a:cubicBezTo>
                    <a:pt x="23" y="36"/>
                    <a:pt x="20" y="39"/>
                    <a:pt x="22" y="40"/>
                  </a:cubicBezTo>
                  <a:cubicBezTo>
                    <a:pt x="24" y="41"/>
                    <a:pt x="19" y="44"/>
                    <a:pt x="23" y="45"/>
                  </a:cubicBezTo>
                  <a:cubicBezTo>
                    <a:pt x="28" y="47"/>
                    <a:pt x="24" y="48"/>
                    <a:pt x="28" y="48"/>
                  </a:cubicBezTo>
                  <a:cubicBezTo>
                    <a:pt x="31" y="48"/>
                    <a:pt x="29" y="53"/>
                    <a:pt x="32" y="54"/>
                  </a:cubicBezTo>
                  <a:cubicBezTo>
                    <a:pt x="36" y="55"/>
                    <a:pt x="33" y="57"/>
                    <a:pt x="42" y="57"/>
                  </a:cubicBezTo>
                  <a:cubicBezTo>
                    <a:pt x="51" y="58"/>
                    <a:pt x="36" y="66"/>
                    <a:pt x="45" y="67"/>
                  </a:cubicBezTo>
                  <a:cubicBezTo>
                    <a:pt x="53" y="68"/>
                    <a:pt x="50" y="70"/>
                    <a:pt x="57" y="70"/>
                  </a:cubicBezTo>
                  <a:cubicBezTo>
                    <a:pt x="63" y="70"/>
                    <a:pt x="65" y="69"/>
                    <a:pt x="68" y="67"/>
                  </a:cubicBezTo>
                  <a:cubicBezTo>
                    <a:pt x="71" y="65"/>
                    <a:pt x="72" y="66"/>
                    <a:pt x="73" y="61"/>
                  </a:cubicBezTo>
                  <a:cubicBezTo>
                    <a:pt x="75" y="56"/>
                    <a:pt x="72" y="53"/>
                    <a:pt x="67" y="50"/>
                  </a:cubicBezTo>
                  <a:cubicBezTo>
                    <a:pt x="63" y="47"/>
                    <a:pt x="68" y="46"/>
                    <a:pt x="63" y="42"/>
                  </a:cubicBezTo>
                  <a:cubicBezTo>
                    <a:pt x="59" y="38"/>
                    <a:pt x="60" y="41"/>
                    <a:pt x="59" y="33"/>
                  </a:cubicBezTo>
                  <a:cubicBezTo>
                    <a:pt x="58" y="25"/>
                    <a:pt x="58" y="21"/>
                    <a:pt x="56" y="19"/>
                  </a:cubicBezTo>
                  <a:cubicBezTo>
                    <a:pt x="53" y="17"/>
                    <a:pt x="48" y="13"/>
                    <a:pt x="44" y="13"/>
                  </a:cubicBezTo>
                  <a:cubicBezTo>
                    <a:pt x="40" y="13"/>
                    <a:pt x="39" y="13"/>
                    <a:pt x="34" y="11"/>
                  </a:cubicBezTo>
                  <a:cubicBezTo>
                    <a:pt x="29" y="10"/>
                    <a:pt x="28" y="8"/>
                    <a:pt x="24" y="8"/>
                  </a:cubicBezTo>
                  <a:cubicBezTo>
                    <a:pt x="21" y="7"/>
                    <a:pt x="15" y="3"/>
                    <a:pt x="13" y="3"/>
                  </a:cubicBezTo>
                  <a:cubicBezTo>
                    <a:pt x="10" y="3"/>
                    <a:pt x="5" y="0"/>
                    <a:pt x="7"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41" name="Freeform 1019">
              <a:extLst>
                <a:ext uri="{FF2B5EF4-FFF2-40B4-BE49-F238E27FC236}">
                  <a16:creationId xmlns:a16="http://schemas.microsoft.com/office/drawing/2014/main" id="{E8959139-F34A-0645-9CBB-B8D1C39A2A07}"/>
                </a:ext>
              </a:extLst>
            </p:cNvPr>
            <p:cNvSpPr>
              <a:spLocks/>
            </p:cNvSpPr>
            <p:nvPr/>
          </p:nvSpPr>
          <p:spPr bwMode="auto">
            <a:xfrm>
              <a:off x="2268545" y="2526170"/>
              <a:ext cx="935040" cy="1042989"/>
            </a:xfrm>
            <a:custGeom>
              <a:avLst/>
              <a:gdLst>
                <a:gd name="T0" fmla="*/ 935 w 982"/>
                <a:gd name="T1" fmla="*/ 448 h 1095"/>
                <a:gd name="T2" fmla="*/ 883 w 982"/>
                <a:gd name="T3" fmla="*/ 519 h 1095"/>
                <a:gd name="T4" fmla="*/ 883 w 982"/>
                <a:gd name="T5" fmla="*/ 619 h 1095"/>
                <a:gd name="T6" fmla="*/ 874 w 982"/>
                <a:gd name="T7" fmla="*/ 694 h 1095"/>
                <a:gd name="T8" fmla="*/ 848 w 982"/>
                <a:gd name="T9" fmla="*/ 751 h 1095"/>
                <a:gd name="T10" fmla="*/ 802 w 982"/>
                <a:gd name="T11" fmla="*/ 788 h 1095"/>
                <a:gd name="T12" fmla="*/ 758 w 982"/>
                <a:gd name="T13" fmla="*/ 806 h 1095"/>
                <a:gd name="T14" fmla="*/ 697 w 982"/>
                <a:gd name="T15" fmla="*/ 842 h 1095"/>
                <a:gd name="T16" fmla="*/ 680 w 982"/>
                <a:gd name="T17" fmla="*/ 910 h 1095"/>
                <a:gd name="T18" fmla="*/ 651 w 982"/>
                <a:gd name="T19" fmla="*/ 1001 h 1095"/>
                <a:gd name="T20" fmla="*/ 620 w 982"/>
                <a:gd name="T21" fmla="*/ 1041 h 1095"/>
                <a:gd name="T22" fmla="*/ 627 w 982"/>
                <a:gd name="T23" fmla="*/ 1012 h 1095"/>
                <a:gd name="T24" fmla="*/ 611 w 982"/>
                <a:gd name="T25" fmla="*/ 1071 h 1095"/>
                <a:gd name="T26" fmla="*/ 586 w 982"/>
                <a:gd name="T27" fmla="*/ 1056 h 1095"/>
                <a:gd name="T28" fmla="*/ 518 w 982"/>
                <a:gd name="T29" fmla="*/ 1016 h 1095"/>
                <a:gd name="T30" fmla="*/ 490 w 982"/>
                <a:gd name="T31" fmla="*/ 974 h 1095"/>
                <a:gd name="T32" fmla="*/ 551 w 982"/>
                <a:gd name="T33" fmla="*/ 902 h 1095"/>
                <a:gd name="T34" fmla="*/ 530 w 982"/>
                <a:gd name="T35" fmla="*/ 844 h 1095"/>
                <a:gd name="T36" fmla="*/ 490 w 982"/>
                <a:gd name="T37" fmla="*/ 778 h 1095"/>
                <a:gd name="T38" fmla="*/ 432 w 982"/>
                <a:gd name="T39" fmla="*/ 736 h 1095"/>
                <a:gd name="T40" fmla="*/ 432 w 982"/>
                <a:gd name="T41" fmla="*/ 655 h 1095"/>
                <a:gd name="T42" fmla="*/ 364 w 982"/>
                <a:gd name="T43" fmla="*/ 603 h 1095"/>
                <a:gd name="T44" fmla="*/ 343 w 982"/>
                <a:gd name="T45" fmla="*/ 533 h 1095"/>
                <a:gd name="T46" fmla="*/ 247 w 982"/>
                <a:gd name="T47" fmla="*/ 492 h 1095"/>
                <a:gd name="T48" fmla="*/ 198 w 982"/>
                <a:gd name="T49" fmla="*/ 425 h 1095"/>
                <a:gd name="T50" fmla="*/ 109 w 982"/>
                <a:gd name="T51" fmla="*/ 455 h 1095"/>
                <a:gd name="T52" fmla="*/ 29 w 982"/>
                <a:gd name="T53" fmla="*/ 415 h 1095"/>
                <a:gd name="T54" fmla="*/ 20 w 982"/>
                <a:gd name="T55" fmla="*/ 332 h 1095"/>
                <a:gd name="T56" fmla="*/ 68 w 982"/>
                <a:gd name="T57" fmla="*/ 271 h 1095"/>
                <a:gd name="T58" fmla="*/ 103 w 982"/>
                <a:gd name="T59" fmla="*/ 253 h 1095"/>
                <a:gd name="T60" fmla="*/ 104 w 982"/>
                <a:gd name="T61" fmla="*/ 162 h 1095"/>
                <a:gd name="T62" fmla="*/ 99 w 982"/>
                <a:gd name="T63" fmla="*/ 114 h 1095"/>
                <a:gd name="T64" fmla="*/ 164 w 982"/>
                <a:gd name="T65" fmla="*/ 90 h 1095"/>
                <a:gd name="T66" fmla="*/ 196 w 982"/>
                <a:gd name="T67" fmla="*/ 126 h 1095"/>
                <a:gd name="T68" fmla="*/ 243 w 982"/>
                <a:gd name="T69" fmla="*/ 100 h 1095"/>
                <a:gd name="T70" fmla="*/ 240 w 982"/>
                <a:gd name="T71" fmla="*/ 47 h 1095"/>
                <a:gd name="T72" fmla="*/ 271 w 982"/>
                <a:gd name="T73" fmla="*/ 44 h 1095"/>
                <a:gd name="T74" fmla="*/ 331 w 982"/>
                <a:gd name="T75" fmla="*/ 14 h 1095"/>
                <a:gd name="T76" fmla="*/ 355 w 982"/>
                <a:gd name="T77" fmla="*/ 27 h 1095"/>
                <a:gd name="T78" fmla="*/ 354 w 982"/>
                <a:gd name="T79" fmla="*/ 91 h 1095"/>
                <a:gd name="T80" fmla="*/ 405 w 982"/>
                <a:gd name="T81" fmla="*/ 99 h 1095"/>
                <a:gd name="T82" fmla="*/ 444 w 982"/>
                <a:gd name="T83" fmla="*/ 83 h 1095"/>
                <a:gd name="T84" fmla="*/ 512 w 982"/>
                <a:gd name="T85" fmla="*/ 85 h 1095"/>
                <a:gd name="T86" fmla="*/ 558 w 982"/>
                <a:gd name="T87" fmla="*/ 31 h 1095"/>
                <a:gd name="T88" fmla="*/ 601 w 982"/>
                <a:gd name="T89" fmla="*/ 112 h 1095"/>
                <a:gd name="T90" fmla="*/ 565 w 982"/>
                <a:gd name="T91" fmla="*/ 173 h 1095"/>
                <a:gd name="T92" fmla="*/ 634 w 982"/>
                <a:gd name="T93" fmla="*/ 155 h 1095"/>
                <a:gd name="T94" fmla="*/ 624 w 982"/>
                <a:gd name="T95" fmla="*/ 198 h 1095"/>
                <a:gd name="T96" fmla="*/ 666 w 982"/>
                <a:gd name="T97" fmla="*/ 168 h 1095"/>
                <a:gd name="T98" fmla="*/ 712 w 982"/>
                <a:gd name="T99" fmla="*/ 190 h 1095"/>
                <a:gd name="T100" fmla="*/ 738 w 982"/>
                <a:gd name="T101" fmla="*/ 217 h 1095"/>
                <a:gd name="T102" fmla="*/ 825 w 982"/>
                <a:gd name="T103" fmla="*/ 228 h 1095"/>
                <a:gd name="T104" fmla="*/ 936 w 982"/>
                <a:gd name="T105" fmla="*/ 293 h 1095"/>
                <a:gd name="T106" fmla="*/ 979 w 982"/>
                <a:gd name="T107" fmla="*/ 370 h 1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2" h="1095">
                  <a:moveTo>
                    <a:pt x="979" y="370"/>
                  </a:moveTo>
                  <a:cubicBezTo>
                    <a:pt x="979" y="373"/>
                    <a:pt x="980" y="386"/>
                    <a:pt x="977" y="392"/>
                  </a:cubicBezTo>
                  <a:cubicBezTo>
                    <a:pt x="974" y="398"/>
                    <a:pt x="972" y="404"/>
                    <a:pt x="965" y="411"/>
                  </a:cubicBezTo>
                  <a:cubicBezTo>
                    <a:pt x="959" y="418"/>
                    <a:pt x="962" y="417"/>
                    <a:pt x="955" y="427"/>
                  </a:cubicBezTo>
                  <a:cubicBezTo>
                    <a:pt x="948" y="436"/>
                    <a:pt x="953" y="432"/>
                    <a:pt x="949" y="438"/>
                  </a:cubicBezTo>
                  <a:cubicBezTo>
                    <a:pt x="945" y="443"/>
                    <a:pt x="939" y="448"/>
                    <a:pt x="935" y="448"/>
                  </a:cubicBezTo>
                  <a:cubicBezTo>
                    <a:pt x="931" y="449"/>
                    <a:pt x="929" y="456"/>
                    <a:pt x="924" y="461"/>
                  </a:cubicBezTo>
                  <a:cubicBezTo>
                    <a:pt x="920" y="465"/>
                    <a:pt x="921" y="470"/>
                    <a:pt x="917" y="476"/>
                  </a:cubicBezTo>
                  <a:cubicBezTo>
                    <a:pt x="913" y="482"/>
                    <a:pt x="914" y="489"/>
                    <a:pt x="910" y="495"/>
                  </a:cubicBezTo>
                  <a:cubicBezTo>
                    <a:pt x="907" y="501"/>
                    <a:pt x="904" y="503"/>
                    <a:pt x="901" y="511"/>
                  </a:cubicBezTo>
                  <a:cubicBezTo>
                    <a:pt x="898" y="520"/>
                    <a:pt x="894" y="512"/>
                    <a:pt x="889" y="506"/>
                  </a:cubicBezTo>
                  <a:cubicBezTo>
                    <a:pt x="883" y="500"/>
                    <a:pt x="888" y="516"/>
                    <a:pt x="883" y="519"/>
                  </a:cubicBezTo>
                  <a:cubicBezTo>
                    <a:pt x="878" y="521"/>
                    <a:pt x="881" y="526"/>
                    <a:pt x="881" y="531"/>
                  </a:cubicBezTo>
                  <a:cubicBezTo>
                    <a:pt x="880" y="537"/>
                    <a:pt x="883" y="538"/>
                    <a:pt x="884" y="545"/>
                  </a:cubicBezTo>
                  <a:cubicBezTo>
                    <a:pt x="885" y="553"/>
                    <a:pt x="883" y="553"/>
                    <a:pt x="882" y="561"/>
                  </a:cubicBezTo>
                  <a:cubicBezTo>
                    <a:pt x="881" y="569"/>
                    <a:pt x="883" y="568"/>
                    <a:pt x="885" y="578"/>
                  </a:cubicBezTo>
                  <a:cubicBezTo>
                    <a:pt x="887" y="588"/>
                    <a:pt x="889" y="601"/>
                    <a:pt x="889" y="605"/>
                  </a:cubicBezTo>
                  <a:cubicBezTo>
                    <a:pt x="888" y="608"/>
                    <a:pt x="887" y="614"/>
                    <a:pt x="883" y="619"/>
                  </a:cubicBezTo>
                  <a:cubicBezTo>
                    <a:pt x="879" y="624"/>
                    <a:pt x="882" y="624"/>
                    <a:pt x="881" y="629"/>
                  </a:cubicBezTo>
                  <a:cubicBezTo>
                    <a:pt x="880" y="634"/>
                    <a:pt x="883" y="637"/>
                    <a:pt x="883" y="642"/>
                  </a:cubicBezTo>
                  <a:cubicBezTo>
                    <a:pt x="883" y="648"/>
                    <a:pt x="883" y="648"/>
                    <a:pt x="879" y="654"/>
                  </a:cubicBezTo>
                  <a:cubicBezTo>
                    <a:pt x="874" y="660"/>
                    <a:pt x="876" y="660"/>
                    <a:pt x="873" y="666"/>
                  </a:cubicBezTo>
                  <a:cubicBezTo>
                    <a:pt x="870" y="671"/>
                    <a:pt x="872" y="673"/>
                    <a:pt x="874" y="684"/>
                  </a:cubicBezTo>
                  <a:cubicBezTo>
                    <a:pt x="876" y="695"/>
                    <a:pt x="874" y="690"/>
                    <a:pt x="874" y="694"/>
                  </a:cubicBezTo>
                  <a:cubicBezTo>
                    <a:pt x="874" y="698"/>
                    <a:pt x="871" y="700"/>
                    <a:pt x="868" y="704"/>
                  </a:cubicBezTo>
                  <a:cubicBezTo>
                    <a:pt x="865" y="708"/>
                    <a:pt x="868" y="708"/>
                    <a:pt x="865" y="713"/>
                  </a:cubicBezTo>
                  <a:cubicBezTo>
                    <a:pt x="862" y="718"/>
                    <a:pt x="863" y="718"/>
                    <a:pt x="863" y="723"/>
                  </a:cubicBezTo>
                  <a:cubicBezTo>
                    <a:pt x="863" y="728"/>
                    <a:pt x="862" y="726"/>
                    <a:pt x="857" y="730"/>
                  </a:cubicBezTo>
                  <a:cubicBezTo>
                    <a:pt x="851" y="733"/>
                    <a:pt x="854" y="734"/>
                    <a:pt x="850" y="739"/>
                  </a:cubicBezTo>
                  <a:cubicBezTo>
                    <a:pt x="846" y="743"/>
                    <a:pt x="848" y="745"/>
                    <a:pt x="848" y="751"/>
                  </a:cubicBezTo>
                  <a:cubicBezTo>
                    <a:pt x="847" y="756"/>
                    <a:pt x="846" y="757"/>
                    <a:pt x="850" y="761"/>
                  </a:cubicBezTo>
                  <a:cubicBezTo>
                    <a:pt x="853" y="765"/>
                    <a:pt x="842" y="769"/>
                    <a:pt x="839" y="770"/>
                  </a:cubicBezTo>
                  <a:cubicBezTo>
                    <a:pt x="836" y="771"/>
                    <a:pt x="838" y="772"/>
                    <a:pt x="829" y="777"/>
                  </a:cubicBezTo>
                  <a:cubicBezTo>
                    <a:pt x="821" y="782"/>
                    <a:pt x="828" y="780"/>
                    <a:pt x="826" y="788"/>
                  </a:cubicBezTo>
                  <a:cubicBezTo>
                    <a:pt x="824" y="796"/>
                    <a:pt x="817" y="792"/>
                    <a:pt x="813" y="792"/>
                  </a:cubicBezTo>
                  <a:cubicBezTo>
                    <a:pt x="809" y="793"/>
                    <a:pt x="803" y="790"/>
                    <a:pt x="802" y="788"/>
                  </a:cubicBezTo>
                  <a:cubicBezTo>
                    <a:pt x="801" y="786"/>
                    <a:pt x="798" y="792"/>
                    <a:pt x="795" y="795"/>
                  </a:cubicBezTo>
                  <a:cubicBezTo>
                    <a:pt x="793" y="798"/>
                    <a:pt x="782" y="798"/>
                    <a:pt x="778" y="797"/>
                  </a:cubicBezTo>
                  <a:cubicBezTo>
                    <a:pt x="774" y="796"/>
                    <a:pt x="784" y="795"/>
                    <a:pt x="778" y="792"/>
                  </a:cubicBezTo>
                  <a:cubicBezTo>
                    <a:pt x="772" y="790"/>
                    <a:pt x="769" y="792"/>
                    <a:pt x="763" y="792"/>
                  </a:cubicBezTo>
                  <a:cubicBezTo>
                    <a:pt x="757" y="792"/>
                    <a:pt x="763" y="795"/>
                    <a:pt x="766" y="800"/>
                  </a:cubicBezTo>
                  <a:cubicBezTo>
                    <a:pt x="768" y="805"/>
                    <a:pt x="766" y="804"/>
                    <a:pt x="758" y="806"/>
                  </a:cubicBezTo>
                  <a:cubicBezTo>
                    <a:pt x="749" y="808"/>
                    <a:pt x="749" y="808"/>
                    <a:pt x="748" y="811"/>
                  </a:cubicBezTo>
                  <a:cubicBezTo>
                    <a:pt x="746" y="813"/>
                    <a:pt x="750" y="816"/>
                    <a:pt x="749" y="820"/>
                  </a:cubicBezTo>
                  <a:cubicBezTo>
                    <a:pt x="749" y="824"/>
                    <a:pt x="744" y="823"/>
                    <a:pt x="737" y="815"/>
                  </a:cubicBezTo>
                  <a:cubicBezTo>
                    <a:pt x="731" y="807"/>
                    <a:pt x="726" y="821"/>
                    <a:pt x="718" y="824"/>
                  </a:cubicBezTo>
                  <a:cubicBezTo>
                    <a:pt x="709" y="827"/>
                    <a:pt x="716" y="828"/>
                    <a:pt x="710" y="832"/>
                  </a:cubicBezTo>
                  <a:cubicBezTo>
                    <a:pt x="704" y="837"/>
                    <a:pt x="706" y="836"/>
                    <a:pt x="697" y="842"/>
                  </a:cubicBezTo>
                  <a:cubicBezTo>
                    <a:pt x="688" y="848"/>
                    <a:pt x="691" y="847"/>
                    <a:pt x="686" y="852"/>
                  </a:cubicBezTo>
                  <a:cubicBezTo>
                    <a:pt x="681" y="856"/>
                    <a:pt x="682" y="860"/>
                    <a:pt x="677" y="861"/>
                  </a:cubicBezTo>
                  <a:cubicBezTo>
                    <a:pt x="673" y="862"/>
                    <a:pt x="679" y="869"/>
                    <a:pt x="677" y="873"/>
                  </a:cubicBezTo>
                  <a:cubicBezTo>
                    <a:pt x="676" y="877"/>
                    <a:pt x="673" y="882"/>
                    <a:pt x="675" y="888"/>
                  </a:cubicBezTo>
                  <a:cubicBezTo>
                    <a:pt x="677" y="893"/>
                    <a:pt x="677" y="895"/>
                    <a:pt x="679" y="900"/>
                  </a:cubicBezTo>
                  <a:cubicBezTo>
                    <a:pt x="681" y="904"/>
                    <a:pt x="679" y="904"/>
                    <a:pt x="680" y="910"/>
                  </a:cubicBezTo>
                  <a:cubicBezTo>
                    <a:pt x="681" y="916"/>
                    <a:pt x="680" y="922"/>
                    <a:pt x="683" y="928"/>
                  </a:cubicBezTo>
                  <a:cubicBezTo>
                    <a:pt x="686" y="935"/>
                    <a:pt x="683" y="935"/>
                    <a:pt x="681" y="946"/>
                  </a:cubicBezTo>
                  <a:cubicBezTo>
                    <a:pt x="679" y="957"/>
                    <a:pt x="675" y="954"/>
                    <a:pt x="673" y="956"/>
                  </a:cubicBezTo>
                  <a:cubicBezTo>
                    <a:pt x="670" y="958"/>
                    <a:pt x="668" y="962"/>
                    <a:pt x="663" y="967"/>
                  </a:cubicBezTo>
                  <a:cubicBezTo>
                    <a:pt x="659" y="972"/>
                    <a:pt x="659" y="980"/>
                    <a:pt x="655" y="986"/>
                  </a:cubicBezTo>
                  <a:cubicBezTo>
                    <a:pt x="652" y="992"/>
                    <a:pt x="655" y="993"/>
                    <a:pt x="651" y="1001"/>
                  </a:cubicBezTo>
                  <a:cubicBezTo>
                    <a:pt x="648" y="1010"/>
                    <a:pt x="651" y="1013"/>
                    <a:pt x="645" y="1019"/>
                  </a:cubicBezTo>
                  <a:cubicBezTo>
                    <a:pt x="639" y="1025"/>
                    <a:pt x="642" y="1024"/>
                    <a:pt x="639" y="1026"/>
                  </a:cubicBezTo>
                  <a:cubicBezTo>
                    <a:pt x="637" y="1028"/>
                    <a:pt x="635" y="1031"/>
                    <a:pt x="632" y="1036"/>
                  </a:cubicBezTo>
                  <a:cubicBezTo>
                    <a:pt x="629" y="1040"/>
                    <a:pt x="629" y="1042"/>
                    <a:pt x="626" y="1046"/>
                  </a:cubicBezTo>
                  <a:cubicBezTo>
                    <a:pt x="622" y="1050"/>
                    <a:pt x="622" y="1050"/>
                    <a:pt x="619" y="1049"/>
                  </a:cubicBezTo>
                  <a:cubicBezTo>
                    <a:pt x="615" y="1047"/>
                    <a:pt x="618" y="1045"/>
                    <a:pt x="620" y="1041"/>
                  </a:cubicBezTo>
                  <a:cubicBezTo>
                    <a:pt x="622" y="1037"/>
                    <a:pt x="626" y="1035"/>
                    <a:pt x="630" y="1028"/>
                  </a:cubicBezTo>
                  <a:cubicBezTo>
                    <a:pt x="634" y="1022"/>
                    <a:pt x="636" y="1023"/>
                    <a:pt x="638" y="1019"/>
                  </a:cubicBezTo>
                  <a:cubicBezTo>
                    <a:pt x="640" y="1014"/>
                    <a:pt x="643" y="1006"/>
                    <a:pt x="643" y="1002"/>
                  </a:cubicBezTo>
                  <a:cubicBezTo>
                    <a:pt x="643" y="998"/>
                    <a:pt x="640" y="1001"/>
                    <a:pt x="636" y="998"/>
                  </a:cubicBezTo>
                  <a:cubicBezTo>
                    <a:pt x="632" y="995"/>
                    <a:pt x="631" y="996"/>
                    <a:pt x="629" y="1000"/>
                  </a:cubicBezTo>
                  <a:cubicBezTo>
                    <a:pt x="628" y="1005"/>
                    <a:pt x="630" y="1007"/>
                    <a:pt x="627" y="1012"/>
                  </a:cubicBezTo>
                  <a:cubicBezTo>
                    <a:pt x="625" y="1017"/>
                    <a:pt x="627" y="1017"/>
                    <a:pt x="623" y="1022"/>
                  </a:cubicBezTo>
                  <a:cubicBezTo>
                    <a:pt x="619" y="1026"/>
                    <a:pt x="620" y="1025"/>
                    <a:pt x="618" y="1027"/>
                  </a:cubicBezTo>
                  <a:cubicBezTo>
                    <a:pt x="616" y="1029"/>
                    <a:pt x="616" y="1034"/>
                    <a:pt x="613" y="1039"/>
                  </a:cubicBezTo>
                  <a:cubicBezTo>
                    <a:pt x="610" y="1043"/>
                    <a:pt x="612" y="1044"/>
                    <a:pt x="614" y="1047"/>
                  </a:cubicBezTo>
                  <a:cubicBezTo>
                    <a:pt x="617" y="1051"/>
                    <a:pt x="617" y="1054"/>
                    <a:pt x="613" y="1058"/>
                  </a:cubicBezTo>
                  <a:cubicBezTo>
                    <a:pt x="609" y="1063"/>
                    <a:pt x="611" y="1064"/>
                    <a:pt x="611" y="1071"/>
                  </a:cubicBezTo>
                  <a:cubicBezTo>
                    <a:pt x="611" y="1079"/>
                    <a:pt x="610" y="1076"/>
                    <a:pt x="607" y="1080"/>
                  </a:cubicBezTo>
                  <a:cubicBezTo>
                    <a:pt x="605" y="1084"/>
                    <a:pt x="606" y="1083"/>
                    <a:pt x="603" y="1087"/>
                  </a:cubicBezTo>
                  <a:cubicBezTo>
                    <a:pt x="599" y="1091"/>
                    <a:pt x="599" y="1091"/>
                    <a:pt x="596" y="1095"/>
                  </a:cubicBezTo>
                  <a:cubicBezTo>
                    <a:pt x="593" y="1091"/>
                    <a:pt x="588" y="1086"/>
                    <a:pt x="588" y="1082"/>
                  </a:cubicBezTo>
                  <a:cubicBezTo>
                    <a:pt x="588" y="1078"/>
                    <a:pt x="593" y="1071"/>
                    <a:pt x="595" y="1066"/>
                  </a:cubicBezTo>
                  <a:cubicBezTo>
                    <a:pt x="596" y="1062"/>
                    <a:pt x="589" y="1061"/>
                    <a:pt x="586" y="1056"/>
                  </a:cubicBezTo>
                  <a:cubicBezTo>
                    <a:pt x="582" y="1051"/>
                    <a:pt x="577" y="1049"/>
                    <a:pt x="572" y="1045"/>
                  </a:cubicBezTo>
                  <a:cubicBezTo>
                    <a:pt x="567" y="1042"/>
                    <a:pt x="568" y="1042"/>
                    <a:pt x="560" y="1036"/>
                  </a:cubicBezTo>
                  <a:cubicBezTo>
                    <a:pt x="552" y="1030"/>
                    <a:pt x="554" y="1029"/>
                    <a:pt x="545" y="1027"/>
                  </a:cubicBezTo>
                  <a:cubicBezTo>
                    <a:pt x="537" y="1025"/>
                    <a:pt x="538" y="1024"/>
                    <a:pt x="533" y="1018"/>
                  </a:cubicBezTo>
                  <a:cubicBezTo>
                    <a:pt x="528" y="1012"/>
                    <a:pt x="526" y="1013"/>
                    <a:pt x="526" y="1016"/>
                  </a:cubicBezTo>
                  <a:cubicBezTo>
                    <a:pt x="526" y="1020"/>
                    <a:pt x="521" y="1021"/>
                    <a:pt x="518" y="1016"/>
                  </a:cubicBezTo>
                  <a:cubicBezTo>
                    <a:pt x="515" y="1012"/>
                    <a:pt x="515" y="1011"/>
                    <a:pt x="513" y="1007"/>
                  </a:cubicBezTo>
                  <a:cubicBezTo>
                    <a:pt x="510" y="1003"/>
                    <a:pt x="499" y="997"/>
                    <a:pt x="495" y="993"/>
                  </a:cubicBezTo>
                  <a:cubicBezTo>
                    <a:pt x="492" y="990"/>
                    <a:pt x="482" y="997"/>
                    <a:pt x="477" y="997"/>
                  </a:cubicBezTo>
                  <a:cubicBezTo>
                    <a:pt x="476" y="997"/>
                    <a:pt x="475" y="997"/>
                    <a:pt x="475" y="997"/>
                  </a:cubicBezTo>
                  <a:cubicBezTo>
                    <a:pt x="473" y="996"/>
                    <a:pt x="477" y="991"/>
                    <a:pt x="482" y="986"/>
                  </a:cubicBezTo>
                  <a:cubicBezTo>
                    <a:pt x="487" y="979"/>
                    <a:pt x="490" y="978"/>
                    <a:pt x="490" y="974"/>
                  </a:cubicBezTo>
                  <a:cubicBezTo>
                    <a:pt x="490" y="970"/>
                    <a:pt x="492" y="965"/>
                    <a:pt x="499" y="957"/>
                  </a:cubicBezTo>
                  <a:cubicBezTo>
                    <a:pt x="506" y="948"/>
                    <a:pt x="505" y="952"/>
                    <a:pt x="507" y="947"/>
                  </a:cubicBezTo>
                  <a:cubicBezTo>
                    <a:pt x="508" y="942"/>
                    <a:pt x="510" y="940"/>
                    <a:pt x="516" y="934"/>
                  </a:cubicBezTo>
                  <a:cubicBezTo>
                    <a:pt x="522" y="928"/>
                    <a:pt x="522" y="928"/>
                    <a:pt x="529" y="924"/>
                  </a:cubicBezTo>
                  <a:cubicBezTo>
                    <a:pt x="536" y="920"/>
                    <a:pt x="540" y="917"/>
                    <a:pt x="545" y="913"/>
                  </a:cubicBezTo>
                  <a:cubicBezTo>
                    <a:pt x="551" y="910"/>
                    <a:pt x="548" y="910"/>
                    <a:pt x="551" y="902"/>
                  </a:cubicBezTo>
                  <a:cubicBezTo>
                    <a:pt x="554" y="894"/>
                    <a:pt x="552" y="893"/>
                    <a:pt x="551" y="884"/>
                  </a:cubicBezTo>
                  <a:cubicBezTo>
                    <a:pt x="550" y="875"/>
                    <a:pt x="551" y="878"/>
                    <a:pt x="548" y="873"/>
                  </a:cubicBezTo>
                  <a:cubicBezTo>
                    <a:pt x="544" y="867"/>
                    <a:pt x="542" y="866"/>
                    <a:pt x="536" y="864"/>
                  </a:cubicBezTo>
                  <a:cubicBezTo>
                    <a:pt x="530" y="863"/>
                    <a:pt x="529" y="869"/>
                    <a:pt x="527" y="864"/>
                  </a:cubicBezTo>
                  <a:cubicBezTo>
                    <a:pt x="527" y="864"/>
                    <a:pt x="527" y="863"/>
                    <a:pt x="527" y="862"/>
                  </a:cubicBezTo>
                  <a:cubicBezTo>
                    <a:pt x="524" y="854"/>
                    <a:pt x="527" y="852"/>
                    <a:pt x="530" y="844"/>
                  </a:cubicBezTo>
                  <a:cubicBezTo>
                    <a:pt x="534" y="836"/>
                    <a:pt x="529" y="834"/>
                    <a:pt x="530" y="827"/>
                  </a:cubicBezTo>
                  <a:cubicBezTo>
                    <a:pt x="531" y="820"/>
                    <a:pt x="529" y="821"/>
                    <a:pt x="524" y="818"/>
                  </a:cubicBezTo>
                  <a:cubicBezTo>
                    <a:pt x="520" y="815"/>
                    <a:pt x="520" y="821"/>
                    <a:pt x="506" y="820"/>
                  </a:cubicBezTo>
                  <a:cubicBezTo>
                    <a:pt x="493" y="819"/>
                    <a:pt x="501" y="817"/>
                    <a:pt x="499" y="811"/>
                  </a:cubicBezTo>
                  <a:cubicBezTo>
                    <a:pt x="497" y="804"/>
                    <a:pt x="495" y="805"/>
                    <a:pt x="495" y="794"/>
                  </a:cubicBezTo>
                  <a:cubicBezTo>
                    <a:pt x="495" y="782"/>
                    <a:pt x="493" y="787"/>
                    <a:pt x="490" y="778"/>
                  </a:cubicBezTo>
                  <a:cubicBezTo>
                    <a:pt x="486" y="768"/>
                    <a:pt x="479" y="772"/>
                    <a:pt x="475" y="768"/>
                  </a:cubicBezTo>
                  <a:cubicBezTo>
                    <a:pt x="471" y="764"/>
                    <a:pt x="466" y="771"/>
                    <a:pt x="466" y="771"/>
                  </a:cubicBezTo>
                  <a:cubicBezTo>
                    <a:pt x="466" y="771"/>
                    <a:pt x="456" y="773"/>
                    <a:pt x="450" y="773"/>
                  </a:cubicBezTo>
                  <a:cubicBezTo>
                    <a:pt x="445" y="773"/>
                    <a:pt x="446" y="769"/>
                    <a:pt x="438" y="767"/>
                  </a:cubicBezTo>
                  <a:cubicBezTo>
                    <a:pt x="431" y="765"/>
                    <a:pt x="433" y="764"/>
                    <a:pt x="433" y="757"/>
                  </a:cubicBezTo>
                  <a:cubicBezTo>
                    <a:pt x="433" y="750"/>
                    <a:pt x="433" y="743"/>
                    <a:pt x="432" y="736"/>
                  </a:cubicBezTo>
                  <a:cubicBezTo>
                    <a:pt x="431" y="730"/>
                    <a:pt x="426" y="724"/>
                    <a:pt x="425" y="717"/>
                  </a:cubicBezTo>
                  <a:cubicBezTo>
                    <a:pt x="425" y="717"/>
                    <a:pt x="425" y="717"/>
                    <a:pt x="425" y="717"/>
                  </a:cubicBezTo>
                  <a:cubicBezTo>
                    <a:pt x="424" y="711"/>
                    <a:pt x="431" y="710"/>
                    <a:pt x="428" y="707"/>
                  </a:cubicBezTo>
                  <a:cubicBezTo>
                    <a:pt x="426" y="704"/>
                    <a:pt x="425" y="697"/>
                    <a:pt x="426" y="693"/>
                  </a:cubicBezTo>
                  <a:cubicBezTo>
                    <a:pt x="428" y="689"/>
                    <a:pt x="428" y="683"/>
                    <a:pt x="432" y="675"/>
                  </a:cubicBezTo>
                  <a:cubicBezTo>
                    <a:pt x="437" y="667"/>
                    <a:pt x="435" y="664"/>
                    <a:pt x="432" y="655"/>
                  </a:cubicBezTo>
                  <a:cubicBezTo>
                    <a:pt x="430" y="646"/>
                    <a:pt x="426" y="652"/>
                    <a:pt x="425" y="644"/>
                  </a:cubicBezTo>
                  <a:cubicBezTo>
                    <a:pt x="423" y="635"/>
                    <a:pt x="418" y="639"/>
                    <a:pt x="412" y="635"/>
                  </a:cubicBezTo>
                  <a:cubicBezTo>
                    <a:pt x="406" y="631"/>
                    <a:pt x="408" y="630"/>
                    <a:pt x="408" y="625"/>
                  </a:cubicBezTo>
                  <a:cubicBezTo>
                    <a:pt x="409" y="620"/>
                    <a:pt x="407" y="615"/>
                    <a:pt x="408" y="609"/>
                  </a:cubicBezTo>
                  <a:cubicBezTo>
                    <a:pt x="410" y="603"/>
                    <a:pt x="393" y="606"/>
                    <a:pt x="383" y="605"/>
                  </a:cubicBezTo>
                  <a:cubicBezTo>
                    <a:pt x="373" y="604"/>
                    <a:pt x="371" y="604"/>
                    <a:pt x="364" y="603"/>
                  </a:cubicBezTo>
                  <a:cubicBezTo>
                    <a:pt x="356" y="602"/>
                    <a:pt x="361" y="596"/>
                    <a:pt x="361" y="591"/>
                  </a:cubicBezTo>
                  <a:cubicBezTo>
                    <a:pt x="361" y="587"/>
                    <a:pt x="359" y="586"/>
                    <a:pt x="354" y="581"/>
                  </a:cubicBezTo>
                  <a:cubicBezTo>
                    <a:pt x="348" y="575"/>
                    <a:pt x="356" y="571"/>
                    <a:pt x="357" y="570"/>
                  </a:cubicBezTo>
                  <a:cubicBezTo>
                    <a:pt x="357" y="569"/>
                    <a:pt x="357" y="563"/>
                    <a:pt x="357" y="559"/>
                  </a:cubicBezTo>
                  <a:cubicBezTo>
                    <a:pt x="356" y="555"/>
                    <a:pt x="351" y="550"/>
                    <a:pt x="350" y="545"/>
                  </a:cubicBezTo>
                  <a:cubicBezTo>
                    <a:pt x="348" y="539"/>
                    <a:pt x="348" y="538"/>
                    <a:pt x="343" y="533"/>
                  </a:cubicBezTo>
                  <a:cubicBezTo>
                    <a:pt x="339" y="528"/>
                    <a:pt x="336" y="529"/>
                    <a:pt x="327" y="529"/>
                  </a:cubicBezTo>
                  <a:cubicBezTo>
                    <a:pt x="318" y="529"/>
                    <a:pt x="321" y="530"/>
                    <a:pt x="315" y="525"/>
                  </a:cubicBezTo>
                  <a:cubicBezTo>
                    <a:pt x="309" y="521"/>
                    <a:pt x="303" y="521"/>
                    <a:pt x="295" y="515"/>
                  </a:cubicBezTo>
                  <a:cubicBezTo>
                    <a:pt x="286" y="509"/>
                    <a:pt x="288" y="511"/>
                    <a:pt x="280" y="505"/>
                  </a:cubicBezTo>
                  <a:cubicBezTo>
                    <a:pt x="272" y="498"/>
                    <a:pt x="273" y="500"/>
                    <a:pt x="264" y="499"/>
                  </a:cubicBezTo>
                  <a:cubicBezTo>
                    <a:pt x="255" y="499"/>
                    <a:pt x="252" y="496"/>
                    <a:pt x="247" y="492"/>
                  </a:cubicBezTo>
                  <a:cubicBezTo>
                    <a:pt x="242" y="489"/>
                    <a:pt x="238" y="487"/>
                    <a:pt x="232" y="482"/>
                  </a:cubicBezTo>
                  <a:cubicBezTo>
                    <a:pt x="227" y="478"/>
                    <a:pt x="229" y="476"/>
                    <a:pt x="223" y="468"/>
                  </a:cubicBezTo>
                  <a:cubicBezTo>
                    <a:pt x="217" y="460"/>
                    <a:pt x="224" y="458"/>
                    <a:pt x="223" y="452"/>
                  </a:cubicBezTo>
                  <a:cubicBezTo>
                    <a:pt x="222" y="446"/>
                    <a:pt x="220" y="446"/>
                    <a:pt x="221" y="441"/>
                  </a:cubicBezTo>
                  <a:cubicBezTo>
                    <a:pt x="222" y="437"/>
                    <a:pt x="222" y="430"/>
                    <a:pt x="221" y="425"/>
                  </a:cubicBezTo>
                  <a:cubicBezTo>
                    <a:pt x="220" y="421"/>
                    <a:pt x="207" y="424"/>
                    <a:pt x="198" y="425"/>
                  </a:cubicBezTo>
                  <a:cubicBezTo>
                    <a:pt x="189" y="426"/>
                    <a:pt x="187" y="427"/>
                    <a:pt x="183" y="429"/>
                  </a:cubicBezTo>
                  <a:cubicBezTo>
                    <a:pt x="179" y="431"/>
                    <a:pt x="169" y="439"/>
                    <a:pt x="168" y="441"/>
                  </a:cubicBezTo>
                  <a:cubicBezTo>
                    <a:pt x="167" y="444"/>
                    <a:pt x="157" y="444"/>
                    <a:pt x="153" y="448"/>
                  </a:cubicBezTo>
                  <a:cubicBezTo>
                    <a:pt x="149" y="452"/>
                    <a:pt x="143" y="460"/>
                    <a:pt x="135" y="456"/>
                  </a:cubicBezTo>
                  <a:cubicBezTo>
                    <a:pt x="129" y="453"/>
                    <a:pt x="124" y="454"/>
                    <a:pt x="117" y="455"/>
                  </a:cubicBezTo>
                  <a:cubicBezTo>
                    <a:pt x="114" y="455"/>
                    <a:pt x="112" y="455"/>
                    <a:pt x="109" y="455"/>
                  </a:cubicBezTo>
                  <a:cubicBezTo>
                    <a:pt x="99" y="455"/>
                    <a:pt x="98" y="458"/>
                    <a:pt x="93" y="454"/>
                  </a:cubicBezTo>
                  <a:cubicBezTo>
                    <a:pt x="87" y="449"/>
                    <a:pt x="89" y="427"/>
                    <a:pt x="91" y="417"/>
                  </a:cubicBezTo>
                  <a:cubicBezTo>
                    <a:pt x="93" y="407"/>
                    <a:pt x="80" y="420"/>
                    <a:pt x="73" y="428"/>
                  </a:cubicBezTo>
                  <a:cubicBezTo>
                    <a:pt x="67" y="435"/>
                    <a:pt x="58" y="429"/>
                    <a:pt x="54" y="429"/>
                  </a:cubicBezTo>
                  <a:cubicBezTo>
                    <a:pt x="51" y="429"/>
                    <a:pt x="51" y="424"/>
                    <a:pt x="46" y="418"/>
                  </a:cubicBezTo>
                  <a:cubicBezTo>
                    <a:pt x="42" y="413"/>
                    <a:pt x="36" y="415"/>
                    <a:pt x="29" y="415"/>
                  </a:cubicBezTo>
                  <a:cubicBezTo>
                    <a:pt x="22" y="415"/>
                    <a:pt x="27" y="411"/>
                    <a:pt x="27" y="403"/>
                  </a:cubicBezTo>
                  <a:cubicBezTo>
                    <a:pt x="26" y="396"/>
                    <a:pt x="22" y="393"/>
                    <a:pt x="18" y="389"/>
                  </a:cubicBezTo>
                  <a:cubicBezTo>
                    <a:pt x="14" y="385"/>
                    <a:pt x="16" y="384"/>
                    <a:pt x="12" y="376"/>
                  </a:cubicBezTo>
                  <a:cubicBezTo>
                    <a:pt x="9" y="368"/>
                    <a:pt x="7" y="367"/>
                    <a:pt x="3" y="360"/>
                  </a:cubicBezTo>
                  <a:cubicBezTo>
                    <a:pt x="0" y="354"/>
                    <a:pt x="9" y="352"/>
                    <a:pt x="8" y="347"/>
                  </a:cubicBezTo>
                  <a:cubicBezTo>
                    <a:pt x="8" y="342"/>
                    <a:pt x="16" y="335"/>
                    <a:pt x="20" y="332"/>
                  </a:cubicBezTo>
                  <a:cubicBezTo>
                    <a:pt x="25" y="329"/>
                    <a:pt x="21" y="326"/>
                    <a:pt x="20" y="324"/>
                  </a:cubicBezTo>
                  <a:cubicBezTo>
                    <a:pt x="18" y="322"/>
                    <a:pt x="19" y="317"/>
                    <a:pt x="22" y="312"/>
                  </a:cubicBezTo>
                  <a:cubicBezTo>
                    <a:pt x="25" y="307"/>
                    <a:pt x="25" y="302"/>
                    <a:pt x="27" y="296"/>
                  </a:cubicBezTo>
                  <a:cubicBezTo>
                    <a:pt x="28" y="289"/>
                    <a:pt x="32" y="290"/>
                    <a:pt x="36" y="286"/>
                  </a:cubicBezTo>
                  <a:cubicBezTo>
                    <a:pt x="40" y="281"/>
                    <a:pt x="44" y="282"/>
                    <a:pt x="51" y="277"/>
                  </a:cubicBezTo>
                  <a:cubicBezTo>
                    <a:pt x="57" y="273"/>
                    <a:pt x="59" y="273"/>
                    <a:pt x="68" y="271"/>
                  </a:cubicBezTo>
                  <a:cubicBezTo>
                    <a:pt x="77" y="269"/>
                    <a:pt x="74" y="271"/>
                    <a:pt x="76" y="267"/>
                  </a:cubicBezTo>
                  <a:cubicBezTo>
                    <a:pt x="78" y="262"/>
                    <a:pt x="89" y="266"/>
                    <a:pt x="92" y="269"/>
                  </a:cubicBezTo>
                  <a:cubicBezTo>
                    <a:pt x="96" y="273"/>
                    <a:pt x="97" y="270"/>
                    <a:pt x="99" y="269"/>
                  </a:cubicBezTo>
                  <a:cubicBezTo>
                    <a:pt x="99" y="269"/>
                    <a:pt x="99" y="267"/>
                    <a:pt x="98" y="266"/>
                  </a:cubicBezTo>
                  <a:cubicBezTo>
                    <a:pt x="99" y="266"/>
                    <a:pt x="100" y="266"/>
                    <a:pt x="100" y="263"/>
                  </a:cubicBezTo>
                  <a:cubicBezTo>
                    <a:pt x="101" y="260"/>
                    <a:pt x="102" y="257"/>
                    <a:pt x="103" y="253"/>
                  </a:cubicBezTo>
                  <a:cubicBezTo>
                    <a:pt x="103" y="249"/>
                    <a:pt x="104" y="244"/>
                    <a:pt x="104" y="239"/>
                  </a:cubicBezTo>
                  <a:cubicBezTo>
                    <a:pt x="105" y="234"/>
                    <a:pt x="103" y="228"/>
                    <a:pt x="104" y="224"/>
                  </a:cubicBezTo>
                  <a:cubicBezTo>
                    <a:pt x="105" y="220"/>
                    <a:pt x="105" y="209"/>
                    <a:pt x="108" y="202"/>
                  </a:cubicBezTo>
                  <a:cubicBezTo>
                    <a:pt x="110" y="195"/>
                    <a:pt x="111" y="194"/>
                    <a:pt x="112" y="188"/>
                  </a:cubicBezTo>
                  <a:cubicBezTo>
                    <a:pt x="113" y="182"/>
                    <a:pt x="113" y="178"/>
                    <a:pt x="110" y="175"/>
                  </a:cubicBezTo>
                  <a:cubicBezTo>
                    <a:pt x="106" y="171"/>
                    <a:pt x="107" y="166"/>
                    <a:pt x="104" y="162"/>
                  </a:cubicBezTo>
                  <a:cubicBezTo>
                    <a:pt x="101" y="158"/>
                    <a:pt x="91" y="157"/>
                    <a:pt x="92" y="149"/>
                  </a:cubicBezTo>
                  <a:cubicBezTo>
                    <a:pt x="93" y="142"/>
                    <a:pt x="95" y="135"/>
                    <a:pt x="97" y="133"/>
                  </a:cubicBezTo>
                  <a:cubicBezTo>
                    <a:pt x="99" y="130"/>
                    <a:pt x="99" y="127"/>
                    <a:pt x="107" y="128"/>
                  </a:cubicBezTo>
                  <a:cubicBezTo>
                    <a:pt x="114" y="130"/>
                    <a:pt x="119" y="131"/>
                    <a:pt x="118" y="126"/>
                  </a:cubicBezTo>
                  <a:cubicBezTo>
                    <a:pt x="116" y="121"/>
                    <a:pt x="117" y="122"/>
                    <a:pt x="112" y="120"/>
                  </a:cubicBezTo>
                  <a:cubicBezTo>
                    <a:pt x="107" y="119"/>
                    <a:pt x="99" y="117"/>
                    <a:pt x="99" y="114"/>
                  </a:cubicBezTo>
                  <a:cubicBezTo>
                    <a:pt x="99" y="112"/>
                    <a:pt x="97" y="102"/>
                    <a:pt x="101" y="101"/>
                  </a:cubicBezTo>
                  <a:cubicBezTo>
                    <a:pt x="104" y="100"/>
                    <a:pt x="140" y="102"/>
                    <a:pt x="140" y="98"/>
                  </a:cubicBezTo>
                  <a:cubicBezTo>
                    <a:pt x="141" y="95"/>
                    <a:pt x="143" y="91"/>
                    <a:pt x="144" y="93"/>
                  </a:cubicBezTo>
                  <a:cubicBezTo>
                    <a:pt x="146" y="96"/>
                    <a:pt x="144" y="101"/>
                    <a:pt x="147" y="100"/>
                  </a:cubicBezTo>
                  <a:cubicBezTo>
                    <a:pt x="151" y="99"/>
                    <a:pt x="155" y="93"/>
                    <a:pt x="157" y="91"/>
                  </a:cubicBezTo>
                  <a:cubicBezTo>
                    <a:pt x="160" y="90"/>
                    <a:pt x="162" y="87"/>
                    <a:pt x="164" y="90"/>
                  </a:cubicBezTo>
                  <a:cubicBezTo>
                    <a:pt x="165" y="92"/>
                    <a:pt x="166" y="92"/>
                    <a:pt x="167" y="92"/>
                  </a:cubicBezTo>
                  <a:cubicBezTo>
                    <a:pt x="166" y="92"/>
                    <a:pt x="166" y="94"/>
                    <a:pt x="168" y="96"/>
                  </a:cubicBezTo>
                  <a:cubicBezTo>
                    <a:pt x="171" y="101"/>
                    <a:pt x="170" y="98"/>
                    <a:pt x="170" y="105"/>
                  </a:cubicBezTo>
                  <a:cubicBezTo>
                    <a:pt x="171" y="111"/>
                    <a:pt x="169" y="111"/>
                    <a:pt x="175" y="116"/>
                  </a:cubicBezTo>
                  <a:cubicBezTo>
                    <a:pt x="181" y="122"/>
                    <a:pt x="179" y="125"/>
                    <a:pt x="187" y="126"/>
                  </a:cubicBezTo>
                  <a:cubicBezTo>
                    <a:pt x="194" y="127"/>
                    <a:pt x="191" y="130"/>
                    <a:pt x="196" y="126"/>
                  </a:cubicBezTo>
                  <a:cubicBezTo>
                    <a:pt x="200" y="123"/>
                    <a:pt x="206" y="117"/>
                    <a:pt x="206" y="121"/>
                  </a:cubicBezTo>
                  <a:cubicBezTo>
                    <a:pt x="207" y="124"/>
                    <a:pt x="206" y="128"/>
                    <a:pt x="208" y="128"/>
                  </a:cubicBezTo>
                  <a:cubicBezTo>
                    <a:pt x="210" y="129"/>
                    <a:pt x="212" y="125"/>
                    <a:pt x="217" y="122"/>
                  </a:cubicBezTo>
                  <a:cubicBezTo>
                    <a:pt x="222" y="118"/>
                    <a:pt x="222" y="115"/>
                    <a:pt x="229" y="113"/>
                  </a:cubicBezTo>
                  <a:cubicBezTo>
                    <a:pt x="235" y="110"/>
                    <a:pt x="235" y="113"/>
                    <a:pt x="238" y="109"/>
                  </a:cubicBezTo>
                  <a:cubicBezTo>
                    <a:pt x="241" y="105"/>
                    <a:pt x="243" y="103"/>
                    <a:pt x="243" y="100"/>
                  </a:cubicBezTo>
                  <a:cubicBezTo>
                    <a:pt x="243" y="97"/>
                    <a:pt x="245" y="93"/>
                    <a:pt x="252" y="92"/>
                  </a:cubicBezTo>
                  <a:cubicBezTo>
                    <a:pt x="260" y="92"/>
                    <a:pt x="263" y="90"/>
                    <a:pt x="263" y="87"/>
                  </a:cubicBezTo>
                  <a:cubicBezTo>
                    <a:pt x="263" y="85"/>
                    <a:pt x="266" y="81"/>
                    <a:pt x="262" y="81"/>
                  </a:cubicBezTo>
                  <a:cubicBezTo>
                    <a:pt x="257" y="81"/>
                    <a:pt x="247" y="80"/>
                    <a:pt x="247" y="78"/>
                  </a:cubicBezTo>
                  <a:cubicBezTo>
                    <a:pt x="247" y="76"/>
                    <a:pt x="241" y="68"/>
                    <a:pt x="241" y="61"/>
                  </a:cubicBezTo>
                  <a:cubicBezTo>
                    <a:pt x="242" y="54"/>
                    <a:pt x="243" y="52"/>
                    <a:pt x="240" y="47"/>
                  </a:cubicBezTo>
                  <a:cubicBezTo>
                    <a:pt x="237" y="42"/>
                    <a:pt x="234" y="40"/>
                    <a:pt x="232" y="36"/>
                  </a:cubicBezTo>
                  <a:cubicBezTo>
                    <a:pt x="230" y="32"/>
                    <a:pt x="229" y="27"/>
                    <a:pt x="232" y="29"/>
                  </a:cubicBezTo>
                  <a:cubicBezTo>
                    <a:pt x="235" y="30"/>
                    <a:pt x="241" y="33"/>
                    <a:pt x="246" y="34"/>
                  </a:cubicBezTo>
                  <a:cubicBezTo>
                    <a:pt x="250" y="35"/>
                    <a:pt x="250" y="36"/>
                    <a:pt x="253" y="37"/>
                  </a:cubicBezTo>
                  <a:cubicBezTo>
                    <a:pt x="256" y="38"/>
                    <a:pt x="259" y="39"/>
                    <a:pt x="264" y="39"/>
                  </a:cubicBezTo>
                  <a:cubicBezTo>
                    <a:pt x="269" y="40"/>
                    <a:pt x="268" y="40"/>
                    <a:pt x="271" y="44"/>
                  </a:cubicBezTo>
                  <a:cubicBezTo>
                    <a:pt x="273" y="48"/>
                    <a:pt x="273" y="49"/>
                    <a:pt x="278" y="48"/>
                  </a:cubicBezTo>
                  <a:cubicBezTo>
                    <a:pt x="283" y="48"/>
                    <a:pt x="278" y="38"/>
                    <a:pt x="280" y="36"/>
                  </a:cubicBezTo>
                  <a:cubicBezTo>
                    <a:pt x="283" y="34"/>
                    <a:pt x="284" y="33"/>
                    <a:pt x="291" y="33"/>
                  </a:cubicBezTo>
                  <a:cubicBezTo>
                    <a:pt x="297" y="33"/>
                    <a:pt x="299" y="31"/>
                    <a:pt x="306" y="28"/>
                  </a:cubicBezTo>
                  <a:cubicBezTo>
                    <a:pt x="313" y="26"/>
                    <a:pt x="312" y="23"/>
                    <a:pt x="320" y="21"/>
                  </a:cubicBezTo>
                  <a:cubicBezTo>
                    <a:pt x="327" y="19"/>
                    <a:pt x="331" y="17"/>
                    <a:pt x="331" y="14"/>
                  </a:cubicBezTo>
                  <a:cubicBezTo>
                    <a:pt x="332" y="11"/>
                    <a:pt x="334" y="6"/>
                    <a:pt x="333" y="3"/>
                  </a:cubicBezTo>
                  <a:cubicBezTo>
                    <a:pt x="336" y="3"/>
                    <a:pt x="341" y="3"/>
                    <a:pt x="342" y="3"/>
                  </a:cubicBezTo>
                  <a:cubicBezTo>
                    <a:pt x="343" y="3"/>
                    <a:pt x="346" y="0"/>
                    <a:pt x="347" y="3"/>
                  </a:cubicBezTo>
                  <a:cubicBezTo>
                    <a:pt x="348" y="6"/>
                    <a:pt x="352" y="5"/>
                    <a:pt x="347" y="12"/>
                  </a:cubicBezTo>
                  <a:cubicBezTo>
                    <a:pt x="341" y="19"/>
                    <a:pt x="344" y="21"/>
                    <a:pt x="348" y="22"/>
                  </a:cubicBezTo>
                  <a:cubicBezTo>
                    <a:pt x="352" y="23"/>
                    <a:pt x="355" y="23"/>
                    <a:pt x="355" y="27"/>
                  </a:cubicBezTo>
                  <a:cubicBezTo>
                    <a:pt x="356" y="31"/>
                    <a:pt x="359" y="31"/>
                    <a:pt x="358" y="36"/>
                  </a:cubicBezTo>
                  <a:cubicBezTo>
                    <a:pt x="358" y="42"/>
                    <a:pt x="357" y="40"/>
                    <a:pt x="354" y="45"/>
                  </a:cubicBezTo>
                  <a:cubicBezTo>
                    <a:pt x="351" y="50"/>
                    <a:pt x="352" y="48"/>
                    <a:pt x="351" y="55"/>
                  </a:cubicBezTo>
                  <a:cubicBezTo>
                    <a:pt x="350" y="62"/>
                    <a:pt x="347" y="59"/>
                    <a:pt x="347" y="66"/>
                  </a:cubicBezTo>
                  <a:cubicBezTo>
                    <a:pt x="347" y="73"/>
                    <a:pt x="344" y="76"/>
                    <a:pt x="348" y="80"/>
                  </a:cubicBezTo>
                  <a:cubicBezTo>
                    <a:pt x="352" y="84"/>
                    <a:pt x="353" y="85"/>
                    <a:pt x="354" y="91"/>
                  </a:cubicBezTo>
                  <a:cubicBezTo>
                    <a:pt x="356" y="96"/>
                    <a:pt x="351" y="98"/>
                    <a:pt x="355" y="101"/>
                  </a:cubicBezTo>
                  <a:cubicBezTo>
                    <a:pt x="359" y="104"/>
                    <a:pt x="361" y="104"/>
                    <a:pt x="366" y="109"/>
                  </a:cubicBezTo>
                  <a:cubicBezTo>
                    <a:pt x="370" y="114"/>
                    <a:pt x="375" y="116"/>
                    <a:pt x="378" y="114"/>
                  </a:cubicBezTo>
                  <a:cubicBezTo>
                    <a:pt x="381" y="113"/>
                    <a:pt x="384" y="110"/>
                    <a:pt x="387" y="108"/>
                  </a:cubicBezTo>
                  <a:cubicBezTo>
                    <a:pt x="389" y="106"/>
                    <a:pt x="390" y="105"/>
                    <a:pt x="393" y="104"/>
                  </a:cubicBezTo>
                  <a:cubicBezTo>
                    <a:pt x="397" y="102"/>
                    <a:pt x="399" y="100"/>
                    <a:pt x="405" y="99"/>
                  </a:cubicBezTo>
                  <a:cubicBezTo>
                    <a:pt x="411" y="97"/>
                    <a:pt x="414" y="92"/>
                    <a:pt x="419" y="94"/>
                  </a:cubicBezTo>
                  <a:cubicBezTo>
                    <a:pt x="423" y="95"/>
                    <a:pt x="429" y="96"/>
                    <a:pt x="429" y="97"/>
                  </a:cubicBezTo>
                  <a:cubicBezTo>
                    <a:pt x="430" y="97"/>
                    <a:pt x="432" y="97"/>
                    <a:pt x="435" y="97"/>
                  </a:cubicBezTo>
                  <a:cubicBezTo>
                    <a:pt x="438" y="96"/>
                    <a:pt x="441" y="96"/>
                    <a:pt x="442" y="97"/>
                  </a:cubicBezTo>
                  <a:cubicBezTo>
                    <a:pt x="446" y="98"/>
                    <a:pt x="451" y="97"/>
                    <a:pt x="450" y="93"/>
                  </a:cubicBezTo>
                  <a:cubicBezTo>
                    <a:pt x="449" y="89"/>
                    <a:pt x="437" y="85"/>
                    <a:pt x="444" y="83"/>
                  </a:cubicBezTo>
                  <a:cubicBezTo>
                    <a:pt x="451" y="81"/>
                    <a:pt x="454" y="81"/>
                    <a:pt x="457" y="81"/>
                  </a:cubicBezTo>
                  <a:cubicBezTo>
                    <a:pt x="460" y="81"/>
                    <a:pt x="468" y="76"/>
                    <a:pt x="472" y="79"/>
                  </a:cubicBezTo>
                  <a:cubicBezTo>
                    <a:pt x="476" y="81"/>
                    <a:pt x="477" y="81"/>
                    <a:pt x="482" y="85"/>
                  </a:cubicBezTo>
                  <a:cubicBezTo>
                    <a:pt x="482" y="85"/>
                    <a:pt x="482" y="85"/>
                    <a:pt x="483" y="85"/>
                  </a:cubicBezTo>
                  <a:cubicBezTo>
                    <a:pt x="488" y="89"/>
                    <a:pt x="491" y="92"/>
                    <a:pt x="495" y="89"/>
                  </a:cubicBezTo>
                  <a:cubicBezTo>
                    <a:pt x="500" y="87"/>
                    <a:pt x="507" y="83"/>
                    <a:pt x="512" y="85"/>
                  </a:cubicBezTo>
                  <a:cubicBezTo>
                    <a:pt x="516" y="86"/>
                    <a:pt x="522" y="89"/>
                    <a:pt x="527" y="86"/>
                  </a:cubicBezTo>
                  <a:cubicBezTo>
                    <a:pt x="531" y="83"/>
                    <a:pt x="536" y="74"/>
                    <a:pt x="538" y="67"/>
                  </a:cubicBezTo>
                  <a:cubicBezTo>
                    <a:pt x="540" y="61"/>
                    <a:pt x="545" y="50"/>
                    <a:pt x="547" y="46"/>
                  </a:cubicBezTo>
                  <a:cubicBezTo>
                    <a:pt x="549" y="42"/>
                    <a:pt x="556" y="34"/>
                    <a:pt x="556" y="34"/>
                  </a:cubicBezTo>
                  <a:cubicBezTo>
                    <a:pt x="556" y="31"/>
                    <a:pt x="556" y="31"/>
                    <a:pt x="556" y="31"/>
                  </a:cubicBezTo>
                  <a:cubicBezTo>
                    <a:pt x="557" y="32"/>
                    <a:pt x="558" y="33"/>
                    <a:pt x="558" y="31"/>
                  </a:cubicBezTo>
                  <a:cubicBezTo>
                    <a:pt x="558" y="28"/>
                    <a:pt x="568" y="35"/>
                    <a:pt x="569" y="41"/>
                  </a:cubicBezTo>
                  <a:cubicBezTo>
                    <a:pt x="570" y="47"/>
                    <a:pt x="571" y="52"/>
                    <a:pt x="572" y="61"/>
                  </a:cubicBezTo>
                  <a:cubicBezTo>
                    <a:pt x="573" y="70"/>
                    <a:pt x="578" y="71"/>
                    <a:pt x="579" y="84"/>
                  </a:cubicBezTo>
                  <a:cubicBezTo>
                    <a:pt x="581" y="97"/>
                    <a:pt x="584" y="87"/>
                    <a:pt x="587" y="94"/>
                  </a:cubicBezTo>
                  <a:cubicBezTo>
                    <a:pt x="590" y="102"/>
                    <a:pt x="594" y="97"/>
                    <a:pt x="597" y="100"/>
                  </a:cubicBezTo>
                  <a:cubicBezTo>
                    <a:pt x="601" y="104"/>
                    <a:pt x="603" y="107"/>
                    <a:pt x="601" y="112"/>
                  </a:cubicBezTo>
                  <a:cubicBezTo>
                    <a:pt x="599" y="116"/>
                    <a:pt x="604" y="120"/>
                    <a:pt x="599" y="122"/>
                  </a:cubicBezTo>
                  <a:cubicBezTo>
                    <a:pt x="595" y="124"/>
                    <a:pt x="597" y="133"/>
                    <a:pt x="593" y="133"/>
                  </a:cubicBezTo>
                  <a:cubicBezTo>
                    <a:pt x="589" y="134"/>
                    <a:pt x="592" y="138"/>
                    <a:pt x="583" y="140"/>
                  </a:cubicBezTo>
                  <a:cubicBezTo>
                    <a:pt x="574" y="141"/>
                    <a:pt x="580" y="142"/>
                    <a:pt x="567" y="152"/>
                  </a:cubicBezTo>
                  <a:cubicBezTo>
                    <a:pt x="554" y="162"/>
                    <a:pt x="568" y="157"/>
                    <a:pt x="570" y="161"/>
                  </a:cubicBezTo>
                  <a:cubicBezTo>
                    <a:pt x="572" y="165"/>
                    <a:pt x="569" y="166"/>
                    <a:pt x="565" y="173"/>
                  </a:cubicBezTo>
                  <a:cubicBezTo>
                    <a:pt x="560" y="180"/>
                    <a:pt x="561" y="181"/>
                    <a:pt x="566" y="181"/>
                  </a:cubicBezTo>
                  <a:cubicBezTo>
                    <a:pt x="571" y="181"/>
                    <a:pt x="572" y="173"/>
                    <a:pt x="573" y="167"/>
                  </a:cubicBezTo>
                  <a:cubicBezTo>
                    <a:pt x="574" y="161"/>
                    <a:pt x="576" y="160"/>
                    <a:pt x="583" y="152"/>
                  </a:cubicBezTo>
                  <a:cubicBezTo>
                    <a:pt x="591" y="144"/>
                    <a:pt x="597" y="152"/>
                    <a:pt x="603" y="153"/>
                  </a:cubicBezTo>
                  <a:cubicBezTo>
                    <a:pt x="608" y="154"/>
                    <a:pt x="609" y="156"/>
                    <a:pt x="616" y="151"/>
                  </a:cubicBezTo>
                  <a:cubicBezTo>
                    <a:pt x="624" y="147"/>
                    <a:pt x="625" y="154"/>
                    <a:pt x="634" y="155"/>
                  </a:cubicBezTo>
                  <a:cubicBezTo>
                    <a:pt x="643" y="157"/>
                    <a:pt x="638" y="158"/>
                    <a:pt x="633" y="166"/>
                  </a:cubicBezTo>
                  <a:cubicBezTo>
                    <a:pt x="628" y="174"/>
                    <a:pt x="627" y="173"/>
                    <a:pt x="627" y="184"/>
                  </a:cubicBezTo>
                  <a:cubicBezTo>
                    <a:pt x="626" y="195"/>
                    <a:pt x="624" y="190"/>
                    <a:pt x="614" y="194"/>
                  </a:cubicBezTo>
                  <a:cubicBezTo>
                    <a:pt x="603" y="198"/>
                    <a:pt x="596" y="195"/>
                    <a:pt x="582" y="196"/>
                  </a:cubicBezTo>
                  <a:cubicBezTo>
                    <a:pt x="569" y="196"/>
                    <a:pt x="592" y="201"/>
                    <a:pt x="601" y="201"/>
                  </a:cubicBezTo>
                  <a:cubicBezTo>
                    <a:pt x="611" y="201"/>
                    <a:pt x="619" y="203"/>
                    <a:pt x="624" y="198"/>
                  </a:cubicBezTo>
                  <a:cubicBezTo>
                    <a:pt x="630" y="193"/>
                    <a:pt x="632" y="196"/>
                    <a:pt x="634" y="195"/>
                  </a:cubicBezTo>
                  <a:cubicBezTo>
                    <a:pt x="636" y="194"/>
                    <a:pt x="635" y="188"/>
                    <a:pt x="635" y="184"/>
                  </a:cubicBezTo>
                  <a:cubicBezTo>
                    <a:pt x="636" y="179"/>
                    <a:pt x="639" y="178"/>
                    <a:pt x="641" y="173"/>
                  </a:cubicBezTo>
                  <a:cubicBezTo>
                    <a:pt x="642" y="168"/>
                    <a:pt x="648" y="173"/>
                    <a:pt x="648" y="169"/>
                  </a:cubicBezTo>
                  <a:cubicBezTo>
                    <a:pt x="649" y="165"/>
                    <a:pt x="655" y="170"/>
                    <a:pt x="657" y="166"/>
                  </a:cubicBezTo>
                  <a:cubicBezTo>
                    <a:pt x="659" y="162"/>
                    <a:pt x="664" y="168"/>
                    <a:pt x="666" y="168"/>
                  </a:cubicBezTo>
                  <a:cubicBezTo>
                    <a:pt x="669" y="167"/>
                    <a:pt x="671" y="171"/>
                    <a:pt x="674" y="168"/>
                  </a:cubicBezTo>
                  <a:cubicBezTo>
                    <a:pt x="676" y="165"/>
                    <a:pt x="679" y="176"/>
                    <a:pt x="684" y="176"/>
                  </a:cubicBezTo>
                  <a:cubicBezTo>
                    <a:pt x="689" y="175"/>
                    <a:pt x="688" y="181"/>
                    <a:pt x="690" y="181"/>
                  </a:cubicBezTo>
                  <a:cubicBezTo>
                    <a:pt x="692" y="181"/>
                    <a:pt x="693" y="186"/>
                    <a:pt x="699" y="181"/>
                  </a:cubicBezTo>
                  <a:cubicBezTo>
                    <a:pt x="706" y="176"/>
                    <a:pt x="703" y="184"/>
                    <a:pt x="707" y="184"/>
                  </a:cubicBezTo>
                  <a:cubicBezTo>
                    <a:pt x="711" y="184"/>
                    <a:pt x="712" y="186"/>
                    <a:pt x="712" y="190"/>
                  </a:cubicBezTo>
                  <a:cubicBezTo>
                    <a:pt x="712" y="195"/>
                    <a:pt x="713" y="196"/>
                    <a:pt x="715" y="193"/>
                  </a:cubicBezTo>
                  <a:cubicBezTo>
                    <a:pt x="717" y="191"/>
                    <a:pt x="723" y="195"/>
                    <a:pt x="724" y="195"/>
                  </a:cubicBezTo>
                  <a:cubicBezTo>
                    <a:pt x="725" y="195"/>
                    <a:pt x="731" y="199"/>
                    <a:pt x="732" y="204"/>
                  </a:cubicBezTo>
                  <a:cubicBezTo>
                    <a:pt x="733" y="209"/>
                    <a:pt x="735" y="208"/>
                    <a:pt x="734" y="213"/>
                  </a:cubicBezTo>
                  <a:cubicBezTo>
                    <a:pt x="732" y="217"/>
                    <a:pt x="731" y="223"/>
                    <a:pt x="733" y="231"/>
                  </a:cubicBezTo>
                  <a:cubicBezTo>
                    <a:pt x="735" y="240"/>
                    <a:pt x="736" y="221"/>
                    <a:pt x="738" y="217"/>
                  </a:cubicBezTo>
                  <a:cubicBezTo>
                    <a:pt x="740" y="214"/>
                    <a:pt x="745" y="226"/>
                    <a:pt x="748" y="221"/>
                  </a:cubicBezTo>
                  <a:cubicBezTo>
                    <a:pt x="751" y="217"/>
                    <a:pt x="755" y="217"/>
                    <a:pt x="760" y="215"/>
                  </a:cubicBezTo>
                  <a:cubicBezTo>
                    <a:pt x="765" y="214"/>
                    <a:pt x="770" y="218"/>
                    <a:pt x="776" y="221"/>
                  </a:cubicBezTo>
                  <a:cubicBezTo>
                    <a:pt x="781" y="225"/>
                    <a:pt x="783" y="226"/>
                    <a:pt x="797" y="228"/>
                  </a:cubicBezTo>
                  <a:cubicBezTo>
                    <a:pt x="811" y="230"/>
                    <a:pt x="807" y="230"/>
                    <a:pt x="808" y="232"/>
                  </a:cubicBezTo>
                  <a:cubicBezTo>
                    <a:pt x="810" y="234"/>
                    <a:pt x="821" y="229"/>
                    <a:pt x="825" y="228"/>
                  </a:cubicBezTo>
                  <a:cubicBezTo>
                    <a:pt x="830" y="227"/>
                    <a:pt x="837" y="229"/>
                    <a:pt x="847" y="229"/>
                  </a:cubicBezTo>
                  <a:cubicBezTo>
                    <a:pt x="857" y="229"/>
                    <a:pt x="856" y="232"/>
                    <a:pt x="862" y="235"/>
                  </a:cubicBezTo>
                  <a:cubicBezTo>
                    <a:pt x="868" y="238"/>
                    <a:pt x="869" y="243"/>
                    <a:pt x="881" y="248"/>
                  </a:cubicBezTo>
                  <a:cubicBezTo>
                    <a:pt x="892" y="254"/>
                    <a:pt x="887" y="256"/>
                    <a:pt x="893" y="263"/>
                  </a:cubicBezTo>
                  <a:cubicBezTo>
                    <a:pt x="898" y="270"/>
                    <a:pt x="901" y="276"/>
                    <a:pt x="913" y="284"/>
                  </a:cubicBezTo>
                  <a:cubicBezTo>
                    <a:pt x="925" y="293"/>
                    <a:pt x="931" y="292"/>
                    <a:pt x="936" y="293"/>
                  </a:cubicBezTo>
                  <a:cubicBezTo>
                    <a:pt x="941" y="294"/>
                    <a:pt x="948" y="292"/>
                    <a:pt x="953" y="290"/>
                  </a:cubicBezTo>
                  <a:cubicBezTo>
                    <a:pt x="958" y="287"/>
                    <a:pt x="958" y="295"/>
                    <a:pt x="965" y="297"/>
                  </a:cubicBezTo>
                  <a:cubicBezTo>
                    <a:pt x="972" y="300"/>
                    <a:pt x="968" y="311"/>
                    <a:pt x="969" y="315"/>
                  </a:cubicBezTo>
                  <a:cubicBezTo>
                    <a:pt x="970" y="320"/>
                    <a:pt x="973" y="325"/>
                    <a:pt x="975" y="333"/>
                  </a:cubicBezTo>
                  <a:cubicBezTo>
                    <a:pt x="978" y="341"/>
                    <a:pt x="979" y="344"/>
                    <a:pt x="980" y="355"/>
                  </a:cubicBezTo>
                  <a:cubicBezTo>
                    <a:pt x="982" y="365"/>
                    <a:pt x="979" y="368"/>
                    <a:pt x="979" y="370"/>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42" name="Freeform 1020">
              <a:extLst>
                <a:ext uri="{FF2B5EF4-FFF2-40B4-BE49-F238E27FC236}">
                  <a16:creationId xmlns:a16="http://schemas.microsoft.com/office/drawing/2014/main" id="{6DAD2C45-78EF-C74D-BEF0-CC82854816DE}"/>
                </a:ext>
              </a:extLst>
            </p:cNvPr>
            <p:cNvSpPr>
              <a:spLocks/>
            </p:cNvSpPr>
            <p:nvPr/>
          </p:nvSpPr>
          <p:spPr bwMode="auto">
            <a:xfrm>
              <a:off x="1381130" y="1794332"/>
              <a:ext cx="625477" cy="485776"/>
            </a:xfrm>
            <a:custGeom>
              <a:avLst/>
              <a:gdLst>
                <a:gd name="T0" fmla="*/ 632 w 658"/>
                <a:gd name="T1" fmla="*/ 376 h 509"/>
                <a:gd name="T2" fmla="*/ 607 w 658"/>
                <a:gd name="T3" fmla="*/ 398 h 509"/>
                <a:gd name="T4" fmla="*/ 538 w 658"/>
                <a:gd name="T5" fmla="*/ 429 h 509"/>
                <a:gd name="T6" fmla="*/ 545 w 658"/>
                <a:gd name="T7" fmla="*/ 466 h 509"/>
                <a:gd name="T8" fmla="*/ 499 w 658"/>
                <a:gd name="T9" fmla="*/ 499 h 509"/>
                <a:gd name="T10" fmla="*/ 441 w 658"/>
                <a:gd name="T11" fmla="*/ 458 h 509"/>
                <a:gd name="T12" fmla="*/ 367 w 658"/>
                <a:gd name="T13" fmla="*/ 469 h 509"/>
                <a:gd name="T14" fmla="*/ 284 w 658"/>
                <a:gd name="T15" fmla="*/ 432 h 509"/>
                <a:gd name="T16" fmla="*/ 233 w 658"/>
                <a:gd name="T17" fmla="*/ 400 h 509"/>
                <a:gd name="T18" fmla="*/ 191 w 658"/>
                <a:gd name="T19" fmla="*/ 344 h 509"/>
                <a:gd name="T20" fmla="*/ 203 w 658"/>
                <a:gd name="T21" fmla="*/ 310 h 509"/>
                <a:gd name="T22" fmla="*/ 169 w 658"/>
                <a:gd name="T23" fmla="*/ 241 h 509"/>
                <a:gd name="T24" fmla="*/ 134 w 658"/>
                <a:gd name="T25" fmla="*/ 199 h 509"/>
                <a:gd name="T26" fmla="*/ 124 w 658"/>
                <a:gd name="T27" fmla="*/ 156 h 509"/>
                <a:gd name="T28" fmla="*/ 92 w 658"/>
                <a:gd name="T29" fmla="*/ 115 h 509"/>
                <a:gd name="T30" fmla="*/ 83 w 658"/>
                <a:gd name="T31" fmla="*/ 82 h 509"/>
                <a:gd name="T32" fmla="*/ 83 w 658"/>
                <a:gd name="T33" fmla="*/ 42 h 509"/>
                <a:gd name="T34" fmla="*/ 51 w 658"/>
                <a:gd name="T35" fmla="*/ 33 h 509"/>
                <a:gd name="T36" fmla="*/ 52 w 658"/>
                <a:gd name="T37" fmla="*/ 92 h 509"/>
                <a:gd name="T38" fmla="*/ 76 w 658"/>
                <a:gd name="T39" fmla="*/ 157 h 509"/>
                <a:gd name="T40" fmla="*/ 88 w 658"/>
                <a:gd name="T41" fmla="*/ 205 h 509"/>
                <a:gd name="T42" fmla="*/ 91 w 658"/>
                <a:gd name="T43" fmla="*/ 236 h 509"/>
                <a:gd name="T44" fmla="*/ 114 w 658"/>
                <a:gd name="T45" fmla="*/ 256 h 509"/>
                <a:gd name="T46" fmla="*/ 96 w 658"/>
                <a:gd name="T47" fmla="*/ 263 h 509"/>
                <a:gd name="T48" fmla="*/ 54 w 658"/>
                <a:gd name="T49" fmla="*/ 216 h 509"/>
                <a:gd name="T50" fmla="*/ 44 w 658"/>
                <a:gd name="T51" fmla="*/ 168 h 509"/>
                <a:gd name="T52" fmla="*/ 8 w 658"/>
                <a:gd name="T53" fmla="*/ 143 h 509"/>
                <a:gd name="T54" fmla="*/ 36 w 658"/>
                <a:gd name="T55" fmla="*/ 121 h 509"/>
                <a:gd name="T56" fmla="*/ 10 w 658"/>
                <a:gd name="T57" fmla="*/ 73 h 509"/>
                <a:gd name="T58" fmla="*/ 7 w 658"/>
                <a:gd name="T59" fmla="*/ 28 h 509"/>
                <a:gd name="T60" fmla="*/ 29 w 658"/>
                <a:gd name="T61" fmla="*/ 2 h 509"/>
                <a:gd name="T62" fmla="*/ 72 w 658"/>
                <a:gd name="T63" fmla="*/ 12 h 509"/>
                <a:gd name="T64" fmla="*/ 139 w 658"/>
                <a:gd name="T65" fmla="*/ 39 h 509"/>
                <a:gd name="T66" fmla="*/ 210 w 658"/>
                <a:gd name="T67" fmla="*/ 26 h 509"/>
                <a:gd name="T68" fmla="*/ 278 w 658"/>
                <a:gd name="T69" fmla="*/ 84 h 509"/>
                <a:gd name="T70" fmla="*/ 335 w 658"/>
                <a:gd name="T71" fmla="*/ 80 h 509"/>
                <a:gd name="T72" fmla="*/ 380 w 658"/>
                <a:gd name="T73" fmla="*/ 143 h 509"/>
                <a:gd name="T74" fmla="*/ 393 w 658"/>
                <a:gd name="T75" fmla="*/ 179 h 509"/>
                <a:gd name="T76" fmla="*/ 429 w 658"/>
                <a:gd name="T77" fmla="*/ 189 h 509"/>
                <a:gd name="T78" fmla="*/ 404 w 658"/>
                <a:gd name="T79" fmla="*/ 241 h 509"/>
                <a:gd name="T80" fmla="*/ 397 w 658"/>
                <a:gd name="T81" fmla="*/ 304 h 509"/>
                <a:gd name="T82" fmla="*/ 410 w 658"/>
                <a:gd name="T83" fmla="*/ 353 h 509"/>
                <a:gd name="T84" fmla="*/ 440 w 658"/>
                <a:gd name="T85" fmla="*/ 393 h 509"/>
                <a:gd name="T86" fmla="*/ 486 w 658"/>
                <a:gd name="T87" fmla="*/ 401 h 509"/>
                <a:gd name="T88" fmla="*/ 534 w 658"/>
                <a:gd name="T89" fmla="*/ 391 h 509"/>
                <a:gd name="T90" fmla="*/ 561 w 658"/>
                <a:gd name="T91" fmla="*/ 345 h 509"/>
                <a:gd name="T92" fmla="*/ 611 w 658"/>
                <a:gd name="T93" fmla="*/ 314 h 509"/>
                <a:gd name="T94" fmla="*/ 658 w 658"/>
                <a:gd name="T95" fmla="*/ 320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58" h="509">
                  <a:moveTo>
                    <a:pt x="654" y="333"/>
                  </a:moveTo>
                  <a:cubicBezTo>
                    <a:pt x="650" y="338"/>
                    <a:pt x="649" y="339"/>
                    <a:pt x="641" y="346"/>
                  </a:cubicBezTo>
                  <a:cubicBezTo>
                    <a:pt x="634" y="353"/>
                    <a:pt x="637" y="358"/>
                    <a:pt x="634" y="362"/>
                  </a:cubicBezTo>
                  <a:cubicBezTo>
                    <a:pt x="632" y="365"/>
                    <a:pt x="635" y="372"/>
                    <a:pt x="632" y="376"/>
                  </a:cubicBezTo>
                  <a:cubicBezTo>
                    <a:pt x="629" y="381"/>
                    <a:pt x="629" y="388"/>
                    <a:pt x="625" y="394"/>
                  </a:cubicBezTo>
                  <a:cubicBezTo>
                    <a:pt x="622" y="400"/>
                    <a:pt x="624" y="404"/>
                    <a:pt x="619" y="406"/>
                  </a:cubicBezTo>
                  <a:cubicBezTo>
                    <a:pt x="615" y="409"/>
                    <a:pt x="618" y="395"/>
                    <a:pt x="618" y="390"/>
                  </a:cubicBezTo>
                  <a:cubicBezTo>
                    <a:pt x="618" y="386"/>
                    <a:pt x="610" y="396"/>
                    <a:pt x="607" y="398"/>
                  </a:cubicBezTo>
                  <a:cubicBezTo>
                    <a:pt x="605" y="396"/>
                    <a:pt x="597" y="406"/>
                    <a:pt x="596" y="411"/>
                  </a:cubicBezTo>
                  <a:cubicBezTo>
                    <a:pt x="594" y="416"/>
                    <a:pt x="587" y="417"/>
                    <a:pt x="584" y="417"/>
                  </a:cubicBezTo>
                  <a:cubicBezTo>
                    <a:pt x="582" y="417"/>
                    <a:pt x="547" y="416"/>
                    <a:pt x="543" y="416"/>
                  </a:cubicBezTo>
                  <a:cubicBezTo>
                    <a:pt x="539" y="416"/>
                    <a:pt x="539" y="426"/>
                    <a:pt x="538" y="429"/>
                  </a:cubicBezTo>
                  <a:cubicBezTo>
                    <a:pt x="536" y="432"/>
                    <a:pt x="530" y="433"/>
                    <a:pt x="527" y="433"/>
                  </a:cubicBezTo>
                  <a:cubicBezTo>
                    <a:pt x="524" y="433"/>
                    <a:pt x="546" y="453"/>
                    <a:pt x="548" y="454"/>
                  </a:cubicBezTo>
                  <a:cubicBezTo>
                    <a:pt x="550" y="455"/>
                    <a:pt x="548" y="461"/>
                    <a:pt x="545" y="462"/>
                  </a:cubicBezTo>
                  <a:cubicBezTo>
                    <a:pt x="543" y="462"/>
                    <a:pt x="545" y="466"/>
                    <a:pt x="545" y="466"/>
                  </a:cubicBezTo>
                  <a:cubicBezTo>
                    <a:pt x="545" y="468"/>
                    <a:pt x="517" y="466"/>
                    <a:pt x="515" y="466"/>
                  </a:cubicBezTo>
                  <a:cubicBezTo>
                    <a:pt x="513" y="466"/>
                    <a:pt x="506" y="477"/>
                    <a:pt x="504" y="481"/>
                  </a:cubicBezTo>
                  <a:cubicBezTo>
                    <a:pt x="501" y="485"/>
                    <a:pt x="502" y="488"/>
                    <a:pt x="502" y="491"/>
                  </a:cubicBezTo>
                  <a:cubicBezTo>
                    <a:pt x="502" y="494"/>
                    <a:pt x="499" y="499"/>
                    <a:pt x="499" y="499"/>
                  </a:cubicBezTo>
                  <a:cubicBezTo>
                    <a:pt x="498" y="502"/>
                    <a:pt x="498" y="506"/>
                    <a:pt x="497" y="509"/>
                  </a:cubicBezTo>
                  <a:cubicBezTo>
                    <a:pt x="496" y="508"/>
                    <a:pt x="496" y="507"/>
                    <a:pt x="495" y="506"/>
                  </a:cubicBezTo>
                  <a:cubicBezTo>
                    <a:pt x="491" y="502"/>
                    <a:pt x="464" y="471"/>
                    <a:pt x="459" y="466"/>
                  </a:cubicBezTo>
                  <a:cubicBezTo>
                    <a:pt x="454" y="461"/>
                    <a:pt x="450" y="463"/>
                    <a:pt x="441" y="458"/>
                  </a:cubicBezTo>
                  <a:cubicBezTo>
                    <a:pt x="432" y="454"/>
                    <a:pt x="437" y="459"/>
                    <a:pt x="434" y="464"/>
                  </a:cubicBezTo>
                  <a:cubicBezTo>
                    <a:pt x="431" y="468"/>
                    <a:pt x="422" y="467"/>
                    <a:pt x="416" y="473"/>
                  </a:cubicBezTo>
                  <a:cubicBezTo>
                    <a:pt x="411" y="478"/>
                    <a:pt x="396" y="477"/>
                    <a:pt x="387" y="475"/>
                  </a:cubicBezTo>
                  <a:cubicBezTo>
                    <a:pt x="378" y="473"/>
                    <a:pt x="374" y="474"/>
                    <a:pt x="367" y="469"/>
                  </a:cubicBezTo>
                  <a:cubicBezTo>
                    <a:pt x="360" y="465"/>
                    <a:pt x="357" y="465"/>
                    <a:pt x="350" y="458"/>
                  </a:cubicBezTo>
                  <a:cubicBezTo>
                    <a:pt x="342" y="451"/>
                    <a:pt x="340" y="455"/>
                    <a:pt x="331" y="450"/>
                  </a:cubicBezTo>
                  <a:cubicBezTo>
                    <a:pt x="321" y="445"/>
                    <a:pt x="314" y="446"/>
                    <a:pt x="304" y="441"/>
                  </a:cubicBezTo>
                  <a:cubicBezTo>
                    <a:pt x="294" y="436"/>
                    <a:pt x="292" y="436"/>
                    <a:pt x="284" y="432"/>
                  </a:cubicBezTo>
                  <a:cubicBezTo>
                    <a:pt x="275" y="427"/>
                    <a:pt x="276" y="420"/>
                    <a:pt x="272" y="414"/>
                  </a:cubicBezTo>
                  <a:cubicBezTo>
                    <a:pt x="269" y="409"/>
                    <a:pt x="258" y="413"/>
                    <a:pt x="255" y="412"/>
                  </a:cubicBezTo>
                  <a:cubicBezTo>
                    <a:pt x="252" y="411"/>
                    <a:pt x="247" y="410"/>
                    <a:pt x="242" y="408"/>
                  </a:cubicBezTo>
                  <a:cubicBezTo>
                    <a:pt x="236" y="406"/>
                    <a:pt x="234" y="403"/>
                    <a:pt x="233" y="400"/>
                  </a:cubicBezTo>
                  <a:cubicBezTo>
                    <a:pt x="233" y="396"/>
                    <a:pt x="225" y="392"/>
                    <a:pt x="222" y="387"/>
                  </a:cubicBezTo>
                  <a:cubicBezTo>
                    <a:pt x="218" y="382"/>
                    <a:pt x="210" y="382"/>
                    <a:pt x="207" y="379"/>
                  </a:cubicBezTo>
                  <a:cubicBezTo>
                    <a:pt x="203" y="376"/>
                    <a:pt x="201" y="370"/>
                    <a:pt x="195" y="365"/>
                  </a:cubicBezTo>
                  <a:cubicBezTo>
                    <a:pt x="190" y="360"/>
                    <a:pt x="191" y="351"/>
                    <a:pt x="191" y="344"/>
                  </a:cubicBezTo>
                  <a:cubicBezTo>
                    <a:pt x="191" y="337"/>
                    <a:pt x="195" y="342"/>
                    <a:pt x="198" y="341"/>
                  </a:cubicBezTo>
                  <a:cubicBezTo>
                    <a:pt x="201" y="340"/>
                    <a:pt x="201" y="337"/>
                    <a:pt x="199" y="336"/>
                  </a:cubicBezTo>
                  <a:cubicBezTo>
                    <a:pt x="196" y="335"/>
                    <a:pt x="202" y="329"/>
                    <a:pt x="205" y="325"/>
                  </a:cubicBezTo>
                  <a:cubicBezTo>
                    <a:pt x="209" y="321"/>
                    <a:pt x="211" y="319"/>
                    <a:pt x="203" y="310"/>
                  </a:cubicBezTo>
                  <a:cubicBezTo>
                    <a:pt x="195" y="301"/>
                    <a:pt x="200" y="294"/>
                    <a:pt x="200" y="290"/>
                  </a:cubicBezTo>
                  <a:cubicBezTo>
                    <a:pt x="199" y="285"/>
                    <a:pt x="193" y="278"/>
                    <a:pt x="192" y="275"/>
                  </a:cubicBezTo>
                  <a:cubicBezTo>
                    <a:pt x="191" y="271"/>
                    <a:pt x="185" y="262"/>
                    <a:pt x="184" y="257"/>
                  </a:cubicBezTo>
                  <a:cubicBezTo>
                    <a:pt x="184" y="251"/>
                    <a:pt x="173" y="248"/>
                    <a:pt x="169" y="241"/>
                  </a:cubicBezTo>
                  <a:cubicBezTo>
                    <a:pt x="164" y="235"/>
                    <a:pt x="161" y="234"/>
                    <a:pt x="156" y="226"/>
                  </a:cubicBezTo>
                  <a:cubicBezTo>
                    <a:pt x="152" y="218"/>
                    <a:pt x="157" y="215"/>
                    <a:pt x="156" y="212"/>
                  </a:cubicBezTo>
                  <a:cubicBezTo>
                    <a:pt x="156" y="210"/>
                    <a:pt x="144" y="208"/>
                    <a:pt x="144" y="206"/>
                  </a:cubicBezTo>
                  <a:cubicBezTo>
                    <a:pt x="144" y="204"/>
                    <a:pt x="138" y="200"/>
                    <a:pt x="134" y="199"/>
                  </a:cubicBezTo>
                  <a:cubicBezTo>
                    <a:pt x="130" y="197"/>
                    <a:pt x="130" y="195"/>
                    <a:pt x="130" y="191"/>
                  </a:cubicBezTo>
                  <a:cubicBezTo>
                    <a:pt x="130" y="187"/>
                    <a:pt x="134" y="183"/>
                    <a:pt x="139" y="182"/>
                  </a:cubicBezTo>
                  <a:cubicBezTo>
                    <a:pt x="144" y="180"/>
                    <a:pt x="138" y="175"/>
                    <a:pt x="130" y="170"/>
                  </a:cubicBezTo>
                  <a:cubicBezTo>
                    <a:pt x="122" y="166"/>
                    <a:pt x="128" y="159"/>
                    <a:pt x="124" y="156"/>
                  </a:cubicBezTo>
                  <a:cubicBezTo>
                    <a:pt x="120" y="153"/>
                    <a:pt x="117" y="153"/>
                    <a:pt x="116" y="150"/>
                  </a:cubicBezTo>
                  <a:cubicBezTo>
                    <a:pt x="115" y="146"/>
                    <a:pt x="114" y="140"/>
                    <a:pt x="115" y="136"/>
                  </a:cubicBezTo>
                  <a:cubicBezTo>
                    <a:pt x="117" y="132"/>
                    <a:pt x="102" y="132"/>
                    <a:pt x="101" y="129"/>
                  </a:cubicBezTo>
                  <a:cubicBezTo>
                    <a:pt x="101" y="126"/>
                    <a:pt x="96" y="122"/>
                    <a:pt x="92" y="115"/>
                  </a:cubicBezTo>
                  <a:cubicBezTo>
                    <a:pt x="88" y="108"/>
                    <a:pt x="90" y="107"/>
                    <a:pt x="89" y="104"/>
                  </a:cubicBezTo>
                  <a:cubicBezTo>
                    <a:pt x="88" y="102"/>
                    <a:pt x="87" y="109"/>
                    <a:pt x="81" y="110"/>
                  </a:cubicBezTo>
                  <a:cubicBezTo>
                    <a:pt x="75" y="111"/>
                    <a:pt x="79" y="100"/>
                    <a:pt x="84" y="97"/>
                  </a:cubicBezTo>
                  <a:cubicBezTo>
                    <a:pt x="88" y="94"/>
                    <a:pt x="83" y="92"/>
                    <a:pt x="83" y="82"/>
                  </a:cubicBezTo>
                  <a:cubicBezTo>
                    <a:pt x="83" y="72"/>
                    <a:pt x="84" y="73"/>
                    <a:pt x="84" y="69"/>
                  </a:cubicBezTo>
                  <a:cubicBezTo>
                    <a:pt x="84" y="64"/>
                    <a:pt x="83" y="61"/>
                    <a:pt x="82" y="57"/>
                  </a:cubicBezTo>
                  <a:cubicBezTo>
                    <a:pt x="80" y="52"/>
                    <a:pt x="83" y="50"/>
                    <a:pt x="84" y="48"/>
                  </a:cubicBezTo>
                  <a:cubicBezTo>
                    <a:pt x="85" y="47"/>
                    <a:pt x="85" y="43"/>
                    <a:pt x="83" y="42"/>
                  </a:cubicBezTo>
                  <a:cubicBezTo>
                    <a:pt x="81" y="41"/>
                    <a:pt x="75" y="38"/>
                    <a:pt x="75" y="34"/>
                  </a:cubicBezTo>
                  <a:cubicBezTo>
                    <a:pt x="74" y="29"/>
                    <a:pt x="72" y="33"/>
                    <a:pt x="67" y="34"/>
                  </a:cubicBezTo>
                  <a:cubicBezTo>
                    <a:pt x="61" y="34"/>
                    <a:pt x="59" y="31"/>
                    <a:pt x="57" y="28"/>
                  </a:cubicBezTo>
                  <a:cubicBezTo>
                    <a:pt x="55" y="26"/>
                    <a:pt x="55" y="30"/>
                    <a:pt x="51" y="33"/>
                  </a:cubicBezTo>
                  <a:cubicBezTo>
                    <a:pt x="46" y="35"/>
                    <a:pt x="46" y="41"/>
                    <a:pt x="45" y="49"/>
                  </a:cubicBezTo>
                  <a:cubicBezTo>
                    <a:pt x="44" y="56"/>
                    <a:pt x="43" y="60"/>
                    <a:pt x="40" y="66"/>
                  </a:cubicBezTo>
                  <a:cubicBezTo>
                    <a:pt x="37" y="72"/>
                    <a:pt x="42" y="72"/>
                    <a:pt x="42" y="77"/>
                  </a:cubicBezTo>
                  <a:cubicBezTo>
                    <a:pt x="43" y="82"/>
                    <a:pt x="46" y="84"/>
                    <a:pt x="52" y="92"/>
                  </a:cubicBezTo>
                  <a:cubicBezTo>
                    <a:pt x="58" y="100"/>
                    <a:pt x="51" y="98"/>
                    <a:pt x="59" y="106"/>
                  </a:cubicBezTo>
                  <a:cubicBezTo>
                    <a:pt x="66" y="115"/>
                    <a:pt x="67" y="122"/>
                    <a:pt x="65" y="127"/>
                  </a:cubicBezTo>
                  <a:cubicBezTo>
                    <a:pt x="63" y="132"/>
                    <a:pt x="67" y="132"/>
                    <a:pt x="68" y="141"/>
                  </a:cubicBezTo>
                  <a:cubicBezTo>
                    <a:pt x="69" y="151"/>
                    <a:pt x="76" y="148"/>
                    <a:pt x="76" y="157"/>
                  </a:cubicBezTo>
                  <a:cubicBezTo>
                    <a:pt x="76" y="166"/>
                    <a:pt x="77" y="161"/>
                    <a:pt x="81" y="165"/>
                  </a:cubicBezTo>
                  <a:cubicBezTo>
                    <a:pt x="84" y="168"/>
                    <a:pt x="82" y="170"/>
                    <a:pt x="84" y="180"/>
                  </a:cubicBezTo>
                  <a:cubicBezTo>
                    <a:pt x="86" y="189"/>
                    <a:pt x="85" y="187"/>
                    <a:pt x="86" y="193"/>
                  </a:cubicBezTo>
                  <a:cubicBezTo>
                    <a:pt x="87" y="199"/>
                    <a:pt x="88" y="199"/>
                    <a:pt x="88" y="205"/>
                  </a:cubicBezTo>
                  <a:cubicBezTo>
                    <a:pt x="88" y="210"/>
                    <a:pt x="91" y="210"/>
                    <a:pt x="94" y="214"/>
                  </a:cubicBezTo>
                  <a:cubicBezTo>
                    <a:pt x="96" y="218"/>
                    <a:pt x="90" y="217"/>
                    <a:pt x="90" y="217"/>
                  </a:cubicBezTo>
                  <a:cubicBezTo>
                    <a:pt x="90" y="217"/>
                    <a:pt x="90" y="222"/>
                    <a:pt x="89" y="225"/>
                  </a:cubicBezTo>
                  <a:cubicBezTo>
                    <a:pt x="87" y="228"/>
                    <a:pt x="88" y="231"/>
                    <a:pt x="91" y="236"/>
                  </a:cubicBezTo>
                  <a:cubicBezTo>
                    <a:pt x="94" y="242"/>
                    <a:pt x="97" y="236"/>
                    <a:pt x="98" y="234"/>
                  </a:cubicBezTo>
                  <a:cubicBezTo>
                    <a:pt x="99" y="231"/>
                    <a:pt x="98" y="234"/>
                    <a:pt x="106" y="238"/>
                  </a:cubicBezTo>
                  <a:cubicBezTo>
                    <a:pt x="113" y="242"/>
                    <a:pt x="110" y="237"/>
                    <a:pt x="110" y="244"/>
                  </a:cubicBezTo>
                  <a:cubicBezTo>
                    <a:pt x="110" y="250"/>
                    <a:pt x="110" y="250"/>
                    <a:pt x="114" y="256"/>
                  </a:cubicBezTo>
                  <a:cubicBezTo>
                    <a:pt x="117" y="261"/>
                    <a:pt x="115" y="261"/>
                    <a:pt x="114" y="265"/>
                  </a:cubicBezTo>
                  <a:cubicBezTo>
                    <a:pt x="112" y="269"/>
                    <a:pt x="110" y="271"/>
                    <a:pt x="106" y="274"/>
                  </a:cubicBezTo>
                  <a:cubicBezTo>
                    <a:pt x="101" y="276"/>
                    <a:pt x="100" y="274"/>
                    <a:pt x="96" y="274"/>
                  </a:cubicBezTo>
                  <a:cubicBezTo>
                    <a:pt x="93" y="274"/>
                    <a:pt x="97" y="267"/>
                    <a:pt x="96" y="263"/>
                  </a:cubicBezTo>
                  <a:cubicBezTo>
                    <a:pt x="96" y="259"/>
                    <a:pt x="91" y="256"/>
                    <a:pt x="88" y="252"/>
                  </a:cubicBezTo>
                  <a:cubicBezTo>
                    <a:pt x="85" y="248"/>
                    <a:pt x="76" y="244"/>
                    <a:pt x="73" y="238"/>
                  </a:cubicBezTo>
                  <a:cubicBezTo>
                    <a:pt x="71" y="233"/>
                    <a:pt x="64" y="229"/>
                    <a:pt x="60" y="226"/>
                  </a:cubicBezTo>
                  <a:cubicBezTo>
                    <a:pt x="56" y="223"/>
                    <a:pt x="54" y="219"/>
                    <a:pt x="54" y="216"/>
                  </a:cubicBezTo>
                  <a:cubicBezTo>
                    <a:pt x="54" y="213"/>
                    <a:pt x="57" y="208"/>
                    <a:pt x="61" y="203"/>
                  </a:cubicBezTo>
                  <a:cubicBezTo>
                    <a:pt x="65" y="198"/>
                    <a:pt x="64" y="193"/>
                    <a:pt x="63" y="188"/>
                  </a:cubicBezTo>
                  <a:cubicBezTo>
                    <a:pt x="63" y="183"/>
                    <a:pt x="58" y="181"/>
                    <a:pt x="55" y="179"/>
                  </a:cubicBezTo>
                  <a:cubicBezTo>
                    <a:pt x="52" y="177"/>
                    <a:pt x="48" y="173"/>
                    <a:pt x="44" y="168"/>
                  </a:cubicBezTo>
                  <a:cubicBezTo>
                    <a:pt x="40" y="163"/>
                    <a:pt x="37" y="169"/>
                    <a:pt x="34" y="168"/>
                  </a:cubicBezTo>
                  <a:cubicBezTo>
                    <a:pt x="30" y="167"/>
                    <a:pt x="29" y="160"/>
                    <a:pt x="26" y="159"/>
                  </a:cubicBezTo>
                  <a:cubicBezTo>
                    <a:pt x="24" y="157"/>
                    <a:pt x="19" y="153"/>
                    <a:pt x="19" y="147"/>
                  </a:cubicBezTo>
                  <a:cubicBezTo>
                    <a:pt x="19" y="141"/>
                    <a:pt x="16" y="152"/>
                    <a:pt x="8" y="143"/>
                  </a:cubicBezTo>
                  <a:cubicBezTo>
                    <a:pt x="0" y="134"/>
                    <a:pt x="17" y="139"/>
                    <a:pt x="19" y="137"/>
                  </a:cubicBezTo>
                  <a:cubicBezTo>
                    <a:pt x="21" y="135"/>
                    <a:pt x="24" y="137"/>
                    <a:pt x="29" y="139"/>
                  </a:cubicBezTo>
                  <a:cubicBezTo>
                    <a:pt x="34" y="141"/>
                    <a:pt x="30" y="134"/>
                    <a:pt x="30" y="132"/>
                  </a:cubicBezTo>
                  <a:cubicBezTo>
                    <a:pt x="30" y="130"/>
                    <a:pt x="35" y="125"/>
                    <a:pt x="36" y="121"/>
                  </a:cubicBezTo>
                  <a:cubicBezTo>
                    <a:pt x="37" y="118"/>
                    <a:pt x="32" y="112"/>
                    <a:pt x="31" y="106"/>
                  </a:cubicBezTo>
                  <a:cubicBezTo>
                    <a:pt x="29" y="101"/>
                    <a:pt x="23" y="96"/>
                    <a:pt x="20" y="92"/>
                  </a:cubicBezTo>
                  <a:cubicBezTo>
                    <a:pt x="17" y="88"/>
                    <a:pt x="14" y="87"/>
                    <a:pt x="11" y="84"/>
                  </a:cubicBezTo>
                  <a:cubicBezTo>
                    <a:pt x="8" y="80"/>
                    <a:pt x="10" y="76"/>
                    <a:pt x="10" y="73"/>
                  </a:cubicBezTo>
                  <a:cubicBezTo>
                    <a:pt x="11" y="70"/>
                    <a:pt x="10" y="64"/>
                    <a:pt x="10" y="61"/>
                  </a:cubicBezTo>
                  <a:cubicBezTo>
                    <a:pt x="10" y="58"/>
                    <a:pt x="8" y="54"/>
                    <a:pt x="7" y="49"/>
                  </a:cubicBezTo>
                  <a:cubicBezTo>
                    <a:pt x="6" y="45"/>
                    <a:pt x="6" y="43"/>
                    <a:pt x="7" y="41"/>
                  </a:cubicBezTo>
                  <a:cubicBezTo>
                    <a:pt x="8" y="38"/>
                    <a:pt x="7" y="32"/>
                    <a:pt x="7" y="28"/>
                  </a:cubicBezTo>
                  <a:cubicBezTo>
                    <a:pt x="7" y="24"/>
                    <a:pt x="7" y="22"/>
                    <a:pt x="3" y="19"/>
                  </a:cubicBezTo>
                  <a:cubicBezTo>
                    <a:pt x="1" y="17"/>
                    <a:pt x="3" y="10"/>
                    <a:pt x="3" y="5"/>
                  </a:cubicBezTo>
                  <a:cubicBezTo>
                    <a:pt x="6" y="5"/>
                    <a:pt x="10" y="4"/>
                    <a:pt x="13" y="4"/>
                  </a:cubicBezTo>
                  <a:cubicBezTo>
                    <a:pt x="16" y="4"/>
                    <a:pt x="23" y="2"/>
                    <a:pt x="29" y="2"/>
                  </a:cubicBezTo>
                  <a:cubicBezTo>
                    <a:pt x="35" y="2"/>
                    <a:pt x="40" y="0"/>
                    <a:pt x="48" y="0"/>
                  </a:cubicBezTo>
                  <a:cubicBezTo>
                    <a:pt x="55" y="0"/>
                    <a:pt x="62" y="0"/>
                    <a:pt x="62" y="2"/>
                  </a:cubicBezTo>
                  <a:cubicBezTo>
                    <a:pt x="62" y="5"/>
                    <a:pt x="56" y="5"/>
                    <a:pt x="62" y="8"/>
                  </a:cubicBezTo>
                  <a:cubicBezTo>
                    <a:pt x="68" y="10"/>
                    <a:pt x="66" y="11"/>
                    <a:pt x="72" y="12"/>
                  </a:cubicBezTo>
                  <a:cubicBezTo>
                    <a:pt x="77" y="14"/>
                    <a:pt x="79" y="13"/>
                    <a:pt x="84" y="16"/>
                  </a:cubicBezTo>
                  <a:cubicBezTo>
                    <a:pt x="89" y="19"/>
                    <a:pt x="101" y="22"/>
                    <a:pt x="104" y="24"/>
                  </a:cubicBezTo>
                  <a:cubicBezTo>
                    <a:pt x="107" y="26"/>
                    <a:pt x="112" y="28"/>
                    <a:pt x="119" y="31"/>
                  </a:cubicBezTo>
                  <a:cubicBezTo>
                    <a:pt x="126" y="34"/>
                    <a:pt x="135" y="37"/>
                    <a:pt x="139" y="39"/>
                  </a:cubicBezTo>
                  <a:cubicBezTo>
                    <a:pt x="144" y="41"/>
                    <a:pt x="159" y="39"/>
                    <a:pt x="161" y="39"/>
                  </a:cubicBezTo>
                  <a:cubicBezTo>
                    <a:pt x="164" y="40"/>
                    <a:pt x="173" y="38"/>
                    <a:pt x="181" y="38"/>
                  </a:cubicBezTo>
                  <a:cubicBezTo>
                    <a:pt x="189" y="38"/>
                    <a:pt x="196" y="41"/>
                    <a:pt x="200" y="38"/>
                  </a:cubicBezTo>
                  <a:cubicBezTo>
                    <a:pt x="203" y="36"/>
                    <a:pt x="202" y="29"/>
                    <a:pt x="210" y="26"/>
                  </a:cubicBezTo>
                  <a:cubicBezTo>
                    <a:pt x="217" y="23"/>
                    <a:pt x="247" y="25"/>
                    <a:pt x="248" y="26"/>
                  </a:cubicBezTo>
                  <a:cubicBezTo>
                    <a:pt x="249" y="26"/>
                    <a:pt x="255" y="35"/>
                    <a:pt x="260" y="40"/>
                  </a:cubicBezTo>
                  <a:cubicBezTo>
                    <a:pt x="264" y="45"/>
                    <a:pt x="275" y="54"/>
                    <a:pt x="275" y="57"/>
                  </a:cubicBezTo>
                  <a:cubicBezTo>
                    <a:pt x="276" y="60"/>
                    <a:pt x="274" y="78"/>
                    <a:pt x="278" y="84"/>
                  </a:cubicBezTo>
                  <a:cubicBezTo>
                    <a:pt x="283" y="91"/>
                    <a:pt x="286" y="93"/>
                    <a:pt x="290" y="96"/>
                  </a:cubicBezTo>
                  <a:cubicBezTo>
                    <a:pt x="294" y="99"/>
                    <a:pt x="306" y="105"/>
                    <a:pt x="308" y="102"/>
                  </a:cubicBezTo>
                  <a:cubicBezTo>
                    <a:pt x="311" y="98"/>
                    <a:pt x="317" y="86"/>
                    <a:pt x="321" y="84"/>
                  </a:cubicBezTo>
                  <a:cubicBezTo>
                    <a:pt x="326" y="82"/>
                    <a:pt x="330" y="80"/>
                    <a:pt x="335" y="80"/>
                  </a:cubicBezTo>
                  <a:cubicBezTo>
                    <a:pt x="340" y="80"/>
                    <a:pt x="351" y="79"/>
                    <a:pt x="355" y="84"/>
                  </a:cubicBezTo>
                  <a:cubicBezTo>
                    <a:pt x="359" y="90"/>
                    <a:pt x="363" y="92"/>
                    <a:pt x="365" y="102"/>
                  </a:cubicBezTo>
                  <a:cubicBezTo>
                    <a:pt x="367" y="112"/>
                    <a:pt x="368" y="116"/>
                    <a:pt x="371" y="124"/>
                  </a:cubicBezTo>
                  <a:cubicBezTo>
                    <a:pt x="374" y="132"/>
                    <a:pt x="378" y="141"/>
                    <a:pt x="380" y="143"/>
                  </a:cubicBezTo>
                  <a:cubicBezTo>
                    <a:pt x="382" y="146"/>
                    <a:pt x="385" y="147"/>
                    <a:pt x="383" y="152"/>
                  </a:cubicBezTo>
                  <a:cubicBezTo>
                    <a:pt x="381" y="157"/>
                    <a:pt x="380" y="154"/>
                    <a:pt x="382" y="161"/>
                  </a:cubicBezTo>
                  <a:cubicBezTo>
                    <a:pt x="383" y="168"/>
                    <a:pt x="384" y="172"/>
                    <a:pt x="386" y="174"/>
                  </a:cubicBezTo>
                  <a:cubicBezTo>
                    <a:pt x="388" y="176"/>
                    <a:pt x="390" y="177"/>
                    <a:pt x="393" y="179"/>
                  </a:cubicBezTo>
                  <a:cubicBezTo>
                    <a:pt x="397" y="181"/>
                    <a:pt x="401" y="185"/>
                    <a:pt x="405" y="186"/>
                  </a:cubicBezTo>
                  <a:cubicBezTo>
                    <a:pt x="409" y="187"/>
                    <a:pt x="414" y="185"/>
                    <a:pt x="417" y="189"/>
                  </a:cubicBezTo>
                  <a:cubicBezTo>
                    <a:pt x="420" y="192"/>
                    <a:pt x="427" y="191"/>
                    <a:pt x="429" y="188"/>
                  </a:cubicBezTo>
                  <a:cubicBezTo>
                    <a:pt x="429" y="188"/>
                    <a:pt x="429" y="188"/>
                    <a:pt x="429" y="189"/>
                  </a:cubicBezTo>
                  <a:cubicBezTo>
                    <a:pt x="433" y="194"/>
                    <a:pt x="430" y="193"/>
                    <a:pt x="423" y="198"/>
                  </a:cubicBezTo>
                  <a:cubicBezTo>
                    <a:pt x="416" y="204"/>
                    <a:pt x="420" y="204"/>
                    <a:pt x="417" y="209"/>
                  </a:cubicBezTo>
                  <a:cubicBezTo>
                    <a:pt x="414" y="215"/>
                    <a:pt x="416" y="215"/>
                    <a:pt x="407" y="226"/>
                  </a:cubicBezTo>
                  <a:cubicBezTo>
                    <a:pt x="398" y="237"/>
                    <a:pt x="408" y="236"/>
                    <a:pt x="404" y="241"/>
                  </a:cubicBezTo>
                  <a:cubicBezTo>
                    <a:pt x="400" y="246"/>
                    <a:pt x="400" y="252"/>
                    <a:pt x="399" y="257"/>
                  </a:cubicBezTo>
                  <a:cubicBezTo>
                    <a:pt x="398" y="262"/>
                    <a:pt x="399" y="268"/>
                    <a:pt x="397" y="274"/>
                  </a:cubicBezTo>
                  <a:cubicBezTo>
                    <a:pt x="394" y="280"/>
                    <a:pt x="398" y="279"/>
                    <a:pt x="396" y="288"/>
                  </a:cubicBezTo>
                  <a:cubicBezTo>
                    <a:pt x="393" y="296"/>
                    <a:pt x="394" y="296"/>
                    <a:pt x="397" y="304"/>
                  </a:cubicBezTo>
                  <a:cubicBezTo>
                    <a:pt x="400" y="312"/>
                    <a:pt x="398" y="306"/>
                    <a:pt x="399" y="314"/>
                  </a:cubicBezTo>
                  <a:cubicBezTo>
                    <a:pt x="399" y="321"/>
                    <a:pt x="396" y="321"/>
                    <a:pt x="396" y="325"/>
                  </a:cubicBezTo>
                  <a:cubicBezTo>
                    <a:pt x="396" y="328"/>
                    <a:pt x="401" y="335"/>
                    <a:pt x="403" y="338"/>
                  </a:cubicBezTo>
                  <a:cubicBezTo>
                    <a:pt x="405" y="341"/>
                    <a:pt x="409" y="350"/>
                    <a:pt x="410" y="353"/>
                  </a:cubicBezTo>
                  <a:cubicBezTo>
                    <a:pt x="411" y="356"/>
                    <a:pt x="411" y="363"/>
                    <a:pt x="413" y="371"/>
                  </a:cubicBezTo>
                  <a:cubicBezTo>
                    <a:pt x="416" y="380"/>
                    <a:pt x="417" y="378"/>
                    <a:pt x="422" y="384"/>
                  </a:cubicBezTo>
                  <a:cubicBezTo>
                    <a:pt x="426" y="390"/>
                    <a:pt x="426" y="393"/>
                    <a:pt x="432" y="393"/>
                  </a:cubicBezTo>
                  <a:cubicBezTo>
                    <a:pt x="438" y="393"/>
                    <a:pt x="436" y="396"/>
                    <a:pt x="440" y="393"/>
                  </a:cubicBezTo>
                  <a:cubicBezTo>
                    <a:pt x="444" y="391"/>
                    <a:pt x="445" y="396"/>
                    <a:pt x="447" y="396"/>
                  </a:cubicBezTo>
                  <a:cubicBezTo>
                    <a:pt x="450" y="396"/>
                    <a:pt x="452" y="403"/>
                    <a:pt x="459" y="407"/>
                  </a:cubicBezTo>
                  <a:cubicBezTo>
                    <a:pt x="467" y="411"/>
                    <a:pt x="464" y="407"/>
                    <a:pt x="467" y="406"/>
                  </a:cubicBezTo>
                  <a:cubicBezTo>
                    <a:pt x="470" y="406"/>
                    <a:pt x="480" y="403"/>
                    <a:pt x="486" y="401"/>
                  </a:cubicBezTo>
                  <a:cubicBezTo>
                    <a:pt x="492" y="399"/>
                    <a:pt x="495" y="397"/>
                    <a:pt x="500" y="394"/>
                  </a:cubicBezTo>
                  <a:cubicBezTo>
                    <a:pt x="505" y="392"/>
                    <a:pt x="508" y="394"/>
                    <a:pt x="519" y="394"/>
                  </a:cubicBezTo>
                  <a:cubicBezTo>
                    <a:pt x="530" y="394"/>
                    <a:pt x="525" y="398"/>
                    <a:pt x="530" y="398"/>
                  </a:cubicBezTo>
                  <a:cubicBezTo>
                    <a:pt x="534" y="398"/>
                    <a:pt x="534" y="394"/>
                    <a:pt x="534" y="391"/>
                  </a:cubicBezTo>
                  <a:cubicBezTo>
                    <a:pt x="534" y="388"/>
                    <a:pt x="538" y="386"/>
                    <a:pt x="539" y="383"/>
                  </a:cubicBezTo>
                  <a:cubicBezTo>
                    <a:pt x="540" y="380"/>
                    <a:pt x="547" y="374"/>
                    <a:pt x="548" y="370"/>
                  </a:cubicBezTo>
                  <a:cubicBezTo>
                    <a:pt x="550" y="366"/>
                    <a:pt x="557" y="362"/>
                    <a:pt x="558" y="358"/>
                  </a:cubicBezTo>
                  <a:cubicBezTo>
                    <a:pt x="559" y="354"/>
                    <a:pt x="561" y="349"/>
                    <a:pt x="561" y="345"/>
                  </a:cubicBezTo>
                  <a:cubicBezTo>
                    <a:pt x="561" y="341"/>
                    <a:pt x="566" y="337"/>
                    <a:pt x="568" y="330"/>
                  </a:cubicBezTo>
                  <a:cubicBezTo>
                    <a:pt x="569" y="324"/>
                    <a:pt x="575" y="323"/>
                    <a:pt x="579" y="322"/>
                  </a:cubicBezTo>
                  <a:cubicBezTo>
                    <a:pt x="583" y="321"/>
                    <a:pt x="591" y="321"/>
                    <a:pt x="596" y="320"/>
                  </a:cubicBezTo>
                  <a:cubicBezTo>
                    <a:pt x="600" y="319"/>
                    <a:pt x="606" y="317"/>
                    <a:pt x="611" y="314"/>
                  </a:cubicBezTo>
                  <a:cubicBezTo>
                    <a:pt x="616" y="311"/>
                    <a:pt x="620" y="312"/>
                    <a:pt x="623" y="311"/>
                  </a:cubicBezTo>
                  <a:cubicBezTo>
                    <a:pt x="627" y="310"/>
                    <a:pt x="631" y="314"/>
                    <a:pt x="638" y="315"/>
                  </a:cubicBezTo>
                  <a:cubicBezTo>
                    <a:pt x="645" y="316"/>
                    <a:pt x="643" y="316"/>
                    <a:pt x="648" y="313"/>
                  </a:cubicBezTo>
                  <a:cubicBezTo>
                    <a:pt x="652" y="309"/>
                    <a:pt x="657" y="315"/>
                    <a:pt x="658" y="320"/>
                  </a:cubicBezTo>
                  <a:cubicBezTo>
                    <a:pt x="658" y="324"/>
                    <a:pt x="658" y="329"/>
                    <a:pt x="654" y="333"/>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43" name="Freeform 1021">
              <a:extLst>
                <a:ext uri="{FF2B5EF4-FFF2-40B4-BE49-F238E27FC236}">
                  <a16:creationId xmlns:a16="http://schemas.microsoft.com/office/drawing/2014/main" id="{0BBE8ACA-C520-794A-A0DB-399A116C8865}"/>
                </a:ext>
              </a:extLst>
            </p:cNvPr>
            <p:cNvSpPr>
              <a:spLocks/>
            </p:cNvSpPr>
            <p:nvPr/>
          </p:nvSpPr>
          <p:spPr bwMode="auto">
            <a:xfrm>
              <a:off x="2430470" y="3242133"/>
              <a:ext cx="366714" cy="815976"/>
            </a:xfrm>
            <a:custGeom>
              <a:avLst/>
              <a:gdLst>
                <a:gd name="T0" fmla="*/ 346 w 384"/>
                <a:gd name="T1" fmla="*/ 182 h 856"/>
                <a:gd name="T2" fmla="*/ 312 w 384"/>
                <a:gd name="T3" fmla="*/ 234 h 856"/>
                <a:gd name="T4" fmla="*/ 302 w 384"/>
                <a:gd name="T5" fmla="*/ 266 h 856"/>
                <a:gd name="T6" fmla="*/ 303 w 384"/>
                <a:gd name="T7" fmla="*/ 306 h 856"/>
                <a:gd name="T8" fmla="*/ 309 w 384"/>
                <a:gd name="T9" fmla="*/ 351 h 856"/>
                <a:gd name="T10" fmla="*/ 323 w 384"/>
                <a:gd name="T11" fmla="*/ 372 h 856"/>
                <a:gd name="T12" fmla="*/ 345 w 384"/>
                <a:gd name="T13" fmla="*/ 406 h 856"/>
                <a:gd name="T14" fmla="*/ 369 w 384"/>
                <a:gd name="T15" fmla="*/ 428 h 856"/>
                <a:gd name="T16" fmla="*/ 344 w 384"/>
                <a:gd name="T17" fmla="*/ 474 h 856"/>
                <a:gd name="T18" fmla="*/ 284 w 384"/>
                <a:gd name="T19" fmla="*/ 490 h 856"/>
                <a:gd name="T20" fmla="*/ 262 w 384"/>
                <a:gd name="T21" fmla="*/ 502 h 856"/>
                <a:gd name="T22" fmla="*/ 268 w 384"/>
                <a:gd name="T23" fmla="*/ 539 h 856"/>
                <a:gd name="T24" fmla="*/ 215 w 384"/>
                <a:gd name="T25" fmla="*/ 538 h 856"/>
                <a:gd name="T26" fmla="*/ 213 w 384"/>
                <a:gd name="T27" fmla="*/ 571 h 856"/>
                <a:gd name="T28" fmla="*/ 241 w 384"/>
                <a:gd name="T29" fmla="*/ 583 h 856"/>
                <a:gd name="T30" fmla="*/ 254 w 384"/>
                <a:gd name="T31" fmla="*/ 594 h 856"/>
                <a:gd name="T32" fmla="*/ 230 w 384"/>
                <a:gd name="T33" fmla="*/ 587 h 856"/>
                <a:gd name="T34" fmla="*/ 236 w 384"/>
                <a:gd name="T35" fmla="*/ 604 h 856"/>
                <a:gd name="T36" fmla="*/ 233 w 384"/>
                <a:gd name="T37" fmla="*/ 639 h 856"/>
                <a:gd name="T38" fmla="*/ 219 w 384"/>
                <a:gd name="T39" fmla="*/ 656 h 856"/>
                <a:gd name="T40" fmla="*/ 205 w 384"/>
                <a:gd name="T41" fmla="*/ 693 h 856"/>
                <a:gd name="T42" fmla="*/ 247 w 384"/>
                <a:gd name="T43" fmla="*/ 712 h 856"/>
                <a:gd name="T44" fmla="*/ 258 w 384"/>
                <a:gd name="T45" fmla="*/ 735 h 856"/>
                <a:gd name="T46" fmla="*/ 238 w 384"/>
                <a:gd name="T47" fmla="*/ 756 h 856"/>
                <a:gd name="T48" fmla="*/ 227 w 384"/>
                <a:gd name="T49" fmla="*/ 796 h 856"/>
                <a:gd name="T50" fmla="*/ 231 w 384"/>
                <a:gd name="T51" fmla="*/ 834 h 856"/>
                <a:gd name="T52" fmla="*/ 239 w 384"/>
                <a:gd name="T53" fmla="*/ 851 h 856"/>
                <a:gd name="T54" fmla="*/ 159 w 384"/>
                <a:gd name="T55" fmla="*/ 834 h 856"/>
                <a:gd name="T56" fmla="*/ 128 w 384"/>
                <a:gd name="T57" fmla="*/ 809 h 856"/>
                <a:gd name="T58" fmla="*/ 112 w 384"/>
                <a:gd name="T59" fmla="*/ 771 h 856"/>
                <a:gd name="T60" fmla="*/ 112 w 384"/>
                <a:gd name="T61" fmla="*/ 732 h 856"/>
                <a:gd name="T62" fmla="*/ 113 w 384"/>
                <a:gd name="T63" fmla="*/ 696 h 856"/>
                <a:gd name="T64" fmla="*/ 106 w 384"/>
                <a:gd name="T65" fmla="*/ 660 h 856"/>
                <a:gd name="T66" fmla="*/ 103 w 384"/>
                <a:gd name="T67" fmla="*/ 641 h 856"/>
                <a:gd name="T68" fmla="*/ 75 w 384"/>
                <a:gd name="T69" fmla="*/ 615 h 856"/>
                <a:gd name="T70" fmla="*/ 58 w 384"/>
                <a:gd name="T71" fmla="*/ 583 h 856"/>
                <a:gd name="T72" fmla="*/ 51 w 384"/>
                <a:gd name="T73" fmla="*/ 551 h 856"/>
                <a:gd name="T74" fmla="*/ 43 w 384"/>
                <a:gd name="T75" fmla="*/ 515 h 856"/>
                <a:gd name="T76" fmla="*/ 50 w 384"/>
                <a:gd name="T77" fmla="*/ 479 h 856"/>
                <a:gd name="T78" fmla="*/ 30 w 384"/>
                <a:gd name="T79" fmla="*/ 434 h 856"/>
                <a:gd name="T80" fmla="*/ 31 w 384"/>
                <a:gd name="T81" fmla="*/ 386 h 856"/>
                <a:gd name="T82" fmla="*/ 34 w 384"/>
                <a:gd name="T83" fmla="*/ 348 h 856"/>
                <a:gd name="T84" fmla="*/ 20 w 384"/>
                <a:gd name="T85" fmla="*/ 311 h 856"/>
                <a:gd name="T86" fmla="*/ 1 w 384"/>
                <a:gd name="T87" fmla="*/ 276 h 856"/>
                <a:gd name="T88" fmla="*/ 8 w 384"/>
                <a:gd name="T89" fmla="*/ 236 h 856"/>
                <a:gd name="T90" fmla="*/ 6 w 384"/>
                <a:gd name="T91" fmla="*/ 192 h 856"/>
                <a:gd name="T92" fmla="*/ 24 w 384"/>
                <a:gd name="T93" fmla="*/ 156 h 856"/>
                <a:gd name="T94" fmla="*/ 19 w 384"/>
                <a:gd name="T95" fmla="*/ 116 h 856"/>
                <a:gd name="T96" fmla="*/ 16 w 384"/>
                <a:gd name="T97" fmla="*/ 85 h 856"/>
                <a:gd name="T98" fmla="*/ 44 w 384"/>
                <a:gd name="T99" fmla="*/ 39 h 856"/>
                <a:gd name="T100" fmla="*/ 65 w 384"/>
                <a:gd name="T101" fmla="*/ 6 h 856"/>
                <a:gd name="T102" fmla="*/ 116 w 384"/>
                <a:gd name="T103" fmla="*/ 17 h 856"/>
                <a:gd name="T104" fmla="*/ 150 w 384"/>
                <a:gd name="T105" fmla="*/ 19 h 856"/>
                <a:gd name="T106" fmla="*/ 199 w 384"/>
                <a:gd name="T107" fmla="*/ 66 h 856"/>
                <a:gd name="T108" fmla="*/ 261 w 384"/>
                <a:gd name="T109" fmla="*/ 93 h 856"/>
                <a:gd name="T110" fmla="*/ 279 w 384"/>
                <a:gd name="T111" fmla="*/ 128 h 856"/>
                <a:gd name="T112" fmla="*/ 266 w 384"/>
                <a:gd name="T113" fmla="*/ 162 h 856"/>
                <a:gd name="T114" fmla="*/ 319 w 384"/>
                <a:gd name="T115" fmla="*/ 167 h 856"/>
                <a:gd name="T116" fmla="*/ 349 w 384"/>
                <a:gd name="T117" fmla="*/ 149 h 856"/>
                <a:gd name="T118" fmla="*/ 357 w 384"/>
                <a:gd name="T119" fmla="*/ 112 h 856"/>
                <a:gd name="T120" fmla="*/ 381 w 384"/>
                <a:gd name="T121" fmla="*/ 150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4" h="856">
                  <a:moveTo>
                    <a:pt x="381" y="150"/>
                  </a:moveTo>
                  <a:cubicBezTo>
                    <a:pt x="378" y="158"/>
                    <a:pt x="381" y="158"/>
                    <a:pt x="375" y="161"/>
                  </a:cubicBezTo>
                  <a:cubicBezTo>
                    <a:pt x="370" y="165"/>
                    <a:pt x="366" y="168"/>
                    <a:pt x="359" y="172"/>
                  </a:cubicBezTo>
                  <a:cubicBezTo>
                    <a:pt x="352" y="176"/>
                    <a:pt x="352" y="176"/>
                    <a:pt x="346" y="182"/>
                  </a:cubicBezTo>
                  <a:cubicBezTo>
                    <a:pt x="340" y="188"/>
                    <a:pt x="338" y="190"/>
                    <a:pt x="337" y="195"/>
                  </a:cubicBezTo>
                  <a:cubicBezTo>
                    <a:pt x="335" y="200"/>
                    <a:pt x="336" y="196"/>
                    <a:pt x="329" y="205"/>
                  </a:cubicBezTo>
                  <a:cubicBezTo>
                    <a:pt x="322" y="213"/>
                    <a:pt x="320" y="218"/>
                    <a:pt x="320" y="222"/>
                  </a:cubicBezTo>
                  <a:cubicBezTo>
                    <a:pt x="320" y="226"/>
                    <a:pt x="317" y="227"/>
                    <a:pt x="312" y="234"/>
                  </a:cubicBezTo>
                  <a:cubicBezTo>
                    <a:pt x="307" y="239"/>
                    <a:pt x="303" y="244"/>
                    <a:pt x="305" y="245"/>
                  </a:cubicBezTo>
                  <a:cubicBezTo>
                    <a:pt x="304" y="246"/>
                    <a:pt x="302" y="248"/>
                    <a:pt x="301" y="249"/>
                  </a:cubicBezTo>
                  <a:cubicBezTo>
                    <a:pt x="298" y="252"/>
                    <a:pt x="302" y="253"/>
                    <a:pt x="302" y="255"/>
                  </a:cubicBezTo>
                  <a:cubicBezTo>
                    <a:pt x="303" y="256"/>
                    <a:pt x="303" y="262"/>
                    <a:pt x="302" y="266"/>
                  </a:cubicBezTo>
                  <a:cubicBezTo>
                    <a:pt x="300" y="270"/>
                    <a:pt x="302" y="271"/>
                    <a:pt x="303" y="276"/>
                  </a:cubicBezTo>
                  <a:cubicBezTo>
                    <a:pt x="304" y="281"/>
                    <a:pt x="303" y="285"/>
                    <a:pt x="302" y="289"/>
                  </a:cubicBezTo>
                  <a:cubicBezTo>
                    <a:pt x="301" y="294"/>
                    <a:pt x="300" y="293"/>
                    <a:pt x="302" y="298"/>
                  </a:cubicBezTo>
                  <a:cubicBezTo>
                    <a:pt x="304" y="303"/>
                    <a:pt x="303" y="302"/>
                    <a:pt x="303" y="306"/>
                  </a:cubicBezTo>
                  <a:cubicBezTo>
                    <a:pt x="303" y="309"/>
                    <a:pt x="305" y="313"/>
                    <a:pt x="309" y="317"/>
                  </a:cubicBezTo>
                  <a:cubicBezTo>
                    <a:pt x="313" y="322"/>
                    <a:pt x="307" y="323"/>
                    <a:pt x="305" y="326"/>
                  </a:cubicBezTo>
                  <a:cubicBezTo>
                    <a:pt x="303" y="329"/>
                    <a:pt x="302" y="331"/>
                    <a:pt x="304" y="338"/>
                  </a:cubicBezTo>
                  <a:cubicBezTo>
                    <a:pt x="305" y="345"/>
                    <a:pt x="306" y="345"/>
                    <a:pt x="309" y="351"/>
                  </a:cubicBezTo>
                  <a:cubicBezTo>
                    <a:pt x="310" y="352"/>
                    <a:pt x="310" y="353"/>
                    <a:pt x="310" y="354"/>
                  </a:cubicBezTo>
                  <a:cubicBezTo>
                    <a:pt x="310" y="354"/>
                    <a:pt x="309" y="355"/>
                    <a:pt x="309" y="356"/>
                  </a:cubicBezTo>
                  <a:cubicBezTo>
                    <a:pt x="307" y="359"/>
                    <a:pt x="310" y="362"/>
                    <a:pt x="314" y="366"/>
                  </a:cubicBezTo>
                  <a:cubicBezTo>
                    <a:pt x="318" y="371"/>
                    <a:pt x="319" y="370"/>
                    <a:pt x="323" y="372"/>
                  </a:cubicBezTo>
                  <a:cubicBezTo>
                    <a:pt x="327" y="374"/>
                    <a:pt x="332" y="379"/>
                    <a:pt x="340" y="381"/>
                  </a:cubicBezTo>
                  <a:cubicBezTo>
                    <a:pt x="348" y="383"/>
                    <a:pt x="342" y="382"/>
                    <a:pt x="346" y="385"/>
                  </a:cubicBezTo>
                  <a:cubicBezTo>
                    <a:pt x="350" y="389"/>
                    <a:pt x="346" y="393"/>
                    <a:pt x="344" y="397"/>
                  </a:cubicBezTo>
                  <a:cubicBezTo>
                    <a:pt x="342" y="402"/>
                    <a:pt x="344" y="401"/>
                    <a:pt x="345" y="406"/>
                  </a:cubicBezTo>
                  <a:cubicBezTo>
                    <a:pt x="346" y="411"/>
                    <a:pt x="347" y="410"/>
                    <a:pt x="352" y="414"/>
                  </a:cubicBezTo>
                  <a:cubicBezTo>
                    <a:pt x="357" y="417"/>
                    <a:pt x="358" y="414"/>
                    <a:pt x="362" y="414"/>
                  </a:cubicBezTo>
                  <a:cubicBezTo>
                    <a:pt x="366" y="414"/>
                    <a:pt x="364" y="416"/>
                    <a:pt x="366" y="422"/>
                  </a:cubicBezTo>
                  <a:cubicBezTo>
                    <a:pt x="368" y="428"/>
                    <a:pt x="369" y="424"/>
                    <a:pt x="369" y="428"/>
                  </a:cubicBezTo>
                  <a:cubicBezTo>
                    <a:pt x="369" y="431"/>
                    <a:pt x="367" y="437"/>
                    <a:pt x="365" y="442"/>
                  </a:cubicBezTo>
                  <a:cubicBezTo>
                    <a:pt x="362" y="448"/>
                    <a:pt x="360" y="449"/>
                    <a:pt x="357" y="454"/>
                  </a:cubicBezTo>
                  <a:cubicBezTo>
                    <a:pt x="355" y="458"/>
                    <a:pt x="356" y="461"/>
                    <a:pt x="355" y="466"/>
                  </a:cubicBezTo>
                  <a:cubicBezTo>
                    <a:pt x="354" y="471"/>
                    <a:pt x="351" y="472"/>
                    <a:pt x="344" y="474"/>
                  </a:cubicBezTo>
                  <a:cubicBezTo>
                    <a:pt x="337" y="477"/>
                    <a:pt x="338" y="478"/>
                    <a:pt x="327" y="480"/>
                  </a:cubicBezTo>
                  <a:cubicBezTo>
                    <a:pt x="316" y="483"/>
                    <a:pt x="323" y="480"/>
                    <a:pt x="315" y="484"/>
                  </a:cubicBezTo>
                  <a:cubicBezTo>
                    <a:pt x="307" y="488"/>
                    <a:pt x="308" y="486"/>
                    <a:pt x="297" y="487"/>
                  </a:cubicBezTo>
                  <a:cubicBezTo>
                    <a:pt x="286" y="489"/>
                    <a:pt x="288" y="489"/>
                    <a:pt x="284" y="490"/>
                  </a:cubicBezTo>
                  <a:cubicBezTo>
                    <a:pt x="279" y="491"/>
                    <a:pt x="273" y="492"/>
                    <a:pt x="265" y="491"/>
                  </a:cubicBezTo>
                  <a:cubicBezTo>
                    <a:pt x="256" y="490"/>
                    <a:pt x="258" y="487"/>
                    <a:pt x="256" y="484"/>
                  </a:cubicBezTo>
                  <a:cubicBezTo>
                    <a:pt x="255" y="482"/>
                    <a:pt x="252" y="486"/>
                    <a:pt x="253" y="491"/>
                  </a:cubicBezTo>
                  <a:cubicBezTo>
                    <a:pt x="254" y="496"/>
                    <a:pt x="257" y="497"/>
                    <a:pt x="262" y="502"/>
                  </a:cubicBezTo>
                  <a:cubicBezTo>
                    <a:pt x="266" y="506"/>
                    <a:pt x="263" y="505"/>
                    <a:pt x="263" y="508"/>
                  </a:cubicBezTo>
                  <a:cubicBezTo>
                    <a:pt x="262" y="511"/>
                    <a:pt x="261" y="514"/>
                    <a:pt x="260" y="522"/>
                  </a:cubicBezTo>
                  <a:cubicBezTo>
                    <a:pt x="259" y="531"/>
                    <a:pt x="262" y="528"/>
                    <a:pt x="265" y="531"/>
                  </a:cubicBezTo>
                  <a:cubicBezTo>
                    <a:pt x="268" y="534"/>
                    <a:pt x="266" y="533"/>
                    <a:pt x="268" y="539"/>
                  </a:cubicBezTo>
                  <a:cubicBezTo>
                    <a:pt x="271" y="544"/>
                    <a:pt x="268" y="543"/>
                    <a:pt x="261" y="546"/>
                  </a:cubicBezTo>
                  <a:cubicBezTo>
                    <a:pt x="253" y="550"/>
                    <a:pt x="247" y="549"/>
                    <a:pt x="244" y="550"/>
                  </a:cubicBezTo>
                  <a:cubicBezTo>
                    <a:pt x="241" y="550"/>
                    <a:pt x="236" y="549"/>
                    <a:pt x="230" y="547"/>
                  </a:cubicBezTo>
                  <a:cubicBezTo>
                    <a:pt x="224" y="545"/>
                    <a:pt x="219" y="542"/>
                    <a:pt x="215" y="538"/>
                  </a:cubicBezTo>
                  <a:cubicBezTo>
                    <a:pt x="211" y="535"/>
                    <a:pt x="206" y="539"/>
                    <a:pt x="205" y="544"/>
                  </a:cubicBezTo>
                  <a:cubicBezTo>
                    <a:pt x="203" y="549"/>
                    <a:pt x="206" y="550"/>
                    <a:pt x="209" y="553"/>
                  </a:cubicBezTo>
                  <a:cubicBezTo>
                    <a:pt x="211" y="557"/>
                    <a:pt x="212" y="557"/>
                    <a:pt x="213" y="561"/>
                  </a:cubicBezTo>
                  <a:cubicBezTo>
                    <a:pt x="214" y="565"/>
                    <a:pt x="213" y="571"/>
                    <a:pt x="213" y="571"/>
                  </a:cubicBezTo>
                  <a:cubicBezTo>
                    <a:pt x="213" y="572"/>
                    <a:pt x="220" y="576"/>
                    <a:pt x="223" y="577"/>
                  </a:cubicBezTo>
                  <a:cubicBezTo>
                    <a:pt x="226" y="579"/>
                    <a:pt x="227" y="580"/>
                    <a:pt x="230" y="582"/>
                  </a:cubicBezTo>
                  <a:cubicBezTo>
                    <a:pt x="232" y="584"/>
                    <a:pt x="231" y="582"/>
                    <a:pt x="234" y="583"/>
                  </a:cubicBezTo>
                  <a:cubicBezTo>
                    <a:pt x="237" y="584"/>
                    <a:pt x="242" y="584"/>
                    <a:pt x="241" y="583"/>
                  </a:cubicBezTo>
                  <a:cubicBezTo>
                    <a:pt x="240" y="583"/>
                    <a:pt x="239" y="579"/>
                    <a:pt x="240" y="577"/>
                  </a:cubicBezTo>
                  <a:cubicBezTo>
                    <a:pt x="241" y="575"/>
                    <a:pt x="246" y="577"/>
                    <a:pt x="249" y="579"/>
                  </a:cubicBezTo>
                  <a:cubicBezTo>
                    <a:pt x="252" y="581"/>
                    <a:pt x="250" y="583"/>
                    <a:pt x="253" y="588"/>
                  </a:cubicBezTo>
                  <a:cubicBezTo>
                    <a:pt x="256" y="592"/>
                    <a:pt x="255" y="591"/>
                    <a:pt x="254" y="594"/>
                  </a:cubicBezTo>
                  <a:cubicBezTo>
                    <a:pt x="254" y="596"/>
                    <a:pt x="254" y="596"/>
                    <a:pt x="251" y="598"/>
                  </a:cubicBezTo>
                  <a:cubicBezTo>
                    <a:pt x="247" y="600"/>
                    <a:pt x="245" y="596"/>
                    <a:pt x="243" y="594"/>
                  </a:cubicBezTo>
                  <a:cubicBezTo>
                    <a:pt x="241" y="592"/>
                    <a:pt x="239" y="591"/>
                    <a:pt x="237" y="589"/>
                  </a:cubicBezTo>
                  <a:cubicBezTo>
                    <a:pt x="236" y="587"/>
                    <a:pt x="234" y="587"/>
                    <a:pt x="230" y="587"/>
                  </a:cubicBezTo>
                  <a:cubicBezTo>
                    <a:pt x="225" y="587"/>
                    <a:pt x="228" y="589"/>
                    <a:pt x="227" y="592"/>
                  </a:cubicBezTo>
                  <a:cubicBezTo>
                    <a:pt x="226" y="595"/>
                    <a:pt x="229" y="595"/>
                    <a:pt x="232" y="598"/>
                  </a:cubicBezTo>
                  <a:cubicBezTo>
                    <a:pt x="235" y="601"/>
                    <a:pt x="236" y="599"/>
                    <a:pt x="240" y="599"/>
                  </a:cubicBezTo>
                  <a:cubicBezTo>
                    <a:pt x="244" y="599"/>
                    <a:pt x="241" y="601"/>
                    <a:pt x="236" y="604"/>
                  </a:cubicBezTo>
                  <a:cubicBezTo>
                    <a:pt x="232" y="607"/>
                    <a:pt x="234" y="607"/>
                    <a:pt x="228" y="611"/>
                  </a:cubicBezTo>
                  <a:cubicBezTo>
                    <a:pt x="222" y="615"/>
                    <a:pt x="226" y="616"/>
                    <a:pt x="227" y="621"/>
                  </a:cubicBezTo>
                  <a:cubicBezTo>
                    <a:pt x="227" y="627"/>
                    <a:pt x="228" y="625"/>
                    <a:pt x="232" y="629"/>
                  </a:cubicBezTo>
                  <a:cubicBezTo>
                    <a:pt x="235" y="634"/>
                    <a:pt x="233" y="634"/>
                    <a:pt x="233" y="639"/>
                  </a:cubicBezTo>
                  <a:cubicBezTo>
                    <a:pt x="233" y="644"/>
                    <a:pt x="235" y="644"/>
                    <a:pt x="229" y="648"/>
                  </a:cubicBezTo>
                  <a:cubicBezTo>
                    <a:pt x="224" y="651"/>
                    <a:pt x="231" y="651"/>
                    <a:pt x="233" y="652"/>
                  </a:cubicBezTo>
                  <a:cubicBezTo>
                    <a:pt x="235" y="652"/>
                    <a:pt x="235" y="654"/>
                    <a:pt x="232" y="655"/>
                  </a:cubicBezTo>
                  <a:cubicBezTo>
                    <a:pt x="230" y="656"/>
                    <a:pt x="225" y="656"/>
                    <a:pt x="219" y="656"/>
                  </a:cubicBezTo>
                  <a:cubicBezTo>
                    <a:pt x="214" y="656"/>
                    <a:pt x="216" y="658"/>
                    <a:pt x="208" y="662"/>
                  </a:cubicBezTo>
                  <a:cubicBezTo>
                    <a:pt x="200" y="666"/>
                    <a:pt x="206" y="668"/>
                    <a:pt x="202" y="672"/>
                  </a:cubicBezTo>
                  <a:cubicBezTo>
                    <a:pt x="198" y="677"/>
                    <a:pt x="201" y="679"/>
                    <a:pt x="200" y="684"/>
                  </a:cubicBezTo>
                  <a:cubicBezTo>
                    <a:pt x="198" y="689"/>
                    <a:pt x="200" y="688"/>
                    <a:pt x="205" y="693"/>
                  </a:cubicBezTo>
                  <a:cubicBezTo>
                    <a:pt x="209" y="698"/>
                    <a:pt x="207" y="695"/>
                    <a:pt x="212" y="699"/>
                  </a:cubicBezTo>
                  <a:cubicBezTo>
                    <a:pt x="216" y="704"/>
                    <a:pt x="213" y="701"/>
                    <a:pt x="221" y="706"/>
                  </a:cubicBezTo>
                  <a:cubicBezTo>
                    <a:pt x="229" y="711"/>
                    <a:pt x="228" y="709"/>
                    <a:pt x="231" y="712"/>
                  </a:cubicBezTo>
                  <a:cubicBezTo>
                    <a:pt x="234" y="714"/>
                    <a:pt x="242" y="712"/>
                    <a:pt x="247" y="712"/>
                  </a:cubicBezTo>
                  <a:cubicBezTo>
                    <a:pt x="253" y="712"/>
                    <a:pt x="250" y="713"/>
                    <a:pt x="253" y="718"/>
                  </a:cubicBezTo>
                  <a:cubicBezTo>
                    <a:pt x="256" y="723"/>
                    <a:pt x="254" y="723"/>
                    <a:pt x="254" y="727"/>
                  </a:cubicBezTo>
                  <a:cubicBezTo>
                    <a:pt x="254" y="730"/>
                    <a:pt x="253" y="730"/>
                    <a:pt x="251" y="732"/>
                  </a:cubicBezTo>
                  <a:cubicBezTo>
                    <a:pt x="249" y="735"/>
                    <a:pt x="254" y="734"/>
                    <a:pt x="258" y="735"/>
                  </a:cubicBezTo>
                  <a:cubicBezTo>
                    <a:pt x="263" y="737"/>
                    <a:pt x="261" y="738"/>
                    <a:pt x="256" y="741"/>
                  </a:cubicBezTo>
                  <a:cubicBezTo>
                    <a:pt x="250" y="743"/>
                    <a:pt x="251" y="742"/>
                    <a:pt x="249" y="745"/>
                  </a:cubicBezTo>
                  <a:cubicBezTo>
                    <a:pt x="247" y="747"/>
                    <a:pt x="249" y="748"/>
                    <a:pt x="246" y="752"/>
                  </a:cubicBezTo>
                  <a:cubicBezTo>
                    <a:pt x="243" y="756"/>
                    <a:pt x="238" y="756"/>
                    <a:pt x="238" y="756"/>
                  </a:cubicBezTo>
                  <a:cubicBezTo>
                    <a:pt x="231" y="761"/>
                    <a:pt x="236" y="763"/>
                    <a:pt x="234" y="766"/>
                  </a:cubicBezTo>
                  <a:cubicBezTo>
                    <a:pt x="231" y="769"/>
                    <a:pt x="233" y="773"/>
                    <a:pt x="234" y="778"/>
                  </a:cubicBezTo>
                  <a:cubicBezTo>
                    <a:pt x="236" y="784"/>
                    <a:pt x="237" y="784"/>
                    <a:pt x="239" y="790"/>
                  </a:cubicBezTo>
                  <a:cubicBezTo>
                    <a:pt x="240" y="796"/>
                    <a:pt x="234" y="795"/>
                    <a:pt x="227" y="796"/>
                  </a:cubicBezTo>
                  <a:cubicBezTo>
                    <a:pt x="219" y="798"/>
                    <a:pt x="223" y="801"/>
                    <a:pt x="218" y="804"/>
                  </a:cubicBezTo>
                  <a:cubicBezTo>
                    <a:pt x="213" y="807"/>
                    <a:pt x="215" y="807"/>
                    <a:pt x="216" y="813"/>
                  </a:cubicBezTo>
                  <a:cubicBezTo>
                    <a:pt x="217" y="819"/>
                    <a:pt x="222" y="820"/>
                    <a:pt x="226" y="824"/>
                  </a:cubicBezTo>
                  <a:cubicBezTo>
                    <a:pt x="230" y="828"/>
                    <a:pt x="226" y="833"/>
                    <a:pt x="231" y="834"/>
                  </a:cubicBezTo>
                  <a:cubicBezTo>
                    <a:pt x="236" y="835"/>
                    <a:pt x="232" y="836"/>
                    <a:pt x="239" y="841"/>
                  </a:cubicBezTo>
                  <a:cubicBezTo>
                    <a:pt x="246" y="847"/>
                    <a:pt x="243" y="844"/>
                    <a:pt x="251" y="850"/>
                  </a:cubicBezTo>
                  <a:cubicBezTo>
                    <a:pt x="258" y="856"/>
                    <a:pt x="256" y="855"/>
                    <a:pt x="252" y="855"/>
                  </a:cubicBezTo>
                  <a:cubicBezTo>
                    <a:pt x="247" y="855"/>
                    <a:pt x="245" y="854"/>
                    <a:pt x="239" y="851"/>
                  </a:cubicBezTo>
                  <a:cubicBezTo>
                    <a:pt x="236" y="849"/>
                    <a:pt x="235" y="850"/>
                    <a:pt x="234" y="850"/>
                  </a:cubicBezTo>
                  <a:cubicBezTo>
                    <a:pt x="226" y="847"/>
                    <a:pt x="185" y="847"/>
                    <a:pt x="178" y="847"/>
                  </a:cubicBezTo>
                  <a:cubicBezTo>
                    <a:pt x="170" y="847"/>
                    <a:pt x="171" y="844"/>
                    <a:pt x="166" y="839"/>
                  </a:cubicBezTo>
                  <a:cubicBezTo>
                    <a:pt x="160" y="835"/>
                    <a:pt x="159" y="838"/>
                    <a:pt x="159" y="834"/>
                  </a:cubicBezTo>
                  <a:cubicBezTo>
                    <a:pt x="159" y="830"/>
                    <a:pt x="155" y="824"/>
                    <a:pt x="153" y="819"/>
                  </a:cubicBezTo>
                  <a:cubicBezTo>
                    <a:pt x="151" y="814"/>
                    <a:pt x="155" y="814"/>
                    <a:pt x="148" y="812"/>
                  </a:cubicBezTo>
                  <a:cubicBezTo>
                    <a:pt x="141" y="809"/>
                    <a:pt x="141" y="813"/>
                    <a:pt x="133" y="814"/>
                  </a:cubicBezTo>
                  <a:cubicBezTo>
                    <a:pt x="126" y="815"/>
                    <a:pt x="129" y="814"/>
                    <a:pt x="128" y="809"/>
                  </a:cubicBezTo>
                  <a:cubicBezTo>
                    <a:pt x="126" y="804"/>
                    <a:pt x="125" y="805"/>
                    <a:pt x="120" y="801"/>
                  </a:cubicBezTo>
                  <a:cubicBezTo>
                    <a:pt x="115" y="796"/>
                    <a:pt x="118" y="796"/>
                    <a:pt x="116" y="790"/>
                  </a:cubicBezTo>
                  <a:cubicBezTo>
                    <a:pt x="113" y="785"/>
                    <a:pt x="113" y="786"/>
                    <a:pt x="109" y="782"/>
                  </a:cubicBezTo>
                  <a:cubicBezTo>
                    <a:pt x="104" y="778"/>
                    <a:pt x="110" y="776"/>
                    <a:pt x="112" y="771"/>
                  </a:cubicBezTo>
                  <a:cubicBezTo>
                    <a:pt x="114" y="767"/>
                    <a:pt x="116" y="764"/>
                    <a:pt x="119" y="762"/>
                  </a:cubicBezTo>
                  <a:cubicBezTo>
                    <a:pt x="121" y="760"/>
                    <a:pt x="118" y="756"/>
                    <a:pt x="118" y="753"/>
                  </a:cubicBezTo>
                  <a:cubicBezTo>
                    <a:pt x="118" y="750"/>
                    <a:pt x="120" y="747"/>
                    <a:pt x="118" y="743"/>
                  </a:cubicBezTo>
                  <a:cubicBezTo>
                    <a:pt x="116" y="738"/>
                    <a:pt x="112" y="738"/>
                    <a:pt x="112" y="732"/>
                  </a:cubicBezTo>
                  <a:cubicBezTo>
                    <a:pt x="112" y="726"/>
                    <a:pt x="110" y="722"/>
                    <a:pt x="114" y="717"/>
                  </a:cubicBezTo>
                  <a:cubicBezTo>
                    <a:pt x="117" y="713"/>
                    <a:pt x="115" y="714"/>
                    <a:pt x="113" y="711"/>
                  </a:cubicBezTo>
                  <a:cubicBezTo>
                    <a:pt x="111" y="707"/>
                    <a:pt x="113" y="707"/>
                    <a:pt x="113" y="704"/>
                  </a:cubicBezTo>
                  <a:cubicBezTo>
                    <a:pt x="113" y="701"/>
                    <a:pt x="114" y="699"/>
                    <a:pt x="113" y="696"/>
                  </a:cubicBezTo>
                  <a:cubicBezTo>
                    <a:pt x="113" y="693"/>
                    <a:pt x="110" y="694"/>
                    <a:pt x="107" y="687"/>
                  </a:cubicBezTo>
                  <a:cubicBezTo>
                    <a:pt x="104" y="680"/>
                    <a:pt x="106" y="683"/>
                    <a:pt x="104" y="681"/>
                  </a:cubicBezTo>
                  <a:cubicBezTo>
                    <a:pt x="102" y="679"/>
                    <a:pt x="102" y="676"/>
                    <a:pt x="105" y="670"/>
                  </a:cubicBezTo>
                  <a:cubicBezTo>
                    <a:pt x="108" y="664"/>
                    <a:pt x="107" y="664"/>
                    <a:pt x="106" y="660"/>
                  </a:cubicBezTo>
                  <a:cubicBezTo>
                    <a:pt x="105" y="655"/>
                    <a:pt x="100" y="657"/>
                    <a:pt x="93" y="654"/>
                  </a:cubicBezTo>
                  <a:cubicBezTo>
                    <a:pt x="87" y="652"/>
                    <a:pt x="89" y="653"/>
                    <a:pt x="88" y="650"/>
                  </a:cubicBezTo>
                  <a:cubicBezTo>
                    <a:pt x="87" y="646"/>
                    <a:pt x="95" y="650"/>
                    <a:pt x="101" y="650"/>
                  </a:cubicBezTo>
                  <a:cubicBezTo>
                    <a:pt x="106" y="650"/>
                    <a:pt x="103" y="644"/>
                    <a:pt x="103" y="641"/>
                  </a:cubicBezTo>
                  <a:cubicBezTo>
                    <a:pt x="103" y="638"/>
                    <a:pt x="97" y="640"/>
                    <a:pt x="90" y="639"/>
                  </a:cubicBezTo>
                  <a:cubicBezTo>
                    <a:pt x="84" y="638"/>
                    <a:pt x="89" y="638"/>
                    <a:pt x="85" y="635"/>
                  </a:cubicBezTo>
                  <a:cubicBezTo>
                    <a:pt x="82" y="633"/>
                    <a:pt x="83" y="627"/>
                    <a:pt x="83" y="624"/>
                  </a:cubicBezTo>
                  <a:cubicBezTo>
                    <a:pt x="83" y="622"/>
                    <a:pt x="81" y="621"/>
                    <a:pt x="75" y="615"/>
                  </a:cubicBezTo>
                  <a:cubicBezTo>
                    <a:pt x="69" y="610"/>
                    <a:pt x="76" y="611"/>
                    <a:pt x="77" y="608"/>
                  </a:cubicBezTo>
                  <a:cubicBezTo>
                    <a:pt x="78" y="604"/>
                    <a:pt x="72" y="606"/>
                    <a:pt x="66" y="601"/>
                  </a:cubicBezTo>
                  <a:cubicBezTo>
                    <a:pt x="59" y="596"/>
                    <a:pt x="61" y="597"/>
                    <a:pt x="61" y="593"/>
                  </a:cubicBezTo>
                  <a:cubicBezTo>
                    <a:pt x="61" y="589"/>
                    <a:pt x="61" y="588"/>
                    <a:pt x="58" y="583"/>
                  </a:cubicBezTo>
                  <a:cubicBezTo>
                    <a:pt x="55" y="578"/>
                    <a:pt x="59" y="579"/>
                    <a:pt x="61" y="576"/>
                  </a:cubicBezTo>
                  <a:cubicBezTo>
                    <a:pt x="64" y="573"/>
                    <a:pt x="62" y="573"/>
                    <a:pt x="60" y="570"/>
                  </a:cubicBezTo>
                  <a:cubicBezTo>
                    <a:pt x="58" y="567"/>
                    <a:pt x="55" y="566"/>
                    <a:pt x="55" y="562"/>
                  </a:cubicBezTo>
                  <a:cubicBezTo>
                    <a:pt x="55" y="559"/>
                    <a:pt x="51" y="556"/>
                    <a:pt x="51" y="551"/>
                  </a:cubicBezTo>
                  <a:cubicBezTo>
                    <a:pt x="50" y="547"/>
                    <a:pt x="48" y="546"/>
                    <a:pt x="46" y="538"/>
                  </a:cubicBezTo>
                  <a:cubicBezTo>
                    <a:pt x="44" y="530"/>
                    <a:pt x="47" y="534"/>
                    <a:pt x="48" y="530"/>
                  </a:cubicBezTo>
                  <a:cubicBezTo>
                    <a:pt x="48" y="526"/>
                    <a:pt x="46" y="526"/>
                    <a:pt x="46" y="523"/>
                  </a:cubicBezTo>
                  <a:cubicBezTo>
                    <a:pt x="46" y="520"/>
                    <a:pt x="46" y="520"/>
                    <a:pt x="43" y="515"/>
                  </a:cubicBezTo>
                  <a:cubicBezTo>
                    <a:pt x="40" y="509"/>
                    <a:pt x="41" y="511"/>
                    <a:pt x="42" y="508"/>
                  </a:cubicBezTo>
                  <a:cubicBezTo>
                    <a:pt x="44" y="506"/>
                    <a:pt x="43" y="504"/>
                    <a:pt x="42" y="500"/>
                  </a:cubicBezTo>
                  <a:cubicBezTo>
                    <a:pt x="41" y="496"/>
                    <a:pt x="41" y="495"/>
                    <a:pt x="41" y="489"/>
                  </a:cubicBezTo>
                  <a:cubicBezTo>
                    <a:pt x="41" y="484"/>
                    <a:pt x="49" y="483"/>
                    <a:pt x="50" y="479"/>
                  </a:cubicBezTo>
                  <a:cubicBezTo>
                    <a:pt x="52" y="474"/>
                    <a:pt x="46" y="473"/>
                    <a:pt x="44" y="469"/>
                  </a:cubicBezTo>
                  <a:cubicBezTo>
                    <a:pt x="41" y="466"/>
                    <a:pt x="42" y="464"/>
                    <a:pt x="39" y="458"/>
                  </a:cubicBezTo>
                  <a:cubicBezTo>
                    <a:pt x="36" y="453"/>
                    <a:pt x="36" y="454"/>
                    <a:pt x="35" y="448"/>
                  </a:cubicBezTo>
                  <a:cubicBezTo>
                    <a:pt x="34" y="442"/>
                    <a:pt x="30" y="439"/>
                    <a:pt x="30" y="434"/>
                  </a:cubicBezTo>
                  <a:cubicBezTo>
                    <a:pt x="29" y="429"/>
                    <a:pt x="31" y="423"/>
                    <a:pt x="31" y="418"/>
                  </a:cubicBezTo>
                  <a:cubicBezTo>
                    <a:pt x="31" y="413"/>
                    <a:pt x="37" y="412"/>
                    <a:pt x="39" y="408"/>
                  </a:cubicBezTo>
                  <a:cubicBezTo>
                    <a:pt x="41" y="404"/>
                    <a:pt x="39" y="401"/>
                    <a:pt x="36" y="397"/>
                  </a:cubicBezTo>
                  <a:cubicBezTo>
                    <a:pt x="34" y="392"/>
                    <a:pt x="34" y="391"/>
                    <a:pt x="31" y="386"/>
                  </a:cubicBezTo>
                  <a:cubicBezTo>
                    <a:pt x="28" y="380"/>
                    <a:pt x="31" y="383"/>
                    <a:pt x="33" y="377"/>
                  </a:cubicBezTo>
                  <a:cubicBezTo>
                    <a:pt x="34" y="370"/>
                    <a:pt x="33" y="369"/>
                    <a:pt x="33" y="364"/>
                  </a:cubicBezTo>
                  <a:cubicBezTo>
                    <a:pt x="32" y="360"/>
                    <a:pt x="34" y="360"/>
                    <a:pt x="37" y="358"/>
                  </a:cubicBezTo>
                  <a:cubicBezTo>
                    <a:pt x="41" y="356"/>
                    <a:pt x="36" y="352"/>
                    <a:pt x="34" y="348"/>
                  </a:cubicBezTo>
                  <a:cubicBezTo>
                    <a:pt x="32" y="343"/>
                    <a:pt x="34" y="338"/>
                    <a:pt x="34" y="336"/>
                  </a:cubicBezTo>
                  <a:cubicBezTo>
                    <a:pt x="34" y="335"/>
                    <a:pt x="31" y="330"/>
                    <a:pt x="29" y="328"/>
                  </a:cubicBezTo>
                  <a:cubicBezTo>
                    <a:pt x="26" y="327"/>
                    <a:pt x="25" y="325"/>
                    <a:pt x="25" y="322"/>
                  </a:cubicBezTo>
                  <a:cubicBezTo>
                    <a:pt x="25" y="319"/>
                    <a:pt x="21" y="315"/>
                    <a:pt x="20" y="311"/>
                  </a:cubicBezTo>
                  <a:cubicBezTo>
                    <a:pt x="19" y="306"/>
                    <a:pt x="17" y="305"/>
                    <a:pt x="15" y="303"/>
                  </a:cubicBezTo>
                  <a:cubicBezTo>
                    <a:pt x="13" y="300"/>
                    <a:pt x="14" y="299"/>
                    <a:pt x="14" y="296"/>
                  </a:cubicBezTo>
                  <a:cubicBezTo>
                    <a:pt x="14" y="293"/>
                    <a:pt x="8" y="289"/>
                    <a:pt x="5" y="285"/>
                  </a:cubicBezTo>
                  <a:cubicBezTo>
                    <a:pt x="2" y="281"/>
                    <a:pt x="2" y="280"/>
                    <a:pt x="1" y="276"/>
                  </a:cubicBezTo>
                  <a:cubicBezTo>
                    <a:pt x="0" y="272"/>
                    <a:pt x="3" y="272"/>
                    <a:pt x="4" y="267"/>
                  </a:cubicBezTo>
                  <a:cubicBezTo>
                    <a:pt x="4" y="262"/>
                    <a:pt x="4" y="256"/>
                    <a:pt x="4" y="252"/>
                  </a:cubicBezTo>
                  <a:cubicBezTo>
                    <a:pt x="4" y="249"/>
                    <a:pt x="6" y="248"/>
                    <a:pt x="9" y="245"/>
                  </a:cubicBezTo>
                  <a:cubicBezTo>
                    <a:pt x="12" y="242"/>
                    <a:pt x="9" y="239"/>
                    <a:pt x="8" y="236"/>
                  </a:cubicBezTo>
                  <a:cubicBezTo>
                    <a:pt x="6" y="232"/>
                    <a:pt x="5" y="229"/>
                    <a:pt x="3" y="225"/>
                  </a:cubicBezTo>
                  <a:cubicBezTo>
                    <a:pt x="0" y="221"/>
                    <a:pt x="2" y="221"/>
                    <a:pt x="2" y="218"/>
                  </a:cubicBezTo>
                  <a:cubicBezTo>
                    <a:pt x="2" y="214"/>
                    <a:pt x="3" y="214"/>
                    <a:pt x="6" y="211"/>
                  </a:cubicBezTo>
                  <a:cubicBezTo>
                    <a:pt x="9" y="208"/>
                    <a:pt x="6" y="198"/>
                    <a:pt x="6" y="192"/>
                  </a:cubicBezTo>
                  <a:cubicBezTo>
                    <a:pt x="6" y="186"/>
                    <a:pt x="9" y="187"/>
                    <a:pt x="10" y="184"/>
                  </a:cubicBezTo>
                  <a:cubicBezTo>
                    <a:pt x="12" y="181"/>
                    <a:pt x="12" y="178"/>
                    <a:pt x="15" y="174"/>
                  </a:cubicBezTo>
                  <a:cubicBezTo>
                    <a:pt x="17" y="170"/>
                    <a:pt x="17" y="168"/>
                    <a:pt x="18" y="162"/>
                  </a:cubicBezTo>
                  <a:cubicBezTo>
                    <a:pt x="19" y="157"/>
                    <a:pt x="20" y="158"/>
                    <a:pt x="24" y="156"/>
                  </a:cubicBezTo>
                  <a:cubicBezTo>
                    <a:pt x="29" y="155"/>
                    <a:pt x="28" y="155"/>
                    <a:pt x="30" y="151"/>
                  </a:cubicBezTo>
                  <a:cubicBezTo>
                    <a:pt x="33" y="147"/>
                    <a:pt x="26" y="146"/>
                    <a:pt x="22" y="141"/>
                  </a:cubicBezTo>
                  <a:cubicBezTo>
                    <a:pt x="17" y="135"/>
                    <a:pt x="22" y="132"/>
                    <a:pt x="23" y="130"/>
                  </a:cubicBezTo>
                  <a:cubicBezTo>
                    <a:pt x="25" y="127"/>
                    <a:pt x="21" y="119"/>
                    <a:pt x="19" y="116"/>
                  </a:cubicBezTo>
                  <a:cubicBezTo>
                    <a:pt x="17" y="113"/>
                    <a:pt x="18" y="112"/>
                    <a:pt x="17" y="109"/>
                  </a:cubicBezTo>
                  <a:cubicBezTo>
                    <a:pt x="16" y="106"/>
                    <a:pt x="15" y="104"/>
                    <a:pt x="18" y="101"/>
                  </a:cubicBezTo>
                  <a:cubicBezTo>
                    <a:pt x="21" y="98"/>
                    <a:pt x="17" y="96"/>
                    <a:pt x="15" y="94"/>
                  </a:cubicBezTo>
                  <a:cubicBezTo>
                    <a:pt x="13" y="92"/>
                    <a:pt x="15" y="89"/>
                    <a:pt x="16" y="85"/>
                  </a:cubicBezTo>
                  <a:cubicBezTo>
                    <a:pt x="16" y="82"/>
                    <a:pt x="25" y="79"/>
                    <a:pt x="30" y="77"/>
                  </a:cubicBezTo>
                  <a:cubicBezTo>
                    <a:pt x="35" y="74"/>
                    <a:pt x="37" y="74"/>
                    <a:pt x="40" y="71"/>
                  </a:cubicBezTo>
                  <a:cubicBezTo>
                    <a:pt x="43" y="68"/>
                    <a:pt x="43" y="59"/>
                    <a:pt x="43" y="56"/>
                  </a:cubicBezTo>
                  <a:cubicBezTo>
                    <a:pt x="43" y="53"/>
                    <a:pt x="44" y="45"/>
                    <a:pt x="44" y="39"/>
                  </a:cubicBezTo>
                  <a:cubicBezTo>
                    <a:pt x="44" y="35"/>
                    <a:pt x="42" y="36"/>
                    <a:pt x="40" y="36"/>
                  </a:cubicBezTo>
                  <a:cubicBezTo>
                    <a:pt x="40" y="32"/>
                    <a:pt x="40" y="30"/>
                    <a:pt x="45" y="25"/>
                  </a:cubicBezTo>
                  <a:cubicBezTo>
                    <a:pt x="51" y="19"/>
                    <a:pt x="56" y="19"/>
                    <a:pt x="58" y="12"/>
                  </a:cubicBezTo>
                  <a:cubicBezTo>
                    <a:pt x="60" y="6"/>
                    <a:pt x="58" y="0"/>
                    <a:pt x="65" y="6"/>
                  </a:cubicBezTo>
                  <a:cubicBezTo>
                    <a:pt x="72" y="12"/>
                    <a:pt x="76" y="16"/>
                    <a:pt x="86" y="16"/>
                  </a:cubicBezTo>
                  <a:cubicBezTo>
                    <a:pt x="96" y="17"/>
                    <a:pt x="99" y="25"/>
                    <a:pt x="105" y="30"/>
                  </a:cubicBezTo>
                  <a:cubicBezTo>
                    <a:pt x="111" y="34"/>
                    <a:pt x="109" y="37"/>
                    <a:pt x="113" y="31"/>
                  </a:cubicBezTo>
                  <a:cubicBezTo>
                    <a:pt x="117" y="24"/>
                    <a:pt x="112" y="20"/>
                    <a:pt x="116" y="17"/>
                  </a:cubicBezTo>
                  <a:cubicBezTo>
                    <a:pt x="120" y="13"/>
                    <a:pt x="122" y="13"/>
                    <a:pt x="127" y="13"/>
                  </a:cubicBezTo>
                  <a:cubicBezTo>
                    <a:pt x="133" y="12"/>
                    <a:pt x="139" y="9"/>
                    <a:pt x="143" y="12"/>
                  </a:cubicBezTo>
                  <a:cubicBezTo>
                    <a:pt x="147" y="15"/>
                    <a:pt x="145" y="14"/>
                    <a:pt x="150" y="19"/>
                  </a:cubicBezTo>
                  <a:cubicBezTo>
                    <a:pt x="150" y="19"/>
                    <a:pt x="150" y="19"/>
                    <a:pt x="150" y="19"/>
                  </a:cubicBezTo>
                  <a:cubicBezTo>
                    <a:pt x="155" y="25"/>
                    <a:pt x="159" y="26"/>
                    <a:pt x="163" y="32"/>
                  </a:cubicBezTo>
                  <a:cubicBezTo>
                    <a:pt x="167" y="39"/>
                    <a:pt x="168" y="40"/>
                    <a:pt x="174" y="45"/>
                  </a:cubicBezTo>
                  <a:cubicBezTo>
                    <a:pt x="179" y="49"/>
                    <a:pt x="183" y="51"/>
                    <a:pt x="186" y="54"/>
                  </a:cubicBezTo>
                  <a:cubicBezTo>
                    <a:pt x="189" y="57"/>
                    <a:pt x="188" y="63"/>
                    <a:pt x="199" y="66"/>
                  </a:cubicBezTo>
                  <a:cubicBezTo>
                    <a:pt x="211" y="68"/>
                    <a:pt x="216" y="69"/>
                    <a:pt x="218" y="71"/>
                  </a:cubicBezTo>
                  <a:cubicBezTo>
                    <a:pt x="221" y="72"/>
                    <a:pt x="227" y="75"/>
                    <a:pt x="231" y="79"/>
                  </a:cubicBezTo>
                  <a:cubicBezTo>
                    <a:pt x="234" y="82"/>
                    <a:pt x="241" y="85"/>
                    <a:pt x="246" y="87"/>
                  </a:cubicBezTo>
                  <a:cubicBezTo>
                    <a:pt x="251" y="90"/>
                    <a:pt x="255" y="89"/>
                    <a:pt x="261" y="93"/>
                  </a:cubicBezTo>
                  <a:cubicBezTo>
                    <a:pt x="266" y="96"/>
                    <a:pt x="266" y="96"/>
                    <a:pt x="271" y="99"/>
                  </a:cubicBezTo>
                  <a:cubicBezTo>
                    <a:pt x="276" y="102"/>
                    <a:pt x="284" y="105"/>
                    <a:pt x="284" y="110"/>
                  </a:cubicBezTo>
                  <a:cubicBezTo>
                    <a:pt x="284" y="115"/>
                    <a:pt x="282" y="117"/>
                    <a:pt x="281" y="120"/>
                  </a:cubicBezTo>
                  <a:cubicBezTo>
                    <a:pt x="279" y="123"/>
                    <a:pt x="280" y="126"/>
                    <a:pt x="279" y="128"/>
                  </a:cubicBezTo>
                  <a:cubicBezTo>
                    <a:pt x="277" y="129"/>
                    <a:pt x="273" y="127"/>
                    <a:pt x="273" y="133"/>
                  </a:cubicBezTo>
                  <a:cubicBezTo>
                    <a:pt x="274" y="139"/>
                    <a:pt x="275" y="143"/>
                    <a:pt x="273" y="146"/>
                  </a:cubicBezTo>
                  <a:cubicBezTo>
                    <a:pt x="271" y="150"/>
                    <a:pt x="270" y="151"/>
                    <a:pt x="268" y="154"/>
                  </a:cubicBezTo>
                  <a:cubicBezTo>
                    <a:pt x="267" y="158"/>
                    <a:pt x="263" y="161"/>
                    <a:pt x="266" y="162"/>
                  </a:cubicBezTo>
                  <a:cubicBezTo>
                    <a:pt x="270" y="162"/>
                    <a:pt x="270" y="162"/>
                    <a:pt x="274" y="161"/>
                  </a:cubicBezTo>
                  <a:cubicBezTo>
                    <a:pt x="279" y="160"/>
                    <a:pt x="277" y="160"/>
                    <a:pt x="282" y="162"/>
                  </a:cubicBezTo>
                  <a:cubicBezTo>
                    <a:pt x="288" y="164"/>
                    <a:pt x="294" y="164"/>
                    <a:pt x="300" y="166"/>
                  </a:cubicBezTo>
                  <a:cubicBezTo>
                    <a:pt x="306" y="167"/>
                    <a:pt x="314" y="167"/>
                    <a:pt x="319" y="167"/>
                  </a:cubicBezTo>
                  <a:cubicBezTo>
                    <a:pt x="323" y="167"/>
                    <a:pt x="324" y="162"/>
                    <a:pt x="327" y="162"/>
                  </a:cubicBezTo>
                  <a:cubicBezTo>
                    <a:pt x="330" y="161"/>
                    <a:pt x="330" y="164"/>
                    <a:pt x="334" y="164"/>
                  </a:cubicBezTo>
                  <a:cubicBezTo>
                    <a:pt x="338" y="165"/>
                    <a:pt x="343" y="159"/>
                    <a:pt x="343" y="157"/>
                  </a:cubicBezTo>
                  <a:cubicBezTo>
                    <a:pt x="344" y="155"/>
                    <a:pt x="345" y="151"/>
                    <a:pt x="349" y="149"/>
                  </a:cubicBezTo>
                  <a:cubicBezTo>
                    <a:pt x="353" y="147"/>
                    <a:pt x="358" y="146"/>
                    <a:pt x="359" y="141"/>
                  </a:cubicBezTo>
                  <a:cubicBezTo>
                    <a:pt x="360" y="136"/>
                    <a:pt x="361" y="128"/>
                    <a:pt x="359" y="124"/>
                  </a:cubicBezTo>
                  <a:cubicBezTo>
                    <a:pt x="357" y="120"/>
                    <a:pt x="356" y="118"/>
                    <a:pt x="356" y="116"/>
                  </a:cubicBezTo>
                  <a:cubicBezTo>
                    <a:pt x="356" y="115"/>
                    <a:pt x="357" y="113"/>
                    <a:pt x="357" y="112"/>
                  </a:cubicBezTo>
                  <a:cubicBezTo>
                    <a:pt x="359" y="117"/>
                    <a:pt x="360" y="111"/>
                    <a:pt x="366" y="112"/>
                  </a:cubicBezTo>
                  <a:cubicBezTo>
                    <a:pt x="372" y="114"/>
                    <a:pt x="374" y="115"/>
                    <a:pt x="378" y="121"/>
                  </a:cubicBezTo>
                  <a:cubicBezTo>
                    <a:pt x="381" y="126"/>
                    <a:pt x="380" y="123"/>
                    <a:pt x="381" y="132"/>
                  </a:cubicBezTo>
                  <a:cubicBezTo>
                    <a:pt x="382" y="141"/>
                    <a:pt x="384" y="142"/>
                    <a:pt x="381" y="150"/>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44" name="Freeform 1022">
              <a:extLst>
                <a:ext uri="{FF2B5EF4-FFF2-40B4-BE49-F238E27FC236}">
                  <a16:creationId xmlns:a16="http://schemas.microsoft.com/office/drawing/2014/main" id="{D0C983BF-8A34-D54A-BB30-C499EC3D247C}"/>
                </a:ext>
              </a:extLst>
            </p:cNvPr>
            <p:cNvSpPr>
              <a:spLocks/>
            </p:cNvSpPr>
            <p:nvPr/>
          </p:nvSpPr>
          <p:spPr bwMode="auto">
            <a:xfrm>
              <a:off x="2714634" y="3469146"/>
              <a:ext cx="122238" cy="131763"/>
            </a:xfrm>
            <a:custGeom>
              <a:avLst/>
              <a:gdLst>
                <a:gd name="T0" fmla="*/ 125 w 128"/>
                <a:gd name="T1" fmla="*/ 113 h 139"/>
                <a:gd name="T2" fmla="*/ 122 w 128"/>
                <a:gd name="T3" fmla="*/ 121 h 139"/>
                <a:gd name="T4" fmla="*/ 115 w 128"/>
                <a:gd name="T5" fmla="*/ 130 h 139"/>
                <a:gd name="T6" fmla="*/ 106 w 128"/>
                <a:gd name="T7" fmla="*/ 136 h 139"/>
                <a:gd name="T8" fmla="*/ 95 w 128"/>
                <a:gd name="T9" fmla="*/ 138 h 139"/>
                <a:gd name="T10" fmla="*/ 85 w 128"/>
                <a:gd name="T11" fmla="*/ 135 h 139"/>
                <a:gd name="T12" fmla="*/ 75 w 128"/>
                <a:gd name="T13" fmla="*/ 136 h 139"/>
                <a:gd name="T14" fmla="*/ 69 w 128"/>
                <a:gd name="T15" fmla="*/ 137 h 139"/>
                <a:gd name="T16" fmla="*/ 61 w 128"/>
                <a:gd name="T17" fmla="*/ 134 h 139"/>
                <a:gd name="T18" fmla="*/ 54 w 128"/>
                <a:gd name="T19" fmla="*/ 131 h 139"/>
                <a:gd name="T20" fmla="*/ 45 w 128"/>
                <a:gd name="T21" fmla="*/ 127 h 139"/>
                <a:gd name="T22" fmla="*/ 39 w 128"/>
                <a:gd name="T23" fmla="*/ 125 h 139"/>
                <a:gd name="T24" fmla="*/ 24 w 128"/>
                <a:gd name="T25" fmla="*/ 123 h 139"/>
                <a:gd name="T26" fmla="*/ 16 w 128"/>
                <a:gd name="T27" fmla="*/ 114 h 139"/>
                <a:gd name="T28" fmla="*/ 12 w 128"/>
                <a:gd name="T29" fmla="*/ 116 h 139"/>
                <a:gd name="T30" fmla="*/ 11 w 128"/>
                <a:gd name="T31" fmla="*/ 113 h 139"/>
                <a:gd name="T32" fmla="*/ 6 w 128"/>
                <a:gd name="T33" fmla="*/ 100 h 139"/>
                <a:gd name="T34" fmla="*/ 7 w 128"/>
                <a:gd name="T35" fmla="*/ 88 h 139"/>
                <a:gd name="T36" fmla="*/ 11 w 128"/>
                <a:gd name="T37" fmla="*/ 79 h 139"/>
                <a:gd name="T38" fmla="*/ 5 w 128"/>
                <a:gd name="T39" fmla="*/ 68 h 139"/>
                <a:gd name="T40" fmla="*/ 4 w 128"/>
                <a:gd name="T41" fmla="*/ 60 h 139"/>
                <a:gd name="T42" fmla="*/ 4 w 128"/>
                <a:gd name="T43" fmla="*/ 51 h 139"/>
                <a:gd name="T44" fmla="*/ 5 w 128"/>
                <a:gd name="T45" fmla="*/ 38 h 139"/>
                <a:gd name="T46" fmla="*/ 4 w 128"/>
                <a:gd name="T47" fmla="*/ 28 h 139"/>
                <a:gd name="T48" fmla="*/ 4 w 128"/>
                <a:gd name="T49" fmla="*/ 17 h 139"/>
                <a:gd name="T50" fmla="*/ 3 w 128"/>
                <a:gd name="T51" fmla="*/ 11 h 139"/>
                <a:gd name="T52" fmla="*/ 7 w 128"/>
                <a:gd name="T53" fmla="*/ 7 h 139"/>
                <a:gd name="T54" fmla="*/ 9 w 128"/>
                <a:gd name="T55" fmla="*/ 7 h 139"/>
                <a:gd name="T56" fmla="*/ 27 w 128"/>
                <a:gd name="T57" fmla="*/ 3 h 139"/>
                <a:gd name="T58" fmla="*/ 45 w 128"/>
                <a:gd name="T59" fmla="*/ 17 h 139"/>
                <a:gd name="T60" fmla="*/ 50 w 128"/>
                <a:gd name="T61" fmla="*/ 26 h 139"/>
                <a:gd name="T62" fmla="*/ 58 w 128"/>
                <a:gd name="T63" fmla="*/ 26 h 139"/>
                <a:gd name="T64" fmla="*/ 65 w 128"/>
                <a:gd name="T65" fmla="*/ 28 h 139"/>
                <a:gd name="T66" fmla="*/ 77 w 128"/>
                <a:gd name="T67" fmla="*/ 37 h 139"/>
                <a:gd name="T68" fmla="*/ 92 w 128"/>
                <a:gd name="T69" fmla="*/ 46 h 139"/>
                <a:gd name="T70" fmla="*/ 104 w 128"/>
                <a:gd name="T71" fmla="*/ 55 h 139"/>
                <a:gd name="T72" fmla="*/ 118 w 128"/>
                <a:gd name="T73" fmla="*/ 66 h 139"/>
                <a:gd name="T74" fmla="*/ 127 w 128"/>
                <a:gd name="T75" fmla="*/ 76 h 139"/>
                <a:gd name="T76" fmla="*/ 120 w 128"/>
                <a:gd name="T77" fmla="*/ 92 h 139"/>
                <a:gd name="T78" fmla="*/ 127 w 128"/>
                <a:gd name="T79" fmla="*/ 104 h 139"/>
                <a:gd name="T80" fmla="*/ 125 w 128"/>
                <a:gd name="T81"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139">
                  <a:moveTo>
                    <a:pt x="125" y="113"/>
                  </a:moveTo>
                  <a:cubicBezTo>
                    <a:pt x="125" y="119"/>
                    <a:pt x="122" y="118"/>
                    <a:pt x="122" y="121"/>
                  </a:cubicBezTo>
                  <a:cubicBezTo>
                    <a:pt x="121" y="124"/>
                    <a:pt x="116" y="127"/>
                    <a:pt x="115" y="130"/>
                  </a:cubicBezTo>
                  <a:cubicBezTo>
                    <a:pt x="114" y="133"/>
                    <a:pt x="109" y="134"/>
                    <a:pt x="106" y="136"/>
                  </a:cubicBezTo>
                  <a:cubicBezTo>
                    <a:pt x="104" y="137"/>
                    <a:pt x="99" y="139"/>
                    <a:pt x="95" y="138"/>
                  </a:cubicBezTo>
                  <a:cubicBezTo>
                    <a:pt x="92" y="137"/>
                    <a:pt x="87" y="137"/>
                    <a:pt x="85" y="135"/>
                  </a:cubicBezTo>
                  <a:cubicBezTo>
                    <a:pt x="82" y="134"/>
                    <a:pt x="77" y="136"/>
                    <a:pt x="75" y="136"/>
                  </a:cubicBezTo>
                  <a:cubicBezTo>
                    <a:pt x="74" y="136"/>
                    <a:pt x="71" y="138"/>
                    <a:pt x="69" y="137"/>
                  </a:cubicBezTo>
                  <a:cubicBezTo>
                    <a:pt x="66" y="136"/>
                    <a:pt x="65" y="138"/>
                    <a:pt x="61" y="134"/>
                  </a:cubicBezTo>
                  <a:cubicBezTo>
                    <a:pt x="56" y="130"/>
                    <a:pt x="56" y="133"/>
                    <a:pt x="54" y="131"/>
                  </a:cubicBezTo>
                  <a:cubicBezTo>
                    <a:pt x="51" y="129"/>
                    <a:pt x="47" y="129"/>
                    <a:pt x="45" y="127"/>
                  </a:cubicBezTo>
                  <a:cubicBezTo>
                    <a:pt x="42" y="124"/>
                    <a:pt x="43" y="125"/>
                    <a:pt x="39" y="125"/>
                  </a:cubicBezTo>
                  <a:cubicBezTo>
                    <a:pt x="34" y="124"/>
                    <a:pt x="30" y="124"/>
                    <a:pt x="24" y="123"/>
                  </a:cubicBezTo>
                  <a:cubicBezTo>
                    <a:pt x="18" y="121"/>
                    <a:pt x="18" y="117"/>
                    <a:pt x="16" y="114"/>
                  </a:cubicBezTo>
                  <a:cubicBezTo>
                    <a:pt x="15" y="112"/>
                    <a:pt x="14" y="114"/>
                    <a:pt x="12" y="116"/>
                  </a:cubicBezTo>
                  <a:cubicBezTo>
                    <a:pt x="12" y="115"/>
                    <a:pt x="12" y="114"/>
                    <a:pt x="11" y="113"/>
                  </a:cubicBezTo>
                  <a:cubicBezTo>
                    <a:pt x="8" y="107"/>
                    <a:pt x="7" y="107"/>
                    <a:pt x="6" y="100"/>
                  </a:cubicBezTo>
                  <a:cubicBezTo>
                    <a:pt x="4" y="93"/>
                    <a:pt x="5" y="91"/>
                    <a:pt x="7" y="88"/>
                  </a:cubicBezTo>
                  <a:cubicBezTo>
                    <a:pt x="9" y="85"/>
                    <a:pt x="15" y="84"/>
                    <a:pt x="11" y="79"/>
                  </a:cubicBezTo>
                  <a:cubicBezTo>
                    <a:pt x="7" y="75"/>
                    <a:pt x="5" y="71"/>
                    <a:pt x="5" y="68"/>
                  </a:cubicBezTo>
                  <a:cubicBezTo>
                    <a:pt x="5" y="64"/>
                    <a:pt x="6" y="65"/>
                    <a:pt x="4" y="60"/>
                  </a:cubicBezTo>
                  <a:cubicBezTo>
                    <a:pt x="2" y="55"/>
                    <a:pt x="3" y="56"/>
                    <a:pt x="4" y="51"/>
                  </a:cubicBezTo>
                  <a:cubicBezTo>
                    <a:pt x="5" y="47"/>
                    <a:pt x="6" y="43"/>
                    <a:pt x="5" y="38"/>
                  </a:cubicBezTo>
                  <a:cubicBezTo>
                    <a:pt x="4" y="33"/>
                    <a:pt x="2" y="32"/>
                    <a:pt x="4" y="28"/>
                  </a:cubicBezTo>
                  <a:cubicBezTo>
                    <a:pt x="5" y="24"/>
                    <a:pt x="5" y="18"/>
                    <a:pt x="4" y="17"/>
                  </a:cubicBezTo>
                  <a:cubicBezTo>
                    <a:pt x="4" y="15"/>
                    <a:pt x="0" y="14"/>
                    <a:pt x="3" y="11"/>
                  </a:cubicBezTo>
                  <a:cubicBezTo>
                    <a:pt x="4" y="10"/>
                    <a:pt x="6" y="8"/>
                    <a:pt x="7" y="7"/>
                  </a:cubicBezTo>
                  <a:cubicBezTo>
                    <a:pt x="7" y="7"/>
                    <a:pt x="8" y="7"/>
                    <a:pt x="9" y="7"/>
                  </a:cubicBezTo>
                  <a:cubicBezTo>
                    <a:pt x="14" y="7"/>
                    <a:pt x="24" y="0"/>
                    <a:pt x="27" y="3"/>
                  </a:cubicBezTo>
                  <a:cubicBezTo>
                    <a:pt x="31" y="7"/>
                    <a:pt x="42" y="13"/>
                    <a:pt x="45" y="17"/>
                  </a:cubicBezTo>
                  <a:cubicBezTo>
                    <a:pt x="47" y="21"/>
                    <a:pt x="47" y="22"/>
                    <a:pt x="50" y="26"/>
                  </a:cubicBezTo>
                  <a:cubicBezTo>
                    <a:pt x="53" y="31"/>
                    <a:pt x="58" y="30"/>
                    <a:pt x="58" y="26"/>
                  </a:cubicBezTo>
                  <a:cubicBezTo>
                    <a:pt x="58" y="23"/>
                    <a:pt x="60" y="22"/>
                    <a:pt x="65" y="28"/>
                  </a:cubicBezTo>
                  <a:cubicBezTo>
                    <a:pt x="70" y="34"/>
                    <a:pt x="69" y="35"/>
                    <a:pt x="77" y="37"/>
                  </a:cubicBezTo>
                  <a:cubicBezTo>
                    <a:pt x="86" y="39"/>
                    <a:pt x="84" y="40"/>
                    <a:pt x="92" y="46"/>
                  </a:cubicBezTo>
                  <a:cubicBezTo>
                    <a:pt x="100" y="52"/>
                    <a:pt x="99" y="52"/>
                    <a:pt x="104" y="55"/>
                  </a:cubicBezTo>
                  <a:cubicBezTo>
                    <a:pt x="109" y="59"/>
                    <a:pt x="114" y="61"/>
                    <a:pt x="118" y="66"/>
                  </a:cubicBezTo>
                  <a:cubicBezTo>
                    <a:pt x="121" y="71"/>
                    <a:pt x="128" y="72"/>
                    <a:pt x="127" y="76"/>
                  </a:cubicBezTo>
                  <a:cubicBezTo>
                    <a:pt x="125" y="81"/>
                    <a:pt x="120" y="88"/>
                    <a:pt x="120" y="92"/>
                  </a:cubicBezTo>
                  <a:cubicBezTo>
                    <a:pt x="120" y="96"/>
                    <a:pt x="125" y="100"/>
                    <a:pt x="127" y="104"/>
                  </a:cubicBezTo>
                  <a:cubicBezTo>
                    <a:pt x="123" y="106"/>
                    <a:pt x="126" y="108"/>
                    <a:pt x="125" y="113"/>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45" name="Freeform 1023">
              <a:extLst>
                <a:ext uri="{FF2B5EF4-FFF2-40B4-BE49-F238E27FC236}">
                  <a16:creationId xmlns:a16="http://schemas.microsoft.com/office/drawing/2014/main" id="{EC307779-4BFC-CC4D-A171-4323D395229E}"/>
                </a:ext>
              </a:extLst>
            </p:cNvPr>
            <p:cNvSpPr>
              <a:spLocks/>
            </p:cNvSpPr>
            <p:nvPr/>
          </p:nvSpPr>
          <p:spPr bwMode="auto">
            <a:xfrm>
              <a:off x="2573346" y="3178633"/>
              <a:ext cx="204788" cy="222250"/>
            </a:xfrm>
            <a:custGeom>
              <a:avLst/>
              <a:gdLst>
                <a:gd name="T0" fmla="*/ 211 w 215"/>
                <a:gd name="T1" fmla="*/ 158 h 233"/>
                <a:gd name="T2" fmla="*/ 208 w 215"/>
                <a:gd name="T3" fmla="*/ 176 h 233"/>
                <a:gd name="T4" fmla="*/ 208 w 215"/>
                <a:gd name="T5" fmla="*/ 178 h 233"/>
                <a:gd name="T6" fmla="*/ 207 w 215"/>
                <a:gd name="T7" fmla="*/ 182 h 233"/>
                <a:gd name="T8" fmla="*/ 210 w 215"/>
                <a:gd name="T9" fmla="*/ 190 h 233"/>
                <a:gd name="T10" fmla="*/ 210 w 215"/>
                <a:gd name="T11" fmla="*/ 207 h 233"/>
                <a:gd name="T12" fmla="*/ 200 w 215"/>
                <a:gd name="T13" fmla="*/ 215 h 233"/>
                <a:gd name="T14" fmla="*/ 194 w 215"/>
                <a:gd name="T15" fmla="*/ 223 h 233"/>
                <a:gd name="T16" fmla="*/ 185 w 215"/>
                <a:gd name="T17" fmla="*/ 230 h 233"/>
                <a:gd name="T18" fmla="*/ 178 w 215"/>
                <a:gd name="T19" fmla="*/ 228 h 233"/>
                <a:gd name="T20" fmla="*/ 170 w 215"/>
                <a:gd name="T21" fmla="*/ 233 h 233"/>
                <a:gd name="T22" fmla="*/ 151 w 215"/>
                <a:gd name="T23" fmla="*/ 232 h 233"/>
                <a:gd name="T24" fmla="*/ 133 w 215"/>
                <a:gd name="T25" fmla="*/ 228 h 233"/>
                <a:gd name="T26" fmla="*/ 125 w 215"/>
                <a:gd name="T27" fmla="*/ 227 h 233"/>
                <a:gd name="T28" fmla="*/ 117 w 215"/>
                <a:gd name="T29" fmla="*/ 228 h 233"/>
                <a:gd name="T30" fmla="*/ 119 w 215"/>
                <a:gd name="T31" fmla="*/ 220 h 233"/>
                <a:gd name="T32" fmla="*/ 124 w 215"/>
                <a:gd name="T33" fmla="*/ 212 h 233"/>
                <a:gd name="T34" fmla="*/ 124 w 215"/>
                <a:gd name="T35" fmla="*/ 199 h 233"/>
                <a:gd name="T36" fmla="*/ 130 w 215"/>
                <a:gd name="T37" fmla="*/ 194 h 233"/>
                <a:gd name="T38" fmla="*/ 132 w 215"/>
                <a:gd name="T39" fmla="*/ 186 h 233"/>
                <a:gd name="T40" fmla="*/ 135 w 215"/>
                <a:gd name="T41" fmla="*/ 176 h 233"/>
                <a:gd name="T42" fmla="*/ 122 w 215"/>
                <a:gd name="T43" fmla="*/ 165 h 233"/>
                <a:gd name="T44" fmla="*/ 112 w 215"/>
                <a:gd name="T45" fmla="*/ 159 h 233"/>
                <a:gd name="T46" fmla="*/ 97 w 215"/>
                <a:gd name="T47" fmla="*/ 153 h 233"/>
                <a:gd name="T48" fmla="*/ 82 w 215"/>
                <a:gd name="T49" fmla="*/ 145 h 233"/>
                <a:gd name="T50" fmla="*/ 69 w 215"/>
                <a:gd name="T51" fmla="*/ 137 h 233"/>
                <a:gd name="T52" fmla="*/ 50 w 215"/>
                <a:gd name="T53" fmla="*/ 132 h 233"/>
                <a:gd name="T54" fmla="*/ 37 w 215"/>
                <a:gd name="T55" fmla="*/ 120 h 233"/>
                <a:gd name="T56" fmla="*/ 25 w 215"/>
                <a:gd name="T57" fmla="*/ 111 h 233"/>
                <a:gd name="T58" fmla="*/ 14 w 215"/>
                <a:gd name="T59" fmla="*/ 98 h 233"/>
                <a:gd name="T60" fmla="*/ 1 w 215"/>
                <a:gd name="T61" fmla="*/ 85 h 233"/>
                <a:gd name="T62" fmla="*/ 2 w 215"/>
                <a:gd name="T63" fmla="*/ 77 h 233"/>
                <a:gd name="T64" fmla="*/ 4 w 215"/>
                <a:gd name="T65" fmla="*/ 64 h 233"/>
                <a:gd name="T66" fmla="*/ 6 w 215"/>
                <a:gd name="T67" fmla="*/ 43 h 233"/>
                <a:gd name="T68" fmla="*/ 8 w 215"/>
                <a:gd name="T69" fmla="*/ 26 h 233"/>
                <a:gd name="T70" fmla="*/ 17 w 215"/>
                <a:gd name="T71" fmla="*/ 10 h 233"/>
                <a:gd name="T72" fmla="*/ 39 w 215"/>
                <a:gd name="T73" fmla="*/ 6 h 233"/>
                <a:gd name="T74" fmla="*/ 54 w 215"/>
                <a:gd name="T75" fmla="*/ 4 h 233"/>
                <a:gd name="T76" fmla="*/ 74 w 215"/>
                <a:gd name="T77" fmla="*/ 2 h 233"/>
                <a:gd name="T78" fmla="*/ 91 w 215"/>
                <a:gd name="T79" fmla="*/ 11 h 233"/>
                <a:gd name="T80" fmla="*/ 104 w 215"/>
                <a:gd name="T81" fmla="*/ 19 h 233"/>
                <a:gd name="T82" fmla="*/ 106 w 215"/>
                <a:gd name="T83" fmla="*/ 31 h 233"/>
                <a:gd name="T84" fmla="*/ 113 w 215"/>
                <a:gd name="T85" fmla="*/ 50 h 233"/>
                <a:gd name="T86" fmla="*/ 114 w 215"/>
                <a:gd name="T87" fmla="*/ 71 h 233"/>
                <a:gd name="T88" fmla="*/ 119 w 215"/>
                <a:gd name="T89" fmla="*/ 81 h 233"/>
                <a:gd name="T90" fmla="*/ 131 w 215"/>
                <a:gd name="T91" fmla="*/ 87 h 233"/>
                <a:gd name="T92" fmla="*/ 147 w 215"/>
                <a:gd name="T93" fmla="*/ 85 h 233"/>
                <a:gd name="T94" fmla="*/ 156 w 215"/>
                <a:gd name="T95" fmla="*/ 82 h 233"/>
                <a:gd name="T96" fmla="*/ 171 w 215"/>
                <a:gd name="T97" fmla="*/ 92 h 233"/>
                <a:gd name="T98" fmla="*/ 176 w 215"/>
                <a:gd name="T99" fmla="*/ 108 h 233"/>
                <a:gd name="T100" fmla="*/ 180 w 215"/>
                <a:gd name="T101" fmla="*/ 125 h 233"/>
                <a:gd name="T102" fmla="*/ 187 w 215"/>
                <a:gd name="T103" fmla="*/ 134 h 233"/>
                <a:gd name="T104" fmla="*/ 205 w 215"/>
                <a:gd name="T105" fmla="*/ 132 h 233"/>
                <a:gd name="T106" fmla="*/ 211 w 215"/>
                <a:gd name="T107" fmla="*/ 141 h 233"/>
                <a:gd name="T108" fmla="*/ 211 w 215"/>
                <a:gd name="T109" fmla="*/ 15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 h="233">
                  <a:moveTo>
                    <a:pt x="211" y="158"/>
                  </a:moveTo>
                  <a:cubicBezTo>
                    <a:pt x="208" y="166"/>
                    <a:pt x="205" y="168"/>
                    <a:pt x="208" y="176"/>
                  </a:cubicBezTo>
                  <a:cubicBezTo>
                    <a:pt x="208" y="177"/>
                    <a:pt x="208" y="178"/>
                    <a:pt x="208" y="178"/>
                  </a:cubicBezTo>
                  <a:cubicBezTo>
                    <a:pt x="208" y="179"/>
                    <a:pt x="207" y="181"/>
                    <a:pt x="207" y="182"/>
                  </a:cubicBezTo>
                  <a:cubicBezTo>
                    <a:pt x="207" y="184"/>
                    <a:pt x="208" y="186"/>
                    <a:pt x="210" y="190"/>
                  </a:cubicBezTo>
                  <a:cubicBezTo>
                    <a:pt x="212" y="194"/>
                    <a:pt x="211" y="202"/>
                    <a:pt x="210" y="207"/>
                  </a:cubicBezTo>
                  <a:cubicBezTo>
                    <a:pt x="209" y="212"/>
                    <a:pt x="204" y="213"/>
                    <a:pt x="200" y="215"/>
                  </a:cubicBezTo>
                  <a:cubicBezTo>
                    <a:pt x="196" y="217"/>
                    <a:pt x="195" y="221"/>
                    <a:pt x="194" y="223"/>
                  </a:cubicBezTo>
                  <a:cubicBezTo>
                    <a:pt x="194" y="225"/>
                    <a:pt x="189" y="231"/>
                    <a:pt x="185" y="230"/>
                  </a:cubicBezTo>
                  <a:cubicBezTo>
                    <a:pt x="181" y="230"/>
                    <a:pt x="181" y="227"/>
                    <a:pt x="178" y="228"/>
                  </a:cubicBezTo>
                  <a:cubicBezTo>
                    <a:pt x="175" y="228"/>
                    <a:pt x="174" y="233"/>
                    <a:pt x="170" y="233"/>
                  </a:cubicBezTo>
                  <a:cubicBezTo>
                    <a:pt x="165" y="233"/>
                    <a:pt x="157" y="233"/>
                    <a:pt x="151" y="232"/>
                  </a:cubicBezTo>
                  <a:cubicBezTo>
                    <a:pt x="145" y="230"/>
                    <a:pt x="139" y="230"/>
                    <a:pt x="133" y="228"/>
                  </a:cubicBezTo>
                  <a:cubicBezTo>
                    <a:pt x="128" y="226"/>
                    <a:pt x="130" y="226"/>
                    <a:pt x="125" y="227"/>
                  </a:cubicBezTo>
                  <a:cubicBezTo>
                    <a:pt x="121" y="228"/>
                    <a:pt x="121" y="228"/>
                    <a:pt x="117" y="228"/>
                  </a:cubicBezTo>
                  <a:cubicBezTo>
                    <a:pt x="114" y="227"/>
                    <a:pt x="118" y="224"/>
                    <a:pt x="119" y="220"/>
                  </a:cubicBezTo>
                  <a:cubicBezTo>
                    <a:pt x="121" y="217"/>
                    <a:pt x="122" y="216"/>
                    <a:pt x="124" y="212"/>
                  </a:cubicBezTo>
                  <a:cubicBezTo>
                    <a:pt x="126" y="209"/>
                    <a:pt x="125" y="205"/>
                    <a:pt x="124" y="199"/>
                  </a:cubicBezTo>
                  <a:cubicBezTo>
                    <a:pt x="124" y="193"/>
                    <a:pt x="128" y="195"/>
                    <a:pt x="130" y="194"/>
                  </a:cubicBezTo>
                  <a:cubicBezTo>
                    <a:pt x="131" y="192"/>
                    <a:pt x="130" y="189"/>
                    <a:pt x="132" y="186"/>
                  </a:cubicBezTo>
                  <a:cubicBezTo>
                    <a:pt x="133" y="183"/>
                    <a:pt x="135" y="181"/>
                    <a:pt x="135" y="176"/>
                  </a:cubicBezTo>
                  <a:cubicBezTo>
                    <a:pt x="135" y="171"/>
                    <a:pt x="127" y="168"/>
                    <a:pt x="122" y="165"/>
                  </a:cubicBezTo>
                  <a:cubicBezTo>
                    <a:pt x="117" y="162"/>
                    <a:pt x="117" y="162"/>
                    <a:pt x="112" y="159"/>
                  </a:cubicBezTo>
                  <a:cubicBezTo>
                    <a:pt x="106" y="155"/>
                    <a:pt x="102" y="156"/>
                    <a:pt x="97" y="153"/>
                  </a:cubicBezTo>
                  <a:cubicBezTo>
                    <a:pt x="92" y="151"/>
                    <a:pt x="85" y="148"/>
                    <a:pt x="82" y="145"/>
                  </a:cubicBezTo>
                  <a:cubicBezTo>
                    <a:pt x="78" y="141"/>
                    <a:pt x="72" y="138"/>
                    <a:pt x="69" y="137"/>
                  </a:cubicBezTo>
                  <a:cubicBezTo>
                    <a:pt x="67" y="135"/>
                    <a:pt x="62" y="134"/>
                    <a:pt x="50" y="132"/>
                  </a:cubicBezTo>
                  <a:cubicBezTo>
                    <a:pt x="39" y="129"/>
                    <a:pt x="40" y="123"/>
                    <a:pt x="37" y="120"/>
                  </a:cubicBezTo>
                  <a:cubicBezTo>
                    <a:pt x="34" y="117"/>
                    <a:pt x="30" y="115"/>
                    <a:pt x="25" y="111"/>
                  </a:cubicBezTo>
                  <a:cubicBezTo>
                    <a:pt x="19" y="106"/>
                    <a:pt x="18" y="105"/>
                    <a:pt x="14" y="98"/>
                  </a:cubicBezTo>
                  <a:cubicBezTo>
                    <a:pt x="10" y="92"/>
                    <a:pt x="6" y="91"/>
                    <a:pt x="1" y="85"/>
                  </a:cubicBezTo>
                  <a:cubicBezTo>
                    <a:pt x="0" y="83"/>
                    <a:pt x="0" y="80"/>
                    <a:pt x="2" y="77"/>
                  </a:cubicBezTo>
                  <a:cubicBezTo>
                    <a:pt x="4" y="73"/>
                    <a:pt x="4" y="69"/>
                    <a:pt x="4" y="64"/>
                  </a:cubicBezTo>
                  <a:cubicBezTo>
                    <a:pt x="5" y="59"/>
                    <a:pt x="7" y="51"/>
                    <a:pt x="6" y="43"/>
                  </a:cubicBezTo>
                  <a:cubicBezTo>
                    <a:pt x="6" y="35"/>
                    <a:pt x="4" y="31"/>
                    <a:pt x="8" y="26"/>
                  </a:cubicBezTo>
                  <a:cubicBezTo>
                    <a:pt x="11" y="22"/>
                    <a:pt x="13" y="10"/>
                    <a:pt x="17" y="10"/>
                  </a:cubicBezTo>
                  <a:cubicBezTo>
                    <a:pt x="21" y="10"/>
                    <a:pt x="33" y="8"/>
                    <a:pt x="39" y="6"/>
                  </a:cubicBezTo>
                  <a:cubicBezTo>
                    <a:pt x="44" y="4"/>
                    <a:pt x="42" y="5"/>
                    <a:pt x="54" y="4"/>
                  </a:cubicBezTo>
                  <a:cubicBezTo>
                    <a:pt x="65" y="3"/>
                    <a:pt x="70" y="0"/>
                    <a:pt x="74" y="2"/>
                  </a:cubicBezTo>
                  <a:cubicBezTo>
                    <a:pt x="79" y="4"/>
                    <a:pt x="86" y="7"/>
                    <a:pt x="91" y="11"/>
                  </a:cubicBezTo>
                  <a:cubicBezTo>
                    <a:pt x="96" y="14"/>
                    <a:pt x="103" y="15"/>
                    <a:pt x="104" y="19"/>
                  </a:cubicBezTo>
                  <a:cubicBezTo>
                    <a:pt x="104" y="22"/>
                    <a:pt x="104" y="31"/>
                    <a:pt x="106" y="31"/>
                  </a:cubicBezTo>
                  <a:cubicBezTo>
                    <a:pt x="107" y="38"/>
                    <a:pt x="112" y="44"/>
                    <a:pt x="113" y="50"/>
                  </a:cubicBezTo>
                  <a:cubicBezTo>
                    <a:pt x="114" y="57"/>
                    <a:pt x="114" y="64"/>
                    <a:pt x="114" y="71"/>
                  </a:cubicBezTo>
                  <a:cubicBezTo>
                    <a:pt x="114" y="78"/>
                    <a:pt x="112" y="79"/>
                    <a:pt x="119" y="81"/>
                  </a:cubicBezTo>
                  <a:cubicBezTo>
                    <a:pt x="127" y="83"/>
                    <a:pt x="126" y="87"/>
                    <a:pt x="131" y="87"/>
                  </a:cubicBezTo>
                  <a:cubicBezTo>
                    <a:pt x="137" y="87"/>
                    <a:pt x="147" y="85"/>
                    <a:pt x="147" y="85"/>
                  </a:cubicBezTo>
                  <a:cubicBezTo>
                    <a:pt x="147" y="85"/>
                    <a:pt x="152" y="78"/>
                    <a:pt x="156" y="82"/>
                  </a:cubicBezTo>
                  <a:cubicBezTo>
                    <a:pt x="160" y="86"/>
                    <a:pt x="167" y="82"/>
                    <a:pt x="171" y="92"/>
                  </a:cubicBezTo>
                  <a:cubicBezTo>
                    <a:pt x="174" y="101"/>
                    <a:pt x="176" y="96"/>
                    <a:pt x="176" y="108"/>
                  </a:cubicBezTo>
                  <a:cubicBezTo>
                    <a:pt x="176" y="119"/>
                    <a:pt x="178" y="118"/>
                    <a:pt x="180" y="125"/>
                  </a:cubicBezTo>
                  <a:cubicBezTo>
                    <a:pt x="182" y="131"/>
                    <a:pt x="174" y="133"/>
                    <a:pt x="187" y="134"/>
                  </a:cubicBezTo>
                  <a:cubicBezTo>
                    <a:pt x="201" y="135"/>
                    <a:pt x="201" y="129"/>
                    <a:pt x="205" y="132"/>
                  </a:cubicBezTo>
                  <a:cubicBezTo>
                    <a:pt x="210" y="135"/>
                    <a:pt x="212" y="134"/>
                    <a:pt x="211" y="141"/>
                  </a:cubicBezTo>
                  <a:cubicBezTo>
                    <a:pt x="210" y="148"/>
                    <a:pt x="215" y="150"/>
                    <a:pt x="211" y="158"/>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46" name="Freeform 1024">
              <a:extLst>
                <a:ext uri="{FF2B5EF4-FFF2-40B4-BE49-F238E27FC236}">
                  <a16:creationId xmlns:a16="http://schemas.microsoft.com/office/drawing/2014/main" id="{51B9C070-85D1-3640-90F5-367E66118D76}"/>
                </a:ext>
              </a:extLst>
            </p:cNvPr>
            <p:cNvSpPr>
              <a:spLocks/>
            </p:cNvSpPr>
            <p:nvPr/>
          </p:nvSpPr>
          <p:spPr bwMode="auto">
            <a:xfrm>
              <a:off x="2381258" y="3134183"/>
              <a:ext cx="273051" cy="979489"/>
            </a:xfrm>
            <a:custGeom>
              <a:avLst/>
              <a:gdLst>
                <a:gd name="T0" fmla="*/ 267 w 287"/>
                <a:gd name="T1" fmla="*/ 977 h 1027"/>
                <a:gd name="T2" fmla="*/ 248 w 287"/>
                <a:gd name="T3" fmla="*/ 1022 h 1027"/>
                <a:gd name="T4" fmla="*/ 244 w 287"/>
                <a:gd name="T5" fmla="*/ 985 h 1027"/>
                <a:gd name="T6" fmla="*/ 198 w 287"/>
                <a:gd name="T7" fmla="*/ 992 h 1027"/>
                <a:gd name="T8" fmla="*/ 209 w 287"/>
                <a:gd name="T9" fmla="*/ 977 h 1027"/>
                <a:gd name="T10" fmla="*/ 199 w 287"/>
                <a:gd name="T11" fmla="*/ 963 h 1027"/>
                <a:gd name="T12" fmla="*/ 176 w 287"/>
                <a:gd name="T13" fmla="*/ 955 h 1027"/>
                <a:gd name="T14" fmla="*/ 165 w 287"/>
                <a:gd name="T15" fmla="*/ 933 h 1027"/>
                <a:gd name="T16" fmla="*/ 151 w 287"/>
                <a:gd name="T17" fmla="*/ 918 h 1027"/>
                <a:gd name="T18" fmla="*/ 141 w 287"/>
                <a:gd name="T19" fmla="*/ 905 h 1027"/>
                <a:gd name="T20" fmla="*/ 133 w 287"/>
                <a:gd name="T21" fmla="*/ 879 h 1027"/>
                <a:gd name="T22" fmla="*/ 123 w 287"/>
                <a:gd name="T23" fmla="*/ 868 h 1027"/>
                <a:gd name="T24" fmla="*/ 128 w 287"/>
                <a:gd name="T25" fmla="*/ 848 h 1027"/>
                <a:gd name="T26" fmla="*/ 105 w 287"/>
                <a:gd name="T27" fmla="*/ 820 h 1027"/>
                <a:gd name="T28" fmla="*/ 91 w 287"/>
                <a:gd name="T29" fmla="*/ 779 h 1027"/>
                <a:gd name="T30" fmla="*/ 107 w 287"/>
                <a:gd name="T31" fmla="*/ 751 h 1027"/>
                <a:gd name="T32" fmla="*/ 96 w 287"/>
                <a:gd name="T33" fmla="*/ 696 h 1027"/>
                <a:gd name="T34" fmla="*/ 83 w 287"/>
                <a:gd name="T35" fmla="*/ 678 h 1027"/>
                <a:gd name="T36" fmla="*/ 85 w 287"/>
                <a:gd name="T37" fmla="*/ 719 h 1027"/>
                <a:gd name="T38" fmla="*/ 63 w 287"/>
                <a:gd name="T39" fmla="*/ 689 h 1027"/>
                <a:gd name="T40" fmla="*/ 56 w 287"/>
                <a:gd name="T41" fmla="*/ 615 h 1027"/>
                <a:gd name="T42" fmla="*/ 34 w 287"/>
                <a:gd name="T43" fmla="*/ 552 h 1027"/>
                <a:gd name="T44" fmla="*/ 41 w 287"/>
                <a:gd name="T45" fmla="*/ 476 h 1027"/>
                <a:gd name="T46" fmla="*/ 27 w 287"/>
                <a:gd name="T47" fmla="*/ 392 h 1027"/>
                <a:gd name="T48" fmla="*/ 18 w 287"/>
                <a:gd name="T49" fmla="*/ 316 h 1027"/>
                <a:gd name="T50" fmla="*/ 22 w 287"/>
                <a:gd name="T51" fmla="*/ 240 h 1027"/>
                <a:gd name="T52" fmla="*/ 9 w 287"/>
                <a:gd name="T53" fmla="*/ 168 h 1027"/>
                <a:gd name="T54" fmla="*/ 9 w 287"/>
                <a:gd name="T55" fmla="*/ 62 h 1027"/>
                <a:gd name="T56" fmla="*/ 12 w 287"/>
                <a:gd name="T57" fmla="*/ 18 h 1027"/>
                <a:gd name="T58" fmla="*/ 26 w 287"/>
                <a:gd name="T59" fmla="*/ 14 h 1027"/>
                <a:gd name="T60" fmla="*/ 47 w 287"/>
                <a:gd name="T61" fmla="*/ 64 h 1027"/>
                <a:gd name="T62" fmla="*/ 59 w 287"/>
                <a:gd name="T63" fmla="*/ 102 h 1027"/>
                <a:gd name="T64" fmla="*/ 78 w 287"/>
                <a:gd name="T65" fmla="*/ 149 h 1027"/>
                <a:gd name="T66" fmla="*/ 93 w 287"/>
                <a:gd name="T67" fmla="*/ 184 h 1027"/>
                <a:gd name="T68" fmla="*/ 70 w 287"/>
                <a:gd name="T69" fmla="*/ 222 h 1027"/>
                <a:gd name="T70" fmla="*/ 77 w 287"/>
                <a:gd name="T71" fmla="*/ 269 h 1027"/>
                <a:gd name="T72" fmla="*/ 59 w 287"/>
                <a:gd name="T73" fmla="*/ 324 h 1027"/>
                <a:gd name="T74" fmla="*/ 57 w 287"/>
                <a:gd name="T75" fmla="*/ 365 h 1027"/>
                <a:gd name="T76" fmla="*/ 68 w 287"/>
                <a:gd name="T77" fmla="*/ 416 h 1027"/>
                <a:gd name="T78" fmla="*/ 87 w 287"/>
                <a:gd name="T79" fmla="*/ 461 h 1027"/>
                <a:gd name="T80" fmla="*/ 89 w 287"/>
                <a:gd name="T81" fmla="*/ 510 h 1027"/>
                <a:gd name="T82" fmla="*/ 92 w 287"/>
                <a:gd name="T83" fmla="*/ 571 h 1027"/>
                <a:gd name="T84" fmla="*/ 95 w 287"/>
                <a:gd name="T85" fmla="*/ 621 h 1027"/>
                <a:gd name="T86" fmla="*/ 104 w 287"/>
                <a:gd name="T87" fmla="*/ 664 h 1027"/>
                <a:gd name="T88" fmla="*/ 114 w 287"/>
                <a:gd name="T89" fmla="*/ 706 h 1027"/>
                <a:gd name="T90" fmla="*/ 138 w 287"/>
                <a:gd name="T91" fmla="*/ 748 h 1027"/>
                <a:gd name="T92" fmla="*/ 146 w 287"/>
                <a:gd name="T93" fmla="*/ 767 h 1027"/>
                <a:gd name="T94" fmla="*/ 166 w 287"/>
                <a:gd name="T95" fmla="*/ 809 h 1027"/>
                <a:gd name="T96" fmla="*/ 171 w 287"/>
                <a:gd name="T97" fmla="*/ 856 h 1027"/>
                <a:gd name="T98" fmla="*/ 169 w 287"/>
                <a:gd name="T99" fmla="*/ 903 h 1027"/>
                <a:gd name="T100" fmla="*/ 206 w 287"/>
                <a:gd name="T101" fmla="*/ 932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7" h="1027">
                  <a:moveTo>
                    <a:pt x="287" y="963"/>
                  </a:moveTo>
                  <a:cubicBezTo>
                    <a:pt x="286" y="965"/>
                    <a:pt x="286" y="967"/>
                    <a:pt x="285" y="968"/>
                  </a:cubicBezTo>
                  <a:cubicBezTo>
                    <a:pt x="282" y="970"/>
                    <a:pt x="282" y="972"/>
                    <a:pt x="277" y="974"/>
                  </a:cubicBezTo>
                  <a:cubicBezTo>
                    <a:pt x="273" y="975"/>
                    <a:pt x="275" y="975"/>
                    <a:pt x="275" y="977"/>
                  </a:cubicBezTo>
                  <a:cubicBezTo>
                    <a:pt x="274" y="979"/>
                    <a:pt x="276" y="980"/>
                    <a:pt x="267" y="977"/>
                  </a:cubicBezTo>
                  <a:cubicBezTo>
                    <a:pt x="257" y="974"/>
                    <a:pt x="265" y="981"/>
                    <a:pt x="264" y="988"/>
                  </a:cubicBezTo>
                  <a:cubicBezTo>
                    <a:pt x="264" y="994"/>
                    <a:pt x="267" y="996"/>
                    <a:pt x="270" y="1004"/>
                  </a:cubicBezTo>
                  <a:cubicBezTo>
                    <a:pt x="272" y="1013"/>
                    <a:pt x="270" y="1010"/>
                    <a:pt x="266" y="1010"/>
                  </a:cubicBezTo>
                  <a:cubicBezTo>
                    <a:pt x="262" y="1010"/>
                    <a:pt x="257" y="1008"/>
                    <a:pt x="256" y="1010"/>
                  </a:cubicBezTo>
                  <a:cubicBezTo>
                    <a:pt x="255" y="1012"/>
                    <a:pt x="257" y="1017"/>
                    <a:pt x="248" y="1022"/>
                  </a:cubicBezTo>
                  <a:cubicBezTo>
                    <a:pt x="240" y="1027"/>
                    <a:pt x="244" y="1020"/>
                    <a:pt x="238" y="1015"/>
                  </a:cubicBezTo>
                  <a:cubicBezTo>
                    <a:pt x="232" y="1010"/>
                    <a:pt x="239" y="1011"/>
                    <a:pt x="240" y="1007"/>
                  </a:cubicBezTo>
                  <a:cubicBezTo>
                    <a:pt x="241" y="1003"/>
                    <a:pt x="243" y="1001"/>
                    <a:pt x="253" y="992"/>
                  </a:cubicBezTo>
                  <a:cubicBezTo>
                    <a:pt x="263" y="982"/>
                    <a:pt x="258" y="988"/>
                    <a:pt x="259" y="983"/>
                  </a:cubicBezTo>
                  <a:cubicBezTo>
                    <a:pt x="260" y="978"/>
                    <a:pt x="251" y="983"/>
                    <a:pt x="244" y="985"/>
                  </a:cubicBezTo>
                  <a:cubicBezTo>
                    <a:pt x="237" y="987"/>
                    <a:pt x="239" y="993"/>
                    <a:pt x="235" y="993"/>
                  </a:cubicBezTo>
                  <a:cubicBezTo>
                    <a:pt x="231" y="994"/>
                    <a:pt x="233" y="994"/>
                    <a:pt x="233" y="999"/>
                  </a:cubicBezTo>
                  <a:cubicBezTo>
                    <a:pt x="233" y="1005"/>
                    <a:pt x="233" y="1005"/>
                    <a:pt x="227" y="1011"/>
                  </a:cubicBezTo>
                  <a:cubicBezTo>
                    <a:pt x="221" y="1017"/>
                    <a:pt x="218" y="1005"/>
                    <a:pt x="217" y="999"/>
                  </a:cubicBezTo>
                  <a:cubicBezTo>
                    <a:pt x="215" y="994"/>
                    <a:pt x="217" y="999"/>
                    <a:pt x="198" y="992"/>
                  </a:cubicBezTo>
                  <a:cubicBezTo>
                    <a:pt x="180" y="985"/>
                    <a:pt x="192" y="989"/>
                    <a:pt x="191" y="986"/>
                  </a:cubicBezTo>
                  <a:cubicBezTo>
                    <a:pt x="189" y="984"/>
                    <a:pt x="203" y="987"/>
                    <a:pt x="208" y="987"/>
                  </a:cubicBezTo>
                  <a:cubicBezTo>
                    <a:pt x="214" y="987"/>
                    <a:pt x="211" y="988"/>
                    <a:pt x="219" y="988"/>
                  </a:cubicBezTo>
                  <a:cubicBezTo>
                    <a:pt x="226" y="989"/>
                    <a:pt x="222" y="979"/>
                    <a:pt x="219" y="971"/>
                  </a:cubicBezTo>
                  <a:cubicBezTo>
                    <a:pt x="216" y="962"/>
                    <a:pt x="215" y="971"/>
                    <a:pt x="209" y="977"/>
                  </a:cubicBezTo>
                  <a:cubicBezTo>
                    <a:pt x="203" y="983"/>
                    <a:pt x="206" y="979"/>
                    <a:pt x="198" y="979"/>
                  </a:cubicBezTo>
                  <a:cubicBezTo>
                    <a:pt x="189" y="979"/>
                    <a:pt x="200" y="976"/>
                    <a:pt x="200" y="972"/>
                  </a:cubicBezTo>
                  <a:cubicBezTo>
                    <a:pt x="200" y="967"/>
                    <a:pt x="208" y="966"/>
                    <a:pt x="212" y="964"/>
                  </a:cubicBezTo>
                  <a:cubicBezTo>
                    <a:pt x="217" y="962"/>
                    <a:pt x="212" y="957"/>
                    <a:pt x="208" y="955"/>
                  </a:cubicBezTo>
                  <a:cubicBezTo>
                    <a:pt x="204" y="953"/>
                    <a:pt x="203" y="961"/>
                    <a:pt x="199" y="963"/>
                  </a:cubicBezTo>
                  <a:cubicBezTo>
                    <a:pt x="196" y="966"/>
                    <a:pt x="196" y="963"/>
                    <a:pt x="188" y="971"/>
                  </a:cubicBezTo>
                  <a:cubicBezTo>
                    <a:pt x="180" y="978"/>
                    <a:pt x="184" y="980"/>
                    <a:pt x="179" y="975"/>
                  </a:cubicBezTo>
                  <a:cubicBezTo>
                    <a:pt x="173" y="969"/>
                    <a:pt x="177" y="971"/>
                    <a:pt x="181" y="963"/>
                  </a:cubicBezTo>
                  <a:cubicBezTo>
                    <a:pt x="184" y="954"/>
                    <a:pt x="182" y="959"/>
                    <a:pt x="179" y="947"/>
                  </a:cubicBezTo>
                  <a:cubicBezTo>
                    <a:pt x="176" y="935"/>
                    <a:pt x="176" y="949"/>
                    <a:pt x="176" y="955"/>
                  </a:cubicBezTo>
                  <a:cubicBezTo>
                    <a:pt x="176" y="962"/>
                    <a:pt x="173" y="961"/>
                    <a:pt x="168" y="966"/>
                  </a:cubicBezTo>
                  <a:cubicBezTo>
                    <a:pt x="163" y="970"/>
                    <a:pt x="166" y="965"/>
                    <a:pt x="161" y="956"/>
                  </a:cubicBezTo>
                  <a:cubicBezTo>
                    <a:pt x="156" y="946"/>
                    <a:pt x="162" y="953"/>
                    <a:pt x="165" y="951"/>
                  </a:cubicBezTo>
                  <a:cubicBezTo>
                    <a:pt x="168" y="948"/>
                    <a:pt x="167" y="945"/>
                    <a:pt x="170" y="941"/>
                  </a:cubicBezTo>
                  <a:cubicBezTo>
                    <a:pt x="174" y="937"/>
                    <a:pt x="168" y="935"/>
                    <a:pt x="165" y="933"/>
                  </a:cubicBezTo>
                  <a:cubicBezTo>
                    <a:pt x="162" y="931"/>
                    <a:pt x="164" y="937"/>
                    <a:pt x="160" y="944"/>
                  </a:cubicBezTo>
                  <a:cubicBezTo>
                    <a:pt x="155" y="951"/>
                    <a:pt x="154" y="949"/>
                    <a:pt x="147" y="944"/>
                  </a:cubicBezTo>
                  <a:cubicBezTo>
                    <a:pt x="140" y="939"/>
                    <a:pt x="153" y="933"/>
                    <a:pt x="154" y="929"/>
                  </a:cubicBezTo>
                  <a:cubicBezTo>
                    <a:pt x="156" y="926"/>
                    <a:pt x="160" y="921"/>
                    <a:pt x="159" y="918"/>
                  </a:cubicBezTo>
                  <a:cubicBezTo>
                    <a:pt x="159" y="914"/>
                    <a:pt x="155" y="915"/>
                    <a:pt x="151" y="918"/>
                  </a:cubicBezTo>
                  <a:cubicBezTo>
                    <a:pt x="147" y="920"/>
                    <a:pt x="148" y="921"/>
                    <a:pt x="142" y="926"/>
                  </a:cubicBezTo>
                  <a:cubicBezTo>
                    <a:pt x="136" y="931"/>
                    <a:pt x="140" y="923"/>
                    <a:pt x="140" y="917"/>
                  </a:cubicBezTo>
                  <a:cubicBezTo>
                    <a:pt x="139" y="912"/>
                    <a:pt x="145" y="913"/>
                    <a:pt x="149" y="910"/>
                  </a:cubicBezTo>
                  <a:cubicBezTo>
                    <a:pt x="153" y="908"/>
                    <a:pt x="150" y="903"/>
                    <a:pt x="149" y="897"/>
                  </a:cubicBezTo>
                  <a:cubicBezTo>
                    <a:pt x="149" y="892"/>
                    <a:pt x="147" y="897"/>
                    <a:pt x="141" y="905"/>
                  </a:cubicBezTo>
                  <a:cubicBezTo>
                    <a:pt x="136" y="912"/>
                    <a:pt x="137" y="910"/>
                    <a:pt x="129" y="908"/>
                  </a:cubicBezTo>
                  <a:cubicBezTo>
                    <a:pt x="120" y="906"/>
                    <a:pt x="127" y="903"/>
                    <a:pt x="131" y="897"/>
                  </a:cubicBezTo>
                  <a:cubicBezTo>
                    <a:pt x="134" y="892"/>
                    <a:pt x="136" y="893"/>
                    <a:pt x="141" y="893"/>
                  </a:cubicBezTo>
                  <a:cubicBezTo>
                    <a:pt x="147" y="893"/>
                    <a:pt x="143" y="891"/>
                    <a:pt x="141" y="884"/>
                  </a:cubicBezTo>
                  <a:cubicBezTo>
                    <a:pt x="140" y="877"/>
                    <a:pt x="136" y="879"/>
                    <a:pt x="133" y="879"/>
                  </a:cubicBezTo>
                  <a:cubicBezTo>
                    <a:pt x="130" y="878"/>
                    <a:pt x="132" y="879"/>
                    <a:pt x="127" y="888"/>
                  </a:cubicBezTo>
                  <a:cubicBezTo>
                    <a:pt x="121" y="897"/>
                    <a:pt x="121" y="891"/>
                    <a:pt x="115" y="888"/>
                  </a:cubicBezTo>
                  <a:cubicBezTo>
                    <a:pt x="110" y="886"/>
                    <a:pt x="109" y="877"/>
                    <a:pt x="118" y="875"/>
                  </a:cubicBezTo>
                  <a:cubicBezTo>
                    <a:pt x="127" y="874"/>
                    <a:pt x="127" y="875"/>
                    <a:pt x="132" y="871"/>
                  </a:cubicBezTo>
                  <a:cubicBezTo>
                    <a:pt x="137" y="867"/>
                    <a:pt x="128" y="868"/>
                    <a:pt x="123" y="868"/>
                  </a:cubicBezTo>
                  <a:cubicBezTo>
                    <a:pt x="118" y="868"/>
                    <a:pt x="112" y="869"/>
                    <a:pt x="108" y="865"/>
                  </a:cubicBezTo>
                  <a:cubicBezTo>
                    <a:pt x="105" y="862"/>
                    <a:pt x="107" y="858"/>
                    <a:pt x="109" y="854"/>
                  </a:cubicBezTo>
                  <a:cubicBezTo>
                    <a:pt x="111" y="851"/>
                    <a:pt x="118" y="854"/>
                    <a:pt x="123" y="854"/>
                  </a:cubicBezTo>
                  <a:cubicBezTo>
                    <a:pt x="127" y="854"/>
                    <a:pt x="132" y="854"/>
                    <a:pt x="137" y="853"/>
                  </a:cubicBezTo>
                  <a:cubicBezTo>
                    <a:pt x="142" y="852"/>
                    <a:pt x="130" y="850"/>
                    <a:pt x="128" y="848"/>
                  </a:cubicBezTo>
                  <a:cubicBezTo>
                    <a:pt x="127" y="847"/>
                    <a:pt x="123" y="846"/>
                    <a:pt x="115" y="841"/>
                  </a:cubicBezTo>
                  <a:cubicBezTo>
                    <a:pt x="107" y="836"/>
                    <a:pt x="115" y="835"/>
                    <a:pt x="120" y="832"/>
                  </a:cubicBezTo>
                  <a:cubicBezTo>
                    <a:pt x="125" y="830"/>
                    <a:pt x="119" y="826"/>
                    <a:pt x="117" y="820"/>
                  </a:cubicBezTo>
                  <a:cubicBezTo>
                    <a:pt x="115" y="814"/>
                    <a:pt x="117" y="815"/>
                    <a:pt x="115" y="812"/>
                  </a:cubicBezTo>
                  <a:cubicBezTo>
                    <a:pt x="113" y="808"/>
                    <a:pt x="110" y="813"/>
                    <a:pt x="105" y="820"/>
                  </a:cubicBezTo>
                  <a:cubicBezTo>
                    <a:pt x="99" y="826"/>
                    <a:pt x="98" y="819"/>
                    <a:pt x="93" y="816"/>
                  </a:cubicBezTo>
                  <a:cubicBezTo>
                    <a:pt x="87" y="813"/>
                    <a:pt x="91" y="812"/>
                    <a:pt x="89" y="811"/>
                  </a:cubicBezTo>
                  <a:cubicBezTo>
                    <a:pt x="88" y="809"/>
                    <a:pt x="88" y="804"/>
                    <a:pt x="89" y="795"/>
                  </a:cubicBezTo>
                  <a:cubicBezTo>
                    <a:pt x="90" y="785"/>
                    <a:pt x="92" y="792"/>
                    <a:pt x="97" y="787"/>
                  </a:cubicBezTo>
                  <a:cubicBezTo>
                    <a:pt x="103" y="782"/>
                    <a:pt x="95" y="783"/>
                    <a:pt x="91" y="779"/>
                  </a:cubicBezTo>
                  <a:cubicBezTo>
                    <a:pt x="86" y="774"/>
                    <a:pt x="91" y="768"/>
                    <a:pt x="95" y="767"/>
                  </a:cubicBezTo>
                  <a:cubicBezTo>
                    <a:pt x="100" y="766"/>
                    <a:pt x="95" y="767"/>
                    <a:pt x="105" y="781"/>
                  </a:cubicBezTo>
                  <a:cubicBezTo>
                    <a:pt x="115" y="795"/>
                    <a:pt x="111" y="781"/>
                    <a:pt x="112" y="774"/>
                  </a:cubicBezTo>
                  <a:cubicBezTo>
                    <a:pt x="113" y="767"/>
                    <a:pt x="110" y="766"/>
                    <a:pt x="105" y="761"/>
                  </a:cubicBezTo>
                  <a:cubicBezTo>
                    <a:pt x="100" y="755"/>
                    <a:pt x="110" y="754"/>
                    <a:pt x="107" y="751"/>
                  </a:cubicBezTo>
                  <a:cubicBezTo>
                    <a:pt x="104" y="748"/>
                    <a:pt x="106" y="742"/>
                    <a:pt x="107" y="739"/>
                  </a:cubicBezTo>
                  <a:cubicBezTo>
                    <a:pt x="108" y="736"/>
                    <a:pt x="105" y="734"/>
                    <a:pt x="103" y="731"/>
                  </a:cubicBezTo>
                  <a:cubicBezTo>
                    <a:pt x="100" y="728"/>
                    <a:pt x="100" y="724"/>
                    <a:pt x="98" y="719"/>
                  </a:cubicBezTo>
                  <a:cubicBezTo>
                    <a:pt x="97" y="715"/>
                    <a:pt x="99" y="711"/>
                    <a:pt x="98" y="709"/>
                  </a:cubicBezTo>
                  <a:cubicBezTo>
                    <a:pt x="98" y="708"/>
                    <a:pt x="99" y="702"/>
                    <a:pt x="96" y="696"/>
                  </a:cubicBezTo>
                  <a:cubicBezTo>
                    <a:pt x="93" y="690"/>
                    <a:pt x="96" y="693"/>
                    <a:pt x="98" y="692"/>
                  </a:cubicBezTo>
                  <a:cubicBezTo>
                    <a:pt x="100" y="691"/>
                    <a:pt x="97" y="687"/>
                    <a:pt x="92" y="684"/>
                  </a:cubicBezTo>
                  <a:cubicBezTo>
                    <a:pt x="86" y="681"/>
                    <a:pt x="93" y="680"/>
                    <a:pt x="93" y="678"/>
                  </a:cubicBezTo>
                  <a:cubicBezTo>
                    <a:pt x="94" y="676"/>
                    <a:pt x="90" y="674"/>
                    <a:pt x="87" y="672"/>
                  </a:cubicBezTo>
                  <a:cubicBezTo>
                    <a:pt x="85" y="670"/>
                    <a:pt x="83" y="672"/>
                    <a:pt x="83" y="678"/>
                  </a:cubicBezTo>
                  <a:cubicBezTo>
                    <a:pt x="83" y="684"/>
                    <a:pt x="79" y="680"/>
                    <a:pt x="75" y="681"/>
                  </a:cubicBezTo>
                  <a:cubicBezTo>
                    <a:pt x="70" y="682"/>
                    <a:pt x="75" y="684"/>
                    <a:pt x="80" y="692"/>
                  </a:cubicBezTo>
                  <a:cubicBezTo>
                    <a:pt x="84" y="700"/>
                    <a:pt x="80" y="696"/>
                    <a:pt x="79" y="703"/>
                  </a:cubicBezTo>
                  <a:cubicBezTo>
                    <a:pt x="78" y="710"/>
                    <a:pt x="82" y="707"/>
                    <a:pt x="85" y="710"/>
                  </a:cubicBezTo>
                  <a:cubicBezTo>
                    <a:pt x="88" y="713"/>
                    <a:pt x="88" y="713"/>
                    <a:pt x="85" y="719"/>
                  </a:cubicBezTo>
                  <a:cubicBezTo>
                    <a:pt x="82" y="726"/>
                    <a:pt x="84" y="724"/>
                    <a:pt x="81" y="725"/>
                  </a:cubicBezTo>
                  <a:cubicBezTo>
                    <a:pt x="77" y="726"/>
                    <a:pt x="75" y="724"/>
                    <a:pt x="71" y="722"/>
                  </a:cubicBezTo>
                  <a:cubicBezTo>
                    <a:pt x="68" y="719"/>
                    <a:pt x="67" y="715"/>
                    <a:pt x="68" y="711"/>
                  </a:cubicBezTo>
                  <a:cubicBezTo>
                    <a:pt x="68" y="707"/>
                    <a:pt x="67" y="702"/>
                    <a:pt x="67" y="702"/>
                  </a:cubicBezTo>
                  <a:cubicBezTo>
                    <a:pt x="67" y="702"/>
                    <a:pt x="64" y="695"/>
                    <a:pt x="63" y="689"/>
                  </a:cubicBezTo>
                  <a:cubicBezTo>
                    <a:pt x="61" y="683"/>
                    <a:pt x="64" y="682"/>
                    <a:pt x="68" y="682"/>
                  </a:cubicBezTo>
                  <a:cubicBezTo>
                    <a:pt x="72" y="681"/>
                    <a:pt x="67" y="679"/>
                    <a:pt x="60" y="673"/>
                  </a:cubicBezTo>
                  <a:cubicBezTo>
                    <a:pt x="52" y="667"/>
                    <a:pt x="57" y="663"/>
                    <a:pt x="54" y="657"/>
                  </a:cubicBezTo>
                  <a:cubicBezTo>
                    <a:pt x="51" y="651"/>
                    <a:pt x="50" y="642"/>
                    <a:pt x="51" y="635"/>
                  </a:cubicBezTo>
                  <a:cubicBezTo>
                    <a:pt x="51" y="627"/>
                    <a:pt x="53" y="625"/>
                    <a:pt x="56" y="615"/>
                  </a:cubicBezTo>
                  <a:cubicBezTo>
                    <a:pt x="58" y="605"/>
                    <a:pt x="51" y="607"/>
                    <a:pt x="46" y="603"/>
                  </a:cubicBezTo>
                  <a:cubicBezTo>
                    <a:pt x="42" y="599"/>
                    <a:pt x="42" y="591"/>
                    <a:pt x="38" y="587"/>
                  </a:cubicBezTo>
                  <a:cubicBezTo>
                    <a:pt x="35" y="582"/>
                    <a:pt x="39" y="579"/>
                    <a:pt x="34" y="574"/>
                  </a:cubicBezTo>
                  <a:cubicBezTo>
                    <a:pt x="28" y="568"/>
                    <a:pt x="30" y="563"/>
                    <a:pt x="27" y="558"/>
                  </a:cubicBezTo>
                  <a:cubicBezTo>
                    <a:pt x="23" y="553"/>
                    <a:pt x="30" y="554"/>
                    <a:pt x="34" y="552"/>
                  </a:cubicBezTo>
                  <a:cubicBezTo>
                    <a:pt x="38" y="550"/>
                    <a:pt x="36" y="548"/>
                    <a:pt x="33" y="543"/>
                  </a:cubicBezTo>
                  <a:cubicBezTo>
                    <a:pt x="31" y="538"/>
                    <a:pt x="34" y="539"/>
                    <a:pt x="36" y="530"/>
                  </a:cubicBezTo>
                  <a:cubicBezTo>
                    <a:pt x="39" y="521"/>
                    <a:pt x="36" y="521"/>
                    <a:pt x="36" y="513"/>
                  </a:cubicBezTo>
                  <a:cubicBezTo>
                    <a:pt x="36" y="506"/>
                    <a:pt x="36" y="503"/>
                    <a:pt x="42" y="499"/>
                  </a:cubicBezTo>
                  <a:cubicBezTo>
                    <a:pt x="47" y="494"/>
                    <a:pt x="46" y="488"/>
                    <a:pt x="41" y="476"/>
                  </a:cubicBezTo>
                  <a:cubicBezTo>
                    <a:pt x="36" y="464"/>
                    <a:pt x="43" y="462"/>
                    <a:pt x="46" y="455"/>
                  </a:cubicBezTo>
                  <a:cubicBezTo>
                    <a:pt x="48" y="448"/>
                    <a:pt x="44" y="449"/>
                    <a:pt x="42" y="441"/>
                  </a:cubicBezTo>
                  <a:cubicBezTo>
                    <a:pt x="40" y="433"/>
                    <a:pt x="42" y="431"/>
                    <a:pt x="42" y="423"/>
                  </a:cubicBezTo>
                  <a:cubicBezTo>
                    <a:pt x="42" y="415"/>
                    <a:pt x="37" y="415"/>
                    <a:pt x="36" y="410"/>
                  </a:cubicBezTo>
                  <a:cubicBezTo>
                    <a:pt x="36" y="404"/>
                    <a:pt x="30" y="399"/>
                    <a:pt x="27" y="392"/>
                  </a:cubicBezTo>
                  <a:cubicBezTo>
                    <a:pt x="25" y="385"/>
                    <a:pt x="25" y="378"/>
                    <a:pt x="22" y="372"/>
                  </a:cubicBezTo>
                  <a:cubicBezTo>
                    <a:pt x="19" y="366"/>
                    <a:pt x="19" y="362"/>
                    <a:pt x="25" y="354"/>
                  </a:cubicBezTo>
                  <a:cubicBezTo>
                    <a:pt x="30" y="346"/>
                    <a:pt x="26" y="346"/>
                    <a:pt x="26" y="340"/>
                  </a:cubicBezTo>
                  <a:cubicBezTo>
                    <a:pt x="25" y="333"/>
                    <a:pt x="23" y="334"/>
                    <a:pt x="18" y="329"/>
                  </a:cubicBezTo>
                  <a:cubicBezTo>
                    <a:pt x="13" y="323"/>
                    <a:pt x="18" y="323"/>
                    <a:pt x="18" y="316"/>
                  </a:cubicBezTo>
                  <a:cubicBezTo>
                    <a:pt x="17" y="309"/>
                    <a:pt x="21" y="309"/>
                    <a:pt x="21" y="304"/>
                  </a:cubicBezTo>
                  <a:cubicBezTo>
                    <a:pt x="22" y="299"/>
                    <a:pt x="19" y="297"/>
                    <a:pt x="20" y="290"/>
                  </a:cubicBezTo>
                  <a:cubicBezTo>
                    <a:pt x="21" y="284"/>
                    <a:pt x="24" y="282"/>
                    <a:pt x="23" y="276"/>
                  </a:cubicBezTo>
                  <a:cubicBezTo>
                    <a:pt x="22" y="270"/>
                    <a:pt x="23" y="262"/>
                    <a:pt x="23" y="258"/>
                  </a:cubicBezTo>
                  <a:cubicBezTo>
                    <a:pt x="23" y="254"/>
                    <a:pt x="29" y="252"/>
                    <a:pt x="22" y="240"/>
                  </a:cubicBezTo>
                  <a:cubicBezTo>
                    <a:pt x="15" y="227"/>
                    <a:pt x="20" y="230"/>
                    <a:pt x="22" y="225"/>
                  </a:cubicBezTo>
                  <a:cubicBezTo>
                    <a:pt x="23" y="220"/>
                    <a:pt x="27" y="217"/>
                    <a:pt x="23" y="210"/>
                  </a:cubicBezTo>
                  <a:cubicBezTo>
                    <a:pt x="19" y="202"/>
                    <a:pt x="21" y="201"/>
                    <a:pt x="18" y="192"/>
                  </a:cubicBezTo>
                  <a:cubicBezTo>
                    <a:pt x="16" y="184"/>
                    <a:pt x="15" y="184"/>
                    <a:pt x="17" y="179"/>
                  </a:cubicBezTo>
                  <a:cubicBezTo>
                    <a:pt x="20" y="173"/>
                    <a:pt x="15" y="172"/>
                    <a:pt x="9" y="168"/>
                  </a:cubicBezTo>
                  <a:cubicBezTo>
                    <a:pt x="3" y="164"/>
                    <a:pt x="14" y="160"/>
                    <a:pt x="17" y="155"/>
                  </a:cubicBezTo>
                  <a:cubicBezTo>
                    <a:pt x="20" y="150"/>
                    <a:pt x="18" y="137"/>
                    <a:pt x="19" y="123"/>
                  </a:cubicBezTo>
                  <a:cubicBezTo>
                    <a:pt x="21" y="109"/>
                    <a:pt x="20" y="113"/>
                    <a:pt x="17" y="104"/>
                  </a:cubicBezTo>
                  <a:cubicBezTo>
                    <a:pt x="15" y="95"/>
                    <a:pt x="11" y="90"/>
                    <a:pt x="11" y="80"/>
                  </a:cubicBezTo>
                  <a:cubicBezTo>
                    <a:pt x="11" y="70"/>
                    <a:pt x="11" y="70"/>
                    <a:pt x="9" y="62"/>
                  </a:cubicBezTo>
                  <a:cubicBezTo>
                    <a:pt x="6" y="54"/>
                    <a:pt x="8" y="51"/>
                    <a:pt x="4" y="41"/>
                  </a:cubicBezTo>
                  <a:cubicBezTo>
                    <a:pt x="1" y="31"/>
                    <a:pt x="5" y="31"/>
                    <a:pt x="0" y="24"/>
                  </a:cubicBezTo>
                  <a:cubicBezTo>
                    <a:pt x="0" y="24"/>
                    <a:pt x="0" y="24"/>
                    <a:pt x="0" y="24"/>
                  </a:cubicBezTo>
                  <a:cubicBezTo>
                    <a:pt x="1" y="23"/>
                    <a:pt x="3" y="23"/>
                    <a:pt x="4" y="23"/>
                  </a:cubicBezTo>
                  <a:cubicBezTo>
                    <a:pt x="7" y="22"/>
                    <a:pt x="8" y="21"/>
                    <a:pt x="12" y="18"/>
                  </a:cubicBezTo>
                  <a:cubicBezTo>
                    <a:pt x="15" y="16"/>
                    <a:pt x="12" y="13"/>
                    <a:pt x="11" y="10"/>
                  </a:cubicBezTo>
                  <a:cubicBezTo>
                    <a:pt x="9" y="7"/>
                    <a:pt x="13" y="5"/>
                    <a:pt x="15" y="3"/>
                  </a:cubicBezTo>
                  <a:cubicBezTo>
                    <a:pt x="17" y="1"/>
                    <a:pt x="18" y="1"/>
                    <a:pt x="19" y="0"/>
                  </a:cubicBezTo>
                  <a:cubicBezTo>
                    <a:pt x="20" y="2"/>
                    <a:pt x="22" y="4"/>
                    <a:pt x="23" y="6"/>
                  </a:cubicBezTo>
                  <a:cubicBezTo>
                    <a:pt x="24" y="9"/>
                    <a:pt x="25" y="10"/>
                    <a:pt x="26" y="14"/>
                  </a:cubicBezTo>
                  <a:cubicBezTo>
                    <a:pt x="28" y="17"/>
                    <a:pt x="29" y="16"/>
                    <a:pt x="29" y="18"/>
                  </a:cubicBezTo>
                  <a:cubicBezTo>
                    <a:pt x="30" y="21"/>
                    <a:pt x="32" y="22"/>
                    <a:pt x="32" y="29"/>
                  </a:cubicBezTo>
                  <a:cubicBezTo>
                    <a:pt x="32" y="35"/>
                    <a:pt x="39" y="41"/>
                    <a:pt x="41" y="44"/>
                  </a:cubicBezTo>
                  <a:cubicBezTo>
                    <a:pt x="43" y="48"/>
                    <a:pt x="49" y="49"/>
                    <a:pt x="49" y="53"/>
                  </a:cubicBezTo>
                  <a:cubicBezTo>
                    <a:pt x="50" y="58"/>
                    <a:pt x="46" y="61"/>
                    <a:pt x="47" y="64"/>
                  </a:cubicBezTo>
                  <a:cubicBezTo>
                    <a:pt x="48" y="68"/>
                    <a:pt x="52" y="71"/>
                    <a:pt x="49" y="72"/>
                  </a:cubicBezTo>
                  <a:cubicBezTo>
                    <a:pt x="47" y="74"/>
                    <a:pt x="46" y="77"/>
                    <a:pt x="46" y="79"/>
                  </a:cubicBezTo>
                  <a:cubicBezTo>
                    <a:pt x="47" y="82"/>
                    <a:pt x="50" y="86"/>
                    <a:pt x="51" y="88"/>
                  </a:cubicBezTo>
                  <a:cubicBezTo>
                    <a:pt x="52" y="91"/>
                    <a:pt x="51" y="94"/>
                    <a:pt x="53" y="96"/>
                  </a:cubicBezTo>
                  <a:cubicBezTo>
                    <a:pt x="55" y="97"/>
                    <a:pt x="57" y="98"/>
                    <a:pt x="59" y="102"/>
                  </a:cubicBezTo>
                  <a:cubicBezTo>
                    <a:pt x="61" y="106"/>
                    <a:pt x="63" y="107"/>
                    <a:pt x="63" y="110"/>
                  </a:cubicBezTo>
                  <a:cubicBezTo>
                    <a:pt x="64" y="113"/>
                    <a:pt x="65" y="115"/>
                    <a:pt x="67" y="120"/>
                  </a:cubicBezTo>
                  <a:cubicBezTo>
                    <a:pt x="68" y="124"/>
                    <a:pt x="69" y="128"/>
                    <a:pt x="70" y="130"/>
                  </a:cubicBezTo>
                  <a:cubicBezTo>
                    <a:pt x="70" y="132"/>
                    <a:pt x="74" y="134"/>
                    <a:pt x="74" y="138"/>
                  </a:cubicBezTo>
                  <a:cubicBezTo>
                    <a:pt x="75" y="141"/>
                    <a:pt x="75" y="149"/>
                    <a:pt x="78" y="149"/>
                  </a:cubicBezTo>
                  <a:cubicBezTo>
                    <a:pt x="82" y="150"/>
                    <a:pt x="83" y="150"/>
                    <a:pt x="88" y="150"/>
                  </a:cubicBezTo>
                  <a:cubicBezTo>
                    <a:pt x="90" y="150"/>
                    <a:pt x="91" y="150"/>
                    <a:pt x="93" y="149"/>
                  </a:cubicBezTo>
                  <a:cubicBezTo>
                    <a:pt x="95" y="149"/>
                    <a:pt x="97" y="148"/>
                    <a:pt x="97" y="152"/>
                  </a:cubicBezTo>
                  <a:cubicBezTo>
                    <a:pt x="97" y="158"/>
                    <a:pt x="96" y="166"/>
                    <a:pt x="96" y="169"/>
                  </a:cubicBezTo>
                  <a:cubicBezTo>
                    <a:pt x="96" y="172"/>
                    <a:pt x="96" y="181"/>
                    <a:pt x="93" y="184"/>
                  </a:cubicBezTo>
                  <a:cubicBezTo>
                    <a:pt x="90" y="187"/>
                    <a:pt x="88" y="187"/>
                    <a:pt x="83" y="190"/>
                  </a:cubicBezTo>
                  <a:cubicBezTo>
                    <a:pt x="78" y="192"/>
                    <a:pt x="69" y="195"/>
                    <a:pt x="69" y="198"/>
                  </a:cubicBezTo>
                  <a:cubicBezTo>
                    <a:pt x="68" y="202"/>
                    <a:pt x="66" y="205"/>
                    <a:pt x="68" y="207"/>
                  </a:cubicBezTo>
                  <a:cubicBezTo>
                    <a:pt x="70" y="209"/>
                    <a:pt x="74" y="211"/>
                    <a:pt x="71" y="214"/>
                  </a:cubicBezTo>
                  <a:cubicBezTo>
                    <a:pt x="68" y="217"/>
                    <a:pt x="69" y="219"/>
                    <a:pt x="70" y="222"/>
                  </a:cubicBezTo>
                  <a:cubicBezTo>
                    <a:pt x="71" y="225"/>
                    <a:pt x="70" y="226"/>
                    <a:pt x="72" y="229"/>
                  </a:cubicBezTo>
                  <a:cubicBezTo>
                    <a:pt x="74" y="232"/>
                    <a:pt x="78" y="240"/>
                    <a:pt x="76" y="243"/>
                  </a:cubicBezTo>
                  <a:cubicBezTo>
                    <a:pt x="75" y="245"/>
                    <a:pt x="70" y="248"/>
                    <a:pt x="75" y="254"/>
                  </a:cubicBezTo>
                  <a:cubicBezTo>
                    <a:pt x="79" y="259"/>
                    <a:pt x="86" y="260"/>
                    <a:pt x="83" y="264"/>
                  </a:cubicBezTo>
                  <a:cubicBezTo>
                    <a:pt x="81" y="268"/>
                    <a:pt x="82" y="268"/>
                    <a:pt x="77" y="269"/>
                  </a:cubicBezTo>
                  <a:cubicBezTo>
                    <a:pt x="73" y="271"/>
                    <a:pt x="72" y="270"/>
                    <a:pt x="71" y="275"/>
                  </a:cubicBezTo>
                  <a:cubicBezTo>
                    <a:pt x="70" y="281"/>
                    <a:pt x="70" y="283"/>
                    <a:pt x="68" y="287"/>
                  </a:cubicBezTo>
                  <a:cubicBezTo>
                    <a:pt x="65" y="291"/>
                    <a:pt x="65" y="294"/>
                    <a:pt x="63" y="297"/>
                  </a:cubicBezTo>
                  <a:cubicBezTo>
                    <a:pt x="62" y="300"/>
                    <a:pt x="59" y="299"/>
                    <a:pt x="59" y="305"/>
                  </a:cubicBezTo>
                  <a:cubicBezTo>
                    <a:pt x="59" y="311"/>
                    <a:pt x="62" y="321"/>
                    <a:pt x="59" y="324"/>
                  </a:cubicBezTo>
                  <a:cubicBezTo>
                    <a:pt x="56" y="327"/>
                    <a:pt x="55" y="327"/>
                    <a:pt x="55" y="331"/>
                  </a:cubicBezTo>
                  <a:cubicBezTo>
                    <a:pt x="55" y="334"/>
                    <a:pt x="53" y="334"/>
                    <a:pt x="56" y="338"/>
                  </a:cubicBezTo>
                  <a:cubicBezTo>
                    <a:pt x="58" y="342"/>
                    <a:pt x="59" y="345"/>
                    <a:pt x="61" y="349"/>
                  </a:cubicBezTo>
                  <a:cubicBezTo>
                    <a:pt x="62" y="352"/>
                    <a:pt x="65" y="355"/>
                    <a:pt x="62" y="358"/>
                  </a:cubicBezTo>
                  <a:cubicBezTo>
                    <a:pt x="59" y="361"/>
                    <a:pt x="57" y="362"/>
                    <a:pt x="57" y="365"/>
                  </a:cubicBezTo>
                  <a:cubicBezTo>
                    <a:pt x="57" y="369"/>
                    <a:pt x="57" y="375"/>
                    <a:pt x="57" y="380"/>
                  </a:cubicBezTo>
                  <a:cubicBezTo>
                    <a:pt x="56" y="385"/>
                    <a:pt x="53" y="385"/>
                    <a:pt x="54" y="389"/>
                  </a:cubicBezTo>
                  <a:cubicBezTo>
                    <a:pt x="55" y="393"/>
                    <a:pt x="55" y="394"/>
                    <a:pt x="58" y="398"/>
                  </a:cubicBezTo>
                  <a:cubicBezTo>
                    <a:pt x="61" y="402"/>
                    <a:pt x="67" y="406"/>
                    <a:pt x="67" y="409"/>
                  </a:cubicBezTo>
                  <a:cubicBezTo>
                    <a:pt x="67" y="412"/>
                    <a:pt x="66" y="413"/>
                    <a:pt x="68" y="416"/>
                  </a:cubicBezTo>
                  <a:cubicBezTo>
                    <a:pt x="70" y="418"/>
                    <a:pt x="72" y="419"/>
                    <a:pt x="73" y="424"/>
                  </a:cubicBezTo>
                  <a:cubicBezTo>
                    <a:pt x="74" y="428"/>
                    <a:pt x="78" y="432"/>
                    <a:pt x="78" y="435"/>
                  </a:cubicBezTo>
                  <a:cubicBezTo>
                    <a:pt x="78" y="438"/>
                    <a:pt x="79" y="440"/>
                    <a:pt x="82" y="441"/>
                  </a:cubicBezTo>
                  <a:cubicBezTo>
                    <a:pt x="84" y="443"/>
                    <a:pt x="87" y="448"/>
                    <a:pt x="87" y="449"/>
                  </a:cubicBezTo>
                  <a:cubicBezTo>
                    <a:pt x="87" y="451"/>
                    <a:pt x="85" y="456"/>
                    <a:pt x="87" y="461"/>
                  </a:cubicBezTo>
                  <a:cubicBezTo>
                    <a:pt x="89" y="465"/>
                    <a:pt x="94" y="469"/>
                    <a:pt x="90" y="471"/>
                  </a:cubicBezTo>
                  <a:cubicBezTo>
                    <a:pt x="87" y="473"/>
                    <a:pt x="85" y="473"/>
                    <a:pt x="86" y="477"/>
                  </a:cubicBezTo>
                  <a:cubicBezTo>
                    <a:pt x="86" y="482"/>
                    <a:pt x="87" y="483"/>
                    <a:pt x="86" y="490"/>
                  </a:cubicBezTo>
                  <a:cubicBezTo>
                    <a:pt x="84" y="496"/>
                    <a:pt x="81" y="493"/>
                    <a:pt x="84" y="499"/>
                  </a:cubicBezTo>
                  <a:cubicBezTo>
                    <a:pt x="87" y="504"/>
                    <a:pt x="87" y="505"/>
                    <a:pt x="89" y="510"/>
                  </a:cubicBezTo>
                  <a:cubicBezTo>
                    <a:pt x="92" y="514"/>
                    <a:pt x="94" y="517"/>
                    <a:pt x="92" y="521"/>
                  </a:cubicBezTo>
                  <a:cubicBezTo>
                    <a:pt x="90" y="525"/>
                    <a:pt x="84" y="526"/>
                    <a:pt x="84" y="531"/>
                  </a:cubicBezTo>
                  <a:cubicBezTo>
                    <a:pt x="84" y="536"/>
                    <a:pt x="82" y="542"/>
                    <a:pt x="83" y="547"/>
                  </a:cubicBezTo>
                  <a:cubicBezTo>
                    <a:pt x="83" y="552"/>
                    <a:pt x="87" y="555"/>
                    <a:pt x="88" y="561"/>
                  </a:cubicBezTo>
                  <a:cubicBezTo>
                    <a:pt x="89" y="567"/>
                    <a:pt x="89" y="566"/>
                    <a:pt x="92" y="571"/>
                  </a:cubicBezTo>
                  <a:cubicBezTo>
                    <a:pt x="95" y="577"/>
                    <a:pt x="94" y="579"/>
                    <a:pt x="97" y="582"/>
                  </a:cubicBezTo>
                  <a:cubicBezTo>
                    <a:pt x="99" y="586"/>
                    <a:pt x="105" y="587"/>
                    <a:pt x="103" y="592"/>
                  </a:cubicBezTo>
                  <a:cubicBezTo>
                    <a:pt x="102" y="596"/>
                    <a:pt x="94" y="597"/>
                    <a:pt x="94" y="602"/>
                  </a:cubicBezTo>
                  <a:cubicBezTo>
                    <a:pt x="94" y="608"/>
                    <a:pt x="94" y="609"/>
                    <a:pt x="95" y="613"/>
                  </a:cubicBezTo>
                  <a:cubicBezTo>
                    <a:pt x="96" y="617"/>
                    <a:pt x="97" y="619"/>
                    <a:pt x="95" y="621"/>
                  </a:cubicBezTo>
                  <a:cubicBezTo>
                    <a:pt x="94" y="624"/>
                    <a:pt x="93" y="622"/>
                    <a:pt x="96" y="628"/>
                  </a:cubicBezTo>
                  <a:cubicBezTo>
                    <a:pt x="99" y="633"/>
                    <a:pt x="99" y="633"/>
                    <a:pt x="99" y="636"/>
                  </a:cubicBezTo>
                  <a:cubicBezTo>
                    <a:pt x="99" y="639"/>
                    <a:pt x="101" y="639"/>
                    <a:pt x="101" y="643"/>
                  </a:cubicBezTo>
                  <a:cubicBezTo>
                    <a:pt x="100" y="647"/>
                    <a:pt x="97" y="643"/>
                    <a:pt x="99" y="651"/>
                  </a:cubicBezTo>
                  <a:cubicBezTo>
                    <a:pt x="101" y="659"/>
                    <a:pt x="103" y="660"/>
                    <a:pt x="104" y="664"/>
                  </a:cubicBezTo>
                  <a:cubicBezTo>
                    <a:pt x="104" y="669"/>
                    <a:pt x="108" y="672"/>
                    <a:pt x="108" y="675"/>
                  </a:cubicBezTo>
                  <a:cubicBezTo>
                    <a:pt x="108" y="679"/>
                    <a:pt x="111" y="680"/>
                    <a:pt x="113" y="683"/>
                  </a:cubicBezTo>
                  <a:cubicBezTo>
                    <a:pt x="115" y="686"/>
                    <a:pt x="117" y="686"/>
                    <a:pt x="114" y="689"/>
                  </a:cubicBezTo>
                  <a:cubicBezTo>
                    <a:pt x="112" y="692"/>
                    <a:pt x="108" y="691"/>
                    <a:pt x="111" y="696"/>
                  </a:cubicBezTo>
                  <a:cubicBezTo>
                    <a:pt x="114" y="701"/>
                    <a:pt x="114" y="702"/>
                    <a:pt x="114" y="706"/>
                  </a:cubicBezTo>
                  <a:cubicBezTo>
                    <a:pt x="114" y="710"/>
                    <a:pt x="112" y="709"/>
                    <a:pt x="119" y="714"/>
                  </a:cubicBezTo>
                  <a:cubicBezTo>
                    <a:pt x="125" y="719"/>
                    <a:pt x="131" y="717"/>
                    <a:pt x="130" y="721"/>
                  </a:cubicBezTo>
                  <a:cubicBezTo>
                    <a:pt x="129" y="724"/>
                    <a:pt x="122" y="723"/>
                    <a:pt x="128" y="728"/>
                  </a:cubicBezTo>
                  <a:cubicBezTo>
                    <a:pt x="134" y="734"/>
                    <a:pt x="136" y="735"/>
                    <a:pt x="136" y="737"/>
                  </a:cubicBezTo>
                  <a:cubicBezTo>
                    <a:pt x="136" y="740"/>
                    <a:pt x="135" y="746"/>
                    <a:pt x="138" y="748"/>
                  </a:cubicBezTo>
                  <a:cubicBezTo>
                    <a:pt x="142" y="751"/>
                    <a:pt x="137" y="751"/>
                    <a:pt x="143" y="752"/>
                  </a:cubicBezTo>
                  <a:cubicBezTo>
                    <a:pt x="150" y="753"/>
                    <a:pt x="156" y="751"/>
                    <a:pt x="156" y="754"/>
                  </a:cubicBezTo>
                  <a:cubicBezTo>
                    <a:pt x="156" y="757"/>
                    <a:pt x="159" y="763"/>
                    <a:pt x="154" y="763"/>
                  </a:cubicBezTo>
                  <a:cubicBezTo>
                    <a:pt x="148" y="763"/>
                    <a:pt x="140" y="759"/>
                    <a:pt x="141" y="763"/>
                  </a:cubicBezTo>
                  <a:cubicBezTo>
                    <a:pt x="142" y="766"/>
                    <a:pt x="140" y="765"/>
                    <a:pt x="146" y="767"/>
                  </a:cubicBezTo>
                  <a:cubicBezTo>
                    <a:pt x="153" y="770"/>
                    <a:pt x="158" y="768"/>
                    <a:pt x="159" y="773"/>
                  </a:cubicBezTo>
                  <a:cubicBezTo>
                    <a:pt x="160" y="777"/>
                    <a:pt x="161" y="777"/>
                    <a:pt x="158" y="783"/>
                  </a:cubicBezTo>
                  <a:cubicBezTo>
                    <a:pt x="155" y="789"/>
                    <a:pt x="155" y="792"/>
                    <a:pt x="157" y="794"/>
                  </a:cubicBezTo>
                  <a:cubicBezTo>
                    <a:pt x="159" y="796"/>
                    <a:pt x="157" y="793"/>
                    <a:pt x="160" y="800"/>
                  </a:cubicBezTo>
                  <a:cubicBezTo>
                    <a:pt x="163" y="807"/>
                    <a:pt x="166" y="806"/>
                    <a:pt x="166" y="809"/>
                  </a:cubicBezTo>
                  <a:cubicBezTo>
                    <a:pt x="167" y="812"/>
                    <a:pt x="166" y="814"/>
                    <a:pt x="166" y="817"/>
                  </a:cubicBezTo>
                  <a:cubicBezTo>
                    <a:pt x="166" y="820"/>
                    <a:pt x="164" y="820"/>
                    <a:pt x="166" y="824"/>
                  </a:cubicBezTo>
                  <a:cubicBezTo>
                    <a:pt x="168" y="827"/>
                    <a:pt x="170" y="826"/>
                    <a:pt x="167" y="830"/>
                  </a:cubicBezTo>
                  <a:cubicBezTo>
                    <a:pt x="163" y="835"/>
                    <a:pt x="165" y="839"/>
                    <a:pt x="165" y="845"/>
                  </a:cubicBezTo>
                  <a:cubicBezTo>
                    <a:pt x="165" y="851"/>
                    <a:pt x="169" y="851"/>
                    <a:pt x="171" y="856"/>
                  </a:cubicBezTo>
                  <a:cubicBezTo>
                    <a:pt x="173" y="860"/>
                    <a:pt x="171" y="863"/>
                    <a:pt x="171" y="866"/>
                  </a:cubicBezTo>
                  <a:cubicBezTo>
                    <a:pt x="171" y="869"/>
                    <a:pt x="174" y="873"/>
                    <a:pt x="172" y="875"/>
                  </a:cubicBezTo>
                  <a:cubicBezTo>
                    <a:pt x="169" y="877"/>
                    <a:pt x="167" y="880"/>
                    <a:pt x="165" y="884"/>
                  </a:cubicBezTo>
                  <a:cubicBezTo>
                    <a:pt x="163" y="889"/>
                    <a:pt x="157" y="891"/>
                    <a:pt x="162" y="895"/>
                  </a:cubicBezTo>
                  <a:cubicBezTo>
                    <a:pt x="166" y="899"/>
                    <a:pt x="166" y="898"/>
                    <a:pt x="169" y="903"/>
                  </a:cubicBezTo>
                  <a:cubicBezTo>
                    <a:pt x="171" y="909"/>
                    <a:pt x="168" y="909"/>
                    <a:pt x="173" y="914"/>
                  </a:cubicBezTo>
                  <a:cubicBezTo>
                    <a:pt x="178" y="918"/>
                    <a:pt x="179" y="917"/>
                    <a:pt x="181" y="922"/>
                  </a:cubicBezTo>
                  <a:cubicBezTo>
                    <a:pt x="182" y="927"/>
                    <a:pt x="179" y="928"/>
                    <a:pt x="186" y="927"/>
                  </a:cubicBezTo>
                  <a:cubicBezTo>
                    <a:pt x="194" y="926"/>
                    <a:pt x="194" y="922"/>
                    <a:pt x="201" y="925"/>
                  </a:cubicBezTo>
                  <a:cubicBezTo>
                    <a:pt x="208" y="927"/>
                    <a:pt x="204" y="927"/>
                    <a:pt x="206" y="932"/>
                  </a:cubicBezTo>
                  <a:cubicBezTo>
                    <a:pt x="208" y="937"/>
                    <a:pt x="212" y="943"/>
                    <a:pt x="212" y="947"/>
                  </a:cubicBezTo>
                  <a:cubicBezTo>
                    <a:pt x="212" y="951"/>
                    <a:pt x="213" y="948"/>
                    <a:pt x="219" y="952"/>
                  </a:cubicBezTo>
                  <a:cubicBezTo>
                    <a:pt x="224" y="957"/>
                    <a:pt x="223" y="960"/>
                    <a:pt x="231" y="960"/>
                  </a:cubicBezTo>
                  <a:cubicBezTo>
                    <a:pt x="238" y="960"/>
                    <a:pt x="279" y="960"/>
                    <a:pt x="287" y="963"/>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47" name="Freeform 1025">
              <a:extLst>
                <a:ext uri="{FF2B5EF4-FFF2-40B4-BE49-F238E27FC236}">
                  <a16:creationId xmlns:a16="http://schemas.microsoft.com/office/drawing/2014/main" id="{951C4C22-6B22-934E-861C-FE6BBC60B335}"/>
                </a:ext>
              </a:extLst>
            </p:cNvPr>
            <p:cNvSpPr>
              <a:spLocks/>
            </p:cNvSpPr>
            <p:nvPr/>
          </p:nvSpPr>
          <p:spPr bwMode="auto">
            <a:xfrm>
              <a:off x="2627321" y="4058109"/>
              <a:ext cx="122238" cy="84138"/>
            </a:xfrm>
            <a:custGeom>
              <a:avLst/>
              <a:gdLst>
                <a:gd name="T0" fmla="*/ 129 w 129"/>
                <a:gd name="T1" fmla="*/ 70 h 89"/>
                <a:gd name="T2" fmla="*/ 126 w 129"/>
                <a:gd name="T3" fmla="*/ 73 h 89"/>
                <a:gd name="T4" fmla="*/ 114 w 129"/>
                <a:gd name="T5" fmla="*/ 70 h 89"/>
                <a:gd name="T6" fmla="*/ 109 w 129"/>
                <a:gd name="T7" fmla="*/ 75 h 89"/>
                <a:gd name="T8" fmla="*/ 101 w 129"/>
                <a:gd name="T9" fmla="*/ 74 h 89"/>
                <a:gd name="T10" fmla="*/ 89 w 129"/>
                <a:gd name="T11" fmla="*/ 69 h 89"/>
                <a:gd name="T12" fmla="*/ 88 w 129"/>
                <a:gd name="T13" fmla="*/ 77 h 89"/>
                <a:gd name="T14" fmla="*/ 103 w 129"/>
                <a:gd name="T15" fmla="*/ 85 h 89"/>
                <a:gd name="T16" fmla="*/ 96 w 129"/>
                <a:gd name="T17" fmla="*/ 88 h 89"/>
                <a:gd name="T18" fmla="*/ 82 w 129"/>
                <a:gd name="T19" fmla="*/ 84 h 89"/>
                <a:gd name="T20" fmla="*/ 68 w 129"/>
                <a:gd name="T21" fmla="*/ 83 h 89"/>
                <a:gd name="T22" fmla="*/ 69 w 129"/>
                <a:gd name="T23" fmla="*/ 76 h 89"/>
                <a:gd name="T24" fmla="*/ 61 w 129"/>
                <a:gd name="T25" fmla="*/ 75 h 89"/>
                <a:gd name="T26" fmla="*/ 58 w 129"/>
                <a:gd name="T27" fmla="*/ 71 h 89"/>
                <a:gd name="T28" fmla="*/ 52 w 129"/>
                <a:gd name="T29" fmla="*/ 69 h 89"/>
                <a:gd name="T30" fmla="*/ 50 w 129"/>
                <a:gd name="T31" fmla="*/ 67 h 89"/>
                <a:gd name="T32" fmla="*/ 43 w 129"/>
                <a:gd name="T33" fmla="*/ 68 h 89"/>
                <a:gd name="T34" fmla="*/ 36 w 129"/>
                <a:gd name="T35" fmla="*/ 68 h 89"/>
                <a:gd name="T36" fmla="*/ 27 w 129"/>
                <a:gd name="T37" fmla="*/ 68 h 89"/>
                <a:gd name="T38" fmla="*/ 15 w 129"/>
                <a:gd name="T39" fmla="*/ 63 h 89"/>
                <a:gd name="T40" fmla="*/ 19 w 129"/>
                <a:gd name="T41" fmla="*/ 60 h 89"/>
                <a:gd name="T42" fmla="*/ 26 w 129"/>
                <a:gd name="T43" fmla="*/ 59 h 89"/>
                <a:gd name="T44" fmla="*/ 41 w 129"/>
                <a:gd name="T45" fmla="*/ 56 h 89"/>
                <a:gd name="T46" fmla="*/ 52 w 129"/>
                <a:gd name="T47" fmla="*/ 55 h 89"/>
                <a:gd name="T48" fmla="*/ 38 w 129"/>
                <a:gd name="T49" fmla="*/ 52 h 89"/>
                <a:gd name="T50" fmla="*/ 30 w 129"/>
                <a:gd name="T51" fmla="*/ 50 h 89"/>
                <a:gd name="T52" fmla="*/ 19 w 129"/>
                <a:gd name="T53" fmla="*/ 53 h 89"/>
                <a:gd name="T54" fmla="*/ 13 w 129"/>
                <a:gd name="T55" fmla="*/ 53 h 89"/>
                <a:gd name="T56" fmla="*/ 5 w 129"/>
                <a:gd name="T57" fmla="*/ 62 h 89"/>
                <a:gd name="T58" fmla="*/ 0 w 129"/>
                <a:gd name="T59" fmla="*/ 56 h 89"/>
                <a:gd name="T60" fmla="*/ 6 w 129"/>
                <a:gd name="T61" fmla="*/ 50 h 89"/>
                <a:gd name="T62" fmla="*/ 10 w 129"/>
                <a:gd name="T63" fmla="*/ 47 h 89"/>
                <a:gd name="T64" fmla="*/ 16 w 129"/>
                <a:gd name="T65" fmla="*/ 46 h 89"/>
                <a:gd name="T66" fmla="*/ 15 w 129"/>
                <a:gd name="T67" fmla="*/ 37 h 89"/>
                <a:gd name="T68" fmla="*/ 23 w 129"/>
                <a:gd name="T69" fmla="*/ 37 h 89"/>
                <a:gd name="T70" fmla="*/ 29 w 129"/>
                <a:gd name="T71" fmla="*/ 42 h 89"/>
                <a:gd name="T72" fmla="*/ 33 w 129"/>
                <a:gd name="T73" fmla="*/ 36 h 89"/>
                <a:gd name="T74" fmla="*/ 42 w 129"/>
                <a:gd name="T75" fmla="*/ 28 h 89"/>
                <a:gd name="T76" fmla="*/ 34 w 129"/>
                <a:gd name="T77" fmla="*/ 26 h 89"/>
                <a:gd name="T78" fmla="*/ 20 w 129"/>
                <a:gd name="T79" fmla="*/ 26 h 89"/>
                <a:gd name="T80" fmla="*/ 15 w 129"/>
                <a:gd name="T81" fmla="*/ 19 h 89"/>
                <a:gd name="T82" fmla="*/ 17 w 129"/>
                <a:gd name="T83" fmla="*/ 12 h 89"/>
                <a:gd name="T84" fmla="*/ 25 w 129"/>
                <a:gd name="T85" fmla="*/ 8 h 89"/>
                <a:gd name="T86" fmla="*/ 27 w 129"/>
                <a:gd name="T87" fmla="*/ 4 h 89"/>
                <a:gd name="T88" fmla="*/ 34 w 129"/>
                <a:gd name="T89" fmla="*/ 4 h 89"/>
                <a:gd name="T90" fmla="*/ 39 w 129"/>
                <a:gd name="T91" fmla="*/ 7 h 89"/>
                <a:gd name="T92" fmla="*/ 47 w 129"/>
                <a:gd name="T93" fmla="*/ 7 h 89"/>
                <a:gd name="T94" fmla="*/ 50 w 129"/>
                <a:gd name="T95" fmla="*/ 13 h 89"/>
                <a:gd name="T96" fmla="*/ 55 w 129"/>
                <a:gd name="T97" fmla="*/ 28 h 89"/>
                <a:gd name="T98" fmla="*/ 72 w 129"/>
                <a:gd name="T99" fmla="*/ 55 h 89"/>
                <a:gd name="T100" fmla="*/ 77 w 129"/>
                <a:gd name="T101" fmla="*/ 67 h 89"/>
                <a:gd name="T102" fmla="*/ 129 w 129"/>
                <a:gd name="T103"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9" h="89">
                  <a:moveTo>
                    <a:pt x="129" y="70"/>
                  </a:moveTo>
                  <a:cubicBezTo>
                    <a:pt x="128" y="71"/>
                    <a:pt x="127" y="72"/>
                    <a:pt x="126" y="73"/>
                  </a:cubicBezTo>
                  <a:cubicBezTo>
                    <a:pt x="120" y="78"/>
                    <a:pt x="114" y="70"/>
                    <a:pt x="114" y="70"/>
                  </a:cubicBezTo>
                  <a:cubicBezTo>
                    <a:pt x="114" y="70"/>
                    <a:pt x="114" y="70"/>
                    <a:pt x="109" y="75"/>
                  </a:cubicBezTo>
                  <a:cubicBezTo>
                    <a:pt x="104" y="80"/>
                    <a:pt x="105" y="75"/>
                    <a:pt x="101" y="74"/>
                  </a:cubicBezTo>
                  <a:cubicBezTo>
                    <a:pt x="96" y="73"/>
                    <a:pt x="91" y="70"/>
                    <a:pt x="89" y="69"/>
                  </a:cubicBezTo>
                  <a:cubicBezTo>
                    <a:pt x="86" y="68"/>
                    <a:pt x="83" y="72"/>
                    <a:pt x="88" y="77"/>
                  </a:cubicBezTo>
                  <a:cubicBezTo>
                    <a:pt x="94" y="81"/>
                    <a:pt x="97" y="81"/>
                    <a:pt x="103" y="85"/>
                  </a:cubicBezTo>
                  <a:cubicBezTo>
                    <a:pt x="110" y="89"/>
                    <a:pt x="101" y="89"/>
                    <a:pt x="96" y="88"/>
                  </a:cubicBezTo>
                  <a:cubicBezTo>
                    <a:pt x="92" y="86"/>
                    <a:pt x="85" y="82"/>
                    <a:pt x="82" y="84"/>
                  </a:cubicBezTo>
                  <a:cubicBezTo>
                    <a:pt x="79" y="86"/>
                    <a:pt x="74" y="80"/>
                    <a:pt x="68" y="83"/>
                  </a:cubicBezTo>
                  <a:cubicBezTo>
                    <a:pt x="70" y="81"/>
                    <a:pt x="73" y="78"/>
                    <a:pt x="69" y="76"/>
                  </a:cubicBezTo>
                  <a:cubicBezTo>
                    <a:pt x="69" y="76"/>
                    <a:pt x="61" y="75"/>
                    <a:pt x="61" y="75"/>
                  </a:cubicBezTo>
                  <a:cubicBezTo>
                    <a:pt x="58" y="72"/>
                    <a:pt x="58" y="76"/>
                    <a:pt x="58" y="71"/>
                  </a:cubicBezTo>
                  <a:cubicBezTo>
                    <a:pt x="59" y="66"/>
                    <a:pt x="54" y="74"/>
                    <a:pt x="52" y="69"/>
                  </a:cubicBezTo>
                  <a:cubicBezTo>
                    <a:pt x="49" y="65"/>
                    <a:pt x="51" y="71"/>
                    <a:pt x="50" y="67"/>
                  </a:cubicBezTo>
                  <a:cubicBezTo>
                    <a:pt x="49" y="64"/>
                    <a:pt x="44" y="72"/>
                    <a:pt x="43" y="68"/>
                  </a:cubicBezTo>
                  <a:cubicBezTo>
                    <a:pt x="43" y="65"/>
                    <a:pt x="38" y="69"/>
                    <a:pt x="36" y="68"/>
                  </a:cubicBezTo>
                  <a:cubicBezTo>
                    <a:pt x="35" y="68"/>
                    <a:pt x="35" y="69"/>
                    <a:pt x="27" y="68"/>
                  </a:cubicBezTo>
                  <a:cubicBezTo>
                    <a:pt x="20" y="68"/>
                    <a:pt x="22" y="66"/>
                    <a:pt x="15" y="63"/>
                  </a:cubicBezTo>
                  <a:cubicBezTo>
                    <a:pt x="9" y="59"/>
                    <a:pt x="17" y="61"/>
                    <a:pt x="19" y="60"/>
                  </a:cubicBezTo>
                  <a:cubicBezTo>
                    <a:pt x="20" y="58"/>
                    <a:pt x="21" y="60"/>
                    <a:pt x="26" y="59"/>
                  </a:cubicBezTo>
                  <a:cubicBezTo>
                    <a:pt x="30" y="58"/>
                    <a:pt x="33" y="56"/>
                    <a:pt x="41" y="56"/>
                  </a:cubicBezTo>
                  <a:cubicBezTo>
                    <a:pt x="49" y="56"/>
                    <a:pt x="52" y="55"/>
                    <a:pt x="52" y="55"/>
                  </a:cubicBezTo>
                  <a:cubicBezTo>
                    <a:pt x="52" y="54"/>
                    <a:pt x="43" y="55"/>
                    <a:pt x="38" y="52"/>
                  </a:cubicBezTo>
                  <a:cubicBezTo>
                    <a:pt x="33" y="50"/>
                    <a:pt x="35" y="52"/>
                    <a:pt x="30" y="50"/>
                  </a:cubicBezTo>
                  <a:cubicBezTo>
                    <a:pt x="26" y="47"/>
                    <a:pt x="22" y="55"/>
                    <a:pt x="19" y="53"/>
                  </a:cubicBezTo>
                  <a:cubicBezTo>
                    <a:pt x="15" y="50"/>
                    <a:pt x="17" y="56"/>
                    <a:pt x="13" y="53"/>
                  </a:cubicBezTo>
                  <a:cubicBezTo>
                    <a:pt x="10" y="50"/>
                    <a:pt x="9" y="58"/>
                    <a:pt x="5" y="62"/>
                  </a:cubicBezTo>
                  <a:cubicBezTo>
                    <a:pt x="0" y="66"/>
                    <a:pt x="0" y="56"/>
                    <a:pt x="0" y="56"/>
                  </a:cubicBezTo>
                  <a:cubicBezTo>
                    <a:pt x="0" y="56"/>
                    <a:pt x="9" y="55"/>
                    <a:pt x="6" y="50"/>
                  </a:cubicBezTo>
                  <a:cubicBezTo>
                    <a:pt x="3" y="45"/>
                    <a:pt x="10" y="50"/>
                    <a:pt x="10" y="47"/>
                  </a:cubicBezTo>
                  <a:cubicBezTo>
                    <a:pt x="11" y="44"/>
                    <a:pt x="10" y="47"/>
                    <a:pt x="16" y="46"/>
                  </a:cubicBezTo>
                  <a:cubicBezTo>
                    <a:pt x="22" y="46"/>
                    <a:pt x="15" y="43"/>
                    <a:pt x="15" y="37"/>
                  </a:cubicBezTo>
                  <a:cubicBezTo>
                    <a:pt x="14" y="31"/>
                    <a:pt x="20" y="34"/>
                    <a:pt x="23" y="37"/>
                  </a:cubicBezTo>
                  <a:cubicBezTo>
                    <a:pt x="27" y="40"/>
                    <a:pt x="25" y="40"/>
                    <a:pt x="29" y="42"/>
                  </a:cubicBezTo>
                  <a:cubicBezTo>
                    <a:pt x="32" y="45"/>
                    <a:pt x="33" y="41"/>
                    <a:pt x="33" y="36"/>
                  </a:cubicBezTo>
                  <a:cubicBezTo>
                    <a:pt x="34" y="31"/>
                    <a:pt x="41" y="32"/>
                    <a:pt x="42" y="28"/>
                  </a:cubicBezTo>
                  <a:cubicBezTo>
                    <a:pt x="44" y="23"/>
                    <a:pt x="38" y="27"/>
                    <a:pt x="34" y="26"/>
                  </a:cubicBezTo>
                  <a:cubicBezTo>
                    <a:pt x="30" y="26"/>
                    <a:pt x="25" y="29"/>
                    <a:pt x="20" y="26"/>
                  </a:cubicBezTo>
                  <a:cubicBezTo>
                    <a:pt x="15" y="24"/>
                    <a:pt x="17" y="24"/>
                    <a:pt x="15" y="19"/>
                  </a:cubicBezTo>
                  <a:cubicBezTo>
                    <a:pt x="11" y="13"/>
                    <a:pt x="14" y="16"/>
                    <a:pt x="17" y="12"/>
                  </a:cubicBezTo>
                  <a:cubicBezTo>
                    <a:pt x="20" y="8"/>
                    <a:pt x="24" y="13"/>
                    <a:pt x="25" y="8"/>
                  </a:cubicBezTo>
                  <a:cubicBezTo>
                    <a:pt x="26" y="3"/>
                    <a:pt x="27" y="8"/>
                    <a:pt x="27" y="4"/>
                  </a:cubicBezTo>
                  <a:cubicBezTo>
                    <a:pt x="27" y="0"/>
                    <a:pt x="34" y="4"/>
                    <a:pt x="34" y="4"/>
                  </a:cubicBezTo>
                  <a:cubicBezTo>
                    <a:pt x="35" y="4"/>
                    <a:pt x="36" y="5"/>
                    <a:pt x="39" y="7"/>
                  </a:cubicBezTo>
                  <a:cubicBezTo>
                    <a:pt x="42" y="8"/>
                    <a:pt x="45" y="7"/>
                    <a:pt x="47" y="7"/>
                  </a:cubicBezTo>
                  <a:cubicBezTo>
                    <a:pt x="48" y="9"/>
                    <a:pt x="49" y="12"/>
                    <a:pt x="50" y="13"/>
                  </a:cubicBezTo>
                  <a:cubicBezTo>
                    <a:pt x="50" y="15"/>
                    <a:pt x="54" y="25"/>
                    <a:pt x="55" y="28"/>
                  </a:cubicBezTo>
                  <a:cubicBezTo>
                    <a:pt x="56" y="32"/>
                    <a:pt x="70" y="51"/>
                    <a:pt x="72" y="55"/>
                  </a:cubicBezTo>
                  <a:cubicBezTo>
                    <a:pt x="73" y="58"/>
                    <a:pt x="74" y="65"/>
                    <a:pt x="77" y="67"/>
                  </a:cubicBezTo>
                  <a:cubicBezTo>
                    <a:pt x="77" y="67"/>
                    <a:pt x="102" y="61"/>
                    <a:pt x="129" y="70"/>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48" name="Freeform 1026">
              <a:extLst>
                <a:ext uri="{FF2B5EF4-FFF2-40B4-BE49-F238E27FC236}">
                  <a16:creationId xmlns:a16="http://schemas.microsoft.com/office/drawing/2014/main" id="{AB9EA138-72C0-7E44-9DE3-D22C8CE9B079}"/>
                </a:ext>
              </a:extLst>
            </p:cNvPr>
            <p:cNvSpPr>
              <a:spLocks/>
            </p:cNvSpPr>
            <p:nvPr/>
          </p:nvSpPr>
          <p:spPr bwMode="auto">
            <a:xfrm>
              <a:off x="2092332" y="2667458"/>
              <a:ext cx="314326" cy="490538"/>
            </a:xfrm>
            <a:custGeom>
              <a:avLst/>
              <a:gdLst>
                <a:gd name="T0" fmla="*/ 322 w 331"/>
                <a:gd name="T1" fmla="*/ 491 h 515"/>
                <a:gd name="T2" fmla="*/ 318 w 331"/>
                <a:gd name="T3" fmla="*/ 494 h 515"/>
                <a:gd name="T4" fmla="*/ 315 w 331"/>
                <a:gd name="T5" fmla="*/ 509 h 515"/>
                <a:gd name="T6" fmla="*/ 303 w 331"/>
                <a:gd name="T7" fmla="*/ 515 h 515"/>
                <a:gd name="T8" fmla="*/ 278 w 331"/>
                <a:gd name="T9" fmla="*/ 496 h 515"/>
                <a:gd name="T10" fmla="*/ 258 w 331"/>
                <a:gd name="T11" fmla="*/ 478 h 515"/>
                <a:gd name="T12" fmla="*/ 224 w 331"/>
                <a:gd name="T13" fmla="*/ 461 h 515"/>
                <a:gd name="T14" fmla="*/ 186 w 331"/>
                <a:gd name="T15" fmla="*/ 440 h 515"/>
                <a:gd name="T16" fmla="*/ 157 w 331"/>
                <a:gd name="T17" fmla="*/ 417 h 515"/>
                <a:gd name="T18" fmla="*/ 145 w 331"/>
                <a:gd name="T19" fmla="*/ 385 h 515"/>
                <a:gd name="T20" fmla="*/ 124 w 331"/>
                <a:gd name="T21" fmla="*/ 344 h 515"/>
                <a:gd name="T22" fmla="*/ 99 w 331"/>
                <a:gd name="T23" fmla="*/ 306 h 515"/>
                <a:gd name="T24" fmla="*/ 70 w 331"/>
                <a:gd name="T25" fmla="*/ 252 h 515"/>
                <a:gd name="T26" fmla="*/ 46 w 331"/>
                <a:gd name="T27" fmla="*/ 205 h 515"/>
                <a:gd name="T28" fmla="*/ 22 w 331"/>
                <a:gd name="T29" fmla="*/ 180 h 515"/>
                <a:gd name="T30" fmla="*/ 11 w 331"/>
                <a:gd name="T31" fmla="*/ 166 h 515"/>
                <a:gd name="T32" fmla="*/ 6 w 331"/>
                <a:gd name="T33" fmla="*/ 148 h 515"/>
                <a:gd name="T34" fmla="*/ 1 w 331"/>
                <a:gd name="T35" fmla="*/ 122 h 515"/>
                <a:gd name="T36" fmla="*/ 27 w 331"/>
                <a:gd name="T37" fmla="*/ 97 h 515"/>
                <a:gd name="T38" fmla="*/ 30 w 331"/>
                <a:gd name="T39" fmla="*/ 109 h 515"/>
                <a:gd name="T40" fmla="*/ 24 w 331"/>
                <a:gd name="T41" fmla="*/ 126 h 515"/>
                <a:gd name="T42" fmla="*/ 47 w 331"/>
                <a:gd name="T43" fmla="*/ 126 h 515"/>
                <a:gd name="T44" fmla="*/ 60 w 331"/>
                <a:gd name="T45" fmla="*/ 138 h 515"/>
                <a:gd name="T46" fmla="*/ 71 w 331"/>
                <a:gd name="T47" fmla="*/ 118 h 515"/>
                <a:gd name="T48" fmla="*/ 81 w 331"/>
                <a:gd name="T49" fmla="*/ 92 h 515"/>
                <a:gd name="T50" fmla="*/ 112 w 331"/>
                <a:gd name="T51" fmla="*/ 74 h 515"/>
                <a:gd name="T52" fmla="*/ 138 w 331"/>
                <a:gd name="T53" fmla="*/ 49 h 515"/>
                <a:gd name="T54" fmla="*/ 149 w 331"/>
                <a:gd name="T55" fmla="*/ 27 h 515"/>
                <a:gd name="T56" fmla="*/ 147 w 331"/>
                <a:gd name="T57" fmla="*/ 9 h 515"/>
                <a:gd name="T58" fmla="*/ 156 w 331"/>
                <a:gd name="T59" fmla="*/ 2 h 515"/>
                <a:gd name="T60" fmla="*/ 173 w 331"/>
                <a:gd name="T61" fmla="*/ 20 h 515"/>
                <a:gd name="T62" fmla="*/ 188 w 331"/>
                <a:gd name="T63" fmla="*/ 37 h 515"/>
                <a:gd name="T64" fmla="*/ 204 w 331"/>
                <a:gd name="T65" fmla="*/ 57 h 515"/>
                <a:gd name="T66" fmla="*/ 225 w 331"/>
                <a:gd name="T67" fmla="*/ 70 h 515"/>
                <a:gd name="T68" fmla="*/ 256 w 331"/>
                <a:gd name="T69" fmla="*/ 65 h 515"/>
                <a:gd name="T70" fmla="*/ 280 w 331"/>
                <a:gd name="T71" fmla="*/ 79 h 515"/>
                <a:gd name="T72" fmla="*/ 268 w 331"/>
                <a:gd name="T73" fmla="*/ 108 h 515"/>
                <a:gd name="T74" fmla="*/ 284 w 331"/>
                <a:gd name="T75" fmla="*/ 118 h 515"/>
                <a:gd name="T76" fmla="*/ 278 w 331"/>
                <a:gd name="T77" fmla="*/ 121 h 515"/>
                <a:gd name="T78" fmla="*/ 254 w 331"/>
                <a:gd name="T79" fmla="*/ 123 h 515"/>
                <a:gd name="T80" fmla="*/ 222 w 331"/>
                <a:gd name="T81" fmla="*/ 138 h 515"/>
                <a:gd name="T82" fmla="*/ 208 w 331"/>
                <a:gd name="T83" fmla="*/ 164 h 515"/>
                <a:gd name="T84" fmla="*/ 206 w 331"/>
                <a:gd name="T85" fmla="*/ 184 h 515"/>
                <a:gd name="T86" fmla="*/ 189 w 331"/>
                <a:gd name="T87" fmla="*/ 212 h 515"/>
                <a:gd name="T88" fmla="*/ 204 w 331"/>
                <a:gd name="T89" fmla="*/ 241 h 515"/>
                <a:gd name="T90" fmla="*/ 215 w 331"/>
                <a:gd name="T91" fmla="*/ 267 h 515"/>
                <a:gd name="T92" fmla="*/ 240 w 331"/>
                <a:gd name="T93" fmla="*/ 281 h 515"/>
                <a:gd name="T94" fmla="*/ 277 w 331"/>
                <a:gd name="T95" fmla="*/ 269 h 515"/>
                <a:gd name="T96" fmla="*/ 295 w 331"/>
                <a:gd name="T97" fmla="*/ 307 h 515"/>
                <a:gd name="T98" fmla="*/ 317 w 331"/>
                <a:gd name="T99" fmla="*/ 331 h 515"/>
                <a:gd name="T100" fmla="*/ 327 w 331"/>
                <a:gd name="T101" fmla="*/ 349 h 515"/>
                <a:gd name="T102" fmla="*/ 323 w 331"/>
                <a:gd name="T103" fmla="*/ 364 h 515"/>
                <a:gd name="T104" fmla="*/ 328 w 331"/>
                <a:gd name="T105" fmla="*/ 399 h 515"/>
                <a:gd name="T106" fmla="*/ 319 w 331"/>
                <a:gd name="T107" fmla="*/ 419 h 515"/>
                <a:gd name="T108" fmla="*/ 320 w 331"/>
                <a:gd name="T109" fmla="*/ 435 h 515"/>
                <a:gd name="T110" fmla="*/ 305 w 331"/>
                <a:gd name="T111" fmla="*/ 429 h 515"/>
                <a:gd name="T112" fmla="*/ 305 w 331"/>
                <a:gd name="T113" fmla="*/ 438 h 515"/>
                <a:gd name="T114" fmla="*/ 316 w 331"/>
                <a:gd name="T115" fmla="*/ 447 h 515"/>
                <a:gd name="T116" fmla="*/ 323 w 331"/>
                <a:gd name="T117" fmla="*/ 456 h 515"/>
                <a:gd name="T118" fmla="*/ 330 w 331"/>
                <a:gd name="T119" fmla="*/ 459 h 515"/>
                <a:gd name="T120" fmla="*/ 321 w 331"/>
                <a:gd name="T121" fmla="*/ 482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1" h="515">
                  <a:moveTo>
                    <a:pt x="321" y="482"/>
                  </a:moveTo>
                  <a:cubicBezTo>
                    <a:pt x="320" y="485"/>
                    <a:pt x="321" y="490"/>
                    <a:pt x="322" y="491"/>
                  </a:cubicBezTo>
                  <a:cubicBezTo>
                    <a:pt x="322" y="491"/>
                    <a:pt x="322" y="491"/>
                    <a:pt x="322" y="491"/>
                  </a:cubicBezTo>
                  <a:cubicBezTo>
                    <a:pt x="321" y="492"/>
                    <a:pt x="320" y="492"/>
                    <a:pt x="318" y="494"/>
                  </a:cubicBezTo>
                  <a:cubicBezTo>
                    <a:pt x="316" y="496"/>
                    <a:pt x="312" y="498"/>
                    <a:pt x="314" y="501"/>
                  </a:cubicBezTo>
                  <a:cubicBezTo>
                    <a:pt x="315" y="504"/>
                    <a:pt x="318" y="507"/>
                    <a:pt x="315" y="509"/>
                  </a:cubicBezTo>
                  <a:cubicBezTo>
                    <a:pt x="311" y="512"/>
                    <a:pt x="310" y="513"/>
                    <a:pt x="307" y="514"/>
                  </a:cubicBezTo>
                  <a:cubicBezTo>
                    <a:pt x="306" y="514"/>
                    <a:pt x="304" y="514"/>
                    <a:pt x="303" y="515"/>
                  </a:cubicBezTo>
                  <a:cubicBezTo>
                    <a:pt x="299" y="510"/>
                    <a:pt x="296" y="512"/>
                    <a:pt x="289" y="506"/>
                  </a:cubicBezTo>
                  <a:cubicBezTo>
                    <a:pt x="280" y="499"/>
                    <a:pt x="283" y="502"/>
                    <a:pt x="278" y="496"/>
                  </a:cubicBezTo>
                  <a:cubicBezTo>
                    <a:pt x="273" y="489"/>
                    <a:pt x="275" y="491"/>
                    <a:pt x="271" y="487"/>
                  </a:cubicBezTo>
                  <a:cubicBezTo>
                    <a:pt x="267" y="483"/>
                    <a:pt x="261" y="482"/>
                    <a:pt x="258" y="478"/>
                  </a:cubicBezTo>
                  <a:cubicBezTo>
                    <a:pt x="254" y="475"/>
                    <a:pt x="250" y="475"/>
                    <a:pt x="240" y="468"/>
                  </a:cubicBezTo>
                  <a:cubicBezTo>
                    <a:pt x="231" y="462"/>
                    <a:pt x="233" y="466"/>
                    <a:pt x="224" y="461"/>
                  </a:cubicBezTo>
                  <a:cubicBezTo>
                    <a:pt x="214" y="456"/>
                    <a:pt x="216" y="457"/>
                    <a:pt x="207" y="451"/>
                  </a:cubicBezTo>
                  <a:cubicBezTo>
                    <a:pt x="198" y="444"/>
                    <a:pt x="195" y="446"/>
                    <a:pt x="186" y="440"/>
                  </a:cubicBezTo>
                  <a:cubicBezTo>
                    <a:pt x="178" y="434"/>
                    <a:pt x="180" y="440"/>
                    <a:pt x="175" y="433"/>
                  </a:cubicBezTo>
                  <a:cubicBezTo>
                    <a:pt x="169" y="426"/>
                    <a:pt x="164" y="425"/>
                    <a:pt x="157" y="417"/>
                  </a:cubicBezTo>
                  <a:cubicBezTo>
                    <a:pt x="151" y="409"/>
                    <a:pt x="150" y="407"/>
                    <a:pt x="145" y="400"/>
                  </a:cubicBezTo>
                  <a:cubicBezTo>
                    <a:pt x="140" y="394"/>
                    <a:pt x="145" y="389"/>
                    <a:pt x="145" y="385"/>
                  </a:cubicBezTo>
                  <a:cubicBezTo>
                    <a:pt x="146" y="380"/>
                    <a:pt x="139" y="375"/>
                    <a:pt x="136" y="366"/>
                  </a:cubicBezTo>
                  <a:cubicBezTo>
                    <a:pt x="134" y="357"/>
                    <a:pt x="131" y="355"/>
                    <a:pt x="124" y="344"/>
                  </a:cubicBezTo>
                  <a:cubicBezTo>
                    <a:pt x="116" y="334"/>
                    <a:pt x="118" y="334"/>
                    <a:pt x="115" y="329"/>
                  </a:cubicBezTo>
                  <a:cubicBezTo>
                    <a:pt x="112" y="324"/>
                    <a:pt x="102" y="317"/>
                    <a:pt x="99" y="306"/>
                  </a:cubicBezTo>
                  <a:cubicBezTo>
                    <a:pt x="97" y="294"/>
                    <a:pt x="87" y="285"/>
                    <a:pt x="84" y="275"/>
                  </a:cubicBezTo>
                  <a:cubicBezTo>
                    <a:pt x="81" y="266"/>
                    <a:pt x="71" y="261"/>
                    <a:pt x="70" y="252"/>
                  </a:cubicBezTo>
                  <a:cubicBezTo>
                    <a:pt x="70" y="243"/>
                    <a:pt x="60" y="230"/>
                    <a:pt x="55" y="224"/>
                  </a:cubicBezTo>
                  <a:cubicBezTo>
                    <a:pt x="51" y="218"/>
                    <a:pt x="49" y="215"/>
                    <a:pt x="46" y="205"/>
                  </a:cubicBezTo>
                  <a:cubicBezTo>
                    <a:pt x="43" y="196"/>
                    <a:pt x="40" y="196"/>
                    <a:pt x="38" y="191"/>
                  </a:cubicBezTo>
                  <a:cubicBezTo>
                    <a:pt x="35" y="185"/>
                    <a:pt x="26" y="183"/>
                    <a:pt x="22" y="180"/>
                  </a:cubicBezTo>
                  <a:cubicBezTo>
                    <a:pt x="17" y="178"/>
                    <a:pt x="10" y="175"/>
                    <a:pt x="6" y="171"/>
                  </a:cubicBezTo>
                  <a:cubicBezTo>
                    <a:pt x="2" y="168"/>
                    <a:pt x="9" y="166"/>
                    <a:pt x="11" y="166"/>
                  </a:cubicBezTo>
                  <a:cubicBezTo>
                    <a:pt x="13" y="165"/>
                    <a:pt x="11" y="163"/>
                    <a:pt x="10" y="158"/>
                  </a:cubicBezTo>
                  <a:cubicBezTo>
                    <a:pt x="8" y="152"/>
                    <a:pt x="6" y="154"/>
                    <a:pt x="6" y="148"/>
                  </a:cubicBezTo>
                  <a:cubicBezTo>
                    <a:pt x="7" y="142"/>
                    <a:pt x="6" y="140"/>
                    <a:pt x="4" y="136"/>
                  </a:cubicBezTo>
                  <a:cubicBezTo>
                    <a:pt x="1" y="133"/>
                    <a:pt x="0" y="130"/>
                    <a:pt x="1" y="122"/>
                  </a:cubicBezTo>
                  <a:cubicBezTo>
                    <a:pt x="2" y="114"/>
                    <a:pt x="5" y="112"/>
                    <a:pt x="16" y="105"/>
                  </a:cubicBezTo>
                  <a:cubicBezTo>
                    <a:pt x="22" y="100"/>
                    <a:pt x="25" y="99"/>
                    <a:pt x="27" y="97"/>
                  </a:cubicBezTo>
                  <a:cubicBezTo>
                    <a:pt x="26" y="99"/>
                    <a:pt x="26" y="100"/>
                    <a:pt x="28" y="102"/>
                  </a:cubicBezTo>
                  <a:cubicBezTo>
                    <a:pt x="31" y="105"/>
                    <a:pt x="35" y="104"/>
                    <a:pt x="30" y="109"/>
                  </a:cubicBezTo>
                  <a:cubicBezTo>
                    <a:pt x="24" y="114"/>
                    <a:pt x="23" y="110"/>
                    <a:pt x="23" y="116"/>
                  </a:cubicBezTo>
                  <a:cubicBezTo>
                    <a:pt x="23" y="121"/>
                    <a:pt x="20" y="126"/>
                    <a:pt x="24" y="126"/>
                  </a:cubicBezTo>
                  <a:cubicBezTo>
                    <a:pt x="29" y="125"/>
                    <a:pt x="27" y="119"/>
                    <a:pt x="32" y="122"/>
                  </a:cubicBezTo>
                  <a:cubicBezTo>
                    <a:pt x="38" y="125"/>
                    <a:pt x="45" y="121"/>
                    <a:pt x="47" y="126"/>
                  </a:cubicBezTo>
                  <a:cubicBezTo>
                    <a:pt x="49" y="131"/>
                    <a:pt x="44" y="130"/>
                    <a:pt x="49" y="136"/>
                  </a:cubicBezTo>
                  <a:cubicBezTo>
                    <a:pt x="55" y="142"/>
                    <a:pt x="58" y="141"/>
                    <a:pt x="60" y="138"/>
                  </a:cubicBezTo>
                  <a:cubicBezTo>
                    <a:pt x="62" y="136"/>
                    <a:pt x="65" y="132"/>
                    <a:pt x="66" y="128"/>
                  </a:cubicBezTo>
                  <a:cubicBezTo>
                    <a:pt x="67" y="125"/>
                    <a:pt x="70" y="124"/>
                    <a:pt x="71" y="118"/>
                  </a:cubicBezTo>
                  <a:cubicBezTo>
                    <a:pt x="72" y="111"/>
                    <a:pt x="71" y="111"/>
                    <a:pt x="74" y="104"/>
                  </a:cubicBezTo>
                  <a:cubicBezTo>
                    <a:pt x="78" y="97"/>
                    <a:pt x="76" y="97"/>
                    <a:pt x="81" y="92"/>
                  </a:cubicBezTo>
                  <a:cubicBezTo>
                    <a:pt x="86" y="87"/>
                    <a:pt x="78" y="84"/>
                    <a:pt x="90" y="83"/>
                  </a:cubicBezTo>
                  <a:cubicBezTo>
                    <a:pt x="102" y="82"/>
                    <a:pt x="104" y="77"/>
                    <a:pt x="112" y="74"/>
                  </a:cubicBezTo>
                  <a:cubicBezTo>
                    <a:pt x="121" y="71"/>
                    <a:pt x="122" y="71"/>
                    <a:pt x="127" y="64"/>
                  </a:cubicBezTo>
                  <a:cubicBezTo>
                    <a:pt x="133" y="57"/>
                    <a:pt x="135" y="53"/>
                    <a:pt x="138" y="49"/>
                  </a:cubicBezTo>
                  <a:cubicBezTo>
                    <a:pt x="140" y="45"/>
                    <a:pt x="145" y="37"/>
                    <a:pt x="146" y="34"/>
                  </a:cubicBezTo>
                  <a:cubicBezTo>
                    <a:pt x="148" y="30"/>
                    <a:pt x="147" y="28"/>
                    <a:pt x="149" y="27"/>
                  </a:cubicBezTo>
                  <a:cubicBezTo>
                    <a:pt x="151" y="27"/>
                    <a:pt x="152" y="23"/>
                    <a:pt x="151" y="20"/>
                  </a:cubicBezTo>
                  <a:cubicBezTo>
                    <a:pt x="149" y="18"/>
                    <a:pt x="150" y="13"/>
                    <a:pt x="147" y="9"/>
                  </a:cubicBezTo>
                  <a:cubicBezTo>
                    <a:pt x="145" y="6"/>
                    <a:pt x="145" y="5"/>
                    <a:pt x="143" y="2"/>
                  </a:cubicBezTo>
                  <a:cubicBezTo>
                    <a:pt x="148" y="2"/>
                    <a:pt x="153" y="0"/>
                    <a:pt x="156" y="2"/>
                  </a:cubicBezTo>
                  <a:cubicBezTo>
                    <a:pt x="159" y="4"/>
                    <a:pt x="164" y="6"/>
                    <a:pt x="167" y="11"/>
                  </a:cubicBezTo>
                  <a:cubicBezTo>
                    <a:pt x="170" y="15"/>
                    <a:pt x="172" y="17"/>
                    <a:pt x="173" y="20"/>
                  </a:cubicBezTo>
                  <a:cubicBezTo>
                    <a:pt x="174" y="23"/>
                    <a:pt x="173" y="24"/>
                    <a:pt x="179" y="29"/>
                  </a:cubicBezTo>
                  <a:cubicBezTo>
                    <a:pt x="185" y="34"/>
                    <a:pt x="182" y="32"/>
                    <a:pt x="188" y="37"/>
                  </a:cubicBezTo>
                  <a:cubicBezTo>
                    <a:pt x="194" y="42"/>
                    <a:pt x="197" y="47"/>
                    <a:pt x="198" y="49"/>
                  </a:cubicBezTo>
                  <a:cubicBezTo>
                    <a:pt x="198" y="51"/>
                    <a:pt x="204" y="51"/>
                    <a:pt x="204" y="57"/>
                  </a:cubicBezTo>
                  <a:cubicBezTo>
                    <a:pt x="204" y="63"/>
                    <a:pt x="203" y="67"/>
                    <a:pt x="209" y="69"/>
                  </a:cubicBezTo>
                  <a:cubicBezTo>
                    <a:pt x="215" y="71"/>
                    <a:pt x="217" y="71"/>
                    <a:pt x="225" y="70"/>
                  </a:cubicBezTo>
                  <a:cubicBezTo>
                    <a:pt x="232" y="70"/>
                    <a:pt x="237" y="59"/>
                    <a:pt x="242" y="62"/>
                  </a:cubicBezTo>
                  <a:cubicBezTo>
                    <a:pt x="247" y="65"/>
                    <a:pt x="253" y="67"/>
                    <a:pt x="256" y="65"/>
                  </a:cubicBezTo>
                  <a:cubicBezTo>
                    <a:pt x="260" y="64"/>
                    <a:pt x="267" y="67"/>
                    <a:pt x="271" y="69"/>
                  </a:cubicBezTo>
                  <a:cubicBezTo>
                    <a:pt x="275" y="70"/>
                    <a:pt x="281" y="74"/>
                    <a:pt x="280" y="79"/>
                  </a:cubicBezTo>
                  <a:cubicBezTo>
                    <a:pt x="278" y="85"/>
                    <a:pt x="274" y="87"/>
                    <a:pt x="273" y="92"/>
                  </a:cubicBezTo>
                  <a:cubicBezTo>
                    <a:pt x="272" y="96"/>
                    <a:pt x="261" y="107"/>
                    <a:pt x="268" y="108"/>
                  </a:cubicBezTo>
                  <a:cubicBezTo>
                    <a:pt x="275" y="108"/>
                    <a:pt x="281" y="113"/>
                    <a:pt x="282" y="115"/>
                  </a:cubicBezTo>
                  <a:cubicBezTo>
                    <a:pt x="282" y="115"/>
                    <a:pt x="283" y="117"/>
                    <a:pt x="284" y="118"/>
                  </a:cubicBezTo>
                  <a:cubicBezTo>
                    <a:pt x="285" y="119"/>
                    <a:pt x="285" y="121"/>
                    <a:pt x="285" y="121"/>
                  </a:cubicBezTo>
                  <a:cubicBezTo>
                    <a:pt x="283" y="122"/>
                    <a:pt x="282" y="125"/>
                    <a:pt x="278" y="121"/>
                  </a:cubicBezTo>
                  <a:cubicBezTo>
                    <a:pt x="275" y="118"/>
                    <a:pt x="264" y="114"/>
                    <a:pt x="262" y="119"/>
                  </a:cubicBezTo>
                  <a:cubicBezTo>
                    <a:pt x="260" y="123"/>
                    <a:pt x="263" y="121"/>
                    <a:pt x="254" y="123"/>
                  </a:cubicBezTo>
                  <a:cubicBezTo>
                    <a:pt x="245" y="125"/>
                    <a:pt x="243" y="125"/>
                    <a:pt x="237" y="129"/>
                  </a:cubicBezTo>
                  <a:cubicBezTo>
                    <a:pt x="230" y="134"/>
                    <a:pt x="226" y="133"/>
                    <a:pt x="222" y="138"/>
                  </a:cubicBezTo>
                  <a:cubicBezTo>
                    <a:pt x="218" y="142"/>
                    <a:pt x="214" y="141"/>
                    <a:pt x="213" y="148"/>
                  </a:cubicBezTo>
                  <a:cubicBezTo>
                    <a:pt x="211" y="154"/>
                    <a:pt x="211" y="159"/>
                    <a:pt x="208" y="164"/>
                  </a:cubicBezTo>
                  <a:cubicBezTo>
                    <a:pt x="205" y="169"/>
                    <a:pt x="204" y="174"/>
                    <a:pt x="206" y="176"/>
                  </a:cubicBezTo>
                  <a:cubicBezTo>
                    <a:pt x="207" y="178"/>
                    <a:pt x="211" y="181"/>
                    <a:pt x="206" y="184"/>
                  </a:cubicBezTo>
                  <a:cubicBezTo>
                    <a:pt x="202" y="187"/>
                    <a:pt x="194" y="194"/>
                    <a:pt x="194" y="199"/>
                  </a:cubicBezTo>
                  <a:cubicBezTo>
                    <a:pt x="195" y="204"/>
                    <a:pt x="186" y="206"/>
                    <a:pt x="189" y="212"/>
                  </a:cubicBezTo>
                  <a:cubicBezTo>
                    <a:pt x="193" y="219"/>
                    <a:pt x="195" y="220"/>
                    <a:pt x="198" y="228"/>
                  </a:cubicBezTo>
                  <a:cubicBezTo>
                    <a:pt x="202" y="236"/>
                    <a:pt x="200" y="237"/>
                    <a:pt x="204" y="241"/>
                  </a:cubicBezTo>
                  <a:cubicBezTo>
                    <a:pt x="208" y="245"/>
                    <a:pt x="212" y="248"/>
                    <a:pt x="213" y="255"/>
                  </a:cubicBezTo>
                  <a:cubicBezTo>
                    <a:pt x="213" y="263"/>
                    <a:pt x="208" y="267"/>
                    <a:pt x="215" y="267"/>
                  </a:cubicBezTo>
                  <a:cubicBezTo>
                    <a:pt x="222" y="267"/>
                    <a:pt x="228" y="265"/>
                    <a:pt x="232" y="270"/>
                  </a:cubicBezTo>
                  <a:cubicBezTo>
                    <a:pt x="237" y="276"/>
                    <a:pt x="237" y="281"/>
                    <a:pt x="240" y="281"/>
                  </a:cubicBezTo>
                  <a:cubicBezTo>
                    <a:pt x="244" y="281"/>
                    <a:pt x="253" y="287"/>
                    <a:pt x="259" y="280"/>
                  </a:cubicBezTo>
                  <a:cubicBezTo>
                    <a:pt x="266" y="272"/>
                    <a:pt x="279" y="259"/>
                    <a:pt x="277" y="269"/>
                  </a:cubicBezTo>
                  <a:cubicBezTo>
                    <a:pt x="275" y="279"/>
                    <a:pt x="273" y="301"/>
                    <a:pt x="279" y="306"/>
                  </a:cubicBezTo>
                  <a:cubicBezTo>
                    <a:pt x="284" y="310"/>
                    <a:pt x="285" y="307"/>
                    <a:pt x="295" y="307"/>
                  </a:cubicBezTo>
                  <a:cubicBezTo>
                    <a:pt x="298" y="307"/>
                    <a:pt x="300" y="307"/>
                    <a:pt x="303" y="307"/>
                  </a:cubicBezTo>
                  <a:cubicBezTo>
                    <a:pt x="306" y="316"/>
                    <a:pt x="311" y="325"/>
                    <a:pt x="317" y="331"/>
                  </a:cubicBezTo>
                  <a:cubicBezTo>
                    <a:pt x="317" y="331"/>
                    <a:pt x="320" y="335"/>
                    <a:pt x="322" y="339"/>
                  </a:cubicBezTo>
                  <a:cubicBezTo>
                    <a:pt x="324" y="343"/>
                    <a:pt x="326" y="346"/>
                    <a:pt x="327" y="349"/>
                  </a:cubicBezTo>
                  <a:cubicBezTo>
                    <a:pt x="328" y="351"/>
                    <a:pt x="331" y="354"/>
                    <a:pt x="328" y="356"/>
                  </a:cubicBezTo>
                  <a:cubicBezTo>
                    <a:pt x="326" y="359"/>
                    <a:pt x="323" y="358"/>
                    <a:pt x="323" y="364"/>
                  </a:cubicBezTo>
                  <a:cubicBezTo>
                    <a:pt x="323" y="369"/>
                    <a:pt x="323" y="388"/>
                    <a:pt x="323" y="388"/>
                  </a:cubicBezTo>
                  <a:cubicBezTo>
                    <a:pt x="324" y="388"/>
                    <a:pt x="329" y="394"/>
                    <a:pt x="328" y="399"/>
                  </a:cubicBezTo>
                  <a:cubicBezTo>
                    <a:pt x="327" y="404"/>
                    <a:pt x="325" y="403"/>
                    <a:pt x="322" y="409"/>
                  </a:cubicBezTo>
                  <a:cubicBezTo>
                    <a:pt x="320" y="414"/>
                    <a:pt x="317" y="413"/>
                    <a:pt x="319" y="419"/>
                  </a:cubicBezTo>
                  <a:cubicBezTo>
                    <a:pt x="320" y="424"/>
                    <a:pt x="324" y="423"/>
                    <a:pt x="322" y="429"/>
                  </a:cubicBezTo>
                  <a:cubicBezTo>
                    <a:pt x="322" y="432"/>
                    <a:pt x="321" y="434"/>
                    <a:pt x="320" y="435"/>
                  </a:cubicBezTo>
                  <a:cubicBezTo>
                    <a:pt x="318" y="433"/>
                    <a:pt x="316" y="431"/>
                    <a:pt x="313" y="430"/>
                  </a:cubicBezTo>
                  <a:cubicBezTo>
                    <a:pt x="307" y="428"/>
                    <a:pt x="305" y="428"/>
                    <a:pt x="305" y="429"/>
                  </a:cubicBezTo>
                  <a:cubicBezTo>
                    <a:pt x="305" y="430"/>
                    <a:pt x="305" y="431"/>
                    <a:pt x="305" y="431"/>
                  </a:cubicBezTo>
                  <a:cubicBezTo>
                    <a:pt x="305" y="435"/>
                    <a:pt x="307" y="436"/>
                    <a:pt x="305" y="438"/>
                  </a:cubicBezTo>
                  <a:cubicBezTo>
                    <a:pt x="304" y="439"/>
                    <a:pt x="299" y="441"/>
                    <a:pt x="303" y="443"/>
                  </a:cubicBezTo>
                  <a:cubicBezTo>
                    <a:pt x="307" y="445"/>
                    <a:pt x="314" y="444"/>
                    <a:pt x="316" y="447"/>
                  </a:cubicBezTo>
                  <a:cubicBezTo>
                    <a:pt x="318" y="450"/>
                    <a:pt x="318" y="452"/>
                    <a:pt x="319" y="454"/>
                  </a:cubicBezTo>
                  <a:cubicBezTo>
                    <a:pt x="319" y="456"/>
                    <a:pt x="321" y="456"/>
                    <a:pt x="323" y="456"/>
                  </a:cubicBezTo>
                  <a:cubicBezTo>
                    <a:pt x="325" y="456"/>
                    <a:pt x="326" y="456"/>
                    <a:pt x="328" y="455"/>
                  </a:cubicBezTo>
                  <a:cubicBezTo>
                    <a:pt x="329" y="456"/>
                    <a:pt x="330" y="457"/>
                    <a:pt x="330" y="459"/>
                  </a:cubicBezTo>
                  <a:cubicBezTo>
                    <a:pt x="331" y="463"/>
                    <a:pt x="331" y="467"/>
                    <a:pt x="328" y="472"/>
                  </a:cubicBezTo>
                  <a:cubicBezTo>
                    <a:pt x="325" y="476"/>
                    <a:pt x="323" y="479"/>
                    <a:pt x="321" y="482"/>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49" name="Freeform 1027">
              <a:extLst>
                <a:ext uri="{FF2B5EF4-FFF2-40B4-BE49-F238E27FC236}">
                  <a16:creationId xmlns:a16="http://schemas.microsoft.com/office/drawing/2014/main" id="{88169FA0-2058-D04C-94FF-3640255EBAA0}"/>
                </a:ext>
              </a:extLst>
            </p:cNvPr>
            <p:cNvSpPr>
              <a:spLocks/>
            </p:cNvSpPr>
            <p:nvPr/>
          </p:nvSpPr>
          <p:spPr bwMode="auto">
            <a:xfrm>
              <a:off x="2381258" y="2926220"/>
              <a:ext cx="304801" cy="350838"/>
            </a:xfrm>
            <a:custGeom>
              <a:avLst/>
              <a:gdLst>
                <a:gd name="T0" fmla="*/ 311 w 320"/>
                <a:gd name="T1" fmla="*/ 286 h 368"/>
                <a:gd name="T2" fmla="*/ 308 w 320"/>
                <a:gd name="T3" fmla="*/ 296 h 368"/>
                <a:gd name="T4" fmla="*/ 293 w 320"/>
                <a:gd name="T5" fmla="*/ 276 h 368"/>
                <a:gd name="T6" fmla="*/ 256 w 320"/>
                <a:gd name="T7" fmla="*/ 269 h 368"/>
                <a:gd name="T8" fmla="*/ 219 w 320"/>
                <a:gd name="T9" fmla="*/ 275 h 368"/>
                <a:gd name="T10" fmla="*/ 208 w 320"/>
                <a:gd name="T11" fmla="*/ 308 h 368"/>
                <a:gd name="T12" fmla="*/ 204 w 320"/>
                <a:gd name="T13" fmla="*/ 342 h 368"/>
                <a:gd name="T14" fmla="*/ 203 w 320"/>
                <a:gd name="T15" fmla="*/ 350 h 368"/>
                <a:gd name="T16" fmla="*/ 180 w 320"/>
                <a:gd name="T17" fmla="*/ 344 h 368"/>
                <a:gd name="T18" fmla="*/ 166 w 320"/>
                <a:gd name="T19" fmla="*/ 362 h 368"/>
                <a:gd name="T20" fmla="*/ 139 w 320"/>
                <a:gd name="T21" fmla="*/ 347 h 368"/>
                <a:gd name="T22" fmla="*/ 111 w 320"/>
                <a:gd name="T23" fmla="*/ 343 h 368"/>
                <a:gd name="T24" fmla="*/ 93 w 320"/>
                <a:gd name="T25" fmla="*/ 367 h 368"/>
                <a:gd name="T26" fmla="*/ 78 w 320"/>
                <a:gd name="T27" fmla="*/ 367 h 368"/>
                <a:gd name="T28" fmla="*/ 70 w 320"/>
                <a:gd name="T29" fmla="*/ 348 h 368"/>
                <a:gd name="T30" fmla="*/ 63 w 320"/>
                <a:gd name="T31" fmla="*/ 328 h 368"/>
                <a:gd name="T32" fmla="*/ 53 w 320"/>
                <a:gd name="T33" fmla="*/ 314 h 368"/>
                <a:gd name="T34" fmla="*/ 46 w 320"/>
                <a:gd name="T35" fmla="*/ 297 h 368"/>
                <a:gd name="T36" fmla="*/ 47 w 320"/>
                <a:gd name="T37" fmla="*/ 282 h 368"/>
                <a:gd name="T38" fmla="*/ 41 w 320"/>
                <a:gd name="T39" fmla="*/ 262 h 368"/>
                <a:gd name="T40" fmla="*/ 29 w 320"/>
                <a:gd name="T41" fmla="*/ 236 h 368"/>
                <a:gd name="T42" fmla="*/ 23 w 320"/>
                <a:gd name="T43" fmla="*/ 224 h 368"/>
                <a:gd name="T44" fmla="*/ 19 w 320"/>
                <a:gd name="T45" fmla="*/ 218 h 368"/>
                <a:gd name="T46" fmla="*/ 25 w 320"/>
                <a:gd name="T47" fmla="*/ 199 h 368"/>
                <a:gd name="T48" fmla="*/ 25 w 320"/>
                <a:gd name="T49" fmla="*/ 182 h 368"/>
                <a:gd name="T50" fmla="*/ 29 w 320"/>
                <a:gd name="T51" fmla="*/ 172 h 368"/>
                <a:gd name="T52" fmla="*/ 17 w 320"/>
                <a:gd name="T53" fmla="*/ 162 h 368"/>
                <a:gd name="T54" fmla="*/ 16 w 320"/>
                <a:gd name="T55" fmla="*/ 146 h 368"/>
                <a:gd name="T56" fmla="*/ 25 w 320"/>
                <a:gd name="T57" fmla="*/ 126 h 368"/>
                <a:gd name="T58" fmla="*/ 20 w 320"/>
                <a:gd name="T59" fmla="*/ 91 h 368"/>
                <a:gd name="T60" fmla="*/ 24 w 320"/>
                <a:gd name="T61" fmla="*/ 76 h 368"/>
                <a:gd name="T62" fmla="*/ 14 w 320"/>
                <a:gd name="T63" fmla="*/ 58 h 368"/>
                <a:gd name="T64" fmla="*/ 18 w 320"/>
                <a:gd name="T65" fmla="*/ 35 h 368"/>
                <a:gd name="T66" fmla="*/ 51 w 320"/>
                <a:gd name="T67" fmla="*/ 20 h 368"/>
                <a:gd name="T68" fmla="*/ 81 w 320"/>
                <a:gd name="T69" fmla="*/ 4 h 368"/>
                <a:gd name="T70" fmla="*/ 104 w 320"/>
                <a:gd name="T71" fmla="*/ 20 h 368"/>
                <a:gd name="T72" fmla="*/ 106 w 320"/>
                <a:gd name="T73" fmla="*/ 47 h 368"/>
                <a:gd name="T74" fmla="*/ 130 w 320"/>
                <a:gd name="T75" fmla="*/ 71 h 368"/>
                <a:gd name="T76" fmla="*/ 163 w 320"/>
                <a:gd name="T77" fmla="*/ 84 h 368"/>
                <a:gd name="T78" fmla="*/ 198 w 320"/>
                <a:gd name="T79" fmla="*/ 104 h 368"/>
                <a:gd name="T80" fmla="*/ 226 w 320"/>
                <a:gd name="T81" fmla="*/ 112 h 368"/>
                <a:gd name="T82" fmla="*/ 240 w 320"/>
                <a:gd name="T83" fmla="*/ 138 h 368"/>
                <a:gd name="T84" fmla="*/ 237 w 320"/>
                <a:gd name="T85" fmla="*/ 160 h 368"/>
                <a:gd name="T86" fmla="*/ 247 w 320"/>
                <a:gd name="T87" fmla="*/ 182 h 368"/>
                <a:gd name="T88" fmla="*/ 291 w 320"/>
                <a:gd name="T89" fmla="*/ 188 h 368"/>
                <a:gd name="T90" fmla="*/ 295 w 320"/>
                <a:gd name="T91" fmla="*/ 214 h 368"/>
                <a:gd name="T92" fmla="*/ 315 w 320"/>
                <a:gd name="T93" fmla="*/ 234 h 368"/>
                <a:gd name="T94" fmla="*/ 309 w 320"/>
                <a:gd name="T95" fmla="*/ 27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368">
                  <a:moveTo>
                    <a:pt x="309" y="272"/>
                  </a:moveTo>
                  <a:cubicBezTo>
                    <a:pt x="308" y="276"/>
                    <a:pt x="309" y="283"/>
                    <a:pt x="311" y="286"/>
                  </a:cubicBezTo>
                  <a:cubicBezTo>
                    <a:pt x="314" y="289"/>
                    <a:pt x="307" y="290"/>
                    <a:pt x="308" y="296"/>
                  </a:cubicBezTo>
                  <a:cubicBezTo>
                    <a:pt x="308" y="296"/>
                    <a:pt x="308" y="296"/>
                    <a:pt x="308" y="296"/>
                  </a:cubicBezTo>
                  <a:cubicBezTo>
                    <a:pt x="306" y="296"/>
                    <a:pt x="306" y="287"/>
                    <a:pt x="306" y="284"/>
                  </a:cubicBezTo>
                  <a:cubicBezTo>
                    <a:pt x="305" y="280"/>
                    <a:pt x="298" y="279"/>
                    <a:pt x="293" y="276"/>
                  </a:cubicBezTo>
                  <a:cubicBezTo>
                    <a:pt x="288" y="272"/>
                    <a:pt x="281" y="269"/>
                    <a:pt x="276" y="267"/>
                  </a:cubicBezTo>
                  <a:cubicBezTo>
                    <a:pt x="272" y="265"/>
                    <a:pt x="267" y="268"/>
                    <a:pt x="256" y="269"/>
                  </a:cubicBezTo>
                  <a:cubicBezTo>
                    <a:pt x="244" y="270"/>
                    <a:pt x="246" y="269"/>
                    <a:pt x="241" y="271"/>
                  </a:cubicBezTo>
                  <a:cubicBezTo>
                    <a:pt x="235" y="273"/>
                    <a:pt x="223" y="275"/>
                    <a:pt x="219" y="275"/>
                  </a:cubicBezTo>
                  <a:cubicBezTo>
                    <a:pt x="215" y="275"/>
                    <a:pt x="213" y="287"/>
                    <a:pt x="210" y="291"/>
                  </a:cubicBezTo>
                  <a:cubicBezTo>
                    <a:pt x="206" y="296"/>
                    <a:pt x="208" y="300"/>
                    <a:pt x="208" y="308"/>
                  </a:cubicBezTo>
                  <a:cubicBezTo>
                    <a:pt x="209" y="316"/>
                    <a:pt x="207" y="324"/>
                    <a:pt x="206" y="329"/>
                  </a:cubicBezTo>
                  <a:cubicBezTo>
                    <a:pt x="206" y="334"/>
                    <a:pt x="206" y="338"/>
                    <a:pt x="204" y="342"/>
                  </a:cubicBezTo>
                  <a:cubicBezTo>
                    <a:pt x="202" y="345"/>
                    <a:pt x="202" y="348"/>
                    <a:pt x="203" y="350"/>
                  </a:cubicBezTo>
                  <a:cubicBezTo>
                    <a:pt x="203" y="350"/>
                    <a:pt x="203" y="350"/>
                    <a:pt x="203" y="350"/>
                  </a:cubicBezTo>
                  <a:cubicBezTo>
                    <a:pt x="198" y="345"/>
                    <a:pt x="200" y="346"/>
                    <a:pt x="196" y="343"/>
                  </a:cubicBezTo>
                  <a:cubicBezTo>
                    <a:pt x="192" y="340"/>
                    <a:pt x="186" y="343"/>
                    <a:pt x="180" y="344"/>
                  </a:cubicBezTo>
                  <a:cubicBezTo>
                    <a:pt x="175" y="344"/>
                    <a:pt x="173" y="344"/>
                    <a:pt x="169" y="348"/>
                  </a:cubicBezTo>
                  <a:cubicBezTo>
                    <a:pt x="165" y="351"/>
                    <a:pt x="170" y="355"/>
                    <a:pt x="166" y="362"/>
                  </a:cubicBezTo>
                  <a:cubicBezTo>
                    <a:pt x="162" y="368"/>
                    <a:pt x="164" y="365"/>
                    <a:pt x="158" y="361"/>
                  </a:cubicBezTo>
                  <a:cubicBezTo>
                    <a:pt x="152" y="356"/>
                    <a:pt x="149" y="348"/>
                    <a:pt x="139" y="347"/>
                  </a:cubicBezTo>
                  <a:cubicBezTo>
                    <a:pt x="129" y="347"/>
                    <a:pt x="125" y="343"/>
                    <a:pt x="118" y="337"/>
                  </a:cubicBezTo>
                  <a:cubicBezTo>
                    <a:pt x="111" y="331"/>
                    <a:pt x="113" y="337"/>
                    <a:pt x="111" y="343"/>
                  </a:cubicBezTo>
                  <a:cubicBezTo>
                    <a:pt x="109" y="350"/>
                    <a:pt x="104" y="350"/>
                    <a:pt x="98" y="356"/>
                  </a:cubicBezTo>
                  <a:cubicBezTo>
                    <a:pt x="93" y="361"/>
                    <a:pt x="93" y="363"/>
                    <a:pt x="93" y="367"/>
                  </a:cubicBezTo>
                  <a:cubicBezTo>
                    <a:pt x="91" y="368"/>
                    <a:pt x="90" y="368"/>
                    <a:pt x="88" y="368"/>
                  </a:cubicBezTo>
                  <a:cubicBezTo>
                    <a:pt x="83" y="368"/>
                    <a:pt x="82" y="368"/>
                    <a:pt x="78" y="367"/>
                  </a:cubicBezTo>
                  <a:cubicBezTo>
                    <a:pt x="75" y="367"/>
                    <a:pt x="75" y="359"/>
                    <a:pt x="74" y="356"/>
                  </a:cubicBezTo>
                  <a:cubicBezTo>
                    <a:pt x="74" y="352"/>
                    <a:pt x="70" y="350"/>
                    <a:pt x="70" y="348"/>
                  </a:cubicBezTo>
                  <a:cubicBezTo>
                    <a:pt x="69" y="346"/>
                    <a:pt x="68" y="342"/>
                    <a:pt x="67" y="338"/>
                  </a:cubicBezTo>
                  <a:cubicBezTo>
                    <a:pt x="65" y="333"/>
                    <a:pt x="64" y="331"/>
                    <a:pt x="63" y="328"/>
                  </a:cubicBezTo>
                  <a:cubicBezTo>
                    <a:pt x="63" y="325"/>
                    <a:pt x="61" y="324"/>
                    <a:pt x="59" y="320"/>
                  </a:cubicBezTo>
                  <a:cubicBezTo>
                    <a:pt x="57" y="316"/>
                    <a:pt x="55" y="315"/>
                    <a:pt x="53" y="314"/>
                  </a:cubicBezTo>
                  <a:cubicBezTo>
                    <a:pt x="51" y="312"/>
                    <a:pt x="52" y="309"/>
                    <a:pt x="51" y="306"/>
                  </a:cubicBezTo>
                  <a:cubicBezTo>
                    <a:pt x="50" y="304"/>
                    <a:pt x="47" y="300"/>
                    <a:pt x="46" y="297"/>
                  </a:cubicBezTo>
                  <a:cubicBezTo>
                    <a:pt x="46" y="295"/>
                    <a:pt x="47" y="292"/>
                    <a:pt x="49" y="290"/>
                  </a:cubicBezTo>
                  <a:cubicBezTo>
                    <a:pt x="52" y="289"/>
                    <a:pt x="48" y="286"/>
                    <a:pt x="47" y="282"/>
                  </a:cubicBezTo>
                  <a:cubicBezTo>
                    <a:pt x="46" y="279"/>
                    <a:pt x="50" y="276"/>
                    <a:pt x="49" y="271"/>
                  </a:cubicBezTo>
                  <a:cubicBezTo>
                    <a:pt x="49" y="267"/>
                    <a:pt x="43" y="266"/>
                    <a:pt x="41" y="262"/>
                  </a:cubicBezTo>
                  <a:cubicBezTo>
                    <a:pt x="39" y="259"/>
                    <a:pt x="32" y="253"/>
                    <a:pt x="32" y="247"/>
                  </a:cubicBezTo>
                  <a:cubicBezTo>
                    <a:pt x="32" y="240"/>
                    <a:pt x="30" y="239"/>
                    <a:pt x="29" y="236"/>
                  </a:cubicBezTo>
                  <a:cubicBezTo>
                    <a:pt x="29" y="234"/>
                    <a:pt x="28" y="235"/>
                    <a:pt x="26" y="232"/>
                  </a:cubicBezTo>
                  <a:cubicBezTo>
                    <a:pt x="25" y="228"/>
                    <a:pt x="24" y="227"/>
                    <a:pt x="23" y="224"/>
                  </a:cubicBezTo>
                  <a:cubicBezTo>
                    <a:pt x="22" y="222"/>
                    <a:pt x="20" y="220"/>
                    <a:pt x="19" y="218"/>
                  </a:cubicBezTo>
                  <a:cubicBezTo>
                    <a:pt x="19" y="218"/>
                    <a:pt x="19" y="218"/>
                    <a:pt x="19" y="218"/>
                  </a:cubicBezTo>
                  <a:cubicBezTo>
                    <a:pt x="18" y="217"/>
                    <a:pt x="17" y="212"/>
                    <a:pt x="18" y="209"/>
                  </a:cubicBezTo>
                  <a:cubicBezTo>
                    <a:pt x="20" y="206"/>
                    <a:pt x="22" y="203"/>
                    <a:pt x="25" y="199"/>
                  </a:cubicBezTo>
                  <a:cubicBezTo>
                    <a:pt x="28" y="194"/>
                    <a:pt x="28" y="190"/>
                    <a:pt x="27" y="186"/>
                  </a:cubicBezTo>
                  <a:cubicBezTo>
                    <a:pt x="27" y="184"/>
                    <a:pt x="26" y="183"/>
                    <a:pt x="25" y="182"/>
                  </a:cubicBezTo>
                  <a:cubicBezTo>
                    <a:pt x="27" y="182"/>
                    <a:pt x="29" y="181"/>
                    <a:pt x="30" y="179"/>
                  </a:cubicBezTo>
                  <a:cubicBezTo>
                    <a:pt x="32" y="176"/>
                    <a:pt x="33" y="175"/>
                    <a:pt x="29" y="172"/>
                  </a:cubicBezTo>
                  <a:cubicBezTo>
                    <a:pt x="25" y="169"/>
                    <a:pt x="24" y="168"/>
                    <a:pt x="22" y="166"/>
                  </a:cubicBezTo>
                  <a:cubicBezTo>
                    <a:pt x="21" y="165"/>
                    <a:pt x="19" y="164"/>
                    <a:pt x="17" y="162"/>
                  </a:cubicBezTo>
                  <a:cubicBezTo>
                    <a:pt x="18" y="161"/>
                    <a:pt x="19" y="159"/>
                    <a:pt x="19" y="156"/>
                  </a:cubicBezTo>
                  <a:cubicBezTo>
                    <a:pt x="21" y="150"/>
                    <a:pt x="17" y="151"/>
                    <a:pt x="16" y="146"/>
                  </a:cubicBezTo>
                  <a:cubicBezTo>
                    <a:pt x="14" y="140"/>
                    <a:pt x="17" y="141"/>
                    <a:pt x="19" y="136"/>
                  </a:cubicBezTo>
                  <a:cubicBezTo>
                    <a:pt x="22" y="130"/>
                    <a:pt x="24" y="131"/>
                    <a:pt x="25" y="126"/>
                  </a:cubicBezTo>
                  <a:cubicBezTo>
                    <a:pt x="26" y="121"/>
                    <a:pt x="21" y="115"/>
                    <a:pt x="20" y="115"/>
                  </a:cubicBezTo>
                  <a:cubicBezTo>
                    <a:pt x="20" y="115"/>
                    <a:pt x="20" y="96"/>
                    <a:pt x="20" y="91"/>
                  </a:cubicBezTo>
                  <a:cubicBezTo>
                    <a:pt x="20" y="85"/>
                    <a:pt x="23" y="86"/>
                    <a:pt x="25" y="83"/>
                  </a:cubicBezTo>
                  <a:cubicBezTo>
                    <a:pt x="28" y="81"/>
                    <a:pt x="25" y="78"/>
                    <a:pt x="24" y="76"/>
                  </a:cubicBezTo>
                  <a:cubicBezTo>
                    <a:pt x="23" y="73"/>
                    <a:pt x="21" y="70"/>
                    <a:pt x="19" y="66"/>
                  </a:cubicBezTo>
                  <a:cubicBezTo>
                    <a:pt x="17" y="62"/>
                    <a:pt x="14" y="58"/>
                    <a:pt x="14" y="58"/>
                  </a:cubicBezTo>
                  <a:cubicBezTo>
                    <a:pt x="8" y="52"/>
                    <a:pt x="3" y="43"/>
                    <a:pt x="0" y="34"/>
                  </a:cubicBezTo>
                  <a:cubicBezTo>
                    <a:pt x="7" y="33"/>
                    <a:pt x="12" y="32"/>
                    <a:pt x="18" y="35"/>
                  </a:cubicBezTo>
                  <a:cubicBezTo>
                    <a:pt x="26" y="39"/>
                    <a:pt x="32" y="31"/>
                    <a:pt x="36" y="27"/>
                  </a:cubicBezTo>
                  <a:cubicBezTo>
                    <a:pt x="40" y="23"/>
                    <a:pt x="50" y="23"/>
                    <a:pt x="51" y="20"/>
                  </a:cubicBezTo>
                  <a:cubicBezTo>
                    <a:pt x="52" y="18"/>
                    <a:pt x="62" y="10"/>
                    <a:pt x="66" y="8"/>
                  </a:cubicBezTo>
                  <a:cubicBezTo>
                    <a:pt x="70" y="6"/>
                    <a:pt x="72" y="5"/>
                    <a:pt x="81" y="4"/>
                  </a:cubicBezTo>
                  <a:cubicBezTo>
                    <a:pt x="90" y="3"/>
                    <a:pt x="103" y="0"/>
                    <a:pt x="104" y="4"/>
                  </a:cubicBezTo>
                  <a:cubicBezTo>
                    <a:pt x="105" y="9"/>
                    <a:pt x="105" y="16"/>
                    <a:pt x="104" y="20"/>
                  </a:cubicBezTo>
                  <a:cubicBezTo>
                    <a:pt x="103" y="25"/>
                    <a:pt x="105" y="25"/>
                    <a:pt x="106" y="31"/>
                  </a:cubicBezTo>
                  <a:cubicBezTo>
                    <a:pt x="107" y="37"/>
                    <a:pt x="100" y="39"/>
                    <a:pt x="106" y="47"/>
                  </a:cubicBezTo>
                  <a:cubicBezTo>
                    <a:pt x="112" y="55"/>
                    <a:pt x="110" y="57"/>
                    <a:pt x="115" y="61"/>
                  </a:cubicBezTo>
                  <a:cubicBezTo>
                    <a:pt x="121" y="66"/>
                    <a:pt x="125" y="68"/>
                    <a:pt x="130" y="71"/>
                  </a:cubicBezTo>
                  <a:cubicBezTo>
                    <a:pt x="135" y="75"/>
                    <a:pt x="138" y="78"/>
                    <a:pt x="147" y="78"/>
                  </a:cubicBezTo>
                  <a:cubicBezTo>
                    <a:pt x="156" y="79"/>
                    <a:pt x="155" y="77"/>
                    <a:pt x="163" y="84"/>
                  </a:cubicBezTo>
                  <a:cubicBezTo>
                    <a:pt x="171" y="90"/>
                    <a:pt x="169" y="88"/>
                    <a:pt x="178" y="94"/>
                  </a:cubicBezTo>
                  <a:cubicBezTo>
                    <a:pt x="186" y="100"/>
                    <a:pt x="192" y="100"/>
                    <a:pt x="198" y="104"/>
                  </a:cubicBezTo>
                  <a:cubicBezTo>
                    <a:pt x="204" y="109"/>
                    <a:pt x="201" y="108"/>
                    <a:pt x="210" y="108"/>
                  </a:cubicBezTo>
                  <a:cubicBezTo>
                    <a:pt x="219" y="108"/>
                    <a:pt x="222" y="107"/>
                    <a:pt x="226" y="112"/>
                  </a:cubicBezTo>
                  <a:cubicBezTo>
                    <a:pt x="231" y="117"/>
                    <a:pt x="231" y="118"/>
                    <a:pt x="233" y="124"/>
                  </a:cubicBezTo>
                  <a:cubicBezTo>
                    <a:pt x="234" y="129"/>
                    <a:pt x="239" y="134"/>
                    <a:pt x="240" y="138"/>
                  </a:cubicBezTo>
                  <a:cubicBezTo>
                    <a:pt x="240" y="142"/>
                    <a:pt x="240" y="148"/>
                    <a:pt x="240" y="149"/>
                  </a:cubicBezTo>
                  <a:cubicBezTo>
                    <a:pt x="239" y="150"/>
                    <a:pt x="231" y="154"/>
                    <a:pt x="237" y="160"/>
                  </a:cubicBezTo>
                  <a:cubicBezTo>
                    <a:pt x="242" y="165"/>
                    <a:pt x="244" y="166"/>
                    <a:pt x="244" y="170"/>
                  </a:cubicBezTo>
                  <a:cubicBezTo>
                    <a:pt x="244" y="175"/>
                    <a:pt x="239" y="181"/>
                    <a:pt x="247" y="182"/>
                  </a:cubicBezTo>
                  <a:cubicBezTo>
                    <a:pt x="254" y="183"/>
                    <a:pt x="256" y="183"/>
                    <a:pt x="266" y="184"/>
                  </a:cubicBezTo>
                  <a:cubicBezTo>
                    <a:pt x="276" y="185"/>
                    <a:pt x="293" y="182"/>
                    <a:pt x="291" y="188"/>
                  </a:cubicBezTo>
                  <a:cubicBezTo>
                    <a:pt x="290" y="194"/>
                    <a:pt x="292" y="199"/>
                    <a:pt x="291" y="204"/>
                  </a:cubicBezTo>
                  <a:cubicBezTo>
                    <a:pt x="291" y="209"/>
                    <a:pt x="289" y="210"/>
                    <a:pt x="295" y="214"/>
                  </a:cubicBezTo>
                  <a:cubicBezTo>
                    <a:pt x="301" y="218"/>
                    <a:pt x="306" y="214"/>
                    <a:pt x="308" y="223"/>
                  </a:cubicBezTo>
                  <a:cubicBezTo>
                    <a:pt x="309" y="231"/>
                    <a:pt x="313" y="225"/>
                    <a:pt x="315" y="234"/>
                  </a:cubicBezTo>
                  <a:cubicBezTo>
                    <a:pt x="318" y="243"/>
                    <a:pt x="320" y="246"/>
                    <a:pt x="315" y="254"/>
                  </a:cubicBezTo>
                  <a:cubicBezTo>
                    <a:pt x="311" y="262"/>
                    <a:pt x="311" y="268"/>
                    <a:pt x="309" y="272"/>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50" name="Freeform 1028">
              <a:extLst>
                <a:ext uri="{FF2B5EF4-FFF2-40B4-BE49-F238E27FC236}">
                  <a16:creationId xmlns:a16="http://schemas.microsoft.com/office/drawing/2014/main" id="{CAFC45E8-762B-2D4B-BAC9-835BB88562EE}"/>
                </a:ext>
              </a:extLst>
            </p:cNvPr>
            <p:cNvSpPr>
              <a:spLocks/>
            </p:cNvSpPr>
            <p:nvPr/>
          </p:nvSpPr>
          <p:spPr bwMode="auto">
            <a:xfrm>
              <a:off x="2100269" y="2629358"/>
              <a:ext cx="136525" cy="173038"/>
            </a:xfrm>
            <a:custGeom>
              <a:avLst/>
              <a:gdLst>
                <a:gd name="T0" fmla="*/ 140 w 143"/>
                <a:gd name="T1" fmla="*/ 66 h 181"/>
                <a:gd name="T2" fmla="*/ 137 w 143"/>
                <a:gd name="T3" fmla="*/ 73 h 181"/>
                <a:gd name="T4" fmla="*/ 129 w 143"/>
                <a:gd name="T5" fmla="*/ 88 h 181"/>
                <a:gd name="T6" fmla="*/ 118 w 143"/>
                <a:gd name="T7" fmla="*/ 103 h 181"/>
                <a:gd name="T8" fmla="*/ 103 w 143"/>
                <a:gd name="T9" fmla="*/ 113 h 181"/>
                <a:gd name="T10" fmla="*/ 81 w 143"/>
                <a:gd name="T11" fmla="*/ 122 h 181"/>
                <a:gd name="T12" fmla="*/ 72 w 143"/>
                <a:gd name="T13" fmla="*/ 131 h 181"/>
                <a:gd name="T14" fmla="*/ 65 w 143"/>
                <a:gd name="T15" fmla="*/ 143 h 181"/>
                <a:gd name="T16" fmla="*/ 62 w 143"/>
                <a:gd name="T17" fmla="*/ 157 h 181"/>
                <a:gd name="T18" fmla="*/ 57 w 143"/>
                <a:gd name="T19" fmla="*/ 167 h 181"/>
                <a:gd name="T20" fmla="*/ 51 w 143"/>
                <a:gd name="T21" fmla="*/ 177 h 181"/>
                <a:gd name="T22" fmla="*/ 40 w 143"/>
                <a:gd name="T23" fmla="*/ 175 h 181"/>
                <a:gd name="T24" fmla="*/ 38 w 143"/>
                <a:gd name="T25" fmla="*/ 165 h 181"/>
                <a:gd name="T26" fmla="*/ 23 w 143"/>
                <a:gd name="T27" fmla="*/ 161 h 181"/>
                <a:gd name="T28" fmla="*/ 15 w 143"/>
                <a:gd name="T29" fmla="*/ 165 h 181"/>
                <a:gd name="T30" fmla="*/ 14 w 143"/>
                <a:gd name="T31" fmla="*/ 155 h 181"/>
                <a:gd name="T32" fmla="*/ 21 w 143"/>
                <a:gd name="T33" fmla="*/ 148 h 181"/>
                <a:gd name="T34" fmla="*/ 19 w 143"/>
                <a:gd name="T35" fmla="*/ 141 h 181"/>
                <a:gd name="T36" fmla="*/ 18 w 143"/>
                <a:gd name="T37" fmla="*/ 136 h 181"/>
                <a:gd name="T38" fmla="*/ 24 w 143"/>
                <a:gd name="T39" fmla="*/ 133 h 181"/>
                <a:gd name="T40" fmla="*/ 22 w 143"/>
                <a:gd name="T41" fmla="*/ 123 h 181"/>
                <a:gd name="T42" fmla="*/ 28 w 143"/>
                <a:gd name="T43" fmla="*/ 114 h 181"/>
                <a:gd name="T44" fmla="*/ 19 w 143"/>
                <a:gd name="T45" fmla="*/ 113 h 181"/>
                <a:gd name="T46" fmla="*/ 12 w 143"/>
                <a:gd name="T47" fmla="*/ 113 h 181"/>
                <a:gd name="T48" fmla="*/ 1 w 143"/>
                <a:gd name="T49" fmla="*/ 106 h 181"/>
                <a:gd name="T50" fmla="*/ 2 w 143"/>
                <a:gd name="T51" fmla="*/ 101 h 181"/>
                <a:gd name="T52" fmla="*/ 4 w 143"/>
                <a:gd name="T53" fmla="*/ 92 h 181"/>
                <a:gd name="T54" fmla="*/ 3 w 143"/>
                <a:gd name="T55" fmla="*/ 81 h 181"/>
                <a:gd name="T56" fmla="*/ 1 w 143"/>
                <a:gd name="T57" fmla="*/ 68 h 181"/>
                <a:gd name="T58" fmla="*/ 11 w 143"/>
                <a:gd name="T59" fmla="*/ 60 h 181"/>
                <a:gd name="T60" fmla="*/ 11 w 143"/>
                <a:gd name="T61" fmla="*/ 50 h 181"/>
                <a:gd name="T62" fmla="*/ 19 w 143"/>
                <a:gd name="T63" fmla="*/ 38 h 181"/>
                <a:gd name="T64" fmla="*/ 20 w 143"/>
                <a:gd name="T65" fmla="*/ 27 h 181"/>
                <a:gd name="T66" fmla="*/ 23 w 143"/>
                <a:gd name="T67" fmla="*/ 16 h 181"/>
                <a:gd name="T68" fmla="*/ 38 w 143"/>
                <a:gd name="T69" fmla="*/ 10 h 181"/>
                <a:gd name="T70" fmla="*/ 50 w 143"/>
                <a:gd name="T71" fmla="*/ 3 h 181"/>
                <a:gd name="T72" fmla="*/ 52 w 143"/>
                <a:gd name="T73" fmla="*/ 0 h 181"/>
                <a:gd name="T74" fmla="*/ 55 w 143"/>
                <a:gd name="T75" fmla="*/ 1 h 181"/>
                <a:gd name="T76" fmla="*/ 66 w 143"/>
                <a:gd name="T77" fmla="*/ 12 h 181"/>
                <a:gd name="T78" fmla="*/ 80 w 143"/>
                <a:gd name="T79" fmla="*/ 17 h 181"/>
                <a:gd name="T80" fmla="*/ 89 w 143"/>
                <a:gd name="T81" fmla="*/ 26 h 181"/>
                <a:gd name="T82" fmla="*/ 95 w 143"/>
                <a:gd name="T83" fmla="*/ 30 h 181"/>
                <a:gd name="T84" fmla="*/ 111 w 143"/>
                <a:gd name="T85" fmla="*/ 30 h 181"/>
                <a:gd name="T86" fmla="*/ 123 w 143"/>
                <a:gd name="T87" fmla="*/ 30 h 181"/>
                <a:gd name="T88" fmla="*/ 134 w 143"/>
                <a:gd name="T89" fmla="*/ 41 h 181"/>
                <a:gd name="T90" fmla="*/ 134 w 143"/>
                <a:gd name="T91" fmla="*/ 41 h 181"/>
                <a:gd name="T92" fmla="*/ 138 w 143"/>
                <a:gd name="T93" fmla="*/ 48 h 181"/>
                <a:gd name="T94" fmla="*/ 142 w 143"/>
                <a:gd name="T95" fmla="*/ 59 h 181"/>
                <a:gd name="T96" fmla="*/ 140 w 143"/>
                <a:gd name="T97" fmla="*/ 6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3" h="181">
                  <a:moveTo>
                    <a:pt x="140" y="66"/>
                  </a:moveTo>
                  <a:cubicBezTo>
                    <a:pt x="138" y="67"/>
                    <a:pt x="139" y="69"/>
                    <a:pt x="137" y="73"/>
                  </a:cubicBezTo>
                  <a:cubicBezTo>
                    <a:pt x="136" y="76"/>
                    <a:pt x="131" y="84"/>
                    <a:pt x="129" y="88"/>
                  </a:cubicBezTo>
                  <a:cubicBezTo>
                    <a:pt x="126" y="92"/>
                    <a:pt x="124" y="96"/>
                    <a:pt x="118" y="103"/>
                  </a:cubicBezTo>
                  <a:cubicBezTo>
                    <a:pt x="113" y="110"/>
                    <a:pt x="112" y="110"/>
                    <a:pt x="103" y="113"/>
                  </a:cubicBezTo>
                  <a:cubicBezTo>
                    <a:pt x="95" y="116"/>
                    <a:pt x="93" y="121"/>
                    <a:pt x="81" y="122"/>
                  </a:cubicBezTo>
                  <a:cubicBezTo>
                    <a:pt x="69" y="123"/>
                    <a:pt x="77" y="126"/>
                    <a:pt x="72" y="131"/>
                  </a:cubicBezTo>
                  <a:cubicBezTo>
                    <a:pt x="67" y="136"/>
                    <a:pt x="69" y="136"/>
                    <a:pt x="65" y="143"/>
                  </a:cubicBezTo>
                  <a:cubicBezTo>
                    <a:pt x="62" y="150"/>
                    <a:pt x="63" y="150"/>
                    <a:pt x="62" y="157"/>
                  </a:cubicBezTo>
                  <a:cubicBezTo>
                    <a:pt x="61" y="163"/>
                    <a:pt x="58" y="164"/>
                    <a:pt x="57" y="167"/>
                  </a:cubicBezTo>
                  <a:cubicBezTo>
                    <a:pt x="56" y="171"/>
                    <a:pt x="53" y="175"/>
                    <a:pt x="51" y="177"/>
                  </a:cubicBezTo>
                  <a:cubicBezTo>
                    <a:pt x="49" y="180"/>
                    <a:pt x="46" y="181"/>
                    <a:pt x="40" y="175"/>
                  </a:cubicBezTo>
                  <a:cubicBezTo>
                    <a:pt x="35" y="169"/>
                    <a:pt x="40" y="170"/>
                    <a:pt x="38" y="165"/>
                  </a:cubicBezTo>
                  <a:cubicBezTo>
                    <a:pt x="36" y="160"/>
                    <a:pt x="29" y="164"/>
                    <a:pt x="23" y="161"/>
                  </a:cubicBezTo>
                  <a:cubicBezTo>
                    <a:pt x="18" y="158"/>
                    <a:pt x="20" y="164"/>
                    <a:pt x="15" y="165"/>
                  </a:cubicBezTo>
                  <a:cubicBezTo>
                    <a:pt x="11" y="165"/>
                    <a:pt x="14" y="160"/>
                    <a:pt x="14" y="155"/>
                  </a:cubicBezTo>
                  <a:cubicBezTo>
                    <a:pt x="14" y="149"/>
                    <a:pt x="15" y="153"/>
                    <a:pt x="21" y="148"/>
                  </a:cubicBezTo>
                  <a:cubicBezTo>
                    <a:pt x="26" y="143"/>
                    <a:pt x="22" y="144"/>
                    <a:pt x="19" y="141"/>
                  </a:cubicBezTo>
                  <a:cubicBezTo>
                    <a:pt x="17" y="139"/>
                    <a:pt x="17" y="138"/>
                    <a:pt x="18" y="136"/>
                  </a:cubicBezTo>
                  <a:cubicBezTo>
                    <a:pt x="20" y="135"/>
                    <a:pt x="21" y="134"/>
                    <a:pt x="24" y="133"/>
                  </a:cubicBezTo>
                  <a:cubicBezTo>
                    <a:pt x="30" y="128"/>
                    <a:pt x="24" y="126"/>
                    <a:pt x="22" y="123"/>
                  </a:cubicBezTo>
                  <a:cubicBezTo>
                    <a:pt x="19" y="120"/>
                    <a:pt x="26" y="116"/>
                    <a:pt x="28" y="114"/>
                  </a:cubicBezTo>
                  <a:cubicBezTo>
                    <a:pt x="29" y="113"/>
                    <a:pt x="23" y="112"/>
                    <a:pt x="19" y="113"/>
                  </a:cubicBezTo>
                  <a:cubicBezTo>
                    <a:pt x="16" y="113"/>
                    <a:pt x="16" y="116"/>
                    <a:pt x="12" y="113"/>
                  </a:cubicBezTo>
                  <a:cubicBezTo>
                    <a:pt x="8" y="109"/>
                    <a:pt x="2" y="107"/>
                    <a:pt x="1" y="106"/>
                  </a:cubicBezTo>
                  <a:cubicBezTo>
                    <a:pt x="0" y="105"/>
                    <a:pt x="0" y="103"/>
                    <a:pt x="2" y="101"/>
                  </a:cubicBezTo>
                  <a:cubicBezTo>
                    <a:pt x="4" y="99"/>
                    <a:pt x="5" y="95"/>
                    <a:pt x="4" y="92"/>
                  </a:cubicBezTo>
                  <a:cubicBezTo>
                    <a:pt x="2" y="88"/>
                    <a:pt x="1" y="85"/>
                    <a:pt x="3" y="81"/>
                  </a:cubicBezTo>
                  <a:cubicBezTo>
                    <a:pt x="5" y="77"/>
                    <a:pt x="2" y="74"/>
                    <a:pt x="1" y="68"/>
                  </a:cubicBezTo>
                  <a:cubicBezTo>
                    <a:pt x="0" y="62"/>
                    <a:pt x="6" y="63"/>
                    <a:pt x="11" y="60"/>
                  </a:cubicBezTo>
                  <a:cubicBezTo>
                    <a:pt x="15" y="56"/>
                    <a:pt x="12" y="55"/>
                    <a:pt x="11" y="50"/>
                  </a:cubicBezTo>
                  <a:cubicBezTo>
                    <a:pt x="11" y="45"/>
                    <a:pt x="17" y="43"/>
                    <a:pt x="19" y="38"/>
                  </a:cubicBezTo>
                  <a:cubicBezTo>
                    <a:pt x="21" y="34"/>
                    <a:pt x="23" y="33"/>
                    <a:pt x="20" y="27"/>
                  </a:cubicBezTo>
                  <a:cubicBezTo>
                    <a:pt x="18" y="21"/>
                    <a:pt x="20" y="20"/>
                    <a:pt x="23" y="16"/>
                  </a:cubicBezTo>
                  <a:cubicBezTo>
                    <a:pt x="26" y="13"/>
                    <a:pt x="32" y="11"/>
                    <a:pt x="38" y="10"/>
                  </a:cubicBezTo>
                  <a:cubicBezTo>
                    <a:pt x="44" y="9"/>
                    <a:pt x="44" y="8"/>
                    <a:pt x="50" y="3"/>
                  </a:cubicBezTo>
                  <a:cubicBezTo>
                    <a:pt x="51" y="2"/>
                    <a:pt x="52" y="1"/>
                    <a:pt x="52" y="0"/>
                  </a:cubicBezTo>
                  <a:cubicBezTo>
                    <a:pt x="53" y="0"/>
                    <a:pt x="54" y="0"/>
                    <a:pt x="55" y="1"/>
                  </a:cubicBezTo>
                  <a:cubicBezTo>
                    <a:pt x="56" y="3"/>
                    <a:pt x="62" y="9"/>
                    <a:pt x="66" y="12"/>
                  </a:cubicBezTo>
                  <a:cubicBezTo>
                    <a:pt x="70" y="16"/>
                    <a:pt x="76" y="16"/>
                    <a:pt x="80" y="17"/>
                  </a:cubicBezTo>
                  <a:cubicBezTo>
                    <a:pt x="85" y="18"/>
                    <a:pt x="88" y="21"/>
                    <a:pt x="89" y="26"/>
                  </a:cubicBezTo>
                  <a:cubicBezTo>
                    <a:pt x="90" y="31"/>
                    <a:pt x="90" y="29"/>
                    <a:pt x="95" y="30"/>
                  </a:cubicBezTo>
                  <a:cubicBezTo>
                    <a:pt x="101" y="30"/>
                    <a:pt x="106" y="30"/>
                    <a:pt x="111" y="30"/>
                  </a:cubicBezTo>
                  <a:cubicBezTo>
                    <a:pt x="115" y="29"/>
                    <a:pt x="117" y="30"/>
                    <a:pt x="123" y="30"/>
                  </a:cubicBezTo>
                  <a:cubicBezTo>
                    <a:pt x="130" y="30"/>
                    <a:pt x="131" y="37"/>
                    <a:pt x="134" y="41"/>
                  </a:cubicBezTo>
                  <a:cubicBezTo>
                    <a:pt x="134" y="41"/>
                    <a:pt x="134" y="41"/>
                    <a:pt x="134" y="41"/>
                  </a:cubicBezTo>
                  <a:cubicBezTo>
                    <a:pt x="136" y="44"/>
                    <a:pt x="136" y="45"/>
                    <a:pt x="138" y="48"/>
                  </a:cubicBezTo>
                  <a:cubicBezTo>
                    <a:pt x="141" y="52"/>
                    <a:pt x="140" y="57"/>
                    <a:pt x="142" y="59"/>
                  </a:cubicBezTo>
                  <a:cubicBezTo>
                    <a:pt x="143" y="62"/>
                    <a:pt x="142" y="66"/>
                    <a:pt x="140" y="66"/>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51" name="Freeform 1029">
              <a:extLst>
                <a:ext uri="{FF2B5EF4-FFF2-40B4-BE49-F238E27FC236}">
                  <a16:creationId xmlns:a16="http://schemas.microsoft.com/office/drawing/2014/main" id="{BFF4E2D1-BD5B-0E4E-BE7B-6F028D46FBE3}"/>
                </a:ext>
              </a:extLst>
            </p:cNvPr>
            <p:cNvSpPr>
              <a:spLocks/>
            </p:cNvSpPr>
            <p:nvPr/>
          </p:nvSpPr>
          <p:spPr bwMode="auto">
            <a:xfrm>
              <a:off x="2139957" y="2337257"/>
              <a:ext cx="293688" cy="441326"/>
            </a:xfrm>
            <a:custGeom>
              <a:avLst/>
              <a:gdLst>
                <a:gd name="T0" fmla="*/ 299 w 307"/>
                <a:gd name="T1" fmla="*/ 288 h 464"/>
                <a:gd name="T2" fmla="*/ 282 w 307"/>
                <a:gd name="T3" fmla="*/ 298 h 464"/>
                <a:gd name="T4" fmla="*/ 275 w 307"/>
                <a:gd name="T5" fmla="*/ 296 h 464"/>
                <a:gd name="T6" fmla="*/ 234 w 307"/>
                <a:gd name="T7" fmla="*/ 312 h 464"/>
                <a:gd name="T8" fmla="*/ 253 w 307"/>
                <a:gd name="T9" fmla="*/ 324 h 464"/>
                <a:gd name="T10" fmla="*/ 232 w 307"/>
                <a:gd name="T11" fmla="*/ 331 h 464"/>
                <a:gd name="T12" fmla="*/ 239 w 307"/>
                <a:gd name="T13" fmla="*/ 360 h 464"/>
                <a:gd name="T14" fmla="*/ 247 w 307"/>
                <a:gd name="T15" fmla="*/ 386 h 464"/>
                <a:gd name="T16" fmla="*/ 239 w 307"/>
                <a:gd name="T17" fmla="*/ 422 h 464"/>
                <a:gd name="T18" fmla="*/ 238 w 307"/>
                <a:gd name="T19" fmla="*/ 451 h 464"/>
                <a:gd name="T20" fmla="*/ 233 w 307"/>
                <a:gd name="T21" fmla="*/ 464 h 464"/>
                <a:gd name="T22" fmla="*/ 217 w 307"/>
                <a:gd name="T23" fmla="*/ 454 h 464"/>
                <a:gd name="T24" fmla="*/ 229 w 307"/>
                <a:gd name="T25" fmla="*/ 425 h 464"/>
                <a:gd name="T26" fmla="*/ 205 w 307"/>
                <a:gd name="T27" fmla="*/ 411 h 464"/>
                <a:gd name="T28" fmla="*/ 174 w 307"/>
                <a:gd name="T29" fmla="*/ 416 h 464"/>
                <a:gd name="T30" fmla="*/ 153 w 307"/>
                <a:gd name="T31" fmla="*/ 403 h 464"/>
                <a:gd name="T32" fmla="*/ 137 w 307"/>
                <a:gd name="T33" fmla="*/ 383 h 464"/>
                <a:gd name="T34" fmla="*/ 122 w 307"/>
                <a:gd name="T35" fmla="*/ 366 h 464"/>
                <a:gd name="T36" fmla="*/ 105 w 307"/>
                <a:gd name="T37" fmla="*/ 348 h 464"/>
                <a:gd name="T38" fmla="*/ 92 w 307"/>
                <a:gd name="T39" fmla="*/ 348 h 464"/>
                <a:gd name="T40" fmla="*/ 69 w 307"/>
                <a:gd name="T41" fmla="*/ 337 h 464"/>
                <a:gd name="T42" fmla="*/ 47 w 307"/>
                <a:gd name="T43" fmla="*/ 333 h 464"/>
                <a:gd name="T44" fmla="*/ 24 w 307"/>
                <a:gd name="T45" fmla="*/ 319 h 464"/>
                <a:gd name="T46" fmla="*/ 10 w 307"/>
                <a:gd name="T47" fmla="*/ 307 h 464"/>
                <a:gd name="T48" fmla="*/ 17 w 307"/>
                <a:gd name="T49" fmla="*/ 297 h 464"/>
                <a:gd name="T50" fmla="*/ 19 w 307"/>
                <a:gd name="T51" fmla="*/ 280 h 464"/>
                <a:gd name="T52" fmla="*/ 40 w 307"/>
                <a:gd name="T53" fmla="*/ 266 h 464"/>
                <a:gd name="T54" fmla="*/ 52 w 307"/>
                <a:gd name="T55" fmla="*/ 245 h 464"/>
                <a:gd name="T56" fmla="*/ 47 w 307"/>
                <a:gd name="T57" fmla="*/ 230 h 464"/>
                <a:gd name="T58" fmla="*/ 47 w 307"/>
                <a:gd name="T59" fmla="*/ 197 h 464"/>
                <a:gd name="T60" fmla="*/ 48 w 307"/>
                <a:gd name="T61" fmla="*/ 174 h 464"/>
                <a:gd name="T62" fmla="*/ 46 w 307"/>
                <a:gd name="T63" fmla="*/ 156 h 464"/>
                <a:gd name="T64" fmla="*/ 42 w 307"/>
                <a:gd name="T65" fmla="*/ 139 h 464"/>
                <a:gd name="T66" fmla="*/ 51 w 307"/>
                <a:gd name="T67" fmla="*/ 132 h 464"/>
                <a:gd name="T68" fmla="*/ 54 w 307"/>
                <a:gd name="T69" fmla="*/ 111 h 464"/>
                <a:gd name="T70" fmla="*/ 54 w 307"/>
                <a:gd name="T71" fmla="*/ 101 h 464"/>
                <a:gd name="T72" fmla="*/ 67 w 307"/>
                <a:gd name="T73" fmla="*/ 122 h 464"/>
                <a:gd name="T74" fmla="*/ 79 w 307"/>
                <a:gd name="T75" fmla="*/ 98 h 464"/>
                <a:gd name="T76" fmla="*/ 95 w 307"/>
                <a:gd name="T77" fmla="*/ 84 h 464"/>
                <a:gd name="T78" fmla="*/ 101 w 307"/>
                <a:gd name="T79" fmla="*/ 56 h 464"/>
                <a:gd name="T80" fmla="*/ 122 w 307"/>
                <a:gd name="T81" fmla="*/ 36 h 464"/>
                <a:gd name="T82" fmla="*/ 133 w 307"/>
                <a:gd name="T83" fmla="*/ 41 h 464"/>
                <a:gd name="T84" fmla="*/ 156 w 307"/>
                <a:gd name="T85" fmla="*/ 30 h 464"/>
                <a:gd name="T86" fmla="*/ 187 w 307"/>
                <a:gd name="T87" fmla="*/ 15 h 464"/>
                <a:gd name="T88" fmla="*/ 210 w 307"/>
                <a:gd name="T89" fmla="*/ 0 h 464"/>
                <a:gd name="T90" fmla="*/ 207 w 307"/>
                <a:gd name="T91" fmla="*/ 18 h 464"/>
                <a:gd name="T92" fmla="*/ 198 w 307"/>
                <a:gd name="T93" fmla="*/ 19 h 464"/>
                <a:gd name="T94" fmla="*/ 179 w 307"/>
                <a:gd name="T95" fmla="*/ 38 h 464"/>
                <a:gd name="T96" fmla="*/ 165 w 307"/>
                <a:gd name="T97" fmla="*/ 67 h 464"/>
                <a:gd name="T98" fmla="*/ 161 w 307"/>
                <a:gd name="T99" fmla="*/ 88 h 464"/>
                <a:gd name="T100" fmla="*/ 170 w 307"/>
                <a:gd name="T101" fmla="*/ 99 h 464"/>
                <a:gd name="T102" fmla="*/ 174 w 307"/>
                <a:gd name="T103" fmla="*/ 127 h 464"/>
                <a:gd name="T104" fmla="*/ 194 w 307"/>
                <a:gd name="T105" fmla="*/ 150 h 464"/>
                <a:gd name="T106" fmla="*/ 217 w 307"/>
                <a:gd name="T107" fmla="*/ 147 h 464"/>
                <a:gd name="T108" fmla="*/ 243 w 307"/>
                <a:gd name="T109" fmla="*/ 166 h 464"/>
                <a:gd name="T110" fmla="*/ 281 w 307"/>
                <a:gd name="T111" fmla="*/ 173 h 464"/>
                <a:gd name="T112" fmla="*/ 295 w 307"/>
                <a:gd name="T113" fmla="*/ 186 h 464"/>
                <a:gd name="T114" fmla="*/ 287 w 307"/>
                <a:gd name="T115" fmla="*/ 217 h 464"/>
                <a:gd name="T116" fmla="*/ 300 w 307"/>
                <a:gd name="T117" fmla="*/ 249 h 464"/>
                <a:gd name="T118" fmla="*/ 295 w 307"/>
                <a:gd name="T119" fmla="*/ 271 h 464"/>
                <a:gd name="T120" fmla="*/ 302 w 307"/>
                <a:gd name="T121" fmla="*/ 29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7" h="464">
                  <a:moveTo>
                    <a:pt x="302" y="290"/>
                  </a:moveTo>
                  <a:cubicBezTo>
                    <a:pt x="301" y="290"/>
                    <a:pt x="300" y="290"/>
                    <a:pt x="299" y="288"/>
                  </a:cubicBezTo>
                  <a:cubicBezTo>
                    <a:pt x="297" y="285"/>
                    <a:pt x="295" y="288"/>
                    <a:pt x="292" y="289"/>
                  </a:cubicBezTo>
                  <a:cubicBezTo>
                    <a:pt x="290" y="291"/>
                    <a:pt x="286" y="297"/>
                    <a:pt x="282" y="298"/>
                  </a:cubicBezTo>
                  <a:cubicBezTo>
                    <a:pt x="279" y="299"/>
                    <a:pt x="281" y="294"/>
                    <a:pt x="279" y="291"/>
                  </a:cubicBezTo>
                  <a:cubicBezTo>
                    <a:pt x="278" y="289"/>
                    <a:pt x="276" y="293"/>
                    <a:pt x="275" y="296"/>
                  </a:cubicBezTo>
                  <a:cubicBezTo>
                    <a:pt x="275" y="300"/>
                    <a:pt x="239" y="298"/>
                    <a:pt x="236" y="299"/>
                  </a:cubicBezTo>
                  <a:cubicBezTo>
                    <a:pt x="232" y="300"/>
                    <a:pt x="234" y="310"/>
                    <a:pt x="234" y="312"/>
                  </a:cubicBezTo>
                  <a:cubicBezTo>
                    <a:pt x="234" y="315"/>
                    <a:pt x="242" y="317"/>
                    <a:pt x="247" y="318"/>
                  </a:cubicBezTo>
                  <a:cubicBezTo>
                    <a:pt x="252" y="320"/>
                    <a:pt x="251" y="319"/>
                    <a:pt x="253" y="324"/>
                  </a:cubicBezTo>
                  <a:cubicBezTo>
                    <a:pt x="254" y="329"/>
                    <a:pt x="249" y="328"/>
                    <a:pt x="242" y="326"/>
                  </a:cubicBezTo>
                  <a:cubicBezTo>
                    <a:pt x="234" y="325"/>
                    <a:pt x="234" y="328"/>
                    <a:pt x="232" y="331"/>
                  </a:cubicBezTo>
                  <a:cubicBezTo>
                    <a:pt x="230" y="333"/>
                    <a:pt x="228" y="340"/>
                    <a:pt x="227" y="347"/>
                  </a:cubicBezTo>
                  <a:cubicBezTo>
                    <a:pt x="226" y="355"/>
                    <a:pt x="236" y="356"/>
                    <a:pt x="239" y="360"/>
                  </a:cubicBezTo>
                  <a:cubicBezTo>
                    <a:pt x="242" y="364"/>
                    <a:pt x="241" y="369"/>
                    <a:pt x="245" y="373"/>
                  </a:cubicBezTo>
                  <a:cubicBezTo>
                    <a:pt x="248" y="376"/>
                    <a:pt x="248" y="380"/>
                    <a:pt x="247" y="386"/>
                  </a:cubicBezTo>
                  <a:cubicBezTo>
                    <a:pt x="246" y="392"/>
                    <a:pt x="245" y="393"/>
                    <a:pt x="243" y="400"/>
                  </a:cubicBezTo>
                  <a:cubicBezTo>
                    <a:pt x="240" y="407"/>
                    <a:pt x="240" y="418"/>
                    <a:pt x="239" y="422"/>
                  </a:cubicBezTo>
                  <a:cubicBezTo>
                    <a:pt x="238" y="426"/>
                    <a:pt x="240" y="432"/>
                    <a:pt x="239" y="437"/>
                  </a:cubicBezTo>
                  <a:cubicBezTo>
                    <a:pt x="239" y="442"/>
                    <a:pt x="238" y="447"/>
                    <a:pt x="238" y="451"/>
                  </a:cubicBezTo>
                  <a:cubicBezTo>
                    <a:pt x="237" y="455"/>
                    <a:pt x="236" y="458"/>
                    <a:pt x="235" y="461"/>
                  </a:cubicBezTo>
                  <a:cubicBezTo>
                    <a:pt x="235" y="464"/>
                    <a:pt x="234" y="464"/>
                    <a:pt x="233" y="464"/>
                  </a:cubicBezTo>
                  <a:cubicBezTo>
                    <a:pt x="232" y="463"/>
                    <a:pt x="231" y="461"/>
                    <a:pt x="231" y="461"/>
                  </a:cubicBezTo>
                  <a:cubicBezTo>
                    <a:pt x="230" y="459"/>
                    <a:pt x="224" y="454"/>
                    <a:pt x="217" y="454"/>
                  </a:cubicBezTo>
                  <a:cubicBezTo>
                    <a:pt x="210" y="453"/>
                    <a:pt x="221" y="442"/>
                    <a:pt x="222" y="438"/>
                  </a:cubicBezTo>
                  <a:cubicBezTo>
                    <a:pt x="223" y="433"/>
                    <a:pt x="227" y="431"/>
                    <a:pt x="229" y="425"/>
                  </a:cubicBezTo>
                  <a:cubicBezTo>
                    <a:pt x="230" y="420"/>
                    <a:pt x="224" y="416"/>
                    <a:pt x="220" y="415"/>
                  </a:cubicBezTo>
                  <a:cubicBezTo>
                    <a:pt x="216" y="413"/>
                    <a:pt x="209" y="410"/>
                    <a:pt x="205" y="411"/>
                  </a:cubicBezTo>
                  <a:cubicBezTo>
                    <a:pt x="202" y="413"/>
                    <a:pt x="196" y="411"/>
                    <a:pt x="191" y="408"/>
                  </a:cubicBezTo>
                  <a:cubicBezTo>
                    <a:pt x="186" y="405"/>
                    <a:pt x="181" y="416"/>
                    <a:pt x="174" y="416"/>
                  </a:cubicBezTo>
                  <a:cubicBezTo>
                    <a:pt x="166" y="417"/>
                    <a:pt x="164" y="417"/>
                    <a:pt x="158" y="415"/>
                  </a:cubicBezTo>
                  <a:cubicBezTo>
                    <a:pt x="152" y="413"/>
                    <a:pt x="153" y="409"/>
                    <a:pt x="153" y="403"/>
                  </a:cubicBezTo>
                  <a:cubicBezTo>
                    <a:pt x="153" y="397"/>
                    <a:pt x="147" y="397"/>
                    <a:pt x="147" y="395"/>
                  </a:cubicBezTo>
                  <a:cubicBezTo>
                    <a:pt x="146" y="393"/>
                    <a:pt x="143" y="388"/>
                    <a:pt x="137" y="383"/>
                  </a:cubicBezTo>
                  <a:cubicBezTo>
                    <a:pt x="131" y="378"/>
                    <a:pt x="134" y="380"/>
                    <a:pt x="128" y="375"/>
                  </a:cubicBezTo>
                  <a:cubicBezTo>
                    <a:pt x="122" y="370"/>
                    <a:pt x="123" y="369"/>
                    <a:pt x="122" y="366"/>
                  </a:cubicBezTo>
                  <a:cubicBezTo>
                    <a:pt x="121" y="363"/>
                    <a:pt x="119" y="361"/>
                    <a:pt x="116" y="357"/>
                  </a:cubicBezTo>
                  <a:cubicBezTo>
                    <a:pt x="113" y="352"/>
                    <a:pt x="108" y="350"/>
                    <a:pt x="105" y="348"/>
                  </a:cubicBezTo>
                  <a:cubicBezTo>
                    <a:pt x="102" y="346"/>
                    <a:pt x="97" y="348"/>
                    <a:pt x="92" y="348"/>
                  </a:cubicBezTo>
                  <a:cubicBezTo>
                    <a:pt x="92" y="348"/>
                    <a:pt x="92" y="348"/>
                    <a:pt x="92" y="348"/>
                  </a:cubicBezTo>
                  <a:cubicBezTo>
                    <a:pt x="89" y="344"/>
                    <a:pt x="88" y="337"/>
                    <a:pt x="81" y="337"/>
                  </a:cubicBezTo>
                  <a:cubicBezTo>
                    <a:pt x="75" y="337"/>
                    <a:pt x="73" y="336"/>
                    <a:pt x="69" y="337"/>
                  </a:cubicBezTo>
                  <a:cubicBezTo>
                    <a:pt x="64" y="337"/>
                    <a:pt x="59" y="337"/>
                    <a:pt x="53" y="337"/>
                  </a:cubicBezTo>
                  <a:cubicBezTo>
                    <a:pt x="48" y="336"/>
                    <a:pt x="48" y="338"/>
                    <a:pt x="47" y="333"/>
                  </a:cubicBezTo>
                  <a:cubicBezTo>
                    <a:pt x="46" y="328"/>
                    <a:pt x="43" y="325"/>
                    <a:pt x="38" y="324"/>
                  </a:cubicBezTo>
                  <a:cubicBezTo>
                    <a:pt x="34" y="323"/>
                    <a:pt x="28" y="323"/>
                    <a:pt x="24" y="319"/>
                  </a:cubicBezTo>
                  <a:cubicBezTo>
                    <a:pt x="20" y="316"/>
                    <a:pt x="14" y="310"/>
                    <a:pt x="13" y="308"/>
                  </a:cubicBezTo>
                  <a:cubicBezTo>
                    <a:pt x="12" y="307"/>
                    <a:pt x="11" y="307"/>
                    <a:pt x="10" y="307"/>
                  </a:cubicBezTo>
                  <a:cubicBezTo>
                    <a:pt x="10" y="306"/>
                    <a:pt x="7" y="304"/>
                    <a:pt x="4" y="300"/>
                  </a:cubicBezTo>
                  <a:cubicBezTo>
                    <a:pt x="0" y="293"/>
                    <a:pt x="14" y="297"/>
                    <a:pt x="17" y="297"/>
                  </a:cubicBezTo>
                  <a:cubicBezTo>
                    <a:pt x="19" y="296"/>
                    <a:pt x="17" y="294"/>
                    <a:pt x="16" y="291"/>
                  </a:cubicBezTo>
                  <a:cubicBezTo>
                    <a:pt x="14" y="288"/>
                    <a:pt x="14" y="284"/>
                    <a:pt x="19" y="280"/>
                  </a:cubicBezTo>
                  <a:cubicBezTo>
                    <a:pt x="23" y="277"/>
                    <a:pt x="29" y="278"/>
                    <a:pt x="34" y="276"/>
                  </a:cubicBezTo>
                  <a:cubicBezTo>
                    <a:pt x="40" y="275"/>
                    <a:pt x="39" y="271"/>
                    <a:pt x="40" y="266"/>
                  </a:cubicBezTo>
                  <a:cubicBezTo>
                    <a:pt x="41" y="262"/>
                    <a:pt x="44" y="260"/>
                    <a:pt x="45" y="256"/>
                  </a:cubicBezTo>
                  <a:cubicBezTo>
                    <a:pt x="46" y="252"/>
                    <a:pt x="49" y="248"/>
                    <a:pt x="52" y="245"/>
                  </a:cubicBezTo>
                  <a:cubicBezTo>
                    <a:pt x="54" y="242"/>
                    <a:pt x="52" y="241"/>
                    <a:pt x="51" y="240"/>
                  </a:cubicBezTo>
                  <a:cubicBezTo>
                    <a:pt x="50" y="239"/>
                    <a:pt x="49" y="234"/>
                    <a:pt x="47" y="230"/>
                  </a:cubicBezTo>
                  <a:cubicBezTo>
                    <a:pt x="45" y="226"/>
                    <a:pt x="50" y="225"/>
                    <a:pt x="51" y="213"/>
                  </a:cubicBezTo>
                  <a:cubicBezTo>
                    <a:pt x="52" y="200"/>
                    <a:pt x="49" y="201"/>
                    <a:pt x="47" y="197"/>
                  </a:cubicBezTo>
                  <a:cubicBezTo>
                    <a:pt x="45" y="192"/>
                    <a:pt x="49" y="188"/>
                    <a:pt x="52" y="185"/>
                  </a:cubicBezTo>
                  <a:cubicBezTo>
                    <a:pt x="55" y="183"/>
                    <a:pt x="50" y="180"/>
                    <a:pt x="48" y="174"/>
                  </a:cubicBezTo>
                  <a:cubicBezTo>
                    <a:pt x="46" y="168"/>
                    <a:pt x="51" y="170"/>
                    <a:pt x="52" y="166"/>
                  </a:cubicBezTo>
                  <a:cubicBezTo>
                    <a:pt x="53" y="161"/>
                    <a:pt x="49" y="164"/>
                    <a:pt x="46" y="156"/>
                  </a:cubicBezTo>
                  <a:cubicBezTo>
                    <a:pt x="43" y="149"/>
                    <a:pt x="43" y="149"/>
                    <a:pt x="39" y="146"/>
                  </a:cubicBezTo>
                  <a:cubicBezTo>
                    <a:pt x="40" y="144"/>
                    <a:pt x="41" y="141"/>
                    <a:pt x="42" y="139"/>
                  </a:cubicBezTo>
                  <a:cubicBezTo>
                    <a:pt x="44" y="136"/>
                    <a:pt x="44" y="131"/>
                    <a:pt x="46" y="132"/>
                  </a:cubicBezTo>
                  <a:cubicBezTo>
                    <a:pt x="48" y="134"/>
                    <a:pt x="49" y="136"/>
                    <a:pt x="51" y="132"/>
                  </a:cubicBezTo>
                  <a:cubicBezTo>
                    <a:pt x="53" y="128"/>
                    <a:pt x="59" y="124"/>
                    <a:pt x="57" y="120"/>
                  </a:cubicBezTo>
                  <a:cubicBezTo>
                    <a:pt x="56" y="117"/>
                    <a:pt x="55" y="114"/>
                    <a:pt x="54" y="111"/>
                  </a:cubicBezTo>
                  <a:cubicBezTo>
                    <a:pt x="53" y="108"/>
                    <a:pt x="52" y="105"/>
                    <a:pt x="52" y="104"/>
                  </a:cubicBezTo>
                  <a:cubicBezTo>
                    <a:pt x="52" y="103"/>
                    <a:pt x="53" y="102"/>
                    <a:pt x="54" y="101"/>
                  </a:cubicBezTo>
                  <a:cubicBezTo>
                    <a:pt x="55" y="103"/>
                    <a:pt x="57" y="105"/>
                    <a:pt x="60" y="107"/>
                  </a:cubicBezTo>
                  <a:cubicBezTo>
                    <a:pt x="67" y="113"/>
                    <a:pt x="63" y="110"/>
                    <a:pt x="67" y="122"/>
                  </a:cubicBezTo>
                  <a:cubicBezTo>
                    <a:pt x="71" y="134"/>
                    <a:pt x="68" y="117"/>
                    <a:pt x="68" y="108"/>
                  </a:cubicBezTo>
                  <a:cubicBezTo>
                    <a:pt x="68" y="99"/>
                    <a:pt x="73" y="104"/>
                    <a:pt x="79" y="98"/>
                  </a:cubicBezTo>
                  <a:cubicBezTo>
                    <a:pt x="85" y="92"/>
                    <a:pt x="85" y="94"/>
                    <a:pt x="88" y="89"/>
                  </a:cubicBezTo>
                  <a:cubicBezTo>
                    <a:pt x="91" y="83"/>
                    <a:pt x="92" y="85"/>
                    <a:pt x="95" y="84"/>
                  </a:cubicBezTo>
                  <a:cubicBezTo>
                    <a:pt x="99" y="82"/>
                    <a:pt x="102" y="77"/>
                    <a:pt x="101" y="68"/>
                  </a:cubicBezTo>
                  <a:cubicBezTo>
                    <a:pt x="100" y="59"/>
                    <a:pt x="101" y="61"/>
                    <a:pt x="101" y="56"/>
                  </a:cubicBezTo>
                  <a:cubicBezTo>
                    <a:pt x="101" y="51"/>
                    <a:pt x="107" y="48"/>
                    <a:pt x="109" y="42"/>
                  </a:cubicBezTo>
                  <a:cubicBezTo>
                    <a:pt x="111" y="37"/>
                    <a:pt x="117" y="36"/>
                    <a:pt x="122" y="36"/>
                  </a:cubicBezTo>
                  <a:cubicBezTo>
                    <a:pt x="127" y="35"/>
                    <a:pt x="127" y="36"/>
                    <a:pt x="130" y="43"/>
                  </a:cubicBezTo>
                  <a:cubicBezTo>
                    <a:pt x="132" y="49"/>
                    <a:pt x="131" y="46"/>
                    <a:pt x="133" y="41"/>
                  </a:cubicBezTo>
                  <a:cubicBezTo>
                    <a:pt x="136" y="36"/>
                    <a:pt x="136" y="35"/>
                    <a:pt x="138" y="32"/>
                  </a:cubicBezTo>
                  <a:cubicBezTo>
                    <a:pt x="141" y="29"/>
                    <a:pt x="151" y="31"/>
                    <a:pt x="156" y="30"/>
                  </a:cubicBezTo>
                  <a:cubicBezTo>
                    <a:pt x="161" y="29"/>
                    <a:pt x="162" y="26"/>
                    <a:pt x="169" y="23"/>
                  </a:cubicBezTo>
                  <a:cubicBezTo>
                    <a:pt x="175" y="19"/>
                    <a:pt x="181" y="19"/>
                    <a:pt x="187" y="15"/>
                  </a:cubicBezTo>
                  <a:cubicBezTo>
                    <a:pt x="193" y="10"/>
                    <a:pt x="188" y="9"/>
                    <a:pt x="192" y="5"/>
                  </a:cubicBezTo>
                  <a:cubicBezTo>
                    <a:pt x="195" y="0"/>
                    <a:pt x="204" y="0"/>
                    <a:pt x="210" y="0"/>
                  </a:cubicBezTo>
                  <a:cubicBezTo>
                    <a:pt x="216" y="0"/>
                    <a:pt x="216" y="3"/>
                    <a:pt x="215" y="11"/>
                  </a:cubicBezTo>
                  <a:cubicBezTo>
                    <a:pt x="214" y="18"/>
                    <a:pt x="212" y="15"/>
                    <a:pt x="207" y="18"/>
                  </a:cubicBezTo>
                  <a:cubicBezTo>
                    <a:pt x="204" y="19"/>
                    <a:pt x="203" y="19"/>
                    <a:pt x="202" y="20"/>
                  </a:cubicBezTo>
                  <a:cubicBezTo>
                    <a:pt x="200" y="20"/>
                    <a:pt x="199" y="20"/>
                    <a:pt x="198" y="19"/>
                  </a:cubicBezTo>
                  <a:cubicBezTo>
                    <a:pt x="195" y="19"/>
                    <a:pt x="191" y="25"/>
                    <a:pt x="185" y="30"/>
                  </a:cubicBezTo>
                  <a:cubicBezTo>
                    <a:pt x="179" y="36"/>
                    <a:pt x="180" y="38"/>
                    <a:pt x="179" y="38"/>
                  </a:cubicBezTo>
                  <a:cubicBezTo>
                    <a:pt x="178" y="39"/>
                    <a:pt x="175" y="46"/>
                    <a:pt x="170" y="50"/>
                  </a:cubicBezTo>
                  <a:cubicBezTo>
                    <a:pt x="164" y="55"/>
                    <a:pt x="165" y="64"/>
                    <a:pt x="165" y="67"/>
                  </a:cubicBezTo>
                  <a:cubicBezTo>
                    <a:pt x="165" y="70"/>
                    <a:pt x="162" y="78"/>
                    <a:pt x="155" y="83"/>
                  </a:cubicBezTo>
                  <a:cubicBezTo>
                    <a:pt x="148" y="88"/>
                    <a:pt x="160" y="88"/>
                    <a:pt x="161" y="88"/>
                  </a:cubicBezTo>
                  <a:cubicBezTo>
                    <a:pt x="161" y="88"/>
                    <a:pt x="164" y="89"/>
                    <a:pt x="167" y="91"/>
                  </a:cubicBezTo>
                  <a:cubicBezTo>
                    <a:pt x="171" y="93"/>
                    <a:pt x="170" y="95"/>
                    <a:pt x="170" y="99"/>
                  </a:cubicBezTo>
                  <a:cubicBezTo>
                    <a:pt x="171" y="104"/>
                    <a:pt x="173" y="106"/>
                    <a:pt x="176" y="112"/>
                  </a:cubicBezTo>
                  <a:cubicBezTo>
                    <a:pt x="180" y="117"/>
                    <a:pt x="175" y="123"/>
                    <a:pt x="174" y="127"/>
                  </a:cubicBezTo>
                  <a:cubicBezTo>
                    <a:pt x="172" y="132"/>
                    <a:pt x="180" y="137"/>
                    <a:pt x="182" y="142"/>
                  </a:cubicBezTo>
                  <a:cubicBezTo>
                    <a:pt x="184" y="148"/>
                    <a:pt x="190" y="150"/>
                    <a:pt x="194" y="150"/>
                  </a:cubicBezTo>
                  <a:cubicBezTo>
                    <a:pt x="198" y="151"/>
                    <a:pt x="202" y="150"/>
                    <a:pt x="207" y="150"/>
                  </a:cubicBezTo>
                  <a:cubicBezTo>
                    <a:pt x="212" y="150"/>
                    <a:pt x="214" y="148"/>
                    <a:pt x="217" y="147"/>
                  </a:cubicBezTo>
                  <a:cubicBezTo>
                    <a:pt x="220" y="146"/>
                    <a:pt x="227" y="151"/>
                    <a:pt x="232" y="152"/>
                  </a:cubicBezTo>
                  <a:cubicBezTo>
                    <a:pt x="237" y="153"/>
                    <a:pt x="241" y="160"/>
                    <a:pt x="243" y="166"/>
                  </a:cubicBezTo>
                  <a:cubicBezTo>
                    <a:pt x="245" y="173"/>
                    <a:pt x="251" y="172"/>
                    <a:pt x="258" y="172"/>
                  </a:cubicBezTo>
                  <a:cubicBezTo>
                    <a:pt x="264" y="172"/>
                    <a:pt x="277" y="173"/>
                    <a:pt x="281" y="173"/>
                  </a:cubicBezTo>
                  <a:cubicBezTo>
                    <a:pt x="285" y="173"/>
                    <a:pt x="291" y="170"/>
                    <a:pt x="297" y="173"/>
                  </a:cubicBezTo>
                  <a:cubicBezTo>
                    <a:pt x="304" y="175"/>
                    <a:pt x="296" y="176"/>
                    <a:pt x="295" y="186"/>
                  </a:cubicBezTo>
                  <a:cubicBezTo>
                    <a:pt x="293" y="195"/>
                    <a:pt x="292" y="191"/>
                    <a:pt x="289" y="197"/>
                  </a:cubicBezTo>
                  <a:cubicBezTo>
                    <a:pt x="286" y="204"/>
                    <a:pt x="288" y="211"/>
                    <a:pt x="287" y="217"/>
                  </a:cubicBezTo>
                  <a:cubicBezTo>
                    <a:pt x="286" y="224"/>
                    <a:pt x="291" y="230"/>
                    <a:pt x="291" y="236"/>
                  </a:cubicBezTo>
                  <a:cubicBezTo>
                    <a:pt x="292" y="243"/>
                    <a:pt x="293" y="244"/>
                    <a:pt x="300" y="249"/>
                  </a:cubicBezTo>
                  <a:cubicBezTo>
                    <a:pt x="307" y="255"/>
                    <a:pt x="295" y="257"/>
                    <a:pt x="289" y="262"/>
                  </a:cubicBezTo>
                  <a:cubicBezTo>
                    <a:pt x="282" y="266"/>
                    <a:pt x="292" y="269"/>
                    <a:pt x="295" y="271"/>
                  </a:cubicBezTo>
                  <a:cubicBezTo>
                    <a:pt x="298" y="273"/>
                    <a:pt x="302" y="280"/>
                    <a:pt x="303" y="285"/>
                  </a:cubicBezTo>
                  <a:cubicBezTo>
                    <a:pt x="303" y="287"/>
                    <a:pt x="302" y="289"/>
                    <a:pt x="302" y="290"/>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52" name="Freeform 1030">
              <a:extLst>
                <a:ext uri="{FF2B5EF4-FFF2-40B4-BE49-F238E27FC236}">
                  <a16:creationId xmlns:a16="http://schemas.microsoft.com/office/drawing/2014/main" id="{2275B643-3B15-C348-915E-D7D6534BC19C}"/>
                </a:ext>
              </a:extLst>
            </p:cNvPr>
            <p:cNvSpPr>
              <a:spLocks/>
            </p:cNvSpPr>
            <p:nvPr/>
          </p:nvSpPr>
          <p:spPr bwMode="auto">
            <a:xfrm>
              <a:off x="2281245" y="2337257"/>
              <a:ext cx="325439" cy="312738"/>
            </a:xfrm>
            <a:custGeom>
              <a:avLst/>
              <a:gdLst>
                <a:gd name="T0" fmla="*/ 334 w 342"/>
                <a:gd name="T1" fmla="*/ 123 h 328"/>
                <a:gd name="T2" fmla="*/ 329 w 342"/>
                <a:gd name="T3" fmla="*/ 145 h 328"/>
                <a:gd name="T4" fmla="*/ 315 w 342"/>
                <a:gd name="T5" fmla="*/ 158 h 328"/>
                <a:gd name="T6" fmla="*/ 304 w 342"/>
                <a:gd name="T7" fmla="*/ 176 h 328"/>
                <a:gd name="T8" fmla="*/ 318 w 342"/>
                <a:gd name="T9" fmla="*/ 198 h 328"/>
                <a:gd name="T10" fmla="*/ 318 w 342"/>
                <a:gd name="T11" fmla="*/ 212 h 328"/>
                <a:gd name="T12" fmla="*/ 293 w 342"/>
                <a:gd name="T13" fmla="*/ 226 h 328"/>
                <a:gd name="T14" fmla="*/ 267 w 342"/>
                <a:gd name="T15" fmla="*/ 234 h 328"/>
                <a:gd name="T16" fmla="*/ 258 w 342"/>
                <a:gd name="T17" fmla="*/ 242 h 328"/>
                <a:gd name="T18" fmla="*/ 240 w 342"/>
                <a:gd name="T19" fmla="*/ 235 h 328"/>
                <a:gd name="T20" fmla="*/ 219 w 342"/>
                <a:gd name="T21" fmla="*/ 227 h 328"/>
                <a:gd name="T22" fmla="*/ 227 w 342"/>
                <a:gd name="T23" fmla="*/ 245 h 328"/>
                <a:gd name="T24" fmla="*/ 234 w 342"/>
                <a:gd name="T25" fmla="*/ 276 h 328"/>
                <a:gd name="T26" fmla="*/ 250 w 342"/>
                <a:gd name="T27" fmla="*/ 285 h 328"/>
                <a:gd name="T28" fmla="*/ 230 w 342"/>
                <a:gd name="T29" fmla="*/ 298 h 328"/>
                <a:gd name="T30" fmla="*/ 216 w 342"/>
                <a:gd name="T31" fmla="*/ 311 h 328"/>
                <a:gd name="T32" fmla="*/ 195 w 342"/>
                <a:gd name="T33" fmla="*/ 326 h 328"/>
                <a:gd name="T34" fmla="*/ 183 w 342"/>
                <a:gd name="T35" fmla="*/ 324 h 328"/>
                <a:gd name="T36" fmla="*/ 162 w 342"/>
                <a:gd name="T37" fmla="*/ 314 h 328"/>
                <a:gd name="T38" fmla="*/ 155 w 342"/>
                <a:gd name="T39" fmla="*/ 294 h 328"/>
                <a:gd name="T40" fmla="*/ 155 w 342"/>
                <a:gd name="T41" fmla="*/ 285 h 328"/>
                <a:gd name="T42" fmla="*/ 141 w 342"/>
                <a:gd name="T43" fmla="*/ 262 h 328"/>
                <a:gd name="T44" fmla="*/ 143 w 342"/>
                <a:gd name="T45" fmla="*/ 236 h 328"/>
                <a:gd name="T46" fmla="*/ 141 w 342"/>
                <a:gd name="T47" fmla="*/ 197 h 328"/>
                <a:gd name="T48" fmla="*/ 149 w 342"/>
                <a:gd name="T49" fmla="*/ 173 h 328"/>
                <a:gd name="T50" fmla="*/ 110 w 342"/>
                <a:gd name="T51" fmla="*/ 172 h 328"/>
                <a:gd name="T52" fmla="*/ 84 w 342"/>
                <a:gd name="T53" fmla="*/ 152 h 328"/>
                <a:gd name="T54" fmla="*/ 59 w 342"/>
                <a:gd name="T55" fmla="*/ 150 h 328"/>
                <a:gd name="T56" fmla="*/ 34 w 342"/>
                <a:gd name="T57" fmla="*/ 142 h 328"/>
                <a:gd name="T58" fmla="*/ 28 w 342"/>
                <a:gd name="T59" fmla="*/ 112 h 328"/>
                <a:gd name="T60" fmla="*/ 19 w 342"/>
                <a:gd name="T61" fmla="*/ 91 h 328"/>
                <a:gd name="T62" fmla="*/ 7 w 342"/>
                <a:gd name="T63" fmla="*/ 83 h 328"/>
                <a:gd name="T64" fmla="*/ 22 w 342"/>
                <a:gd name="T65" fmla="*/ 50 h 328"/>
                <a:gd name="T66" fmla="*/ 37 w 342"/>
                <a:gd name="T67" fmla="*/ 30 h 328"/>
                <a:gd name="T68" fmla="*/ 54 w 342"/>
                <a:gd name="T69" fmla="*/ 20 h 328"/>
                <a:gd name="T70" fmla="*/ 51 w 342"/>
                <a:gd name="T71" fmla="*/ 38 h 328"/>
                <a:gd name="T72" fmla="*/ 45 w 342"/>
                <a:gd name="T73" fmla="*/ 63 h 328"/>
                <a:gd name="T74" fmla="*/ 48 w 342"/>
                <a:gd name="T75" fmla="*/ 87 h 328"/>
                <a:gd name="T76" fmla="*/ 65 w 342"/>
                <a:gd name="T77" fmla="*/ 84 h 328"/>
                <a:gd name="T78" fmla="*/ 56 w 342"/>
                <a:gd name="T79" fmla="*/ 54 h 328"/>
                <a:gd name="T80" fmla="*/ 69 w 342"/>
                <a:gd name="T81" fmla="*/ 32 h 328"/>
                <a:gd name="T82" fmla="*/ 96 w 342"/>
                <a:gd name="T83" fmla="*/ 26 h 328"/>
                <a:gd name="T84" fmla="*/ 92 w 342"/>
                <a:gd name="T85" fmla="*/ 5 h 328"/>
                <a:gd name="T86" fmla="*/ 105 w 342"/>
                <a:gd name="T87" fmla="*/ 23 h 328"/>
                <a:gd name="T88" fmla="*/ 132 w 342"/>
                <a:gd name="T89" fmla="*/ 30 h 328"/>
                <a:gd name="T90" fmla="*/ 144 w 342"/>
                <a:gd name="T91" fmla="*/ 53 h 328"/>
                <a:gd name="T92" fmla="*/ 170 w 342"/>
                <a:gd name="T93" fmla="*/ 51 h 328"/>
                <a:gd name="T94" fmla="*/ 199 w 342"/>
                <a:gd name="T95" fmla="*/ 59 h 328"/>
                <a:gd name="T96" fmla="*/ 223 w 342"/>
                <a:gd name="T97" fmla="*/ 62 h 328"/>
                <a:gd name="T98" fmla="*/ 244 w 342"/>
                <a:gd name="T99" fmla="*/ 48 h 328"/>
                <a:gd name="T100" fmla="*/ 267 w 342"/>
                <a:gd name="T101" fmla="*/ 46 h 328"/>
                <a:gd name="T102" fmla="*/ 290 w 342"/>
                <a:gd name="T103" fmla="*/ 46 h 328"/>
                <a:gd name="T104" fmla="*/ 274 w 342"/>
                <a:gd name="T105" fmla="*/ 54 h 328"/>
                <a:gd name="T106" fmla="*/ 288 w 342"/>
                <a:gd name="T107" fmla="*/ 66 h 328"/>
                <a:gd name="T108" fmla="*/ 302 w 342"/>
                <a:gd name="T109" fmla="*/ 72 h 328"/>
                <a:gd name="T110" fmla="*/ 319 w 342"/>
                <a:gd name="T111" fmla="*/ 80 h 328"/>
                <a:gd name="T112" fmla="*/ 314 w 342"/>
                <a:gd name="T113" fmla="*/ 96 h 328"/>
                <a:gd name="T114" fmla="*/ 310 w 342"/>
                <a:gd name="T115" fmla="*/ 110 h 328"/>
                <a:gd name="T116" fmla="*/ 327 w 342"/>
                <a:gd name="T117" fmla="*/ 105 h 328"/>
                <a:gd name="T118" fmla="*/ 342 w 342"/>
                <a:gd name="T119" fmla="*/ 10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2" h="328">
                  <a:moveTo>
                    <a:pt x="342" y="113"/>
                  </a:moveTo>
                  <a:cubicBezTo>
                    <a:pt x="342" y="115"/>
                    <a:pt x="340" y="119"/>
                    <a:pt x="334" y="123"/>
                  </a:cubicBezTo>
                  <a:cubicBezTo>
                    <a:pt x="327" y="127"/>
                    <a:pt x="326" y="132"/>
                    <a:pt x="322" y="134"/>
                  </a:cubicBezTo>
                  <a:cubicBezTo>
                    <a:pt x="318" y="137"/>
                    <a:pt x="322" y="142"/>
                    <a:pt x="329" y="145"/>
                  </a:cubicBezTo>
                  <a:cubicBezTo>
                    <a:pt x="336" y="149"/>
                    <a:pt x="329" y="150"/>
                    <a:pt x="328" y="152"/>
                  </a:cubicBezTo>
                  <a:cubicBezTo>
                    <a:pt x="327" y="153"/>
                    <a:pt x="319" y="157"/>
                    <a:pt x="315" y="158"/>
                  </a:cubicBezTo>
                  <a:cubicBezTo>
                    <a:pt x="311" y="158"/>
                    <a:pt x="308" y="165"/>
                    <a:pt x="308" y="167"/>
                  </a:cubicBezTo>
                  <a:cubicBezTo>
                    <a:pt x="308" y="170"/>
                    <a:pt x="307" y="173"/>
                    <a:pt x="304" y="176"/>
                  </a:cubicBezTo>
                  <a:cubicBezTo>
                    <a:pt x="302" y="180"/>
                    <a:pt x="307" y="186"/>
                    <a:pt x="309" y="190"/>
                  </a:cubicBezTo>
                  <a:cubicBezTo>
                    <a:pt x="311" y="194"/>
                    <a:pt x="314" y="195"/>
                    <a:pt x="318" y="198"/>
                  </a:cubicBezTo>
                  <a:cubicBezTo>
                    <a:pt x="319" y="199"/>
                    <a:pt x="320" y="200"/>
                    <a:pt x="320" y="201"/>
                  </a:cubicBezTo>
                  <a:cubicBezTo>
                    <a:pt x="321" y="204"/>
                    <a:pt x="319" y="209"/>
                    <a:pt x="318" y="212"/>
                  </a:cubicBezTo>
                  <a:cubicBezTo>
                    <a:pt x="318" y="215"/>
                    <a:pt x="314" y="217"/>
                    <a:pt x="307" y="219"/>
                  </a:cubicBezTo>
                  <a:cubicBezTo>
                    <a:pt x="299" y="221"/>
                    <a:pt x="300" y="224"/>
                    <a:pt x="293" y="226"/>
                  </a:cubicBezTo>
                  <a:cubicBezTo>
                    <a:pt x="286" y="229"/>
                    <a:pt x="284" y="231"/>
                    <a:pt x="278" y="231"/>
                  </a:cubicBezTo>
                  <a:cubicBezTo>
                    <a:pt x="271" y="231"/>
                    <a:pt x="270" y="232"/>
                    <a:pt x="267" y="234"/>
                  </a:cubicBezTo>
                  <a:cubicBezTo>
                    <a:pt x="265" y="236"/>
                    <a:pt x="270" y="246"/>
                    <a:pt x="265" y="246"/>
                  </a:cubicBezTo>
                  <a:cubicBezTo>
                    <a:pt x="260" y="247"/>
                    <a:pt x="260" y="246"/>
                    <a:pt x="258" y="242"/>
                  </a:cubicBezTo>
                  <a:cubicBezTo>
                    <a:pt x="255" y="238"/>
                    <a:pt x="256" y="238"/>
                    <a:pt x="251" y="237"/>
                  </a:cubicBezTo>
                  <a:cubicBezTo>
                    <a:pt x="246" y="237"/>
                    <a:pt x="243" y="236"/>
                    <a:pt x="240" y="235"/>
                  </a:cubicBezTo>
                  <a:cubicBezTo>
                    <a:pt x="237" y="234"/>
                    <a:pt x="237" y="233"/>
                    <a:pt x="233" y="232"/>
                  </a:cubicBezTo>
                  <a:cubicBezTo>
                    <a:pt x="228" y="231"/>
                    <a:pt x="222" y="228"/>
                    <a:pt x="219" y="227"/>
                  </a:cubicBezTo>
                  <a:cubicBezTo>
                    <a:pt x="216" y="225"/>
                    <a:pt x="217" y="230"/>
                    <a:pt x="219" y="234"/>
                  </a:cubicBezTo>
                  <a:cubicBezTo>
                    <a:pt x="221" y="238"/>
                    <a:pt x="224" y="240"/>
                    <a:pt x="227" y="245"/>
                  </a:cubicBezTo>
                  <a:cubicBezTo>
                    <a:pt x="230" y="250"/>
                    <a:pt x="229" y="252"/>
                    <a:pt x="228" y="259"/>
                  </a:cubicBezTo>
                  <a:cubicBezTo>
                    <a:pt x="228" y="266"/>
                    <a:pt x="234" y="274"/>
                    <a:pt x="234" y="276"/>
                  </a:cubicBezTo>
                  <a:cubicBezTo>
                    <a:pt x="234" y="278"/>
                    <a:pt x="244" y="279"/>
                    <a:pt x="249" y="279"/>
                  </a:cubicBezTo>
                  <a:cubicBezTo>
                    <a:pt x="253" y="279"/>
                    <a:pt x="250" y="283"/>
                    <a:pt x="250" y="285"/>
                  </a:cubicBezTo>
                  <a:cubicBezTo>
                    <a:pt x="250" y="288"/>
                    <a:pt x="247" y="290"/>
                    <a:pt x="239" y="290"/>
                  </a:cubicBezTo>
                  <a:cubicBezTo>
                    <a:pt x="232" y="291"/>
                    <a:pt x="230" y="295"/>
                    <a:pt x="230" y="298"/>
                  </a:cubicBezTo>
                  <a:cubicBezTo>
                    <a:pt x="230" y="301"/>
                    <a:pt x="228" y="303"/>
                    <a:pt x="225" y="307"/>
                  </a:cubicBezTo>
                  <a:cubicBezTo>
                    <a:pt x="222" y="311"/>
                    <a:pt x="222" y="308"/>
                    <a:pt x="216" y="311"/>
                  </a:cubicBezTo>
                  <a:cubicBezTo>
                    <a:pt x="209" y="313"/>
                    <a:pt x="209" y="316"/>
                    <a:pt x="204" y="320"/>
                  </a:cubicBezTo>
                  <a:cubicBezTo>
                    <a:pt x="199" y="323"/>
                    <a:pt x="197" y="327"/>
                    <a:pt x="195" y="326"/>
                  </a:cubicBezTo>
                  <a:cubicBezTo>
                    <a:pt x="193" y="326"/>
                    <a:pt x="194" y="322"/>
                    <a:pt x="193" y="319"/>
                  </a:cubicBezTo>
                  <a:cubicBezTo>
                    <a:pt x="193" y="315"/>
                    <a:pt x="187" y="321"/>
                    <a:pt x="183" y="324"/>
                  </a:cubicBezTo>
                  <a:cubicBezTo>
                    <a:pt x="178" y="328"/>
                    <a:pt x="181" y="325"/>
                    <a:pt x="174" y="324"/>
                  </a:cubicBezTo>
                  <a:cubicBezTo>
                    <a:pt x="166" y="323"/>
                    <a:pt x="168" y="320"/>
                    <a:pt x="162" y="314"/>
                  </a:cubicBezTo>
                  <a:cubicBezTo>
                    <a:pt x="156" y="309"/>
                    <a:pt x="158" y="309"/>
                    <a:pt x="157" y="303"/>
                  </a:cubicBezTo>
                  <a:cubicBezTo>
                    <a:pt x="157" y="296"/>
                    <a:pt x="158" y="299"/>
                    <a:pt x="155" y="294"/>
                  </a:cubicBezTo>
                  <a:cubicBezTo>
                    <a:pt x="153" y="292"/>
                    <a:pt x="153" y="290"/>
                    <a:pt x="154" y="290"/>
                  </a:cubicBezTo>
                  <a:cubicBezTo>
                    <a:pt x="154" y="289"/>
                    <a:pt x="155" y="287"/>
                    <a:pt x="155" y="285"/>
                  </a:cubicBezTo>
                  <a:cubicBezTo>
                    <a:pt x="154" y="280"/>
                    <a:pt x="150" y="273"/>
                    <a:pt x="147" y="271"/>
                  </a:cubicBezTo>
                  <a:cubicBezTo>
                    <a:pt x="144" y="269"/>
                    <a:pt x="134" y="266"/>
                    <a:pt x="141" y="262"/>
                  </a:cubicBezTo>
                  <a:cubicBezTo>
                    <a:pt x="147" y="257"/>
                    <a:pt x="159" y="255"/>
                    <a:pt x="152" y="249"/>
                  </a:cubicBezTo>
                  <a:cubicBezTo>
                    <a:pt x="145" y="244"/>
                    <a:pt x="144" y="243"/>
                    <a:pt x="143" y="236"/>
                  </a:cubicBezTo>
                  <a:cubicBezTo>
                    <a:pt x="143" y="230"/>
                    <a:pt x="138" y="224"/>
                    <a:pt x="139" y="217"/>
                  </a:cubicBezTo>
                  <a:cubicBezTo>
                    <a:pt x="140" y="211"/>
                    <a:pt x="138" y="204"/>
                    <a:pt x="141" y="197"/>
                  </a:cubicBezTo>
                  <a:cubicBezTo>
                    <a:pt x="144" y="191"/>
                    <a:pt x="145" y="195"/>
                    <a:pt x="147" y="186"/>
                  </a:cubicBezTo>
                  <a:cubicBezTo>
                    <a:pt x="148" y="176"/>
                    <a:pt x="156" y="175"/>
                    <a:pt x="149" y="173"/>
                  </a:cubicBezTo>
                  <a:cubicBezTo>
                    <a:pt x="143" y="170"/>
                    <a:pt x="137" y="173"/>
                    <a:pt x="133" y="173"/>
                  </a:cubicBezTo>
                  <a:cubicBezTo>
                    <a:pt x="129" y="173"/>
                    <a:pt x="116" y="172"/>
                    <a:pt x="110" y="172"/>
                  </a:cubicBezTo>
                  <a:cubicBezTo>
                    <a:pt x="103" y="172"/>
                    <a:pt x="97" y="173"/>
                    <a:pt x="95" y="166"/>
                  </a:cubicBezTo>
                  <a:cubicBezTo>
                    <a:pt x="93" y="160"/>
                    <a:pt x="89" y="153"/>
                    <a:pt x="84" y="152"/>
                  </a:cubicBezTo>
                  <a:cubicBezTo>
                    <a:pt x="79" y="151"/>
                    <a:pt x="72" y="146"/>
                    <a:pt x="69" y="147"/>
                  </a:cubicBezTo>
                  <a:cubicBezTo>
                    <a:pt x="66" y="148"/>
                    <a:pt x="64" y="150"/>
                    <a:pt x="59" y="150"/>
                  </a:cubicBezTo>
                  <a:cubicBezTo>
                    <a:pt x="54" y="150"/>
                    <a:pt x="50" y="151"/>
                    <a:pt x="46" y="150"/>
                  </a:cubicBezTo>
                  <a:cubicBezTo>
                    <a:pt x="42" y="150"/>
                    <a:pt x="36" y="148"/>
                    <a:pt x="34" y="142"/>
                  </a:cubicBezTo>
                  <a:cubicBezTo>
                    <a:pt x="32" y="137"/>
                    <a:pt x="24" y="132"/>
                    <a:pt x="26" y="127"/>
                  </a:cubicBezTo>
                  <a:cubicBezTo>
                    <a:pt x="27" y="123"/>
                    <a:pt x="32" y="117"/>
                    <a:pt x="28" y="112"/>
                  </a:cubicBezTo>
                  <a:cubicBezTo>
                    <a:pt x="25" y="106"/>
                    <a:pt x="23" y="104"/>
                    <a:pt x="22" y="99"/>
                  </a:cubicBezTo>
                  <a:cubicBezTo>
                    <a:pt x="22" y="95"/>
                    <a:pt x="23" y="93"/>
                    <a:pt x="19" y="91"/>
                  </a:cubicBezTo>
                  <a:cubicBezTo>
                    <a:pt x="16" y="89"/>
                    <a:pt x="13" y="88"/>
                    <a:pt x="13" y="88"/>
                  </a:cubicBezTo>
                  <a:cubicBezTo>
                    <a:pt x="12" y="88"/>
                    <a:pt x="0" y="88"/>
                    <a:pt x="7" y="83"/>
                  </a:cubicBezTo>
                  <a:cubicBezTo>
                    <a:pt x="14" y="78"/>
                    <a:pt x="17" y="70"/>
                    <a:pt x="17" y="67"/>
                  </a:cubicBezTo>
                  <a:cubicBezTo>
                    <a:pt x="17" y="64"/>
                    <a:pt x="16" y="55"/>
                    <a:pt x="22" y="50"/>
                  </a:cubicBezTo>
                  <a:cubicBezTo>
                    <a:pt x="27" y="46"/>
                    <a:pt x="30" y="39"/>
                    <a:pt x="31" y="38"/>
                  </a:cubicBezTo>
                  <a:cubicBezTo>
                    <a:pt x="32" y="38"/>
                    <a:pt x="31" y="36"/>
                    <a:pt x="37" y="30"/>
                  </a:cubicBezTo>
                  <a:cubicBezTo>
                    <a:pt x="43" y="25"/>
                    <a:pt x="47" y="19"/>
                    <a:pt x="50" y="19"/>
                  </a:cubicBezTo>
                  <a:cubicBezTo>
                    <a:pt x="51" y="20"/>
                    <a:pt x="52" y="20"/>
                    <a:pt x="54" y="20"/>
                  </a:cubicBezTo>
                  <a:cubicBezTo>
                    <a:pt x="52" y="20"/>
                    <a:pt x="50" y="21"/>
                    <a:pt x="47" y="23"/>
                  </a:cubicBezTo>
                  <a:cubicBezTo>
                    <a:pt x="42" y="27"/>
                    <a:pt x="48" y="30"/>
                    <a:pt x="51" y="38"/>
                  </a:cubicBezTo>
                  <a:cubicBezTo>
                    <a:pt x="54" y="45"/>
                    <a:pt x="51" y="45"/>
                    <a:pt x="52" y="49"/>
                  </a:cubicBezTo>
                  <a:cubicBezTo>
                    <a:pt x="52" y="53"/>
                    <a:pt x="51" y="58"/>
                    <a:pt x="45" y="63"/>
                  </a:cubicBezTo>
                  <a:cubicBezTo>
                    <a:pt x="39" y="69"/>
                    <a:pt x="40" y="68"/>
                    <a:pt x="43" y="77"/>
                  </a:cubicBezTo>
                  <a:cubicBezTo>
                    <a:pt x="46" y="85"/>
                    <a:pt x="47" y="82"/>
                    <a:pt x="48" y="87"/>
                  </a:cubicBezTo>
                  <a:cubicBezTo>
                    <a:pt x="49" y="93"/>
                    <a:pt x="50" y="93"/>
                    <a:pt x="55" y="94"/>
                  </a:cubicBezTo>
                  <a:cubicBezTo>
                    <a:pt x="60" y="96"/>
                    <a:pt x="62" y="91"/>
                    <a:pt x="65" y="84"/>
                  </a:cubicBezTo>
                  <a:cubicBezTo>
                    <a:pt x="68" y="76"/>
                    <a:pt x="67" y="78"/>
                    <a:pt x="63" y="67"/>
                  </a:cubicBezTo>
                  <a:cubicBezTo>
                    <a:pt x="59" y="56"/>
                    <a:pt x="57" y="60"/>
                    <a:pt x="56" y="54"/>
                  </a:cubicBezTo>
                  <a:cubicBezTo>
                    <a:pt x="54" y="48"/>
                    <a:pt x="57" y="46"/>
                    <a:pt x="60" y="41"/>
                  </a:cubicBezTo>
                  <a:cubicBezTo>
                    <a:pt x="62" y="36"/>
                    <a:pt x="67" y="34"/>
                    <a:pt x="69" y="32"/>
                  </a:cubicBezTo>
                  <a:cubicBezTo>
                    <a:pt x="71" y="31"/>
                    <a:pt x="80" y="31"/>
                    <a:pt x="87" y="29"/>
                  </a:cubicBezTo>
                  <a:cubicBezTo>
                    <a:pt x="95" y="26"/>
                    <a:pt x="92" y="27"/>
                    <a:pt x="96" y="26"/>
                  </a:cubicBezTo>
                  <a:cubicBezTo>
                    <a:pt x="100" y="26"/>
                    <a:pt x="92" y="20"/>
                    <a:pt x="90" y="19"/>
                  </a:cubicBezTo>
                  <a:cubicBezTo>
                    <a:pt x="87" y="18"/>
                    <a:pt x="88" y="10"/>
                    <a:pt x="92" y="5"/>
                  </a:cubicBezTo>
                  <a:cubicBezTo>
                    <a:pt x="96" y="0"/>
                    <a:pt x="101" y="11"/>
                    <a:pt x="99" y="17"/>
                  </a:cubicBezTo>
                  <a:cubicBezTo>
                    <a:pt x="98" y="22"/>
                    <a:pt x="100" y="21"/>
                    <a:pt x="105" y="23"/>
                  </a:cubicBezTo>
                  <a:cubicBezTo>
                    <a:pt x="109" y="26"/>
                    <a:pt x="109" y="25"/>
                    <a:pt x="117" y="25"/>
                  </a:cubicBezTo>
                  <a:cubicBezTo>
                    <a:pt x="125" y="25"/>
                    <a:pt x="126" y="27"/>
                    <a:pt x="132" y="30"/>
                  </a:cubicBezTo>
                  <a:cubicBezTo>
                    <a:pt x="137" y="33"/>
                    <a:pt x="132" y="43"/>
                    <a:pt x="136" y="50"/>
                  </a:cubicBezTo>
                  <a:cubicBezTo>
                    <a:pt x="139" y="58"/>
                    <a:pt x="138" y="53"/>
                    <a:pt x="144" y="53"/>
                  </a:cubicBezTo>
                  <a:cubicBezTo>
                    <a:pt x="149" y="53"/>
                    <a:pt x="150" y="53"/>
                    <a:pt x="155" y="52"/>
                  </a:cubicBezTo>
                  <a:cubicBezTo>
                    <a:pt x="161" y="52"/>
                    <a:pt x="164" y="52"/>
                    <a:pt x="170" y="51"/>
                  </a:cubicBezTo>
                  <a:cubicBezTo>
                    <a:pt x="176" y="49"/>
                    <a:pt x="180" y="51"/>
                    <a:pt x="186" y="51"/>
                  </a:cubicBezTo>
                  <a:cubicBezTo>
                    <a:pt x="192" y="51"/>
                    <a:pt x="194" y="57"/>
                    <a:pt x="199" y="59"/>
                  </a:cubicBezTo>
                  <a:cubicBezTo>
                    <a:pt x="205" y="61"/>
                    <a:pt x="205" y="61"/>
                    <a:pt x="215" y="67"/>
                  </a:cubicBezTo>
                  <a:cubicBezTo>
                    <a:pt x="224" y="73"/>
                    <a:pt x="220" y="64"/>
                    <a:pt x="223" y="62"/>
                  </a:cubicBezTo>
                  <a:cubicBezTo>
                    <a:pt x="226" y="59"/>
                    <a:pt x="231" y="57"/>
                    <a:pt x="235" y="51"/>
                  </a:cubicBezTo>
                  <a:cubicBezTo>
                    <a:pt x="239" y="46"/>
                    <a:pt x="242" y="48"/>
                    <a:pt x="244" y="48"/>
                  </a:cubicBezTo>
                  <a:cubicBezTo>
                    <a:pt x="245" y="47"/>
                    <a:pt x="247" y="48"/>
                    <a:pt x="250" y="47"/>
                  </a:cubicBezTo>
                  <a:cubicBezTo>
                    <a:pt x="252" y="47"/>
                    <a:pt x="259" y="47"/>
                    <a:pt x="267" y="46"/>
                  </a:cubicBezTo>
                  <a:cubicBezTo>
                    <a:pt x="275" y="46"/>
                    <a:pt x="271" y="46"/>
                    <a:pt x="275" y="46"/>
                  </a:cubicBezTo>
                  <a:cubicBezTo>
                    <a:pt x="280" y="46"/>
                    <a:pt x="282" y="46"/>
                    <a:pt x="290" y="46"/>
                  </a:cubicBezTo>
                  <a:cubicBezTo>
                    <a:pt x="297" y="46"/>
                    <a:pt x="289" y="49"/>
                    <a:pt x="283" y="50"/>
                  </a:cubicBezTo>
                  <a:cubicBezTo>
                    <a:pt x="278" y="51"/>
                    <a:pt x="276" y="50"/>
                    <a:pt x="274" y="54"/>
                  </a:cubicBezTo>
                  <a:cubicBezTo>
                    <a:pt x="273" y="58"/>
                    <a:pt x="276" y="60"/>
                    <a:pt x="281" y="67"/>
                  </a:cubicBezTo>
                  <a:cubicBezTo>
                    <a:pt x="287" y="75"/>
                    <a:pt x="286" y="67"/>
                    <a:pt x="288" y="66"/>
                  </a:cubicBezTo>
                  <a:cubicBezTo>
                    <a:pt x="291" y="66"/>
                    <a:pt x="293" y="73"/>
                    <a:pt x="295" y="72"/>
                  </a:cubicBezTo>
                  <a:cubicBezTo>
                    <a:pt x="297" y="71"/>
                    <a:pt x="300" y="72"/>
                    <a:pt x="302" y="72"/>
                  </a:cubicBezTo>
                  <a:cubicBezTo>
                    <a:pt x="304" y="71"/>
                    <a:pt x="309" y="76"/>
                    <a:pt x="312" y="75"/>
                  </a:cubicBezTo>
                  <a:cubicBezTo>
                    <a:pt x="314" y="74"/>
                    <a:pt x="318" y="80"/>
                    <a:pt x="319" y="80"/>
                  </a:cubicBezTo>
                  <a:cubicBezTo>
                    <a:pt x="320" y="80"/>
                    <a:pt x="320" y="84"/>
                    <a:pt x="318" y="88"/>
                  </a:cubicBezTo>
                  <a:cubicBezTo>
                    <a:pt x="317" y="91"/>
                    <a:pt x="319" y="92"/>
                    <a:pt x="314" y="96"/>
                  </a:cubicBezTo>
                  <a:cubicBezTo>
                    <a:pt x="310" y="100"/>
                    <a:pt x="313" y="102"/>
                    <a:pt x="310" y="104"/>
                  </a:cubicBezTo>
                  <a:cubicBezTo>
                    <a:pt x="306" y="107"/>
                    <a:pt x="304" y="109"/>
                    <a:pt x="310" y="110"/>
                  </a:cubicBezTo>
                  <a:cubicBezTo>
                    <a:pt x="315" y="110"/>
                    <a:pt x="312" y="108"/>
                    <a:pt x="321" y="105"/>
                  </a:cubicBezTo>
                  <a:cubicBezTo>
                    <a:pt x="330" y="103"/>
                    <a:pt x="326" y="106"/>
                    <a:pt x="327" y="105"/>
                  </a:cubicBezTo>
                  <a:cubicBezTo>
                    <a:pt x="329" y="104"/>
                    <a:pt x="335" y="106"/>
                    <a:pt x="336" y="106"/>
                  </a:cubicBezTo>
                  <a:cubicBezTo>
                    <a:pt x="338" y="106"/>
                    <a:pt x="339" y="107"/>
                    <a:pt x="342" y="108"/>
                  </a:cubicBezTo>
                  <a:cubicBezTo>
                    <a:pt x="342" y="110"/>
                    <a:pt x="342" y="112"/>
                    <a:pt x="342" y="113"/>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53" name="Freeform 1031">
              <a:extLst>
                <a:ext uri="{FF2B5EF4-FFF2-40B4-BE49-F238E27FC236}">
                  <a16:creationId xmlns:a16="http://schemas.microsoft.com/office/drawing/2014/main" id="{393D23C1-C71C-E14F-B187-56799AC4B756}"/>
                </a:ext>
              </a:extLst>
            </p:cNvPr>
            <p:cNvSpPr>
              <a:spLocks/>
            </p:cNvSpPr>
            <p:nvPr/>
          </p:nvSpPr>
          <p:spPr bwMode="auto">
            <a:xfrm>
              <a:off x="2568583" y="2440445"/>
              <a:ext cx="114300" cy="195263"/>
            </a:xfrm>
            <a:custGeom>
              <a:avLst/>
              <a:gdLst>
                <a:gd name="T0" fmla="*/ 120 w 120"/>
                <a:gd name="T1" fmla="*/ 187 h 206"/>
                <a:gd name="T2" fmla="*/ 114 w 120"/>
                <a:gd name="T3" fmla="*/ 187 h 206"/>
                <a:gd name="T4" fmla="*/ 104 w 120"/>
                <a:gd name="T5" fmla="*/ 184 h 206"/>
                <a:gd name="T6" fmla="*/ 90 w 120"/>
                <a:gd name="T7" fmla="*/ 189 h 206"/>
                <a:gd name="T8" fmla="*/ 78 w 120"/>
                <a:gd name="T9" fmla="*/ 194 h 206"/>
                <a:gd name="T10" fmla="*/ 72 w 120"/>
                <a:gd name="T11" fmla="*/ 198 h 206"/>
                <a:gd name="T12" fmla="*/ 63 w 120"/>
                <a:gd name="T13" fmla="*/ 204 h 206"/>
                <a:gd name="T14" fmla="*/ 51 w 120"/>
                <a:gd name="T15" fmla="*/ 199 h 206"/>
                <a:gd name="T16" fmla="*/ 40 w 120"/>
                <a:gd name="T17" fmla="*/ 191 h 206"/>
                <a:gd name="T18" fmla="*/ 39 w 120"/>
                <a:gd name="T19" fmla="*/ 181 h 206"/>
                <a:gd name="T20" fmla="*/ 33 w 120"/>
                <a:gd name="T21" fmla="*/ 170 h 206"/>
                <a:gd name="T22" fmla="*/ 32 w 120"/>
                <a:gd name="T23" fmla="*/ 156 h 206"/>
                <a:gd name="T24" fmla="*/ 36 w 120"/>
                <a:gd name="T25" fmla="*/ 145 h 206"/>
                <a:gd name="T26" fmla="*/ 39 w 120"/>
                <a:gd name="T27" fmla="*/ 135 h 206"/>
                <a:gd name="T28" fmla="*/ 43 w 120"/>
                <a:gd name="T29" fmla="*/ 126 h 206"/>
                <a:gd name="T30" fmla="*/ 40 w 120"/>
                <a:gd name="T31" fmla="*/ 117 h 206"/>
                <a:gd name="T32" fmla="*/ 33 w 120"/>
                <a:gd name="T33" fmla="*/ 112 h 206"/>
                <a:gd name="T34" fmla="*/ 32 w 120"/>
                <a:gd name="T35" fmla="*/ 102 h 206"/>
                <a:gd name="T36" fmla="*/ 32 w 120"/>
                <a:gd name="T37" fmla="*/ 93 h 206"/>
                <a:gd name="T38" fmla="*/ 27 w 120"/>
                <a:gd name="T39" fmla="*/ 93 h 206"/>
                <a:gd name="T40" fmla="*/ 18 w 120"/>
                <a:gd name="T41" fmla="*/ 93 h 206"/>
                <a:gd name="T42" fmla="*/ 16 w 120"/>
                <a:gd name="T43" fmla="*/ 90 h 206"/>
                <a:gd name="T44" fmla="*/ 7 w 120"/>
                <a:gd name="T45" fmla="*/ 82 h 206"/>
                <a:gd name="T46" fmla="*/ 2 w 120"/>
                <a:gd name="T47" fmla="*/ 68 h 206"/>
                <a:gd name="T48" fmla="*/ 6 w 120"/>
                <a:gd name="T49" fmla="*/ 59 h 206"/>
                <a:gd name="T50" fmla="*/ 13 w 120"/>
                <a:gd name="T51" fmla="*/ 50 h 206"/>
                <a:gd name="T52" fmla="*/ 26 w 120"/>
                <a:gd name="T53" fmla="*/ 44 h 206"/>
                <a:gd name="T54" fmla="*/ 27 w 120"/>
                <a:gd name="T55" fmla="*/ 37 h 206"/>
                <a:gd name="T56" fmla="*/ 20 w 120"/>
                <a:gd name="T57" fmla="*/ 26 h 206"/>
                <a:gd name="T58" fmla="*/ 32 w 120"/>
                <a:gd name="T59" fmla="*/ 15 h 206"/>
                <a:gd name="T60" fmla="*/ 40 w 120"/>
                <a:gd name="T61" fmla="*/ 5 h 206"/>
                <a:gd name="T62" fmla="*/ 40 w 120"/>
                <a:gd name="T63" fmla="*/ 0 h 206"/>
                <a:gd name="T64" fmla="*/ 43 w 120"/>
                <a:gd name="T65" fmla="*/ 1 h 206"/>
                <a:gd name="T66" fmla="*/ 51 w 120"/>
                <a:gd name="T67" fmla="*/ 7 h 206"/>
                <a:gd name="T68" fmla="*/ 59 w 120"/>
                <a:gd name="T69" fmla="*/ 13 h 206"/>
                <a:gd name="T70" fmla="*/ 70 w 120"/>
                <a:gd name="T71" fmla="*/ 24 h 206"/>
                <a:gd name="T72" fmla="*/ 74 w 120"/>
                <a:gd name="T73" fmla="*/ 36 h 206"/>
                <a:gd name="T74" fmla="*/ 72 w 120"/>
                <a:gd name="T75" fmla="*/ 48 h 206"/>
                <a:gd name="T76" fmla="*/ 82 w 120"/>
                <a:gd name="T77" fmla="*/ 48 h 206"/>
                <a:gd name="T78" fmla="*/ 91 w 120"/>
                <a:gd name="T79" fmla="*/ 54 h 206"/>
                <a:gd name="T80" fmla="*/ 101 w 120"/>
                <a:gd name="T81" fmla="*/ 63 h 206"/>
                <a:gd name="T82" fmla="*/ 107 w 120"/>
                <a:gd name="T83" fmla="*/ 71 h 206"/>
                <a:gd name="T84" fmla="*/ 105 w 120"/>
                <a:gd name="T85" fmla="*/ 78 h 206"/>
                <a:gd name="T86" fmla="*/ 102 w 120"/>
                <a:gd name="T87" fmla="*/ 89 h 206"/>
                <a:gd name="T88" fmla="*/ 99 w 120"/>
                <a:gd name="T89" fmla="*/ 97 h 206"/>
                <a:gd name="T90" fmla="*/ 86 w 120"/>
                <a:gd name="T91" fmla="*/ 103 h 206"/>
                <a:gd name="T92" fmla="*/ 85 w 120"/>
                <a:gd name="T93" fmla="*/ 114 h 206"/>
                <a:gd name="T94" fmla="*/ 82 w 120"/>
                <a:gd name="T95" fmla="*/ 129 h 206"/>
                <a:gd name="T96" fmla="*/ 89 w 120"/>
                <a:gd name="T97" fmla="*/ 138 h 206"/>
                <a:gd name="T98" fmla="*/ 97 w 120"/>
                <a:gd name="T99" fmla="*/ 145 h 206"/>
                <a:gd name="T100" fmla="*/ 101 w 120"/>
                <a:gd name="T101" fmla="*/ 153 h 206"/>
                <a:gd name="T102" fmla="*/ 105 w 120"/>
                <a:gd name="T103" fmla="*/ 162 h 206"/>
                <a:gd name="T104" fmla="*/ 107 w 120"/>
                <a:gd name="T105" fmla="*/ 171 h 206"/>
                <a:gd name="T106" fmla="*/ 114 w 120"/>
                <a:gd name="T107" fmla="*/ 179 h 206"/>
                <a:gd name="T108" fmla="*/ 120 w 120"/>
                <a:gd name="T109" fmla="*/ 184 h 206"/>
                <a:gd name="T110" fmla="*/ 120 w 120"/>
                <a:gd name="T111" fmla="*/ 18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0" h="206">
                  <a:moveTo>
                    <a:pt x="120" y="187"/>
                  </a:moveTo>
                  <a:cubicBezTo>
                    <a:pt x="117" y="187"/>
                    <a:pt x="115" y="187"/>
                    <a:pt x="114" y="187"/>
                  </a:cubicBezTo>
                  <a:cubicBezTo>
                    <a:pt x="114" y="186"/>
                    <a:pt x="108" y="185"/>
                    <a:pt x="104" y="184"/>
                  </a:cubicBezTo>
                  <a:cubicBezTo>
                    <a:pt x="99" y="182"/>
                    <a:pt x="96" y="187"/>
                    <a:pt x="90" y="189"/>
                  </a:cubicBezTo>
                  <a:cubicBezTo>
                    <a:pt x="84" y="190"/>
                    <a:pt x="82" y="192"/>
                    <a:pt x="78" y="194"/>
                  </a:cubicBezTo>
                  <a:cubicBezTo>
                    <a:pt x="75" y="195"/>
                    <a:pt x="74" y="196"/>
                    <a:pt x="72" y="198"/>
                  </a:cubicBezTo>
                  <a:cubicBezTo>
                    <a:pt x="69" y="200"/>
                    <a:pt x="66" y="203"/>
                    <a:pt x="63" y="204"/>
                  </a:cubicBezTo>
                  <a:cubicBezTo>
                    <a:pt x="60" y="206"/>
                    <a:pt x="55" y="204"/>
                    <a:pt x="51" y="199"/>
                  </a:cubicBezTo>
                  <a:cubicBezTo>
                    <a:pt x="46" y="194"/>
                    <a:pt x="44" y="194"/>
                    <a:pt x="40" y="191"/>
                  </a:cubicBezTo>
                  <a:cubicBezTo>
                    <a:pt x="36" y="188"/>
                    <a:pt x="41" y="186"/>
                    <a:pt x="39" y="181"/>
                  </a:cubicBezTo>
                  <a:cubicBezTo>
                    <a:pt x="38" y="175"/>
                    <a:pt x="37" y="174"/>
                    <a:pt x="33" y="170"/>
                  </a:cubicBezTo>
                  <a:cubicBezTo>
                    <a:pt x="29" y="166"/>
                    <a:pt x="32" y="163"/>
                    <a:pt x="32" y="156"/>
                  </a:cubicBezTo>
                  <a:cubicBezTo>
                    <a:pt x="32" y="149"/>
                    <a:pt x="35" y="152"/>
                    <a:pt x="36" y="145"/>
                  </a:cubicBezTo>
                  <a:cubicBezTo>
                    <a:pt x="37" y="138"/>
                    <a:pt x="36" y="140"/>
                    <a:pt x="39" y="135"/>
                  </a:cubicBezTo>
                  <a:cubicBezTo>
                    <a:pt x="42" y="130"/>
                    <a:pt x="43" y="132"/>
                    <a:pt x="43" y="126"/>
                  </a:cubicBezTo>
                  <a:cubicBezTo>
                    <a:pt x="44" y="121"/>
                    <a:pt x="41" y="121"/>
                    <a:pt x="40" y="117"/>
                  </a:cubicBezTo>
                  <a:cubicBezTo>
                    <a:pt x="40" y="113"/>
                    <a:pt x="37" y="113"/>
                    <a:pt x="33" y="112"/>
                  </a:cubicBezTo>
                  <a:cubicBezTo>
                    <a:pt x="29" y="111"/>
                    <a:pt x="26" y="109"/>
                    <a:pt x="32" y="102"/>
                  </a:cubicBezTo>
                  <a:cubicBezTo>
                    <a:pt x="37" y="95"/>
                    <a:pt x="33" y="96"/>
                    <a:pt x="32" y="93"/>
                  </a:cubicBezTo>
                  <a:cubicBezTo>
                    <a:pt x="31" y="90"/>
                    <a:pt x="28" y="93"/>
                    <a:pt x="27" y="93"/>
                  </a:cubicBezTo>
                  <a:cubicBezTo>
                    <a:pt x="26" y="93"/>
                    <a:pt x="21" y="93"/>
                    <a:pt x="18" y="93"/>
                  </a:cubicBezTo>
                  <a:cubicBezTo>
                    <a:pt x="18" y="92"/>
                    <a:pt x="17" y="91"/>
                    <a:pt x="16" y="90"/>
                  </a:cubicBezTo>
                  <a:cubicBezTo>
                    <a:pt x="12" y="87"/>
                    <a:pt x="9" y="86"/>
                    <a:pt x="7" y="82"/>
                  </a:cubicBezTo>
                  <a:cubicBezTo>
                    <a:pt x="5" y="78"/>
                    <a:pt x="0" y="72"/>
                    <a:pt x="2" y="68"/>
                  </a:cubicBezTo>
                  <a:cubicBezTo>
                    <a:pt x="5" y="65"/>
                    <a:pt x="6" y="62"/>
                    <a:pt x="6" y="59"/>
                  </a:cubicBezTo>
                  <a:cubicBezTo>
                    <a:pt x="6" y="57"/>
                    <a:pt x="9" y="50"/>
                    <a:pt x="13" y="50"/>
                  </a:cubicBezTo>
                  <a:cubicBezTo>
                    <a:pt x="17" y="49"/>
                    <a:pt x="25" y="45"/>
                    <a:pt x="26" y="44"/>
                  </a:cubicBezTo>
                  <a:cubicBezTo>
                    <a:pt x="27" y="42"/>
                    <a:pt x="34" y="41"/>
                    <a:pt x="27" y="37"/>
                  </a:cubicBezTo>
                  <a:cubicBezTo>
                    <a:pt x="20" y="34"/>
                    <a:pt x="16" y="29"/>
                    <a:pt x="20" y="26"/>
                  </a:cubicBezTo>
                  <a:cubicBezTo>
                    <a:pt x="24" y="24"/>
                    <a:pt x="25" y="19"/>
                    <a:pt x="32" y="15"/>
                  </a:cubicBezTo>
                  <a:cubicBezTo>
                    <a:pt x="38" y="11"/>
                    <a:pt x="40" y="7"/>
                    <a:pt x="40" y="5"/>
                  </a:cubicBezTo>
                  <a:cubicBezTo>
                    <a:pt x="40" y="4"/>
                    <a:pt x="40" y="2"/>
                    <a:pt x="40" y="0"/>
                  </a:cubicBezTo>
                  <a:cubicBezTo>
                    <a:pt x="41" y="0"/>
                    <a:pt x="42" y="1"/>
                    <a:pt x="43" y="1"/>
                  </a:cubicBezTo>
                  <a:cubicBezTo>
                    <a:pt x="48" y="1"/>
                    <a:pt x="48" y="6"/>
                    <a:pt x="51" y="7"/>
                  </a:cubicBezTo>
                  <a:cubicBezTo>
                    <a:pt x="53" y="8"/>
                    <a:pt x="53" y="9"/>
                    <a:pt x="59" y="13"/>
                  </a:cubicBezTo>
                  <a:cubicBezTo>
                    <a:pt x="65" y="17"/>
                    <a:pt x="67" y="23"/>
                    <a:pt x="70" y="24"/>
                  </a:cubicBezTo>
                  <a:cubicBezTo>
                    <a:pt x="72" y="25"/>
                    <a:pt x="72" y="31"/>
                    <a:pt x="74" y="36"/>
                  </a:cubicBezTo>
                  <a:cubicBezTo>
                    <a:pt x="76" y="41"/>
                    <a:pt x="74" y="41"/>
                    <a:pt x="72" y="48"/>
                  </a:cubicBezTo>
                  <a:cubicBezTo>
                    <a:pt x="70" y="56"/>
                    <a:pt x="78" y="48"/>
                    <a:pt x="82" y="48"/>
                  </a:cubicBezTo>
                  <a:cubicBezTo>
                    <a:pt x="86" y="48"/>
                    <a:pt x="87" y="54"/>
                    <a:pt x="91" y="54"/>
                  </a:cubicBezTo>
                  <a:cubicBezTo>
                    <a:pt x="95" y="54"/>
                    <a:pt x="94" y="57"/>
                    <a:pt x="101" y="63"/>
                  </a:cubicBezTo>
                  <a:cubicBezTo>
                    <a:pt x="108" y="67"/>
                    <a:pt x="106" y="67"/>
                    <a:pt x="107" y="71"/>
                  </a:cubicBezTo>
                  <a:cubicBezTo>
                    <a:pt x="106" y="73"/>
                    <a:pt x="105" y="74"/>
                    <a:pt x="105" y="78"/>
                  </a:cubicBezTo>
                  <a:cubicBezTo>
                    <a:pt x="105" y="83"/>
                    <a:pt x="102" y="85"/>
                    <a:pt x="102" y="89"/>
                  </a:cubicBezTo>
                  <a:cubicBezTo>
                    <a:pt x="102" y="93"/>
                    <a:pt x="106" y="95"/>
                    <a:pt x="99" y="97"/>
                  </a:cubicBezTo>
                  <a:cubicBezTo>
                    <a:pt x="92" y="100"/>
                    <a:pt x="87" y="98"/>
                    <a:pt x="86" y="103"/>
                  </a:cubicBezTo>
                  <a:cubicBezTo>
                    <a:pt x="85" y="107"/>
                    <a:pt x="89" y="106"/>
                    <a:pt x="85" y="114"/>
                  </a:cubicBezTo>
                  <a:cubicBezTo>
                    <a:pt x="81" y="121"/>
                    <a:pt x="80" y="123"/>
                    <a:pt x="82" y="129"/>
                  </a:cubicBezTo>
                  <a:cubicBezTo>
                    <a:pt x="84" y="134"/>
                    <a:pt x="84" y="134"/>
                    <a:pt x="89" y="138"/>
                  </a:cubicBezTo>
                  <a:cubicBezTo>
                    <a:pt x="94" y="142"/>
                    <a:pt x="93" y="144"/>
                    <a:pt x="97" y="145"/>
                  </a:cubicBezTo>
                  <a:cubicBezTo>
                    <a:pt x="102" y="146"/>
                    <a:pt x="101" y="143"/>
                    <a:pt x="101" y="153"/>
                  </a:cubicBezTo>
                  <a:cubicBezTo>
                    <a:pt x="102" y="163"/>
                    <a:pt x="105" y="158"/>
                    <a:pt x="105" y="162"/>
                  </a:cubicBezTo>
                  <a:cubicBezTo>
                    <a:pt x="105" y="166"/>
                    <a:pt x="106" y="169"/>
                    <a:pt x="107" y="171"/>
                  </a:cubicBezTo>
                  <a:cubicBezTo>
                    <a:pt x="109" y="173"/>
                    <a:pt x="111" y="177"/>
                    <a:pt x="114" y="179"/>
                  </a:cubicBezTo>
                  <a:cubicBezTo>
                    <a:pt x="117" y="182"/>
                    <a:pt x="120" y="183"/>
                    <a:pt x="120" y="184"/>
                  </a:cubicBezTo>
                  <a:cubicBezTo>
                    <a:pt x="120" y="184"/>
                    <a:pt x="120" y="186"/>
                    <a:pt x="120" y="18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54" name="Freeform 1032">
              <a:extLst>
                <a:ext uri="{FF2B5EF4-FFF2-40B4-BE49-F238E27FC236}">
                  <a16:creationId xmlns:a16="http://schemas.microsoft.com/office/drawing/2014/main" id="{C3E3278B-D227-024B-B1FE-C9866944ABE0}"/>
                </a:ext>
              </a:extLst>
            </p:cNvPr>
            <p:cNvSpPr>
              <a:spLocks/>
            </p:cNvSpPr>
            <p:nvPr/>
          </p:nvSpPr>
          <p:spPr bwMode="auto">
            <a:xfrm>
              <a:off x="2728921" y="2511882"/>
              <a:ext cx="69850" cy="101600"/>
            </a:xfrm>
            <a:custGeom>
              <a:avLst/>
              <a:gdLst>
                <a:gd name="T0" fmla="*/ 74 w 74"/>
                <a:gd name="T1" fmla="*/ 46 h 107"/>
                <a:gd name="T2" fmla="*/ 74 w 74"/>
                <a:gd name="T3" fmla="*/ 49 h 107"/>
                <a:gd name="T4" fmla="*/ 65 w 74"/>
                <a:gd name="T5" fmla="*/ 61 h 107"/>
                <a:gd name="T6" fmla="*/ 56 w 74"/>
                <a:gd name="T7" fmla="*/ 82 h 107"/>
                <a:gd name="T8" fmla="*/ 45 w 74"/>
                <a:gd name="T9" fmla="*/ 101 h 107"/>
                <a:gd name="T10" fmla="*/ 30 w 74"/>
                <a:gd name="T11" fmla="*/ 100 h 107"/>
                <a:gd name="T12" fmla="*/ 13 w 74"/>
                <a:gd name="T13" fmla="*/ 104 h 107"/>
                <a:gd name="T14" fmla="*/ 1 w 74"/>
                <a:gd name="T15" fmla="*/ 100 h 107"/>
                <a:gd name="T16" fmla="*/ 0 w 74"/>
                <a:gd name="T17" fmla="*/ 100 h 107"/>
                <a:gd name="T18" fmla="*/ 3 w 74"/>
                <a:gd name="T19" fmla="*/ 96 h 107"/>
                <a:gd name="T20" fmla="*/ 10 w 74"/>
                <a:gd name="T21" fmla="*/ 86 h 107"/>
                <a:gd name="T22" fmla="*/ 12 w 74"/>
                <a:gd name="T23" fmla="*/ 71 h 107"/>
                <a:gd name="T24" fmla="*/ 15 w 74"/>
                <a:gd name="T25" fmla="*/ 61 h 107"/>
                <a:gd name="T26" fmla="*/ 9 w 74"/>
                <a:gd name="T27" fmla="*/ 50 h 107"/>
                <a:gd name="T28" fmla="*/ 4 w 74"/>
                <a:gd name="T29" fmla="*/ 34 h 107"/>
                <a:gd name="T30" fmla="*/ 7 w 74"/>
                <a:gd name="T31" fmla="*/ 20 h 107"/>
                <a:gd name="T32" fmla="*/ 14 w 74"/>
                <a:gd name="T33" fmla="*/ 11 h 107"/>
                <a:gd name="T34" fmla="*/ 16 w 74"/>
                <a:gd name="T35" fmla="*/ 0 h 107"/>
                <a:gd name="T36" fmla="*/ 19 w 74"/>
                <a:gd name="T37" fmla="*/ 3 h 107"/>
                <a:gd name="T38" fmla="*/ 26 w 74"/>
                <a:gd name="T39" fmla="*/ 5 h 107"/>
                <a:gd name="T40" fmla="*/ 34 w 74"/>
                <a:gd name="T41" fmla="*/ 7 h 107"/>
                <a:gd name="T42" fmla="*/ 40 w 74"/>
                <a:gd name="T43" fmla="*/ 10 h 107"/>
                <a:gd name="T44" fmla="*/ 47 w 74"/>
                <a:gd name="T45" fmla="*/ 12 h 107"/>
                <a:gd name="T46" fmla="*/ 50 w 74"/>
                <a:gd name="T47" fmla="*/ 17 h 107"/>
                <a:gd name="T48" fmla="*/ 53 w 74"/>
                <a:gd name="T49" fmla="*/ 21 h 107"/>
                <a:gd name="T50" fmla="*/ 55 w 74"/>
                <a:gd name="T51" fmla="*/ 26 h 107"/>
                <a:gd name="T52" fmla="*/ 64 w 74"/>
                <a:gd name="T53" fmla="*/ 28 h 107"/>
                <a:gd name="T54" fmla="*/ 68 w 74"/>
                <a:gd name="T55" fmla="*/ 32 h 107"/>
                <a:gd name="T56" fmla="*/ 68 w 74"/>
                <a:gd name="T57" fmla="*/ 32 h 107"/>
                <a:gd name="T58" fmla="*/ 68 w 74"/>
                <a:gd name="T59" fmla="*/ 32 h 107"/>
                <a:gd name="T60" fmla="*/ 72 w 74"/>
                <a:gd name="T61" fmla="*/ 40 h 107"/>
                <a:gd name="T62" fmla="*/ 74 w 74"/>
                <a:gd name="T63" fmla="*/ 4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4" h="107">
                  <a:moveTo>
                    <a:pt x="74" y="46"/>
                  </a:moveTo>
                  <a:cubicBezTo>
                    <a:pt x="74" y="49"/>
                    <a:pt x="74" y="49"/>
                    <a:pt x="74" y="49"/>
                  </a:cubicBezTo>
                  <a:cubicBezTo>
                    <a:pt x="74" y="49"/>
                    <a:pt x="67" y="57"/>
                    <a:pt x="65" y="61"/>
                  </a:cubicBezTo>
                  <a:cubicBezTo>
                    <a:pt x="63" y="65"/>
                    <a:pt x="58" y="76"/>
                    <a:pt x="56" y="82"/>
                  </a:cubicBezTo>
                  <a:cubicBezTo>
                    <a:pt x="54" y="89"/>
                    <a:pt x="49" y="98"/>
                    <a:pt x="45" y="101"/>
                  </a:cubicBezTo>
                  <a:cubicBezTo>
                    <a:pt x="40" y="104"/>
                    <a:pt x="34" y="101"/>
                    <a:pt x="30" y="100"/>
                  </a:cubicBezTo>
                  <a:cubicBezTo>
                    <a:pt x="25" y="98"/>
                    <a:pt x="18" y="102"/>
                    <a:pt x="13" y="104"/>
                  </a:cubicBezTo>
                  <a:cubicBezTo>
                    <a:pt x="9" y="107"/>
                    <a:pt x="6" y="104"/>
                    <a:pt x="1" y="100"/>
                  </a:cubicBezTo>
                  <a:cubicBezTo>
                    <a:pt x="0" y="100"/>
                    <a:pt x="0" y="100"/>
                    <a:pt x="0" y="100"/>
                  </a:cubicBezTo>
                  <a:cubicBezTo>
                    <a:pt x="0" y="99"/>
                    <a:pt x="1" y="97"/>
                    <a:pt x="3" y="96"/>
                  </a:cubicBezTo>
                  <a:cubicBezTo>
                    <a:pt x="5" y="93"/>
                    <a:pt x="10" y="90"/>
                    <a:pt x="10" y="86"/>
                  </a:cubicBezTo>
                  <a:cubicBezTo>
                    <a:pt x="10" y="82"/>
                    <a:pt x="10" y="75"/>
                    <a:pt x="12" y="71"/>
                  </a:cubicBezTo>
                  <a:cubicBezTo>
                    <a:pt x="13" y="68"/>
                    <a:pt x="20" y="65"/>
                    <a:pt x="15" y="61"/>
                  </a:cubicBezTo>
                  <a:cubicBezTo>
                    <a:pt x="11" y="57"/>
                    <a:pt x="10" y="52"/>
                    <a:pt x="9" y="50"/>
                  </a:cubicBezTo>
                  <a:cubicBezTo>
                    <a:pt x="8" y="48"/>
                    <a:pt x="3" y="39"/>
                    <a:pt x="4" y="34"/>
                  </a:cubicBezTo>
                  <a:cubicBezTo>
                    <a:pt x="5" y="30"/>
                    <a:pt x="3" y="23"/>
                    <a:pt x="7" y="20"/>
                  </a:cubicBezTo>
                  <a:cubicBezTo>
                    <a:pt x="12" y="17"/>
                    <a:pt x="14" y="12"/>
                    <a:pt x="14" y="11"/>
                  </a:cubicBezTo>
                  <a:cubicBezTo>
                    <a:pt x="14" y="11"/>
                    <a:pt x="16" y="4"/>
                    <a:pt x="16" y="0"/>
                  </a:cubicBezTo>
                  <a:cubicBezTo>
                    <a:pt x="18" y="1"/>
                    <a:pt x="17" y="3"/>
                    <a:pt x="19" y="3"/>
                  </a:cubicBezTo>
                  <a:cubicBezTo>
                    <a:pt x="22" y="3"/>
                    <a:pt x="23" y="6"/>
                    <a:pt x="26" y="5"/>
                  </a:cubicBezTo>
                  <a:cubicBezTo>
                    <a:pt x="30" y="3"/>
                    <a:pt x="30" y="8"/>
                    <a:pt x="34" y="7"/>
                  </a:cubicBezTo>
                  <a:cubicBezTo>
                    <a:pt x="37" y="6"/>
                    <a:pt x="35" y="10"/>
                    <a:pt x="40" y="10"/>
                  </a:cubicBezTo>
                  <a:cubicBezTo>
                    <a:pt x="45" y="10"/>
                    <a:pt x="43" y="12"/>
                    <a:pt x="47" y="12"/>
                  </a:cubicBezTo>
                  <a:cubicBezTo>
                    <a:pt x="50" y="12"/>
                    <a:pt x="46" y="16"/>
                    <a:pt x="50" y="17"/>
                  </a:cubicBezTo>
                  <a:cubicBezTo>
                    <a:pt x="53" y="17"/>
                    <a:pt x="52" y="20"/>
                    <a:pt x="53" y="21"/>
                  </a:cubicBezTo>
                  <a:cubicBezTo>
                    <a:pt x="54" y="22"/>
                    <a:pt x="54" y="26"/>
                    <a:pt x="55" y="26"/>
                  </a:cubicBezTo>
                  <a:cubicBezTo>
                    <a:pt x="55" y="26"/>
                    <a:pt x="57" y="30"/>
                    <a:pt x="64" y="28"/>
                  </a:cubicBezTo>
                  <a:cubicBezTo>
                    <a:pt x="70" y="27"/>
                    <a:pt x="68" y="31"/>
                    <a:pt x="68" y="32"/>
                  </a:cubicBezTo>
                  <a:cubicBezTo>
                    <a:pt x="68" y="32"/>
                    <a:pt x="68" y="32"/>
                    <a:pt x="68" y="32"/>
                  </a:cubicBezTo>
                  <a:cubicBezTo>
                    <a:pt x="68" y="32"/>
                    <a:pt x="68" y="32"/>
                    <a:pt x="68" y="32"/>
                  </a:cubicBezTo>
                  <a:cubicBezTo>
                    <a:pt x="69" y="33"/>
                    <a:pt x="72" y="36"/>
                    <a:pt x="72" y="40"/>
                  </a:cubicBezTo>
                  <a:cubicBezTo>
                    <a:pt x="73" y="42"/>
                    <a:pt x="74" y="44"/>
                    <a:pt x="74" y="4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55" name="Freeform 1033">
              <a:extLst>
                <a:ext uri="{FF2B5EF4-FFF2-40B4-BE49-F238E27FC236}">
                  <a16:creationId xmlns:a16="http://schemas.microsoft.com/office/drawing/2014/main" id="{F2CC7D5D-1FD8-874B-9852-57D75E87A991}"/>
                </a:ext>
              </a:extLst>
            </p:cNvPr>
            <p:cNvSpPr>
              <a:spLocks/>
            </p:cNvSpPr>
            <p:nvPr/>
          </p:nvSpPr>
          <p:spPr bwMode="auto">
            <a:xfrm>
              <a:off x="2644784" y="2505532"/>
              <a:ext cx="103188" cy="114300"/>
            </a:xfrm>
            <a:custGeom>
              <a:avLst/>
              <a:gdLst>
                <a:gd name="T0" fmla="*/ 99 w 107"/>
                <a:gd name="T1" fmla="*/ 77 h 119"/>
                <a:gd name="T2" fmla="*/ 97 w 107"/>
                <a:gd name="T3" fmla="*/ 92 h 119"/>
                <a:gd name="T4" fmla="*/ 90 w 107"/>
                <a:gd name="T5" fmla="*/ 102 h 119"/>
                <a:gd name="T6" fmla="*/ 87 w 107"/>
                <a:gd name="T7" fmla="*/ 106 h 119"/>
                <a:gd name="T8" fmla="*/ 77 w 107"/>
                <a:gd name="T9" fmla="*/ 100 h 119"/>
                <a:gd name="T10" fmla="*/ 62 w 107"/>
                <a:gd name="T11" fmla="*/ 102 h 119"/>
                <a:gd name="T12" fmla="*/ 49 w 107"/>
                <a:gd name="T13" fmla="*/ 104 h 119"/>
                <a:gd name="T14" fmla="*/ 55 w 107"/>
                <a:gd name="T15" fmla="*/ 114 h 119"/>
                <a:gd name="T16" fmla="*/ 47 w 107"/>
                <a:gd name="T17" fmla="*/ 118 h 119"/>
                <a:gd name="T18" fmla="*/ 40 w 107"/>
                <a:gd name="T19" fmla="*/ 118 h 119"/>
                <a:gd name="T20" fmla="*/ 40 w 107"/>
                <a:gd name="T21" fmla="*/ 115 h 119"/>
                <a:gd name="T22" fmla="*/ 34 w 107"/>
                <a:gd name="T23" fmla="*/ 110 h 119"/>
                <a:gd name="T24" fmla="*/ 27 w 107"/>
                <a:gd name="T25" fmla="*/ 102 h 119"/>
                <a:gd name="T26" fmla="*/ 25 w 107"/>
                <a:gd name="T27" fmla="*/ 93 h 119"/>
                <a:gd name="T28" fmla="*/ 21 w 107"/>
                <a:gd name="T29" fmla="*/ 84 h 119"/>
                <a:gd name="T30" fmla="*/ 17 w 107"/>
                <a:gd name="T31" fmla="*/ 76 h 119"/>
                <a:gd name="T32" fmla="*/ 9 w 107"/>
                <a:gd name="T33" fmla="*/ 69 h 119"/>
                <a:gd name="T34" fmla="*/ 2 w 107"/>
                <a:gd name="T35" fmla="*/ 60 h 119"/>
                <a:gd name="T36" fmla="*/ 5 w 107"/>
                <a:gd name="T37" fmla="*/ 45 h 119"/>
                <a:gd name="T38" fmla="*/ 6 w 107"/>
                <a:gd name="T39" fmla="*/ 34 h 119"/>
                <a:gd name="T40" fmla="*/ 19 w 107"/>
                <a:gd name="T41" fmla="*/ 28 h 119"/>
                <a:gd name="T42" fmla="*/ 22 w 107"/>
                <a:gd name="T43" fmla="*/ 20 h 119"/>
                <a:gd name="T44" fmla="*/ 25 w 107"/>
                <a:gd name="T45" fmla="*/ 9 h 119"/>
                <a:gd name="T46" fmla="*/ 27 w 107"/>
                <a:gd name="T47" fmla="*/ 2 h 119"/>
                <a:gd name="T48" fmla="*/ 27 w 107"/>
                <a:gd name="T49" fmla="*/ 4 h 119"/>
                <a:gd name="T50" fmla="*/ 37 w 107"/>
                <a:gd name="T51" fmla="*/ 1 h 119"/>
                <a:gd name="T52" fmla="*/ 47 w 107"/>
                <a:gd name="T53" fmla="*/ 4 h 119"/>
                <a:gd name="T54" fmla="*/ 55 w 107"/>
                <a:gd name="T55" fmla="*/ 7 h 119"/>
                <a:gd name="T56" fmla="*/ 58 w 107"/>
                <a:gd name="T57" fmla="*/ 4 h 119"/>
                <a:gd name="T58" fmla="*/ 72 w 107"/>
                <a:gd name="T59" fmla="*/ 4 h 119"/>
                <a:gd name="T60" fmla="*/ 76 w 107"/>
                <a:gd name="T61" fmla="*/ 2 h 119"/>
                <a:gd name="T62" fmla="*/ 87 w 107"/>
                <a:gd name="T63" fmla="*/ 2 h 119"/>
                <a:gd name="T64" fmla="*/ 95 w 107"/>
                <a:gd name="T65" fmla="*/ 2 h 119"/>
                <a:gd name="T66" fmla="*/ 101 w 107"/>
                <a:gd name="T67" fmla="*/ 6 h 119"/>
                <a:gd name="T68" fmla="*/ 103 w 107"/>
                <a:gd name="T69" fmla="*/ 6 h 119"/>
                <a:gd name="T70" fmla="*/ 101 w 107"/>
                <a:gd name="T71" fmla="*/ 17 h 119"/>
                <a:gd name="T72" fmla="*/ 94 w 107"/>
                <a:gd name="T73" fmla="*/ 26 h 119"/>
                <a:gd name="T74" fmla="*/ 91 w 107"/>
                <a:gd name="T75" fmla="*/ 40 h 119"/>
                <a:gd name="T76" fmla="*/ 96 w 107"/>
                <a:gd name="T77" fmla="*/ 56 h 119"/>
                <a:gd name="T78" fmla="*/ 102 w 107"/>
                <a:gd name="T79" fmla="*/ 67 h 119"/>
                <a:gd name="T80" fmla="*/ 99 w 107"/>
                <a:gd name="T81" fmla="*/ 77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 h="119">
                  <a:moveTo>
                    <a:pt x="99" y="77"/>
                  </a:moveTo>
                  <a:cubicBezTo>
                    <a:pt x="97" y="81"/>
                    <a:pt x="97" y="88"/>
                    <a:pt x="97" y="92"/>
                  </a:cubicBezTo>
                  <a:cubicBezTo>
                    <a:pt x="97" y="96"/>
                    <a:pt x="92" y="99"/>
                    <a:pt x="90" y="102"/>
                  </a:cubicBezTo>
                  <a:cubicBezTo>
                    <a:pt x="88" y="103"/>
                    <a:pt x="87" y="105"/>
                    <a:pt x="87" y="106"/>
                  </a:cubicBezTo>
                  <a:cubicBezTo>
                    <a:pt x="82" y="102"/>
                    <a:pt x="81" y="102"/>
                    <a:pt x="77" y="100"/>
                  </a:cubicBezTo>
                  <a:cubicBezTo>
                    <a:pt x="73" y="97"/>
                    <a:pt x="65" y="102"/>
                    <a:pt x="62" y="102"/>
                  </a:cubicBezTo>
                  <a:cubicBezTo>
                    <a:pt x="59" y="102"/>
                    <a:pt x="56" y="102"/>
                    <a:pt x="49" y="104"/>
                  </a:cubicBezTo>
                  <a:cubicBezTo>
                    <a:pt x="42" y="106"/>
                    <a:pt x="54" y="110"/>
                    <a:pt x="55" y="114"/>
                  </a:cubicBezTo>
                  <a:cubicBezTo>
                    <a:pt x="56" y="118"/>
                    <a:pt x="51" y="119"/>
                    <a:pt x="47" y="118"/>
                  </a:cubicBezTo>
                  <a:cubicBezTo>
                    <a:pt x="46" y="117"/>
                    <a:pt x="43" y="117"/>
                    <a:pt x="40" y="118"/>
                  </a:cubicBezTo>
                  <a:cubicBezTo>
                    <a:pt x="40" y="117"/>
                    <a:pt x="40" y="115"/>
                    <a:pt x="40" y="115"/>
                  </a:cubicBezTo>
                  <a:cubicBezTo>
                    <a:pt x="40" y="114"/>
                    <a:pt x="37" y="113"/>
                    <a:pt x="34" y="110"/>
                  </a:cubicBezTo>
                  <a:cubicBezTo>
                    <a:pt x="31" y="108"/>
                    <a:pt x="29" y="104"/>
                    <a:pt x="27" y="102"/>
                  </a:cubicBezTo>
                  <a:cubicBezTo>
                    <a:pt x="26" y="100"/>
                    <a:pt x="25" y="97"/>
                    <a:pt x="25" y="93"/>
                  </a:cubicBezTo>
                  <a:cubicBezTo>
                    <a:pt x="25" y="89"/>
                    <a:pt x="22" y="94"/>
                    <a:pt x="21" y="84"/>
                  </a:cubicBezTo>
                  <a:cubicBezTo>
                    <a:pt x="21" y="74"/>
                    <a:pt x="22" y="77"/>
                    <a:pt x="17" y="76"/>
                  </a:cubicBezTo>
                  <a:cubicBezTo>
                    <a:pt x="13" y="75"/>
                    <a:pt x="14" y="73"/>
                    <a:pt x="9" y="69"/>
                  </a:cubicBezTo>
                  <a:cubicBezTo>
                    <a:pt x="4" y="65"/>
                    <a:pt x="4" y="65"/>
                    <a:pt x="2" y="60"/>
                  </a:cubicBezTo>
                  <a:cubicBezTo>
                    <a:pt x="0" y="54"/>
                    <a:pt x="1" y="52"/>
                    <a:pt x="5" y="45"/>
                  </a:cubicBezTo>
                  <a:cubicBezTo>
                    <a:pt x="9" y="37"/>
                    <a:pt x="5" y="38"/>
                    <a:pt x="6" y="34"/>
                  </a:cubicBezTo>
                  <a:cubicBezTo>
                    <a:pt x="7" y="29"/>
                    <a:pt x="12" y="31"/>
                    <a:pt x="19" y="28"/>
                  </a:cubicBezTo>
                  <a:cubicBezTo>
                    <a:pt x="26" y="26"/>
                    <a:pt x="22" y="24"/>
                    <a:pt x="22" y="20"/>
                  </a:cubicBezTo>
                  <a:cubicBezTo>
                    <a:pt x="22" y="16"/>
                    <a:pt x="25" y="14"/>
                    <a:pt x="25" y="9"/>
                  </a:cubicBezTo>
                  <a:cubicBezTo>
                    <a:pt x="25" y="5"/>
                    <a:pt x="26" y="4"/>
                    <a:pt x="27" y="2"/>
                  </a:cubicBezTo>
                  <a:cubicBezTo>
                    <a:pt x="27" y="2"/>
                    <a:pt x="27" y="3"/>
                    <a:pt x="27" y="4"/>
                  </a:cubicBezTo>
                  <a:cubicBezTo>
                    <a:pt x="29" y="9"/>
                    <a:pt x="36" y="2"/>
                    <a:pt x="37" y="1"/>
                  </a:cubicBezTo>
                  <a:cubicBezTo>
                    <a:pt x="38" y="0"/>
                    <a:pt x="42" y="4"/>
                    <a:pt x="47" y="4"/>
                  </a:cubicBezTo>
                  <a:cubicBezTo>
                    <a:pt x="51" y="4"/>
                    <a:pt x="51" y="5"/>
                    <a:pt x="55" y="7"/>
                  </a:cubicBezTo>
                  <a:cubicBezTo>
                    <a:pt x="60" y="9"/>
                    <a:pt x="57" y="5"/>
                    <a:pt x="58" y="4"/>
                  </a:cubicBezTo>
                  <a:cubicBezTo>
                    <a:pt x="59" y="2"/>
                    <a:pt x="66" y="3"/>
                    <a:pt x="72" y="4"/>
                  </a:cubicBezTo>
                  <a:cubicBezTo>
                    <a:pt x="77" y="6"/>
                    <a:pt x="76" y="3"/>
                    <a:pt x="76" y="2"/>
                  </a:cubicBezTo>
                  <a:cubicBezTo>
                    <a:pt x="76" y="1"/>
                    <a:pt x="82" y="3"/>
                    <a:pt x="87" y="2"/>
                  </a:cubicBezTo>
                  <a:cubicBezTo>
                    <a:pt x="91" y="1"/>
                    <a:pt x="91" y="3"/>
                    <a:pt x="95" y="2"/>
                  </a:cubicBezTo>
                  <a:cubicBezTo>
                    <a:pt x="99" y="1"/>
                    <a:pt x="97" y="6"/>
                    <a:pt x="101" y="6"/>
                  </a:cubicBezTo>
                  <a:cubicBezTo>
                    <a:pt x="102" y="6"/>
                    <a:pt x="103" y="6"/>
                    <a:pt x="103" y="6"/>
                  </a:cubicBezTo>
                  <a:cubicBezTo>
                    <a:pt x="103" y="10"/>
                    <a:pt x="101" y="17"/>
                    <a:pt x="101" y="17"/>
                  </a:cubicBezTo>
                  <a:cubicBezTo>
                    <a:pt x="101" y="18"/>
                    <a:pt x="99" y="23"/>
                    <a:pt x="94" y="26"/>
                  </a:cubicBezTo>
                  <a:cubicBezTo>
                    <a:pt x="90" y="29"/>
                    <a:pt x="92" y="36"/>
                    <a:pt x="91" y="40"/>
                  </a:cubicBezTo>
                  <a:cubicBezTo>
                    <a:pt x="90" y="45"/>
                    <a:pt x="95" y="54"/>
                    <a:pt x="96" y="56"/>
                  </a:cubicBezTo>
                  <a:cubicBezTo>
                    <a:pt x="97" y="58"/>
                    <a:pt x="98" y="63"/>
                    <a:pt x="102" y="67"/>
                  </a:cubicBezTo>
                  <a:cubicBezTo>
                    <a:pt x="107" y="71"/>
                    <a:pt x="100" y="74"/>
                    <a:pt x="99" y="7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56" name="Freeform 1034">
              <a:extLst>
                <a:ext uri="{FF2B5EF4-FFF2-40B4-BE49-F238E27FC236}">
                  <a16:creationId xmlns:a16="http://schemas.microsoft.com/office/drawing/2014/main" id="{FE12A657-76E2-7E40-872F-333A1399FF5B}"/>
                </a:ext>
              </a:extLst>
            </p:cNvPr>
            <p:cNvSpPr>
              <a:spLocks/>
            </p:cNvSpPr>
            <p:nvPr/>
          </p:nvSpPr>
          <p:spPr bwMode="auto">
            <a:xfrm>
              <a:off x="2058994" y="2407107"/>
              <a:ext cx="138113" cy="73025"/>
            </a:xfrm>
            <a:custGeom>
              <a:avLst/>
              <a:gdLst>
                <a:gd name="T0" fmla="*/ 136 w 144"/>
                <a:gd name="T1" fmla="*/ 59 h 77"/>
                <a:gd name="T2" fmla="*/ 131 w 144"/>
                <a:gd name="T3" fmla="*/ 59 h 77"/>
                <a:gd name="T4" fmla="*/ 127 w 144"/>
                <a:gd name="T5" fmla="*/ 66 h 77"/>
                <a:gd name="T6" fmla="*/ 124 w 144"/>
                <a:gd name="T7" fmla="*/ 73 h 77"/>
                <a:gd name="T8" fmla="*/ 120 w 144"/>
                <a:gd name="T9" fmla="*/ 69 h 77"/>
                <a:gd name="T10" fmla="*/ 116 w 144"/>
                <a:gd name="T11" fmla="*/ 59 h 77"/>
                <a:gd name="T12" fmla="*/ 113 w 144"/>
                <a:gd name="T13" fmla="*/ 46 h 77"/>
                <a:gd name="T14" fmla="*/ 119 w 144"/>
                <a:gd name="T15" fmla="*/ 39 h 77"/>
                <a:gd name="T16" fmla="*/ 115 w 144"/>
                <a:gd name="T17" fmla="*/ 37 h 77"/>
                <a:gd name="T18" fmla="*/ 106 w 144"/>
                <a:gd name="T19" fmla="*/ 28 h 77"/>
                <a:gd name="T20" fmla="*/ 93 w 144"/>
                <a:gd name="T21" fmla="*/ 24 h 77"/>
                <a:gd name="T22" fmla="*/ 85 w 144"/>
                <a:gd name="T23" fmla="*/ 26 h 77"/>
                <a:gd name="T24" fmla="*/ 73 w 144"/>
                <a:gd name="T25" fmla="*/ 40 h 77"/>
                <a:gd name="T26" fmla="*/ 63 w 144"/>
                <a:gd name="T27" fmla="*/ 44 h 77"/>
                <a:gd name="T28" fmla="*/ 71 w 144"/>
                <a:gd name="T29" fmla="*/ 60 h 77"/>
                <a:gd name="T30" fmla="*/ 67 w 144"/>
                <a:gd name="T31" fmla="*/ 65 h 77"/>
                <a:gd name="T32" fmla="*/ 60 w 144"/>
                <a:gd name="T33" fmla="*/ 72 h 77"/>
                <a:gd name="T34" fmla="*/ 50 w 144"/>
                <a:gd name="T35" fmla="*/ 68 h 77"/>
                <a:gd name="T36" fmla="*/ 47 w 144"/>
                <a:gd name="T37" fmla="*/ 55 h 77"/>
                <a:gd name="T38" fmla="*/ 38 w 144"/>
                <a:gd name="T39" fmla="*/ 59 h 77"/>
                <a:gd name="T40" fmla="*/ 33 w 144"/>
                <a:gd name="T41" fmla="*/ 51 h 77"/>
                <a:gd name="T42" fmla="*/ 25 w 144"/>
                <a:gd name="T43" fmla="*/ 44 h 77"/>
                <a:gd name="T44" fmla="*/ 11 w 144"/>
                <a:gd name="T45" fmla="*/ 42 h 77"/>
                <a:gd name="T46" fmla="*/ 2 w 144"/>
                <a:gd name="T47" fmla="*/ 46 h 77"/>
                <a:gd name="T48" fmla="*/ 0 w 144"/>
                <a:gd name="T49" fmla="*/ 42 h 77"/>
                <a:gd name="T50" fmla="*/ 4 w 144"/>
                <a:gd name="T51" fmla="*/ 37 h 77"/>
                <a:gd name="T52" fmla="*/ 2 w 144"/>
                <a:gd name="T53" fmla="*/ 26 h 77"/>
                <a:gd name="T54" fmla="*/ 4 w 144"/>
                <a:gd name="T55" fmla="*/ 21 h 77"/>
                <a:gd name="T56" fmla="*/ 3 w 144"/>
                <a:gd name="T57" fmla="*/ 10 h 77"/>
                <a:gd name="T58" fmla="*/ 7 w 144"/>
                <a:gd name="T59" fmla="*/ 5 h 77"/>
                <a:gd name="T60" fmla="*/ 13 w 144"/>
                <a:gd name="T61" fmla="*/ 6 h 77"/>
                <a:gd name="T62" fmla="*/ 14 w 144"/>
                <a:gd name="T63" fmla="*/ 5 h 77"/>
                <a:gd name="T64" fmla="*/ 21 w 144"/>
                <a:gd name="T65" fmla="*/ 9 h 77"/>
                <a:gd name="T66" fmla="*/ 17 w 144"/>
                <a:gd name="T67" fmla="*/ 12 h 77"/>
                <a:gd name="T68" fmla="*/ 24 w 144"/>
                <a:gd name="T69" fmla="*/ 24 h 77"/>
                <a:gd name="T70" fmla="*/ 32 w 144"/>
                <a:gd name="T71" fmla="*/ 22 h 77"/>
                <a:gd name="T72" fmla="*/ 45 w 144"/>
                <a:gd name="T73" fmla="*/ 26 h 77"/>
                <a:gd name="T74" fmla="*/ 57 w 144"/>
                <a:gd name="T75" fmla="*/ 22 h 77"/>
                <a:gd name="T76" fmla="*/ 72 w 144"/>
                <a:gd name="T77" fmla="*/ 14 h 77"/>
                <a:gd name="T78" fmla="*/ 80 w 144"/>
                <a:gd name="T79" fmla="*/ 7 h 77"/>
                <a:gd name="T80" fmla="*/ 95 w 144"/>
                <a:gd name="T81" fmla="*/ 6 h 77"/>
                <a:gd name="T82" fmla="*/ 113 w 144"/>
                <a:gd name="T83" fmla="*/ 10 h 77"/>
                <a:gd name="T84" fmla="*/ 123 w 144"/>
                <a:gd name="T85" fmla="*/ 17 h 77"/>
                <a:gd name="T86" fmla="*/ 134 w 144"/>
                <a:gd name="T87" fmla="*/ 23 h 77"/>
                <a:gd name="T88" fmla="*/ 139 w 144"/>
                <a:gd name="T89" fmla="*/ 28 h 77"/>
                <a:gd name="T90" fmla="*/ 137 w 144"/>
                <a:gd name="T91" fmla="*/ 31 h 77"/>
                <a:gd name="T92" fmla="*/ 139 w 144"/>
                <a:gd name="T93" fmla="*/ 38 h 77"/>
                <a:gd name="T94" fmla="*/ 142 w 144"/>
                <a:gd name="T95" fmla="*/ 47 h 77"/>
                <a:gd name="T96" fmla="*/ 136 w 144"/>
                <a:gd name="T97" fmla="*/ 5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4" h="77">
                  <a:moveTo>
                    <a:pt x="136" y="59"/>
                  </a:moveTo>
                  <a:cubicBezTo>
                    <a:pt x="134" y="63"/>
                    <a:pt x="133" y="61"/>
                    <a:pt x="131" y="59"/>
                  </a:cubicBezTo>
                  <a:cubicBezTo>
                    <a:pt x="129" y="58"/>
                    <a:pt x="129" y="63"/>
                    <a:pt x="127" y="66"/>
                  </a:cubicBezTo>
                  <a:cubicBezTo>
                    <a:pt x="126" y="68"/>
                    <a:pt x="125" y="71"/>
                    <a:pt x="124" y="73"/>
                  </a:cubicBezTo>
                  <a:cubicBezTo>
                    <a:pt x="123" y="72"/>
                    <a:pt x="122" y="71"/>
                    <a:pt x="120" y="69"/>
                  </a:cubicBezTo>
                  <a:cubicBezTo>
                    <a:pt x="113" y="60"/>
                    <a:pt x="119" y="63"/>
                    <a:pt x="116" y="59"/>
                  </a:cubicBezTo>
                  <a:cubicBezTo>
                    <a:pt x="113" y="56"/>
                    <a:pt x="112" y="49"/>
                    <a:pt x="113" y="46"/>
                  </a:cubicBezTo>
                  <a:cubicBezTo>
                    <a:pt x="113" y="43"/>
                    <a:pt x="117" y="43"/>
                    <a:pt x="119" y="39"/>
                  </a:cubicBezTo>
                  <a:cubicBezTo>
                    <a:pt x="122" y="35"/>
                    <a:pt x="118" y="37"/>
                    <a:pt x="115" y="37"/>
                  </a:cubicBezTo>
                  <a:cubicBezTo>
                    <a:pt x="112" y="37"/>
                    <a:pt x="109" y="34"/>
                    <a:pt x="106" y="28"/>
                  </a:cubicBezTo>
                  <a:cubicBezTo>
                    <a:pt x="102" y="22"/>
                    <a:pt x="102" y="26"/>
                    <a:pt x="93" y="24"/>
                  </a:cubicBezTo>
                  <a:cubicBezTo>
                    <a:pt x="85" y="21"/>
                    <a:pt x="86" y="23"/>
                    <a:pt x="85" y="26"/>
                  </a:cubicBezTo>
                  <a:cubicBezTo>
                    <a:pt x="83" y="30"/>
                    <a:pt x="77" y="32"/>
                    <a:pt x="73" y="40"/>
                  </a:cubicBezTo>
                  <a:cubicBezTo>
                    <a:pt x="69" y="47"/>
                    <a:pt x="68" y="43"/>
                    <a:pt x="63" y="44"/>
                  </a:cubicBezTo>
                  <a:cubicBezTo>
                    <a:pt x="58" y="46"/>
                    <a:pt x="68" y="54"/>
                    <a:pt x="71" y="60"/>
                  </a:cubicBezTo>
                  <a:cubicBezTo>
                    <a:pt x="75" y="66"/>
                    <a:pt x="71" y="64"/>
                    <a:pt x="67" y="65"/>
                  </a:cubicBezTo>
                  <a:cubicBezTo>
                    <a:pt x="64" y="66"/>
                    <a:pt x="65" y="66"/>
                    <a:pt x="60" y="72"/>
                  </a:cubicBezTo>
                  <a:cubicBezTo>
                    <a:pt x="54" y="77"/>
                    <a:pt x="52" y="71"/>
                    <a:pt x="50" y="68"/>
                  </a:cubicBezTo>
                  <a:cubicBezTo>
                    <a:pt x="49" y="66"/>
                    <a:pt x="48" y="59"/>
                    <a:pt x="47" y="55"/>
                  </a:cubicBezTo>
                  <a:cubicBezTo>
                    <a:pt x="45" y="51"/>
                    <a:pt x="43" y="59"/>
                    <a:pt x="38" y="59"/>
                  </a:cubicBezTo>
                  <a:cubicBezTo>
                    <a:pt x="34" y="59"/>
                    <a:pt x="35" y="56"/>
                    <a:pt x="33" y="51"/>
                  </a:cubicBezTo>
                  <a:cubicBezTo>
                    <a:pt x="32" y="45"/>
                    <a:pt x="30" y="47"/>
                    <a:pt x="25" y="44"/>
                  </a:cubicBezTo>
                  <a:cubicBezTo>
                    <a:pt x="21" y="41"/>
                    <a:pt x="15" y="42"/>
                    <a:pt x="11" y="42"/>
                  </a:cubicBezTo>
                  <a:cubicBezTo>
                    <a:pt x="8" y="42"/>
                    <a:pt x="6" y="44"/>
                    <a:pt x="2" y="46"/>
                  </a:cubicBezTo>
                  <a:cubicBezTo>
                    <a:pt x="1" y="45"/>
                    <a:pt x="0" y="43"/>
                    <a:pt x="0" y="42"/>
                  </a:cubicBezTo>
                  <a:cubicBezTo>
                    <a:pt x="0" y="40"/>
                    <a:pt x="4" y="40"/>
                    <a:pt x="4" y="37"/>
                  </a:cubicBezTo>
                  <a:cubicBezTo>
                    <a:pt x="5" y="33"/>
                    <a:pt x="0" y="29"/>
                    <a:pt x="2" y="26"/>
                  </a:cubicBezTo>
                  <a:cubicBezTo>
                    <a:pt x="5" y="24"/>
                    <a:pt x="7" y="23"/>
                    <a:pt x="4" y="21"/>
                  </a:cubicBezTo>
                  <a:cubicBezTo>
                    <a:pt x="2" y="19"/>
                    <a:pt x="3" y="13"/>
                    <a:pt x="3" y="10"/>
                  </a:cubicBezTo>
                  <a:cubicBezTo>
                    <a:pt x="3" y="8"/>
                    <a:pt x="5" y="4"/>
                    <a:pt x="7" y="5"/>
                  </a:cubicBezTo>
                  <a:cubicBezTo>
                    <a:pt x="9" y="6"/>
                    <a:pt x="11" y="7"/>
                    <a:pt x="13" y="6"/>
                  </a:cubicBezTo>
                  <a:cubicBezTo>
                    <a:pt x="13" y="6"/>
                    <a:pt x="14" y="5"/>
                    <a:pt x="14" y="5"/>
                  </a:cubicBezTo>
                  <a:cubicBezTo>
                    <a:pt x="16" y="6"/>
                    <a:pt x="18" y="7"/>
                    <a:pt x="21" y="9"/>
                  </a:cubicBezTo>
                  <a:cubicBezTo>
                    <a:pt x="29" y="16"/>
                    <a:pt x="21" y="9"/>
                    <a:pt x="17" y="12"/>
                  </a:cubicBezTo>
                  <a:cubicBezTo>
                    <a:pt x="12" y="15"/>
                    <a:pt x="17" y="17"/>
                    <a:pt x="24" y="24"/>
                  </a:cubicBezTo>
                  <a:cubicBezTo>
                    <a:pt x="31" y="31"/>
                    <a:pt x="27" y="17"/>
                    <a:pt x="32" y="22"/>
                  </a:cubicBezTo>
                  <a:cubicBezTo>
                    <a:pt x="37" y="27"/>
                    <a:pt x="37" y="28"/>
                    <a:pt x="45" y="26"/>
                  </a:cubicBezTo>
                  <a:cubicBezTo>
                    <a:pt x="53" y="25"/>
                    <a:pt x="51" y="25"/>
                    <a:pt x="57" y="22"/>
                  </a:cubicBezTo>
                  <a:cubicBezTo>
                    <a:pt x="64" y="19"/>
                    <a:pt x="65" y="17"/>
                    <a:pt x="72" y="14"/>
                  </a:cubicBezTo>
                  <a:cubicBezTo>
                    <a:pt x="79" y="12"/>
                    <a:pt x="75" y="15"/>
                    <a:pt x="80" y="7"/>
                  </a:cubicBezTo>
                  <a:cubicBezTo>
                    <a:pt x="85" y="0"/>
                    <a:pt x="86" y="6"/>
                    <a:pt x="95" y="6"/>
                  </a:cubicBezTo>
                  <a:cubicBezTo>
                    <a:pt x="105" y="5"/>
                    <a:pt x="101" y="8"/>
                    <a:pt x="113" y="10"/>
                  </a:cubicBezTo>
                  <a:cubicBezTo>
                    <a:pt x="125" y="12"/>
                    <a:pt x="119" y="14"/>
                    <a:pt x="123" y="17"/>
                  </a:cubicBezTo>
                  <a:cubicBezTo>
                    <a:pt x="128" y="20"/>
                    <a:pt x="131" y="20"/>
                    <a:pt x="134" y="23"/>
                  </a:cubicBezTo>
                  <a:cubicBezTo>
                    <a:pt x="136" y="24"/>
                    <a:pt x="138" y="26"/>
                    <a:pt x="139" y="28"/>
                  </a:cubicBezTo>
                  <a:cubicBezTo>
                    <a:pt x="138" y="29"/>
                    <a:pt x="137" y="30"/>
                    <a:pt x="137" y="31"/>
                  </a:cubicBezTo>
                  <a:cubicBezTo>
                    <a:pt x="137" y="32"/>
                    <a:pt x="138" y="35"/>
                    <a:pt x="139" y="38"/>
                  </a:cubicBezTo>
                  <a:cubicBezTo>
                    <a:pt x="140" y="41"/>
                    <a:pt x="141" y="44"/>
                    <a:pt x="142" y="47"/>
                  </a:cubicBezTo>
                  <a:cubicBezTo>
                    <a:pt x="144" y="51"/>
                    <a:pt x="138" y="55"/>
                    <a:pt x="136" y="59"/>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57" name="Freeform 1035">
              <a:extLst>
                <a:ext uri="{FF2B5EF4-FFF2-40B4-BE49-F238E27FC236}">
                  <a16:creationId xmlns:a16="http://schemas.microsoft.com/office/drawing/2014/main" id="{C201527B-6E8E-5749-8EE5-B77E0E345955}"/>
                </a:ext>
              </a:extLst>
            </p:cNvPr>
            <p:cNvSpPr>
              <a:spLocks/>
            </p:cNvSpPr>
            <p:nvPr/>
          </p:nvSpPr>
          <p:spPr bwMode="auto">
            <a:xfrm>
              <a:off x="1992319" y="2369007"/>
              <a:ext cx="80963" cy="85725"/>
            </a:xfrm>
            <a:custGeom>
              <a:avLst/>
              <a:gdLst>
                <a:gd name="T0" fmla="*/ 85 w 85"/>
                <a:gd name="T1" fmla="*/ 44 h 90"/>
                <a:gd name="T2" fmla="*/ 84 w 85"/>
                <a:gd name="T3" fmla="*/ 45 h 90"/>
                <a:gd name="T4" fmla="*/ 78 w 85"/>
                <a:gd name="T5" fmla="*/ 44 h 90"/>
                <a:gd name="T6" fmla="*/ 74 w 85"/>
                <a:gd name="T7" fmla="*/ 49 h 90"/>
                <a:gd name="T8" fmla="*/ 75 w 85"/>
                <a:gd name="T9" fmla="*/ 60 h 90"/>
                <a:gd name="T10" fmla="*/ 73 w 85"/>
                <a:gd name="T11" fmla="*/ 65 h 90"/>
                <a:gd name="T12" fmla="*/ 75 w 85"/>
                <a:gd name="T13" fmla="*/ 76 h 90"/>
                <a:gd name="T14" fmla="*/ 71 w 85"/>
                <a:gd name="T15" fmla="*/ 81 h 90"/>
                <a:gd name="T16" fmla="*/ 73 w 85"/>
                <a:gd name="T17" fmla="*/ 85 h 90"/>
                <a:gd name="T18" fmla="*/ 70 w 85"/>
                <a:gd name="T19" fmla="*/ 87 h 90"/>
                <a:gd name="T20" fmla="*/ 66 w 85"/>
                <a:gd name="T21" fmla="*/ 74 h 90"/>
                <a:gd name="T22" fmla="*/ 62 w 85"/>
                <a:gd name="T23" fmla="*/ 79 h 90"/>
                <a:gd name="T24" fmla="*/ 53 w 85"/>
                <a:gd name="T25" fmla="*/ 74 h 90"/>
                <a:gd name="T26" fmla="*/ 55 w 85"/>
                <a:gd name="T27" fmla="*/ 62 h 90"/>
                <a:gd name="T28" fmla="*/ 49 w 85"/>
                <a:gd name="T29" fmla="*/ 54 h 90"/>
                <a:gd name="T30" fmla="*/ 39 w 85"/>
                <a:gd name="T31" fmla="*/ 46 h 90"/>
                <a:gd name="T32" fmla="*/ 32 w 85"/>
                <a:gd name="T33" fmla="*/ 41 h 90"/>
                <a:gd name="T34" fmla="*/ 26 w 85"/>
                <a:gd name="T35" fmla="*/ 32 h 90"/>
                <a:gd name="T36" fmla="*/ 25 w 85"/>
                <a:gd name="T37" fmla="*/ 37 h 90"/>
                <a:gd name="T38" fmla="*/ 21 w 85"/>
                <a:gd name="T39" fmla="*/ 44 h 90"/>
                <a:gd name="T40" fmla="*/ 9 w 85"/>
                <a:gd name="T41" fmla="*/ 37 h 90"/>
                <a:gd name="T42" fmla="*/ 2 w 85"/>
                <a:gd name="T43" fmla="*/ 27 h 90"/>
                <a:gd name="T44" fmla="*/ 6 w 85"/>
                <a:gd name="T45" fmla="*/ 17 h 90"/>
                <a:gd name="T46" fmla="*/ 4 w 85"/>
                <a:gd name="T47" fmla="*/ 12 h 90"/>
                <a:gd name="T48" fmla="*/ 6 w 85"/>
                <a:gd name="T49" fmla="*/ 6 h 90"/>
                <a:gd name="T50" fmla="*/ 6 w 85"/>
                <a:gd name="T51" fmla="*/ 1 h 90"/>
                <a:gd name="T52" fmla="*/ 13 w 85"/>
                <a:gd name="T53" fmla="*/ 0 h 90"/>
                <a:gd name="T54" fmla="*/ 26 w 85"/>
                <a:gd name="T55" fmla="*/ 3 h 90"/>
                <a:gd name="T56" fmla="*/ 39 w 85"/>
                <a:gd name="T57" fmla="*/ 5 h 90"/>
                <a:gd name="T58" fmla="*/ 48 w 85"/>
                <a:gd name="T59" fmla="*/ 12 h 90"/>
                <a:gd name="T60" fmla="*/ 55 w 85"/>
                <a:gd name="T61" fmla="*/ 10 h 90"/>
                <a:gd name="T62" fmla="*/ 58 w 85"/>
                <a:gd name="T63" fmla="*/ 7 h 90"/>
                <a:gd name="T64" fmla="*/ 61 w 85"/>
                <a:gd name="T65" fmla="*/ 15 h 90"/>
                <a:gd name="T66" fmla="*/ 66 w 85"/>
                <a:gd name="T67" fmla="*/ 23 h 90"/>
                <a:gd name="T68" fmla="*/ 77 w 85"/>
                <a:gd name="T69" fmla="*/ 37 h 90"/>
                <a:gd name="T70" fmla="*/ 85 w 85"/>
                <a:gd name="T71"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90">
                  <a:moveTo>
                    <a:pt x="85" y="44"/>
                  </a:moveTo>
                  <a:cubicBezTo>
                    <a:pt x="85" y="44"/>
                    <a:pt x="84" y="45"/>
                    <a:pt x="84" y="45"/>
                  </a:cubicBezTo>
                  <a:cubicBezTo>
                    <a:pt x="82" y="46"/>
                    <a:pt x="80" y="45"/>
                    <a:pt x="78" y="44"/>
                  </a:cubicBezTo>
                  <a:cubicBezTo>
                    <a:pt x="76" y="43"/>
                    <a:pt x="74" y="47"/>
                    <a:pt x="74" y="49"/>
                  </a:cubicBezTo>
                  <a:cubicBezTo>
                    <a:pt x="74" y="52"/>
                    <a:pt x="73" y="58"/>
                    <a:pt x="75" y="60"/>
                  </a:cubicBezTo>
                  <a:cubicBezTo>
                    <a:pt x="78" y="62"/>
                    <a:pt x="76" y="63"/>
                    <a:pt x="73" y="65"/>
                  </a:cubicBezTo>
                  <a:cubicBezTo>
                    <a:pt x="71" y="68"/>
                    <a:pt x="76" y="72"/>
                    <a:pt x="75" y="76"/>
                  </a:cubicBezTo>
                  <a:cubicBezTo>
                    <a:pt x="75" y="79"/>
                    <a:pt x="71" y="79"/>
                    <a:pt x="71" y="81"/>
                  </a:cubicBezTo>
                  <a:cubicBezTo>
                    <a:pt x="71" y="82"/>
                    <a:pt x="72" y="84"/>
                    <a:pt x="73" y="85"/>
                  </a:cubicBezTo>
                  <a:cubicBezTo>
                    <a:pt x="72" y="86"/>
                    <a:pt x="71" y="86"/>
                    <a:pt x="70" y="87"/>
                  </a:cubicBezTo>
                  <a:cubicBezTo>
                    <a:pt x="63" y="90"/>
                    <a:pt x="68" y="77"/>
                    <a:pt x="66" y="74"/>
                  </a:cubicBezTo>
                  <a:cubicBezTo>
                    <a:pt x="64" y="71"/>
                    <a:pt x="62" y="73"/>
                    <a:pt x="62" y="79"/>
                  </a:cubicBezTo>
                  <a:cubicBezTo>
                    <a:pt x="62" y="85"/>
                    <a:pt x="56" y="77"/>
                    <a:pt x="53" y="74"/>
                  </a:cubicBezTo>
                  <a:cubicBezTo>
                    <a:pt x="50" y="71"/>
                    <a:pt x="55" y="67"/>
                    <a:pt x="55" y="62"/>
                  </a:cubicBezTo>
                  <a:cubicBezTo>
                    <a:pt x="56" y="57"/>
                    <a:pt x="54" y="59"/>
                    <a:pt x="49" y="54"/>
                  </a:cubicBezTo>
                  <a:cubicBezTo>
                    <a:pt x="43" y="49"/>
                    <a:pt x="43" y="47"/>
                    <a:pt x="39" y="46"/>
                  </a:cubicBezTo>
                  <a:cubicBezTo>
                    <a:pt x="34" y="46"/>
                    <a:pt x="32" y="45"/>
                    <a:pt x="32" y="41"/>
                  </a:cubicBezTo>
                  <a:cubicBezTo>
                    <a:pt x="32" y="37"/>
                    <a:pt x="30" y="34"/>
                    <a:pt x="26" y="32"/>
                  </a:cubicBezTo>
                  <a:cubicBezTo>
                    <a:pt x="23" y="30"/>
                    <a:pt x="24" y="34"/>
                    <a:pt x="25" y="37"/>
                  </a:cubicBezTo>
                  <a:cubicBezTo>
                    <a:pt x="25" y="40"/>
                    <a:pt x="24" y="44"/>
                    <a:pt x="21" y="44"/>
                  </a:cubicBezTo>
                  <a:cubicBezTo>
                    <a:pt x="18" y="44"/>
                    <a:pt x="13" y="40"/>
                    <a:pt x="9" y="37"/>
                  </a:cubicBezTo>
                  <a:cubicBezTo>
                    <a:pt x="5" y="34"/>
                    <a:pt x="5" y="30"/>
                    <a:pt x="2" y="27"/>
                  </a:cubicBezTo>
                  <a:cubicBezTo>
                    <a:pt x="0" y="24"/>
                    <a:pt x="4" y="20"/>
                    <a:pt x="6" y="17"/>
                  </a:cubicBezTo>
                  <a:cubicBezTo>
                    <a:pt x="9" y="14"/>
                    <a:pt x="5" y="13"/>
                    <a:pt x="4" y="12"/>
                  </a:cubicBezTo>
                  <a:cubicBezTo>
                    <a:pt x="2" y="10"/>
                    <a:pt x="5" y="9"/>
                    <a:pt x="6" y="6"/>
                  </a:cubicBezTo>
                  <a:cubicBezTo>
                    <a:pt x="6" y="4"/>
                    <a:pt x="6" y="3"/>
                    <a:pt x="6" y="1"/>
                  </a:cubicBezTo>
                  <a:cubicBezTo>
                    <a:pt x="8" y="1"/>
                    <a:pt x="10" y="0"/>
                    <a:pt x="13" y="0"/>
                  </a:cubicBezTo>
                  <a:cubicBezTo>
                    <a:pt x="16" y="1"/>
                    <a:pt x="22" y="2"/>
                    <a:pt x="26" y="3"/>
                  </a:cubicBezTo>
                  <a:cubicBezTo>
                    <a:pt x="31" y="3"/>
                    <a:pt x="36" y="2"/>
                    <a:pt x="39" y="5"/>
                  </a:cubicBezTo>
                  <a:cubicBezTo>
                    <a:pt x="41" y="8"/>
                    <a:pt x="45" y="12"/>
                    <a:pt x="48" y="12"/>
                  </a:cubicBezTo>
                  <a:cubicBezTo>
                    <a:pt x="51" y="12"/>
                    <a:pt x="53" y="12"/>
                    <a:pt x="55" y="10"/>
                  </a:cubicBezTo>
                  <a:cubicBezTo>
                    <a:pt x="56" y="9"/>
                    <a:pt x="57" y="8"/>
                    <a:pt x="58" y="7"/>
                  </a:cubicBezTo>
                  <a:cubicBezTo>
                    <a:pt x="58" y="8"/>
                    <a:pt x="59" y="9"/>
                    <a:pt x="61" y="15"/>
                  </a:cubicBezTo>
                  <a:cubicBezTo>
                    <a:pt x="65" y="26"/>
                    <a:pt x="63" y="19"/>
                    <a:pt x="66" y="23"/>
                  </a:cubicBezTo>
                  <a:cubicBezTo>
                    <a:pt x="70" y="27"/>
                    <a:pt x="71" y="29"/>
                    <a:pt x="77" y="37"/>
                  </a:cubicBezTo>
                  <a:cubicBezTo>
                    <a:pt x="81" y="42"/>
                    <a:pt x="82" y="42"/>
                    <a:pt x="85" y="44"/>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58" name="Freeform 1036">
              <a:extLst>
                <a:ext uri="{FF2B5EF4-FFF2-40B4-BE49-F238E27FC236}">
                  <a16:creationId xmlns:a16="http://schemas.microsoft.com/office/drawing/2014/main" id="{D505F034-B36D-F64C-BDE1-80A6DFA48DCF}"/>
                </a:ext>
              </a:extLst>
            </p:cNvPr>
            <p:cNvSpPr>
              <a:spLocks/>
            </p:cNvSpPr>
            <p:nvPr/>
          </p:nvSpPr>
          <p:spPr bwMode="auto">
            <a:xfrm>
              <a:off x="2043119" y="2391232"/>
              <a:ext cx="90488" cy="19050"/>
            </a:xfrm>
            <a:custGeom>
              <a:avLst/>
              <a:gdLst>
                <a:gd name="T0" fmla="*/ 57 w 57"/>
                <a:gd name="T1" fmla="*/ 2 h 12"/>
                <a:gd name="T2" fmla="*/ 57 w 57"/>
                <a:gd name="T3" fmla="*/ 0 h 12"/>
                <a:gd name="T4" fmla="*/ 7 w 57"/>
                <a:gd name="T5" fmla="*/ 8 h 12"/>
                <a:gd name="T6" fmla="*/ 8 w 57"/>
                <a:gd name="T7" fmla="*/ 5 h 12"/>
                <a:gd name="T8" fmla="*/ 0 w 57"/>
                <a:gd name="T9" fmla="*/ 10 h 12"/>
                <a:gd name="T10" fmla="*/ 9 w 57"/>
                <a:gd name="T11" fmla="*/ 12 h 12"/>
                <a:gd name="T12" fmla="*/ 8 w 57"/>
                <a:gd name="T13" fmla="*/ 10 h 12"/>
                <a:gd name="T14" fmla="*/ 57 w 57"/>
                <a:gd name="T15" fmla="*/ 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12">
                  <a:moveTo>
                    <a:pt x="57" y="2"/>
                  </a:moveTo>
                  <a:lnTo>
                    <a:pt x="57" y="0"/>
                  </a:lnTo>
                  <a:lnTo>
                    <a:pt x="7" y="8"/>
                  </a:lnTo>
                  <a:lnTo>
                    <a:pt x="8" y="5"/>
                  </a:lnTo>
                  <a:lnTo>
                    <a:pt x="0" y="10"/>
                  </a:lnTo>
                  <a:lnTo>
                    <a:pt x="9" y="12"/>
                  </a:lnTo>
                  <a:lnTo>
                    <a:pt x="8" y="10"/>
                  </a:lnTo>
                  <a:lnTo>
                    <a:pt x="57" y="2"/>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59" name="Freeform 1037">
              <a:extLst>
                <a:ext uri="{FF2B5EF4-FFF2-40B4-BE49-F238E27FC236}">
                  <a16:creationId xmlns:a16="http://schemas.microsoft.com/office/drawing/2014/main" id="{8E8038A0-8B35-DF44-A10C-09B61B6F2B40}"/>
                </a:ext>
              </a:extLst>
            </p:cNvPr>
            <p:cNvSpPr>
              <a:spLocks/>
            </p:cNvSpPr>
            <p:nvPr/>
          </p:nvSpPr>
          <p:spPr bwMode="auto">
            <a:xfrm>
              <a:off x="1955806" y="2265820"/>
              <a:ext cx="117475" cy="114300"/>
            </a:xfrm>
            <a:custGeom>
              <a:avLst/>
              <a:gdLst>
                <a:gd name="T0" fmla="*/ 117 w 124"/>
                <a:gd name="T1" fmla="*/ 15 h 120"/>
                <a:gd name="T2" fmla="*/ 115 w 124"/>
                <a:gd name="T3" fmla="*/ 25 h 120"/>
                <a:gd name="T4" fmla="*/ 108 w 124"/>
                <a:gd name="T5" fmla="*/ 41 h 120"/>
                <a:gd name="T6" fmla="*/ 103 w 124"/>
                <a:gd name="T7" fmla="*/ 63 h 120"/>
                <a:gd name="T8" fmla="*/ 101 w 124"/>
                <a:gd name="T9" fmla="*/ 73 h 120"/>
                <a:gd name="T10" fmla="*/ 99 w 124"/>
                <a:gd name="T11" fmla="*/ 86 h 120"/>
                <a:gd name="T12" fmla="*/ 94 w 124"/>
                <a:gd name="T13" fmla="*/ 101 h 120"/>
                <a:gd name="T14" fmla="*/ 93 w 124"/>
                <a:gd name="T15" fmla="*/ 110 h 120"/>
                <a:gd name="T16" fmla="*/ 96 w 124"/>
                <a:gd name="T17" fmla="*/ 115 h 120"/>
                <a:gd name="T18" fmla="*/ 93 w 124"/>
                <a:gd name="T19" fmla="*/ 118 h 120"/>
                <a:gd name="T20" fmla="*/ 86 w 124"/>
                <a:gd name="T21" fmla="*/ 120 h 120"/>
                <a:gd name="T22" fmla="*/ 77 w 124"/>
                <a:gd name="T23" fmla="*/ 113 h 120"/>
                <a:gd name="T24" fmla="*/ 64 w 124"/>
                <a:gd name="T25" fmla="*/ 111 h 120"/>
                <a:gd name="T26" fmla="*/ 51 w 124"/>
                <a:gd name="T27" fmla="*/ 108 h 120"/>
                <a:gd name="T28" fmla="*/ 44 w 124"/>
                <a:gd name="T29" fmla="*/ 109 h 120"/>
                <a:gd name="T30" fmla="*/ 41 w 124"/>
                <a:gd name="T31" fmla="*/ 105 h 120"/>
                <a:gd name="T32" fmla="*/ 32 w 124"/>
                <a:gd name="T33" fmla="*/ 92 h 120"/>
                <a:gd name="T34" fmla="*/ 20 w 124"/>
                <a:gd name="T35" fmla="*/ 83 h 120"/>
                <a:gd name="T36" fmla="*/ 9 w 124"/>
                <a:gd name="T37" fmla="*/ 72 h 120"/>
                <a:gd name="T38" fmla="*/ 2 w 124"/>
                <a:gd name="T39" fmla="*/ 59 h 120"/>
                <a:gd name="T40" fmla="*/ 12 w 124"/>
                <a:gd name="T41" fmla="*/ 59 h 120"/>
                <a:gd name="T42" fmla="*/ 13 w 124"/>
                <a:gd name="T43" fmla="*/ 58 h 120"/>
                <a:gd name="T44" fmla="*/ 20 w 124"/>
                <a:gd name="T45" fmla="*/ 52 h 120"/>
                <a:gd name="T46" fmla="*/ 27 w 124"/>
                <a:gd name="T47" fmla="*/ 44 h 120"/>
                <a:gd name="T48" fmla="*/ 31 w 124"/>
                <a:gd name="T49" fmla="*/ 34 h 120"/>
                <a:gd name="T50" fmla="*/ 43 w 124"/>
                <a:gd name="T51" fmla="*/ 29 h 120"/>
                <a:gd name="T52" fmla="*/ 49 w 124"/>
                <a:gd name="T53" fmla="*/ 29 h 120"/>
                <a:gd name="T54" fmla="*/ 56 w 124"/>
                <a:gd name="T55" fmla="*/ 27 h 120"/>
                <a:gd name="T56" fmla="*/ 67 w 124"/>
                <a:gd name="T57" fmla="*/ 17 h 120"/>
                <a:gd name="T58" fmla="*/ 76 w 124"/>
                <a:gd name="T59" fmla="*/ 6 h 120"/>
                <a:gd name="T60" fmla="*/ 85 w 124"/>
                <a:gd name="T61" fmla="*/ 10 h 120"/>
                <a:gd name="T62" fmla="*/ 94 w 124"/>
                <a:gd name="T63" fmla="*/ 8 h 120"/>
                <a:gd name="T64" fmla="*/ 107 w 124"/>
                <a:gd name="T65" fmla="*/ 2 h 120"/>
                <a:gd name="T66" fmla="*/ 120 w 124"/>
                <a:gd name="T67" fmla="*/ 0 h 120"/>
                <a:gd name="T68" fmla="*/ 120 w 124"/>
                <a:gd name="T69" fmla="*/ 0 h 120"/>
                <a:gd name="T70" fmla="*/ 115 w 124"/>
                <a:gd name="T71" fmla="*/ 5 h 120"/>
                <a:gd name="T72" fmla="*/ 117 w 124"/>
                <a:gd name="T73" fmla="*/ 1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4" h="120">
                  <a:moveTo>
                    <a:pt x="117" y="15"/>
                  </a:moveTo>
                  <a:cubicBezTo>
                    <a:pt x="120" y="22"/>
                    <a:pt x="119" y="17"/>
                    <a:pt x="115" y="25"/>
                  </a:cubicBezTo>
                  <a:cubicBezTo>
                    <a:pt x="111" y="34"/>
                    <a:pt x="113" y="33"/>
                    <a:pt x="108" y="41"/>
                  </a:cubicBezTo>
                  <a:cubicBezTo>
                    <a:pt x="103" y="48"/>
                    <a:pt x="109" y="55"/>
                    <a:pt x="103" y="63"/>
                  </a:cubicBezTo>
                  <a:cubicBezTo>
                    <a:pt x="97" y="70"/>
                    <a:pt x="103" y="69"/>
                    <a:pt x="101" y="73"/>
                  </a:cubicBezTo>
                  <a:cubicBezTo>
                    <a:pt x="98" y="77"/>
                    <a:pt x="96" y="79"/>
                    <a:pt x="99" y="86"/>
                  </a:cubicBezTo>
                  <a:cubicBezTo>
                    <a:pt x="102" y="92"/>
                    <a:pt x="100" y="96"/>
                    <a:pt x="94" y="101"/>
                  </a:cubicBezTo>
                  <a:cubicBezTo>
                    <a:pt x="88" y="106"/>
                    <a:pt x="90" y="105"/>
                    <a:pt x="93" y="110"/>
                  </a:cubicBezTo>
                  <a:cubicBezTo>
                    <a:pt x="95" y="113"/>
                    <a:pt x="95" y="114"/>
                    <a:pt x="96" y="115"/>
                  </a:cubicBezTo>
                  <a:cubicBezTo>
                    <a:pt x="95" y="116"/>
                    <a:pt x="94" y="117"/>
                    <a:pt x="93" y="118"/>
                  </a:cubicBezTo>
                  <a:cubicBezTo>
                    <a:pt x="91" y="120"/>
                    <a:pt x="89" y="120"/>
                    <a:pt x="86" y="120"/>
                  </a:cubicBezTo>
                  <a:cubicBezTo>
                    <a:pt x="83" y="120"/>
                    <a:pt x="79" y="116"/>
                    <a:pt x="77" y="113"/>
                  </a:cubicBezTo>
                  <a:cubicBezTo>
                    <a:pt x="74" y="110"/>
                    <a:pt x="69" y="111"/>
                    <a:pt x="64" y="111"/>
                  </a:cubicBezTo>
                  <a:cubicBezTo>
                    <a:pt x="60" y="110"/>
                    <a:pt x="54" y="109"/>
                    <a:pt x="51" y="108"/>
                  </a:cubicBezTo>
                  <a:cubicBezTo>
                    <a:pt x="48" y="108"/>
                    <a:pt x="46" y="109"/>
                    <a:pt x="44" y="109"/>
                  </a:cubicBezTo>
                  <a:cubicBezTo>
                    <a:pt x="43" y="108"/>
                    <a:pt x="42" y="107"/>
                    <a:pt x="41" y="105"/>
                  </a:cubicBezTo>
                  <a:cubicBezTo>
                    <a:pt x="40" y="103"/>
                    <a:pt x="35" y="98"/>
                    <a:pt x="32" y="92"/>
                  </a:cubicBezTo>
                  <a:cubicBezTo>
                    <a:pt x="29" y="87"/>
                    <a:pt x="23" y="87"/>
                    <a:pt x="20" y="83"/>
                  </a:cubicBezTo>
                  <a:cubicBezTo>
                    <a:pt x="17" y="78"/>
                    <a:pt x="14" y="75"/>
                    <a:pt x="9" y="72"/>
                  </a:cubicBezTo>
                  <a:cubicBezTo>
                    <a:pt x="4" y="69"/>
                    <a:pt x="4" y="66"/>
                    <a:pt x="2" y="59"/>
                  </a:cubicBezTo>
                  <a:cubicBezTo>
                    <a:pt x="0" y="52"/>
                    <a:pt x="8" y="58"/>
                    <a:pt x="12" y="59"/>
                  </a:cubicBezTo>
                  <a:cubicBezTo>
                    <a:pt x="14" y="59"/>
                    <a:pt x="14" y="59"/>
                    <a:pt x="13" y="58"/>
                  </a:cubicBezTo>
                  <a:cubicBezTo>
                    <a:pt x="17" y="57"/>
                    <a:pt x="18" y="56"/>
                    <a:pt x="20" y="52"/>
                  </a:cubicBezTo>
                  <a:cubicBezTo>
                    <a:pt x="23" y="48"/>
                    <a:pt x="27" y="47"/>
                    <a:pt x="27" y="44"/>
                  </a:cubicBezTo>
                  <a:cubicBezTo>
                    <a:pt x="27" y="40"/>
                    <a:pt x="27" y="33"/>
                    <a:pt x="31" y="34"/>
                  </a:cubicBezTo>
                  <a:cubicBezTo>
                    <a:pt x="35" y="34"/>
                    <a:pt x="41" y="30"/>
                    <a:pt x="43" y="29"/>
                  </a:cubicBezTo>
                  <a:cubicBezTo>
                    <a:pt x="45" y="28"/>
                    <a:pt x="46" y="26"/>
                    <a:pt x="49" y="29"/>
                  </a:cubicBezTo>
                  <a:cubicBezTo>
                    <a:pt x="52" y="31"/>
                    <a:pt x="53" y="31"/>
                    <a:pt x="56" y="27"/>
                  </a:cubicBezTo>
                  <a:cubicBezTo>
                    <a:pt x="59" y="24"/>
                    <a:pt x="62" y="22"/>
                    <a:pt x="67" y="17"/>
                  </a:cubicBezTo>
                  <a:cubicBezTo>
                    <a:pt x="72" y="12"/>
                    <a:pt x="72" y="4"/>
                    <a:pt x="76" y="6"/>
                  </a:cubicBezTo>
                  <a:cubicBezTo>
                    <a:pt x="79" y="8"/>
                    <a:pt x="80" y="10"/>
                    <a:pt x="85" y="10"/>
                  </a:cubicBezTo>
                  <a:cubicBezTo>
                    <a:pt x="90" y="11"/>
                    <a:pt x="86" y="9"/>
                    <a:pt x="94" y="8"/>
                  </a:cubicBezTo>
                  <a:cubicBezTo>
                    <a:pt x="102" y="6"/>
                    <a:pt x="104" y="3"/>
                    <a:pt x="107" y="2"/>
                  </a:cubicBezTo>
                  <a:cubicBezTo>
                    <a:pt x="110" y="2"/>
                    <a:pt x="116" y="1"/>
                    <a:pt x="120" y="0"/>
                  </a:cubicBezTo>
                  <a:cubicBezTo>
                    <a:pt x="120" y="0"/>
                    <a:pt x="120" y="0"/>
                    <a:pt x="120" y="0"/>
                  </a:cubicBezTo>
                  <a:cubicBezTo>
                    <a:pt x="124" y="4"/>
                    <a:pt x="120" y="3"/>
                    <a:pt x="115" y="5"/>
                  </a:cubicBezTo>
                  <a:cubicBezTo>
                    <a:pt x="111" y="7"/>
                    <a:pt x="114" y="7"/>
                    <a:pt x="117" y="15"/>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60" name="Freeform 1038">
              <a:extLst>
                <a:ext uri="{FF2B5EF4-FFF2-40B4-BE49-F238E27FC236}">
                  <a16:creationId xmlns:a16="http://schemas.microsoft.com/office/drawing/2014/main" id="{8A5D0476-10A1-184D-8A25-B852872C8101}"/>
                </a:ext>
              </a:extLst>
            </p:cNvPr>
            <p:cNvSpPr>
              <a:spLocks/>
            </p:cNvSpPr>
            <p:nvPr/>
          </p:nvSpPr>
          <p:spPr bwMode="auto">
            <a:xfrm>
              <a:off x="1922469" y="2240420"/>
              <a:ext cx="147638" cy="80963"/>
            </a:xfrm>
            <a:custGeom>
              <a:avLst/>
              <a:gdLst>
                <a:gd name="T0" fmla="*/ 155 w 155"/>
                <a:gd name="T1" fmla="*/ 28 h 86"/>
                <a:gd name="T2" fmla="*/ 142 w 155"/>
                <a:gd name="T3" fmla="*/ 30 h 86"/>
                <a:gd name="T4" fmla="*/ 129 w 155"/>
                <a:gd name="T5" fmla="*/ 36 h 86"/>
                <a:gd name="T6" fmla="*/ 120 w 155"/>
                <a:gd name="T7" fmla="*/ 38 h 86"/>
                <a:gd name="T8" fmla="*/ 111 w 155"/>
                <a:gd name="T9" fmla="*/ 34 h 86"/>
                <a:gd name="T10" fmla="*/ 102 w 155"/>
                <a:gd name="T11" fmla="*/ 45 h 86"/>
                <a:gd name="T12" fmla="*/ 91 w 155"/>
                <a:gd name="T13" fmla="*/ 55 h 86"/>
                <a:gd name="T14" fmla="*/ 84 w 155"/>
                <a:gd name="T15" fmla="*/ 57 h 86"/>
                <a:gd name="T16" fmla="*/ 78 w 155"/>
                <a:gd name="T17" fmla="*/ 57 h 86"/>
                <a:gd name="T18" fmla="*/ 66 w 155"/>
                <a:gd name="T19" fmla="*/ 62 h 86"/>
                <a:gd name="T20" fmla="*/ 62 w 155"/>
                <a:gd name="T21" fmla="*/ 72 h 86"/>
                <a:gd name="T22" fmla="*/ 55 w 155"/>
                <a:gd name="T23" fmla="*/ 80 h 86"/>
                <a:gd name="T24" fmla="*/ 48 w 155"/>
                <a:gd name="T25" fmla="*/ 86 h 86"/>
                <a:gd name="T26" fmla="*/ 43 w 155"/>
                <a:gd name="T27" fmla="*/ 77 h 86"/>
                <a:gd name="T28" fmla="*/ 35 w 155"/>
                <a:gd name="T29" fmla="*/ 74 h 86"/>
                <a:gd name="T30" fmla="*/ 35 w 155"/>
                <a:gd name="T31" fmla="*/ 71 h 86"/>
                <a:gd name="T32" fmla="*/ 37 w 155"/>
                <a:gd name="T33" fmla="*/ 62 h 86"/>
                <a:gd name="T34" fmla="*/ 30 w 155"/>
                <a:gd name="T35" fmla="*/ 59 h 86"/>
                <a:gd name="T36" fmla="*/ 21 w 155"/>
                <a:gd name="T37" fmla="*/ 59 h 86"/>
                <a:gd name="T38" fmla="*/ 17 w 155"/>
                <a:gd name="T39" fmla="*/ 57 h 86"/>
                <a:gd name="T40" fmla="*/ 6 w 155"/>
                <a:gd name="T41" fmla="*/ 48 h 86"/>
                <a:gd name="T42" fmla="*/ 0 w 155"/>
                <a:gd name="T43" fmla="*/ 44 h 86"/>
                <a:gd name="T44" fmla="*/ 3 w 155"/>
                <a:gd name="T45" fmla="*/ 41 h 86"/>
                <a:gd name="T46" fmla="*/ 6 w 155"/>
                <a:gd name="T47" fmla="*/ 28 h 86"/>
                <a:gd name="T48" fmla="*/ 28 w 155"/>
                <a:gd name="T49" fmla="*/ 10 h 86"/>
                <a:gd name="T50" fmla="*/ 37 w 155"/>
                <a:gd name="T51" fmla="*/ 4 h 86"/>
                <a:gd name="T52" fmla="*/ 49 w 155"/>
                <a:gd name="T53" fmla="*/ 5 h 86"/>
                <a:gd name="T54" fmla="*/ 59 w 155"/>
                <a:gd name="T55" fmla="*/ 6 h 86"/>
                <a:gd name="T56" fmla="*/ 68 w 155"/>
                <a:gd name="T57" fmla="*/ 9 h 86"/>
                <a:gd name="T58" fmla="*/ 81 w 155"/>
                <a:gd name="T59" fmla="*/ 3 h 86"/>
                <a:gd name="T60" fmla="*/ 100 w 155"/>
                <a:gd name="T61" fmla="*/ 2 h 86"/>
                <a:gd name="T62" fmla="*/ 116 w 155"/>
                <a:gd name="T63" fmla="*/ 1 h 86"/>
                <a:gd name="T64" fmla="*/ 132 w 155"/>
                <a:gd name="T65" fmla="*/ 8 h 86"/>
                <a:gd name="T66" fmla="*/ 136 w 155"/>
                <a:gd name="T67" fmla="*/ 16 h 86"/>
                <a:gd name="T68" fmla="*/ 143 w 155"/>
                <a:gd name="T69" fmla="*/ 18 h 86"/>
                <a:gd name="T70" fmla="*/ 155 w 155"/>
                <a:gd name="T7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5" h="86">
                  <a:moveTo>
                    <a:pt x="155" y="28"/>
                  </a:moveTo>
                  <a:cubicBezTo>
                    <a:pt x="151" y="29"/>
                    <a:pt x="145" y="30"/>
                    <a:pt x="142" y="30"/>
                  </a:cubicBezTo>
                  <a:cubicBezTo>
                    <a:pt x="139" y="31"/>
                    <a:pt x="137" y="34"/>
                    <a:pt x="129" y="36"/>
                  </a:cubicBezTo>
                  <a:cubicBezTo>
                    <a:pt x="121" y="37"/>
                    <a:pt x="125" y="39"/>
                    <a:pt x="120" y="38"/>
                  </a:cubicBezTo>
                  <a:cubicBezTo>
                    <a:pt x="115" y="38"/>
                    <a:pt x="114" y="36"/>
                    <a:pt x="111" y="34"/>
                  </a:cubicBezTo>
                  <a:cubicBezTo>
                    <a:pt x="107" y="32"/>
                    <a:pt x="107" y="40"/>
                    <a:pt x="102" y="45"/>
                  </a:cubicBezTo>
                  <a:cubicBezTo>
                    <a:pt x="97" y="50"/>
                    <a:pt x="94" y="52"/>
                    <a:pt x="91" y="55"/>
                  </a:cubicBezTo>
                  <a:cubicBezTo>
                    <a:pt x="88" y="59"/>
                    <a:pt x="87" y="59"/>
                    <a:pt x="84" y="57"/>
                  </a:cubicBezTo>
                  <a:cubicBezTo>
                    <a:pt x="81" y="54"/>
                    <a:pt x="80" y="56"/>
                    <a:pt x="78" y="57"/>
                  </a:cubicBezTo>
                  <a:cubicBezTo>
                    <a:pt x="76" y="58"/>
                    <a:pt x="70" y="62"/>
                    <a:pt x="66" y="62"/>
                  </a:cubicBezTo>
                  <a:cubicBezTo>
                    <a:pt x="62" y="61"/>
                    <a:pt x="62" y="68"/>
                    <a:pt x="62" y="72"/>
                  </a:cubicBezTo>
                  <a:cubicBezTo>
                    <a:pt x="62" y="75"/>
                    <a:pt x="58" y="76"/>
                    <a:pt x="55" y="80"/>
                  </a:cubicBezTo>
                  <a:cubicBezTo>
                    <a:pt x="54" y="84"/>
                    <a:pt x="51" y="85"/>
                    <a:pt x="48" y="86"/>
                  </a:cubicBezTo>
                  <a:cubicBezTo>
                    <a:pt x="47" y="83"/>
                    <a:pt x="43" y="80"/>
                    <a:pt x="43" y="77"/>
                  </a:cubicBezTo>
                  <a:cubicBezTo>
                    <a:pt x="41" y="72"/>
                    <a:pt x="39" y="77"/>
                    <a:pt x="35" y="74"/>
                  </a:cubicBezTo>
                  <a:cubicBezTo>
                    <a:pt x="35" y="73"/>
                    <a:pt x="35" y="71"/>
                    <a:pt x="35" y="71"/>
                  </a:cubicBezTo>
                  <a:cubicBezTo>
                    <a:pt x="35" y="70"/>
                    <a:pt x="37" y="66"/>
                    <a:pt x="37" y="62"/>
                  </a:cubicBezTo>
                  <a:cubicBezTo>
                    <a:pt x="37" y="57"/>
                    <a:pt x="31" y="60"/>
                    <a:pt x="30" y="59"/>
                  </a:cubicBezTo>
                  <a:cubicBezTo>
                    <a:pt x="30" y="57"/>
                    <a:pt x="24" y="59"/>
                    <a:pt x="21" y="59"/>
                  </a:cubicBezTo>
                  <a:cubicBezTo>
                    <a:pt x="19" y="60"/>
                    <a:pt x="19" y="59"/>
                    <a:pt x="17" y="57"/>
                  </a:cubicBezTo>
                  <a:cubicBezTo>
                    <a:pt x="16" y="54"/>
                    <a:pt x="10" y="52"/>
                    <a:pt x="6" y="48"/>
                  </a:cubicBezTo>
                  <a:cubicBezTo>
                    <a:pt x="3" y="45"/>
                    <a:pt x="2" y="44"/>
                    <a:pt x="0" y="44"/>
                  </a:cubicBezTo>
                  <a:cubicBezTo>
                    <a:pt x="2" y="43"/>
                    <a:pt x="2" y="41"/>
                    <a:pt x="3" y="41"/>
                  </a:cubicBezTo>
                  <a:cubicBezTo>
                    <a:pt x="4" y="40"/>
                    <a:pt x="4" y="29"/>
                    <a:pt x="6" y="28"/>
                  </a:cubicBezTo>
                  <a:cubicBezTo>
                    <a:pt x="7" y="26"/>
                    <a:pt x="26" y="11"/>
                    <a:pt x="28" y="10"/>
                  </a:cubicBezTo>
                  <a:cubicBezTo>
                    <a:pt x="30" y="9"/>
                    <a:pt x="34" y="6"/>
                    <a:pt x="37" y="4"/>
                  </a:cubicBezTo>
                  <a:cubicBezTo>
                    <a:pt x="40" y="3"/>
                    <a:pt x="40" y="5"/>
                    <a:pt x="49" y="5"/>
                  </a:cubicBezTo>
                  <a:cubicBezTo>
                    <a:pt x="58" y="5"/>
                    <a:pt x="53" y="4"/>
                    <a:pt x="59" y="6"/>
                  </a:cubicBezTo>
                  <a:cubicBezTo>
                    <a:pt x="65" y="9"/>
                    <a:pt x="65" y="9"/>
                    <a:pt x="68" y="9"/>
                  </a:cubicBezTo>
                  <a:cubicBezTo>
                    <a:pt x="72" y="8"/>
                    <a:pt x="78" y="5"/>
                    <a:pt x="81" y="3"/>
                  </a:cubicBezTo>
                  <a:cubicBezTo>
                    <a:pt x="85" y="2"/>
                    <a:pt x="95" y="3"/>
                    <a:pt x="100" y="2"/>
                  </a:cubicBezTo>
                  <a:cubicBezTo>
                    <a:pt x="105" y="0"/>
                    <a:pt x="110" y="2"/>
                    <a:pt x="116" y="1"/>
                  </a:cubicBezTo>
                  <a:cubicBezTo>
                    <a:pt x="121" y="0"/>
                    <a:pt x="123" y="7"/>
                    <a:pt x="132" y="8"/>
                  </a:cubicBezTo>
                  <a:cubicBezTo>
                    <a:pt x="141" y="9"/>
                    <a:pt x="136" y="13"/>
                    <a:pt x="136" y="16"/>
                  </a:cubicBezTo>
                  <a:cubicBezTo>
                    <a:pt x="136" y="20"/>
                    <a:pt x="139" y="19"/>
                    <a:pt x="143" y="18"/>
                  </a:cubicBezTo>
                  <a:cubicBezTo>
                    <a:pt x="147" y="17"/>
                    <a:pt x="151" y="24"/>
                    <a:pt x="155" y="28"/>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61" name="Freeform 1039">
              <a:extLst>
                <a:ext uri="{FF2B5EF4-FFF2-40B4-BE49-F238E27FC236}">
                  <a16:creationId xmlns:a16="http://schemas.microsoft.com/office/drawing/2014/main" id="{0295FF77-6277-7448-B85F-E0EA0C96D691}"/>
                </a:ext>
              </a:extLst>
            </p:cNvPr>
            <p:cNvSpPr>
              <a:spLocks/>
            </p:cNvSpPr>
            <p:nvPr/>
          </p:nvSpPr>
          <p:spPr bwMode="auto">
            <a:xfrm>
              <a:off x="1900244" y="2281695"/>
              <a:ext cx="57150" cy="36513"/>
            </a:xfrm>
            <a:custGeom>
              <a:avLst/>
              <a:gdLst>
                <a:gd name="T0" fmla="*/ 58 w 60"/>
                <a:gd name="T1" fmla="*/ 27 h 39"/>
                <a:gd name="T2" fmla="*/ 58 w 60"/>
                <a:gd name="T3" fmla="*/ 30 h 39"/>
                <a:gd name="T4" fmla="*/ 58 w 60"/>
                <a:gd name="T5" fmla="*/ 29 h 39"/>
                <a:gd name="T6" fmla="*/ 57 w 60"/>
                <a:gd name="T7" fmla="*/ 34 h 39"/>
                <a:gd name="T8" fmla="*/ 41 w 60"/>
                <a:gd name="T9" fmla="*/ 36 h 39"/>
                <a:gd name="T10" fmla="*/ 28 w 60"/>
                <a:gd name="T11" fmla="*/ 31 h 39"/>
                <a:gd name="T12" fmla="*/ 7 w 60"/>
                <a:gd name="T13" fmla="*/ 25 h 39"/>
                <a:gd name="T14" fmla="*/ 0 w 60"/>
                <a:gd name="T15" fmla="*/ 22 h 39"/>
                <a:gd name="T16" fmla="*/ 3 w 60"/>
                <a:gd name="T17" fmla="*/ 15 h 39"/>
                <a:gd name="T18" fmla="*/ 16 w 60"/>
                <a:gd name="T19" fmla="*/ 6 h 39"/>
                <a:gd name="T20" fmla="*/ 19 w 60"/>
                <a:gd name="T21" fmla="*/ 2 h 39"/>
                <a:gd name="T22" fmla="*/ 23 w 60"/>
                <a:gd name="T23" fmla="*/ 0 h 39"/>
                <a:gd name="T24" fmla="*/ 29 w 60"/>
                <a:gd name="T25" fmla="*/ 4 h 39"/>
                <a:gd name="T26" fmla="*/ 40 w 60"/>
                <a:gd name="T27" fmla="*/ 13 h 39"/>
                <a:gd name="T28" fmla="*/ 44 w 60"/>
                <a:gd name="T29" fmla="*/ 15 h 39"/>
                <a:gd name="T30" fmla="*/ 53 w 60"/>
                <a:gd name="T31" fmla="*/ 15 h 39"/>
                <a:gd name="T32" fmla="*/ 60 w 60"/>
                <a:gd name="T33" fmla="*/ 18 h 39"/>
                <a:gd name="T34" fmla="*/ 58 w 60"/>
                <a:gd name="T35"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39">
                  <a:moveTo>
                    <a:pt x="58" y="27"/>
                  </a:moveTo>
                  <a:cubicBezTo>
                    <a:pt x="58" y="27"/>
                    <a:pt x="58" y="29"/>
                    <a:pt x="58" y="30"/>
                  </a:cubicBezTo>
                  <a:cubicBezTo>
                    <a:pt x="58" y="30"/>
                    <a:pt x="58" y="30"/>
                    <a:pt x="58" y="29"/>
                  </a:cubicBezTo>
                  <a:cubicBezTo>
                    <a:pt x="54" y="25"/>
                    <a:pt x="58" y="29"/>
                    <a:pt x="57" y="34"/>
                  </a:cubicBezTo>
                  <a:cubicBezTo>
                    <a:pt x="57" y="39"/>
                    <a:pt x="46" y="34"/>
                    <a:pt x="41" y="36"/>
                  </a:cubicBezTo>
                  <a:cubicBezTo>
                    <a:pt x="36" y="37"/>
                    <a:pt x="35" y="35"/>
                    <a:pt x="28" y="31"/>
                  </a:cubicBezTo>
                  <a:cubicBezTo>
                    <a:pt x="21" y="26"/>
                    <a:pt x="17" y="27"/>
                    <a:pt x="7" y="25"/>
                  </a:cubicBezTo>
                  <a:cubicBezTo>
                    <a:pt x="2" y="24"/>
                    <a:pt x="1" y="23"/>
                    <a:pt x="0" y="22"/>
                  </a:cubicBezTo>
                  <a:cubicBezTo>
                    <a:pt x="1" y="19"/>
                    <a:pt x="2" y="15"/>
                    <a:pt x="3" y="15"/>
                  </a:cubicBezTo>
                  <a:cubicBezTo>
                    <a:pt x="4" y="14"/>
                    <a:pt x="16" y="10"/>
                    <a:pt x="16" y="6"/>
                  </a:cubicBezTo>
                  <a:cubicBezTo>
                    <a:pt x="16" y="3"/>
                    <a:pt x="16" y="2"/>
                    <a:pt x="19" y="2"/>
                  </a:cubicBezTo>
                  <a:cubicBezTo>
                    <a:pt x="21" y="2"/>
                    <a:pt x="22" y="1"/>
                    <a:pt x="23" y="0"/>
                  </a:cubicBezTo>
                  <a:cubicBezTo>
                    <a:pt x="25" y="0"/>
                    <a:pt x="26" y="1"/>
                    <a:pt x="29" y="4"/>
                  </a:cubicBezTo>
                  <a:cubicBezTo>
                    <a:pt x="33" y="8"/>
                    <a:pt x="39" y="10"/>
                    <a:pt x="40" y="13"/>
                  </a:cubicBezTo>
                  <a:cubicBezTo>
                    <a:pt x="42" y="15"/>
                    <a:pt x="42" y="16"/>
                    <a:pt x="44" y="15"/>
                  </a:cubicBezTo>
                  <a:cubicBezTo>
                    <a:pt x="47" y="15"/>
                    <a:pt x="53" y="13"/>
                    <a:pt x="53" y="15"/>
                  </a:cubicBezTo>
                  <a:cubicBezTo>
                    <a:pt x="54" y="16"/>
                    <a:pt x="60" y="13"/>
                    <a:pt x="60" y="18"/>
                  </a:cubicBezTo>
                  <a:cubicBezTo>
                    <a:pt x="60" y="22"/>
                    <a:pt x="58" y="26"/>
                    <a:pt x="58" y="27"/>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62" name="Freeform 1040">
              <a:extLst>
                <a:ext uri="{FF2B5EF4-FFF2-40B4-BE49-F238E27FC236}">
                  <a16:creationId xmlns:a16="http://schemas.microsoft.com/office/drawing/2014/main" id="{0A70903D-91FE-E649-B48E-B05F5ED69AFB}"/>
                </a:ext>
              </a:extLst>
            </p:cNvPr>
            <p:cNvSpPr>
              <a:spLocks/>
            </p:cNvSpPr>
            <p:nvPr/>
          </p:nvSpPr>
          <p:spPr bwMode="auto">
            <a:xfrm>
              <a:off x="1854206" y="2191207"/>
              <a:ext cx="103188" cy="111125"/>
            </a:xfrm>
            <a:custGeom>
              <a:avLst/>
              <a:gdLst>
                <a:gd name="T0" fmla="*/ 108 w 108"/>
                <a:gd name="T1" fmla="*/ 56 h 117"/>
                <a:gd name="T2" fmla="*/ 100 w 108"/>
                <a:gd name="T3" fmla="*/ 61 h 117"/>
                <a:gd name="T4" fmla="*/ 78 w 108"/>
                <a:gd name="T5" fmla="*/ 79 h 117"/>
                <a:gd name="T6" fmla="*/ 75 w 108"/>
                <a:gd name="T7" fmla="*/ 92 h 117"/>
                <a:gd name="T8" fmla="*/ 72 w 108"/>
                <a:gd name="T9" fmla="*/ 95 h 117"/>
                <a:gd name="T10" fmla="*/ 68 w 108"/>
                <a:gd name="T11" fmla="*/ 97 h 117"/>
                <a:gd name="T12" fmla="*/ 65 w 108"/>
                <a:gd name="T13" fmla="*/ 101 h 117"/>
                <a:gd name="T14" fmla="*/ 52 w 108"/>
                <a:gd name="T15" fmla="*/ 110 h 117"/>
                <a:gd name="T16" fmla="*/ 49 w 108"/>
                <a:gd name="T17" fmla="*/ 117 h 117"/>
                <a:gd name="T18" fmla="*/ 47 w 108"/>
                <a:gd name="T19" fmla="*/ 113 h 117"/>
                <a:gd name="T20" fmla="*/ 19 w 108"/>
                <a:gd name="T21" fmla="*/ 108 h 117"/>
                <a:gd name="T22" fmla="*/ 8 w 108"/>
                <a:gd name="T23" fmla="*/ 102 h 117"/>
                <a:gd name="T24" fmla="*/ 0 w 108"/>
                <a:gd name="T25" fmla="*/ 93 h 117"/>
                <a:gd name="T26" fmla="*/ 2 w 108"/>
                <a:gd name="T27" fmla="*/ 83 h 117"/>
                <a:gd name="T28" fmla="*/ 5 w 108"/>
                <a:gd name="T29" fmla="*/ 75 h 117"/>
                <a:gd name="T30" fmla="*/ 7 w 108"/>
                <a:gd name="T31" fmla="*/ 65 h 117"/>
                <a:gd name="T32" fmla="*/ 18 w 108"/>
                <a:gd name="T33" fmla="*/ 50 h 117"/>
                <a:gd name="T34" fmla="*/ 48 w 108"/>
                <a:gd name="T35" fmla="*/ 50 h 117"/>
                <a:gd name="T36" fmla="*/ 48 w 108"/>
                <a:gd name="T37" fmla="*/ 46 h 117"/>
                <a:gd name="T38" fmla="*/ 51 w 108"/>
                <a:gd name="T39" fmla="*/ 38 h 117"/>
                <a:gd name="T40" fmla="*/ 30 w 108"/>
                <a:gd name="T41" fmla="*/ 17 h 117"/>
                <a:gd name="T42" fmla="*/ 41 w 108"/>
                <a:gd name="T43" fmla="*/ 13 h 117"/>
                <a:gd name="T44" fmla="*/ 46 w 108"/>
                <a:gd name="T45" fmla="*/ 0 h 117"/>
                <a:gd name="T46" fmla="*/ 87 w 108"/>
                <a:gd name="T47" fmla="*/ 1 h 117"/>
                <a:gd name="T48" fmla="*/ 87 w 108"/>
                <a:gd name="T49" fmla="*/ 11 h 117"/>
                <a:gd name="T50" fmla="*/ 84 w 108"/>
                <a:gd name="T51" fmla="*/ 22 h 117"/>
                <a:gd name="T52" fmla="*/ 83 w 108"/>
                <a:gd name="T53" fmla="*/ 31 h 117"/>
                <a:gd name="T54" fmla="*/ 81 w 108"/>
                <a:gd name="T55" fmla="*/ 41 h 117"/>
                <a:gd name="T56" fmla="*/ 81 w 108"/>
                <a:gd name="T57" fmla="*/ 55 h 117"/>
                <a:gd name="T58" fmla="*/ 89 w 108"/>
                <a:gd name="T59" fmla="*/ 56 h 117"/>
                <a:gd name="T60" fmla="*/ 99 w 108"/>
                <a:gd name="T61" fmla="*/ 57 h 117"/>
                <a:gd name="T62" fmla="*/ 108 w 108"/>
                <a:gd name="T63" fmla="*/ 55 h 117"/>
                <a:gd name="T64" fmla="*/ 108 w 108"/>
                <a:gd name="T65" fmla="*/ 5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 h="117">
                  <a:moveTo>
                    <a:pt x="108" y="56"/>
                  </a:moveTo>
                  <a:cubicBezTo>
                    <a:pt x="105" y="58"/>
                    <a:pt x="102" y="60"/>
                    <a:pt x="100" y="61"/>
                  </a:cubicBezTo>
                  <a:cubicBezTo>
                    <a:pt x="98" y="62"/>
                    <a:pt x="79" y="77"/>
                    <a:pt x="78" y="79"/>
                  </a:cubicBezTo>
                  <a:cubicBezTo>
                    <a:pt x="76" y="80"/>
                    <a:pt x="76" y="91"/>
                    <a:pt x="75" y="92"/>
                  </a:cubicBezTo>
                  <a:cubicBezTo>
                    <a:pt x="74" y="92"/>
                    <a:pt x="74" y="94"/>
                    <a:pt x="72" y="95"/>
                  </a:cubicBezTo>
                  <a:cubicBezTo>
                    <a:pt x="71" y="96"/>
                    <a:pt x="70" y="97"/>
                    <a:pt x="68" y="97"/>
                  </a:cubicBezTo>
                  <a:cubicBezTo>
                    <a:pt x="65" y="97"/>
                    <a:pt x="65" y="98"/>
                    <a:pt x="65" y="101"/>
                  </a:cubicBezTo>
                  <a:cubicBezTo>
                    <a:pt x="65" y="105"/>
                    <a:pt x="53" y="109"/>
                    <a:pt x="52" y="110"/>
                  </a:cubicBezTo>
                  <a:cubicBezTo>
                    <a:pt x="51" y="110"/>
                    <a:pt x="50" y="114"/>
                    <a:pt x="49" y="117"/>
                  </a:cubicBezTo>
                  <a:cubicBezTo>
                    <a:pt x="49" y="116"/>
                    <a:pt x="48" y="115"/>
                    <a:pt x="47" y="113"/>
                  </a:cubicBezTo>
                  <a:cubicBezTo>
                    <a:pt x="43" y="109"/>
                    <a:pt x="28" y="109"/>
                    <a:pt x="19" y="108"/>
                  </a:cubicBezTo>
                  <a:cubicBezTo>
                    <a:pt x="10" y="107"/>
                    <a:pt x="11" y="106"/>
                    <a:pt x="8" y="102"/>
                  </a:cubicBezTo>
                  <a:cubicBezTo>
                    <a:pt x="5" y="100"/>
                    <a:pt x="3" y="96"/>
                    <a:pt x="0" y="93"/>
                  </a:cubicBezTo>
                  <a:cubicBezTo>
                    <a:pt x="1" y="90"/>
                    <a:pt x="1" y="86"/>
                    <a:pt x="2" y="83"/>
                  </a:cubicBezTo>
                  <a:cubicBezTo>
                    <a:pt x="2" y="83"/>
                    <a:pt x="5" y="78"/>
                    <a:pt x="5" y="75"/>
                  </a:cubicBezTo>
                  <a:cubicBezTo>
                    <a:pt x="5" y="72"/>
                    <a:pt x="4" y="69"/>
                    <a:pt x="7" y="65"/>
                  </a:cubicBezTo>
                  <a:cubicBezTo>
                    <a:pt x="9" y="61"/>
                    <a:pt x="16" y="50"/>
                    <a:pt x="18" y="50"/>
                  </a:cubicBezTo>
                  <a:cubicBezTo>
                    <a:pt x="20" y="50"/>
                    <a:pt x="48" y="52"/>
                    <a:pt x="48" y="50"/>
                  </a:cubicBezTo>
                  <a:cubicBezTo>
                    <a:pt x="48" y="50"/>
                    <a:pt x="46" y="46"/>
                    <a:pt x="48" y="46"/>
                  </a:cubicBezTo>
                  <a:cubicBezTo>
                    <a:pt x="51" y="45"/>
                    <a:pt x="53" y="39"/>
                    <a:pt x="51" y="38"/>
                  </a:cubicBezTo>
                  <a:cubicBezTo>
                    <a:pt x="49" y="37"/>
                    <a:pt x="27" y="17"/>
                    <a:pt x="30" y="17"/>
                  </a:cubicBezTo>
                  <a:cubicBezTo>
                    <a:pt x="33" y="17"/>
                    <a:pt x="39" y="16"/>
                    <a:pt x="41" y="13"/>
                  </a:cubicBezTo>
                  <a:cubicBezTo>
                    <a:pt x="42" y="10"/>
                    <a:pt x="42" y="0"/>
                    <a:pt x="46" y="0"/>
                  </a:cubicBezTo>
                  <a:cubicBezTo>
                    <a:pt x="50" y="0"/>
                    <a:pt x="85" y="1"/>
                    <a:pt x="87" y="1"/>
                  </a:cubicBezTo>
                  <a:cubicBezTo>
                    <a:pt x="87" y="5"/>
                    <a:pt x="89" y="9"/>
                    <a:pt x="87" y="11"/>
                  </a:cubicBezTo>
                  <a:cubicBezTo>
                    <a:pt x="85" y="14"/>
                    <a:pt x="84" y="19"/>
                    <a:pt x="84" y="22"/>
                  </a:cubicBezTo>
                  <a:cubicBezTo>
                    <a:pt x="84" y="25"/>
                    <a:pt x="83" y="29"/>
                    <a:pt x="83" y="31"/>
                  </a:cubicBezTo>
                  <a:cubicBezTo>
                    <a:pt x="83" y="33"/>
                    <a:pt x="81" y="36"/>
                    <a:pt x="81" y="41"/>
                  </a:cubicBezTo>
                  <a:cubicBezTo>
                    <a:pt x="81" y="45"/>
                    <a:pt x="78" y="54"/>
                    <a:pt x="81" y="55"/>
                  </a:cubicBezTo>
                  <a:cubicBezTo>
                    <a:pt x="84" y="56"/>
                    <a:pt x="87" y="56"/>
                    <a:pt x="89" y="56"/>
                  </a:cubicBezTo>
                  <a:cubicBezTo>
                    <a:pt x="88" y="60"/>
                    <a:pt x="93" y="56"/>
                    <a:pt x="99" y="57"/>
                  </a:cubicBezTo>
                  <a:cubicBezTo>
                    <a:pt x="106" y="57"/>
                    <a:pt x="103" y="57"/>
                    <a:pt x="108" y="55"/>
                  </a:cubicBezTo>
                  <a:cubicBezTo>
                    <a:pt x="108" y="55"/>
                    <a:pt x="107" y="56"/>
                    <a:pt x="108" y="56"/>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63" name="Freeform 1041">
              <a:extLst>
                <a:ext uri="{FF2B5EF4-FFF2-40B4-BE49-F238E27FC236}">
                  <a16:creationId xmlns:a16="http://schemas.microsoft.com/office/drawing/2014/main" id="{715E89C0-1737-AF4F-810F-406998F3032E}"/>
                </a:ext>
              </a:extLst>
            </p:cNvPr>
            <p:cNvSpPr>
              <a:spLocks/>
            </p:cNvSpPr>
            <p:nvPr/>
          </p:nvSpPr>
          <p:spPr bwMode="auto">
            <a:xfrm>
              <a:off x="1928819" y="2172157"/>
              <a:ext cx="34925" cy="73025"/>
            </a:xfrm>
            <a:custGeom>
              <a:avLst/>
              <a:gdLst>
                <a:gd name="T0" fmla="*/ 30 w 37"/>
                <a:gd name="T1" fmla="*/ 30 h 76"/>
                <a:gd name="T2" fmla="*/ 30 w 37"/>
                <a:gd name="T3" fmla="*/ 50 h 76"/>
                <a:gd name="T4" fmla="*/ 20 w 37"/>
                <a:gd name="T5" fmla="*/ 63 h 76"/>
                <a:gd name="T6" fmla="*/ 12 w 37"/>
                <a:gd name="T7" fmla="*/ 74 h 76"/>
                <a:gd name="T8" fmla="*/ 11 w 37"/>
                <a:gd name="T9" fmla="*/ 76 h 76"/>
                <a:gd name="T10" fmla="*/ 3 w 37"/>
                <a:gd name="T11" fmla="*/ 75 h 76"/>
                <a:gd name="T12" fmla="*/ 3 w 37"/>
                <a:gd name="T13" fmla="*/ 61 h 76"/>
                <a:gd name="T14" fmla="*/ 5 w 37"/>
                <a:gd name="T15" fmla="*/ 51 h 76"/>
                <a:gd name="T16" fmla="*/ 6 w 37"/>
                <a:gd name="T17" fmla="*/ 42 h 76"/>
                <a:gd name="T18" fmla="*/ 9 w 37"/>
                <a:gd name="T19" fmla="*/ 31 h 76"/>
                <a:gd name="T20" fmla="*/ 9 w 37"/>
                <a:gd name="T21" fmla="*/ 21 h 76"/>
                <a:gd name="T22" fmla="*/ 21 w 37"/>
                <a:gd name="T23" fmla="*/ 15 h 76"/>
                <a:gd name="T24" fmla="*/ 32 w 37"/>
                <a:gd name="T25" fmla="*/ 2 h 76"/>
                <a:gd name="T26" fmla="*/ 36 w 37"/>
                <a:gd name="T27" fmla="*/ 12 h 76"/>
                <a:gd name="T28" fmla="*/ 30 w 37"/>
                <a:gd name="T29" fmla="*/ 3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76">
                  <a:moveTo>
                    <a:pt x="30" y="30"/>
                  </a:moveTo>
                  <a:cubicBezTo>
                    <a:pt x="24" y="40"/>
                    <a:pt x="30" y="44"/>
                    <a:pt x="30" y="50"/>
                  </a:cubicBezTo>
                  <a:cubicBezTo>
                    <a:pt x="30" y="56"/>
                    <a:pt x="26" y="59"/>
                    <a:pt x="20" y="63"/>
                  </a:cubicBezTo>
                  <a:cubicBezTo>
                    <a:pt x="13" y="67"/>
                    <a:pt x="14" y="67"/>
                    <a:pt x="12" y="74"/>
                  </a:cubicBezTo>
                  <a:cubicBezTo>
                    <a:pt x="11" y="75"/>
                    <a:pt x="11" y="75"/>
                    <a:pt x="11" y="76"/>
                  </a:cubicBezTo>
                  <a:cubicBezTo>
                    <a:pt x="9" y="76"/>
                    <a:pt x="6" y="76"/>
                    <a:pt x="3" y="75"/>
                  </a:cubicBezTo>
                  <a:cubicBezTo>
                    <a:pt x="0" y="74"/>
                    <a:pt x="3" y="65"/>
                    <a:pt x="3" y="61"/>
                  </a:cubicBezTo>
                  <a:cubicBezTo>
                    <a:pt x="3" y="56"/>
                    <a:pt x="5" y="53"/>
                    <a:pt x="5" y="51"/>
                  </a:cubicBezTo>
                  <a:cubicBezTo>
                    <a:pt x="5" y="49"/>
                    <a:pt x="6" y="45"/>
                    <a:pt x="6" y="42"/>
                  </a:cubicBezTo>
                  <a:cubicBezTo>
                    <a:pt x="6" y="39"/>
                    <a:pt x="7" y="34"/>
                    <a:pt x="9" y="31"/>
                  </a:cubicBezTo>
                  <a:cubicBezTo>
                    <a:pt x="11" y="29"/>
                    <a:pt x="9" y="25"/>
                    <a:pt x="9" y="21"/>
                  </a:cubicBezTo>
                  <a:cubicBezTo>
                    <a:pt x="12" y="21"/>
                    <a:pt x="19" y="20"/>
                    <a:pt x="21" y="15"/>
                  </a:cubicBezTo>
                  <a:cubicBezTo>
                    <a:pt x="22" y="10"/>
                    <a:pt x="30" y="0"/>
                    <a:pt x="32" y="2"/>
                  </a:cubicBezTo>
                  <a:cubicBezTo>
                    <a:pt x="30" y="4"/>
                    <a:pt x="35" y="7"/>
                    <a:pt x="36" y="12"/>
                  </a:cubicBezTo>
                  <a:cubicBezTo>
                    <a:pt x="37" y="16"/>
                    <a:pt x="36" y="21"/>
                    <a:pt x="30" y="30"/>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64" name="Freeform 1042">
              <a:extLst>
                <a:ext uri="{FF2B5EF4-FFF2-40B4-BE49-F238E27FC236}">
                  <a16:creationId xmlns:a16="http://schemas.microsoft.com/office/drawing/2014/main" id="{190E71BA-A539-A148-88EA-BA055FA6B2E4}"/>
                </a:ext>
              </a:extLst>
            </p:cNvPr>
            <p:cNvSpPr>
              <a:spLocks/>
            </p:cNvSpPr>
            <p:nvPr/>
          </p:nvSpPr>
          <p:spPr bwMode="auto">
            <a:xfrm>
              <a:off x="2054232" y="2046744"/>
              <a:ext cx="246063" cy="93663"/>
            </a:xfrm>
            <a:custGeom>
              <a:avLst/>
              <a:gdLst>
                <a:gd name="T0" fmla="*/ 0 w 259"/>
                <a:gd name="T1" fmla="*/ 39 h 99"/>
                <a:gd name="T2" fmla="*/ 8 w 259"/>
                <a:gd name="T3" fmla="*/ 35 h 99"/>
                <a:gd name="T4" fmla="*/ 13 w 259"/>
                <a:gd name="T5" fmla="*/ 31 h 99"/>
                <a:gd name="T6" fmla="*/ 22 w 259"/>
                <a:gd name="T7" fmla="*/ 18 h 99"/>
                <a:gd name="T8" fmla="*/ 32 w 259"/>
                <a:gd name="T9" fmla="*/ 13 h 99"/>
                <a:gd name="T10" fmla="*/ 52 w 259"/>
                <a:gd name="T11" fmla="*/ 6 h 99"/>
                <a:gd name="T12" fmla="*/ 67 w 259"/>
                <a:gd name="T13" fmla="*/ 2 h 99"/>
                <a:gd name="T14" fmla="*/ 83 w 259"/>
                <a:gd name="T15" fmla="*/ 2 h 99"/>
                <a:gd name="T16" fmla="*/ 95 w 259"/>
                <a:gd name="T17" fmla="*/ 3 h 99"/>
                <a:gd name="T18" fmla="*/ 105 w 259"/>
                <a:gd name="T19" fmla="*/ 5 h 99"/>
                <a:gd name="T20" fmla="*/ 128 w 259"/>
                <a:gd name="T21" fmla="*/ 13 h 99"/>
                <a:gd name="T22" fmla="*/ 140 w 259"/>
                <a:gd name="T23" fmla="*/ 23 h 99"/>
                <a:gd name="T24" fmla="*/ 154 w 259"/>
                <a:gd name="T25" fmla="*/ 27 h 99"/>
                <a:gd name="T26" fmla="*/ 169 w 259"/>
                <a:gd name="T27" fmla="*/ 33 h 99"/>
                <a:gd name="T28" fmla="*/ 177 w 259"/>
                <a:gd name="T29" fmla="*/ 34 h 99"/>
                <a:gd name="T30" fmla="*/ 177 w 259"/>
                <a:gd name="T31" fmla="*/ 42 h 99"/>
                <a:gd name="T32" fmla="*/ 191 w 259"/>
                <a:gd name="T33" fmla="*/ 47 h 99"/>
                <a:gd name="T34" fmla="*/ 199 w 259"/>
                <a:gd name="T35" fmla="*/ 54 h 99"/>
                <a:gd name="T36" fmla="*/ 211 w 259"/>
                <a:gd name="T37" fmla="*/ 57 h 99"/>
                <a:gd name="T38" fmla="*/ 223 w 259"/>
                <a:gd name="T39" fmla="*/ 63 h 99"/>
                <a:gd name="T40" fmla="*/ 234 w 259"/>
                <a:gd name="T41" fmla="*/ 73 h 99"/>
                <a:gd name="T42" fmla="*/ 247 w 259"/>
                <a:gd name="T43" fmla="*/ 80 h 99"/>
                <a:gd name="T44" fmla="*/ 257 w 259"/>
                <a:gd name="T45" fmla="*/ 86 h 99"/>
                <a:gd name="T46" fmla="*/ 248 w 259"/>
                <a:gd name="T47" fmla="*/ 91 h 99"/>
                <a:gd name="T48" fmla="*/ 230 w 259"/>
                <a:gd name="T49" fmla="*/ 92 h 99"/>
                <a:gd name="T50" fmla="*/ 224 w 259"/>
                <a:gd name="T51" fmla="*/ 96 h 99"/>
                <a:gd name="T52" fmla="*/ 210 w 259"/>
                <a:gd name="T53" fmla="*/ 93 h 99"/>
                <a:gd name="T54" fmla="*/ 192 w 259"/>
                <a:gd name="T55" fmla="*/ 95 h 99"/>
                <a:gd name="T56" fmla="*/ 167 w 259"/>
                <a:gd name="T57" fmla="*/ 93 h 99"/>
                <a:gd name="T58" fmla="*/ 181 w 259"/>
                <a:gd name="T59" fmla="*/ 81 h 99"/>
                <a:gd name="T60" fmla="*/ 179 w 259"/>
                <a:gd name="T61" fmla="*/ 74 h 99"/>
                <a:gd name="T62" fmla="*/ 160 w 259"/>
                <a:gd name="T63" fmla="*/ 71 h 99"/>
                <a:gd name="T64" fmla="*/ 153 w 259"/>
                <a:gd name="T65" fmla="*/ 62 h 99"/>
                <a:gd name="T66" fmla="*/ 150 w 259"/>
                <a:gd name="T67" fmla="*/ 49 h 99"/>
                <a:gd name="T68" fmla="*/ 136 w 259"/>
                <a:gd name="T69" fmla="*/ 49 h 99"/>
                <a:gd name="T70" fmla="*/ 126 w 259"/>
                <a:gd name="T71" fmla="*/ 46 h 99"/>
                <a:gd name="T72" fmla="*/ 114 w 259"/>
                <a:gd name="T73" fmla="*/ 38 h 99"/>
                <a:gd name="T74" fmla="*/ 99 w 259"/>
                <a:gd name="T75" fmla="*/ 34 h 99"/>
                <a:gd name="T76" fmla="*/ 90 w 259"/>
                <a:gd name="T77" fmla="*/ 34 h 99"/>
                <a:gd name="T78" fmla="*/ 77 w 259"/>
                <a:gd name="T79" fmla="*/ 32 h 99"/>
                <a:gd name="T80" fmla="*/ 70 w 259"/>
                <a:gd name="T81" fmla="*/ 26 h 99"/>
                <a:gd name="T82" fmla="*/ 81 w 259"/>
                <a:gd name="T83" fmla="*/ 23 h 99"/>
                <a:gd name="T84" fmla="*/ 74 w 259"/>
                <a:gd name="T85" fmla="*/ 17 h 99"/>
                <a:gd name="T86" fmla="*/ 57 w 259"/>
                <a:gd name="T87" fmla="*/ 16 h 99"/>
                <a:gd name="T88" fmla="*/ 44 w 259"/>
                <a:gd name="T89" fmla="*/ 23 h 99"/>
                <a:gd name="T90" fmla="*/ 33 w 259"/>
                <a:gd name="T91" fmla="*/ 30 h 99"/>
                <a:gd name="T92" fmla="*/ 23 w 259"/>
                <a:gd name="T93" fmla="*/ 35 h 99"/>
                <a:gd name="T94" fmla="*/ 12 w 259"/>
                <a:gd name="T95" fmla="*/ 41 h 99"/>
                <a:gd name="T96" fmla="*/ 0 w 259"/>
                <a:gd name="T97" fmla="*/ 3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99">
                  <a:moveTo>
                    <a:pt x="0" y="39"/>
                  </a:moveTo>
                  <a:cubicBezTo>
                    <a:pt x="1" y="36"/>
                    <a:pt x="3" y="33"/>
                    <a:pt x="8" y="35"/>
                  </a:cubicBezTo>
                  <a:cubicBezTo>
                    <a:pt x="13" y="36"/>
                    <a:pt x="13" y="36"/>
                    <a:pt x="13" y="31"/>
                  </a:cubicBezTo>
                  <a:cubicBezTo>
                    <a:pt x="13" y="25"/>
                    <a:pt x="18" y="21"/>
                    <a:pt x="22" y="18"/>
                  </a:cubicBezTo>
                  <a:cubicBezTo>
                    <a:pt x="26" y="15"/>
                    <a:pt x="20" y="15"/>
                    <a:pt x="32" y="13"/>
                  </a:cubicBezTo>
                  <a:cubicBezTo>
                    <a:pt x="43" y="10"/>
                    <a:pt x="44" y="7"/>
                    <a:pt x="52" y="6"/>
                  </a:cubicBezTo>
                  <a:cubicBezTo>
                    <a:pt x="61" y="5"/>
                    <a:pt x="64" y="2"/>
                    <a:pt x="67" y="2"/>
                  </a:cubicBezTo>
                  <a:cubicBezTo>
                    <a:pt x="70" y="2"/>
                    <a:pt x="76" y="0"/>
                    <a:pt x="83" y="2"/>
                  </a:cubicBezTo>
                  <a:cubicBezTo>
                    <a:pt x="89" y="4"/>
                    <a:pt x="91" y="1"/>
                    <a:pt x="95" y="3"/>
                  </a:cubicBezTo>
                  <a:cubicBezTo>
                    <a:pt x="99" y="5"/>
                    <a:pt x="97" y="3"/>
                    <a:pt x="105" y="5"/>
                  </a:cubicBezTo>
                  <a:cubicBezTo>
                    <a:pt x="113" y="6"/>
                    <a:pt x="127" y="12"/>
                    <a:pt x="128" y="13"/>
                  </a:cubicBezTo>
                  <a:cubicBezTo>
                    <a:pt x="130" y="14"/>
                    <a:pt x="135" y="23"/>
                    <a:pt x="140" y="23"/>
                  </a:cubicBezTo>
                  <a:cubicBezTo>
                    <a:pt x="145" y="23"/>
                    <a:pt x="151" y="25"/>
                    <a:pt x="154" y="27"/>
                  </a:cubicBezTo>
                  <a:cubicBezTo>
                    <a:pt x="158" y="29"/>
                    <a:pt x="166" y="36"/>
                    <a:pt x="169" y="33"/>
                  </a:cubicBezTo>
                  <a:cubicBezTo>
                    <a:pt x="172" y="31"/>
                    <a:pt x="178" y="30"/>
                    <a:pt x="177" y="34"/>
                  </a:cubicBezTo>
                  <a:cubicBezTo>
                    <a:pt x="176" y="39"/>
                    <a:pt x="169" y="40"/>
                    <a:pt x="177" y="42"/>
                  </a:cubicBezTo>
                  <a:cubicBezTo>
                    <a:pt x="186" y="44"/>
                    <a:pt x="189" y="43"/>
                    <a:pt x="191" y="47"/>
                  </a:cubicBezTo>
                  <a:cubicBezTo>
                    <a:pt x="193" y="51"/>
                    <a:pt x="194" y="50"/>
                    <a:pt x="199" y="54"/>
                  </a:cubicBezTo>
                  <a:cubicBezTo>
                    <a:pt x="204" y="57"/>
                    <a:pt x="208" y="55"/>
                    <a:pt x="211" y="57"/>
                  </a:cubicBezTo>
                  <a:cubicBezTo>
                    <a:pt x="213" y="60"/>
                    <a:pt x="222" y="58"/>
                    <a:pt x="223" y="63"/>
                  </a:cubicBezTo>
                  <a:cubicBezTo>
                    <a:pt x="224" y="68"/>
                    <a:pt x="226" y="72"/>
                    <a:pt x="234" y="73"/>
                  </a:cubicBezTo>
                  <a:cubicBezTo>
                    <a:pt x="241" y="73"/>
                    <a:pt x="241" y="78"/>
                    <a:pt x="247" y="80"/>
                  </a:cubicBezTo>
                  <a:cubicBezTo>
                    <a:pt x="253" y="82"/>
                    <a:pt x="259" y="83"/>
                    <a:pt x="257" y="86"/>
                  </a:cubicBezTo>
                  <a:cubicBezTo>
                    <a:pt x="256" y="89"/>
                    <a:pt x="251" y="89"/>
                    <a:pt x="248" y="91"/>
                  </a:cubicBezTo>
                  <a:cubicBezTo>
                    <a:pt x="245" y="93"/>
                    <a:pt x="232" y="91"/>
                    <a:pt x="230" y="92"/>
                  </a:cubicBezTo>
                  <a:cubicBezTo>
                    <a:pt x="229" y="94"/>
                    <a:pt x="231" y="99"/>
                    <a:pt x="224" y="96"/>
                  </a:cubicBezTo>
                  <a:cubicBezTo>
                    <a:pt x="218" y="93"/>
                    <a:pt x="214" y="91"/>
                    <a:pt x="210" y="93"/>
                  </a:cubicBezTo>
                  <a:cubicBezTo>
                    <a:pt x="205" y="94"/>
                    <a:pt x="194" y="94"/>
                    <a:pt x="192" y="95"/>
                  </a:cubicBezTo>
                  <a:cubicBezTo>
                    <a:pt x="190" y="97"/>
                    <a:pt x="160" y="98"/>
                    <a:pt x="167" y="93"/>
                  </a:cubicBezTo>
                  <a:cubicBezTo>
                    <a:pt x="175" y="88"/>
                    <a:pt x="180" y="85"/>
                    <a:pt x="181" y="81"/>
                  </a:cubicBezTo>
                  <a:cubicBezTo>
                    <a:pt x="182" y="78"/>
                    <a:pt x="188" y="75"/>
                    <a:pt x="179" y="74"/>
                  </a:cubicBezTo>
                  <a:cubicBezTo>
                    <a:pt x="171" y="73"/>
                    <a:pt x="164" y="73"/>
                    <a:pt x="160" y="71"/>
                  </a:cubicBezTo>
                  <a:cubicBezTo>
                    <a:pt x="156" y="68"/>
                    <a:pt x="153" y="68"/>
                    <a:pt x="153" y="62"/>
                  </a:cubicBezTo>
                  <a:cubicBezTo>
                    <a:pt x="153" y="55"/>
                    <a:pt x="155" y="50"/>
                    <a:pt x="150" y="49"/>
                  </a:cubicBezTo>
                  <a:cubicBezTo>
                    <a:pt x="146" y="48"/>
                    <a:pt x="139" y="50"/>
                    <a:pt x="136" y="49"/>
                  </a:cubicBezTo>
                  <a:cubicBezTo>
                    <a:pt x="132" y="48"/>
                    <a:pt x="135" y="52"/>
                    <a:pt x="126" y="46"/>
                  </a:cubicBezTo>
                  <a:cubicBezTo>
                    <a:pt x="117" y="39"/>
                    <a:pt x="120" y="41"/>
                    <a:pt x="114" y="38"/>
                  </a:cubicBezTo>
                  <a:cubicBezTo>
                    <a:pt x="107" y="35"/>
                    <a:pt x="99" y="34"/>
                    <a:pt x="99" y="34"/>
                  </a:cubicBezTo>
                  <a:cubicBezTo>
                    <a:pt x="98" y="35"/>
                    <a:pt x="94" y="34"/>
                    <a:pt x="90" y="34"/>
                  </a:cubicBezTo>
                  <a:cubicBezTo>
                    <a:pt x="85" y="34"/>
                    <a:pt x="80" y="32"/>
                    <a:pt x="77" y="32"/>
                  </a:cubicBezTo>
                  <a:cubicBezTo>
                    <a:pt x="75" y="31"/>
                    <a:pt x="65" y="28"/>
                    <a:pt x="70" y="26"/>
                  </a:cubicBezTo>
                  <a:cubicBezTo>
                    <a:pt x="75" y="24"/>
                    <a:pt x="81" y="26"/>
                    <a:pt x="81" y="23"/>
                  </a:cubicBezTo>
                  <a:cubicBezTo>
                    <a:pt x="81" y="20"/>
                    <a:pt x="80" y="17"/>
                    <a:pt x="74" y="17"/>
                  </a:cubicBezTo>
                  <a:cubicBezTo>
                    <a:pt x="68" y="16"/>
                    <a:pt x="59" y="14"/>
                    <a:pt x="57" y="16"/>
                  </a:cubicBezTo>
                  <a:cubicBezTo>
                    <a:pt x="54" y="19"/>
                    <a:pt x="47" y="20"/>
                    <a:pt x="44" y="23"/>
                  </a:cubicBezTo>
                  <a:cubicBezTo>
                    <a:pt x="41" y="26"/>
                    <a:pt x="35" y="27"/>
                    <a:pt x="33" y="30"/>
                  </a:cubicBezTo>
                  <a:cubicBezTo>
                    <a:pt x="31" y="33"/>
                    <a:pt x="25" y="32"/>
                    <a:pt x="23" y="35"/>
                  </a:cubicBezTo>
                  <a:cubicBezTo>
                    <a:pt x="21" y="38"/>
                    <a:pt x="16" y="43"/>
                    <a:pt x="12" y="41"/>
                  </a:cubicBezTo>
                  <a:cubicBezTo>
                    <a:pt x="8" y="40"/>
                    <a:pt x="1" y="43"/>
                    <a:pt x="0" y="3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65" name="Freeform 1043">
              <a:extLst>
                <a:ext uri="{FF2B5EF4-FFF2-40B4-BE49-F238E27FC236}">
                  <a16:creationId xmlns:a16="http://schemas.microsoft.com/office/drawing/2014/main" id="{570DB587-7DEA-E142-8955-91F0897C29D9}"/>
                </a:ext>
              </a:extLst>
            </p:cNvPr>
            <p:cNvSpPr>
              <a:spLocks/>
            </p:cNvSpPr>
            <p:nvPr/>
          </p:nvSpPr>
          <p:spPr bwMode="auto">
            <a:xfrm>
              <a:off x="2090744" y="2083257"/>
              <a:ext cx="19050" cy="14288"/>
            </a:xfrm>
            <a:custGeom>
              <a:avLst/>
              <a:gdLst>
                <a:gd name="T0" fmla="*/ 4 w 20"/>
                <a:gd name="T1" fmla="*/ 3 h 15"/>
                <a:gd name="T2" fmla="*/ 7 w 20"/>
                <a:gd name="T3" fmla="*/ 8 h 15"/>
                <a:gd name="T4" fmla="*/ 4 w 20"/>
                <a:gd name="T5" fmla="*/ 12 h 15"/>
                <a:gd name="T6" fmla="*/ 11 w 20"/>
                <a:gd name="T7" fmla="*/ 13 h 15"/>
                <a:gd name="T8" fmla="*/ 18 w 20"/>
                <a:gd name="T9" fmla="*/ 11 h 15"/>
                <a:gd name="T10" fmla="*/ 18 w 20"/>
                <a:gd name="T11" fmla="*/ 5 h 15"/>
                <a:gd name="T12" fmla="*/ 12 w 20"/>
                <a:gd name="T13" fmla="*/ 0 h 15"/>
                <a:gd name="T14" fmla="*/ 4 w 20"/>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5">
                  <a:moveTo>
                    <a:pt x="4" y="3"/>
                  </a:moveTo>
                  <a:cubicBezTo>
                    <a:pt x="6" y="5"/>
                    <a:pt x="7" y="6"/>
                    <a:pt x="7" y="8"/>
                  </a:cubicBezTo>
                  <a:cubicBezTo>
                    <a:pt x="7" y="11"/>
                    <a:pt x="0" y="12"/>
                    <a:pt x="4" y="12"/>
                  </a:cubicBezTo>
                  <a:cubicBezTo>
                    <a:pt x="9" y="13"/>
                    <a:pt x="7" y="13"/>
                    <a:pt x="11" y="13"/>
                  </a:cubicBezTo>
                  <a:cubicBezTo>
                    <a:pt x="15" y="12"/>
                    <a:pt x="18" y="15"/>
                    <a:pt x="18" y="11"/>
                  </a:cubicBezTo>
                  <a:cubicBezTo>
                    <a:pt x="18" y="8"/>
                    <a:pt x="20" y="7"/>
                    <a:pt x="18" y="5"/>
                  </a:cubicBezTo>
                  <a:cubicBezTo>
                    <a:pt x="15" y="2"/>
                    <a:pt x="16" y="0"/>
                    <a:pt x="12" y="0"/>
                  </a:cubicBezTo>
                  <a:cubicBezTo>
                    <a:pt x="8" y="0"/>
                    <a:pt x="2" y="0"/>
                    <a:pt x="4" y="3"/>
                  </a:cubicBezTo>
                  <a:close/>
                </a:path>
              </a:pathLst>
            </a:custGeom>
            <a:solidFill>
              <a:schemeClr val="bg2">
                <a:alpha val="3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66" name="Freeform 1044">
              <a:extLst>
                <a:ext uri="{FF2B5EF4-FFF2-40B4-BE49-F238E27FC236}">
                  <a16:creationId xmlns:a16="http://schemas.microsoft.com/office/drawing/2014/main" id="{BA14BBE5-38D5-FA4B-9AC7-C4C47CED5995}"/>
                </a:ext>
              </a:extLst>
            </p:cNvPr>
            <p:cNvSpPr>
              <a:spLocks/>
            </p:cNvSpPr>
            <p:nvPr/>
          </p:nvSpPr>
          <p:spPr bwMode="auto">
            <a:xfrm>
              <a:off x="2190757" y="2172157"/>
              <a:ext cx="53975" cy="23813"/>
            </a:xfrm>
            <a:custGeom>
              <a:avLst/>
              <a:gdLst>
                <a:gd name="T0" fmla="*/ 2 w 56"/>
                <a:gd name="T1" fmla="*/ 8 h 25"/>
                <a:gd name="T2" fmla="*/ 7 w 56"/>
                <a:gd name="T3" fmla="*/ 3 h 25"/>
                <a:gd name="T4" fmla="*/ 12 w 56"/>
                <a:gd name="T5" fmla="*/ 1 h 25"/>
                <a:gd name="T6" fmla="*/ 23 w 56"/>
                <a:gd name="T7" fmla="*/ 1 h 25"/>
                <a:gd name="T8" fmla="*/ 29 w 56"/>
                <a:gd name="T9" fmla="*/ 3 h 25"/>
                <a:gd name="T10" fmla="*/ 35 w 56"/>
                <a:gd name="T11" fmla="*/ 4 h 25"/>
                <a:gd name="T12" fmla="*/ 41 w 56"/>
                <a:gd name="T13" fmla="*/ 7 h 25"/>
                <a:gd name="T14" fmla="*/ 47 w 56"/>
                <a:gd name="T15" fmla="*/ 10 h 25"/>
                <a:gd name="T16" fmla="*/ 53 w 56"/>
                <a:gd name="T17" fmla="*/ 13 h 25"/>
                <a:gd name="T18" fmla="*/ 54 w 56"/>
                <a:gd name="T19" fmla="*/ 19 h 25"/>
                <a:gd name="T20" fmla="*/ 48 w 56"/>
                <a:gd name="T21" fmla="*/ 20 h 25"/>
                <a:gd name="T22" fmla="*/ 42 w 56"/>
                <a:gd name="T23" fmla="*/ 19 h 25"/>
                <a:gd name="T24" fmla="*/ 36 w 56"/>
                <a:gd name="T25" fmla="*/ 18 h 25"/>
                <a:gd name="T26" fmla="*/ 31 w 56"/>
                <a:gd name="T27" fmla="*/ 22 h 25"/>
                <a:gd name="T28" fmla="*/ 26 w 56"/>
                <a:gd name="T29" fmla="*/ 23 h 25"/>
                <a:gd name="T30" fmla="*/ 21 w 56"/>
                <a:gd name="T31" fmla="*/ 20 h 25"/>
                <a:gd name="T32" fmla="*/ 16 w 56"/>
                <a:gd name="T33" fmla="*/ 19 h 25"/>
                <a:gd name="T34" fmla="*/ 10 w 56"/>
                <a:gd name="T35" fmla="*/ 15 h 25"/>
                <a:gd name="T36" fmla="*/ 6 w 56"/>
                <a:gd name="T37" fmla="*/ 11 h 25"/>
                <a:gd name="T38" fmla="*/ 2 w 56"/>
                <a:gd name="T39"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25">
                  <a:moveTo>
                    <a:pt x="2" y="8"/>
                  </a:moveTo>
                  <a:cubicBezTo>
                    <a:pt x="4" y="6"/>
                    <a:pt x="4" y="4"/>
                    <a:pt x="7" y="3"/>
                  </a:cubicBezTo>
                  <a:cubicBezTo>
                    <a:pt x="9" y="3"/>
                    <a:pt x="9" y="1"/>
                    <a:pt x="12" y="1"/>
                  </a:cubicBezTo>
                  <a:cubicBezTo>
                    <a:pt x="15" y="2"/>
                    <a:pt x="20" y="0"/>
                    <a:pt x="23" y="1"/>
                  </a:cubicBezTo>
                  <a:cubicBezTo>
                    <a:pt x="26" y="2"/>
                    <a:pt x="26" y="1"/>
                    <a:pt x="29" y="3"/>
                  </a:cubicBezTo>
                  <a:cubicBezTo>
                    <a:pt x="32" y="4"/>
                    <a:pt x="31" y="3"/>
                    <a:pt x="35" y="4"/>
                  </a:cubicBezTo>
                  <a:cubicBezTo>
                    <a:pt x="39" y="6"/>
                    <a:pt x="37" y="5"/>
                    <a:pt x="41" y="7"/>
                  </a:cubicBezTo>
                  <a:cubicBezTo>
                    <a:pt x="44" y="9"/>
                    <a:pt x="45" y="8"/>
                    <a:pt x="47" y="10"/>
                  </a:cubicBezTo>
                  <a:cubicBezTo>
                    <a:pt x="49" y="11"/>
                    <a:pt x="51" y="11"/>
                    <a:pt x="53" y="13"/>
                  </a:cubicBezTo>
                  <a:cubicBezTo>
                    <a:pt x="54" y="15"/>
                    <a:pt x="56" y="17"/>
                    <a:pt x="54" y="19"/>
                  </a:cubicBezTo>
                  <a:cubicBezTo>
                    <a:pt x="52" y="20"/>
                    <a:pt x="53" y="21"/>
                    <a:pt x="48" y="20"/>
                  </a:cubicBezTo>
                  <a:cubicBezTo>
                    <a:pt x="44" y="20"/>
                    <a:pt x="43" y="20"/>
                    <a:pt x="42" y="19"/>
                  </a:cubicBezTo>
                  <a:cubicBezTo>
                    <a:pt x="40" y="17"/>
                    <a:pt x="37" y="17"/>
                    <a:pt x="36" y="18"/>
                  </a:cubicBezTo>
                  <a:cubicBezTo>
                    <a:pt x="35" y="19"/>
                    <a:pt x="33" y="19"/>
                    <a:pt x="31" y="22"/>
                  </a:cubicBezTo>
                  <a:cubicBezTo>
                    <a:pt x="29" y="24"/>
                    <a:pt x="29" y="25"/>
                    <a:pt x="26" y="23"/>
                  </a:cubicBezTo>
                  <a:cubicBezTo>
                    <a:pt x="23" y="21"/>
                    <a:pt x="22" y="19"/>
                    <a:pt x="21" y="20"/>
                  </a:cubicBezTo>
                  <a:cubicBezTo>
                    <a:pt x="20" y="20"/>
                    <a:pt x="21" y="22"/>
                    <a:pt x="16" y="19"/>
                  </a:cubicBezTo>
                  <a:cubicBezTo>
                    <a:pt x="11" y="17"/>
                    <a:pt x="11" y="16"/>
                    <a:pt x="10" y="15"/>
                  </a:cubicBezTo>
                  <a:cubicBezTo>
                    <a:pt x="9" y="13"/>
                    <a:pt x="8" y="11"/>
                    <a:pt x="6" y="11"/>
                  </a:cubicBezTo>
                  <a:cubicBezTo>
                    <a:pt x="4" y="11"/>
                    <a:pt x="0" y="10"/>
                    <a:pt x="2" y="8"/>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67" name="Freeform 1045">
              <a:extLst>
                <a:ext uri="{FF2B5EF4-FFF2-40B4-BE49-F238E27FC236}">
                  <a16:creationId xmlns:a16="http://schemas.microsoft.com/office/drawing/2014/main" id="{D4A082A2-DBAF-7143-97A5-5E0BA803CF28}"/>
                </a:ext>
              </a:extLst>
            </p:cNvPr>
            <p:cNvSpPr>
              <a:spLocks/>
            </p:cNvSpPr>
            <p:nvPr/>
          </p:nvSpPr>
          <p:spPr bwMode="auto">
            <a:xfrm>
              <a:off x="2281245" y="2130882"/>
              <a:ext cx="76200" cy="69850"/>
            </a:xfrm>
            <a:custGeom>
              <a:avLst/>
              <a:gdLst>
                <a:gd name="T0" fmla="*/ 79 w 79"/>
                <a:gd name="T1" fmla="*/ 63 h 73"/>
                <a:gd name="T2" fmla="*/ 76 w 79"/>
                <a:gd name="T3" fmla="*/ 68 h 73"/>
                <a:gd name="T4" fmla="*/ 76 w 79"/>
                <a:gd name="T5" fmla="*/ 68 h 73"/>
                <a:gd name="T6" fmla="*/ 69 w 79"/>
                <a:gd name="T7" fmla="*/ 65 h 73"/>
                <a:gd name="T8" fmla="*/ 61 w 79"/>
                <a:gd name="T9" fmla="*/ 54 h 73"/>
                <a:gd name="T10" fmla="*/ 50 w 79"/>
                <a:gd name="T11" fmla="*/ 53 h 73"/>
                <a:gd name="T12" fmla="*/ 40 w 79"/>
                <a:gd name="T13" fmla="*/ 55 h 73"/>
                <a:gd name="T14" fmla="*/ 29 w 79"/>
                <a:gd name="T15" fmla="*/ 51 h 73"/>
                <a:gd name="T16" fmla="*/ 20 w 79"/>
                <a:gd name="T17" fmla="*/ 53 h 73"/>
                <a:gd name="T18" fmla="*/ 17 w 79"/>
                <a:gd name="T19" fmla="*/ 58 h 73"/>
                <a:gd name="T20" fmla="*/ 9 w 79"/>
                <a:gd name="T21" fmla="*/ 53 h 73"/>
                <a:gd name="T22" fmla="*/ 2 w 79"/>
                <a:gd name="T23" fmla="*/ 45 h 73"/>
                <a:gd name="T24" fmla="*/ 7 w 79"/>
                <a:gd name="T25" fmla="*/ 41 h 73"/>
                <a:gd name="T26" fmla="*/ 13 w 79"/>
                <a:gd name="T27" fmla="*/ 41 h 73"/>
                <a:gd name="T28" fmla="*/ 22 w 79"/>
                <a:gd name="T29" fmla="*/ 44 h 73"/>
                <a:gd name="T30" fmla="*/ 33 w 79"/>
                <a:gd name="T31" fmla="*/ 45 h 73"/>
                <a:gd name="T32" fmla="*/ 44 w 79"/>
                <a:gd name="T33" fmla="*/ 45 h 73"/>
                <a:gd name="T34" fmla="*/ 52 w 79"/>
                <a:gd name="T35" fmla="*/ 42 h 73"/>
                <a:gd name="T36" fmla="*/ 56 w 79"/>
                <a:gd name="T37" fmla="*/ 40 h 73"/>
                <a:gd name="T38" fmla="*/ 48 w 79"/>
                <a:gd name="T39" fmla="*/ 31 h 73"/>
                <a:gd name="T40" fmla="*/ 47 w 79"/>
                <a:gd name="T41" fmla="*/ 17 h 73"/>
                <a:gd name="T42" fmla="*/ 34 w 79"/>
                <a:gd name="T43" fmla="*/ 10 h 73"/>
                <a:gd name="T44" fmla="*/ 42 w 79"/>
                <a:gd name="T45" fmla="*/ 5 h 73"/>
                <a:gd name="T46" fmla="*/ 52 w 79"/>
                <a:gd name="T47" fmla="*/ 3 h 73"/>
                <a:gd name="T48" fmla="*/ 63 w 79"/>
                <a:gd name="T49" fmla="*/ 8 h 73"/>
                <a:gd name="T50" fmla="*/ 59 w 79"/>
                <a:gd name="T51" fmla="*/ 18 h 73"/>
                <a:gd name="T52" fmla="*/ 66 w 79"/>
                <a:gd name="T53" fmla="*/ 30 h 73"/>
                <a:gd name="T54" fmla="*/ 64 w 79"/>
                <a:gd name="T55" fmla="*/ 39 h 73"/>
                <a:gd name="T56" fmla="*/ 74 w 79"/>
                <a:gd name="T57" fmla="*/ 52 h 73"/>
                <a:gd name="T58" fmla="*/ 79 w 79"/>
                <a:gd name="T59" fmla="*/ 6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 h="73">
                  <a:moveTo>
                    <a:pt x="79" y="63"/>
                  </a:moveTo>
                  <a:cubicBezTo>
                    <a:pt x="76" y="68"/>
                    <a:pt x="76" y="68"/>
                    <a:pt x="76" y="68"/>
                  </a:cubicBezTo>
                  <a:cubicBezTo>
                    <a:pt x="76" y="68"/>
                    <a:pt x="76" y="68"/>
                    <a:pt x="76" y="68"/>
                  </a:cubicBezTo>
                  <a:cubicBezTo>
                    <a:pt x="71" y="68"/>
                    <a:pt x="73" y="73"/>
                    <a:pt x="69" y="65"/>
                  </a:cubicBezTo>
                  <a:cubicBezTo>
                    <a:pt x="65" y="57"/>
                    <a:pt x="64" y="54"/>
                    <a:pt x="61" y="54"/>
                  </a:cubicBezTo>
                  <a:cubicBezTo>
                    <a:pt x="57" y="54"/>
                    <a:pt x="53" y="51"/>
                    <a:pt x="50" y="53"/>
                  </a:cubicBezTo>
                  <a:cubicBezTo>
                    <a:pt x="47" y="54"/>
                    <a:pt x="43" y="58"/>
                    <a:pt x="40" y="55"/>
                  </a:cubicBezTo>
                  <a:cubicBezTo>
                    <a:pt x="37" y="53"/>
                    <a:pt x="35" y="51"/>
                    <a:pt x="29" y="51"/>
                  </a:cubicBezTo>
                  <a:cubicBezTo>
                    <a:pt x="22" y="52"/>
                    <a:pt x="19" y="50"/>
                    <a:pt x="20" y="53"/>
                  </a:cubicBezTo>
                  <a:cubicBezTo>
                    <a:pt x="20" y="56"/>
                    <a:pt x="22" y="60"/>
                    <a:pt x="17" y="58"/>
                  </a:cubicBezTo>
                  <a:cubicBezTo>
                    <a:pt x="13" y="56"/>
                    <a:pt x="16" y="55"/>
                    <a:pt x="9" y="53"/>
                  </a:cubicBezTo>
                  <a:cubicBezTo>
                    <a:pt x="3" y="50"/>
                    <a:pt x="0" y="50"/>
                    <a:pt x="2" y="45"/>
                  </a:cubicBezTo>
                  <a:cubicBezTo>
                    <a:pt x="4" y="41"/>
                    <a:pt x="5" y="39"/>
                    <a:pt x="7" y="41"/>
                  </a:cubicBezTo>
                  <a:cubicBezTo>
                    <a:pt x="9" y="42"/>
                    <a:pt x="10" y="39"/>
                    <a:pt x="13" y="41"/>
                  </a:cubicBezTo>
                  <a:cubicBezTo>
                    <a:pt x="16" y="43"/>
                    <a:pt x="15" y="42"/>
                    <a:pt x="22" y="44"/>
                  </a:cubicBezTo>
                  <a:cubicBezTo>
                    <a:pt x="29" y="45"/>
                    <a:pt x="26" y="43"/>
                    <a:pt x="33" y="45"/>
                  </a:cubicBezTo>
                  <a:cubicBezTo>
                    <a:pt x="41" y="47"/>
                    <a:pt x="38" y="48"/>
                    <a:pt x="44" y="45"/>
                  </a:cubicBezTo>
                  <a:cubicBezTo>
                    <a:pt x="51" y="42"/>
                    <a:pt x="48" y="42"/>
                    <a:pt x="52" y="42"/>
                  </a:cubicBezTo>
                  <a:cubicBezTo>
                    <a:pt x="55" y="42"/>
                    <a:pt x="61" y="44"/>
                    <a:pt x="56" y="40"/>
                  </a:cubicBezTo>
                  <a:cubicBezTo>
                    <a:pt x="51" y="35"/>
                    <a:pt x="48" y="37"/>
                    <a:pt x="48" y="31"/>
                  </a:cubicBezTo>
                  <a:cubicBezTo>
                    <a:pt x="47" y="25"/>
                    <a:pt x="50" y="22"/>
                    <a:pt x="47" y="17"/>
                  </a:cubicBezTo>
                  <a:cubicBezTo>
                    <a:pt x="44" y="13"/>
                    <a:pt x="33" y="14"/>
                    <a:pt x="34" y="10"/>
                  </a:cubicBezTo>
                  <a:cubicBezTo>
                    <a:pt x="35" y="6"/>
                    <a:pt x="35" y="5"/>
                    <a:pt x="42" y="5"/>
                  </a:cubicBezTo>
                  <a:cubicBezTo>
                    <a:pt x="50" y="5"/>
                    <a:pt x="49" y="0"/>
                    <a:pt x="52" y="3"/>
                  </a:cubicBezTo>
                  <a:cubicBezTo>
                    <a:pt x="55" y="6"/>
                    <a:pt x="58" y="7"/>
                    <a:pt x="63" y="8"/>
                  </a:cubicBezTo>
                  <a:cubicBezTo>
                    <a:pt x="62" y="11"/>
                    <a:pt x="55" y="13"/>
                    <a:pt x="59" y="18"/>
                  </a:cubicBezTo>
                  <a:cubicBezTo>
                    <a:pt x="63" y="24"/>
                    <a:pt x="66" y="27"/>
                    <a:pt x="66" y="30"/>
                  </a:cubicBezTo>
                  <a:cubicBezTo>
                    <a:pt x="66" y="33"/>
                    <a:pt x="62" y="34"/>
                    <a:pt x="64" y="39"/>
                  </a:cubicBezTo>
                  <a:cubicBezTo>
                    <a:pt x="66" y="44"/>
                    <a:pt x="73" y="50"/>
                    <a:pt x="74" y="52"/>
                  </a:cubicBezTo>
                  <a:cubicBezTo>
                    <a:pt x="75" y="55"/>
                    <a:pt x="79" y="63"/>
                    <a:pt x="79" y="6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68" name="Freeform 1046">
              <a:extLst>
                <a:ext uri="{FF2B5EF4-FFF2-40B4-BE49-F238E27FC236}">
                  <a16:creationId xmlns:a16="http://schemas.microsoft.com/office/drawing/2014/main" id="{95DB4DFD-E39E-E246-AFFB-A950741C865F}"/>
                </a:ext>
              </a:extLst>
            </p:cNvPr>
            <p:cNvSpPr>
              <a:spLocks/>
            </p:cNvSpPr>
            <p:nvPr/>
          </p:nvSpPr>
          <p:spPr bwMode="auto">
            <a:xfrm>
              <a:off x="2333633" y="2134057"/>
              <a:ext cx="98425" cy="61913"/>
            </a:xfrm>
            <a:custGeom>
              <a:avLst/>
              <a:gdLst>
                <a:gd name="T0" fmla="*/ 100 w 103"/>
                <a:gd name="T1" fmla="*/ 38 h 65"/>
                <a:gd name="T2" fmla="*/ 91 w 103"/>
                <a:gd name="T3" fmla="*/ 48 h 65"/>
                <a:gd name="T4" fmla="*/ 79 w 103"/>
                <a:gd name="T5" fmla="*/ 44 h 65"/>
                <a:gd name="T6" fmla="*/ 62 w 103"/>
                <a:gd name="T7" fmla="*/ 43 h 65"/>
                <a:gd name="T8" fmla="*/ 55 w 103"/>
                <a:gd name="T9" fmla="*/ 50 h 65"/>
                <a:gd name="T10" fmla="*/ 41 w 103"/>
                <a:gd name="T11" fmla="*/ 45 h 65"/>
                <a:gd name="T12" fmla="*/ 34 w 103"/>
                <a:gd name="T13" fmla="*/ 48 h 65"/>
                <a:gd name="T14" fmla="*/ 27 w 103"/>
                <a:gd name="T15" fmla="*/ 58 h 65"/>
                <a:gd name="T16" fmla="*/ 21 w 103"/>
                <a:gd name="T17" fmla="*/ 65 h 65"/>
                <a:gd name="T18" fmla="*/ 24 w 103"/>
                <a:gd name="T19" fmla="*/ 60 h 65"/>
                <a:gd name="T20" fmla="*/ 19 w 103"/>
                <a:gd name="T21" fmla="*/ 49 h 65"/>
                <a:gd name="T22" fmla="*/ 9 w 103"/>
                <a:gd name="T23" fmla="*/ 36 h 65"/>
                <a:gd name="T24" fmla="*/ 11 w 103"/>
                <a:gd name="T25" fmla="*/ 27 h 65"/>
                <a:gd name="T26" fmla="*/ 4 w 103"/>
                <a:gd name="T27" fmla="*/ 15 h 65"/>
                <a:gd name="T28" fmla="*/ 8 w 103"/>
                <a:gd name="T29" fmla="*/ 5 h 65"/>
                <a:gd name="T30" fmla="*/ 10 w 103"/>
                <a:gd name="T31" fmla="*/ 5 h 65"/>
                <a:gd name="T32" fmla="*/ 18 w 103"/>
                <a:gd name="T33" fmla="*/ 5 h 65"/>
                <a:gd name="T34" fmla="*/ 25 w 103"/>
                <a:gd name="T35" fmla="*/ 2 h 65"/>
                <a:gd name="T36" fmla="*/ 37 w 103"/>
                <a:gd name="T37" fmla="*/ 2 h 65"/>
                <a:gd name="T38" fmla="*/ 50 w 103"/>
                <a:gd name="T39" fmla="*/ 5 h 65"/>
                <a:gd name="T40" fmla="*/ 64 w 103"/>
                <a:gd name="T41" fmla="*/ 11 h 65"/>
                <a:gd name="T42" fmla="*/ 68 w 103"/>
                <a:gd name="T43" fmla="*/ 19 h 65"/>
                <a:gd name="T44" fmla="*/ 79 w 103"/>
                <a:gd name="T45" fmla="*/ 17 h 65"/>
                <a:gd name="T46" fmla="*/ 82 w 103"/>
                <a:gd name="T47" fmla="*/ 22 h 65"/>
                <a:gd name="T48" fmla="*/ 75 w 103"/>
                <a:gd name="T49" fmla="*/ 27 h 65"/>
                <a:gd name="T50" fmla="*/ 92 w 103"/>
                <a:gd name="T51" fmla="*/ 28 h 65"/>
                <a:gd name="T52" fmla="*/ 100 w 103"/>
                <a:gd name="T53"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3" h="65">
                  <a:moveTo>
                    <a:pt x="100" y="38"/>
                  </a:moveTo>
                  <a:cubicBezTo>
                    <a:pt x="98" y="43"/>
                    <a:pt x="94" y="44"/>
                    <a:pt x="91" y="48"/>
                  </a:cubicBezTo>
                  <a:cubicBezTo>
                    <a:pt x="87" y="51"/>
                    <a:pt x="86" y="44"/>
                    <a:pt x="79" y="44"/>
                  </a:cubicBezTo>
                  <a:cubicBezTo>
                    <a:pt x="72" y="44"/>
                    <a:pt x="65" y="40"/>
                    <a:pt x="62" y="43"/>
                  </a:cubicBezTo>
                  <a:cubicBezTo>
                    <a:pt x="59" y="46"/>
                    <a:pt x="65" y="50"/>
                    <a:pt x="55" y="50"/>
                  </a:cubicBezTo>
                  <a:cubicBezTo>
                    <a:pt x="45" y="49"/>
                    <a:pt x="42" y="47"/>
                    <a:pt x="41" y="45"/>
                  </a:cubicBezTo>
                  <a:cubicBezTo>
                    <a:pt x="40" y="43"/>
                    <a:pt x="36" y="44"/>
                    <a:pt x="34" y="48"/>
                  </a:cubicBezTo>
                  <a:cubicBezTo>
                    <a:pt x="32" y="51"/>
                    <a:pt x="26" y="52"/>
                    <a:pt x="27" y="58"/>
                  </a:cubicBezTo>
                  <a:cubicBezTo>
                    <a:pt x="27" y="64"/>
                    <a:pt x="26" y="65"/>
                    <a:pt x="21" y="65"/>
                  </a:cubicBezTo>
                  <a:cubicBezTo>
                    <a:pt x="24" y="60"/>
                    <a:pt x="24" y="60"/>
                    <a:pt x="24" y="60"/>
                  </a:cubicBezTo>
                  <a:cubicBezTo>
                    <a:pt x="24" y="60"/>
                    <a:pt x="20" y="52"/>
                    <a:pt x="19" y="49"/>
                  </a:cubicBezTo>
                  <a:cubicBezTo>
                    <a:pt x="18" y="47"/>
                    <a:pt x="11" y="41"/>
                    <a:pt x="9" y="36"/>
                  </a:cubicBezTo>
                  <a:cubicBezTo>
                    <a:pt x="7" y="31"/>
                    <a:pt x="11" y="30"/>
                    <a:pt x="11" y="27"/>
                  </a:cubicBezTo>
                  <a:cubicBezTo>
                    <a:pt x="11" y="24"/>
                    <a:pt x="8" y="21"/>
                    <a:pt x="4" y="15"/>
                  </a:cubicBezTo>
                  <a:cubicBezTo>
                    <a:pt x="0" y="10"/>
                    <a:pt x="7" y="8"/>
                    <a:pt x="8" y="5"/>
                  </a:cubicBezTo>
                  <a:cubicBezTo>
                    <a:pt x="9" y="5"/>
                    <a:pt x="9" y="5"/>
                    <a:pt x="10" y="5"/>
                  </a:cubicBezTo>
                  <a:cubicBezTo>
                    <a:pt x="16" y="5"/>
                    <a:pt x="14" y="6"/>
                    <a:pt x="18" y="5"/>
                  </a:cubicBezTo>
                  <a:cubicBezTo>
                    <a:pt x="22" y="3"/>
                    <a:pt x="21" y="2"/>
                    <a:pt x="25" y="2"/>
                  </a:cubicBezTo>
                  <a:cubicBezTo>
                    <a:pt x="30" y="2"/>
                    <a:pt x="32" y="0"/>
                    <a:pt x="37" y="2"/>
                  </a:cubicBezTo>
                  <a:cubicBezTo>
                    <a:pt x="42" y="4"/>
                    <a:pt x="45" y="1"/>
                    <a:pt x="50" y="5"/>
                  </a:cubicBezTo>
                  <a:cubicBezTo>
                    <a:pt x="55" y="8"/>
                    <a:pt x="62" y="8"/>
                    <a:pt x="64" y="11"/>
                  </a:cubicBezTo>
                  <a:cubicBezTo>
                    <a:pt x="66" y="14"/>
                    <a:pt x="66" y="16"/>
                    <a:pt x="68" y="19"/>
                  </a:cubicBezTo>
                  <a:cubicBezTo>
                    <a:pt x="70" y="22"/>
                    <a:pt x="76" y="16"/>
                    <a:pt x="79" y="17"/>
                  </a:cubicBezTo>
                  <a:cubicBezTo>
                    <a:pt x="83" y="18"/>
                    <a:pt x="87" y="21"/>
                    <a:pt x="82" y="22"/>
                  </a:cubicBezTo>
                  <a:cubicBezTo>
                    <a:pt x="78" y="22"/>
                    <a:pt x="71" y="26"/>
                    <a:pt x="75" y="27"/>
                  </a:cubicBezTo>
                  <a:cubicBezTo>
                    <a:pt x="79" y="27"/>
                    <a:pt x="87" y="24"/>
                    <a:pt x="92" y="28"/>
                  </a:cubicBezTo>
                  <a:cubicBezTo>
                    <a:pt x="96" y="32"/>
                    <a:pt x="103" y="32"/>
                    <a:pt x="100" y="38"/>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69" name="Freeform 1047">
              <a:extLst>
                <a:ext uri="{FF2B5EF4-FFF2-40B4-BE49-F238E27FC236}">
                  <a16:creationId xmlns:a16="http://schemas.microsoft.com/office/drawing/2014/main" id="{18B00E47-E0F3-0A40-89B7-238C81F89FC0}"/>
                </a:ext>
              </a:extLst>
            </p:cNvPr>
            <p:cNvSpPr>
              <a:spLocks/>
            </p:cNvSpPr>
            <p:nvPr/>
          </p:nvSpPr>
          <p:spPr bwMode="auto">
            <a:xfrm>
              <a:off x="2452696" y="2172157"/>
              <a:ext cx="39688" cy="17463"/>
            </a:xfrm>
            <a:custGeom>
              <a:avLst/>
              <a:gdLst>
                <a:gd name="T0" fmla="*/ 3 w 43"/>
                <a:gd name="T1" fmla="*/ 2 h 18"/>
                <a:gd name="T2" fmla="*/ 12 w 43"/>
                <a:gd name="T3" fmla="*/ 1 h 18"/>
                <a:gd name="T4" fmla="*/ 21 w 43"/>
                <a:gd name="T5" fmla="*/ 1 h 18"/>
                <a:gd name="T6" fmla="*/ 28 w 43"/>
                <a:gd name="T7" fmla="*/ 2 h 18"/>
                <a:gd name="T8" fmla="*/ 37 w 43"/>
                <a:gd name="T9" fmla="*/ 4 h 18"/>
                <a:gd name="T10" fmla="*/ 41 w 43"/>
                <a:gd name="T11" fmla="*/ 6 h 18"/>
                <a:gd name="T12" fmla="*/ 41 w 43"/>
                <a:gd name="T13" fmla="*/ 12 h 18"/>
                <a:gd name="T14" fmla="*/ 34 w 43"/>
                <a:gd name="T15" fmla="*/ 15 h 18"/>
                <a:gd name="T16" fmla="*/ 26 w 43"/>
                <a:gd name="T17" fmla="*/ 17 h 18"/>
                <a:gd name="T18" fmla="*/ 17 w 43"/>
                <a:gd name="T19" fmla="*/ 18 h 18"/>
                <a:gd name="T20" fmla="*/ 9 w 43"/>
                <a:gd name="T21" fmla="*/ 17 h 18"/>
                <a:gd name="T22" fmla="*/ 1 w 43"/>
                <a:gd name="T23" fmla="*/ 14 h 18"/>
                <a:gd name="T24" fmla="*/ 2 w 43"/>
                <a:gd name="T25" fmla="*/ 9 h 18"/>
                <a:gd name="T26" fmla="*/ 3 w 43"/>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18">
                  <a:moveTo>
                    <a:pt x="3" y="2"/>
                  </a:moveTo>
                  <a:cubicBezTo>
                    <a:pt x="4" y="1"/>
                    <a:pt x="7" y="1"/>
                    <a:pt x="12" y="1"/>
                  </a:cubicBezTo>
                  <a:cubicBezTo>
                    <a:pt x="17" y="2"/>
                    <a:pt x="16" y="1"/>
                    <a:pt x="21" y="1"/>
                  </a:cubicBezTo>
                  <a:cubicBezTo>
                    <a:pt x="26" y="2"/>
                    <a:pt x="24" y="0"/>
                    <a:pt x="28" y="2"/>
                  </a:cubicBezTo>
                  <a:cubicBezTo>
                    <a:pt x="32" y="3"/>
                    <a:pt x="34" y="3"/>
                    <a:pt x="37" y="4"/>
                  </a:cubicBezTo>
                  <a:cubicBezTo>
                    <a:pt x="39" y="5"/>
                    <a:pt x="40" y="2"/>
                    <a:pt x="41" y="6"/>
                  </a:cubicBezTo>
                  <a:cubicBezTo>
                    <a:pt x="42" y="9"/>
                    <a:pt x="43" y="9"/>
                    <a:pt x="41" y="12"/>
                  </a:cubicBezTo>
                  <a:cubicBezTo>
                    <a:pt x="38" y="15"/>
                    <a:pt x="40" y="15"/>
                    <a:pt x="34" y="15"/>
                  </a:cubicBezTo>
                  <a:cubicBezTo>
                    <a:pt x="28" y="16"/>
                    <a:pt x="29" y="16"/>
                    <a:pt x="26" y="17"/>
                  </a:cubicBezTo>
                  <a:cubicBezTo>
                    <a:pt x="23" y="18"/>
                    <a:pt x="22" y="18"/>
                    <a:pt x="17" y="18"/>
                  </a:cubicBezTo>
                  <a:cubicBezTo>
                    <a:pt x="11" y="17"/>
                    <a:pt x="12" y="17"/>
                    <a:pt x="9" y="17"/>
                  </a:cubicBezTo>
                  <a:cubicBezTo>
                    <a:pt x="6" y="17"/>
                    <a:pt x="1" y="17"/>
                    <a:pt x="1" y="14"/>
                  </a:cubicBezTo>
                  <a:cubicBezTo>
                    <a:pt x="2" y="11"/>
                    <a:pt x="4" y="12"/>
                    <a:pt x="2" y="9"/>
                  </a:cubicBezTo>
                  <a:cubicBezTo>
                    <a:pt x="0" y="5"/>
                    <a:pt x="1" y="1"/>
                    <a:pt x="3" y="2"/>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70" name="Freeform 1048">
              <a:extLst>
                <a:ext uri="{FF2B5EF4-FFF2-40B4-BE49-F238E27FC236}">
                  <a16:creationId xmlns:a16="http://schemas.microsoft.com/office/drawing/2014/main" id="{4FDD7314-0F9D-B348-AEAA-B02C5D0A376F}"/>
                </a:ext>
              </a:extLst>
            </p:cNvPr>
            <p:cNvSpPr>
              <a:spLocks/>
            </p:cNvSpPr>
            <p:nvPr/>
          </p:nvSpPr>
          <p:spPr bwMode="auto">
            <a:xfrm>
              <a:off x="2814647" y="4024772"/>
              <a:ext cx="36513" cy="31750"/>
            </a:xfrm>
            <a:custGeom>
              <a:avLst/>
              <a:gdLst>
                <a:gd name="T0" fmla="*/ 7 w 39"/>
                <a:gd name="T1" fmla="*/ 7 h 33"/>
                <a:gd name="T2" fmla="*/ 12 w 39"/>
                <a:gd name="T3" fmla="*/ 12 h 33"/>
                <a:gd name="T4" fmla="*/ 20 w 39"/>
                <a:gd name="T5" fmla="*/ 15 h 33"/>
                <a:gd name="T6" fmla="*/ 17 w 39"/>
                <a:gd name="T7" fmla="*/ 18 h 33"/>
                <a:gd name="T8" fmla="*/ 13 w 39"/>
                <a:gd name="T9" fmla="*/ 25 h 33"/>
                <a:gd name="T10" fmla="*/ 9 w 39"/>
                <a:gd name="T11" fmla="*/ 23 h 33"/>
                <a:gd name="T12" fmla="*/ 5 w 39"/>
                <a:gd name="T13" fmla="*/ 18 h 33"/>
                <a:gd name="T14" fmla="*/ 2 w 39"/>
                <a:gd name="T15" fmla="*/ 26 h 33"/>
                <a:gd name="T16" fmla="*/ 11 w 39"/>
                <a:gd name="T17" fmla="*/ 30 h 33"/>
                <a:gd name="T18" fmla="*/ 20 w 39"/>
                <a:gd name="T19" fmla="*/ 30 h 33"/>
                <a:gd name="T20" fmla="*/ 25 w 39"/>
                <a:gd name="T21" fmla="*/ 24 h 33"/>
                <a:gd name="T22" fmla="*/ 32 w 39"/>
                <a:gd name="T23" fmla="*/ 18 h 33"/>
                <a:gd name="T24" fmla="*/ 37 w 39"/>
                <a:gd name="T25" fmla="*/ 10 h 33"/>
                <a:gd name="T26" fmla="*/ 32 w 39"/>
                <a:gd name="T27" fmla="*/ 5 h 33"/>
                <a:gd name="T28" fmla="*/ 26 w 39"/>
                <a:gd name="T29" fmla="*/ 2 h 33"/>
                <a:gd name="T30" fmla="*/ 23 w 39"/>
                <a:gd name="T31" fmla="*/ 7 h 33"/>
                <a:gd name="T32" fmla="*/ 13 w 39"/>
                <a:gd name="T33" fmla="*/ 5 h 33"/>
                <a:gd name="T34" fmla="*/ 7 w 39"/>
                <a:gd name="T35"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33">
                  <a:moveTo>
                    <a:pt x="7" y="7"/>
                  </a:moveTo>
                  <a:cubicBezTo>
                    <a:pt x="9" y="10"/>
                    <a:pt x="9" y="9"/>
                    <a:pt x="12" y="12"/>
                  </a:cubicBezTo>
                  <a:cubicBezTo>
                    <a:pt x="16" y="15"/>
                    <a:pt x="21" y="12"/>
                    <a:pt x="20" y="15"/>
                  </a:cubicBezTo>
                  <a:cubicBezTo>
                    <a:pt x="19" y="18"/>
                    <a:pt x="17" y="15"/>
                    <a:pt x="17" y="18"/>
                  </a:cubicBezTo>
                  <a:cubicBezTo>
                    <a:pt x="17" y="21"/>
                    <a:pt x="14" y="25"/>
                    <a:pt x="13" y="25"/>
                  </a:cubicBezTo>
                  <a:cubicBezTo>
                    <a:pt x="12" y="26"/>
                    <a:pt x="10" y="26"/>
                    <a:pt x="9" y="23"/>
                  </a:cubicBezTo>
                  <a:cubicBezTo>
                    <a:pt x="9" y="21"/>
                    <a:pt x="7" y="17"/>
                    <a:pt x="5" y="18"/>
                  </a:cubicBezTo>
                  <a:cubicBezTo>
                    <a:pt x="2" y="20"/>
                    <a:pt x="0" y="23"/>
                    <a:pt x="2" y="26"/>
                  </a:cubicBezTo>
                  <a:cubicBezTo>
                    <a:pt x="5" y="28"/>
                    <a:pt x="5" y="29"/>
                    <a:pt x="11" y="30"/>
                  </a:cubicBezTo>
                  <a:cubicBezTo>
                    <a:pt x="16" y="31"/>
                    <a:pt x="15" y="33"/>
                    <a:pt x="20" y="30"/>
                  </a:cubicBezTo>
                  <a:cubicBezTo>
                    <a:pt x="24" y="27"/>
                    <a:pt x="21" y="26"/>
                    <a:pt x="25" y="24"/>
                  </a:cubicBezTo>
                  <a:cubicBezTo>
                    <a:pt x="29" y="21"/>
                    <a:pt x="28" y="22"/>
                    <a:pt x="32" y="18"/>
                  </a:cubicBezTo>
                  <a:cubicBezTo>
                    <a:pt x="36" y="15"/>
                    <a:pt x="39" y="15"/>
                    <a:pt x="37" y="10"/>
                  </a:cubicBezTo>
                  <a:cubicBezTo>
                    <a:pt x="35" y="5"/>
                    <a:pt x="34" y="4"/>
                    <a:pt x="32" y="5"/>
                  </a:cubicBezTo>
                  <a:cubicBezTo>
                    <a:pt x="30" y="5"/>
                    <a:pt x="28" y="0"/>
                    <a:pt x="26" y="2"/>
                  </a:cubicBezTo>
                  <a:cubicBezTo>
                    <a:pt x="24" y="5"/>
                    <a:pt x="29" y="8"/>
                    <a:pt x="23" y="7"/>
                  </a:cubicBezTo>
                  <a:cubicBezTo>
                    <a:pt x="18" y="5"/>
                    <a:pt x="17" y="7"/>
                    <a:pt x="13" y="5"/>
                  </a:cubicBezTo>
                  <a:cubicBezTo>
                    <a:pt x="10" y="4"/>
                    <a:pt x="4" y="3"/>
                    <a:pt x="7" y="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71" name="Freeform 1049">
              <a:extLst>
                <a:ext uri="{FF2B5EF4-FFF2-40B4-BE49-F238E27FC236}">
                  <a16:creationId xmlns:a16="http://schemas.microsoft.com/office/drawing/2014/main" id="{8AA112EC-B346-944A-852E-2F20F547AEC5}"/>
                </a:ext>
              </a:extLst>
            </p:cNvPr>
            <p:cNvSpPr>
              <a:spLocks/>
            </p:cNvSpPr>
            <p:nvPr/>
          </p:nvSpPr>
          <p:spPr bwMode="auto">
            <a:xfrm>
              <a:off x="2844809" y="4029534"/>
              <a:ext cx="38100" cy="28575"/>
            </a:xfrm>
            <a:custGeom>
              <a:avLst/>
              <a:gdLst>
                <a:gd name="T0" fmla="*/ 10 w 41"/>
                <a:gd name="T1" fmla="*/ 5 h 30"/>
                <a:gd name="T2" fmla="*/ 15 w 41"/>
                <a:gd name="T3" fmla="*/ 12 h 30"/>
                <a:gd name="T4" fmla="*/ 6 w 41"/>
                <a:gd name="T5" fmla="*/ 15 h 30"/>
                <a:gd name="T6" fmla="*/ 4 w 41"/>
                <a:gd name="T7" fmla="*/ 24 h 30"/>
                <a:gd name="T8" fmla="*/ 11 w 41"/>
                <a:gd name="T9" fmla="*/ 27 h 30"/>
                <a:gd name="T10" fmla="*/ 15 w 41"/>
                <a:gd name="T11" fmla="*/ 25 h 30"/>
                <a:gd name="T12" fmla="*/ 19 w 41"/>
                <a:gd name="T13" fmla="*/ 22 h 30"/>
                <a:gd name="T14" fmla="*/ 23 w 41"/>
                <a:gd name="T15" fmla="*/ 18 h 30"/>
                <a:gd name="T16" fmla="*/ 29 w 41"/>
                <a:gd name="T17" fmla="*/ 17 h 30"/>
                <a:gd name="T18" fmla="*/ 36 w 41"/>
                <a:gd name="T19" fmla="*/ 12 h 30"/>
                <a:gd name="T20" fmla="*/ 39 w 41"/>
                <a:gd name="T21" fmla="*/ 7 h 30"/>
                <a:gd name="T22" fmla="*/ 33 w 41"/>
                <a:gd name="T23" fmla="*/ 3 h 30"/>
                <a:gd name="T24" fmla="*/ 24 w 41"/>
                <a:gd name="T25" fmla="*/ 3 h 30"/>
                <a:gd name="T26" fmla="*/ 16 w 41"/>
                <a:gd name="T27" fmla="*/ 1 h 30"/>
                <a:gd name="T28" fmla="*/ 10 w 41"/>
                <a:gd name="T29"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 h="30">
                  <a:moveTo>
                    <a:pt x="10" y="5"/>
                  </a:moveTo>
                  <a:cubicBezTo>
                    <a:pt x="10" y="8"/>
                    <a:pt x="12" y="8"/>
                    <a:pt x="15" y="12"/>
                  </a:cubicBezTo>
                  <a:cubicBezTo>
                    <a:pt x="17" y="16"/>
                    <a:pt x="12" y="13"/>
                    <a:pt x="6" y="15"/>
                  </a:cubicBezTo>
                  <a:cubicBezTo>
                    <a:pt x="0" y="17"/>
                    <a:pt x="4" y="19"/>
                    <a:pt x="4" y="24"/>
                  </a:cubicBezTo>
                  <a:cubicBezTo>
                    <a:pt x="4" y="30"/>
                    <a:pt x="7" y="26"/>
                    <a:pt x="11" y="27"/>
                  </a:cubicBezTo>
                  <a:cubicBezTo>
                    <a:pt x="15" y="28"/>
                    <a:pt x="13" y="26"/>
                    <a:pt x="15" y="25"/>
                  </a:cubicBezTo>
                  <a:cubicBezTo>
                    <a:pt x="16" y="24"/>
                    <a:pt x="18" y="25"/>
                    <a:pt x="19" y="22"/>
                  </a:cubicBezTo>
                  <a:cubicBezTo>
                    <a:pt x="20" y="18"/>
                    <a:pt x="23" y="21"/>
                    <a:pt x="23" y="18"/>
                  </a:cubicBezTo>
                  <a:cubicBezTo>
                    <a:pt x="23" y="15"/>
                    <a:pt x="29" y="19"/>
                    <a:pt x="29" y="17"/>
                  </a:cubicBezTo>
                  <a:cubicBezTo>
                    <a:pt x="29" y="15"/>
                    <a:pt x="34" y="13"/>
                    <a:pt x="36" y="12"/>
                  </a:cubicBezTo>
                  <a:cubicBezTo>
                    <a:pt x="38" y="11"/>
                    <a:pt x="36" y="9"/>
                    <a:pt x="39" y="7"/>
                  </a:cubicBezTo>
                  <a:cubicBezTo>
                    <a:pt x="41" y="4"/>
                    <a:pt x="36" y="4"/>
                    <a:pt x="33" y="3"/>
                  </a:cubicBezTo>
                  <a:cubicBezTo>
                    <a:pt x="30" y="1"/>
                    <a:pt x="28" y="4"/>
                    <a:pt x="24" y="3"/>
                  </a:cubicBezTo>
                  <a:cubicBezTo>
                    <a:pt x="19" y="1"/>
                    <a:pt x="20" y="1"/>
                    <a:pt x="16" y="1"/>
                  </a:cubicBezTo>
                  <a:cubicBezTo>
                    <a:pt x="12" y="0"/>
                    <a:pt x="10" y="2"/>
                    <a:pt x="10"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72" name="Freeform 1050">
              <a:extLst>
                <a:ext uri="{FF2B5EF4-FFF2-40B4-BE49-F238E27FC236}">
                  <a16:creationId xmlns:a16="http://schemas.microsoft.com/office/drawing/2014/main" id="{1863418C-CF0A-D449-8963-77143C13807A}"/>
                </a:ext>
              </a:extLst>
            </p:cNvPr>
            <p:cNvSpPr>
              <a:spLocks/>
            </p:cNvSpPr>
            <p:nvPr/>
          </p:nvSpPr>
          <p:spPr bwMode="auto">
            <a:xfrm>
              <a:off x="3298836" y="4099384"/>
              <a:ext cx="58738" cy="25400"/>
            </a:xfrm>
            <a:custGeom>
              <a:avLst/>
              <a:gdLst>
                <a:gd name="T0" fmla="*/ 4 w 61"/>
                <a:gd name="T1" fmla="*/ 4 h 28"/>
                <a:gd name="T2" fmla="*/ 13 w 61"/>
                <a:gd name="T3" fmla="*/ 7 h 28"/>
                <a:gd name="T4" fmla="*/ 24 w 61"/>
                <a:gd name="T5" fmla="*/ 10 h 28"/>
                <a:gd name="T6" fmla="*/ 33 w 61"/>
                <a:gd name="T7" fmla="*/ 15 h 28"/>
                <a:gd name="T8" fmla="*/ 42 w 61"/>
                <a:gd name="T9" fmla="*/ 20 h 28"/>
                <a:gd name="T10" fmla="*/ 49 w 61"/>
                <a:gd name="T11" fmla="*/ 25 h 28"/>
                <a:gd name="T12" fmla="*/ 53 w 61"/>
                <a:gd name="T13" fmla="*/ 25 h 28"/>
                <a:gd name="T14" fmla="*/ 56 w 61"/>
                <a:gd name="T15" fmla="*/ 20 h 28"/>
                <a:gd name="T16" fmla="*/ 48 w 61"/>
                <a:gd name="T17" fmla="*/ 11 h 28"/>
                <a:gd name="T18" fmla="*/ 38 w 61"/>
                <a:gd name="T19" fmla="*/ 8 h 28"/>
                <a:gd name="T20" fmla="*/ 32 w 61"/>
                <a:gd name="T21" fmla="*/ 4 h 28"/>
                <a:gd name="T22" fmla="*/ 19 w 61"/>
                <a:gd name="T23" fmla="*/ 3 h 28"/>
                <a:gd name="T24" fmla="*/ 7 w 61"/>
                <a:gd name="T25" fmla="*/ 0 h 28"/>
                <a:gd name="T26" fmla="*/ 4 w 61"/>
                <a:gd name="T27"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28">
                  <a:moveTo>
                    <a:pt x="4" y="4"/>
                  </a:moveTo>
                  <a:cubicBezTo>
                    <a:pt x="5" y="4"/>
                    <a:pt x="9" y="5"/>
                    <a:pt x="13" y="7"/>
                  </a:cubicBezTo>
                  <a:cubicBezTo>
                    <a:pt x="17" y="9"/>
                    <a:pt x="21" y="8"/>
                    <a:pt x="24" y="10"/>
                  </a:cubicBezTo>
                  <a:cubicBezTo>
                    <a:pt x="28" y="12"/>
                    <a:pt x="33" y="14"/>
                    <a:pt x="33" y="15"/>
                  </a:cubicBezTo>
                  <a:cubicBezTo>
                    <a:pt x="34" y="16"/>
                    <a:pt x="40" y="17"/>
                    <a:pt x="42" y="20"/>
                  </a:cubicBezTo>
                  <a:cubicBezTo>
                    <a:pt x="45" y="23"/>
                    <a:pt x="49" y="23"/>
                    <a:pt x="49" y="25"/>
                  </a:cubicBezTo>
                  <a:cubicBezTo>
                    <a:pt x="50" y="26"/>
                    <a:pt x="52" y="28"/>
                    <a:pt x="53" y="25"/>
                  </a:cubicBezTo>
                  <a:cubicBezTo>
                    <a:pt x="55" y="22"/>
                    <a:pt x="61" y="28"/>
                    <a:pt x="56" y="20"/>
                  </a:cubicBezTo>
                  <a:cubicBezTo>
                    <a:pt x="52" y="13"/>
                    <a:pt x="55" y="12"/>
                    <a:pt x="48" y="11"/>
                  </a:cubicBezTo>
                  <a:cubicBezTo>
                    <a:pt x="42" y="10"/>
                    <a:pt x="43" y="11"/>
                    <a:pt x="38" y="8"/>
                  </a:cubicBezTo>
                  <a:cubicBezTo>
                    <a:pt x="34" y="4"/>
                    <a:pt x="37" y="4"/>
                    <a:pt x="32" y="4"/>
                  </a:cubicBezTo>
                  <a:cubicBezTo>
                    <a:pt x="27" y="4"/>
                    <a:pt x="20" y="3"/>
                    <a:pt x="19" y="3"/>
                  </a:cubicBezTo>
                  <a:cubicBezTo>
                    <a:pt x="18" y="2"/>
                    <a:pt x="7" y="0"/>
                    <a:pt x="7" y="0"/>
                  </a:cubicBezTo>
                  <a:cubicBezTo>
                    <a:pt x="7" y="0"/>
                    <a:pt x="0" y="0"/>
                    <a:pt x="4"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73" name="Freeform 1051">
              <a:extLst>
                <a:ext uri="{FF2B5EF4-FFF2-40B4-BE49-F238E27FC236}">
                  <a16:creationId xmlns:a16="http://schemas.microsoft.com/office/drawing/2014/main" id="{A8F49457-9695-3141-BCAF-AC3F8364BF37}"/>
                </a:ext>
              </a:extLst>
            </p:cNvPr>
            <p:cNvSpPr>
              <a:spLocks/>
            </p:cNvSpPr>
            <p:nvPr/>
          </p:nvSpPr>
          <p:spPr bwMode="auto">
            <a:xfrm>
              <a:off x="2562233" y="2375357"/>
              <a:ext cx="23813" cy="25400"/>
            </a:xfrm>
            <a:custGeom>
              <a:avLst/>
              <a:gdLst>
                <a:gd name="T0" fmla="*/ 8 w 26"/>
                <a:gd name="T1" fmla="*/ 6 h 26"/>
                <a:gd name="T2" fmla="*/ 13 w 26"/>
                <a:gd name="T3" fmla="*/ 13 h 26"/>
                <a:gd name="T4" fmla="*/ 10 w 26"/>
                <a:gd name="T5" fmla="*/ 18 h 26"/>
                <a:gd name="T6" fmla="*/ 3 w 26"/>
                <a:gd name="T7" fmla="*/ 23 h 26"/>
                <a:gd name="T8" fmla="*/ 15 w 26"/>
                <a:gd name="T9" fmla="*/ 23 h 26"/>
                <a:gd name="T10" fmla="*/ 23 w 26"/>
                <a:gd name="T11" fmla="*/ 22 h 26"/>
                <a:gd name="T12" fmla="*/ 22 w 26"/>
                <a:gd name="T13" fmla="*/ 11 h 26"/>
                <a:gd name="T14" fmla="*/ 25 w 26"/>
                <a:gd name="T15" fmla="*/ 6 h 26"/>
                <a:gd name="T16" fmla="*/ 22 w 26"/>
                <a:gd name="T17" fmla="*/ 1 h 26"/>
                <a:gd name="T18" fmla="*/ 15 w 26"/>
                <a:gd name="T19" fmla="*/ 3 h 26"/>
                <a:gd name="T20" fmla="*/ 8 w 26"/>
                <a:gd name="T21"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6">
                  <a:moveTo>
                    <a:pt x="8" y="6"/>
                  </a:moveTo>
                  <a:cubicBezTo>
                    <a:pt x="10" y="8"/>
                    <a:pt x="13" y="10"/>
                    <a:pt x="13" y="13"/>
                  </a:cubicBezTo>
                  <a:cubicBezTo>
                    <a:pt x="13" y="15"/>
                    <a:pt x="14" y="15"/>
                    <a:pt x="10" y="18"/>
                  </a:cubicBezTo>
                  <a:cubicBezTo>
                    <a:pt x="5" y="21"/>
                    <a:pt x="0" y="23"/>
                    <a:pt x="3" y="23"/>
                  </a:cubicBezTo>
                  <a:cubicBezTo>
                    <a:pt x="7" y="23"/>
                    <a:pt x="10" y="23"/>
                    <a:pt x="15" y="23"/>
                  </a:cubicBezTo>
                  <a:cubicBezTo>
                    <a:pt x="20" y="23"/>
                    <a:pt x="23" y="26"/>
                    <a:pt x="23" y="22"/>
                  </a:cubicBezTo>
                  <a:cubicBezTo>
                    <a:pt x="23" y="19"/>
                    <a:pt x="22" y="14"/>
                    <a:pt x="22" y="11"/>
                  </a:cubicBezTo>
                  <a:cubicBezTo>
                    <a:pt x="23" y="8"/>
                    <a:pt x="24" y="7"/>
                    <a:pt x="25" y="6"/>
                  </a:cubicBezTo>
                  <a:cubicBezTo>
                    <a:pt x="26" y="4"/>
                    <a:pt x="24" y="0"/>
                    <a:pt x="22" y="1"/>
                  </a:cubicBezTo>
                  <a:cubicBezTo>
                    <a:pt x="20" y="2"/>
                    <a:pt x="18" y="3"/>
                    <a:pt x="15" y="3"/>
                  </a:cubicBezTo>
                  <a:cubicBezTo>
                    <a:pt x="12" y="4"/>
                    <a:pt x="3" y="1"/>
                    <a:pt x="8" y="6"/>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74" name="Freeform 1052">
              <a:extLst>
                <a:ext uri="{FF2B5EF4-FFF2-40B4-BE49-F238E27FC236}">
                  <a16:creationId xmlns:a16="http://schemas.microsoft.com/office/drawing/2014/main" id="{FF4C4865-7A07-E143-83F9-F4FAAEDD5659}"/>
                </a:ext>
              </a:extLst>
            </p:cNvPr>
            <p:cNvSpPr>
              <a:spLocks/>
            </p:cNvSpPr>
            <p:nvPr/>
          </p:nvSpPr>
          <p:spPr bwMode="auto">
            <a:xfrm>
              <a:off x="2587633" y="2326145"/>
              <a:ext cx="7938" cy="14288"/>
            </a:xfrm>
            <a:custGeom>
              <a:avLst/>
              <a:gdLst>
                <a:gd name="T0" fmla="*/ 1 w 7"/>
                <a:gd name="T1" fmla="*/ 5 h 14"/>
                <a:gd name="T2" fmla="*/ 1 w 7"/>
                <a:gd name="T3" fmla="*/ 9 h 14"/>
                <a:gd name="T4" fmla="*/ 3 w 7"/>
                <a:gd name="T5" fmla="*/ 12 h 14"/>
                <a:gd name="T6" fmla="*/ 6 w 7"/>
                <a:gd name="T7" fmla="*/ 9 h 14"/>
                <a:gd name="T8" fmla="*/ 6 w 7"/>
                <a:gd name="T9" fmla="*/ 4 h 14"/>
                <a:gd name="T10" fmla="*/ 2 w 7"/>
                <a:gd name="T11" fmla="*/ 1 h 14"/>
                <a:gd name="T12" fmla="*/ 1 w 7"/>
                <a:gd name="T13" fmla="*/ 5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1" y="5"/>
                  </a:moveTo>
                  <a:cubicBezTo>
                    <a:pt x="1" y="7"/>
                    <a:pt x="0" y="7"/>
                    <a:pt x="1" y="9"/>
                  </a:cubicBezTo>
                  <a:cubicBezTo>
                    <a:pt x="2" y="12"/>
                    <a:pt x="1" y="14"/>
                    <a:pt x="3" y="12"/>
                  </a:cubicBezTo>
                  <a:cubicBezTo>
                    <a:pt x="5" y="10"/>
                    <a:pt x="5" y="12"/>
                    <a:pt x="6" y="9"/>
                  </a:cubicBezTo>
                  <a:cubicBezTo>
                    <a:pt x="6" y="6"/>
                    <a:pt x="7" y="6"/>
                    <a:pt x="6" y="4"/>
                  </a:cubicBezTo>
                  <a:cubicBezTo>
                    <a:pt x="5" y="2"/>
                    <a:pt x="4" y="0"/>
                    <a:pt x="2" y="1"/>
                  </a:cubicBezTo>
                  <a:cubicBezTo>
                    <a:pt x="0" y="2"/>
                    <a:pt x="1" y="3"/>
                    <a:pt x="1" y="5"/>
                  </a:cubicBezTo>
                  <a:close/>
                </a:path>
              </a:pathLst>
            </a:custGeom>
            <a:solidFill>
              <a:schemeClr val="bg2">
                <a:alpha val="3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75" name="Freeform 1053">
              <a:extLst>
                <a:ext uri="{FF2B5EF4-FFF2-40B4-BE49-F238E27FC236}">
                  <a16:creationId xmlns:a16="http://schemas.microsoft.com/office/drawing/2014/main" id="{AB9BA269-9E10-F248-97AA-08FB352D4E91}"/>
                </a:ext>
              </a:extLst>
            </p:cNvPr>
            <p:cNvSpPr>
              <a:spLocks/>
            </p:cNvSpPr>
            <p:nvPr/>
          </p:nvSpPr>
          <p:spPr bwMode="auto">
            <a:xfrm>
              <a:off x="2593983" y="2297570"/>
              <a:ext cx="7938" cy="15875"/>
            </a:xfrm>
            <a:custGeom>
              <a:avLst/>
              <a:gdLst>
                <a:gd name="T0" fmla="*/ 2 w 8"/>
                <a:gd name="T1" fmla="*/ 5 h 17"/>
                <a:gd name="T2" fmla="*/ 2 w 8"/>
                <a:gd name="T3" fmla="*/ 12 h 17"/>
                <a:gd name="T4" fmla="*/ 4 w 8"/>
                <a:gd name="T5" fmla="*/ 16 h 17"/>
                <a:gd name="T6" fmla="*/ 6 w 8"/>
                <a:gd name="T7" fmla="*/ 13 h 17"/>
                <a:gd name="T8" fmla="*/ 7 w 8"/>
                <a:gd name="T9" fmla="*/ 7 h 17"/>
                <a:gd name="T10" fmla="*/ 4 w 8"/>
                <a:gd name="T11" fmla="*/ 1 h 17"/>
                <a:gd name="T12" fmla="*/ 2 w 8"/>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8" h="17">
                  <a:moveTo>
                    <a:pt x="2" y="5"/>
                  </a:moveTo>
                  <a:cubicBezTo>
                    <a:pt x="2" y="7"/>
                    <a:pt x="2" y="9"/>
                    <a:pt x="2" y="12"/>
                  </a:cubicBezTo>
                  <a:cubicBezTo>
                    <a:pt x="2" y="15"/>
                    <a:pt x="2" y="16"/>
                    <a:pt x="4" y="16"/>
                  </a:cubicBezTo>
                  <a:cubicBezTo>
                    <a:pt x="6" y="15"/>
                    <a:pt x="6" y="17"/>
                    <a:pt x="6" y="13"/>
                  </a:cubicBezTo>
                  <a:cubicBezTo>
                    <a:pt x="7" y="10"/>
                    <a:pt x="8" y="9"/>
                    <a:pt x="7" y="7"/>
                  </a:cubicBezTo>
                  <a:cubicBezTo>
                    <a:pt x="6" y="4"/>
                    <a:pt x="7" y="1"/>
                    <a:pt x="4" y="1"/>
                  </a:cubicBezTo>
                  <a:cubicBezTo>
                    <a:pt x="0" y="0"/>
                    <a:pt x="2" y="1"/>
                    <a:pt x="2" y="5"/>
                  </a:cubicBezTo>
                  <a:close/>
                </a:path>
              </a:pathLst>
            </a:custGeom>
            <a:solidFill>
              <a:schemeClr val="bg2">
                <a:alpha val="3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76" name="Freeform 1054">
              <a:extLst>
                <a:ext uri="{FF2B5EF4-FFF2-40B4-BE49-F238E27FC236}">
                  <a16:creationId xmlns:a16="http://schemas.microsoft.com/office/drawing/2014/main" id="{D1DB968F-F594-7041-8A56-02D991C2827A}"/>
                </a:ext>
              </a:extLst>
            </p:cNvPr>
            <p:cNvSpPr>
              <a:spLocks/>
            </p:cNvSpPr>
            <p:nvPr/>
          </p:nvSpPr>
          <p:spPr bwMode="auto">
            <a:xfrm>
              <a:off x="2589221" y="2270582"/>
              <a:ext cx="9525" cy="15875"/>
            </a:xfrm>
            <a:custGeom>
              <a:avLst/>
              <a:gdLst>
                <a:gd name="T0" fmla="*/ 1 w 10"/>
                <a:gd name="T1" fmla="*/ 2 h 17"/>
                <a:gd name="T2" fmla="*/ 1 w 10"/>
                <a:gd name="T3" fmla="*/ 7 h 17"/>
                <a:gd name="T4" fmla="*/ 4 w 10"/>
                <a:gd name="T5" fmla="*/ 9 h 17"/>
                <a:gd name="T6" fmla="*/ 7 w 10"/>
                <a:gd name="T7" fmla="*/ 12 h 17"/>
                <a:gd name="T8" fmla="*/ 9 w 10"/>
                <a:gd name="T9" fmla="*/ 13 h 17"/>
                <a:gd name="T10" fmla="*/ 9 w 10"/>
                <a:gd name="T11" fmla="*/ 6 h 17"/>
                <a:gd name="T12" fmla="*/ 7 w 10"/>
                <a:gd name="T13" fmla="*/ 2 h 17"/>
                <a:gd name="T14" fmla="*/ 2 w 10"/>
                <a:gd name="T15" fmla="*/ 0 h 17"/>
                <a:gd name="T16" fmla="*/ 1 w 10"/>
                <a:gd name="T17"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7">
                  <a:moveTo>
                    <a:pt x="1" y="2"/>
                  </a:moveTo>
                  <a:cubicBezTo>
                    <a:pt x="1" y="4"/>
                    <a:pt x="0" y="6"/>
                    <a:pt x="1" y="7"/>
                  </a:cubicBezTo>
                  <a:cubicBezTo>
                    <a:pt x="2" y="7"/>
                    <a:pt x="3" y="8"/>
                    <a:pt x="4" y="9"/>
                  </a:cubicBezTo>
                  <a:cubicBezTo>
                    <a:pt x="4" y="11"/>
                    <a:pt x="6" y="11"/>
                    <a:pt x="7" y="12"/>
                  </a:cubicBezTo>
                  <a:cubicBezTo>
                    <a:pt x="8" y="13"/>
                    <a:pt x="9" y="17"/>
                    <a:pt x="9" y="13"/>
                  </a:cubicBezTo>
                  <a:cubicBezTo>
                    <a:pt x="10" y="9"/>
                    <a:pt x="10" y="8"/>
                    <a:pt x="9" y="6"/>
                  </a:cubicBezTo>
                  <a:cubicBezTo>
                    <a:pt x="9" y="3"/>
                    <a:pt x="10" y="4"/>
                    <a:pt x="7" y="2"/>
                  </a:cubicBezTo>
                  <a:cubicBezTo>
                    <a:pt x="3" y="0"/>
                    <a:pt x="3" y="0"/>
                    <a:pt x="2" y="0"/>
                  </a:cubicBezTo>
                  <a:cubicBezTo>
                    <a:pt x="1" y="0"/>
                    <a:pt x="0" y="0"/>
                    <a:pt x="1" y="2"/>
                  </a:cubicBezTo>
                  <a:close/>
                </a:path>
              </a:pathLst>
            </a:custGeom>
            <a:solidFill>
              <a:schemeClr val="bg2">
                <a:alpha val="3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77" name="Freeform 1055">
              <a:extLst>
                <a:ext uri="{FF2B5EF4-FFF2-40B4-BE49-F238E27FC236}">
                  <a16:creationId xmlns:a16="http://schemas.microsoft.com/office/drawing/2014/main" id="{3D28C77D-84D5-EB49-A2DF-007C24868C37}"/>
                </a:ext>
              </a:extLst>
            </p:cNvPr>
            <p:cNvSpPr>
              <a:spLocks/>
            </p:cNvSpPr>
            <p:nvPr/>
          </p:nvSpPr>
          <p:spPr bwMode="auto">
            <a:xfrm>
              <a:off x="2630496" y="2318207"/>
              <a:ext cx="11113" cy="15875"/>
            </a:xfrm>
            <a:custGeom>
              <a:avLst/>
              <a:gdLst>
                <a:gd name="T0" fmla="*/ 4 w 11"/>
                <a:gd name="T1" fmla="*/ 3 h 16"/>
                <a:gd name="T2" fmla="*/ 1 w 11"/>
                <a:gd name="T3" fmla="*/ 11 h 16"/>
                <a:gd name="T4" fmla="*/ 1 w 11"/>
                <a:gd name="T5" fmla="*/ 13 h 16"/>
                <a:gd name="T6" fmla="*/ 4 w 11"/>
                <a:gd name="T7" fmla="*/ 14 h 16"/>
                <a:gd name="T8" fmla="*/ 8 w 11"/>
                <a:gd name="T9" fmla="*/ 10 h 16"/>
                <a:gd name="T10" fmla="*/ 10 w 11"/>
                <a:gd name="T11" fmla="*/ 3 h 16"/>
                <a:gd name="T12" fmla="*/ 8 w 11"/>
                <a:gd name="T13" fmla="*/ 0 h 16"/>
                <a:gd name="T14" fmla="*/ 4 w 11"/>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6">
                  <a:moveTo>
                    <a:pt x="4" y="3"/>
                  </a:moveTo>
                  <a:cubicBezTo>
                    <a:pt x="3" y="7"/>
                    <a:pt x="2" y="10"/>
                    <a:pt x="1" y="11"/>
                  </a:cubicBezTo>
                  <a:cubicBezTo>
                    <a:pt x="1" y="12"/>
                    <a:pt x="0" y="12"/>
                    <a:pt x="1" y="13"/>
                  </a:cubicBezTo>
                  <a:cubicBezTo>
                    <a:pt x="2" y="14"/>
                    <a:pt x="3" y="16"/>
                    <a:pt x="4" y="14"/>
                  </a:cubicBezTo>
                  <a:cubicBezTo>
                    <a:pt x="5" y="13"/>
                    <a:pt x="6" y="12"/>
                    <a:pt x="8" y="10"/>
                  </a:cubicBezTo>
                  <a:cubicBezTo>
                    <a:pt x="10" y="8"/>
                    <a:pt x="11" y="5"/>
                    <a:pt x="10" y="3"/>
                  </a:cubicBezTo>
                  <a:cubicBezTo>
                    <a:pt x="9" y="2"/>
                    <a:pt x="10" y="0"/>
                    <a:pt x="8" y="0"/>
                  </a:cubicBezTo>
                  <a:cubicBezTo>
                    <a:pt x="6" y="0"/>
                    <a:pt x="5" y="2"/>
                    <a:pt x="4" y="3"/>
                  </a:cubicBezTo>
                  <a:close/>
                </a:path>
              </a:pathLst>
            </a:custGeom>
            <a:solidFill>
              <a:schemeClr val="bg2">
                <a:alpha val="3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78" name="Freeform 1056">
              <a:extLst>
                <a:ext uri="{FF2B5EF4-FFF2-40B4-BE49-F238E27FC236}">
                  <a16:creationId xmlns:a16="http://schemas.microsoft.com/office/drawing/2014/main" id="{93EF6BCC-51A1-704D-A8B9-0062A5FE7F65}"/>
                </a:ext>
              </a:extLst>
            </p:cNvPr>
            <p:cNvSpPr>
              <a:spLocks/>
            </p:cNvSpPr>
            <p:nvPr/>
          </p:nvSpPr>
          <p:spPr bwMode="auto">
            <a:xfrm>
              <a:off x="2584458" y="2248357"/>
              <a:ext cx="7938" cy="14288"/>
            </a:xfrm>
            <a:custGeom>
              <a:avLst/>
              <a:gdLst>
                <a:gd name="T0" fmla="*/ 1 w 8"/>
                <a:gd name="T1" fmla="*/ 3 h 15"/>
                <a:gd name="T2" fmla="*/ 1 w 8"/>
                <a:gd name="T3" fmla="*/ 8 h 15"/>
                <a:gd name="T4" fmla="*/ 3 w 8"/>
                <a:gd name="T5" fmla="*/ 12 h 15"/>
                <a:gd name="T6" fmla="*/ 7 w 8"/>
                <a:gd name="T7" fmla="*/ 13 h 15"/>
                <a:gd name="T8" fmla="*/ 8 w 8"/>
                <a:gd name="T9" fmla="*/ 10 h 15"/>
                <a:gd name="T10" fmla="*/ 7 w 8"/>
                <a:gd name="T11" fmla="*/ 5 h 15"/>
                <a:gd name="T12" fmla="*/ 4 w 8"/>
                <a:gd name="T13" fmla="*/ 1 h 15"/>
                <a:gd name="T14" fmla="*/ 1 w 8"/>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5">
                  <a:moveTo>
                    <a:pt x="1" y="3"/>
                  </a:moveTo>
                  <a:cubicBezTo>
                    <a:pt x="2" y="6"/>
                    <a:pt x="1" y="7"/>
                    <a:pt x="1" y="8"/>
                  </a:cubicBezTo>
                  <a:cubicBezTo>
                    <a:pt x="2" y="10"/>
                    <a:pt x="2" y="9"/>
                    <a:pt x="3" y="12"/>
                  </a:cubicBezTo>
                  <a:cubicBezTo>
                    <a:pt x="5" y="14"/>
                    <a:pt x="6" y="15"/>
                    <a:pt x="7" y="13"/>
                  </a:cubicBezTo>
                  <a:cubicBezTo>
                    <a:pt x="8" y="12"/>
                    <a:pt x="8" y="14"/>
                    <a:pt x="8" y="10"/>
                  </a:cubicBezTo>
                  <a:cubicBezTo>
                    <a:pt x="7" y="6"/>
                    <a:pt x="8" y="7"/>
                    <a:pt x="7" y="5"/>
                  </a:cubicBezTo>
                  <a:cubicBezTo>
                    <a:pt x="6" y="2"/>
                    <a:pt x="4" y="1"/>
                    <a:pt x="4" y="1"/>
                  </a:cubicBezTo>
                  <a:cubicBezTo>
                    <a:pt x="3" y="1"/>
                    <a:pt x="0" y="0"/>
                    <a:pt x="1" y="3"/>
                  </a:cubicBezTo>
                  <a:close/>
                </a:path>
              </a:pathLst>
            </a:custGeom>
            <a:solidFill>
              <a:schemeClr val="bg2">
                <a:alpha val="3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79" name="Freeform 1057">
              <a:extLst>
                <a:ext uri="{FF2B5EF4-FFF2-40B4-BE49-F238E27FC236}">
                  <a16:creationId xmlns:a16="http://schemas.microsoft.com/office/drawing/2014/main" id="{A36FDED4-0CE2-C845-ABF0-DB811D911448}"/>
                </a:ext>
              </a:extLst>
            </p:cNvPr>
            <p:cNvSpPr>
              <a:spLocks/>
            </p:cNvSpPr>
            <p:nvPr/>
          </p:nvSpPr>
          <p:spPr bwMode="auto">
            <a:xfrm>
              <a:off x="2574933" y="2227720"/>
              <a:ext cx="17463" cy="22225"/>
            </a:xfrm>
            <a:custGeom>
              <a:avLst/>
              <a:gdLst>
                <a:gd name="T0" fmla="*/ 6 w 18"/>
                <a:gd name="T1" fmla="*/ 3 h 24"/>
                <a:gd name="T2" fmla="*/ 1 w 18"/>
                <a:gd name="T3" fmla="*/ 10 h 24"/>
                <a:gd name="T4" fmla="*/ 3 w 18"/>
                <a:gd name="T5" fmla="*/ 18 h 24"/>
                <a:gd name="T6" fmla="*/ 10 w 18"/>
                <a:gd name="T7" fmla="*/ 10 h 24"/>
                <a:gd name="T8" fmla="*/ 14 w 18"/>
                <a:gd name="T9" fmla="*/ 1 h 24"/>
                <a:gd name="T10" fmla="*/ 6 w 18"/>
                <a:gd name="T11" fmla="*/ 3 h 24"/>
              </a:gdLst>
              <a:ahLst/>
              <a:cxnLst>
                <a:cxn ang="0">
                  <a:pos x="T0" y="T1"/>
                </a:cxn>
                <a:cxn ang="0">
                  <a:pos x="T2" y="T3"/>
                </a:cxn>
                <a:cxn ang="0">
                  <a:pos x="T4" y="T5"/>
                </a:cxn>
                <a:cxn ang="0">
                  <a:pos x="T6" y="T7"/>
                </a:cxn>
                <a:cxn ang="0">
                  <a:pos x="T8" y="T9"/>
                </a:cxn>
                <a:cxn ang="0">
                  <a:pos x="T10" y="T11"/>
                </a:cxn>
              </a:cxnLst>
              <a:rect l="0" t="0" r="r" b="b"/>
              <a:pathLst>
                <a:path w="18" h="24">
                  <a:moveTo>
                    <a:pt x="6" y="3"/>
                  </a:moveTo>
                  <a:cubicBezTo>
                    <a:pt x="3" y="7"/>
                    <a:pt x="1" y="6"/>
                    <a:pt x="1" y="10"/>
                  </a:cubicBezTo>
                  <a:cubicBezTo>
                    <a:pt x="1" y="13"/>
                    <a:pt x="0" y="24"/>
                    <a:pt x="3" y="18"/>
                  </a:cubicBezTo>
                  <a:cubicBezTo>
                    <a:pt x="7" y="12"/>
                    <a:pt x="5" y="11"/>
                    <a:pt x="10" y="10"/>
                  </a:cubicBezTo>
                  <a:cubicBezTo>
                    <a:pt x="16" y="8"/>
                    <a:pt x="18" y="1"/>
                    <a:pt x="14" y="1"/>
                  </a:cubicBezTo>
                  <a:cubicBezTo>
                    <a:pt x="11" y="1"/>
                    <a:pt x="5" y="0"/>
                    <a:pt x="6"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80" name="Freeform 1058">
              <a:extLst>
                <a:ext uri="{FF2B5EF4-FFF2-40B4-BE49-F238E27FC236}">
                  <a16:creationId xmlns:a16="http://schemas.microsoft.com/office/drawing/2014/main" id="{5DD5773F-FA17-4F43-9200-870BBF1C9120}"/>
                </a:ext>
              </a:extLst>
            </p:cNvPr>
            <p:cNvSpPr>
              <a:spLocks/>
            </p:cNvSpPr>
            <p:nvPr/>
          </p:nvSpPr>
          <p:spPr bwMode="auto">
            <a:xfrm>
              <a:off x="2362208" y="2322970"/>
              <a:ext cx="14288" cy="9525"/>
            </a:xfrm>
            <a:custGeom>
              <a:avLst/>
              <a:gdLst>
                <a:gd name="T0" fmla="*/ 3 w 15"/>
                <a:gd name="T1" fmla="*/ 1 h 11"/>
                <a:gd name="T2" fmla="*/ 3 w 15"/>
                <a:gd name="T3" fmla="*/ 6 h 11"/>
                <a:gd name="T4" fmla="*/ 8 w 15"/>
                <a:gd name="T5" fmla="*/ 9 h 11"/>
                <a:gd name="T6" fmla="*/ 11 w 15"/>
                <a:gd name="T7" fmla="*/ 7 h 11"/>
                <a:gd name="T8" fmla="*/ 5 w 15"/>
                <a:gd name="T9" fmla="*/ 1 h 11"/>
                <a:gd name="T10" fmla="*/ 3 w 15"/>
                <a:gd name="T11" fmla="*/ 1 h 11"/>
              </a:gdLst>
              <a:ahLst/>
              <a:cxnLst>
                <a:cxn ang="0">
                  <a:pos x="T0" y="T1"/>
                </a:cxn>
                <a:cxn ang="0">
                  <a:pos x="T2" y="T3"/>
                </a:cxn>
                <a:cxn ang="0">
                  <a:pos x="T4" y="T5"/>
                </a:cxn>
                <a:cxn ang="0">
                  <a:pos x="T6" y="T7"/>
                </a:cxn>
                <a:cxn ang="0">
                  <a:pos x="T8" y="T9"/>
                </a:cxn>
                <a:cxn ang="0">
                  <a:pos x="T10" y="T11"/>
                </a:cxn>
              </a:cxnLst>
              <a:rect l="0" t="0" r="r" b="b"/>
              <a:pathLst>
                <a:path w="15" h="11">
                  <a:moveTo>
                    <a:pt x="3" y="1"/>
                  </a:moveTo>
                  <a:cubicBezTo>
                    <a:pt x="3" y="3"/>
                    <a:pt x="0" y="4"/>
                    <a:pt x="3" y="6"/>
                  </a:cubicBezTo>
                  <a:cubicBezTo>
                    <a:pt x="5" y="8"/>
                    <a:pt x="6" y="9"/>
                    <a:pt x="8" y="9"/>
                  </a:cubicBezTo>
                  <a:cubicBezTo>
                    <a:pt x="9" y="9"/>
                    <a:pt x="15" y="11"/>
                    <a:pt x="11" y="7"/>
                  </a:cubicBezTo>
                  <a:cubicBezTo>
                    <a:pt x="6" y="3"/>
                    <a:pt x="5" y="2"/>
                    <a:pt x="5" y="1"/>
                  </a:cubicBezTo>
                  <a:cubicBezTo>
                    <a:pt x="4" y="0"/>
                    <a:pt x="3" y="0"/>
                    <a:pt x="3" y="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81" name="Freeform 1059">
              <a:extLst>
                <a:ext uri="{FF2B5EF4-FFF2-40B4-BE49-F238E27FC236}">
                  <a16:creationId xmlns:a16="http://schemas.microsoft.com/office/drawing/2014/main" id="{39FAAE11-597E-1642-94D9-D98503941498}"/>
                </a:ext>
              </a:extLst>
            </p:cNvPr>
            <p:cNvSpPr>
              <a:spLocks/>
            </p:cNvSpPr>
            <p:nvPr/>
          </p:nvSpPr>
          <p:spPr bwMode="auto">
            <a:xfrm>
              <a:off x="2373320" y="2310270"/>
              <a:ext cx="23813" cy="12700"/>
            </a:xfrm>
            <a:custGeom>
              <a:avLst/>
              <a:gdLst>
                <a:gd name="T0" fmla="*/ 15 w 15"/>
                <a:gd name="T1" fmla="*/ 1 h 8"/>
                <a:gd name="T2" fmla="*/ 14 w 15"/>
                <a:gd name="T3" fmla="*/ 0 h 8"/>
                <a:gd name="T4" fmla="*/ 3 w 15"/>
                <a:gd name="T5" fmla="*/ 6 h 8"/>
                <a:gd name="T6" fmla="*/ 3 w 15"/>
                <a:gd name="T7" fmla="*/ 5 h 8"/>
                <a:gd name="T8" fmla="*/ 0 w 15"/>
                <a:gd name="T9" fmla="*/ 8 h 8"/>
                <a:gd name="T10" fmla="*/ 5 w 15"/>
                <a:gd name="T11" fmla="*/ 8 h 8"/>
                <a:gd name="T12" fmla="*/ 4 w 15"/>
                <a:gd name="T13" fmla="*/ 7 h 8"/>
                <a:gd name="T14" fmla="*/ 15 w 15"/>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8">
                  <a:moveTo>
                    <a:pt x="15" y="1"/>
                  </a:moveTo>
                  <a:lnTo>
                    <a:pt x="14" y="0"/>
                  </a:lnTo>
                  <a:lnTo>
                    <a:pt x="3" y="6"/>
                  </a:lnTo>
                  <a:lnTo>
                    <a:pt x="3" y="5"/>
                  </a:lnTo>
                  <a:lnTo>
                    <a:pt x="0" y="8"/>
                  </a:lnTo>
                  <a:lnTo>
                    <a:pt x="5" y="8"/>
                  </a:lnTo>
                  <a:lnTo>
                    <a:pt x="4" y="7"/>
                  </a:lnTo>
                  <a:lnTo>
                    <a:pt x="15" y="1"/>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82" name="Freeform 1060">
              <a:extLst>
                <a:ext uri="{FF2B5EF4-FFF2-40B4-BE49-F238E27FC236}">
                  <a16:creationId xmlns:a16="http://schemas.microsoft.com/office/drawing/2014/main" id="{846E26F7-8688-2E42-9331-712DF10EE796}"/>
                </a:ext>
              </a:extLst>
            </p:cNvPr>
            <p:cNvSpPr>
              <a:spLocks/>
            </p:cNvSpPr>
            <p:nvPr/>
          </p:nvSpPr>
          <p:spPr bwMode="auto">
            <a:xfrm>
              <a:off x="2386020" y="2327732"/>
              <a:ext cx="15875" cy="23813"/>
            </a:xfrm>
            <a:custGeom>
              <a:avLst/>
              <a:gdLst>
                <a:gd name="T0" fmla="*/ 11 w 17"/>
                <a:gd name="T1" fmla="*/ 24 h 26"/>
                <a:gd name="T2" fmla="*/ 15 w 17"/>
                <a:gd name="T3" fmla="*/ 17 h 26"/>
                <a:gd name="T4" fmla="*/ 10 w 17"/>
                <a:gd name="T5" fmla="*/ 9 h 26"/>
                <a:gd name="T6" fmla="*/ 4 w 17"/>
                <a:gd name="T7" fmla="*/ 9 h 26"/>
                <a:gd name="T8" fmla="*/ 8 w 17"/>
                <a:gd name="T9" fmla="*/ 23 h 26"/>
                <a:gd name="T10" fmla="*/ 11 w 17"/>
                <a:gd name="T11" fmla="*/ 24 h 26"/>
              </a:gdLst>
              <a:ahLst/>
              <a:cxnLst>
                <a:cxn ang="0">
                  <a:pos x="T0" y="T1"/>
                </a:cxn>
                <a:cxn ang="0">
                  <a:pos x="T2" y="T3"/>
                </a:cxn>
                <a:cxn ang="0">
                  <a:pos x="T4" y="T5"/>
                </a:cxn>
                <a:cxn ang="0">
                  <a:pos x="T6" y="T7"/>
                </a:cxn>
                <a:cxn ang="0">
                  <a:pos x="T8" y="T9"/>
                </a:cxn>
                <a:cxn ang="0">
                  <a:pos x="T10" y="T11"/>
                </a:cxn>
              </a:cxnLst>
              <a:rect l="0" t="0" r="r" b="b"/>
              <a:pathLst>
                <a:path w="17" h="26">
                  <a:moveTo>
                    <a:pt x="11" y="24"/>
                  </a:moveTo>
                  <a:cubicBezTo>
                    <a:pt x="13" y="22"/>
                    <a:pt x="17" y="21"/>
                    <a:pt x="15" y="17"/>
                  </a:cubicBezTo>
                  <a:cubicBezTo>
                    <a:pt x="13" y="13"/>
                    <a:pt x="13" y="11"/>
                    <a:pt x="10" y="9"/>
                  </a:cubicBezTo>
                  <a:cubicBezTo>
                    <a:pt x="8" y="7"/>
                    <a:pt x="0" y="0"/>
                    <a:pt x="4" y="9"/>
                  </a:cubicBezTo>
                  <a:cubicBezTo>
                    <a:pt x="8" y="19"/>
                    <a:pt x="9" y="21"/>
                    <a:pt x="8" y="23"/>
                  </a:cubicBezTo>
                  <a:cubicBezTo>
                    <a:pt x="8" y="25"/>
                    <a:pt x="10" y="26"/>
                    <a:pt x="11" y="24"/>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83" name="Freeform 1061">
              <a:extLst>
                <a:ext uri="{FF2B5EF4-FFF2-40B4-BE49-F238E27FC236}">
                  <a16:creationId xmlns:a16="http://schemas.microsoft.com/office/drawing/2014/main" id="{55ADE245-0336-E04D-BF8F-E6A131CDB594}"/>
                </a:ext>
              </a:extLst>
            </p:cNvPr>
            <p:cNvSpPr>
              <a:spLocks/>
            </p:cNvSpPr>
            <p:nvPr/>
          </p:nvSpPr>
          <p:spPr bwMode="auto">
            <a:xfrm>
              <a:off x="2503496" y="2192795"/>
              <a:ext cx="17463" cy="9525"/>
            </a:xfrm>
            <a:custGeom>
              <a:avLst/>
              <a:gdLst>
                <a:gd name="T0" fmla="*/ 10 w 19"/>
                <a:gd name="T1" fmla="*/ 0 h 10"/>
                <a:gd name="T2" fmla="*/ 16 w 19"/>
                <a:gd name="T3" fmla="*/ 6 h 10"/>
                <a:gd name="T4" fmla="*/ 10 w 19"/>
                <a:gd name="T5" fmla="*/ 9 h 10"/>
                <a:gd name="T6" fmla="*/ 1 w 19"/>
                <a:gd name="T7" fmla="*/ 4 h 10"/>
                <a:gd name="T8" fmla="*/ 10 w 19"/>
                <a:gd name="T9" fmla="*/ 0 h 10"/>
              </a:gdLst>
              <a:ahLst/>
              <a:cxnLst>
                <a:cxn ang="0">
                  <a:pos x="T0" y="T1"/>
                </a:cxn>
                <a:cxn ang="0">
                  <a:pos x="T2" y="T3"/>
                </a:cxn>
                <a:cxn ang="0">
                  <a:pos x="T4" y="T5"/>
                </a:cxn>
                <a:cxn ang="0">
                  <a:pos x="T6" y="T7"/>
                </a:cxn>
                <a:cxn ang="0">
                  <a:pos x="T8" y="T9"/>
                </a:cxn>
              </a:cxnLst>
              <a:rect l="0" t="0" r="r" b="b"/>
              <a:pathLst>
                <a:path w="19" h="10">
                  <a:moveTo>
                    <a:pt x="10" y="0"/>
                  </a:moveTo>
                  <a:cubicBezTo>
                    <a:pt x="14" y="0"/>
                    <a:pt x="19" y="3"/>
                    <a:pt x="16" y="6"/>
                  </a:cubicBezTo>
                  <a:cubicBezTo>
                    <a:pt x="14" y="8"/>
                    <a:pt x="14" y="10"/>
                    <a:pt x="10" y="9"/>
                  </a:cubicBezTo>
                  <a:cubicBezTo>
                    <a:pt x="5" y="8"/>
                    <a:pt x="0" y="6"/>
                    <a:pt x="1" y="4"/>
                  </a:cubicBezTo>
                  <a:cubicBezTo>
                    <a:pt x="2" y="2"/>
                    <a:pt x="10" y="0"/>
                    <a:pt x="10" y="0"/>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84" name="Freeform 1062">
              <a:extLst>
                <a:ext uri="{FF2B5EF4-FFF2-40B4-BE49-F238E27FC236}">
                  <a16:creationId xmlns:a16="http://schemas.microsoft.com/office/drawing/2014/main" id="{A998FEA8-CDC8-614D-9EB2-890F80F39009}"/>
                </a:ext>
              </a:extLst>
            </p:cNvPr>
            <p:cNvSpPr>
              <a:spLocks/>
            </p:cNvSpPr>
            <p:nvPr/>
          </p:nvSpPr>
          <p:spPr bwMode="auto">
            <a:xfrm>
              <a:off x="2501908" y="2167394"/>
              <a:ext cx="28575" cy="7938"/>
            </a:xfrm>
            <a:custGeom>
              <a:avLst/>
              <a:gdLst>
                <a:gd name="T0" fmla="*/ 0 w 29"/>
                <a:gd name="T1" fmla="*/ 6 h 8"/>
                <a:gd name="T2" fmla="*/ 15 w 29"/>
                <a:gd name="T3" fmla="*/ 2 h 8"/>
                <a:gd name="T4" fmla="*/ 24 w 29"/>
                <a:gd name="T5" fmla="*/ 5 h 8"/>
                <a:gd name="T6" fmla="*/ 10 w 29"/>
                <a:gd name="T7" fmla="*/ 8 h 8"/>
                <a:gd name="T8" fmla="*/ 0 w 29"/>
                <a:gd name="T9" fmla="*/ 6 h 8"/>
              </a:gdLst>
              <a:ahLst/>
              <a:cxnLst>
                <a:cxn ang="0">
                  <a:pos x="T0" y="T1"/>
                </a:cxn>
                <a:cxn ang="0">
                  <a:pos x="T2" y="T3"/>
                </a:cxn>
                <a:cxn ang="0">
                  <a:pos x="T4" y="T5"/>
                </a:cxn>
                <a:cxn ang="0">
                  <a:pos x="T6" y="T7"/>
                </a:cxn>
                <a:cxn ang="0">
                  <a:pos x="T8" y="T9"/>
                </a:cxn>
              </a:cxnLst>
              <a:rect l="0" t="0" r="r" b="b"/>
              <a:pathLst>
                <a:path w="29" h="8">
                  <a:moveTo>
                    <a:pt x="0" y="6"/>
                  </a:moveTo>
                  <a:cubicBezTo>
                    <a:pt x="8" y="5"/>
                    <a:pt x="9" y="0"/>
                    <a:pt x="15" y="2"/>
                  </a:cubicBezTo>
                  <a:cubicBezTo>
                    <a:pt x="20" y="4"/>
                    <a:pt x="29" y="2"/>
                    <a:pt x="24" y="5"/>
                  </a:cubicBezTo>
                  <a:cubicBezTo>
                    <a:pt x="19" y="7"/>
                    <a:pt x="13" y="8"/>
                    <a:pt x="10" y="8"/>
                  </a:cubicBezTo>
                  <a:cubicBezTo>
                    <a:pt x="8" y="8"/>
                    <a:pt x="0" y="6"/>
                    <a:pt x="0"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85" name="Freeform 1063">
              <a:extLst>
                <a:ext uri="{FF2B5EF4-FFF2-40B4-BE49-F238E27FC236}">
                  <a16:creationId xmlns:a16="http://schemas.microsoft.com/office/drawing/2014/main" id="{A03E0D05-1FB5-0540-87AA-3D50FBC3F40F}"/>
                </a:ext>
              </a:extLst>
            </p:cNvPr>
            <p:cNvSpPr>
              <a:spLocks/>
            </p:cNvSpPr>
            <p:nvPr/>
          </p:nvSpPr>
          <p:spPr bwMode="auto">
            <a:xfrm>
              <a:off x="2528896" y="2168982"/>
              <a:ext cx="33338" cy="6350"/>
            </a:xfrm>
            <a:custGeom>
              <a:avLst/>
              <a:gdLst>
                <a:gd name="T0" fmla="*/ 21 w 21"/>
                <a:gd name="T1" fmla="*/ 1 h 4"/>
                <a:gd name="T2" fmla="*/ 17 w 21"/>
                <a:gd name="T3" fmla="*/ 0 h 4"/>
                <a:gd name="T4" fmla="*/ 18 w 21"/>
                <a:gd name="T5" fmla="*/ 0 h 4"/>
                <a:gd name="T6" fmla="*/ 0 w 21"/>
                <a:gd name="T7" fmla="*/ 3 h 4"/>
                <a:gd name="T8" fmla="*/ 0 w 21"/>
                <a:gd name="T9" fmla="*/ 4 h 4"/>
                <a:gd name="T10" fmla="*/ 18 w 21"/>
                <a:gd name="T11" fmla="*/ 2 h 4"/>
                <a:gd name="T12" fmla="*/ 18 w 21"/>
                <a:gd name="T13" fmla="*/ 3 h 4"/>
                <a:gd name="T14" fmla="*/ 21 w 21"/>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
                  <a:moveTo>
                    <a:pt x="21" y="1"/>
                  </a:moveTo>
                  <a:lnTo>
                    <a:pt x="17" y="0"/>
                  </a:lnTo>
                  <a:lnTo>
                    <a:pt x="18" y="0"/>
                  </a:lnTo>
                  <a:lnTo>
                    <a:pt x="0" y="3"/>
                  </a:lnTo>
                  <a:lnTo>
                    <a:pt x="0" y="4"/>
                  </a:lnTo>
                  <a:lnTo>
                    <a:pt x="18" y="2"/>
                  </a:lnTo>
                  <a:lnTo>
                    <a:pt x="18" y="3"/>
                  </a:lnTo>
                  <a:lnTo>
                    <a:pt x="21" y="1"/>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86" name="Freeform 1064">
              <a:extLst>
                <a:ext uri="{FF2B5EF4-FFF2-40B4-BE49-F238E27FC236}">
                  <a16:creationId xmlns:a16="http://schemas.microsoft.com/office/drawing/2014/main" id="{A5C4A74F-543E-7145-A3FA-36021D306F6E}"/>
                </a:ext>
              </a:extLst>
            </p:cNvPr>
            <p:cNvSpPr>
              <a:spLocks/>
            </p:cNvSpPr>
            <p:nvPr/>
          </p:nvSpPr>
          <p:spPr bwMode="auto">
            <a:xfrm>
              <a:off x="2562233" y="2203907"/>
              <a:ext cx="30163" cy="23813"/>
            </a:xfrm>
            <a:custGeom>
              <a:avLst/>
              <a:gdLst>
                <a:gd name="T0" fmla="*/ 7 w 32"/>
                <a:gd name="T1" fmla="*/ 5 h 25"/>
                <a:gd name="T2" fmla="*/ 1 w 32"/>
                <a:gd name="T3" fmla="*/ 16 h 25"/>
                <a:gd name="T4" fmla="*/ 8 w 32"/>
                <a:gd name="T5" fmla="*/ 21 h 25"/>
                <a:gd name="T6" fmla="*/ 12 w 32"/>
                <a:gd name="T7" fmla="*/ 14 h 25"/>
                <a:gd name="T8" fmla="*/ 22 w 32"/>
                <a:gd name="T9" fmla="*/ 10 h 25"/>
                <a:gd name="T10" fmla="*/ 22 w 32"/>
                <a:gd name="T11" fmla="*/ 4 h 25"/>
                <a:gd name="T12" fmla="*/ 7 w 32"/>
                <a:gd name="T13" fmla="*/ 5 h 25"/>
              </a:gdLst>
              <a:ahLst/>
              <a:cxnLst>
                <a:cxn ang="0">
                  <a:pos x="T0" y="T1"/>
                </a:cxn>
                <a:cxn ang="0">
                  <a:pos x="T2" y="T3"/>
                </a:cxn>
                <a:cxn ang="0">
                  <a:pos x="T4" y="T5"/>
                </a:cxn>
                <a:cxn ang="0">
                  <a:pos x="T6" y="T7"/>
                </a:cxn>
                <a:cxn ang="0">
                  <a:pos x="T8" y="T9"/>
                </a:cxn>
                <a:cxn ang="0">
                  <a:pos x="T10" y="T11"/>
                </a:cxn>
                <a:cxn ang="0">
                  <a:pos x="T12" y="T13"/>
                </a:cxn>
              </a:cxnLst>
              <a:rect l="0" t="0" r="r" b="b"/>
              <a:pathLst>
                <a:path w="32" h="25">
                  <a:moveTo>
                    <a:pt x="7" y="5"/>
                  </a:moveTo>
                  <a:cubicBezTo>
                    <a:pt x="6" y="11"/>
                    <a:pt x="0" y="12"/>
                    <a:pt x="1" y="16"/>
                  </a:cubicBezTo>
                  <a:cubicBezTo>
                    <a:pt x="2" y="20"/>
                    <a:pt x="5" y="25"/>
                    <a:pt x="8" y="21"/>
                  </a:cubicBezTo>
                  <a:cubicBezTo>
                    <a:pt x="12" y="16"/>
                    <a:pt x="10" y="16"/>
                    <a:pt x="12" y="14"/>
                  </a:cubicBezTo>
                  <a:cubicBezTo>
                    <a:pt x="15" y="12"/>
                    <a:pt x="20" y="10"/>
                    <a:pt x="22" y="10"/>
                  </a:cubicBezTo>
                  <a:cubicBezTo>
                    <a:pt x="24" y="9"/>
                    <a:pt x="32" y="7"/>
                    <a:pt x="22" y="4"/>
                  </a:cubicBezTo>
                  <a:cubicBezTo>
                    <a:pt x="12" y="0"/>
                    <a:pt x="7" y="1"/>
                    <a:pt x="7"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87" name="Freeform 1065">
              <a:extLst>
                <a:ext uri="{FF2B5EF4-FFF2-40B4-BE49-F238E27FC236}">
                  <a16:creationId xmlns:a16="http://schemas.microsoft.com/office/drawing/2014/main" id="{F454B629-1708-A44E-AEC0-DC8E853D1717}"/>
                </a:ext>
              </a:extLst>
            </p:cNvPr>
            <p:cNvSpPr>
              <a:spLocks/>
            </p:cNvSpPr>
            <p:nvPr/>
          </p:nvSpPr>
          <p:spPr bwMode="auto">
            <a:xfrm>
              <a:off x="2592396" y="2186445"/>
              <a:ext cx="15875" cy="9525"/>
            </a:xfrm>
            <a:custGeom>
              <a:avLst/>
              <a:gdLst>
                <a:gd name="T0" fmla="*/ 2 w 16"/>
                <a:gd name="T1" fmla="*/ 8 h 10"/>
                <a:gd name="T2" fmla="*/ 2 w 16"/>
                <a:gd name="T3" fmla="*/ 2 h 10"/>
                <a:gd name="T4" fmla="*/ 10 w 16"/>
                <a:gd name="T5" fmla="*/ 0 h 10"/>
                <a:gd name="T6" fmla="*/ 16 w 16"/>
                <a:gd name="T7" fmla="*/ 4 h 10"/>
                <a:gd name="T8" fmla="*/ 10 w 16"/>
                <a:gd name="T9" fmla="*/ 10 h 10"/>
                <a:gd name="T10" fmla="*/ 2 w 16"/>
                <a:gd name="T11" fmla="*/ 8 h 10"/>
              </a:gdLst>
              <a:ahLst/>
              <a:cxnLst>
                <a:cxn ang="0">
                  <a:pos x="T0" y="T1"/>
                </a:cxn>
                <a:cxn ang="0">
                  <a:pos x="T2" y="T3"/>
                </a:cxn>
                <a:cxn ang="0">
                  <a:pos x="T4" y="T5"/>
                </a:cxn>
                <a:cxn ang="0">
                  <a:pos x="T6" y="T7"/>
                </a:cxn>
                <a:cxn ang="0">
                  <a:pos x="T8" y="T9"/>
                </a:cxn>
                <a:cxn ang="0">
                  <a:pos x="T10" y="T11"/>
                </a:cxn>
              </a:cxnLst>
              <a:rect l="0" t="0" r="r" b="b"/>
              <a:pathLst>
                <a:path w="16" h="10">
                  <a:moveTo>
                    <a:pt x="2" y="8"/>
                  </a:moveTo>
                  <a:cubicBezTo>
                    <a:pt x="1" y="6"/>
                    <a:pt x="0" y="4"/>
                    <a:pt x="2" y="2"/>
                  </a:cubicBezTo>
                  <a:cubicBezTo>
                    <a:pt x="4" y="1"/>
                    <a:pt x="9" y="0"/>
                    <a:pt x="10" y="0"/>
                  </a:cubicBezTo>
                  <a:cubicBezTo>
                    <a:pt x="11" y="0"/>
                    <a:pt x="16" y="0"/>
                    <a:pt x="16" y="4"/>
                  </a:cubicBezTo>
                  <a:cubicBezTo>
                    <a:pt x="16" y="8"/>
                    <a:pt x="13" y="10"/>
                    <a:pt x="10" y="10"/>
                  </a:cubicBezTo>
                  <a:cubicBezTo>
                    <a:pt x="7" y="10"/>
                    <a:pt x="2" y="8"/>
                    <a:pt x="2" y="8"/>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88" name="Freeform 1066">
              <a:extLst>
                <a:ext uri="{FF2B5EF4-FFF2-40B4-BE49-F238E27FC236}">
                  <a16:creationId xmlns:a16="http://schemas.microsoft.com/office/drawing/2014/main" id="{F1A8C4EF-F2A9-4F4A-B721-704AD4E6E2A4}"/>
                </a:ext>
              </a:extLst>
            </p:cNvPr>
            <p:cNvSpPr>
              <a:spLocks/>
            </p:cNvSpPr>
            <p:nvPr/>
          </p:nvSpPr>
          <p:spPr bwMode="auto">
            <a:xfrm>
              <a:off x="2609859" y="2175332"/>
              <a:ext cx="7938" cy="9525"/>
            </a:xfrm>
            <a:custGeom>
              <a:avLst/>
              <a:gdLst>
                <a:gd name="T0" fmla="*/ 0 w 9"/>
                <a:gd name="T1" fmla="*/ 2 h 9"/>
                <a:gd name="T2" fmla="*/ 3 w 9"/>
                <a:gd name="T3" fmla="*/ 0 h 9"/>
                <a:gd name="T4" fmla="*/ 6 w 9"/>
                <a:gd name="T5" fmla="*/ 3 h 9"/>
                <a:gd name="T6" fmla="*/ 7 w 9"/>
                <a:gd name="T7" fmla="*/ 7 h 9"/>
                <a:gd name="T8" fmla="*/ 2 w 9"/>
                <a:gd name="T9" fmla="*/ 7 h 9"/>
                <a:gd name="T10" fmla="*/ 0 w 9"/>
                <a:gd name="T11" fmla="*/ 2 h 9"/>
              </a:gdLst>
              <a:ahLst/>
              <a:cxnLst>
                <a:cxn ang="0">
                  <a:pos x="T0" y="T1"/>
                </a:cxn>
                <a:cxn ang="0">
                  <a:pos x="T2" y="T3"/>
                </a:cxn>
                <a:cxn ang="0">
                  <a:pos x="T4" y="T5"/>
                </a:cxn>
                <a:cxn ang="0">
                  <a:pos x="T6" y="T7"/>
                </a:cxn>
                <a:cxn ang="0">
                  <a:pos x="T8" y="T9"/>
                </a:cxn>
                <a:cxn ang="0">
                  <a:pos x="T10" y="T11"/>
                </a:cxn>
              </a:cxnLst>
              <a:rect l="0" t="0" r="r" b="b"/>
              <a:pathLst>
                <a:path w="9" h="9">
                  <a:moveTo>
                    <a:pt x="0" y="2"/>
                  </a:moveTo>
                  <a:cubicBezTo>
                    <a:pt x="0" y="1"/>
                    <a:pt x="1" y="0"/>
                    <a:pt x="3" y="0"/>
                  </a:cubicBezTo>
                  <a:cubicBezTo>
                    <a:pt x="4" y="0"/>
                    <a:pt x="6" y="3"/>
                    <a:pt x="6" y="3"/>
                  </a:cubicBezTo>
                  <a:cubicBezTo>
                    <a:pt x="7" y="3"/>
                    <a:pt x="9" y="6"/>
                    <a:pt x="7" y="7"/>
                  </a:cubicBezTo>
                  <a:cubicBezTo>
                    <a:pt x="5" y="9"/>
                    <a:pt x="3" y="9"/>
                    <a:pt x="2" y="7"/>
                  </a:cubicBezTo>
                  <a:cubicBezTo>
                    <a:pt x="0" y="5"/>
                    <a:pt x="0" y="2"/>
                    <a:pt x="0"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89" name="Freeform 1067">
              <a:extLst>
                <a:ext uri="{FF2B5EF4-FFF2-40B4-BE49-F238E27FC236}">
                  <a16:creationId xmlns:a16="http://schemas.microsoft.com/office/drawing/2014/main" id="{CF639CC2-F04F-5D47-A055-BEF4CBB739EC}"/>
                </a:ext>
              </a:extLst>
            </p:cNvPr>
            <p:cNvSpPr>
              <a:spLocks/>
            </p:cNvSpPr>
            <p:nvPr/>
          </p:nvSpPr>
          <p:spPr bwMode="auto">
            <a:xfrm>
              <a:off x="2611446" y="2186445"/>
              <a:ext cx="23813" cy="4763"/>
            </a:xfrm>
            <a:custGeom>
              <a:avLst/>
              <a:gdLst>
                <a:gd name="T0" fmla="*/ 15 w 15"/>
                <a:gd name="T1" fmla="*/ 2 h 3"/>
                <a:gd name="T2" fmla="*/ 12 w 15"/>
                <a:gd name="T3" fmla="*/ 1 h 3"/>
                <a:gd name="T4" fmla="*/ 12 w 15"/>
                <a:gd name="T5" fmla="*/ 1 h 3"/>
                <a:gd name="T6" fmla="*/ 0 w 15"/>
                <a:gd name="T7" fmla="*/ 0 h 3"/>
                <a:gd name="T8" fmla="*/ 0 w 15"/>
                <a:gd name="T9" fmla="*/ 1 h 3"/>
                <a:gd name="T10" fmla="*/ 12 w 15"/>
                <a:gd name="T11" fmla="*/ 2 h 3"/>
                <a:gd name="T12" fmla="*/ 12 w 15"/>
                <a:gd name="T13" fmla="*/ 3 h 3"/>
                <a:gd name="T14" fmla="*/ 15 w 15"/>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
                  <a:moveTo>
                    <a:pt x="15" y="2"/>
                  </a:moveTo>
                  <a:lnTo>
                    <a:pt x="12" y="1"/>
                  </a:lnTo>
                  <a:lnTo>
                    <a:pt x="12" y="1"/>
                  </a:lnTo>
                  <a:lnTo>
                    <a:pt x="0" y="0"/>
                  </a:lnTo>
                  <a:lnTo>
                    <a:pt x="0" y="1"/>
                  </a:lnTo>
                  <a:lnTo>
                    <a:pt x="12" y="2"/>
                  </a:lnTo>
                  <a:lnTo>
                    <a:pt x="12" y="3"/>
                  </a:lnTo>
                  <a:lnTo>
                    <a:pt x="15" y="2"/>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90" name="Freeform 1068">
              <a:extLst>
                <a:ext uri="{FF2B5EF4-FFF2-40B4-BE49-F238E27FC236}">
                  <a16:creationId xmlns:a16="http://schemas.microsoft.com/office/drawing/2014/main" id="{9772D841-C543-8040-827F-9B83F3A8EF02}"/>
                </a:ext>
              </a:extLst>
            </p:cNvPr>
            <p:cNvSpPr>
              <a:spLocks/>
            </p:cNvSpPr>
            <p:nvPr/>
          </p:nvSpPr>
          <p:spPr bwMode="auto">
            <a:xfrm>
              <a:off x="2214570" y="1994357"/>
              <a:ext cx="20638" cy="41275"/>
            </a:xfrm>
            <a:custGeom>
              <a:avLst/>
              <a:gdLst>
                <a:gd name="T0" fmla="*/ 16 w 22"/>
                <a:gd name="T1" fmla="*/ 21 h 44"/>
                <a:gd name="T2" fmla="*/ 19 w 22"/>
                <a:gd name="T3" fmla="*/ 15 h 44"/>
                <a:gd name="T4" fmla="*/ 15 w 22"/>
                <a:gd name="T5" fmla="*/ 8 h 44"/>
                <a:gd name="T6" fmla="*/ 12 w 22"/>
                <a:gd name="T7" fmla="*/ 0 h 44"/>
                <a:gd name="T8" fmla="*/ 9 w 22"/>
                <a:gd name="T9" fmla="*/ 3 h 44"/>
                <a:gd name="T10" fmla="*/ 6 w 22"/>
                <a:gd name="T11" fmla="*/ 11 h 44"/>
                <a:gd name="T12" fmla="*/ 3 w 22"/>
                <a:gd name="T13" fmla="*/ 15 h 44"/>
                <a:gd name="T14" fmla="*/ 1 w 22"/>
                <a:gd name="T15" fmla="*/ 19 h 44"/>
                <a:gd name="T16" fmla="*/ 6 w 22"/>
                <a:gd name="T17" fmla="*/ 22 h 44"/>
                <a:gd name="T18" fmla="*/ 11 w 22"/>
                <a:gd name="T19" fmla="*/ 31 h 44"/>
                <a:gd name="T20" fmla="*/ 13 w 22"/>
                <a:gd name="T21" fmla="*/ 38 h 44"/>
                <a:gd name="T22" fmla="*/ 15 w 22"/>
                <a:gd name="T23" fmla="*/ 43 h 44"/>
                <a:gd name="T24" fmla="*/ 20 w 22"/>
                <a:gd name="T25" fmla="*/ 41 h 44"/>
                <a:gd name="T26" fmla="*/ 21 w 22"/>
                <a:gd name="T27" fmla="*/ 33 h 44"/>
                <a:gd name="T28" fmla="*/ 16 w 22"/>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44">
                  <a:moveTo>
                    <a:pt x="16" y="21"/>
                  </a:moveTo>
                  <a:cubicBezTo>
                    <a:pt x="18" y="17"/>
                    <a:pt x="22" y="19"/>
                    <a:pt x="19" y="15"/>
                  </a:cubicBezTo>
                  <a:cubicBezTo>
                    <a:pt x="15" y="10"/>
                    <a:pt x="15" y="11"/>
                    <a:pt x="15" y="8"/>
                  </a:cubicBezTo>
                  <a:cubicBezTo>
                    <a:pt x="15" y="4"/>
                    <a:pt x="14" y="0"/>
                    <a:pt x="12" y="0"/>
                  </a:cubicBezTo>
                  <a:cubicBezTo>
                    <a:pt x="11" y="0"/>
                    <a:pt x="7" y="0"/>
                    <a:pt x="9" y="3"/>
                  </a:cubicBezTo>
                  <a:cubicBezTo>
                    <a:pt x="9" y="7"/>
                    <a:pt x="6" y="9"/>
                    <a:pt x="6" y="11"/>
                  </a:cubicBezTo>
                  <a:cubicBezTo>
                    <a:pt x="6" y="13"/>
                    <a:pt x="4" y="13"/>
                    <a:pt x="3" y="15"/>
                  </a:cubicBezTo>
                  <a:cubicBezTo>
                    <a:pt x="1" y="16"/>
                    <a:pt x="0" y="19"/>
                    <a:pt x="1" y="19"/>
                  </a:cubicBezTo>
                  <a:cubicBezTo>
                    <a:pt x="2" y="20"/>
                    <a:pt x="5" y="20"/>
                    <a:pt x="6" y="22"/>
                  </a:cubicBezTo>
                  <a:cubicBezTo>
                    <a:pt x="11" y="31"/>
                    <a:pt x="11" y="31"/>
                    <a:pt x="11" y="31"/>
                  </a:cubicBezTo>
                  <a:cubicBezTo>
                    <a:pt x="11" y="34"/>
                    <a:pt x="13" y="35"/>
                    <a:pt x="13" y="38"/>
                  </a:cubicBezTo>
                  <a:cubicBezTo>
                    <a:pt x="14" y="41"/>
                    <a:pt x="14" y="43"/>
                    <a:pt x="15" y="43"/>
                  </a:cubicBezTo>
                  <a:cubicBezTo>
                    <a:pt x="17" y="43"/>
                    <a:pt x="18" y="44"/>
                    <a:pt x="20" y="41"/>
                  </a:cubicBezTo>
                  <a:cubicBezTo>
                    <a:pt x="21" y="37"/>
                    <a:pt x="22" y="37"/>
                    <a:pt x="21" y="33"/>
                  </a:cubicBezTo>
                  <a:lnTo>
                    <a:pt x="16" y="21"/>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91" name="Freeform 1069">
              <a:extLst>
                <a:ext uri="{FF2B5EF4-FFF2-40B4-BE49-F238E27FC236}">
                  <a16:creationId xmlns:a16="http://schemas.microsoft.com/office/drawing/2014/main" id="{691C66B0-A6A8-8D4B-8C56-75CAA2839037}"/>
                </a:ext>
              </a:extLst>
            </p:cNvPr>
            <p:cNvSpPr>
              <a:spLocks/>
            </p:cNvSpPr>
            <p:nvPr/>
          </p:nvSpPr>
          <p:spPr bwMode="auto">
            <a:xfrm>
              <a:off x="2211395" y="1951494"/>
              <a:ext cx="26988" cy="11113"/>
            </a:xfrm>
            <a:custGeom>
              <a:avLst/>
              <a:gdLst>
                <a:gd name="T0" fmla="*/ 12 w 28"/>
                <a:gd name="T1" fmla="*/ 2 h 11"/>
                <a:gd name="T2" fmla="*/ 8 w 28"/>
                <a:gd name="T3" fmla="*/ 6 h 11"/>
                <a:gd name="T4" fmla="*/ 4 w 28"/>
                <a:gd name="T5" fmla="*/ 7 h 11"/>
                <a:gd name="T6" fmla="*/ 11 w 28"/>
                <a:gd name="T7" fmla="*/ 10 h 11"/>
                <a:gd name="T8" fmla="*/ 19 w 28"/>
                <a:gd name="T9" fmla="*/ 7 h 11"/>
                <a:gd name="T10" fmla="*/ 27 w 28"/>
                <a:gd name="T11" fmla="*/ 4 h 11"/>
                <a:gd name="T12" fmla="*/ 21 w 28"/>
                <a:gd name="T13" fmla="*/ 0 h 11"/>
                <a:gd name="T14" fmla="*/ 12 w 28"/>
                <a:gd name="T15" fmla="*/ 2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1">
                  <a:moveTo>
                    <a:pt x="12" y="2"/>
                  </a:moveTo>
                  <a:cubicBezTo>
                    <a:pt x="11" y="4"/>
                    <a:pt x="10" y="5"/>
                    <a:pt x="8" y="6"/>
                  </a:cubicBezTo>
                  <a:cubicBezTo>
                    <a:pt x="6" y="6"/>
                    <a:pt x="0" y="4"/>
                    <a:pt x="4" y="7"/>
                  </a:cubicBezTo>
                  <a:cubicBezTo>
                    <a:pt x="8" y="10"/>
                    <a:pt x="7" y="11"/>
                    <a:pt x="11" y="10"/>
                  </a:cubicBezTo>
                  <a:cubicBezTo>
                    <a:pt x="16" y="9"/>
                    <a:pt x="12" y="9"/>
                    <a:pt x="19" y="7"/>
                  </a:cubicBezTo>
                  <a:cubicBezTo>
                    <a:pt x="26" y="5"/>
                    <a:pt x="27" y="6"/>
                    <a:pt x="27" y="4"/>
                  </a:cubicBezTo>
                  <a:cubicBezTo>
                    <a:pt x="27" y="2"/>
                    <a:pt x="28" y="0"/>
                    <a:pt x="21" y="0"/>
                  </a:cubicBezTo>
                  <a:cubicBezTo>
                    <a:pt x="14" y="1"/>
                    <a:pt x="17" y="3"/>
                    <a:pt x="12"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92" name="Freeform 1070">
              <a:extLst>
                <a:ext uri="{FF2B5EF4-FFF2-40B4-BE49-F238E27FC236}">
                  <a16:creationId xmlns:a16="http://schemas.microsoft.com/office/drawing/2014/main" id="{B4A57CC7-0CA9-D845-8C82-F55B8ADD7233}"/>
                </a:ext>
              </a:extLst>
            </p:cNvPr>
            <p:cNvSpPr>
              <a:spLocks/>
            </p:cNvSpPr>
            <p:nvPr/>
          </p:nvSpPr>
          <p:spPr bwMode="auto">
            <a:xfrm>
              <a:off x="2239970" y="1946732"/>
              <a:ext cx="17463" cy="28575"/>
            </a:xfrm>
            <a:custGeom>
              <a:avLst/>
              <a:gdLst>
                <a:gd name="T0" fmla="*/ 3 w 19"/>
                <a:gd name="T1" fmla="*/ 3 h 31"/>
                <a:gd name="T2" fmla="*/ 8 w 19"/>
                <a:gd name="T3" fmla="*/ 8 h 31"/>
                <a:gd name="T4" fmla="*/ 12 w 19"/>
                <a:gd name="T5" fmla="*/ 13 h 31"/>
                <a:gd name="T6" fmla="*/ 9 w 19"/>
                <a:gd name="T7" fmla="*/ 21 h 31"/>
                <a:gd name="T8" fmla="*/ 6 w 19"/>
                <a:gd name="T9" fmla="*/ 28 h 31"/>
                <a:gd name="T10" fmla="*/ 9 w 19"/>
                <a:gd name="T11" fmla="*/ 31 h 31"/>
                <a:gd name="T12" fmla="*/ 13 w 19"/>
                <a:gd name="T13" fmla="*/ 26 h 31"/>
                <a:gd name="T14" fmla="*/ 18 w 19"/>
                <a:gd name="T15" fmla="*/ 19 h 31"/>
                <a:gd name="T16" fmla="*/ 17 w 19"/>
                <a:gd name="T17" fmla="*/ 11 h 31"/>
                <a:gd name="T18" fmla="*/ 10 w 19"/>
                <a:gd name="T19" fmla="*/ 4 h 31"/>
                <a:gd name="T20" fmla="*/ 3 w 19"/>
                <a:gd name="T21"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31">
                  <a:moveTo>
                    <a:pt x="3" y="3"/>
                  </a:moveTo>
                  <a:cubicBezTo>
                    <a:pt x="5" y="6"/>
                    <a:pt x="6" y="5"/>
                    <a:pt x="8" y="8"/>
                  </a:cubicBezTo>
                  <a:cubicBezTo>
                    <a:pt x="11" y="10"/>
                    <a:pt x="13" y="10"/>
                    <a:pt x="12" y="13"/>
                  </a:cubicBezTo>
                  <a:cubicBezTo>
                    <a:pt x="12" y="16"/>
                    <a:pt x="12" y="18"/>
                    <a:pt x="9" y="21"/>
                  </a:cubicBezTo>
                  <a:cubicBezTo>
                    <a:pt x="7" y="25"/>
                    <a:pt x="4" y="26"/>
                    <a:pt x="6" y="28"/>
                  </a:cubicBezTo>
                  <a:cubicBezTo>
                    <a:pt x="8" y="30"/>
                    <a:pt x="7" y="31"/>
                    <a:pt x="9" y="31"/>
                  </a:cubicBezTo>
                  <a:cubicBezTo>
                    <a:pt x="11" y="30"/>
                    <a:pt x="9" y="31"/>
                    <a:pt x="13" y="26"/>
                  </a:cubicBezTo>
                  <a:cubicBezTo>
                    <a:pt x="17" y="21"/>
                    <a:pt x="18" y="23"/>
                    <a:pt x="18" y="19"/>
                  </a:cubicBezTo>
                  <a:cubicBezTo>
                    <a:pt x="17" y="14"/>
                    <a:pt x="19" y="14"/>
                    <a:pt x="17" y="11"/>
                  </a:cubicBezTo>
                  <a:cubicBezTo>
                    <a:pt x="15" y="7"/>
                    <a:pt x="16" y="7"/>
                    <a:pt x="10" y="4"/>
                  </a:cubicBezTo>
                  <a:cubicBezTo>
                    <a:pt x="4" y="0"/>
                    <a:pt x="0" y="0"/>
                    <a:pt x="3"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93" name="Freeform 1071">
              <a:extLst>
                <a:ext uri="{FF2B5EF4-FFF2-40B4-BE49-F238E27FC236}">
                  <a16:creationId xmlns:a16="http://schemas.microsoft.com/office/drawing/2014/main" id="{F8CD9F80-4D7F-B449-A443-EC00717BE7C1}"/>
                </a:ext>
              </a:extLst>
            </p:cNvPr>
            <p:cNvSpPr>
              <a:spLocks/>
            </p:cNvSpPr>
            <p:nvPr/>
          </p:nvSpPr>
          <p:spPr bwMode="auto">
            <a:xfrm>
              <a:off x="2268545" y="2046744"/>
              <a:ext cx="22225" cy="22225"/>
            </a:xfrm>
            <a:custGeom>
              <a:avLst/>
              <a:gdLst>
                <a:gd name="T0" fmla="*/ 16 w 23"/>
                <a:gd name="T1" fmla="*/ 7 h 23"/>
                <a:gd name="T2" fmla="*/ 16 w 23"/>
                <a:gd name="T3" fmla="*/ 16 h 23"/>
                <a:gd name="T4" fmla="*/ 7 w 23"/>
                <a:gd name="T5" fmla="*/ 22 h 23"/>
                <a:gd name="T6" fmla="*/ 22 w 23"/>
                <a:gd name="T7" fmla="*/ 18 h 23"/>
                <a:gd name="T8" fmla="*/ 16 w 23"/>
                <a:gd name="T9" fmla="*/ 7 h 23"/>
              </a:gdLst>
              <a:ahLst/>
              <a:cxnLst>
                <a:cxn ang="0">
                  <a:pos x="T0" y="T1"/>
                </a:cxn>
                <a:cxn ang="0">
                  <a:pos x="T2" y="T3"/>
                </a:cxn>
                <a:cxn ang="0">
                  <a:pos x="T4" y="T5"/>
                </a:cxn>
                <a:cxn ang="0">
                  <a:pos x="T6" y="T7"/>
                </a:cxn>
                <a:cxn ang="0">
                  <a:pos x="T8" y="T9"/>
                </a:cxn>
              </a:cxnLst>
              <a:rect l="0" t="0" r="r" b="b"/>
              <a:pathLst>
                <a:path w="23" h="23">
                  <a:moveTo>
                    <a:pt x="16" y="7"/>
                  </a:moveTo>
                  <a:cubicBezTo>
                    <a:pt x="16" y="13"/>
                    <a:pt x="20" y="15"/>
                    <a:pt x="16" y="16"/>
                  </a:cubicBezTo>
                  <a:cubicBezTo>
                    <a:pt x="12" y="18"/>
                    <a:pt x="0" y="22"/>
                    <a:pt x="7" y="22"/>
                  </a:cubicBezTo>
                  <a:cubicBezTo>
                    <a:pt x="14" y="22"/>
                    <a:pt x="23" y="23"/>
                    <a:pt x="22" y="18"/>
                  </a:cubicBezTo>
                  <a:cubicBezTo>
                    <a:pt x="20" y="13"/>
                    <a:pt x="14" y="0"/>
                    <a:pt x="16" y="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94" name="Freeform 1072">
              <a:extLst>
                <a:ext uri="{FF2B5EF4-FFF2-40B4-BE49-F238E27FC236}">
                  <a16:creationId xmlns:a16="http://schemas.microsoft.com/office/drawing/2014/main" id="{56A7968B-58F4-954C-910B-9AF847EFB8FB}"/>
                </a:ext>
              </a:extLst>
            </p:cNvPr>
            <p:cNvSpPr>
              <a:spLocks/>
            </p:cNvSpPr>
            <p:nvPr/>
          </p:nvSpPr>
          <p:spPr bwMode="auto">
            <a:xfrm>
              <a:off x="2254257" y="1992769"/>
              <a:ext cx="9525" cy="28575"/>
            </a:xfrm>
            <a:custGeom>
              <a:avLst/>
              <a:gdLst>
                <a:gd name="T0" fmla="*/ 0 w 9"/>
                <a:gd name="T1" fmla="*/ 5 h 29"/>
                <a:gd name="T2" fmla="*/ 4 w 9"/>
                <a:gd name="T3" fmla="*/ 18 h 29"/>
                <a:gd name="T4" fmla="*/ 7 w 9"/>
                <a:gd name="T5" fmla="*/ 24 h 29"/>
                <a:gd name="T6" fmla="*/ 7 w 9"/>
                <a:gd name="T7" fmla="*/ 12 h 29"/>
                <a:gd name="T8" fmla="*/ 0 w 9"/>
                <a:gd name="T9" fmla="*/ 5 h 29"/>
              </a:gdLst>
              <a:ahLst/>
              <a:cxnLst>
                <a:cxn ang="0">
                  <a:pos x="T0" y="T1"/>
                </a:cxn>
                <a:cxn ang="0">
                  <a:pos x="T2" y="T3"/>
                </a:cxn>
                <a:cxn ang="0">
                  <a:pos x="T4" y="T5"/>
                </a:cxn>
                <a:cxn ang="0">
                  <a:pos x="T6" y="T7"/>
                </a:cxn>
                <a:cxn ang="0">
                  <a:pos x="T8" y="T9"/>
                </a:cxn>
              </a:cxnLst>
              <a:rect l="0" t="0" r="r" b="b"/>
              <a:pathLst>
                <a:path w="9" h="29">
                  <a:moveTo>
                    <a:pt x="0" y="5"/>
                  </a:moveTo>
                  <a:cubicBezTo>
                    <a:pt x="0" y="13"/>
                    <a:pt x="3" y="13"/>
                    <a:pt x="4" y="18"/>
                  </a:cubicBezTo>
                  <a:cubicBezTo>
                    <a:pt x="4" y="22"/>
                    <a:pt x="6" y="29"/>
                    <a:pt x="7" y="24"/>
                  </a:cubicBezTo>
                  <a:cubicBezTo>
                    <a:pt x="8" y="20"/>
                    <a:pt x="9" y="16"/>
                    <a:pt x="7" y="12"/>
                  </a:cubicBezTo>
                  <a:cubicBezTo>
                    <a:pt x="5" y="7"/>
                    <a:pt x="0" y="0"/>
                    <a:pt x="0"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95" name="Freeform 1073">
              <a:extLst>
                <a:ext uri="{FF2B5EF4-FFF2-40B4-BE49-F238E27FC236}">
                  <a16:creationId xmlns:a16="http://schemas.microsoft.com/office/drawing/2014/main" id="{986DC1D6-7797-4F44-AA4A-921DA5278230}"/>
                </a:ext>
              </a:extLst>
            </p:cNvPr>
            <p:cNvSpPr>
              <a:spLocks/>
            </p:cNvSpPr>
            <p:nvPr/>
          </p:nvSpPr>
          <p:spPr bwMode="auto">
            <a:xfrm>
              <a:off x="2306645" y="2080082"/>
              <a:ext cx="23813" cy="14288"/>
            </a:xfrm>
            <a:custGeom>
              <a:avLst/>
              <a:gdLst>
                <a:gd name="T0" fmla="*/ 9 w 24"/>
                <a:gd name="T1" fmla="*/ 7 h 15"/>
                <a:gd name="T2" fmla="*/ 4 w 24"/>
                <a:gd name="T3" fmla="*/ 11 h 15"/>
                <a:gd name="T4" fmla="*/ 6 w 24"/>
                <a:gd name="T5" fmla="*/ 14 h 15"/>
                <a:gd name="T6" fmla="*/ 16 w 24"/>
                <a:gd name="T7" fmla="*/ 14 h 15"/>
                <a:gd name="T8" fmla="*/ 19 w 24"/>
                <a:gd name="T9" fmla="*/ 12 h 15"/>
                <a:gd name="T10" fmla="*/ 22 w 24"/>
                <a:gd name="T11" fmla="*/ 6 h 15"/>
                <a:gd name="T12" fmla="*/ 22 w 24"/>
                <a:gd name="T13" fmla="*/ 3 h 15"/>
                <a:gd name="T14" fmla="*/ 15 w 24"/>
                <a:gd name="T15" fmla="*/ 6 h 15"/>
                <a:gd name="T16" fmla="*/ 9 w 24"/>
                <a:gd name="T1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
                  <a:moveTo>
                    <a:pt x="9" y="7"/>
                  </a:moveTo>
                  <a:cubicBezTo>
                    <a:pt x="7" y="8"/>
                    <a:pt x="4" y="9"/>
                    <a:pt x="4" y="11"/>
                  </a:cubicBezTo>
                  <a:cubicBezTo>
                    <a:pt x="4" y="12"/>
                    <a:pt x="0" y="14"/>
                    <a:pt x="6" y="14"/>
                  </a:cubicBezTo>
                  <a:cubicBezTo>
                    <a:pt x="11" y="14"/>
                    <a:pt x="14" y="15"/>
                    <a:pt x="16" y="14"/>
                  </a:cubicBezTo>
                  <a:cubicBezTo>
                    <a:pt x="18" y="13"/>
                    <a:pt x="17" y="15"/>
                    <a:pt x="19" y="12"/>
                  </a:cubicBezTo>
                  <a:cubicBezTo>
                    <a:pt x="22" y="8"/>
                    <a:pt x="21" y="9"/>
                    <a:pt x="22" y="6"/>
                  </a:cubicBezTo>
                  <a:cubicBezTo>
                    <a:pt x="23" y="4"/>
                    <a:pt x="24" y="0"/>
                    <a:pt x="22" y="3"/>
                  </a:cubicBezTo>
                  <a:cubicBezTo>
                    <a:pt x="19" y="5"/>
                    <a:pt x="20" y="7"/>
                    <a:pt x="15" y="6"/>
                  </a:cubicBezTo>
                  <a:cubicBezTo>
                    <a:pt x="10" y="6"/>
                    <a:pt x="11" y="7"/>
                    <a:pt x="9" y="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96" name="Freeform 1074">
              <a:extLst>
                <a:ext uri="{FF2B5EF4-FFF2-40B4-BE49-F238E27FC236}">
                  <a16:creationId xmlns:a16="http://schemas.microsoft.com/office/drawing/2014/main" id="{0FBAAF8B-68BC-1C47-A495-FF93D05CF5F3}"/>
                </a:ext>
              </a:extLst>
            </p:cNvPr>
            <p:cNvSpPr>
              <a:spLocks/>
            </p:cNvSpPr>
            <p:nvPr/>
          </p:nvSpPr>
          <p:spPr bwMode="auto">
            <a:xfrm>
              <a:off x="2459046" y="1829257"/>
              <a:ext cx="23813" cy="14288"/>
            </a:xfrm>
            <a:custGeom>
              <a:avLst/>
              <a:gdLst>
                <a:gd name="T0" fmla="*/ 9 w 24"/>
                <a:gd name="T1" fmla="*/ 7 h 15"/>
                <a:gd name="T2" fmla="*/ 4 w 24"/>
                <a:gd name="T3" fmla="*/ 11 h 15"/>
                <a:gd name="T4" fmla="*/ 6 w 24"/>
                <a:gd name="T5" fmla="*/ 14 h 15"/>
                <a:gd name="T6" fmla="*/ 16 w 24"/>
                <a:gd name="T7" fmla="*/ 14 h 15"/>
                <a:gd name="T8" fmla="*/ 19 w 24"/>
                <a:gd name="T9" fmla="*/ 12 h 15"/>
                <a:gd name="T10" fmla="*/ 22 w 24"/>
                <a:gd name="T11" fmla="*/ 6 h 15"/>
                <a:gd name="T12" fmla="*/ 22 w 24"/>
                <a:gd name="T13" fmla="*/ 3 h 15"/>
                <a:gd name="T14" fmla="*/ 15 w 24"/>
                <a:gd name="T15" fmla="*/ 6 h 15"/>
                <a:gd name="T16" fmla="*/ 9 w 24"/>
                <a:gd name="T1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
                  <a:moveTo>
                    <a:pt x="9" y="7"/>
                  </a:moveTo>
                  <a:cubicBezTo>
                    <a:pt x="7" y="8"/>
                    <a:pt x="4" y="9"/>
                    <a:pt x="4" y="11"/>
                  </a:cubicBezTo>
                  <a:cubicBezTo>
                    <a:pt x="4" y="12"/>
                    <a:pt x="0" y="14"/>
                    <a:pt x="6" y="14"/>
                  </a:cubicBezTo>
                  <a:cubicBezTo>
                    <a:pt x="11" y="14"/>
                    <a:pt x="14" y="15"/>
                    <a:pt x="16" y="14"/>
                  </a:cubicBezTo>
                  <a:cubicBezTo>
                    <a:pt x="18" y="13"/>
                    <a:pt x="17" y="15"/>
                    <a:pt x="19" y="12"/>
                  </a:cubicBezTo>
                  <a:cubicBezTo>
                    <a:pt x="22" y="8"/>
                    <a:pt x="21" y="9"/>
                    <a:pt x="22" y="6"/>
                  </a:cubicBezTo>
                  <a:cubicBezTo>
                    <a:pt x="23" y="4"/>
                    <a:pt x="24" y="0"/>
                    <a:pt x="22" y="3"/>
                  </a:cubicBezTo>
                  <a:cubicBezTo>
                    <a:pt x="19" y="5"/>
                    <a:pt x="20" y="7"/>
                    <a:pt x="15" y="6"/>
                  </a:cubicBezTo>
                  <a:cubicBezTo>
                    <a:pt x="10" y="6"/>
                    <a:pt x="11" y="7"/>
                    <a:pt x="9" y="7"/>
                  </a:cubicBezTo>
                  <a:close/>
                </a:path>
              </a:pathLst>
            </a:custGeom>
            <a:solidFill>
              <a:schemeClr val="bg2">
                <a:alpha val="10000"/>
              </a:schemeClr>
            </a:solidFill>
            <a:ln w="0">
              <a:solidFill>
                <a:schemeClr val="tx2"/>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97" name="Freeform 1075">
              <a:extLst>
                <a:ext uri="{FF2B5EF4-FFF2-40B4-BE49-F238E27FC236}">
                  <a16:creationId xmlns:a16="http://schemas.microsoft.com/office/drawing/2014/main" id="{732A87BC-3C95-AD46-BCE7-E9140F0899DA}"/>
                </a:ext>
              </a:extLst>
            </p:cNvPr>
            <p:cNvSpPr>
              <a:spLocks/>
            </p:cNvSpPr>
            <p:nvPr/>
          </p:nvSpPr>
          <p:spPr bwMode="auto">
            <a:xfrm>
              <a:off x="1838331" y="2659520"/>
              <a:ext cx="28575" cy="41275"/>
            </a:xfrm>
            <a:custGeom>
              <a:avLst/>
              <a:gdLst>
                <a:gd name="T0" fmla="*/ 9 w 31"/>
                <a:gd name="T1" fmla="*/ 6 h 43"/>
                <a:gd name="T2" fmla="*/ 13 w 31"/>
                <a:gd name="T3" fmla="*/ 15 h 43"/>
                <a:gd name="T4" fmla="*/ 7 w 31"/>
                <a:gd name="T5" fmla="*/ 22 h 43"/>
                <a:gd name="T6" fmla="*/ 15 w 31"/>
                <a:gd name="T7" fmla="*/ 22 h 43"/>
                <a:gd name="T8" fmla="*/ 18 w 31"/>
                <a:gd name="T9" fmla="*/ 27 h 43"/>
                <a:gd name="T10" fmla="*/ 12 w 31"/>
                <a:gd name="T11" fmla="*/ 36 h 43"/>
                <a:gd name="T12" fmla="*/ 28 w 31"/>
                <a:gd name="T13" fmla="*/ 37 h 43"/>
                <a:gd name="T14" fmla="*/ 28 w 31"/>
                <a:gd name="T15" fmla="*/ 28 h 43"/>
                <a:gd name="T16" fmla="*/ 25 w 31"/>
                <a:gd name="T17" fmla="*/ 14 h 43"/>
                <a:gd name="T18" fmla="*/ 18 w 31"/>
                <a:gd name="T19" fmla="*/ 8 h 43"/>
                <a:gd name="T20" fmla="*/ 9 w 31"/>
                <a:gd name="T21" fmla="*/ 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9" y="6"/>
                  </a:moveTo>
                  <a:cubicBezTo>
                    <a:pt x="13" y="12"/>
                    <a:pt x="15" y="15"/>
                    <a:pt x="13" y="15"/>
                  </a:cubicBezTo>
                  <a:cubicBezTo>
                    <a:pt x="12" y="15"/>
                    <a:pt x="3" y="20"/>
                    <a:pt x="7" y="22"/>
                  </a:cubicBezTo>
                  <a:cubicBezTo>
                    <a:pt x="10" y="23"/>
                    <a:pt x="13" y="21"/>
                    <a:pt x="15" y="22"/>
                  </a:cubicBezTo>
                  <a:cubicBezTo>
                    <a:pt x="17" y="22"/>
                    <a:pt x="21" y="25"/>
                    <a:pt x="18" y="27"/>
                  </a:cubicBezTo>
                  <a:cubicBezTo>
                    <a:pt x="15" y="29"/>
                    <a:pt x="0" y="34"/>
                    <a:pt x="12" y="36"/>
                  </a:cubicBezTo>
                  <a:cubicBezTo>
                    <a:pt x="25" y="38"/>
                    <a:pt x="26" y="43"/>
                    <a:pt x="28" y="37"/>
                  </a:cubicBezTo>
                  <a:cubicBezTo>
                    <a:pt x="30" y="31"/>
                    <a:pt x="31" y="33"/>
                    <a:pt x="28" y="28"/>
                  </a:cubicBezTo>
                  <a:cubicBezTo>
                    <a:pt x="25" y="23"/>
                    <a:pt x="29" y="19"/>
                    <a:pt x="25" y="14"/>
                  </a:cubicBezTo>
                  <a:cubicBezTo>
                    <a:pt x="20" y="9"/>
                    <a:pt x="19" y="11"/>
                    <a:pt x="18" y="8"/>
                  </a:cubicBezTo>
                  <a:cubicBezTo>
                    <a:pt x="16" y="4"/>
                    <a:pt x="6" y="0"/>
                    <a:pt x="9"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98" name="Freeform 1076">
              <a:extLst>
                <a:ext uri="{FF2B5EF4-FFF2-40B4-BE49-F238E27FC236}">
                  <a16:creationId xmlns:a16="http://schemas.microsoft.com/office/drawing/2014/main" id="{1FA26980-F92D-364E-A910-947FDF69A36D}"/>
                </a:ext>
              </a:extLst>
            </p:cNvPr>
            <p:cNvSpPr>
              <a:spLocks/>
            </p:cNvSpPr>
            <p:nvPr/>
          </p:nvSpPr>
          <p:spPr bwMode="auto">
            <a:xfrm>
              <a:off x="1868494" y="2678570"/>
              <a:ext cx="14288" cy="11113"/>
            </a:xfrm>
            <a:custGeom>
              <a:avLst/>
              <a:gdLst>
                <a:gd name="T0" fmla="*/ 5 w 15"/>
                <a:gd name="T1" fmla="*/ 3 h 12"/>
                <a:gd name="T2" fmla="*/ 3 w 15"/>
                <a:gd name="T3" fmla="*/ 10 h 12"/>
                <a:gd name="T4" fmla="*/ 11 w 15"/>
                <a:gd name="T5" fmla="*/ 10 h 12"/>
                <a:gd name="T6" fmla="*/ 13 w 15"/>
                <a:gd name="T7" fmla="*/ 5 h 12"/>
                <a:gd name="T8" fmla="*/ 5 w 15"/>
                <a:gd name="T9" fmla="*/ 3 h 12"/>
              </a:gdLst>
              <a:ahLst/>
              <a:cxnLst>
                <a:cxn ang="0">
                  <a:pos x="T0" y="T1"/>
                </a:cxn>
                <a:cxn ang="0">
                  <a:pos x="T2" y="T3"/>
                </a:cxn>
                <a:cxn ang="0">
                  <a:pos x="T4" y="T5"/>
                </a:cxn>
                <a:cxn ang="0">
                  <a:pos x="T6" y="T7"/>
                </a:cxn>
                <a:cxn ang="0">
                  <a:pos x="T8" y="T9"/>
                </a:cxn>
              </a:cxnLst>
              <a:rect l="0" t="0" r="r" b="b"/>
              <a:pathLst>
                <a:path w="15" h="12">
                  <a:moveTo>
                    <a:pt x="5" y="3"/>
                  </a:moveTo>
                  <a:cubicBezTo>
                    <a:pt x="4" y="6"/>
                    <a:pt x="0" y="9"/>
                    <a:pt x="3" y="10"/>
                  </a:cubicBezTo>
                  <a:cubicBezTo>
                    <a:pt x="6" y="11"/>
                    <a:pt x="8" y="12"/>
                    <a:pt x="11" y="10"/>
                  </a:cubicBezTo>
                  <a:cubicBezTo>
                    <a:pt x="13" y="8"/>
                    <a:pt x="15" y="7"/>
                    <a:pt x="13" y="5"/>
                  </a:cubicBezTo>
                  <a:cubicBezTo>
                    <a:pt x="12" y="3"/>
                    <a:pt x="6" y="0"/>
                    <a:pt x="5"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599" name="Freeform 1077">
              <a:extLst>
                <a:ext uri="{FF2B5EF4-FFF2-40B4-BE49-F238E27FC236}">
                  <a16:creationId xmlns:a16="http://schemas.microsoft.com/office/drawing/2014/main" id="{7EAB0075-9150-214B-B6B8-DB3974448469}"/>
                </a:ext>
              </a:extLst>
            </p:cNvPr>
            <p:cNvSpPr>
              <a:spLocks/>
            </p:cNvSpPr>
            <p:nvPr/>
          </p:nvSpPr>
          <p:spPr bwMode="auto">
            <a:xfrm>
              <a:off x="1892306" y="2683333"/>
              <a:ext cx="9525" cy="14288"/>
            </a:xfrm>
            <a:custGeom>
              <a:avLst/>
              <a:gdLst>
                <a:gd name="T0" fmla="*/ 2 w 10"/>
                <a:gd name="T1" fmla="*/ 3 h 14"/>
                <a:gd name="T2" fmla="*/ 2 w 10"/>
                <a:gd name="T3" fmla="*/ 11 h 14"/>
                <a:gd name="T4" fmla="*/ 5 w 10"/>
                <a:gd name="T5" fmla="*/ 9 h 14"/>
                <a:gd name="T6" fmla="*/ 9 w 10"/>
                <a:gd name="T7" fmla="*/ 3 h 14"/>
                <a:gd name="T8" fmla="*/ 1 w 10"/>
                <a:gd name="T9" fmla="*/ 0 h 14"/>
                <a:gd name="T10" fmla="*/ 2 w 10"/>
                <a:gd name="T11" fmla="*/ 3 h 14"/>
              </a:gdLst>
              <a:ahLst/>
              <a:cxnLst>
                <a:cxn ang="0">
                  <a:pos x="T0" y="T1"/>
                </a:cxn>
                <a:cxn ang="0">
                  <a:pos x="T2" y="T3"/>
                </a:cxn>
                <a:cxn ang="0">
                  <a:pos x="T4" y="T5"/>
                </a:cxn>
                <a:cxn ang="0">
                  <a:pos x="T6" y="T7"/>
                </a:cxn>
                <a:cxn ang="0">
                  <a:pos x="T8" y="T9"/>
                </a:cxn>
                <a:cxn ang="0">
                  <a:pos x="T10" y="T11"/>
                </a:cxn>
              </a:cxnLst>
              <a:rect l="0" t="0" r="r" b="b"/>
              <a:pathLst>
                <a:path w="10" h="14">
                  <a:moveTo>
                    <a:pt x="2" y="3"/>
                  </a:moveTo>
                  <a:cubicBezTo>
                    <a:pt x="2" y="7"/>
                    <a:pt x="0" y="11"/>
                    <a:pt x="2" y="11"/>
                  </a:cubicBezTo>
                  <a:cubicBezTo>
                    <a:pt x="5" y="12"/>
                    <a:pt x="3" y="14"/>
                    <a:pt x="5" y="9"/>
                  </a:cubicBezTo>
                  <a:cubicBezTo>
                    <a:pt x="8" y="5"/>
                    <a:pt x="10" y="5"/>
                    <a:pt x="9" y="3"/>
                  </a:cubicBezTo>
                  <a:cubicBezTo>
                    <a:pt x="7" y="0"/>
                    <a:pt x="1" y="1"/>
                    <a:pt x="1" y="0"/>
                  </a:cubicBezTo>
                  <a:cubicBezTo>
                    <a:pt x="1" y="0"/>
                    <a:pt x="0" y="1"/>
                    <a:pt x="2"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00" name="Freeform 1078">
              <a:extLst>
                <a:ext uri="{FF2B5EF4-FFF2-40B4-BE49-F238E27FC236}">
                  <a16:creationId xmlns:a16="http://schemas.microsoft.com/office/drawing/2014/main" id="{08CD4F08-566D-5F4F-9ECB-6BF8CF388329}"/>
                </a:ext>
              </a:extLst>
            </p:cNvPr>
            <p:cNvSpPr>
              <a:spLocks/>
            </p:cNvSpPr>
            <p:nvPr/>
          </p:nvSpPr>
          <p:spPr bwMode="auto">
            <a:xfrm>
              <a:off x="1866906" y="2667458"/>
              <a:ext cx="9525" cy="9525"/>
            </a:xfrm>
            <a:custGeom>
              <a:avLst/>
              <a:gdLst>
                <a:gd name="T0" fmla="*/ 4 w 10"/>
                <a:gd name="T1" fmla="*/ 2 h 10"/>
                <a:gd name="T2" fmla="*/ 8 w 10"/>
                <a:gd name="T3" fmla="*/ 2 h 10"/>
                <a:gd name="T4" fmla="*/ 8 w 10"/>
                <a:gd name="T5" fmla="*/ 7 h 10"/>
                <a:gd name="T6" fmla="*/ 4 w 10"/>
                <a:gd name="T7" fmla="*/ 8 h 10"/>
                <a:gd name="T8" fmla="*/ 0 w 10"/>
                <a:gd name="T9" fmla="*/ 4 h 10"/>
                <a:gd name="T10" fmla="*/ 4 w 10"/>
                <a:gd name="T11" fmla="*/ 2 h 10"/>
              </a:gdLst>
              <a:ahLst/>
              <a:cxnLst>
                <a:cxn ang="0">
                  <a:pos x="T0" y="T1"/>
                </a:cxn>
                <a:cxn ang="0">
                  <a:pos x="T2" y="T3"/>
                </a:cxn>
                <a:cxn ang="0">
                  <a:pos x="T4" y="T5"/>
                </a:cxn>
                <a:cxn ang="0">
                  <a:pos x="T6" y="T7"/>
                </a:cxn>
                <a:cxn ang="0">
                  <a:pos x="T8" y="T9"/>
                </a:cxn>
                <a:cxn ang="0">
                  <a:pos x="T10" y="T11"/>
                </a:cxn>
              </a:cxnLst>
              <a:rect l="0" t="0" r="r" b="b"/>
              <a:pathLst>
                <a:path w="10" h="10">
                  <a:moveTo>
                    <a:pt x="4" y="2"/>
                  </a:moveTo>
                  <a:cubicBezTo>
                    <a:pt x="7" y="2"/>
                    <a:pt x="8" y="0"/>
                    <a:pt x="8" y="2"/>
                  </a:cubicBezTo>
                  <a:cubicBezTo>
                    <a:pt x="8" y="5"/>
                    <a:pt x="10" y="5"/>
                    <a:pt x="8" y="7"/>
                  </a:cubicBezTo>
                  <a:cubicBezTo>
                    <a:pt x="6" y="8"/>
                    <a:pt x="6" y="10"/>
                    <a:pt x="4" y="8"/>
                  </a:cubicBezTo>
                  <a:cubicBezTo>
                    <a:pt x="1" y="5"/>
                    <a:pt x="1" y="5"/>
                    <a:pt x="0" y="4"/>
                  </a:cubicBezTo>
                  <a:cubicBezTo>
                    <a:pt x="0" y="3"/>
                    <a:pt x="3" y="1"/>
                    <a:pt x="4"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01" name="Freeform 1079">
              <a:extLst>
                <a:ext uri="{FF2B5EF4-FFF2-40B4-BE49-F238E27FC236}">
                  <a16:creationId xmlns:a16="http://schemas.microsoft.com/office/drawing/2014/main" id="{578230E5-BDFD-884B-8D14-11BB0CE9100F}"/>
                </a:ext>
              </a:extLst>
            </p:cNvPr>
            <p:cNvSpPr>
              <a:spLocks/>
            </p:cNvSpPr>
            <p:nvPr/>
          </p:nvSpPr>
          <p:spPr bwMode="auto">
            <a:xfrm>
              <a:off x="2540008" y="2197557"/>
              <a:ext cx="9525" cy="14288"/>
            </a:xfrm>
            <a:custGeom>
              <a:avLst/>
              <a:gdLst>
                <a:gd name="T0" fmla="*/ 1 w 10"/>
                <a:gd name="T1" fmla="*/ 3 h 15"/>
                <a:gd name="T2" fmla="*/ 4 w 10"/>
                <a:gd name="T3" fmla="*/ 9 h 15"/>
                <a:gd name="T4" fmla="*/ 9 w 10"/>
                <a:gd name="T5" fmla="*/ 11 h 15"/>
                <a:gd name="T6" fmla="*/ 8 w 10"/>
                <a:gd name="T7" fmla="*/ 5 h 15"/>
                <a:gd name="T8" fmla="*/ 1 w 10"/>
                <a:gd name="T9" fmla="*/ 3 h 15"/>
              </a:gdLst>
              <a:ahLst/>
              <a:cxnLst>
                <a:cxn ang="0">
                  <a:pos x="T0" y="T1"/>
                </a:cxn>
                <a:cxn ang="0">
                  <a:pos x="T2" y="T3"/>
                </a:cxn>
                <a:cxn ang="0">
                  <a:pos x="T4" y="T5"/>
                </a:cxn>
                <a:cxn ang="0">
                  <a:pos x="T6" y="T7"/>
                </a:cxn>
                <a:cxn ang="0">
                  <a:pos x="T8" y="T9"/>
                </a:cxn>
              </a:cxnLst>
              <a:rect l="0" t="0" r="r" b="b"/>
              <a:pathLst>
                <a:path w="10" h="15">
                  <a:moveTo>
                    <a:pt x="1" y="3"/>
                  </a:moveTo>
                  <a:cubicBezTo>
                    <a:pt x="2" y="6"/>
                    <a:pt x="3" y="8"/>
                    <a:pt x="4" y="9"/>
                  </a:cubicBezTo>
                  <a:cubicBezTo>
                    <a:pt x="5" y="11"/>
                    <a:pt x="10" y="15"/>
                    <a:pt x="9" y="11"/>
                  </a:cubicBezTo>
                  <a:cubicBezTo>
                    <a:pt x="9" y="7"/>
                    <a:pt x="9" y="8"/>
                    <a:pt x="8" y="5"/>
                  </a:cubicBezTo>
                  <a:cubicBezTo>
                    <a:pt x="6" y="1"/>
                    <a:pt x="0" y="0"/>
                    <a:pt x="1"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02" name="Freeform 1081">
              <a:extLst>
                <a:ext uri="{FF2B5EF4-FFF2-40B4-BE49-F238E27FC236}">
                  <a16:creationId xmlns:a16="http://schemas.microsoft.com/office/drawing/2014/main" id="{90327F5E-708A-5949-9162-0206CA622D02}"/>
                </a:ext>
              </a:extLst>
            </p:cNvPr>
            <p:cNvSpPr>
              <a:spLocks/>
            </p:cNvSpPr>
            <p:nvPr/>
          </p:nvSpPr>
          <p:spPr bwMode="auto">
            <a:xfrm>
              <a:off x="2549533" y="2207082"/>
              <a:ext cx="7938" cy="9525"/>
            </a:xfrm>
            <a:custGeom>
              <a:avLst/>
              <a:gdLst>
                <a:gd name="T0" fmla="*/ 3 w 7"/>
                <a:gd name="T1" fmla="*/ 1 h 10"/>
                <a:gd name="T2" fmla="*/ 2 w 7"/>
                <a:gd name="T3" fmla="*/ 7 h 10"/>
                <a:gd name="T4" fmla="*/ 6 w 7"/>
                <a:gd name="T5" fmla="*/ 7 h 10"/>
                <a:gd name="T6" fmla="*/ 3 w 7"/>
                <a:gd name="T7" fmla="*/ 1 h 10"/>
              </a:gdLst>
              <a:ahLst/>
              <a:cxnLst>
                <a:cxn ang="0">
                  <a:pos x="T0" y="T1"/>
                </a:cxn>
                <a:cxn ang="0">
                  <a:pos x="T2" y="T3"/>
                </a:cxn>
                <a:cxn ang="0">
                  <a:pos x="T4" y="T5"/>
                </a:cxn>
                <a:cxn ang="0">
                  <a:pos x="T6" y="T7"/>
                </a:cxn>
              </a:cxnLst>
              <a:rect l="0" t="0" r="r" b="b"/>
              <a:pathLst>
                <a:path w="7" h="10">
                  <a:moveTo>
                    <a:pt x="3" y="1"/>
                  </a:moveTo>
                  <a:cubicBezTo>
                    <a:pt x="3" y="2"/>
                    <a:pt x="0" y="3"/>
                    <a:pt x="2" y="7"/>
                  </a:cubicBezTo>
                  <a:cubicBezTo>
                    <a:pt x="4" y="10"/>
                    <a:pt x="6" y="8"/>
                    <a:pt x="6" y="7"/>
                  </a:cubicBezTo>
                  <a:cubicBezTo>
                    <a:pt x="7" y="5"/>
                    <a:pt x="5" y="0"/>
                    <a:pt x="3" y="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03" name="Freeform 1082">
              <a:extLst>
                <a:ext uri="{FF2B5EF4-FFF2-40B4-BE49-F238E27FC236}">
                  <a16:creationId xmlns:a16="http://schemas.microsoft.com/office/drawing/2014/main" id="{643F6049-C19D-3849-A74C-3773D492FBB0}"/>
                </a:ext>
              </a:extLst>
            </p:cNvPr>
            <p:cNvSpPr>
              <a:spLocks noEditPoints="1"/>
            </p:cNvSpPr>
            <p:nvPr/>
          </p:nvSpPr>
          <p:spPr bwMode="auto">
            <a:xfrm>
              <a:off x="4586302" y="689430"/>
              <a:ext cx="2913072" cy="879476"/>
            </a:xfrm>
            <a:custGeom>
              <a:avLst/>
              <a:gdLst>
                <a:gd name="T0" fmla="*/ 2916 w 3059"/>
                <a:gd name="T1" fmla="*/ 237 h 922"/>
                <a:gd name="T2" fmla="*/ 2567 w 3059"/>
                <a:gd name="T3" fmla="*/ 183 h 922"/>
                <a:gd name="T4" fmla="*/ 2362 w 3059"/>
                <a:gd name="T5" fmla="*/ 170 h 922"/>
                <a:gd name="T6" fmla="*/ 2077 w 3059"/>
                <a:gd name="T7" fmla="*/ 118 h 922"/>
                <a:gd name="T8" fmla="*/ 1921 w 3059"/>
                <a:gd name="T9" fmla="*/ 132 h 922"/>
                <a:gd name="T10" fmla="*/ 1723 w 3059"/>
                <a:gd name="T11" fmla="*/ 97 h 922"/>
                <a:gd name="T12" fmla="*/ 1465 w 3059"/>
                <a:gd name="T13" fmla="*/ 86 h 922"/>
                <a:gd name="T14" fmla="*/ 1340 w 3059"/>
                <a:gd name="T15" fmla="*/ 98 h 922"/>
                <a:gd name="T16" fmla="*/ 1342 w 3059"/>
                <a:gd name="T17" fmla="*/ 20 h 922"/>
                <a:gd name="T18" fmla="*/ 1154 w 3059"/>
                <a:gd name="T19" fmla="*/ 16 h 922"/>
                <a:gd name="T20" fmla="*/ 986 w 3059"/>
                <a:gd name="T21" fmla="*/ 45 h 922"/>
                <a:gd name="T22" fmla="*/ 923 w 3059"/>
                <a:gd name="T23" fmla="*/ 118 h 922"/>
                <a:gd name="T24" fmla="*/ 830 w 3059"/>
                <a:gd name="T25" fmla="*/ 124 h 922"/>
                <a:gd name="T26" fmla="*/ 785 w 3059"/>
                <a:gd name="T27" fmla="*/ 126 h 922"/>
                <a:gd name="T28" fmla="*/ 899 w 3059"/>
                <a:gd name="T29" fmla="*/ 210 h 922"/>
                <a:gd name="T30" fmla="*/ 773 w 3059"/>
                <a:gd name="T31" fmla="*/ 249 h 922"/>
                <a:gd name="T32" fmla="*/ 758 w 3059"/>
                <a:gd name="T33" fmla="*/ 113 h 922"/>
                <a:gd name="T34" fmla="*/ 692 w 3059"/>
                <a:gd name="T35" fmla="*/ 165 h 922"/>
                <a:gd name="T36" fmla="*/ 587 w 3059"/>
                <a:gd name="T37" fmla="*/ 175 h 922"/>
                <a:gd name="T38" fmla="*/ 542 w 3059"/>
                <a:gd name="T39" fmla="*/ 196 h 922"/>
                <a:gd name="T40" fmla="*/ 415 w 3059"/>
                <a:gd name="T41" fmla="*/ 207 h 922"/>
                <a:gd name="T42" fmla="*/ 324 w 3059"/>
                <a:gd name="T43" fmla="*/ 222 h 922"/>
                <a:gd name="T44" fmla="*/ 290 w 3059"/>
                <a:gd name="T45" fmla="*/ 258 h 922"/>
                <a:gd name="T46" fmla="*/ 169 w 3059"/>
                <a:gd name="T47" fmla="*/ 297 h 922"/>
                <a:gd name="T48" fmla="*/ 82 w 3059"/>
                <a:gd name="T49" fmla="*/ 239 h 922"/>
                <a:gd name="T50" fmla="*/ 154 w 3059"/>
                <a:gd name="T51" fmla="*/ 194 h 922"/>
                <a:gd name="T52" fmla="*/ 17 w 3059"/>
                <a:gd name="T53" fmla="*/ 187 h 922"/>
                <a:gd name="T54" fmla="*/ 48 w 3059"/>
                <a:gd name="T55" fmla="*/ 299 h 922"/>
                <a:gd name="T56" fmla="*/ 26 w 3059"/>
                <a:gd name="T57" fmla="*/ 429 h 922"/>
                <a:gd name="T58" fmla="*/ 57 w 3059"/>
                <a:gd name="T59" fmla="*/ 519 h 922"/>
                <a:gd name="T60" fmla="*/ 127 w 3059"/>
                <a:gd name="T61" fmla="*/ 622 h 922"/>
                <a:gd name="T62" fmla="*/ 272 w 3059"/>
                <a:gd name="T63" fmla="*/ 684 h 922"/>
                <a:gd name="T64" fmla="*/ 281 w 3059"/>
                <a:gd name="T65" fmla="*/ 773 h 922"/>
                <a:gd name="T66" fmla="*/ 343 w 3059"/>
                <a:gd name="T67" fmla="*/ 863 h 922"/>
                <a:gd name="T68" fmla="*/ 496 w 3059"/>
                <a:gd name="T69" fmla="*/ 902 h 922"/>
                <a:gd name="T70" fmla="*/ 501 w 3059"/>
                <a:gd name="T71" fmla="*/ 803 h 922"/>
                <a:gd name="T72" fmla="*/ 492 w 3059"/>
                <a:gd name="T73" fmla="*/ 679 h 922"/>
                <a:gd name="T74" fmla="*/ 689 w 3059"/>
                <a:gd name="T75" fmla="*/ 657 h 922"/>
                <a:gd name="T76" fmla="*/ 756 w 3059"/>
                <a:gd name="T77" fmla="*/ 599 h 922"/>
                <a:gd name="T78" fmla="*/ 925 w 3059"/>
                <a:gd name="T79" fmla="*/ 540 h 922"/>
                <a:gd name="T80" fmla="*/ 1190 w 3059"/>
                <a:gd name="T81" fmla="*/ 645 h 922"/>
                <a:gd name="T82" fmla="*/ 1398 w 3059"/>
                <a:gd name="T83" fmla="*/ 680 h 922"/>
                <a:gd name="T84" fmla="*/ 1575 w 3059"/>
                <a:gd name="T85" fmla="*/ 626 h 922"/>
                <a:gd name="T86" fmla="*/ 1891 w 3059"/>
                <a:gd name="T87" fmla="*/ 696 h 922"/>
                <a:gd name="T88" fmla="*/ 2019 w 3059"/>
                <a:gd name="T89" fmla="*/ 589 h 922"/>
                <a:gd name="T90" fmla="*/ 2368 w 3059"/>
                <a:gd name="T91" fmla="*/ 738 h 922"/>
                <a:gd name="T92" fmla="*/ 2411 w 3059"/>
                <a:gd name="T93" fmla="*/ 875 h 922"/>
                <a:gd name="T94" fmla="*/ 2502 w 3059"/>
                <a:gd name="T95" fmla="*/ 820 h 922"/>
                <a:gd name="T96" fmla="*/ 2448 w 3059"/>
                <a:gd name="T97" fmla="*/ 602 h 922"/>
                <a:gd name="T98" fmla="*/ 2324 w 3059"/>
                <a:gd name="T99" fmla="*/ 545 h 922"/>
                <a:gd name="T100" fmla="*/ 2320 w 3059"/>
                <a:gd name="T101" fmla="*/ 469 h 922"/>
                <a:gd name="T102" fmla="*/ 2520 w 3059"/>
                <a:gd name="T103" fmla="*/ 447 h 922"/>
                <a:gd name="T104" fmla="*/ 2590 w 3059"/>
                <a:gd name="T105" fmla="*/ 368 h 922"/>
                <a:gd name="T106" fmla="*/ 2675 w 3059"/>
                <a:gd name="T107" fmla="*/ 357 h 922"/>
                <a:gd name="T108" fmla="*/ 2671 w 3059"/>
                <a:gd name="T109" fmla="*/ 503 h 922"/>
                <a:gd name="T110" fmla="*/ 2836 w 3059"/>
                <a:gd name="T111" fmla="*/ 621 h 922"/>
                <a:gd name="T112" fmla="*/ 2828 w 3059"/>
                <a:gd name="T113" fmla="*/ 508 h 922"/>
                <a:gd name="T114" fmla="*/ 2766 w 3059"/>
                <a:gd name="T115" fmla="*/ 422 h 922"/>
                <a:gd name="T116" fmla="*/ 2902 w 3059"/>
                <a:gd name="T117" fmla="*/ 363 h 922"/>
                <a:gd name="T118" fmla="*/ 2889 w 3059"/>
                <a:gd name="T119" fmla="*/ 277 h 922"/>
                <a:gd name="T120" fmla="*/ 1754 w 3059"/>
                <a:gd name="T121" fmla="*/ 593 h 922"/>
                <a:gd name="T122" fmla="*/ 1728 w 3059"/>
                <a:gd name="T123" fmla="*/ 532 h 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59" h="922">
                  <a:moveTo>
                    <a:pt x="3048" y="301"/>
                  </a:moveTo>
                  <a:cubicBezTo>
                    <a:pt x="3044" y="299"/>
                    <a:pt x="3044" y="299"/>
                    <a:pt x="3038" y="298"/>
                  </a:cubicBezTo>
                  <a:cubicBezTo>
                    <a:pt x="3033" y="296"/>
                    <a:pt x="3041" y="291"/>
                    <a:pt x="3036" y="287"/>
                  </a:cubicBezTo>
                  <a:cubicBezTo>
                    <a:pt x="3031" y="282"/>
                    <a:pt x="3024" y="279"/>
                    <a:pt x="3016" y="277"/>
                  </a:cubicBezTo>
                  <a:cubicBezTo>
                    <a:pt x="3008" y="274"/>
                    <a:pt x="3026" y="277"/>
                    <a:pt x="3038" y="276"/>
                  </a:cubicBezTo>
                  <a:cubicBezTo>
                    <a:pt x="3051" y="275"/>
                    <a:pt x="3047" y="275"/>
                    <a:pt x="3047" y="272"/>
                  </a:cubicBezTo>
                  <a:cubicBezTo>
                    <a:pt x="3047" y="269"/>
                    <a:pt x="3045" y="262"/>
                    <a:pt x="3039" y="256"/>
                  </a:cubicBezTo>
                  <a:cubicBezTo>
                    <a:pt x="3033" y="250"/>
                    <a:pt x="3031" y="254"/>
                    <a:pt x="3008" y="250"/>
                  </a:cubicBezTo>
                  <a:cubicBezTo>
                    <a:pt x="2984" y="247"/>
                    <a:pt x="2999" y="246"/>
                    <a:pt x="2987" y="243"/>
                  </a:cubicBezTo>
                  <a:cubicBezTo>
                    <a:pt x="2975" y="240"/>
                    <a:pt x="2981" y="241"/>
                    <a:pt x="2968" y="241"/>
                  </a:cubicBezTo>
                  <a:cubicBezTo>
                    <a:pt x="2956" y="240"/>
                    <a:pt x="2948" y="239"/>
                    <a:pt x="2934" y="239"/>
                  </a:cubicBezTo>
                  <a:cubicBezTo>
                    <a:pt x="2921" y="239"/>
                    <a:pt x="2939" y="243"/>
                    <a:pt x="2946" y="247"/>
                  </a:cubicBezTo>
                  <a:cubicBezTo>
                    <a:pt x="2953" y="251"/>
                    <a:pt x="2960" y="252"/>
                    <a:pt x="2961" y="257"/>
                  </a:cubicBezTo>
                  <a:cubicBezTo>
                    <a:pt x="2962" y="261"/>
                    <a:pt x="2955" y="256"/>
                    <a:pt x="2932" y="247"/>
                  </a:cubicBezTo>
                  <a:cubicBezTo>
                    <a:pt x="2909" y="238"/>
                    <a:pt x="2923" y="242"/>
                    <a:pt x="2916" y="237"/>
                  </a:cubicBezTo>
                  <a:cubicBezTo>
                    <a:pt x="2909" y="232"/>
                    <a:pt x="2905" y="232"/>
                    <a:pt x="2898" y="230"/>
                  </a:cubicBezTo>
                  <a:cubicBezTo>
                    <a:pt x="2891" y="227"/>
                    <a:pt x="2878" y="223"/>
                    <a:pt x="2866" y="220"/>
                  </a:cubicBezTo>
                  <a:cubicBezTo>
                    <a:pt x="2854" y="218"/>
                    <a:pt x="2848" y="217"/>
                    <a:pt x="2843" y="214"/>
                  </a:cubicBezTo>
                  <a:cubicBezTo>
                    <a:pt x="2838" y="212"/>
                    <a:pt x="2824" y="213"/>
                    <a:pt x="2804" y="207"/>
                  </a:cubicBezTo>
                  <a:cubicBezTo>
                    <a:pt x="2783" y="201"/>
                    <a:pt x="2781" y="202"/>
                    <a:pt x="2766" y="196"/>
                  </a:cubicBezTo>
                  <a:cubicBezTo>
                    <a:pt x="2750" y="191"/>
                    <a:pt x="2750" y="193"/>
                    <a:pt x="2740" y="189"/>
                  </a:cubicBezTo>
                  <a:cubicBezTo>
                    <a:pt x="2729" y="185"/>
                    <a:pt x="2717" y="183"/>
                    <a:pt x="2710" y="182"/>
                  </a:cubicBezTo>
                  <a:cubicBezTo>
                    <a:pt x="2703" y="180"/>
                    <a:pt x="2656" y="174"/>
                    <a:pt x="2652" y="174"/>
                  </a:cubicBezTo>
                  <a:cubicBezTo>
                    <a:pt x="2649" y="174"/>
                    <a:pt x="2637" y="174"/>
                    <a:pt x="2627" y="175"/>
                  </a:cubicBezTo>
                  <a:cubicBezTo>
                    <a:pt x="2617" y="175"/>
                    <a:pt x="2611" y="174"/>
                    <a:pt x="2598" y="171"/>
                  </a:cubicBezTo>
                  <a:cubicBezTo>
                    <a:pt x="2585" y="168"/>
                    <a:pt x="2588" y="169"/>
                    <a:pt x="2576" y="169"/>
                  </a:cubicBezTo>
                  <a:cubicBezTo>
                    <a:pt x="2564" y="168"/>
                    <a:pt x="2565" y="167"/>
                    <a:pt x="2557" y="165"/>
                  </a:cubicBezTo>
                  <a:cubicBezTo>
                    <a:pt x="2548" y="164"/>
                    <a:pt x="2548" y="169"/>
                    <a:pt x="2551" y="170"/>
                  </a:cubicBezTo>
                  <a:cubicBezTo>
                    <a:pt x="2555" y="170"/>
                    <a:pt x="2552" y="171"/>
                    <a:pt x="2557" y="178"/>
                  </a:cubicBezTo>
                  <a:cubicBezTo>
                    <a:pt x="2562" y="184"/>
                    <a:pt x="2562" y="182"/>
                    <a:pt x="2567" y="183"/>
                  </a:cubicBezTo>
                  <a:cubicBezTo>
                    <a:pt x="2572" y="185"/>
                    <a:pt x="2577" y="188"/>
                    <a:pt x="2585" y="191"/>
                  </a:cubicBezTo>
                  <a:cubicBezTo>
                    <a:pt x="2594" y="194"/>
                    <a:pt x="2591" y="198"/>
                    <a:pt x="2589" y="198"/>
                  </a:cubicBezTo>
                  <a:cubicBezTo>
                    <a:pt x="2588" y="198"/>
                    <a:pt x="2579" y="198"/>
                    <a:pt x="2571" y="196"/>
                  </a:cubicBezTo>
                  <a:cubicBezTo>
                    <a:pt x="2563" y="194"/>
                    <a:pt x="2566" y="193"/>
                    <a:pt x="2553" y="191"/>
                  </a:cubicBezTo>
                  <a:cubicBezTo>
                    <a:pt x="2539" y="190"/>
                    <a:pt x="2538" y="186"/>
                    <a:pt x="2529" y="184"/>
                  </a:cubicBezTo>
                  <a:cubicBezTo>
                    <a:pt x="2520" y="182"/>
                    <a:pt x="2534" y="181"/>
                    <a:pt x="2541" y="180"/>
                  </a:cubicBezTo>
                  <a:cubicBezTo>
                    <a:pt x="2548" y="179"/>
                    <a:pt x="2539" y="178"/>
                    <a:pt x="2526" y="173"/>
                  </a:cubicBezTo>
                  <a:cubicBezTo>
                    <a:pt x="2514" y="167"/>
                    <a:pt x="2508" y="171"/>
                    <a:pt x="2505" y="178"/>
                  </a:cubicBezTo>
                  <a:cubicBezTo>
                    <a:pt x="2501" y="185"/>
                    <a:pt x="2497" y="183"/>
                    <a:pt x="2488" y="181"/>
                  </a:cubicBezTo>
                  <a:cubicBezTo>
                    <a:pt x="2478" y="179"/>
                    <a:pt x="2478" y="181"/>
                    <a:pt x="2461" y="179"/>
                  </a:cubicBezTo>
                  <a:cubicBezTo>
                    <a:pt x="2444" y="177"/>
                    <a:pt x="2453" y="177"/>
                    <a:pt x="2441" y="178"/>
                  </a:cubicBezTo>
                  <a:cubicBezTo>
                    <a:pt x="2429" y="179"/>
                    <a:pt x="2428" y="179"/>
                    <a:pt x="2413" y="179"/>
                  </a:cubicBezTo>
                  <a:cubicBezTo>
                    <a:pt x="2399" y="179"/>
                    <a:pt x="2407" y="179"/>
                    <a:pt x="2393" y="179"/>
                  </a:cubicBezTo>
                  <a:cubicBezTo>
                    <a:pt x="2378" y="178"/>
                    <a:pt x="2389" y="178"/>
                    <a:pt x="2378" y="177"/>
                  </a:cubicBezTo>
                  <a:cubicBezTo>
                    <a:pt x="2368" y="176"/>
                    <a:pt x="2370" y="175"/>
                    <a:pt x="2362" y="170"/>
                  </a:cubicBezTo>
                  <a:cubicBezTo>
                    <a:pt x="2354" y="166"/>
                    <a:pt x="2357" y="166"/>
                    <a:pt x="2352" y="161"/>
                  </a:cubicBezTo>
                  <a:cubicBezTo>
                    <a:pt x="2347" y="155"/>
                    <a:pt x="2352" y="161"/>
                    <a:pt x="2342" y="158"/>
                  </a:cubicBezTo>
                  <a:cubicBezTo>
                    <a:pt x="2332" y="155"/>
                    <a:pt x="2333" y="156"/>
                    <a:pt x="2325" y="152"/>
                  </a:cubicBezTo>
                  <a:cubicBezTo>
                    <a:pt x="2318" y="148"/>
                    <a:pt x="2314" y="148"/>
                    <a:pt x="2303" y="148"/>
                  </a:cubicBezTo>
                  <a:cubicBezTo>
                    <a:pt x="2291" y="148"/>
                    <a:pt x="2285" y="148"/>
                    <a:pt x="2276" y="145"/>
                  </a:cubicBezTo>
                  <a:cubicBezTo>
                    <a:pt x="2266" y="142"/>
                    <a:pt x="2268" y="145"/>
                    <a:pt x="2253" y="145"/>
                  </a:cubicBezTo>
                  <a:cubicBezTo>
                    <a:pt x="2238" y="145"/>
                    <a:pt x="2250" y="145"/>
                    <a:pt x="2223" y="150"/>
                  </a:cubicBezTo>
                  <a:cubicBezTo>
                    <a:pt x="2195" y="155"/>
                    <a:pt x="2218" y="151"/>
                    <a:pt x="2198" y="150"/>
                  </a:cubicBezTo>
                  <a:cubicBezTo>
                    <a:pt x="2179" y="148"/>
                    <a:pt x="2188" y="148"/>
                    <a:pt x="2185" y="142"/>
                  </a:cubicBezTo>
                  <a:cubicBezTo>
                    <a:pt x="2181" y="136"/>
                    <a:pt x="2178" y="140"/>
                    <a:pt x="2164" y="138"/>
                  </a:cubicBezTo>
                  <a:cubicBezTo>
                    <a:pt x="2151" y="136"/>
                    <a:pt x="2156" y="138"/>
                    <a:pt x="2143" y="137"/>
                  </a:cubicBezTo>
                  <a:cubicBezTo>
                    <a:pt x="2129" y="136"/>
                    <a:pt x="2124" y="135"/>
                    <a:pt x="2111" y="134"/>
                  </a:cubicBezTo>
                  <a:cubicBezTo>
                    <a:pt x="2098" y="132"/>
                    <a:pt x="2119" y="129"/>
                    <a:pt x="2122" y="126"/>
                  </a:cubicBezTo>
                  <a:cubicBezTo>
                    <a:pt x="2126" y="123"/>
                    <a:pt x="2115" y="124"/>
                    <a:pt x="2109" y="121"/>
                  </a:cubicBezTo>
                  <a:cubicBezTo>
                    <a:pt x="2103" y="117"/>
                    <a:pt x="2083" y="120"/>
                    <a:pt x="2077" y="118"/>
                  </a:cubicBezTo>
                  <a:cubicBezTo>
                    <a:pt x="2071" y="117"/>
                    <a:pt x="2060" y="119"/>
                    <a:pt x="2060" y="121"/>
                  </a:cubicBezTo>
                  <a:cubicBezTo>
                    <a:pt x="2060" y="124"/>
                    <a:pt x="2055" y="130"/>
                    <a:pt x="2046" y="130"/>
                  </a:cubicBezTo>
                  <a:cubicBezTo>
                    <a:pt x="2037" y="130"/>
                    <a:pt x="2039" y="129"/>
                    <a:pt x="2037" y="126"/>
                  </a:cubicBezTo>
                  <a:cubicBezTo>
                    <a:pt x="2035" y="122"/>
                    <a:pt x="2026" y="122"/>
                    <a:pt x="2016" y="120"/>
                  </a:cubicBezTo>
                  <a:cubicBezTo>
                    <a:pt x="2007" y="117"/>
                    <a:pt x="2021" y="112"/>
                    <a:pt x="2035" y="117"/>
                  </a:cubicBezTo>
                  <a:cubicBezTo>
                    <a:pt x="2048" y="122"/>
                    <a:pt x="2042" y="112"/>
                    <a:pt x="2030" y="110"/>
                  </a:cubicBezTo>
                  <a:cubicBezTo>
                    <a:pt x="2017" y="109"/>
                    <a:pt x="2015" y="111"/>
                    <a:pt x="2008" y="109"/>
                  </a:cubicBezTo>
                  <a:cubicBezTo>
                    <a:pt x="2001" y="107"/>
                    <a:pt x="2004" y="108"/>
                    <a:pt x="1963" y="108"/>
                  </a:cubicBezTo>
                  <a:cubicBezTo>
                    <a:pt x="1923" y="109"/>
                    <a:pt x="1948" y="104"/>
                    <a:pt x="1933" y="105"/>
                  </a:cubicBezTo>
                  <a:cubicBezTo>
                    <a:pt x="1917" y="106"/>
                    <a:pt x="1941" y="108"/>
                    <a:pt x="1942" y="115"/>
                  </a:cubicBezTo>
                  <a:cubicBezTo>
                    <a:pt x="1943" y="122"/>
                    <a:pt x="1931" y="112"/>
                    <a:pt x="1921" y="112"/>
                  </a:cubicBezTo>
                  <a:cubicBezTo>
                    <a:pt x="1911" y="112"/>
                    <a:pt x="1922" y="117"/>
                    <a:pt x="1935" y="120"/>
                  </a:cubicBezTo>
                  <a:cubicBezTo>
                    <a:pt x="1948" y="123"/>
                    <a:pt x="1939" y="126"/>
                    <a:pt x="1949" y="131"/>
                  </a:cubicBezTo>
                  <a:cubicBezTo>
                    <a:pt x="1958" y="136"/>
                    <a:pt x="1958" y="137"/>
                    <a:pt x="1941" y="134"/>
                  </a:cubicBezTo>
                  <a:cubicBezTo>
                    <a:pt x="1925" y="130"/>
                    <a:pt x="1930" y="132"/>
                    <a:pt x="1921" y="132"/>
                  </a:cubicBezTo>
                  <a:cubicBezTo>
                    <a:pt x="1912" y="132"/>
                    <a:pt x="1926" y="138"/>
                    <a:pt x="1931" y="142"/>
                  </a:cubicBezTo>
                  <a:cubicBezTo>
                    <a:pt x="1936" y="146"/>
                    <a:pt x="1922" y="142"/>
                    <a:pt x="1906" y="136"/>
                  </a:cubicBezTo>
                  <a:cubicBezTo>
                    <a:pt x="1889" y="130"/>
                    <a:pt x="1893" y="134"/>
                    <a:pt x="1882" y="132"/>
                  </a:cubicBezTo>
                  <a:cubicBezTo>
                    <a:pt x="1871" y="130"/>
                    <a:pt x="1872" y="135"/>
                    <a:pt x="1864" y="139"/>
                  </a:cubicBezTo>
                  <a:cubicBezTo>
                    <a:pt x="1856" y="142"/>
                    <a:pt x="1847" y="139"/>
                    <a:pt x="1843" y="136"/>
                  </a:cubicBezTo>
                  <a:cubicBezTo>
                    <a:pt x="1839" y="133"/>
                    <a:pt x="1830" y="127"/>
                    <a:pt x="1818" y="126"/>
                  </a:cubicBezTo>
                  <a:cubicBezTo>
                    <a:pt x="1807" y="126"/>
                    <a:pt x="1817" y="131"/>
                    <a:pt x="1820" y="138"/>
                  </a:cubicBezTo>
                  <a:cubicBezTo>
                    <a:pt x="1824" y="145"/>
                    <a:pt x="1823" y="141"/>
                    <a:pt x="1823" y="148"/>
                  </a:cubicBezTo>
                  <a:cubicBezTo>
                    <a:pt x="1824" y="155"/>
                    <a:pt x="1820" y="157"/>
                    <a:pt x="1801" y="151"/>
                  </a:cubicBezTo>
                  <a:cubicBezTo>
                    <a:pt x="1783" y="144"/>
                    <a:pt x="1789" y="141"/>
                    <a:pt x="1785" y="139"/>
                  </a:cubicBezTo>
                  <a:cubicBezTo>
                    <a:pt x="1780" y="136"/>
                    <a:pt x="1762" y="132"/>
                    <a:pt x="1747" y="127"/>
                  </a:cubicBezTo>
                  <a:cubicBezTo>
                    <a:pt x="1732" y="123"/>
                    <a:pt x="1751" y="122"/>
                    <a:pt x="1757" y="120"/>
                  </a:cubicBezTo>
                  <a:cubicBezTo>
                    <a:pt x="1762" y="118"/>
                    <a:pt x="1747" y="114"/>
                    <a:pt x="1739" y="114"/>
                  </a:cubicBezTo>
                  <a:cubicBezTo>
                    <a:pt x="1731" y="114"/>
                    <a:pt x="1739" y="108"/>
                    <a:pt x="1732" y="106"/>
                  </a:cubicBezTo>
                  <a:cubicBezTo>
                    <a:pt x="1726" y="103"/>
                    <a:pt x="1723" y="103"/>
                    <a:pt x="1723" y="97"/>
                  </a:cubicBezTo>
                  <a:cubicBezTo>
                    <a:pt x="1723" y="90"/>
                    <a:pt x="1716" y="96"/>
                    <a:pt x="1708" y="96"/>
                  </a:cubicBezTo>
                  <a:cubicBezTo>
                    <a:pt x="1699" y="96"/>
                    <a:pt x="1698" y="91"/>
                    <a:pt x="1694" y="89"/>
                  </a:cubicBezTo>
                  <a:cubicBezTo>
                    <a:pt x="1691" y="88"/>
                    <a:pt x="1681" y="91"/>
                    <a:pt x="1669" y="91"/>
                  </a:cubicBezTo>
                  <a:cubicBezTo>
                    <a:pt x="1657" y="91"/>
                    <a:pt x="1660" y="91"/>
                    <a:pt x="1651" y="88"/>
                  </a:cubicBezTo>
                  <a:cubicBezTo>
                    <a:pt x="1641" y="85"/>
                    <a:pt x="1645" y="86"/>
                    <a:pt x="1626" y="85"/>
                  </a:cubicBezTo>
                  <a:cubicBezTo>
                    <a:pt x="1607" y="83"/>
                    <a:pt x="1619" y="85"/>
                    <a:pt x="1615" y="89"/>
                  </a:cubicBezTo>
                  <a:cubicBezTo>
                    <a:pt x="1610" y="92"/>
                    <a:pt x="1618" y="94"/>
                    <a:pt x="1624" y="102"/>
                  </a:cubicBezTo>
                  <a:cubicBezTo>
                    <a:pt x="1629" y="109"/>
                    <a:pt x="1622" y="104"/>
                    <a:pt x="1616" y="103"/>
                  </a:cubicBezTo>
                  <a:cubicBezTo>
                    <a:pt x="1610" y="103"/>
                    <a:pt x="1601" y="103"/>
                    <a:pt x="1586" y="102"/>
                  </a:cubicBezTo>
                  <a:cubicBezTo>
                    <a:pt x="1572" y="101"/>
                    <a:pt x="1577" y="101"/>
                    <a:pt x="1565" y="100"/>
                  </a:cubicBezTo>
                  <a:cubicBezTo>
                    <a:pt x="1552" y="98"/>
                    <a:pt x="1559" y="99"/>
                    <a:pt x="1540" y="96"/>
                  </a:cubicBezTo>
                  <a:cubicBezTo>
                    <a:pt x="1521" y="92"/>
                    <a:pt x="1533" y="92"/>
                    <a:pt x="1533" y="89"/>
                  </a:cubicBezTo>
                  <a:cubicBezTo>
                    <a:pt x="1533" y="85"/>
                    <a:pt x="1525" y="89"/>
                    <a:pt x="1515" y="87"/>
                  </a:cubicBezTo>
                  <a:cubicBezTo>
                    <a:pt x="1505" y="85"/>
                    <a:pt x="1508" y="88"/>
                    <a:pt x="1494" y="88"/>
                  </a:cubicBezTo>
                  <a:cubicBezTo>
                    <a:pt x="1480" y="88"/>
                    <a:pt x="1475" y="85"/>
                    <a:pt x="1465" y="86"/>
                  </a:cubicBezTo>
                  <a:cubicBezTo>
                    <a:pt x="1456" y="87"/>
                    <a:pt x="1458" y="86"/>
                    <a:pt x="1450" y="91"/>
                  </a:cubicBezTo>
                  <a:cubicBezTo>
                    <a:pt x="1442" y="96"/>
                    <a:pt x="1436" y="86"/>
                    <a:pt x="1432" y="81"/>
                  </a:cubicBezTo>
                  <a:cubicBezTo>
                    <a:pt x="1428" y="76"/>
                    <a:pt x="1427" y="81"/>
                    <a:pt x="1425" y="84"/>
                  </a:cubicBezTo>
                  <a:cubicBezTo>
                    <a:pt x="1423" y="88"/>
                    <a:pt x="1407" y="85"/>
                    <a:pt x="1402" y="82"/>
                  </a:cubicBezTo>
                  <a:cubicBezTo>
                    <a:pt x="1397" y="78"/>
                    <a:pt x="1414" y="79"/>
                    <a:pt x="1419" y="76"/>
                  </a:cubicBezTo>
                  <a:cubicBezTo>
                    <a:pt x="1425" y="74"/>
                    <a:pt x="1416" y="68"/>
                    <a:pt x="1410" y="68"/>
                  </a:cubicBezTo>
                  <a:cubicBezTo>
                    <a:pt x="1404" y="67"/>
                    <a:pt x="1398" y="70"/>
                    <a:pt x="1393" y="73"/>
                  </a:cubicBezTo>
                  <a:cubicBezTo>
                    <a:pt x="1389" y="77"/>
                    <a:pt x="1392" y="76"/>
                    <a:pt x="1384" y="77"/>
                  </a:cubicBezTo>
                  <a:cubicBezTo>
                    <a:pt x="1376" y="78"/>
                    <a:pt x="1379" y="78"/>
                    <a:pt x="1371" y="80"/>
                  </a:cubicBezTo>
                  <a:cubicBezTo>
                    <a:pt x="1363" y="83"/>
                    <a:pt x="1369" y="86"/>
                    <a:pt x="1377" y="84"/>
                  </a:cubicBezTo>
                  <a:cubicBezTo>
                    <a:pt x="1385" y="83"/>
                    <a:pt x="1384" y="83"/>
                    <a:pt x="1387" y="83"/>
                  </a:cubicBezTo>
                  <a:cubicBezTo>
                    <a:pt x="1390" y="83"/>
                    <a:pt x="1388" y="86"/>
                    <a:pt x="1381" y="89"/>
                  </a:cubicBezTo>
                  <a:cubicBezTo>
                    <a:pt x="1374" y="91"/>
                    <a:pt x="1379" y="89"/>
                    <a:pt x="1369" y="92"/>
                  </a:cubicBezTo>
                  <a:cubicBezTo>
                    <a:pt x="1358" y="95"/>
                    <a:pt x="1363" y="94"/>
                    <a:pt x="1357" y="98"/>
                  </a:cubicBezTo>
                  <a:cubicBezTo>
                    <a:pt x="1350" y="102"/>
                    <a:pt x="1343" y="98"/>
                    <a:pt x="1340" y="98"/>
                  </a:cubicBezTo>
                  <a:cubicBezTo>
                    <a:pt x="1337" y="97"/>
                    <a:pt x="1331" y="98"/>
                    <a:pt x="1327" y="103"/>
                  </a:cubicBezTo>
                  <a:cubicBezTo>
                    <a:pt x="1323" y="107"/>
                    <a:pt x="1322" y="109"/>
                    <a:pt x="1319" y="109"/>
                  </a:cubicBezTo>
                  <a:cubicBezTo>
                    <a:pt x="1317" y="109"/>
                    <a:pt x="1320" y="101"/>
                    <a:pt x="1323" y="97"/>
                  </a:cubicBezTo>
                  <a:cubicBezTo>
                    <a:pt x="1326" y="93"/>
                    <a:pt x="1331" y="90"/>
                    <a:pt x="1335" y="87"/>
                  </a:cubicBezTo>
                  <a:cubicBezTo>
                    <a:pt x="1339" y="84"/>
                    <a:pt x="1339" y="85"/>
                    <a:pt x="1355" y="83"/>
                  </a:cubicBezTo>
                  <a:cubicBezTo>
                    <a:pt x="1371" y="81"/>
                    <a:pt x="1361" y="77"/>
                    <a:pt x="1362" y="75"/>
                  </a:cubicBezTo>
                  <a:cubicBezTo>
                    <a:pt x="1364" y="72"/>
                    <a:pt x="1368" y="72"/>
                    <a:pt x="1374" y="70"/>
                  </a:cubicBezTo>
                  <a:cubicBezTo>
                    <a:pt x="1379" y="69"/>
                    <a:pt x="1378" y="65"/>
                    <a:pt x="1383" y="63"/>
                  </a:cubicBezTo>
                  <a:cubicBezTo>
                    <a:pt x="1387" y="61"/>
                    <a:pt x="1399" y="59"/>
                    <a:pt x="1400" y="57"/>
                  </a:cubicBezTo>
                  <a:cubicBezTo>
                    <a:pt x="1400" y="56"/>
                    <a:pt x="1394" y="50"/>
                    <a:pt x="1388" y="46"/>
                  </a:cubicBezTo>
                  <a:cubicBezTo>
                    <a:pt x="1381" y="43"/>
                    <a:pt x="1390" y="45"/>
                    <a:pt x="1397" y="45"/>
                  </a:cubicBezTo>
                  <a:cubicBezTo>
                    <a:pt x="1404" y="44"/>
                    <a:pt x="1396" y="42"/>
                    <a:pt x="1391" y="40"/>
                  </a:cubicBezTo>
                  <a:cubicBezTo>
                    <a:pt x="1387" y="38"/>
                    <a:pt x="1383" y="38"/>
                    <a:pt x="1374" y="33"/>
                  </a:cubicBezTo>
                  <a:cubicBezTo>
                    <a:pt x="1365" y="28"/>
                    <a:pt x="1362" y="30"/>
                    <a:pt x="1356" y="27"/>
                  </a:cubicBezTo>
                  <a:cubicBezTo>
                    <a:pt x="1350" y="23"/>
                    <a:pt x="1354" y="23"/>
                    <a:pt x="1342" y="20"/>
                  </a:cubicBezTo>
                  <a:cubicBezTo>
                    <a:pt x="1329" y="16"/>
                    <a:pt x="1330" y="20"/>
                    <a:pt x="1308" y="20"/>
                  </a:cubicBezTo>
                  <a:cubicBezTo>
                    <a:pt x="1287" y="20"/>
                    <a:pt x="1289" y="20"/>
                    <a:pt x="1288" y="20"/>
                  </a:cubicBezTo>
                  <a:cubicBezTo>
                    <a:pt x="1287" y="20"/>
                    <a:pt x="1277" y="20"/>
                    <a:pt x="1271" y="23"/>
                  </a:cubicBezTo>
                  <a:cubicBezTo>
                    <a:pt x="1264" y="25"/>
                    <a:pt x="1264" y="24"/>
                    <a:pt x="1253" y="23"/>
                  </a:cubicBezTo>
                  <a:cubicBezTo>
                    <a:pt x="1243" y="22"/>
                    <a:pt x="1257" y="21"/>
                    <a:pt x="1257" y="16"/>
                  </a:cubicBezTo>
                  <a:cubicBezTo>
                    <a:pt x="1258" y="11"/>
                    <a:pt x="1252" y="14"/>
                    <a:pt x="1247" y="13"/>
                  </a:cubicBezTo>
                  <a:cubicBezTo>
                    <a:pt x="1242" y="12"/>
                    <a:pt x="1238" y="12"/>
                    <a:pt x="1229" y="13"/>
                  </a:cubicBezTo>
                  <a:cubicBezTo>
                    <a:pt x="1220" y="14"/>
                    <a:pt x="1219" y="15"/>
                    <a:pt x="1210" y="14"/>
                  </a:cubicBezTo>
                  <a:cubicBezTo>
                    <a:pt x="1202" y="13"/>
                    <a:pt x="1215" y="10"/>
                    <a:pt x="1220" y="9"/>
                  </a:cubicBezTo>
                  <a:cubicBezTo>
                    <a:pt x="1225" y="8"/>
                    <a:pt x="1223" y="6"/>
                    <a:pt x="1216" y="4"/>
                  </a:cubicBezTo>
                  <a:cubicBezTo>
                    <a:pt x="1209" y="1"/>
                    <a:pt x="1210" y="3"/>
                    <a:pt x="1198" y="2"/>
                  </a:cubicBezTo>
                  <a:cubicBezTo>
                    <a:pt x="1186" y="1"/>
                    <a:pt x="1190" y="0"/>
                    <a:pt x="1188" y="0"/>
                  </a:cubicBezTo>
                  <a:cubicBezTo>
                    <a:pt x="1185" y="0"/>
                    <a:pt x="1181" y="1"/>
                    <a:pt x="1166" y="3"/>
                  </a:cubicBezTo>
                  <a:cubicBezTo>
                    <a:pt x="1150" y="5"/>
                    <a:pt x="1162" y="5"/>
                    <a:pt x="1155" y="9"/>
                  </a:cubicBezTo>
                  <a:cubicBezTo>
                    <a:pt x="1148" y="14"/>
                    <a:pt x="1152" y="14"/>
                    <a:pt x="1154" y="16"/>
                  </a:cubicBezTo>
                  <a:cubicBezTo>
                    <a:pt x="1157" y="18"/>
                    <a:pt x="1159" y="25"/>
                    <a:pt x="1157" y="25"/>
                  </a:cubicBezTo>
                  <a:cubicBezTo>
                    <a:pt x="1156" y="25"/>
                    <a:pt x="1147" y="25"/>
                    <a:pt x="1142" y="25"/>
                  </a:cubicBezTo>
                  <a:cubicBezTo>
                    <a:pt x="1137" y="25"/>
                    <a:pt x="1147" y="28"/>
                    <a:pt x="1152" y="32"/>
                  </a:cubicBezTo>
                  <a:cubicBezTo>
                    <a:pt x="1157" y="35"/>
                    <a:pt x="1142" y="34"/>
                    <a:pt x="1136" y="29"/>
                  </a:cubicBezTo>
                  <a:cubicBezTo>
                    <a:pt x="1130" y="25"/>
                    <a:pt x="1131" y="32"/>
                    <a:pt x="1123" y="32"/>
                  </a:cubicBezTo>
                  <a:cubicBezTo>
                    <a:pt x="1114" y="32"/>
                    <a:pt x="1117" y="32"/>
                    <a:pt x="1112" y="37"/>
                  </a:cubicBezTo>
                  <a:cubicBezTo>
                    <a:pt x="1107" y="41"/>
                    <a:pt x="1097" y="38"/>
                    <a:pt x="1097" y="36"/>
                  </a:cubicBezTo>
                  <a:cubicBezTo>
                    <a:pt x="1097" y="33"/>
                    <a:pt x="1094" y="32"/>
                    <a:pt x="1089" y="30"/>
                  </a:cubicBezTo>
                  <a:cubicBezTo>
                    <a:pt x="1083" y="28"/>
                    <a:pt x="1079" y="34"/>
                    <a:pt x="1074" y="32"/>
                  </a:cubicBezTo>
                  <a:cubicBezTo>
                    <a:pt x="1069" y="30"/>
                    <a:pt x="1071" y="35"/>
                    <a:pt x="1058" y="35"/>
                  </a:cubicBezTo>
                  <a:cubicBezTo>
                    <a:pt x="1046" y="35"/>
                    <a:pt x="1049" y="38"/>
                    <a:pt x="1044" y="37"/>
                  </a:cubicBezTo>
                  <a:cubicBezTo>
                    <a:pt x="1039" y="35"/>
                    <a:pt x="1044" y="42"/>
                    <a:pt x="1037" y="40"/>
                  </a:cubicBezTo>
                  <a:cubicBezTo>
                    <a:pt x="1029" y="39"/>
                    <a:pt x="1027" y="42"/>
                    <a:pt x="1017" y="42"/>
                  </a:cubicBezTo>
                  <a:cubicBezTo>
                    <a:pt x="1007" y="42"/>
                    <a:pt x="1007" y="44"/>
                    <a:pt x="1004" y="44"/>
                  </a:cubicBezTo>
                  <a:cubicBezTo>
                    <a:pt x="1000" y="44"/>
                    <a:pt x="995" y="46"/>
                    <a:pt x="986" y="45"/>
                  </a:cubicBezTo>
                  <a:cubicBezTo>
                    <a:pt x="977" y="45"/>
                    <a:pt x="983" y="51"/>
                    <a:pt x="977" y="52"/>
                  </a:cubicBezTo>
                  <a:cubicBezTo>
                    <a:pt x="972" y="54"/>
                    <a:pt x="971" y="56"/>
                    <a:pt x="968" y="57"/>
                  </a:cubicBezTo>
                  <a:cubicBezTo>
                    <a:pt x="964" y="57"/>
                    <a:pt x="967" y="63"/>
                    <a:pt x="966" y="64"/>
                  </a:cubicBezTo>
                  <a:cubicBezTo>
                    <a:pt x="965" y="65"/>
                    <a:pt x="963" y="69"/>
                    <a:pt x="964" y="72"/>
                  </a:cubicBezTo>
                  <a:cubicBezTo>
                    <a:pt x="964" y="74"/>
                    <a:pt x="976" y="76"/>
                    <a:pt x="976" y="76"/>
                  </a:cubicBezTo>
                  <a:cubicBezTo>
                    <a:pt x="976" y="76"/>
                    <a:pt x="977" y="83"/>
                    <a:pt x="967" y="81"/>
                  </a:cubicBezTo>
                  <a:cubicBezTo>
                    <a:pt x="957" y="80"/>
                    <a:pt x="967" y="81"/>
                    <a:pt x="961" y="84"/>
                  </a:cubicBezTo>
                  <a:cubicBezTo>
                    <a:pt x="955" y="86"/>
                    <a:pt x="948" y="85"/>
                    <a:pt x="938" y="85"/>
                  </a:cubicBezTo>
                  <a:cubicBezTo>
                    <a:pt x="927" y="85"/>
                    <a:pt x="926" y="86"/>
                    <a:pt x="919" y="85"/>
                  </a:cubicBezTo>
                  <a:cubicBezTo>
                    <a:pt x="911" y="85"/>
                    <a:pt x="905" y="86"/>
                    <a:pt x="897" y="85"/>
                  </a:cubicBezTo>
                  <a:cubicBezTo>
                    <a:pt x="889" y="85"/>
                    <a:pt x="883" y="87"/>
                    <a:pt x="877" y="89"/>
                  </a:cubicBezTo>
                  <a:cubicBezTo>
                    <a:pt x="872" y="92"/>
                    <a:pt x="876" y="95"/>
                    <a:pt x="877" y="99"/>
                  </a:cubicBezTo>
                  <a:cubicBezTo>
                    <a:pt x="879" y="102"/>
                    <a:pt x="879" y="99"/>
                    <a:pt x="894" y="108"/>
                  </a:cubicBezTo>
                  <a:cubicBezTo>
                    <a:pt x="908" y="117"/>
                    <a:pt x="897" y="113"/>
                    <a:pt x="902" y="115"/>
                  </a:cubicBezTo>
                  <a:cubicBezTo>
                    <a:pt x="906" y="118"/>
                    <a:pt x="915" y="117"/>
                    <a:pt x="923" y="118"/>
                  </a:cubicBezTo>
                  <a:cubicBezTo>
                    <a:pt x="932" y="118"/>
                    <a:pt x="937" y="122"/>
                    <a:pt x="942" y="129"/>
                  </a:cubicBezTo>
                  <a:cubicBezTo>
                    <a:pt x="946" y="136"/>
                    <a:pt x="936" y="131"/>
                    <a:pt x="926" y="131"/>
                  </a:cubicBezTo>
                  <a:cubicBezTo>
                    <a:pt x="916" y="131"/>
                    <a:pt x="917" y="128"/>
                    <a:pt x="910" y="126"/>
                  </a:cubicBezTo>
                  <a:cubicBezTo>
                    <a:pt x="902" y="123"/>
                    <a:pt x="907" y="125"/>
                    <a:pt x="899" y="121"/>
                  </a:cubicBezTo>
                  <a:cubicBezTo>
                    <a:pt x="890" y="116"/>
                    <a:pt x="892" y="119"/>
                    <a:pt x="885" y="118"/>
                  </a:cubicBezTo>
                  <a:cubicBezTo>
                    <a:pt x="878" y="118"/>
                    <a:pt x="876" y="115"/>
                    <a:pt x="869" y="115"/>
                  </a:cubicBezTo>
                  <a:cubicBezTo>
                    <a:pt x="863" y="115"/>
                    <a:pt x="864" y="115"/>
                    <a:pt x="860" y="113"/>
                  </a:cubicBezTo>
                  <a:cubicBezTo>
                    <a:pt x="856" y="111"/>
                    <a:pt x="857" y="111"/>
                    <a:pt x="851" y="110"/>
                  </a:cubicBezTo>
                  <a:cubicBezTo>
                    <a:pt x="844" y="109"/>
                    <a:pt x="843" y="111"/>
                    <a:pt x="835" y="113"/>
                  </a:cubicBezTo>
                  <a:cubicBezTo>
                    <a:pt x="828" y="115"/>
                    <a:pt x="837" y="117"/>
                    <a:pt x="843" y="120"/>
                  </a:cubicBezTo>
                  <a:cubicBezTo>
                    <a:pt x="848" y="123"/>
                    <a:pt x="846" y="120"/>
                    <a:pt x="854" y="120"/>
                  </a:cubicBezTo>
                  <a:cubicBezTo>
                    <a:pt x="862" y="119"/>
                    <a:pt x="857" y="120"/>
                    <a:pt x="859" y="127"/>
                  </a:cubicBezTo>
                  <a:cubicBezTo>
                    <a:pt x="862" y="133"/>
                    <a:pt x="858" y="129"/>
                    <a:pt x="852" y="129"/>
                  </a:cubicBezTo>
                  <a:cubicBezTo>
                    <a:pt x="846" y="129"/>
                    <a:pt x="845" y="128"/>
                    <a:pt x="839" y="126"/>
                  </a:cubicBezTo>
                  <a:cubicBezTo>
                    <a:pt x="834" y="124"/>
                    <a:pt x="834" y="124"/>
                    <a:pt x="830" y="124"/>
                  </a:cubicBezTo>
                  <a:cubicBezTo>
                    <a:pt x="826" y="124"/>
                    <a:pt x="825" y="131"/>
                    <a:pt x="830" y="135"/>
                  </a:cubicBezTo>
                  <a:cubicBezTo>
                    <a:pt x="835" y="138"/>
                    <a:pt x="841" y="138"/>
                    <a:pt x="848" y="138"/>
                  </a:cubicBezTo>
                  <a:cubicBezTo>
                    <a:pt x="855" y="138"/>
                    <a:pt x="855" y="138"/>
                    <a:pt x="862" y="138"/>
                  </a:cubicBezTo>
                  <a:cubicBezTo>
                    <a:pt x="868" y="137"/>
                    <a:pt x="872" y="143"/>
                    <a:pt x="884" y="147"/>
                  </a:cubicBezTo>
                  <a:cubicBezTo>
                    <a:pt x="896" y="151"/>
                    <a:pt x="886" y="151"/>
                    <a:pt x="878" y="149"/>
                  </a:cubicBezTo>
                  <a:cubicBezTo>
                    <a:pt x="870" y="148"/>
                    <a:pt x="874" y="147"/>
                    <a:pt x="861" y="145"/>
                  </a:cubicBezTo>
                  <a:cubicBezTo>
                    <a:pt x="849" y="142"/>
                    <a:pt x="856" y="145"/>
                    <a:pt x="847" y="144"/>
                  </a:cubicBezTo>
                  <a:cubicBezTo>
                    <a:pt x="838" y="143"/>
                    <a:pt x="840" y="142"/>
                    <a:pt x="828" y="141"/>
                  </a:cubicBezTo>
                  <a:cubicBezTo>
                    <a:pt x="815" y="139"/>
                    <a:pt x="821" y="139"/>
                    <a:pt x="814" y="132"/>
                  </a:cubicBezTo>
                  <a:cubicBezTo>
                    <a:pt x="806" y="126"/>
                    <a:pt x="812" y="122"/>
                    <a:pt x="812" y="119"/>
                  </a:cubicBezTo>
                  <a:cubicBezTo>
                    <a:pt x="812" y="116"/>
                    <a:pt x="812" y="114"/>
                    <a:pt x="809" y="111"/>
                  </a:cubicBezTo>
                  <a:cubicBezTo>
                    <a:pt x="805" y="107"/>
                    <a:pt x="797" y="103"/>
                    <a:pt x="788" y="101"/>
                  </a:cubicBezTo>
                  <a:cubicBezTo>
                    <a:pt x="779" y="99"/>
                    <a:pt x="791" y="109"/>
                    <a:pt x="798" y="112"/>
                  </a:cubicBezTo>
                  <a:cubicBezTo>
                    <a:pt x="804" y="115"/>
                    <a:pt x="801" y="117"/>
                    <a:pt x="798" y="120"/>
                  </a:cubicBezTo>
                  <a:cubicBezTo>
                    <a:pt x="796" y="123"/>
                    <a:pt x="790" y="124"/>
                    <a:pt x="785" y="126"/>
                  </a:cubicBezTo>
                  <a:cubicBezTo>
                    <a:pt x="780" y="127"/>
                    <a:pt x="783" y="129"/>
                    <a:pt x="779" y="134"/>
                  </a:cubicBezTo>
                  <a:cubicBezTo>
                    <a:pt x="774" y="138"/>
                    <a:pt x="783" y="139"/>
                    <a:pt x="791" y="143"/>
                  </a:cubicBezTo>
                  <a:cubicBezTo>
                    <a:pt x="800" y="147"/>
                    <a:pt x="796" y="148"/>
                    <a:pt x="805" y="152"/>
                  </a:cubicBezTo>
                  <a:cubicBezTo>
                    <a:pt x="813" y="156"/>
                    <a:pt x="813" y="155"/>
                    <a:pt x="812" y="159"/>
                  </a:cubicBezTo>
                  <a:cubicBezTo>
                    <a:pt x="811" y="163"/>
                    <a:pt x="810" y="165"/>
                    <a:pt x="810" y="175"/>
                  </a:cubicBezTo>
                  <a:cubicBezTo>
                    <a:pt x="810" y="184"/>
                    <a:pt x="818" y="184"/>
                    <a:pt x="818" y="185"/>
                  </a:cubicBezTo>
                  <a:cubicBezTo>
                    <a:pt x="819" y="186"/>
                    <a:pt x="831" y="190"/>
                    <a:pt x="836" y="189"/>
                  </a:cubicBezTo>
                  <a:cubicBezTo>
                    <a:pt x="841" y="188"/>
                    <a:pt x="856" y="188"/>
                    <a:pt x="861" y="187"/>
                  </a:cubicBezTo>
                  <a:cubicBezTo>
                    <a:pt x="867" y="185"/>
                    <a:pt x="878" y="191"/>
                    <a:pt x="887" y="192"/>
                  </a:cubicBezTo>
                  <a:cubicBezTo>
                    <a:pt x="896" y="192"/>
                    <a:pt x="895" y="198"/>
                    <a:pt x="904" y="202"/>
                  </a:cubicBezTo>
                  <a:cubicBezTo>
                    <a:pt x="912" y="206"/>
                    <a:pt x="907" y="210"/>
                    <a:pt x="907" y="215"/>
                  </a:cubicBezTo>
                  <a:cubicBezTo>
                    <a:pt x="906" y="219"/>
                    <a:pt x="908" y="223"/>
                    <a:pt x="914" y="224"/>
                  </a:cubicBezTo>
                  <a:cubicBezTo>
                    <a:pt x="920" y="226"/>
                    <a:pt x="925" y="229"/>
                    <a:pt x="922" y="229"/>
                  </a:cubicBezTo>
                  <a:cubicBezTo>
                    <a:pt x="919" y="229"/>
                    <a:pt x="910" y="230"/>
                    <a:pt x="907" y="227"/>
                  </a:cubicBezTo>
                  <a:cubicBezTo>
                    <a:pt x="905" y="224"/>
                    <a:pt x="900" y="215"/>
                    <a:pt x="899" y="210"/>
                  </a:cubicBezTo>
                  <a:cubicBezTo>
                    <a:pt x="898" y="206"/>
                    <a:pt x="897" y="210"/>
                    <a:pt x="892" y="205"/>
                  </a:cubicBezTo>
                  <a:cubicBezTo>
                    <a:pt x="887" y="201"/>
                    <a:pt x="883" y="203"/>
                    <a:pt x="879" y="199"/>
                  </a:cubicBezTo>
                  <a:cubicBezTo>
                    <a:pt x="874" y="195"/>
                    <a:pt x="871" y="195"/>
                    <a:pt x="869" y="194"/>
                  </a:cubicBezTo>
                  <a:cubicBezTo>
                    <a:pt x="867" y="194"/>
                    <a:pt x="861" y="196"/>
                    <a:pt x="856" y="196"/>
                  </a:cubicBezTo>
                  <a:cubicBezTo>
                    <a:pt x="851" y="196"/>
                    <a:pt x="848" y="196"/>
                    <a:pt x="843" y="196"/>
                  </a:cubicBezTo>
                  <a:cubicBezTo>
                    <a:pt x="838" y="197"/>
                    <a:pt x="843" y="211"/>
                    <a:pt x="847" y="213"/>
                  </a:cubicBezTo>
                  <a:cubicBezTo>
                    <a:pt x="852" y="215"/>
                    <a:pt x="856" y="222"/>
                    <a:pt x="854" y="224"/>
                  </a:cubicBezTo>
                  <a:cubicBezTo>
                    <a:pt x="853" y="226"/>
                    <a:pt x="851" y="228"/>
                    <a:pt x="849" y="236"/>
                  </a:cubicBezTo>
                  <a:cubicBezTo>
                    <a:pt x="846" y="245"/>
                    <a:pt x="847" y="240"/>
                    <a:pt x="842" y="246"/>
                  </a:cubicBezTo>
                  <a:cubicBezTo>
                    <a:pt x="836" y="252"/>
                    <a:pt x="837" y="248"/>
                    <a:pt x="834" y="253"/>
                  </a:cubicBezTo>
                  <a:cubicBezTo>
                    <a:pt x="832" y="258"/>
                    <a:pt x="827" y="257"/>
                    <a:pt x="822" y="258"/>
                  </a:cubicBezTo>
                  <a:cubicBezTo>
                    <a:pt x="817" y="260"/>
                    <a:pt x="816" y="260"/>
                    <a:pt x="812" y="260"/>
                  </a:cubicBezTo>
                  <a:cubicBezTo>
                    <a:pt x="808" y="260"/>
                    <a:pt x="805" y="262"/>
                    <a:pt x="795" y="260"/>
                  </a:cubicBezTo>
                  <a:cubicBezTo>
                    <a:pt x="785" y="258"/>
                    <a:pt x="778" y="256"/>
                    <a:pt x="774" y="254"/>
                  </a:cubicBezTo>
                  <a:cubicBezTo>
                    <a:pt x="771" y="251"/>
                    <a:pt x="773" y="249"/>
                    <a:pt x="773" y="249"/>
                  </a:cubicBezTo>
                  <a:cubicBezTo>
                    <a:pt x="773" y="249"/>
                    <a:pt x="783" y="247"/>
                    <a:pt x="787" y="245"/>
                  </a:cubicBezTo>
                  <a:cubicBezTo>
                    <a:pt x="791" y="244"/>
                    <a:pt x="796" y="245"/>
                    <a:pt x="803" y="248"/>
                  </a:cubicBezTo>
                  <a:cubicBezTo>
                    <a:pt x="810" y="251"/>
                    <a:pt x="813" y="249"/>
                    <a:pt x="812" y="247"/>
                  </a:cubicBezTo>
                  <a:cubicBezTo>
                    <a:pt x="811" y="246"/>
                    <a:pt x="817" y="242"/>
                    <a:pt x="820" y="236"/>
                  </a:cubicBezTo>
                  <a:cubicBezTo>
                    <a:pt x="824" y="229"/>
                    <a:pt x="824" y="230"/>
                    <a:pt x="828" y="225"/>
                  </a:cubicBezTo>
                  <a:cubicBezTo>
                    <a:pt x="832" y="221"/>
                    <a:pt x="825" y="217"/>
                    <a:pt x="825" y="215"/>
                  </a:cubicBezTo>
                  <a:cubicBezTo>
                    <a:pt x="825" y="212"/>
                    <a:pt x="825" y="210"/>
                    <a:pt x="823" y="205"/>
                  </a:cubicBezTo>
                  <a:cubicBezTo>
                    <a:pt x="821" y="200"/>
                    <a:pt x="810" y="201"/>
                    <a:pt x="808" y="198"/>
                  </a:cubicBezTo>
                  <a:cubicBezTo>
                    <a:pt x="805" y="195"/>
                    <a:pt x="801" y="191"/>
                    <a:pt x="800" y="184"/>
                  </a:cubicBezTo>
                  <a:cubicBezTo>
                    <a:pt x="799" y="176"/>
                    <a:pt x="791" y="178"/>
                    <a:pt x="788" y="171"/>
                  </a:cubicBezTo>
                  <a:cubicBezTo>
                    <a:pt x="785" y="164"/>
                    <a:pt x="784" y="162"/>
                    <a:pt x="785" y="156"/>
                  </a:cubicBezTo>
                  <a:cubicBezTo>
                    <a:pt x="786" y="151"/>
                    <a:pt x="781" y="148"/>
                    <a:pt x="775" y="145"/>
                  </a:cubicBezTo>
                  <a:cubicBezTo>
                    <a:pt x="770" y="142"/>
                    <a:pt x="765" y="141"/>
                    <a:pt x="758" y="136"/>
                  </a:cubicBezTo>
                  <a:cubicBezTo>
                    <a:pt x="751" y="132"/>
                    <a:pt x="759" y="132"/>
                    <a:pt x="760" y="131"/>
                  </a:cubicBezTo>
                  <a:cubicBezTo>
                    <a:pt x="761" y="130"/>
                    <a:pt x="759" y="122"/>
                    <a:pt x="758" y="113"/>
                  </a:cubicBezTo>
                  <a:cubicBezTo>
                    <a:pt x="758" y="105"/>
                    <a:pt x="757" y="110"/>
                    <a:pt x="743" y="106"/>
                  </a:cubicBezTo>
                  <a:cubicBezTo>
                    <a:pt x="730" y="102"/>
                    <a:pt x="729" y="106"/>
                    <a:pt x="720" y="105"/>
                  </a:cubicBezTo>
                  <a:cubicBezTo>
                    <a:pt x="712" y="105"/>
                    <a:pt x="713" y="105"/>
                    <a:pt x="707" y="103"/>
                  </a:cubicBezTo>
                  <a:cubicBezTo>
                    <a:pt x="701" y="100"/>
                    <a:pt x="716" y="98"/>
                    <a:pt x="722" y="98"/>
                  </a:cubicBezTo>
                  <a:cubicBezTo>
                    <a:pt x="729" y="98"/>
                    <a:pt x="727" y="97"/>
                    <a:pt x="723" y="94"/>
                  </a:cubicBezTo>
                  <a:cubicBezTo>
                    <a:pt x="719" y="91"/>
                    <a:pt x="705" y="91"/>
                    <a:pt x="701" y="92"/>
                  </a:cubicBezTo>
                  <a:cubicBezTo>
                    <a:pt x="698" y="93"/>
                    <a:pt x="702" y="100"/>
                    <a:pt x="697" y="100"/>
                  </a:cubicBezTo>
                  <a:cubicBezTo>
                    <a:pt x="692" y="100"/>
                    <a:pt x="692" y="105"/>
                    <a:pt x="691" y="108"/>
                  </a:cubicBezTo>
                  <a:cubicBezTo>
                    <a:pt x="690" y="112"/>
                    <a:pt x="690" y="124"/>
                    <a:pt x="690" y="127"/>
                  </a:cubicBezTo>
                  <a:cubicBezTo>
                    <a:pt x="690" y="129"/>
                    <a:pt x="690" y="133"/>
                    <a:pt x="684" y="135"/>
                  </a:cubicBezTo>
                  <a:cubicBezTo>
                    <a:pt x="678" y="138"/>
                    <a:pt x="677" y="138"/>
                    <a:pt x="672" y="139"/>
                  </a:cubicBezTo>
                  <a:cubicBezTo>
                    <a:pt x="667" y="140"/>
                    <a:pt x="671" y="144"/>
                    <a:pt x="671" y="149"/>
                  </a:cubicBezTo>
                  <a:cubicBezTo>
                    <a:pt x="671" y="154"/>
                    <a:pt x="681" y="152"/>
                    <a:pt x="683" y="152"/>
                  </a:cubicBezTo>
                  <a:cubicBezTo>
                    <a:pt x="686" y="153"/>
                    <a:pt x="686" y="155"/>
                    <a:pt x="685" y="157"/>
                  </a:cubicBezTo>
                  <a:cubicBezTo>
                    <a:pt x="684" y="159"/>
                    <a:pt x="690" y="164"/>
                    <a:pt x="692" y="165"/>
                  </a:cubicBezTo>
                  <a:cubicBezTo>
                    <a:pt x="694" y="165"/>
                    <a:pt x="689" y="174"/>
                    <a:pt x="689" y="176"/>
                  </a:cubicBezTo>
                  <a:cubicBezTo>
                    <a:pt x="689" y="179"/>
                    <a:pt x="695" y="181"/>
                    <a:pt x="695" y="181"/>
                  </a:cubicBezTo>
                  <a:cubicBezTo>
                    <a:pt x="695" y="181"/>
                    <a:pt x="709" y="182"/>
                    <a:pt x="715" y="182"/>
                  </a:cubicBezTo>
                  <a:cubicBezTo>
                    <a:pt x="721" y="182"/>
                    <a:pt x="715" y="182"/>
                    <a:pt x="722" y="189"/>
                  </a:cubicBezTo>
                  <a:cubicBezTo>
                    <a:pt x="729" y="197"/>
                    <a:pt x="726" y="193"/>
                    <a:pt x="734" y="194"/>
                  </a:cubicBezTo>
                  <a:cubicBezTo>
                    <a:pt x="743" y="195"/>
                    <a:pt x="739" y="194"/>
                    <a:pt x="739" y="196"/>
                  </a:cubicBezTo>
                  <a:cubicBezTo>
                    <a:pt x="739" y="198"/>
                    <a:pt x="739" y="203"/>
                    <a:pt x="741" y="208"/>
                  </a:cubicBezTo>
                  <a:cubicBezTo>
                    <a:pt x="743" y="213"/>
                    <a:pt x="740" y="213"/>
                    <a:pt x="733" y="210"/>
                  </a:cubicBezTo>
                  <a:cubicBezTo>
                    <a:pt x="725" y="207"/>
                    <a:pt x="720" y="205"/>
                    <a:pt x="712" y="201"/>
                  </a:cubicBezTo>
                  <a:cubicBezTo>
                    <a:pt x="704" y="198"/>
                    <a:pt x="704" y="199"/>
                    <a:pt x="696" y="195"/>
                  </a:cubicBezTo>
                  <a:cubicBezTo>
                    <a:pt x="688" y="191"/>
                    <a:pt x="675" y="194"/>
                    <a:pt x="663" y="188"/>
                  </a:cubicBezTo>
                  <a:cubicBezTo>
                    <a:pt x="650" y="183"/>
                    <a:pt x="649" y="180"/>
                    <a:pt x="644" y="177"/>
                  </a:cubicBezTo>
                  <a:cubicBezTo>
                    <a:pt x="639" y="174"/>
                    <a:pt x="633" y="177"/>
                    <a:pt x="620" y="176"/>
                  </a:cubicBezTo>
                  <a:cubicBezTo>
                    <a:pt x="606" y="176"/>
                    <a:pt x="620" y="176"/>
                    <a:pt x="606" y="175"/>
                  </a:cubicBezTo>
                  <a:cubicBezTo>
                    <a:pt x="592" y="175"/>
                    <a:pt x="592" y="175"/>
                    <a:pt x="587" y="175"/>
                  </a:cubicBezTo>
                  <a:cubicBezTo>
                    <a:pt x="582" y="175"/>
                    <a:pt x="583" y="177"/>
                    <a:pt x="577" y="176"/>
                  </a:cubicBezTo>
                  <a:cubicBezTo>
                    <a:pt x="570" y="176"/>
                    <a:pt x="572" y="174"/>
                    <a:pt x="566" y="170"/>
                  </a:cubicBezTo>
                  <a:cubicBezTo>
                    <a:pt x="561" y="166"/>
                    <a:pt x="556" y="164"/>
                    <a:pt x="549" y="160"/>
                  </a:cubicBezTo>
                  <a:cubicBezTo>
                    <a:pt x="542" y="156"/>
                    <a:pt x="536" y="159"/>
                    <a:pt x="536" y="162"/>
                  </a:cubicBezTo>
                  <a:cubicBezTo>
                    <a:pt x="536" y="165"/>
                    <a:pt x="542" y="169"/>
                    <a:pt x="549" y="172"/>
                  </a:cubicBezTo>
                  <a:cubicBezTo>
                    <a:pt x="556" y="175"/>
                    <a:pt x="559" y="175"/>
                    <a:pt x="563" y="175"/>
                  </a:cubicBezTo>
                  <a:cubicBezTo>
                    <a:pt x="568" y="175"/>
                    <a:pt x="573" y="181"/>
                    <a:pt x="573" y="182"/>
                  </a:cubicBezTo>
                  <a:cubicBezTo>
                    <a:pt x="573" y="183"/>
                    <a:pt x="577" y="187"/>
                    <a:pt x="582" y="188"/>
                  </a:cubicBezTo>
                  <a:cubicBezTo>
                    <a:pt x="586" y="189"/>
                    <a:pt x="585" y="189"/>
                    <a:pt x="588" y="193"/>
                  </a:cubicBezTo>
                  <a:cubicBezTo>
                    <a:pt x="592" y="196"/>
                    <a:pt x="585" y="198"/>
                    <a:pt x="579" y="199"/>
                  </a:cubicBezTo>
                  <a:cubicBezTo>
                    <a:pt x="573" y="201"/>
                    <a:pt x="576" y="203"/>
                    <a:pt x="577" y="207"/>
                  </a:cubicBezTo>
                  <a:cubicBezTo>
                    <a:pt x="578" y="210"/>
                    <a:pt x="573" y="213"/>
                    <a:pt x="569" y="211"/>
                  </a:cubicBezTo>
                  <a:cubicBezTo>
                    <a:pt x="565" y="209"/>
                    <a:pt x="563" y="204"/>
                    <a:pt x="563" y="201"/>
                  </a:cubicBezTo>
                  <a:cubicBezTo>
                    <a:pt x="563" y="198"/>
                    <a:pt x="562" y="199"/>
                    <a:pt x="558" y="194"/>
                  </a:cubicBezTo>
                  <a:cubicBezTo>
                    <a:pt x="554" y="189"/>
                    <a:pt x="551" y="194"/>
                    <a:pt x="542" y="196"/>
                  </a:cubicBezTo>
                  <a:cubicBezTo>
                    <a:pt x="534" y="198"/>
                    <a:pt x="535" y="200"/>
                    <a:pt x="532" y="201"/>
                  </a:cubicBezTo>
                  <a:cubicBezTo>
                    <a:pt x="529" y="203"/>
                    <a:pt x="524" y="203"/>
                    <a:pt x="519" y="203"/>
                  </a:cubicBezTo>
                  <a:cubicBezTo>
                    <a:pt x="513" y="203"/>
                    <a:pt x="513" y="202"/>
                    <a:pt x="507" y="201"/>
                  </a:cubicBezTo>
                  <a:cubicBezTo>
                    <a:pt x="502" y="200"/>
                    <a:pt x="497" y="205"/>
                    <a:pt x="494" y="206"/>
                  </a:cubicBezTo>
                  <a:cubicBezTo>
                    <a:pt x="491" y="206"/>
                    <a:pt x="488" y="208"/>
                    <a:pt x="480" y="212"/>
                  </a:cubicBezTo>
                  <a:cubicBezTo>
                    <a:pt x="473" y="215"/>
                    <a:pt x="474" y="213"/>
                    <a:pt x="469" y="213"/>
                  </a:cubicBezTo>
                  <a:cubicBezTo>
                    <a:pt x="463" y="214"/>
                    <a:pt x="467" y="213"/>
                    <a:pt x="461" y="209"/>
                  </a:cubicBezTo>
                  <a:cubicBezTo>
                    <a:pt x="455" y="205"/>
                    <a:pt x="467" y="207"/>
                    <a:pt x="468" y="204"/>
                  </a:cubicBezTo>
                  <a:cubicBezTo>
                    <a:pt x="470" y="202"/>
                    <a:pt x="468" y="200"/>
                    <a:pt x="466" y="195"/>
                  </a:cubicBezTo>
                  <a:cubicBezTo>
                    <a:pt x="463" y="190"/>
                    <a:pt x="461" y="196"/>
                    <a:pt x="452" y="195"/>
                  </a:cubicBezTo>
                  <a:cubicBezTo>
                    <a:pt x="443" y="195"/>
                    <a:pt x="448" y="196"/>
                    <a:pt x="443" y="196"/>
                  </a:cubicBezTo>
                  <a:cubicBezTo>
                    <a:pt x="438" y="196"/>
                    <a:pt x="442" y="204"/>
                    <a:pt x="446" y="207"/>
                  </a:cubicBezTo>
                  <a:cubicBezTo>
                    <a:pt x="450" y="210"/>
                    <a:pt x="440" y="213"/>
                    <a:pt x="437" y="206"/>
                  </a:cubicBezTo>
                  <a:cubicBezTo>
                    <a:pt x="435" y="199"/>
                    <a:pt x="436" y="204"/>
                    <a:pt x="425" y="204"/>
                  </a:cubicBezTo>
                  <a:cubicBezTo>
                    <a:pt x="415" y="204"/>
                    <a:pt x="422" y="206"/>
                    <a:pt x="415" y="207"/>
                  </a:cubicBezTo>
                  <a:cubicBezTo>
                    <a:pt x="407" y="208"/>
                    <a:pt x="409" y="213"/>
                    <a:pt x="396" y="217"/>
                  </a:cubicBezTo>
                  <a:cubicBezTo>
                    <a:pt x="392" y="218"/>
                    <a:pt x="391" y="219"/>
                    <a:pt x="391" y="219"/>
                  </a:cubicBezTo>
                  <a:cubicBezTo>
                    <a:pt x="394" y="220"/>
                    <a:pt x="392" y="220"/>
                    <a:pt x="391" y="219"/>
                  </a:cubicBezTo>
                  <a:cubicBezTo>
                    <a:pt x="390" y="219"/>
                    <a:pt x="388" y="219"/>
                    <a:pt x="385" y="219"/>
                  </a:cubicBezTo>
                  <a:cubicBezTo>
                    <a:pt x="369" y="218"/>
                    <a:pt x="382" y="222"/>
                    <a:pt x="380" y="222"/>
                  </a:cubicBezTo>
                  <a:cubicBezTo>
                    <a:pt x="377" y="223"/>
                    <a:pt x="377" y="225"/>
                    <a:pt x="374" y="226"/>
                  </a:cubicBezTo>
                  <a:cubicBezTo>
                    <a:pt x="372" y="227"/>
                    <a:pt x="371" y="227"/>
                    <a:pt x="367" y="229"/>
                  </a:cubicBezTo>
                  <a:cubicBezTo>
                    <a:pt x="362" y="231"/>
                    <a:pt x="367" y="229"/>
                    <a:pt x="365" y="234"/>
                  </a:cubicBezTo>
                  <a:cubicBezTo>
                    <a:pt x="364" y="240"/>
                    <a:pt x="364" y="239"/>
                    <a:pt x="361" y="244"/>
                  </a:cubicBezTo>
                  <a:cubicBezTo>
                    <a:pt x="357" y="250"/>
                    <a:pt x="359" y="246"/>
                    <a:pt x="346" y="245"/>
                  </a:cubicBezTo>
                  <a:cubicBezTo>
                    <a:pt x="333" y="244"/>
                    <a:pt x="339" y="245"/>
                    <a:pt x="332" y="242"/>
                  </a:cubicBezTo>
                  <a:cubicBezTo>
                    <a:pt x="326" y="240"/>
                    <a:pt x="330" y="242"/>
                    <a:pt x="324" y="238"/>
                  </a:cubicBezTo>
                  <a:cubicBezTo>
                    <a:pt x="317" y="234"/>
                    <a:pt x="317" y="235"/>
                    <a:pt x="310" y="231"/>
                  </a:cubicBezTo>
                  <a:cubicBezTo>
                    <a:pt x="304" y="227"/>
                    <a:pt x="314" y="228"/>
                    <a:pt x="314" y="225"/>
                  </a:cubicBezTo>
                  <a:cubicBezTo>
                    <a:pt x="315" y="222"/>
                    <a:pt x="320" y="223"/>
                    <a:pt x="324" y="222"/>
                  </a:cubicBezTo>
                  <a:cubicBezTo>
                    <a:pt x="327" y="222"/>
                    <a:pt x="331" y="221"/>
                    <a:pt x="340" y="220"/>
                  </a:cubicBezTo>
                  <a:cubicBezTo>
                    <a:pt x="348" y="218"/>
                    <a:pt x="337" y="217"/>
                    <a:pt x="337" y="213"/>
                  </a:cubicBezTo>
                  <a:cubicBezTo>
                    <a:pt x="337" y="209"/>
                    <a:pt x="328" y="210"/>
                    <a:pt x="324" y="207"/>
                  </a:cubicBezTo>
                  <a:cubicBezTo>
                    <a:pt x="320" y="203"/>
                    <a:pt x="319" y="206"/>
                    <a:pt x="311" y="205"/>
                  </a:cubicBezTo>
                  <a:cubicBezTo>
                    <a:pt x="304" y="204"/>
                    <a:pt x="304" y="204"/>
                    <a:pt x="295" y="202"/>
                  </a:cubicBezTo>
                  <a:cubicBezTo>
                    <a:pt x="286" y="201"/>
                    <a:pt x="281" y="202"/>
                    <a:pt x="274" y="202"/>
                  </a:cubicBezTo>
                  <a:cubicBezTo>
                    <a:pt x="267" y="201"/>
                    <a:pt x="283" y="207"/>
                    <a:pt x="287" y="208"/>
                  </a:cubicBezTo>
                  <a:cubicBezTo>
                    <a:pt x="291" y="209"/>
                    <a:pt x="291" y="210"/>
                    <a:pt x="294" y="213"/>
                  </a:cubicBezTo>
                  <a:cubicBezTo>
                    <a:pt x="296" y="215"/>
                    <a:pt x="295" y="216"/>
                    <a:pt x="295" y="218"/>
                  </a:cubicBezTo>
                  <a:cubicBezTo>
                    <a:pt x="295" y="221"/>
                    <a:pt x="290" y="228"/>
                    <a:pt x="290" y="232"/>
                  </a:cubicBezTo>
                  <a:cubicBezTo>
                    <a:pt x="290" y="236"/>
                    <a:pt x="293" y="237"/>
                    <a:pt x="299" y="237"/>
                  </a:cubicBezTo>
                  <a:cubicBezTo>
                    <a:pt x="305" y="237"/>
                    <a:pt x="301" y="240"/>
                    <a:pt x="305" y="244"/>
                  </a:cubicBezTo>
                  <a:cubicBezTo>
                    <a:pt x="309" y="247"/>
                    <a:pt x="309" y="246"/>
                    <a:pt x="305" y="252"/>
                  </a:cubicBezTo>
                  <a:cubicBezTo>
                    <a:pt x="301" y="259"/>
                    <a:pt x="304" y="262"/>
                    <a:pt x="301" y="260"/>
                  </a:cubicBezTo>
                  <a:cubicBezTo>
                    <a:pt x="297" y="259"/>
                    <a:pt x="292" y="260"/>
                    <a:pt x="290" y="258"/>
                  </a:cubicBezTo>
                  <a:cubicBezTo>
                    <a:pt x="288" y="256"/>
                    <a:pt x="282" y="256"/>
                    <a:pt x="276" y="254"/>
                  </a:cubicBezTo>
                  <a:cubicBezTo>
                    <a:pt x="270" y="251"/>
                    <a:pt x="268" y="255"/>
                    <a:pt x="263" y="254"/>
                  </a:cubicBezTo>
                  <a:cubicBezTo>
                    <a:pt x="258" y="254"/>
                    <a:pt x="261" y="260"/>
                    <a:pt x="251" y="263"/>
                  </a:cubicBezTo>
                  <a:cubicBezTo>
                    <a:pt x="240" y="266"/>
                    <a:pt x="250" y="265"/>
                    <a:pt x="242" y="269"/>
                  </a:cubicBezTo>
                  <a:cubicBezTo>
                    <a:pt x="234" y="273"/>
                    <a:pt x="238" y="272"/>
                    <a:pt x="229" y="274"/>
                  </a:cubicBezTo>
                  <a:cubicBezTo>
                    <a:pt x="220" y="275"/>
                    <a:pt x="226" y="279"/>
                    <a:pt x="226" y="283"/>
                  </a:cubicBezTo>
                  <a:cubicBezTo>
                    <a:pt x="225" y="288"/>
                    <a:pt x="228" y="285"/>
                    <a:pt x="236" y="289"/>
                  </a:cubicBezTo>
                  <a:cubicBezTo>
                    <a:pt x="245" y="293"/>
                    <a:pt x="242" y="296"/>
                    <a:pt x="244" y="299"/>
                  </a:cubicBezTo>
                  <a:cubicBezTo>
                    <a:pt x="245" y="302"/>
                    <a:pt x="240" y="300"/>
                    <a:pt x="231" y="298"/>
                  </a:cubicBezTo>
                  <a:cubicBezTo>
                    <a:pt x="222" y="295"/>
                    <a:pt x="227" y="297"/>
                    <a:pt x="219" y="297"/>
                  </a:cubicBezTo>
                  <a:cubicBezTo>
                    <a:pt x="211" y="296"/>
                    <a:pt x="216" y="296"/>
                    <a:pt x="204" y="295"/>
                  </a:cubicBezTo>
                  <a:cubicBezTo>
                    <a:pt x="192" y="293"/>
                    <a:pt x="199" y="294"/>
                    <a:pt x="192" y="291"/>
                  </a:cubicBezTo>
                  <a:cubicBezTo>
                    <a:pt x="185" y="288"/>
                    <a:pt x="186" y="287"/>
                    <a:pt x="183" y="287"/>
                  </a:cubicBezTo>
                  <a:cubicBezTo>
                    <a:pt x="180" y="286"/>
                    <a:pt x="178" y="288"/>
                    <a:pt x="173" y="288"/>
                  </a:cubicBezTo>
                  <a:cubicBezTo>
                    <a:pt x="168" y="288"/>
                    <a:pt x="171" y="293"/>
                    <a:pt x="169" y="297"/>
                  </a:cubicBezTo>
                  <a:cubicBezTo>
                    <a:pt x="167" y="302"/>
                    <a:pt x="175" y="300"/>
                    <a:pt x="185" y="304"/>
                  </a:cubicBezTo>
                  <a:cubicBezTo>
                    <a:pt x="195" y="307"/>
                    <a:pt x="192" y="307"/>
                    <a:pt x="199" y="307"/>
                  </a:cubicBezTo>
                  <a:cubicBezTo>
                    <a:pt x="207" y="307"/>
                    <a:pt x="201" y="310"/>
                    <a:pt x="201" y="313"/>
                  </a:cubicBezTo>
                  <a:cubicBezTo>
                    <a:pt x="201" y="317"/>
                    <a:pt x="197" y="319"/>
                    <a:pt x="193" y="319"/>
                  </a:cubicBezTo>
                  <a:cubicBezTo>
                    <a:pt x="188" y="319"/>
                    <a:pt x="188" y="319"/>
                    <a:pt x="179" y="317"/>
                  </a:cubicBezTo>
                  <a:cubicBezTo>
                    <a:pt x="170" y="316"/>
                    <a:pt x="172" y="312"/>
                    <a:pt x="170" y="311"/>
                  </a:cubicBezTo>
                  <a:cubicBezTo>
                    <a:pt x="168" y="309"/>
                    <a:pt x="163" y="308"/>
                    <a:pt x="155" y="306"/>
                  </a:cubicBezTo>
                  <a:cubicBezTo>
                    <a:pt x="148" y="304"/>
                    <a:pt x="148" y="306"/>
                    <a:pt x="142" y="302"/>
                  </a:cubicBezTo>
                  <a:cubicBezTo>
                    <a:pt x="137" y="298"/>
                    <a:pt x="138" y="299"/>
                    <a:pt x="136" y="293"/>
                  </a:cubicBezTo>
                  <a:cubicBezTo>
                    <a:pt x="135" y="287"/>
                    <a:pt x="136" y="289"/>
                    <a:pt x="130" y="284"/>
                  </a:cubicBezTo>
                  <a:cubicBezTo>
                    <a:pt x="124" y="280"/>
                    <a:pt x="129" y="279"/>
                    <a:pt x="131" y="274"/>
                  </a:cubicBezTo>
                  <a:cubicBezTo>
                    <a:pt x="134" y="269"/>
                    <a:pt x="130" y="268"/>
                    <a:pt x="128" y="264"/>
                  </a:cubicBezTo>
                  <a:cubicBezTo>
                    <a:pt x="126" y="261"/>
                    <a:pt x="120" y="260"/>
                    <a:pt x="111" y="258"/>
                  </a:cubicBezTo>
                  <a:cubicBezTo>
                    <a:pt x="102" y="256"/>
                    <a:pt x="103" y="258"/>
                    <a:pt x="93" y="252"/>
                  </a:cubicBezTo>
                  <a:cubicBezTo>
                    <a:pt x="82" y="246"/>
                    <a:pt x="86" y="245"/>
                    <a:pt x="82" y="239"/>
                  </a:cubicBezTo>
                  <a:cubicBezTo>
                    <a:pt x="78" y="232"/>
                    <a:pt x="90" y="242"/>
                    <a:pt x="97" y="246"/>
                  </a:cubicBezTo>
                  <a:cubicBezTo>
                    <a:pt x="103" y="251"/>
                    <a:pt x="102" y="249"/>
                    <a:pt x="111" y="249"/>
                  </a:cubicBezTo>
                  <a:cubicBezTo>
                    <a:pt x="120" y="249"/>
                    <a:pt x="123" y="253"/>
                    <a:pt x="136" y="255"/>
                  </a:cubicBezTo>
                  <a:cubicBezTo>
                    <a:pt x="148" y="258"/>
                    <a:pt x="144" y="257"/>
                    <a:pt x="158" y="257"/>
                  </a:cubicBezTo>
                  <a:cubicBezTo>
                    <a:pt x="172" y="257"/>
                    <a:pt x="176" y="262"/>
                    <a:pt x="183" y="263"/>
                  </a:cubicBezTo>
                  <a:cubicBezTo>
                    <a:pt x="191" y="264"/>
                    <a:pt x="190" y="264"/>
                    <a:pt x="199" y="264"/>
                  </a:cubicBezTo>
                  <a:cubicBezTo>
                    <a:pt x="208" y="264"/>
                    <a:pt x="207" y="263"/>
                    <a:pt x="214" y="260"/>
                  </a:cubicBezTo>
                  <a:cubicBezTo>
                    <a:pt x="221" y="257"/>
                    <a:pt x="231" y="261"/>
                    <a:pt x="239" y="255"/>
                  </a:cubicBezTo>
                  <a:cubicBezTo>
                    <a:pt x="247" y="248"/>
                    <a:pt x="242" y="247"/>
                    <a:pt x="243" y="241"/>
                  </a:cubicBezTo>
                  <a:cubicBezTo>
                    <a:pt x="245" y="236"/>
                    <a:pt x="241" y="232"/>
                    <a:pt x="239" y="227"/>
                  </a:cubicBezTo>
                  <a:cubicBezTo>
                    <a:pt x="236" y="223"/>
                    <a:pt x="233" y="224"/>
                    <a:pt x="225" y="222"/>
                  </a:cubicBezTo>
                  <a:cubicBezTo>
                    <a:pt x="217" y="219"/>
                    <a:pt x="214" y="216"/>
                    <a:pt x="206" y="214"/>
                  </a:cubicBezTo>
                  <a:cubicBezTo>
                    <a:pt x="198" y="212"/>
                    <a:pt x="206" y="214"/>
                    <a:pt x="193" y="207"/>
                  </a:cubicBezTo>
                  <a:cubicBezTo>
                    <a:pt x="181" y="199"/>
                    <a:pt x="189" y="206"/>
                    <a:pt x="175" y="200"/>
                  </a:cubicBezTo>
                  <a:cubicBezTo>
                    <a:pt x="162" y="194"/>
                    <a:pt x="173" y="199"/>
                    <a:pt x="154" y="194"/>
                  </a:cubicBezTo>
                  <a:cubicBezTo>
                    <a:pt x="135" y="189"/>
                    <a:pt x="148" y="193"/>
                    <a:pt x="141" y="190"/>
                  </a:cubicBezTo>
                  <a:cubicBezTo>
                    <a:pt x="133" y="188"/>
                    <a:pt x="135" y="189"/>
                    <a:pt x="121" y="188"/>
                  </a:cubicBezTo>
                  <a:cubicBezTo>
                    <a:pt x="107" y="187"/>
                    <a:pt x="109" y="188"/>
                    <a:pt x="101" y="186"/>
                  </a:cubicBezTo>
                  <a:cubicBezTo>
                    <a:pt x="94" y="184"/>
                    <a:pt x="93" y="187"/>
                    <a:pt x="88" y="187"/>
                  </a:cubicBezTo>
                  <a:cubicBezTo>
                    <a:pt x="83" y="187"/>
                    <a:pt x="83" y="185"/>
                    <a:pt x="73" y="183"/>
                  </a:cubicBezTo>
                  <a:cubicBezTo>
                    <a:pt x="62" y="180"/>
                    <a:pt x="79" y="180"/>
                    <a:pt x="82" y="178"/>
                  </a:cubicBezTo>
                  <a:cubicBezTo>
                    <a:pt x="85" y="176"/>
                    <a:pt x="77" y="174"/>
                    <a:pt x="74" y="173"/>
                  </a:cubicBezTo>
                  <a:cubicBezTo>
                    <a:pt x="72" y="172"/>
                    <a:pt x="69" y="172"/>
                    <a:pt x="59" y="171"/>
                  </a:cubicBezTo>
                  <a:cubicBezTo>
                    <a:pt x="50" y="170"/>
                    <a:pt x="58" y="173"/>
                    <a:pt x="53" y="174"/>
                  </a:cubicBezTo>
                  <a:cubicBezTo>
                    <a:pt x="48" y="174"/>
                    <a:pt x="52" y="174"/>
                    <a:pt x="44" y="176"/>
                  </a:cubicBezTo>
                  <a:cubicBezTo>
                    <a:pt x="44" y="176"/>
                    <a:pt x="43" y="176"/>
                    <a:pt x="42" y="176"/>
                  </a:cubicBezTo>
                  <a:cubicBezTo>
                    <a:pt x="42" y="178"/>
                    <a:pt x="42" y="180"/>
                    <a:pt x="41" y="180"/>
                  </a:cubicBezTo>
                  <a:cubicBezTo>
                    <a:pt x="40" y="181"/>
                    <a:pt x="36" y="180"/>
                    <a:pt x="34" y="179"/>
                  </a:cubicBezTo>
                  <a:cubicBezTo>
                    <a:pt x="32" y="178"/>
                    <a:pt x="30" y="179"/>
                    <a:pt x="30" y="181"/>
                  </a:cubicBezTo>
                  <a:cubicBezTo>
                    <a:pt x="29" y="183"/>
                    <a:pt x="22" y="186"/>
                    <a:pt x="17" y="187"/>
                  </a:cubicBezTo>
                  <a:cubicBezTo>
                    <a:pt x="13" y="188"/>
                    <a:pt x="10" y="194"/>
                    <a:pt x="6" y="196"/>
                  </a:cubicBezTo>
                  <a:cubicBezTo>
                    <a:pt x="6" y="198"/>
                    <a:pt x="6" y="199"/>
                    <a:pt x="6" y="201"/>
                  </a:cubicBezTo>
                  <a:cubicBezTo>
                    <a:pt x="5" y="204"/>
                    <a:pt x="0" y="205"/>
                    <a:pt x="4" y="208"/>
                  </a:cubicBezTo>
                  <a:cubicBezTo>
                    <a:pt x="7" y="211"/>
                    <a:pt x="11" y="213"/>
                    <a:pt x="15" y="215"/>
                  </a:cubicBezTo>
                  <a:cubicBezTo>
                    <a:pt x="20" y="216"/>
                    <a:pt x="25" y="219"/>
                    <a:pt x="28" y="221"/>
                  </a:cubicBezTo>
                  <a:cubicBezTo>
                    <a:pt x="31" y="223"/>
                    <a:pt x="35" y="221"/>
                    <a:pt x="33" y="227"/>
                  </a:cubicBezTo>
                  <a:cubicBezTo>
                    <a:pt x="31" y="233"/>
                    <a:pt x="27" y="233"/>
                    <a:pt x="24" y="236"/>
                  </a:cubicBezTo>
                  <a:cubicBezTo>
                    <a:pt x="21" y="239"/>
                    <a:pt x="18" y="243"/>
                    <a:pt x="22" y="248"/>
                  </a:cubicBezTo>
                  <a:cubicBezTo>
                    <a:pt x="25" y="253"/>
                    <a:pt x="25" y="253"/>
                    <a:pt x="33" y="258"/>
                  </a:cubicBezTo>
                  <a:cubicBezTo>
                    <a:pt x="40" y="264"/>
                    <a:pt x="47" y="270"/>
                    <a:pt x="43" y="273"/>
                  </a:cubicBezTo>
                  <a:cubicBezTo>
                    <a:pt x="40" y="275"/>
                    <a:pt x="37" y="277"/>
                    <a:pt x="38" y="279"/>
                  </a:cubicBezTo>
                  <a:cubicBezTo>
                    <a:pt x="38" y="282"/>
                    <a:pt x="33" y="283"/>
                    <a:pt x="37" y="285"/>
                  </a:cubicBezTo>
                  <a:cubicBezTo>
                    <a:pt x="42" y="287"/>
                    <a:pt x="39" y="287"/>
                    <a:pt x="39" y="291"/>
                  </a:cubicBezTo>
                  <a:cubicBezTo>
                    <a:pt x="39" y="296"/>
                    <a:pt x="41" y="296"/>
                    <a:pt x="43" y="296"/>
                  </a:cubicBezTo>
                  <a:cubicBezTo>
                    <a:pt x="46" y="296"/>
                    <a:pt x="49" y="295"/>
                    <a:pt x="48" y="299"/>
                  </a:cubicBezTo>
                  <a:cubicBezTo>
                    <a:pt x="47" y="303"/>
                    <a:pt x="44" y="303"/>
                    <a:pt x="48" y="305"/>
                  </a:cubicBezTo>
                  <a:cubicBezTo>
                    <a:pt x="51" y="306"/>
                    <a:pt x="63" y="306"/>
                    <a:pt x="58" y="312"/>
                  </a:cubicBezTo>
                  <a:cubicBezTo>
                    <a:pt x="54" y="319"/>
                    <a:pt x="40" y="319"/>
                    <a:pt x="52" y="324"/>
                  </a:cubicBezTo>
                  <a:cubicBezTo>
                    <a:pt x="65" y="328"/>
                    <a:pt x="87" y="338"/>
                    <a:pt x="82" y="345"/>
                  </a:cubicBezTo>
                  <a:cubicBezTo>
                    <a:pt x="77" y="352"/>
                    <a:pt x="72" y="358"/>
                    <a:pt x="61" y="367"/>
                  </a:cubicBezTo>
                  <a:cubicBezTo>
                    <a:pt x="51" y="376"/>
                    <a:pt x="24" y="398"/>
                    <a:pt x="18" y="403"/>
                  </a:cubicBezTo>
                  <a:cubicBezTo>
                    <a:pt x="18" y="403"/>
                    <a:pt x="19" y="403"/>
                    <a:pt x="20" y="402"/>
                  </a:cubicBezTo>
                  <a:cubicBezTo>
                    <a:pt x="31" y="402"/>
                    <a:pt x="29" y="400"/>
                    <a:pt x="33" y="402"/>
                  </a:cubicBezTo>
                  <a:cubicBezTo>
                    <a:pt x="37" y="405"/>
                    <a:pt x="33" y="406"/>
                    <a:pt x="39" y="412"/>
                  </a:cubicBezTo>
                  <a:cubicBezTo>
                    <a:pt x="45" y="418"/>
                    <a:pt x="45" y="412"/>
                    <a:pt x="52" y="411"/>
                  </a:cubicBezTo>
                  <a:cubicBezTo>
                    <a:pt x="59" y="409"/>
                    <a:pt x="65" y="415"/>
                    <a:pt x="67" y="417"/>
                  </a:cubicBezTo>
                  <a:cubicBezTo>
                    <a:pt x="69" y="419"/>
                    <a:pt x="59" y="420"/>
                    <a:pt x="55" y="418"/>
                  </a:cubicBezTo>
                  <a:cubicBezTo>
                    <a:pt x="51" y="416"/>
                    <a:pt x="48" y="419"/>
                    <a:pt x="44" y="422"/>
                  </a:cubicBezTo>
                  <a:cubicBezTo>
                    <a:pt x="40" y="425"/>
                    <a:pt x="37" y="422"/>
                    <a:pt x="29" y="422"/>
                  </a:cubicBezTo>
                  <a:cubicBezTo>
                    <a:pt x="21" y="421"/>
                    <a:pt x="27" y="423"/>
                    <a:pt x="26" y="429"/>
                  </a:cubicBezTo>
                  <a:cubicBezTo>
                    <a:pt x="26" y="429"/>
                    <a:pt x="26" y="429"/>
                    <a:pt x="26" y="429"/>
                  </a:cubicBezTo>
                  <a:cubicBezTo>
                    <a:pt x="28" y="431"/>
                    <a:pt x="29" y="431"/>
                    <a:pt x="27" y="434"/>
                  </a:cubicBezTo>
                  <a:cubicBezTo>
                    <a:pt x="24" y="437"/>
                    <a:pt x="20" y="442"/>
                    <a:pt x="19" y="446"/>
                  </a:cubicBezTo>
                  <a:cubicBezTo>
                    <a:pt x="17" y="450"/>
                    <a:pt x="20" y="455"/>
                    <a:pt x="22" y="457"/>
                  </a:cubicBezTo>
                  <a:cubicBezTo>
                    <a:pt x="24" y="460"/>
                    <a:pt x="25" y="464"/>
                    <a:pt x="25" y="469"/>
                  </a:cubicBezTo>
                  <a:cubicBezTo>
                    <a:pt x="25" y="473"/>
                    <a:pt x="22" y="474"/>
                    <a:pt x="20" y="476"/>
                  </a:cubicBezTo>
                  <a:cubicBezTo>
                    <a:pt x="18" y="477"/>
                    <a:pt x="18" y="478"/>
                    <a:pt x="17" y="479"/>
                  </a:cubicBezTo>
                  <a:cubicBezTo>
                    <a:pt x="19" y="480"/>
                    <a:pt x="20" y="481"/>
                    <a:pt x="22" y="482"/>
                  </a:cubicBezTo>
                  <a:cubicBezTo>
                    <a:pt x="25" y="483"/>
                    <a:pt x="30" y="481"/>
                    <a:pt x="29" y="486"/>
                  </a:cubicBezTo>
                  <a:cubicBezTo>
                    <a:pt x="28" y="492"/>
                    <a:pt x="27" y="495"/>
                    <a:pt x="29" y="498"/>
                  </a:cubicBezTo>
                  <a:cubicBezTo>
                    <a:pt x="31" y="501"/>
                    <a:pt x="34" y="500"/>
                    <a:pt x="37" y="503"/>
                  </a:cubicBezTo>
                  <a:cubicBezTo>
                    <a:pt x="40" y="507"/>
                    <a:pt x="39" y="507"/>
                    <a:pt x="39" y="514"/>
                  </a:cubicBezTo>
                  <a:cubicBezTo>
                    <a:pt x="38" y="515"/>
                    <a:pt x="38" y="515"/>
                    <a:pt x="38" y="516"/>
                  </a:cubicBezTo>
                  <a:cubicBezTo>
                    <a:pt x="37" y="520"/>
                    <a:pt x="36" y="518"/>
                    <a:pt x="42" y="518"/>
                  </a:cubicBezTo>
                  <a:cubicBezTo>
                    <a:pt x="50" y="518"/>
                    <a:pt x="53" y="515"/>
                    <a:pt x="57" y="519"/>
                  </a:cubicBezTo>
                  <a:cubicBezTo>
                    <a:pt x="61" y="522"/>
                    <a:pt x="66" y="520"/>
                    <a:pt x="67" y="524"/>
                  </a:cubicBezTo>
                  <a:cubicBezTo>
                    <a:pt x="68" y="528"/>
                    <a:pt x="65" y="531"/>
                    <a:pt x="71" y="528"/>
                  </a:cubicBezTo>
                  <a:cubicBezTo>
                    <a:pt x="78" y="525"/>
                    <a:pt x="80" y="521"/>
                    <a:pt x="85" y="524"/>
                  </a:cubicBezTo>
                  <a:cubicBezTo>
                    <a:pt x="91" y="528"/>
                    <a:pt x="98" y="528"/>
                    <a:pt x="99" y="534"/>
                  </a:cubicBezTo>
                  <a:cubicBezTo>
                    <a:pt x="100" y="540"/>
                    <a:pt x="102" y="546"/>
                    <a:pt x="101" y="550"/>
                  </a:cubicBezTo>
                  <a:cubicBezTo>
                    <a:pt x="100" y="553"/>
                    <a:pt x="100" y="552"/>
                    <a:pt x="106" y="559"/>
                  </a:cubicBezTo>
                  <a:cubicBezTo>
                    <a:pt x="112" y="566"/>
                    <a:pt x="112" y="569"/>
                    <a:pt x="115" y="570"/>
                  </a:cubicBezTo>
                  <a:cubicBezTo>
                    <a:pt x="118" y="570"/>
                    <a:pt x="125" y="567"/>
                    <a:pt x="125" y="571"/>
                  </a:cubicBezTo>
                  <a:cubicBezTo>
                    <a:pt x="125" y="575"/>
                    <a:pt x="127" y="578"/>
                    <a:pt x="132" y="579"/>
                  </a:cubicBezTo>
                  <a:cubicBezTo>
                    <a:pt x="136" y="580"/>
                    <a:pt x="138" y="580"/>
                    <a:pt x="140" y="584"/>
                  </a:cubicBezTo>
                  <a:cubicBezTo>
                    <a:pt x="142" y="588"/>
                    <a:pt x="150" y="587"/>
                    <a:pt x="147" y="589"/>
                  </a:cubicBezTo>
                  <a:cubicBezTo>
                    <a:pt x="144" y="592"/>
                    <a:pt x="144" y="597"/>
                    <a:pt x="135" y="597"/>
                  </a:cubicBezTo>
                  <a:cubicBezTo>
                    <a:pt x="126" y="597"/>
                    <a:pt x="115" y="592"/>
                    <a:pt x="118" y="599"/>
                  </a:cubicBezTo>
                  <a:cubicBezTo>
                    <a:pt x="121" y="607"/>
                    <a:pt x="122" y="607"/>
                    <a:pt x="123" y="611"/>
                  </a:cubicBezTo>
                  <a:cubicBezTo>
                    <a:pt x="124" y="614"/>
                    <a:pt x="124" y="620"/>
                    <a:pt x="127" y="622"/>
                  </a:cubicBezTo>
                  <a:cubicBezTo>
                    <a:pt x="127" y="623"/>
                    <a:pt x="128" y="623"/>
                    <a:pt x="129" y="623"/>
                  </a:cubicBezTo>
                  <a:cubicBezTo>
                    <a:pt x="134" y="624"/>
                    <a:pt x="139" y="631"/>
                    <a:pt x="139" y="623"/>
                  </a:cubicBezTo>
                  <a:cubicBezTo>
                    <a:pt x="139" y="616"/>
                    <a:pt x="139" y="616"/>
                    <a:pt x="145" y="617"/>
                  </a:cubicBezTo>
                  <a:cubicBezTo>
                    <a:pt x="152" y="619"/>
                    <a:pt x="151" y="619"/>
                    <a:pt x="158" y="619"/>
                  </a:cubicBezTo>
                  <a:cubicBezTo>
                    <a:pt x="165" y="618"/>
                    <a:pt x="164" y="616"/>
                    <a:pt x="172" y="619"/>
                  </a:cubicBezTo>
                  <a:cubicBezTo>
                    <a:pt x="180" y="622"/>
                    <a:pt x="184" y="626"/>
                    <a:pt x="185" y="630"/>
                  </a:cubicBezTo>
                  <a:cubicBezTo>
                    <a:pt x="186" y="633"/>
                    <a:pt x="188" y="630"/>
                    <a:pt x="185" y="635"/>
                  </a:cubicBezTo>
                  <a:cubicBezTo>
                    <a:pt x="183" y="640"/>
                    <a:pt x="181" y="641"/>
                    <a:pt x="187" y="645"/>
                  </a:cubicBezTo>
                  <a:cubicBezTo>
                    <a:pt x="192" y="649"/>
                    <a:pt x="193" y="649"/>
                    <a:pt x="199" y="649"/>
                  </a:cubicBezTo>
                  <a:cubicBezTo>
                    <a:pt x="204" y="649"/>
                    <a:pt x="199" y="645"/>
                    <a:pt x="204" y="649"/>
                  </a:cubicBezTo>
                  <a:cubicBezTo>
                    <a:pt x="210" y="654"/>
                    <a:pt x="212" y="654"/>
                    <a:pt x="214" y="660"/>
                  </a:cubicBezTo>
                  <a:cubicBezTo>
                    <a:pt x="216" y="666"/>
                    <a:pt x="205" y="668"/>
                    <a:pt x="218" y="670"/>
                  </a:cubicBezTo>
                  <a:cubicBezTo>
                    <a:pt x="231" y="672"/>
                    <a:pt x="229" y="669"/>
                    <a:pt x="238" y="672"/>
                  </a:cubicBezTo>
                  <a:cubicBezTo>
                    <a:pt x="247" y="675"/>
                    <a:pt x="246" y="664"/>
                    <a:pt x="254" y="668"/>
                  </a:cubicBezTo>
                  <a:cubicBezTo>
                    <a:pt x="262" y="672"/>
                    <a:pt x="265" y="684"/>
                    <a:pt x="272" y="684"/>
                  </a:cubicBezTo>
                  <a:cubicBezTo>
                    <a:pt x="278" y="684"/>
                    <a:pt x="276" y="679"/>
                    <a:pt x="289" y="684"/>
                  </a:cubicBezTo>
                  <a:cubicBezTo>
                    <a:pt x="302" y="689"/>
                    <a:pt x="303" y="686"/>
                    <a:pt x="312" y="690"/>
                  </a:cubicBezTo>
                  <a:cubicBezTo>
                    <a:pt x="321" y="694"/>
                    <a:pt x="323" y="697"/>
                    <a:pt x="322" y="701"/>
                  </a:cubicBezTo>
                  <a:cubicBezTo>
                    <a:pt x="321" y="705"/>
                    <a:pt x="313" y="709"/>
                    <a:pt x="316" y="712"/>
                  </a:cubicBezTo>
                  <a:cubicBezTo>
                    <a:pt x="319" y="716"/>
                    <a:pt x="315" y="717"/>
                    <a:pt x="318" y="724"/>
                  </a:cubicBezTo>
                  <a:cubicBezTo>
                    <a:pt x="320" y="731"/>
                    <a:pt x="330" y="729"/>
                    <a:pt x="320" y="735"/>
                  </a:cubicBezTo>
                  <a:cubicBezTo>
                    <a:pt x="311" y="741"/>
                    <a:pt x="301" y="731"/>
                    <a:pt x="295" y="738"/>
                  </a:cubicBezTo>
                  <a:cubicBezTo>
                    <a:pt x="289" y="745"/>
                    <a:pt x="290" y="745"/>
                    <a:pt x="289" y="752"/>
                  </a:cubicBezTo>
                  <a:cubicBezTo>
                    <a:pt x="289" y="755"/>
                    <a:pt x="289" y="757"/>
                    <a:pt x="289" y="759"/>
                  </a:cubicBezTo>
                  <a:cubicBezTo>
                    <a:pt x="292" y="759"/>
                    <a:pt x="294" y="759"/>
                    <a:pt x="295" y="758"/>
                  </a:cubicBezTo>
                  <a:cubicBezTo>
                    <a:pt x="298" y="756"/>
                    <a:pt x="304" y="756"/>
                    <a:pt x="310" y="755"/>
                  </a:cubicBezTo>
                  <a:cubicBezTo>
                    <a:pt x="316" y="755"/>
                    <a:pt x="308" y="761"/>
                    <a:pt x="307" y="762"/>
                  </a:cubicBezTo>
                  <a:cubicBezTo>
                    <a:pt x="306" y="763"/>
                    <a:pt x="303" y="764"/>
                    <a:pt x="300" y="766"/>
                  </a:cubicBezTo>
                  <a:cubicBezTo>
                    <a:pt x="296" y="769"/>
                    <a:pt x="297" y="771"/>
                    <a:pt x="292" y="771"/>
                  </a:cubicBezTo>
                  <a:cubicBezTo>
                    <a:pt x="287" y="771"/>
                    <a:pt x="285" y="772"/>
                    <a:pt x="281" y="773"/>
                  </a:cubicBezTo>
                  <a:cubicBezTo>
                    <a:pt x="277" y="774"/>
                    <a:pt x="285" y="779"/>
                    <a:pt x="288" y="779"/>
                  </a:cubicBezTo>
                  <a:cubicBezTo>
                    <a:pt x="292" y="780"/>
                    <a:pt x="294" y="783"/>
                    <a:pt x="296" y="786"/>
                  </a:cubicBezTo>
                  <a:cubicBezTo>
                    <a:pt x="297" y="788"/>
                    <a:pt x="294" y="788"/>
                    <a:pt x="287" y="790"/>
                  </a:cubicBezTo>
                  <a:cubicBezTo>
                    <a:pt x="280" y="791"/>
                    <a:pt x="284" y="797"/>
                    <a:pt x="281" y="798"/>
                  </a:cubicBezTo>
                  <a:cubicBezTo>
                    <a:pt x="278" y="800"/>
                    <a:pt x="282" y="803"/>
                    <a:pt x="285" y="804"/>
                  </a:cubicBezTo>
                  <a:cubicBezTo>
                    <a:pt x="287" y="805"/>
                    <a:pt x="284" y="807"/>
                    <a:pt x="282" y="809"/>
                  </a:cubicBezTo>
                  <a:cubicBezTo>
                    <a:pt x="279" y="812"/>
                    <a:pt x="271" y="807"/>
                    <a:pt x="266" y="805"/>
                  </a:cubicBezTo>
                  <a:cubicBezTo>
                    <a:pt x="262" y="803"/>
                    <a:pt x="261" y="808"/>
                    <a:pt x="261" y="810"/>
                  </a:cubicBezTo>
                  <a:cubicBezTo>
                    <a:pt x="261" y="812"/>
                    <a:pt x="266" y="817"/>
                    <a:pt x="271" y="818"/>
                  </a:cubicBezTo>
                  <a:cubicBezTo>
                    <a:pt x="277" y="818"/>
                    <a:pt x="275" y="826"/>
                    <a:pt x="283" y="827"/>
                  </a:cubicBezTo>
                  <a:cubicBezTo>
                    <a:pt x="292" y="828"/>
                    <a:pt x="291" y="827"/>
                    <a:pt x="296" y="829"/>
                  </a:cubicBezTo>
                  <a:cubicBezTo>
                    <a:pt x="302" y="832"/>
                    <a:pt x="304" y="836"/>
                    <a:pt x="312" y="839"/>
                  </a:cubicBezTo>
                  <a:cubicBezTo>
                    <a:pt x="321" y="842"/>
                    <a:pt x="324" y="848"/>
                    <a:pt x="331" y="851"/>
                  </a:cubicBezTo>
                  <a:cubicBezTo>
                    <a:pt x="338" y="854"/>
                    <a:pt x="334" y="858"/>
                    <a:pt x="342" y="862"/>
                  </a:cubicBezTo>
                  <a:cubicBezTo>
                    <a:pt x="342" y="862"/>
                    <a:pt x="342" y="862"/>
                    <a:pt x="343" y="863"/>
                  </a:cubicBezTo>
                  <a:cubicBezTo>
                    <a:pt x="343" y="862"/>
                    <a:pt x="344" y="861"/>
                    <a:pt x="344" y="860"/>
                  </a:cubicBezTo>
                  <a:cubicBezTo>
                    <a:pt x="345" y="858"/>
                    <a:pt x="346" y="857"/>
                    <a:pt x="350" y="857"/>
                  </a:cubicBezTo>
                  <a:cubicBezTo>
                    <a:pt x="353" y="857"/>
                    <a:pt x="356" y="857"/>
                    <a:pt x="359" y="858"/>
                  </a:cubicBezTo>
                  <a:cubicBezTo>
                    <a:pt x="362" y="860"/>
                    <a:pt x="363" y="858"/>
                    <a:pt x="367" y="860"/>
                  </a:cubicBezTo>
                  <a:cubicBezTo>
                    <a:pt x="370" y="862"/>
                    <a:pt x="371" y="862"/>
                    <a:pt x="375" y="864"/>
                  </a:cubicBezTo>
                  <a:cubicBezTo>
                    <a:pt x="379" y="865"/>
                    <a:pt x="381" y="866"/>
                    <a:pt x="388" y="867"/>
                  </a:cubicBezTo>
                  <a:cubicBezTo>
                    <a:pt x="394" y="867"/>
                    <a:pt x="397" y="866"/>
                    <a:pt x="402" y="868"/>
                  </a:cubicBezTo>
                  <a:cubicBezTo>
                    <a:pt x="407" y="869"/>
                    <a:pt x="408" y="866"/>
                    <a:pt x="412" y="869"/>
                  </a:cubicBezTo>
                  <a:cubicBezTo>
                    <a:pt x="415" y="872"/>
                    <a:pt x="421" y="872"/>
                    <a:pt x="425" y="878"/>
                  </a:cubicBezTo>
                  <a:cubicBezTo>
                    <a:pt x="430" y="883"/>
                    <a:pt x="432" y="884"/>
                    <a:pt x="438" y="883"/>
                  </a:cubicBezTo>
                  <a:cubicBezTo>
                    <a:pt x="444" y="882"/>
                    <a:pt x="451" y="878"/>
                    <a:pt x="460" y="882"/>
                  </a:cubicBezTo>
                  <a:cubicBezTo>
                    <a:pt x="469" y="885"/>
                    <a:pt x="472" y="885"/>
                    <a:pt x="474" y="886"/>
                  </a:cubicBezTo>
                  <a:cubicBezTo>
                    <a:pt x="475" y="886"/>
                    <a:pt x="476" y="888"/>
                    <a:pt x="477" y="891"/>
                  </a:cubicBezTo>
                  <a:cubicBezTo>
                    <a:pt x="477" y="894"/>
                    <a:pt x="479" y="896"/>
                    <a:pt x="481" y="898"/>
                  </a:cubicBezTo>
                  <a:cubicBezTo>
                    <a:pt x="484" y="900"/>
                    <a:pt x="489" y="900"/>
                    <a:pt x="496" y="902"/>
                  </a:cubicBezTo>
                  <a:cubicBezTo>
                    <a:pt x="496" y="903"/>
                    <a:pt x="496" y="903"/>
                    <a:pt x="497" y="903"/>
                  </a:cubicBezTo>
                  <a:cubicBezTo>
                    <a:pt x="503" y="904"/>
                    <a:pt x="505" y="902"/>
                    <a:pt x="508" y="906"/>
                  </a:cubicBezTo>
                  <a:cubicBezTo>
                    <a:pt x="511" y="911"/>
                    <a:pt x="515" y="913"/>
                    <a:pt x="519" y="917"/>
                  </a:cubicBezTo>
                  <a:cubicBezTo>
                    <a:pt x="522" y="921"/>
                    <a:pt x="520" y="922"/>
                    <a:pt x="526" y="921"/>
                  </a:cubicBezTo>
                  <a:cubicBezTo>
                    <a:pt x="532" y="921"/>
                    <a:pt x="534" y="921"/>
                    <a:pt x="534" y="917"/>
                  </a:cubicBezTo>
                  <a:cubicBezTo>
                    <a:pt x="534" y="913"/>
                    <a:pt x="542" y="909"/>
                    <a:pt x="544" y="907"/>
                  </a:cubicBezTo>
                  <a:cubicBezTo>
                    <a:pt x="545" y="906"/>
                    <a:pt x="545" y="906"/>
                    <a:pt x="546" y="905"/>
                  </a:cubicBezTo>
                  <a:cubicBezTo>
                    <a:pt x="544" y="904"/>
                    <a:pt x="543" y="903"/>
                    <a:pt x="541" y="902"/>
                  </a:cubicBezTo>
                  <a:cubicBezTo>
                    <a:pt x="537" y="897"/>
                    <a:pt x="529" y="889"/>
                    <a:pt x="526" y="886"/>
                  </a:cubicBezTo>
                  <a:cubicBezTo>
                    <a:pt x="524" y="883"/>
                    <a:pt x="520" y="874"/>
                    <a:pt x="517" y="871"/>
                  </a:cubicBezTo>
                  <a:cubicBezTo>
                    <a:pt x="514" y="867"/>
                    <a:pt x="513" y="864"/>
                    <a:pt x="512" y="860"/>
                  </a:cubicBezTo>
                  <a:cubicBezTo>
                    <a:pt x="511" y="856"/>
                    <a:pt x="512" y="853"/>
                    <a:pt x="506" y="846"/>
                  </a:cubicBezTo>
                  <a:cubicBezTo>
                    <a:pt x="500" y="839"/>
                    <a:pt x="495" y="838"/>
                    <a:pt x="490" y="833"/>
                  </a:cubicBezTo>
                  <a:cubicBezTo>
                    <a:pt x="485" y="827"/>
                    <a:pt x="493" y="823"/>
                    <a:pt x="495" y="820"/>
                  </a:cubicBezTo>
                  <a:cubicBezTo>
                    <a:pt x="498" y="818"/>
                    <a:pt x="501" y="813"/>
                    <a:pt x="501" y="803"/>
                  </a:cubicBezTo>
                  <a:cubicBezTo>
                    <a:pt x="498" y="800"/>
                    <a:pt x="505" y="800"/>
                    <a:pt x="509" y="798"/>
                  </a:cubicBezTo>
                  <a:cubicBezTo>
                    <a:pt x="513" y="796"/>
                    <a:pt x="513" y="797"/>
                    <a:pt x="525" y="792"/>
                  </a:cubicBezTo>
                  <a:cubicBezTo>
                    <a:pt x="536" y="789"/>
                    <a:pt x="532" y="786"/>
                    <a:pt x="534" y="780"/>
                  </a:cubicBezTo>
                  <a:cubicBezTo>
                    <a:pt x="534" y="780"/>
                    <a:pt x="532" y="779"/>
                    <a:pt x="530" y="778"/>
                  </a:cubicBezTo>
                  <a:cubicBezTo>
                    <a:pt x="523" y="774"/>
                    <a:pt x="512" y="772"/>
                    <a:pt x="518" y="770"/>
                  </a:cubicBezTo>
                  <a:cubicBezTo>
                    <a:pt x="524" y="768"/>
                    <a:pt x="530" y="769"/>
                    <a:pt x="528" y="765"/>
                  </a:cubicBezTo>
                  <a:cubicBezTo>
                    <a:pt x="525" y="761"/>
                    <a:pt x="516" y="748"/>
                    <a:pt x="511" y="745"/>
                  </a:cubicBezTo>
                  <a:cubicBezTo>
                    <a:pt x="505" y="742"/>
                    <a:pt x="504" y="739"/>
                    <a:pt x="496" y="740"/>
                  </a:cubicBezTo>
                  <a:cubicBezTo>
                    <a:pt x="488" y="741"/>
                    <a:pt x="479" y="740"/>
                    <a:pt x="480" y="735"/>
                  </a:cubicBezTo>
                  <a:cubicBezTo>
                    <a:pt x="480" y="730"/>
                    <a:pt x="481" y="729"/>
                    <a:pt x="474" y="726"/>
                  </a:cubicBezTo>
                  <a:cubicBezTo>
                    <a:pt x="467" y="723"/>
                    <a:pt x="462" y="724"/>
                    <a:pt x="466" y="716"/>
                  </a:cubicBezTo>
                  <a:cubicBezTo>
                    <a:pt x="470" y="709"/>
                    <a:pt x="473" y="705"/>
                    <a:pt x="469" y="700"/>
                  </a:cubicBezTo>
                  <a:cubicBezTo>
                    <a:pt x="464" y="695"/>
                    <a:pt x="464" y="691"/>
                    <a:pt x="468" y="687"/>
                  </a:cubicBezTo>
                  <a:cubicBezTo>
                    <a:pt x="472" y="682"/>
                    <a:pt x="467" y="669"/>
                    <a:pt x="475" y="669"/>
                  </a:cubicBezTo>
                  <a:cubicBezTo>
                    <a:pt x="483" y="669"/>
                    <a:pt x="487" y="674"/>
                    <a:pt x="492" y="679"/>
                  </a:cubicBezTo>
                  <a:cubicBezTo>
                    <a:pt x="496" y="684"/>
                    <a:pt x="508" y="688"/>
                    <a:pt x="508" y="681"/>
                  </a:cubicBezTo>
                  <a:cubicBezTo>
                    <a:pt x="507" y="674"/>
                    <a:pt x="494" y="665"/>
                    <a:pt x="502" y="663"/>
                  </a:cubicBezTo>
                  <a:cubicBezTo>
                    <a:pt x="511" y="661"/>
                    <a:pt x="512" y="661"/>
                    <a:pt x="513" y="655"/>
                  </a:cubicBezTo>
                  <a:cubicBezTo>
                    <a:pt x="515" y="650"/>
                    <a:pt x="520" y="654"/>
                    <a:pt x="528" y="649"/>
                  </a:cubicBezTo>
                  <a:cubicBezTo>
                    <a:pt x="535" y="645"/>
                    <a:pt x="537" y="626"/>
                    <a:pt x="543" y="631"/>
                  </a:cubicBezTo>
                  <a:cubicBezTo>
                    <a:pt x="549" y="637"/>
                    <a:pt x="547" y="641"/>
                    <a:pt x="555" y="640"/>
                  </a:cubicBezTo>
                  <a:cubicBezTo>
                    <a:pt x="564" y="640"/>
                    <a:pt x="570" y="630"/>
                    <a:pt x="572" y="635"/>
                  </a:cubicBezTo>
                  <a:cubicBezTo>
                    <a:pt x="574" y="640"/>
                    <a:pt x="582" y="639"/>
                    <a:pt x="590" y="640"/>
                  </a:cubicBezTo>
                  <a:cubicBezTo>
                    <a:pt x="598" y="641"/>
                    <a:pt x="600" y="641"/>
                    <a:pt x="611" y="650"/>
                  </a:cubicBezTo>
                  <a:cubicBezTo>
                    <a:pt x="622" y="658"/>
                    <a:pt x="624" y="669"/>
                    <a:pt x="627" y="666"/>
                  </a:cubicBezTo>
                  <a:cubicBezTo>
                    <a:pt x="629" y="664"/>
                    <a:pt x="629" y="663"/>
                    <a:pt x="630" y="658"/>
                  </a:cubicBezTo>
                  <a:cubicBezTo>
                    <a:pt x="630" y="653"/>
                    <a:pt x="633" y="653"/>
                    <a:pt x="640" y="658"/>
                  </a:cubicBezTo>
                  <a:cubicBezTo>
                    <a:pt x="647" y="662"/>
                    <a:pt x="650" y="668"/>
                    <a:pt x="657" y="662"/>
                  </a:cubicBezTo>
                  <a:cubicBezTo>
                    <a:pt x="664" y="655"/>
                    <a:pt x="664" y="652"/>
                    <a:pt x="671" y="652"/>
                  </a:cubicBezTo>
                  <a:cubicBezTo>
                    <a:pt x="678" y="651"/>
                    <a:pt x="683" y="655"/>
                    <a:pt x="689" y="657"/>
                  </a:cubicBezTo>
                  <a:cubicBezTo>
                    <a:pt x="694" y="658"/>
                    <a:pt x="693" y="652"/>
                    <a:pt x="699" y="651"/>
                  </a:cubicBezTo>
                  <a:cubicBezTo>
                    <a:pt x="704" y="651"/>
                    <a:pt x="707" y="648"/>
                    <a:pt x="713" y="655"/>
                  </a:cubicBezTo>
                  <a:cubicBezTo>
                    <a:pt x="719" y="662"/>
                    <a:pt x="722" y="661"/>
                    <a:pt x="728" y="662"/>
                  </a:cubicBezTo>
                  <a:cubicBezTo>
                    <a:pt x="734" y="664"/>
                    <a:pt x="742" y="666"/>
                    <a:pt x="743" y="663"/>
                  </a:cubicBezTo>
                  <a:cubicBezTo>
                    <a:pt x="743" y="661"/>
                    <a:pt x="747" y="658"/>
                    <a:pt x="751" y="660"/>
                  </a:cubicBezTo>
                  <a:cubicBezTo>
                    <a:pt x="754" y="663"/>
                    <a:pt x="758" y="667"/>
                    <a:pt x="765" y="663"/>
                  </a:cubicBezTo>
                  <a:cubicBezTo>
                    <a:pt x="772" y="659"/>
                    <a:pt x="775" y="654"/>
                    <a:pt x="775" y="649"/>
                  </a:cubicBezTo>
                  <a:cubicBezTo>
                    <a:pt x="774" y="645"/>
                    <a:pt x="776" y="645"/>
                    <a:pt x="769" y="643"/>
                  </a:cubicBezTo>
                  <a:cubicBezTo>
                    <a:pt x="761" y="640"/>
                    <a:pt x="766" y="640"/>
                    <a:pt x="754" y="637"/>
                  </a:cubicBezTo>
                  <a:cubicBezTo>
                    <a:pt x="743" y="633"/>
                    <a:pt x="744" y="633"/>
                    <a:pt x="739" y="630"/>
                  </a:cubicBezTo>
                  <a:cubicBezTo>
                    <a:pt x="735" y="628"/>
                    <a:pt x="732" y="627"/>
                    <a:pt x="737" y="625"/>
                  </a:cubicBezTo>
                  <a:cubicBezTo>
                    <a:pt x="743" y="624"/>
                    <a:pt x="749" y="621"/>
                    <a:pt x="750" y="619"/>
                  </a:cubicBezTo>
                  <a:cubicBezTo>
                    <a:pt x="752" y="617"/>
                    <a:pt x="757" y="621"/>
                    <a:pt x="751" y="614"/>
                  </a:cubicBezTo>
                  <a:cubicBezTo>
                    <a:pt x="744" y="606"/>
                    <a:pt x="737" y="607"/>
                    <a:pt x="744" y="603"/>
                  </a:cubicBezTo>
                  <a:cubicBezTo>
                    <a:pt x="751" y="599"/>
                    <a:pt x="749" y="597"/>
                    <a:pt x="756" y="599"/>
                  </a:cubicBezTo>
                  <a:cubicBezTo>
                    <a:pt x="764" y="601"/>
                    <a:pt x="768" y="601"/>
                    <a:pt x="767" y="598"/>
                  </a:cubicBezTo>
                  <a:cubicBezTo>
                    <a:pt x="767" y="595"/>
                    <a:pt x="765" y="594"/>
                    <a:pt x="758" y="593"/>
                  </a:cubicBezTo>
                  <a:cubicBezTo>
                    <a:pt x="752" y="592"/>
                    <a:pt x="749" y="596"/>
                    <a:pt x="749" y="590"/>
                  </a:cubicBezTo>
                  <a:cubicBezTo>
                    <a:pt x="749" y="585"/>
                    <a:pt x="751" y="586"/>
                    <a:pt x="747" y="583"/>
                  </a:cubicBezTo>
                  <a:cubicBezTo>
                    <a:pt x="743" y="581"/>
                    <a:pt x="740" y="573"/>
                    <a:pt x="746" y="572"/>
                  </a:cubicBezTo>
                  <a:cubicBezTo>
                    <a:pt x="752" y="572"/>
                    <a:pt x="756" y="573"/>
                    <a:pt x="765" y="575"/>
                  </a:cubicBezTo>
                  <a:cubicBezTo>
                    <a:pt x="774" y="576"/>
                    <a:pt x="776" y="573"/>
                    <a:pt x="784" y="571"/>
                  </a:cubicBezTo>
                  <a:cubicBezTo>
                    <a:pt x="792" y="569"/>
                    <a:pt x="787" y="572"/>
                    <a:pt x="798" y="568"/>
                  </a:cubicBezTo>
                  <a:cubicBezTo>
                    <a:pt x="810" y="563"/>
                    <a:pt x="810" y="562"/>
                    <a:pt x="819" y="561"/>
                  </a:cubicBezTo>
                  <a:cubicBezTo>
                    <a:pt x="828" y="561"/>
                    <a:pt x="830" y="557"/>
                    <a:pt x="838" y="555"/>
                  </a:cubicBezTo>
                  <a:cubicBezTo>
                    <a:pt x="846" y="554"/>
                    <a:pt x="858" y="552"/>
                    <a:pt x="868" y="550"/>
                  </a:cubicBezTo>
                  <a:cubicBezTo>
                    <a:pt x="877" y="548"/>
                    <a:pt x="878" y="543"/>
                    <a:pt x="884" y="540"/>
                  </a:cubicBezTo>
                  <a:cubicBezTo>
                    <a:pt x="890" y="537"/>
                    <a:pt x="888" y="535"/>
                    <a:pt x="898" y="536"/>
                  </a:cubicBezTo>
                  <a:cubicBezTo>
                    <a:pt x="909" y="536"/>
                    <a:pt x="906" y="535"/>
                    <a:pt x="911" y="537"/>
                  </a:cubicBezTo>
                  <a:cubicBezTo>
                    <a:pt x="917" y="540"/>
                    <a:pt x="923" y="541"/>
                    <a:pt x="925" y="540"/>
                  </a:cubicBezTo>
                  <a:cubicBezTo>
                    <a:pt x="927" y="539"/>
                    <a:pt x="931" y="537"/>
                    <a:pt x="936" y="542"/>
                  </a:cubicBezTo>
                  <a:cubicBezTo>
                    <a:pt x="941" y="548"/>
                    <a:pt x="946" y="557"/>
                    <a:pt x="947" y="563"/>
                  </a:cubicBezTo>
                  <a:cubicBezTo>
                    <a:pt x="947" y="569"/>
                    <a:pt x="953" y="570"/>
                    <a:pt x="958" y="569"/>
                  </a:cubicBezTo>
                  <a:cubicBezTo>
                    <a:pt x="964" y="568"/>
                    <a:pt x="967" y="568"/>
                    <a:pt x="976" y="570"/>
                  </a:cubicBezTo>
                  <a:cubicBezTo>
                    <a:pt x="985" y="572"/>
                    <a:pt x="989" y="569"/>
                    <a:pt x="994" y="571"/>
                  </a:cubicBezTo>
                  <a:cubicBezTo>
                    <a:pt x="1000" y="573"/>
                    <a:pt x="1007" y="569"/>
                    <a:pt x="1004" y="574"/>
                  </a:cubicBezTo>
                  <a:cubicBezTo>
                    <a:pt x="1000" y="580"/>
                    <a:pt x="995" y="584"/>
                    <a:pt x="1003" y="587"/>
                  </a:cubicBezTo>
                  <a:cubicBezTo>
                    <a:pt x="1011" y="590"/>
                    <a:pt x="1011" y="583"/>
                    <a:pt x="1016" y="584"/>
                  </a:cubicBezTo>
                  <a:cubicBezTo>
                    <a:pt x="1022" y="585"/>
                    <a:pt x="1021" y="585"/>
                    <a:pt x="1031" y="580"/>
                  </a:cubicBezTo>
                  <a:cubicBezTo>
                    <a:pt x="1041" y="575"/>
                    <a:pt x="1042" y="572"/>
                    <a:pt x="1052" y="568"/>
                  </a:cubicBezTo>
                  <a:cubicBezTo>
                    <a:pt x="1063" y="564"/>
                    <a:pt x="1071" y="560"/>
                    <a:pt x="1070" y="564"/>
                  </a:cubicBezTo>
                  <a:cubicBezTo>
                    <a:pt x="1069" y="568"/>
                    <a:pt x="1054" y="566"/>
                    <a:pt x="1064" y="572"/>
                  </a:cubicBezTo>
                  <a:cubicBezTo>
                    <a:pt x="1074" y="578"/>
                    <a:pt x="1121" y="597"/>
                    <a:pt x="1168" y="655"/>
                  </a:cubicBezTo>
                  <a:cubicBezTo>
                    <a:pt x="1172" y="659"/>
                    <a:pt x="1184" y="660"/>
                    <a:pt x="1184" y="655"/>
                  </a:cubicBezTo>
                  <a:cubicBezTo>
                    <a:pt x="1184" y="650"/>
                    <a:pt x="1179" y="641"/>
                    <a:pt x="1190" y="645"/>
                  </a:cubicBezTo>
                  <a:cubicBezTo>
                    <a:pt x="1200" y="649"/>
                    <a:pt x="1203" y="660"/>
                    <a:pt x="1211" y="661"/>
                  </a:cubicBezTo>
                  <a:cubicBezTo>
                    <a:pt x="1218" y="661"/>
                    <a:pt x="1213" y="666"/>
                    <a:pt x="1227" y="661"/>
                  </a:cubicBezTo>
                  <a:cubicBezTo>
                    <a:pt x="1240" y="655"/>
                    <a:pt x="1243" y="648"/>
                    <a:pt x="1252" y="654"/>
                  </a:cubicBezTo>
                  <a:cubicBezTo>
                    <a:pt x="1261" y="660"/>
                    <a:pt x="1260" y="663"/>
                    <a:pt x="1274" y="669"/>
                  </a:cubicBezTo>
                  <a:cubicBezTo>
                    <a:pt x="1288" y="675"/>
                    <a:pt x="1290" y="674"/>
                    <a:pt x="1293" y="681"/>
                  </a:cubicBezTo>
                  <a:cubicBezTo>
                    <a:pt x="1297" y="688"/>
                    <a:pt x="1303" y="692"/>
                    <a:pt x="1311" y="693"/>
                  </a:cubicBezTo>
                  <a:cubicBezTo>
                    <a:pt x="1319" y="693"/>
                    <a:pt x="1322" y="695"/>
                    <a:pt x="1326" y="691"/>
                  </a:cubicBezTo>
                  <a:cubicBezTo>
                    <a:pt x="1330" y="687"/>
                    <a:pt x="1333" y="686"/>
                    <a:pt x="1336" y="691"/>
                  </a:cubicBezTo>
                  <a:cubicBezTo>
                    <a:pt x="1339" y="696"/>
                    <a:pt x="1359" y="701"/>
                    <a:pt x="1353" y="703"/>
                  </a:cubicBezTo>
                  <a:cubicBezTo>
                    <a:pt x="1352" y="703"/>
                    <a:pt x="1352" y="703"/>
                    <a:pt x="1351" y="704"/>
                  </a:cubicBezTo>
                  <a:cubicBezTo>
                    <a:pt x="1353" y="705"/>
                    <a:pt x="1354" y="707"/>
                    <a:pt x="1358" y="705"/>
                  </a:cubicBezTo>
                  <a:cubicBezTo>
                    <a:pt x="1359" y="705"/>
                    <a:pt x="1360" y="704"/>
                    <a:pt x="1361" y="703"/>
                  </a:cubicBezTo>
                  <a:cubicBezTo>
                    <a:pt x="1364" y="700"/>
                    <a:pt x="1363" y="696"/>
                    <a:pt x="1372" y="694"/>
                  </a:cubicBezTo>
                  <a:cubicBezTo>
                    <a:pt x="1382" y="693"/>
                    <a:pt x="1389" y="700"/>
                    <a:pt x="1393" y="691"/>
                  </a:cubicBezTo>
                  <a:cubicBezTo>
                    <a:pt x="1397" y="682"/>
                    <a:pt x="1389" y="683"/>
                    <a:pt x="1398" y="680"/>
                  </a:cubicBezTo>
                  <a:cubicBezTo>
                    <a:pt x="1406" y="676"/>
                    <a:pt x="1406" y="678"/>
                    <a:pt x="1416" y="672"/>
                  </a:cubicBezTo>
                  <a:cubicBezTo>
                    <a:pt x="1426" y="666"/>
                    <a:pt x="1425" y="664"/>
                    <a:pt x="1434" y="662"/>
                  </a:cubicBezTo>
                  <a:cubicBezTo>
                    <a:pt x="1443" y="660"/>
                    <a:pt x="1443" y="657"/>
                    <a:pt x="1448" y="659"/>
                  </a:cubicBezTo>
                  <a:cubicBezTo>
                    <a:pt x="1452" y="661"/>
                    <a:pt x="1454" y="667"/>
                    <a:pt x="1462" y="665"/>
                  </a:cubicBezTo>
                  <a:cubicBezTo>
                    <a:pt x="1469" y="663"/>
                    <a:pt x="1486" y="665"/>
                    <a:pt x="1488" y="667"/>
                  </a:cubicBezTo>
                  <a:cubicBezTo>
                    <a:pt x="1490" y="669"/>
                    <a:pt x="1496" y="680"/>
                    <a:pt x="1508" y="681"/>
                  </a:cubicBezTo>
                  <a:cubicBezTo>
                    <a:pt x="1521" y="681"/>
                    <a:pt x="1524" y="679"/>
                    <a:pt x="1537" y="681"/>
                  </a:cubicBezTo>
                  <a:cubicBezTo>
                    <a:pt x="1550" y="682"/>
                    <a:pt x="1559" y="690"/>
                    <a:pt x="1564" y="688"/>
                  </a:cubicBezTo>
                  <a:cubicBezTo>
                    <a:pt x="1569" y="685"/>
                    <a:pt x="1572" y="684"/>
                    <a:pt x="1574" y="680"/>
                  </a:cubicBezTo>
                  <a:cubicBezTo>
                    <a:pt x="1576" y="675"/>
                    <a:pt x="1579" y="671"/>
                    <a:pt x="1576" y="668"/>
                  </a:cubicBezTo>
                  <a:cubicBezTo>
                    <a:pt x="1573" y="665"/>
                    <a:pt x="1574" y="669"/>
                    <a:pt x="1566" y="662"/>
                  </a:cubicBezTo>
                  <a:cubicBezTo>
                    <a:pt x="1559" y="655"/>
                    <a:pt x="1553" y="653"/>
                    <a:pt x="1555" y="646"/>
                  </a:cubicBezTo>
                  <a:cubicBezTo>
                    <a:pt x="1557" y="640"/>
                    <a:pt x="1557" y="639"/>
                    <a:pt x="1561" y="635"/>
                  </a:cubicBezTo>
                  <a:cubicBezTo>
                    <a:pt x="1565" y="630"/>
                    <a:pt x="1565" y="630"/>
                    <a:pt x="1566" y="626"/>
                  </a:cubicBezTo>
                  <a:cubicBezTo>
                    <a:pt x="1566" y="623"/>
                    <a:pt x="1569" y="623"/>
                    <a:pt x="1575" y="626"/>
                  </a:cubicBezTo>
                  <a:cubicBezTo>
                    <a:pt x="1581" y="630"/>
                    <a:pt x="1593" y="634"/>
                    <a:pt x="1600" y="634"/>
                  </a:cubicBezTo>
                  <a:cubicBezTo>
                    <a:pt x="1606" y="634"/>
                    <a:pt x="1611" y="638"/>
                    <a:pt x="1622" y="639"/>
                  </a:cubicBezTo>
                  <a:cubicBezTo>
                    <a:pt x="1633" y="639"/>
                    <a:pt x="1639" y="637"/>
                    <a:pt x="1645" y="645"/>
                  </a:cubicBezTo>
                  <a:cubicBezTo>
                    <a:pt x="1652" y="653"/>
                    <a:pt x="1653" y="654"/>
                    <a:pt x="1660" y="662"/>
                  </a:cubicBezTo>
                  <a:cubicBezTo>
                    <a:pt x="1667" y="669"/>
                    <a:pt x="1666" y="672"/>
                    <a:pt x="1677" y="673"/>
                  </a:cubicBezTo>
                  <a:cubicBezTo>
                    <a:pt x="1687" y="674"/>
                    <a:pt x="1689" y="678"/>
                    <a:pt x="1696" y="677"/>
                  </a:cubicBezTo>
                  <a:cubicBezTo>
                    <a:pt x="1702" y="675"/>
                    <a:pt x="1715" y="673"/>
                    <a:pt x="1717" y="670"/>
                  </a:cubicBezTo>
                  <a:cubicBezTo>
                    <a:pt x="1719" y="667"/>
                    <a:pt x="1723" y="668"/>
                    <a:pt x="1734" y="669"/>
                  </a:cubicBezTo>
                  <a:cubicBezTo>
                    <a:pt x="1745" y="670"/>
                    <a:pt x="1744" y="670"/>
                    <a:pt x="1757" y="672"/>
                  </a:cubicBezTo>
                  <a:cubicBezTo>
                    <a:pt x="1769" y="675"/>
                    <a:pt x="1771" y="681"/>
                    <a:pt x="1775" y="681"/>
                  </a:cubicBezTo>
                  <a:cubicBezTo>
                    <a:pt x="1780" y="681"/>
                    <a:pt x="1789" y="681"/>
                    <a:pt x="1794" y="684"/>
                  </a:cubicBezTo>
                  <a:cubicBezTo>
                    <a:pt x="1799" y="688"/>
                    <a:pt x="1804" y="697"/>
                    <a:pt x="1812" y="698"/>
                  </a:cubicBezTo>
                  <a:cubicBezTo>
                    <a:pt x="1820" y="698"/>
                    <a:pt x="1835" y="702"/>
                    <a:pt x="1844" y="703"/>
                  </a:cubicBezTo>
                  <a:cubicBezTo>
                    <a:pt x="1853" y="704"/>
                    <a:pt x="1863" y="703"/>
                    <a:pt x="1871" y="702"/>
                  </a:cubicBezTo>
                  <a:cubicBezTo>
                    <a:pt x="1878" y="701"/>
                    <a:pt x="1879" y="697"/>
                    <a:pt x="1891" y="696"/>
                  </a:cubicBezTo>
                  <a:cubicBezTo>
                    <a:pt x="1903" y="694"/>
                    <a:pt x="1906" y="697"/>
                    <a:pt x="1909" y="689"/>
                  </a:cubicBezTo>
                  <a:cubicBezTo>
                    <a:pt x="1913" y="682"/>
                    <a:pt x="1914" y="678"/>
                    <a:pt x="1919" y="677"/>
                  </a:cubicBezTo>
                  <a:cubicBezTo>
                    <a:pt x="1924" y="676"/>
                    <a:pt x="1942" y="676"/>
                    <a:pt x="1947" y="679"/>
                  </a:cubicBezTo>
                  <a:cubicBezTo>
                    <a:pt x="1953" y="682"/>
                    <a:pt x="1959" y="683"/>
                    <a:pt x="1964" y="682"/>
                  </a:cubicBezTo>
                  <a:cubicBezTo>
                    <a:pt x="1969" y="681"/>
                    <a:pt x="1970" y="684"/>
                    <a:pt x="1984" y="686"/>
                  </a:cubicBezTo>
                  <a:cubicBezTo>
                    <a:pt x="1984" y="686"/>
                    <a:pt x="1984" y="686"/>
                    <a:pt x="1984" y="686"/>
                  </a:cubicBezTo>
                  <a:cubicBezTo>
                    <a:pt x="1999" y="688"/>
                    <a:pt x="1999" y="694"/>
                    <a:pt x="2009" y="692"/>
                  </a:cubicBezTo>
                  <a:cubicBezTo>
                    <a:pt x="2018" y="690"/>
                    <a:pt x="2019" y="682"/>
                    <a:pt x="2027" y="682"/>
                  </a:cubicBezTo>
                  <a:cubicBezTo>
                    <a:pt x="2034" y="682"/>
                    <a:pt x="2040" y="674"/>
                    <a:pt x="2034" y="673"/>
                  </a:cubicBezTo>
                  <a:cubicBezTo>
                    <a:pt x="2028" y="672"/>
                    <a:pt x="2025" y="674"/>
                    <a:pt x="2026" y="663"/>
                  </a:cubicBezTo>
                  <a:cubicBezTo>
                    <a:pt x="2028" y="651"/>
                    <a:pt x="2023" y="645"/>
                    <a:pt x="2026" y="637"/>
                  </a:cubicBezTo>
                  <a:cubicBezTo>
                    <a:pt x="2029" y="630"/>
                    <a:pt x="2036" y="624"/>
                    <a:pt x="2030" y="621"/>
                  </a:cubicBezTo>
                  <a:cubicBezTo>
                    <a:pt x="2025" y="617"/>
                    <a:pt x="2013" y="614"/>
                    <a:pt x="2010" y="610"/>
                  </a:cubicBezTo>
                  <a:cubicBezTo>
                    <a:pt x="2006" y="607"/>
                    <a:pt x="2001" y="611"/>
                    <a:pt x="2007" y="602"/>
                  </a:cubicBezTo>
                  <a:cubicBezTo>
                    <a:pt x="2013" y="593"/>
                    <a:pt x="2005" y="589"/>
                    <a:pt x="2019" y="589"/>
                  </a:cubicBezTo>
                  <a:cubicBezTo>
                    <a:pt x="2033" y="590"/>
                    <a:pt x="2036" y="587"/>
                    <a:pt x="2050" y="587"/>
                  </a:cubicBezTo>
                  <a:cubicBezTo>
                    <a:pt x="2065" y="587"/>
                    <a:pt x="2070" y="586"/>
                    <a:pt x="2082" y="592"/>
                  </a:cubicBezTo>
                  <a:cubicBezTo>
                    <a:pt x="2093" y="598"/>
                    <a:pt x="2109" y="593"/>
                    <a:pt x="2115" y="598"/>
                  </a:cubicBezTo>
                  <a:cubicBezTo>
                    <a:pt x="2121" y="603"/>
                    <a:pt x="2145" y="611"/>
                    <a:pt x="2150" y="617"/>
                  </a:cubicBezTo>
                  <a:cubicBezTo>
                    <a:pt x="2154" y="622"/>
                    <a:pt x="2151" y="625"/>
                    <a:pt x="2167" y="635"/>
                  </a:cubicBezTo>
                  <a:cubicBezTo>
                    <a:pt x="2182" y="646"/>
                    <a:pt x="2182" y="651"/>
                    <a:pt x="2192" y="661"/>
                  </a:cubicBezTo>
                  <a:cubicBezTo>
                    <a:pt x="2203" y="670"/>
                    <a:pt x="2204" y="677"/>
                    <a:pt x="2216" y="682"/>
                  </a:cubicBezTo>
                  <a:cubicBezTo>
                    <a:pt x="2228" y="688"/>
                    <a:pt x="2236" y="692"/>
                    <a:pt x="2244" y="693"/>
                  </a:cubicBezTo>
                  <a:cubicBezTo>
                    <a:pt x="2252" y="693"/>
                    <a:pt x="2254" y="698"/>
                    <a:pt x="2264" y="699"/>
                  </a:cubicBezTo>
                  <a:cubicBezTo>
                    <a:pt x="2273" y="700"/>
                    <a:pt x="2274" y="700"/>
                    <a:pt x="2283" y="704"/>
                  </a:cubicBezTo>
                  <a:cubicBezTo>
                    <a:pt x="2293" y="708"/>
                    <a:pt x="2296" y="705"/>
                    <a:pt x="2301" y="711"/>
                  </a:cubicBezTo>
                  <a:cubicBezTo>
                    <a:pt x="2307" y="717"/>
                    <a:pt x="2313" y="723"/>
                    <a:pt x="2317" y="727"/>
                  </a:cubicBezTo>
                  <a:cubicBezTo>
                    <a:pt x="2321" y="730"/>
                    <a:pt x="2322" y="744"/>
                    <a:pt x="2328" y="745"/>
                  </a:cubicBezTo>
                  <a:cubicBezTo>
                    <a:pt x="2333" y="747"/>
                    <a:pt x="2345" y="746"/>
                    <a:pt x="2349" y="745"/>
                  </a:cubicBezTo>
                  <a:cubicBezTo>
                    <a:pt x="2354" y="744"/>
                    <a:pt x="2361" y="747"/>
                    <a:pt x="2368" y="738"/>
                  </a:cubicBezTo>
                  <a:cubicBezTo>
                    <a:pt x="2375" y="730"/>
                    <a:pt x="2381" y="738"/>
                    <a:pt x="2386" y="729"/>
                  </a:cubicBezTo>
                  <a:cubicBezTo>
                    <a:pt x="2391" y="720"/>
                    <a:pt x="2403" y="728"/>
                    <a:pt x="2405" y="733"/>
                  </a:cubicBezTo>
                  <a:cubicBezTo>
                    <a:pt x="2408" y="737"/>
                    <a:pt x="2416" y="748"/>
                    <a:pt x="2415" y="750"/>
                  </a:cubicBezTo>
                  <a:cubicBezTo>
                    <a:pt x="2413" y="752"/>
                    <a:pt x="2404" y="755"/>
                    <a:pt x="2411" y="761"/>
                  </a:cubicBezTo>
                  <a:cubicBezTo>
                    <a:pt x="2418" y="768"/>
                    <a:pt x="2416" y="778"/>
                    <a:pt x="2418" y="783"/>
                  </a:cubicBezTo>
                  <a:cubicBezTo>
                    <a:pt x="2421" y="788"/>
                    <a:pt x="2419" y="792"/>
                    <a:pt x="2421" y="798"/>
                  </a:cubicBezTo>
                  <a:cubicBezTo>
                    <a:pt x="2424" y="803"/>
                    <a:pt x="2419" y="815"/>
                    <a:pt x="2419" y="815"/>
                  </a:cubicBezTo>
                  <a:cubicBezTo>
                    <a:pt x="2419" y="815"/>
                    <a:pt x="2419" y="815"/>
                    <a:pt x="2414" y="815"/>
                  </a:cubicBezTo>
                  <a:cubicBezTo>
                    <a:pt x="2409" y="815"/>
                    <a:pt x="2408" y="813"/>
                    <a:pt x="2404" y="813"/>
                  </a:cubicBezTo>
                  <a:cubicBezTo>
                    <a:pt x="2401" y="813"/>
                    <a:pt x="2389" y="805"/>
                    <a:pt x="2388" y="809"/>
                  </a:cubicBezTo>
                  <a:cubicBezTo>
                    <a:pt x="2387" y="814"/>
                    <a:pt x="2387" y="818"/>
                    <a:pt x="2384" y="819"/>
                  </a:cubicBezTo>
                  <a:cubicBezTo>
                    <a:pt x="2381" y="820"/>
                    <a:pt x="2373" y="819"/>
                    <a:pt x="2381" y="826"/>
                  </a:cubicBezTo>
                  <a:cubicBezTo>
                    <a:pt x="2389" y="832"/>
                    <a:pt x="2392" y="836"/>
                    <a:pt x="2395" y="842"/>
                  </a:cubicBezTo>
                  <a:cubicBezTo>
                    <a:pt x="2398" y="847"/>
                    <a:pt x="2401" y="849"/>
                    <a:pt x="2406" y="858"/>
                  </a:cubicBezTo>
                  <a:cubicBezTo>
                    <a:pt x="2410" y="867"/>
                    <a:pt x="2416" y="874"/>
                    <a:pt x="2411" y="875"/>
                  </a:cubicBezTo>
                  <a:cubicBezTo>
                    <a:pt x="2407" y="877"/>
                    <a:pt x="2400" y="878"/>
                    <a:pt x="2400" y="881"/>
                  </a:cubicBezTo>
                  <a:cubicBezTo>
                    <a:pt x="2400" y="882"/>
                    <a:pt x="2400" y="882"/>
                    <a:pt x="2400" y="883"/>
                  </a:cubicBezTo>
                  <a:cubicBezTo>
                    <a:pt x="2402" y="885"/>
                    <a:pt x="2406" y="888"/>
                    <a:pt x="2408" y="889"/>
                  </a:cubicBezTo>
                  <a:cubicBezTo>
                    <a:pt x="2408" y="888"/>
                    <a:pt x="2408" y="887"/>
                    <a:pt x="2408" y="886"/>
                  </a:cubicBezTo>
                  <a:cubicBezTo>
                    <a:pt x="2407" y="882"/>
                    <a:pt x="2411" y="882"/>
                    <a:pt x="2417" y="881"/>
                  </a:cubicBezTo>
                  <a:cubicBezTo>
                    <a:pt x="2423" y="880"/>
                    <a:pt x="2421" y="877"/>
                    <a:pt x="2421" y="873"/>
                  </a:cubicBezTo>
                  <a:cubicBezTo>
                    <a:pt x="2421" y="870"/>
                    <a:pt x="2426" y="868"/>
                    <a:pt x="2428" y="872"/>
                  </a:cubicBezTo>
                  <a:cubicBezTo>
                    <a:pt x="2430" y="877"/>
                    <a:pt x="2430" y="868"/>
                    <a:pt x="2430" y="867"/>
                  </a:cubicBezTo>
                  <a:cubicBezTo>
                    <a:pt x="2430" y="865"/>
                    <a:pt x="2437" y="872"/>
                    <a:pt x="2441" y="876"/>
                  </a:cubicBezTo>
                  <a:cubicBezTo>
                    <a:pt x="2444" y="881"/>
                    <a:pt x="2450" y="879"/>
                    <a:pt x="2463" y="880"/>
                  </a:cubicBezTo>
                  <a:cubicBezTo>
                    <a:pt x="2475" y="882"/>
                    <a:pt x="2468" y="879"/>
                    <a:pt x="2473" y="877"/>
                  </a:cubicBezTo>
                  <a:cubicBezTo>
                    <a:pt x="2478" y="875"/>
                    <a:pt x="2478" y="875"/>
                    <a:pt x="2483" y="869"/>
                  </a:cubicBezTo>
                  <a:cubicBezTo>
                    <a:pt x="2488" y="864"/>
                    <a:pt x="2488" y="866"/>
                    <a:pt x="2492" y="860"/>
                  </a:cubicBezTo>
                  <a:cubicBezTo>
                    <a:pt x="2497" y="854"/>
                    <a:pt x="2498" y="849"/>
                    <a:pt x="2499" y="838"/>
                  </a:cubicBezTo>
                  <a:cubicBezTo>
                    <a:pt x="2499" y="826"/>
                    <a:pt x="2500" y="824"/>
                    <a:pt x="2502" y="820"/>
                  </a:cubicBezTo>
                  <a:cubicBezTo>
                    <a:pt x="2504" y="816"/>
                    <a:pt x="2507" y="807"/>
                    <a:pt x="2510" y="801"/>
                  </a:cubicBezTo>
                  <a:cubicBezTo>
                    <a:pt x="2512" y="794"/>
                    <a:pt x="2513" y="794"/>
                    <a:pt x="2515" y="785"/>
                  </a:cubicBezTo>
                  <a:cubicBezTo>
                    <a:pt x="2517" y="776"/>
                    <a:pt x="2515" y="777"/>
                    <a:pt x="2511" y="769"/>
                  </a:cubicBezTo>
                  <a:cubicBezTo>
                    <a:pt x="2507" y="762"/>
                    <a:pt x="2512" y="762"/>
                    <a:pt x="2514" y="757"/>
                  </a:cubicBezTo>
                  <a:cubicBezTo>
                    <a:pt x="2515" y="753"/>
                    <a:pt x="2515" y="749"/>
                    <a:pt x="2512" y="745"/>
                  </a:cubicBezTo>
                  <a:cubicBezTo>
                    <a:pt x="2510" y="742"/>
                    <a:pt x="2515" y="734"/>
                    <a:pt x="2518" y="730"/>
                  </a:cubicBezTo>
                  <a:cubicBezTo>
                    <a:pt x="2520" y="727"/>
                    <a:pt x="2520" y="721"/>
                    <a:pt x="2516" y="712"/>
                  </a:cubicBezTo>
                  <a:cubicBezTo>
                    <a:pt x="2512" y="703"/>
                    <a:pt x="2512" y="702"/>
                    <a:pt x="2509" y="695"/>
                  </a:cubicBezTo>
                  <a:cubicBezTo>
                    <a:pt x="2506" y="688"/>
                    <a:pt x="2501" y="689"/>
                    <a:pt x="2500" y="685"/>
                  </a:cubicBezTo>
                  <a:cubicBezTo>
                    <a:pt x="2498" y="681"/>
                    <a:pt x="2496" y="680"/>
                    <a:pt x="2491" y="675"/>
                  </a:cubicBezTo>
                  <a:cubicBezTo>
                    <a:pt x="2486" y="670"/>
                    <a:pt x="2490" y="668"/>
                    <a:pt x="2485" y="660"/>
                  </a:cubicBezTo>
                  <a:cubicBezTo>
                    <a:pt x="2479" y="652"/>
                    <a:pt x="2477" y="650"/>
                    <a:pt x="2477" y="642"/>
                  </a:cubicBezTo>
                  <a:cubicBezTo>
                    <a:pt x="2477" y="634"/>
                    <a:pt x="2473" y="621"/>
                    <a:pt x="2470" y="621"/>
                  </a:cubicBezTo>
                  <a:cubicBezTo>
                    <a:pt x="2466" y="620"/>
                    <a:pt x="2462" y="616"/>
                    <a:pt x="2460" y="612"/>
                  </a:cubicBezTo>
                  <a:cubicBezTo>
                    <a:pt x="2458" y="608"/>
                    <a:pt x="2452" y="605"/>
                    <a:pt x="2448" y="602"/>
                  </a:cubicBezTo>
                  <a:cubicBezTo>
                    <a:pt x="2444" y="600"/>
                    <a:pt x="2449" y="597"/>
                    <a:pt x="2448" y="594"/>
                  </a:cubicBezTo>
                  <a:cubicBezTo>
                    <a:pt x="2446" y="591"/>
                    <a:pt x="2442" y="592"/>
                    <a:pt x="2438" y="592"/>
                  </a:cubicBezTo>
                  <a:cubicBezTo>
                    <a:pt x="2434" y="592"/>
                    <a:pt x="2426" y="586"/>
                    <a:pt x="2412" y="575"/>
                  </a:cubicBezTo>
                  <a:cubicBezTo>
                    <a:pt x="2398" y="565"/>
                    <a:pt x="2411" y="574"/>
                    <a:pt x="2400" y="569"/>
                  </a:cubicBezTo>
                  <a:cubicBezTo>
                    <a:pt x="2389" y="563"/>
                    <a:pt x="2393" y="567"/>
                    <a:pt x="2385" y="565"/>
                  </a:cubicBezTo>
                  <a:cubicBezTo>
                    <a:pt x="2378" y="563"/>
                    <a:pt x="2378" y="564"/>
                    <a:pt x="2375" y="564"/>
                  </a:cubicBezTo>
                  <a:cubicBezTo>
                    <a:pt x="2373" y="564"/>
                    <a:pt x="2371" y="566"/>
                    <a:pt x="2373" y="571"/>
                  </a:cubicBezTo>
                  <a:cubicBezTo>
                    <a:pt x="2375" y="575"/>
                    <a:pt x="2374" y="572"/>
                    <a:pt x="2371" y="578"/>
                  </a:cubicBezTo>
                  <a:cubicBezTo>
                    <a:pt x="2368" y="584"/>
                    <a:pt x="2367" y="585"/>
                    <a:pt x="2359" y="585"/>
                  </a:cubicBezTo>
                  <a:cubicBezTo>
                    <a:pt x="2352" y="585"/>
                    <a:pt x="2357" y="579"/>
                    <a:pt x="2357" y="576"/>
                  </a:cubicBezTo>
                  <a:cubicBezTo>
                    <a:pt x="2357" y="573"/>
                    <a:pt x="2353" y="572"/>
                    <a:pt x="2350" y="570"/>
                  </a:cubicBezTo>
                  <a:cubicBezTo>
                    <a:pt x="2347" y="568"/>
                    <a:pt x="2348" y="562"/>
                    <a:pt x="2346" y="561"/>
                  </a:cubicBezTo>
                  <a:cubicBezTo>
                    <a:pt x="2344" y="560"/>
                    <a:pt x="2342" y="552"/>
                    <a:pt x="2341" y="548"/>
                  </a:cubicBezTo>
                  <a:cubicBezTo>
                    <a:pt x="2340" y="544"/>
                    <a:pt x="2337" y="545"/>
                    <a:pt x="2331" y="542"/>
                  </a:cubicBezTo>
                  <a:cubicBezTo>
                    <a:pt x="2326" y="539"/>
                    <a:pt x="2324" y="540"/>
                    <a:pt x="2324" y="545"/>
                  </a:cubicBezTo>
                  <a:cubicBezTo>
                    <a:pt x="2324" y="549"/>
                    <a:pt x="2324" y="550"/>
                    <a:pt x="2329" y="551"/>
                  </a:cubicBezTo>
                  <a:cubicBezTo>
                    <a:pt x="2333" y="553"/>
                    <a:pt x="2333" y="554"/>
                    <a:pt x="2339" y="556"/>
                  </a:cubicBezTo>
                  <a:cubicBezTo>
                    <a:pt x="2344" y="558"/>
                    <a:pt x="2339" y="562"/>
                    <a:pt x="2339" y="567"/>
                  </a:cubicBezTo>
                  <a:cubicBezTo>
                    <a:pt x="2338" y="571"/>
                    <a:pt x="2343" y="572"/>
                    <a:pt x="2347" y="578"/>
                  </a:cubicBezTo>
                  <a:cubicBezTo>
                    <a:pt x="2352" y="584"/>
                    <a:pt x="2339" y="583"/>
                    <a:pt x="2335" y="577"/>
                  </a:cubicBezTo>
                  <a:cubicBezTo>
                    <a:pt x="2330" y="571"/>
                    <a:pt x="2320" y="565"/>
                    <a:pt x="2319" y="560"/>
                  </a:cubicBezTo>
                  <a:cubicBezTo>
                    <a:pt x="2318" y="556"/>
                    <a:pt x="2309" y="558"/>
                    <a:pt x="2301" y="558"/>
                  </a:cubicBezTo>
                  <a:cubicBezTo>
                    <a:pt x="2293" y="558"/>
                    <a:pt x="2285" y="553"/>
                    <a:pt x="2284" y="551"/>
                  </a:cubicBezTo>
                  <a:cubicBezTo>
                    <a:pt x="2283" y="550"/>
                    <a:pt x="2285" y="547"/>
                    <a:pt x="2289" y="543"/>
                  </a:cubicBezTo>
                  <a:cubicBezTo>
                    <a:pt x="2293" y="539"/>
                    <a:pt x="2292" y="534"/>
                    <a:pt x="2298" y="531"/>
                  </a:cubicBezTo>
                  <a:cubicBezTo>
                    <a:pt x="2304" y="529"/>
                    <a:pt x="2301" y="524"/>
                    <a:pt x="2305" y="519"/>
                  </a:cubicBezTo>
                  <a:cubicBezTo>
                    <a:pt x="2308" y="514"/>
                    <a:pt x="2306" y="511"/>
                    <a:pt x="2306" y="509"/>
                  </a:cubicBezTo>
                  <a:cubicBezTo>
                    <a:pt x="2306" y="507"/>
                    <a:pt x="2307" y="501"/>
                    <a:pt x="2308" y="495"/>
                  </a:cubicBezTo>
                  <a:cubicBezTo>
                    <a:pt x="2308" y="489"/>
                    <a:pt x="2306" y="485"/>
                    <a:pt x="2319" y="477"/>
                  </a:cubicBezTo>
                  <a:cubicBezTo>
                    <a:pt x="2331" y="470"/>
                    <a:pt x="2322" y="471"/>
                    <a:pt x="2320" y="469"/>
                  </a:cubicBezTo>
                  <a:cubicBezTo>
                    <a:pt x="2319" y="468"/>
                    <a:pt x="2321" y="460"/>
                    <a:pt x="2326" y="455"/>
                  </a:cubicBezTo>
                  <a:cubicBezTo>
                    <a:pt x="2330" y="451"/>
                    <a:pt x="2328" y="447"/>
                    <a:pt x="2326" y="439"/>
                  </a:cubicBezTo>
                  <a:cubicBezTo>
                    <a:pt x="2325" y="430"/>
                    <a:pt x="2338" y="435"/>
                    <a:pt x="2354" y="432"/>
                  </a:cubicBezTo>
                  <a:cubicBezTo>
                    <a:pt x="2371" y="430"/>
                    <a:pt x="2375" y="433"/>
                    <a:pt x="2380" y="432"/>
                  </a:cubicBezTo>
                  <a:cubicBezTo>
                    <a:pt x="2385" y="432"/>
                    <a:pt x="2394" y="436"/>
                    <a:pt x="2398" y="438"/>
                  </a:cubicBezTo>
                  <a:cubicBezTo>
                    <a:pt x="2401" y="441"/>
                    <a:pt x="2407" y="440"/>
                    <a:pt x="2406" y="435"/>
                  </a:cubicBezTo>
                  <a:cubicBezTo>
                    <a:pt x="2404" y="430"/>
                    <a:pt x="2411" y="435"/>
                    <a:pt x="2420" y="435"/>
                  </a:cubicBezTo>
                  <a:cubicBezTo>
                    <a:pt x="2430" y="434"/>
                    <a:pt x="2432" y="433"/>
                    <a:pt x="2438" y="431"/>
                  </a:cubicBezTo>
                  <a:cubicBezTo>
                    <a:pt x="2444" y="428"/>
                    <a:pt x="2445" y="433"/>
                    <a:pt x="2455" y="437"/>
                  </a:cubicBezTo>
                  <a:cubicBezTo>
                    <a:pt x="2466" y="442"/>
                    <a:pt x="2457" y="432"/>
                    <a:pt x="2455" y="425"/>
                  </a:cubicBezTo>
                  <a:cubicBezTo>
                    <a:pt x="2454" y="417"/>
                    <a:pt x="2462" y="426"/>
                    <a:pt x="2467" y="426"/>
                  </a:cubicBezTo>
                  <a:cubicBezTo>
                    <a:pt x="2472" y="426"/>
                    <a:pt x="2479" y="426"/>
                    <a:pt x="2490" y="424"/>
                  </a:cubicBezTo>
                  <a:cubicBezTo>
                    <a:pt x="2501" y="422"/>
                    <a:pt x="2497" y="428"/>
                    <a:pt x="2516" y="434"/>
                  </a:cubicBezTo>
                  <a:cubicBezTo>
                    <a:pt x="2535" y="439"/>
                    <a:pt x="2516" y="436"/>
                    <a:pt x="2512" y="441"/>
                  </a:cubicBezTo>
                  <a:cubicBezTo>
                    <a:pt x="2508" y="446"/>
                    <a:pt x="2510" y="444"/>
                    <a:pt x="2520" y="447"/>
                  </a:cubicBezTo>
                  <a:cubicBezTo>
                    <a:pt x="2530" y="450"/>
                    <a:pt x="2534" y="444"/>
                    <a:pt x="2544" y="446"/>
                  </a:cubicBezTo>
                  <a:cubicBezTo>
                    <a:pt x="2555" y="447"/>
                    <a:pt x="2546" y="443"/>
                    <a:pt x="2549" y="439"/>
                  </a:cubicBezTo>
                  <a:cubicBezTo>
                    <a:pt x="2553" y="435"/>
                    <a:pt x="2554" y="438"/>
                    <a:pt x="2563" y="440"/>
                  </a:cubicBezTo>
                  <a:cubicBezTo>
                    <a:pt x="2573" y="442"/>
                    <a:pt x="2572" y="439"/>
                    <a:pt x="2575" y="439"/>
                  </a:cubicBezTo>
                  <a:cubicBezTo>
                    <a:pt x="2577" y="438"/>
                    <a:pt x="2580" y="439"/>
                    <a:pt x="2585" y="438"/>
                  </a:cubicBezTo>
                  <a:cubicBezTo>
                    <a:pt x="2589" y="437"/>
                    <a:pt x="2583" y="437"/>
                    <a:pt x="2581" y="433"/>
                  </a:cubicBezTo>
                  <a:cubicBezTo>
                    <a:pt x="2578" y="430"/>
                    <a:pt x="2573" y="428"/>
                    <a:pt x="2566" y="431"/>
                  </a:cubicBezTo>
                  <a:cubicBezTo>
                    <a:pt x="2559" y="433"/>
                    <a:pt x="2555" y="428"/>
                    <a:pt x="2554" y="427"/>
                  </a:cubicBezTo>
                  <a:cubicBezTo>
                    <a:pt x="2553" y="426"/>
                    <a:pt x="2550" y="422"/>
                    <a:pt x="2547" y="415"/>
                  </a:cubicBezTo>
                  <a:cubicBezTo>
                    <a:pt x="2544" y="407"/>
                    <a:pt x="2551" y="407"/>
                    <a:pt x="2555" y="401"/>
                  </a:cubicBezTo>
                  <a:cubicBezTo>
                    <a:pt x="2559" y="396"/>
                    <a:pt x="2555" y="394"/>
                    <a:pt x="2556" y="391"/>
                  </a:cubicBezTo>
                  <a:cubicBezTo>
                    <a:pt x="2556" y="387"/>
                    <a:pt x="2555" y="386"/>
                    <a:pt x="2555" y="379"/>
                  </a:cubicBezTo>
                  <a:cubicBezTo>
                    <a:pt x="2555" y="371"/>
                    <a:pt x="2559" y="375"/>
                    <a:pt x="2562" y="374"/>
                  </a:cubicBezTo>
                  <a:cubicBezTo>
                    <a:pt x="2564" y="372"/>
                    <a:pt x="2572" y="373"/>
                    <a:pt x="2578" y="371"/>
                  </a:cubicBezTo>
                  <a:cubicBezTo>
                    <a:pt x="2584" y="369"/>
                    <a:pt x="2586" y="369"/>
                    <a:pt x="2590" y="368"/>
                  </a:cubicBezTo>
                  <a:cubicBezTo>
                    <a:pt x="2594" y="367"/>
                    <a:pt x="2594" y="371"/>
                    <a:pt x="2602" y="375"/>
                  </a:cubicBezTo>
                  <a:cubicBezTo>
                    <a:pt x="2610" y="379"/>
                    <a:pt x="2605" y="375"/>
                    <a:pt x="2609" y="369"/>
                  </a:cubicBezTo>
                  <a:cubicBezTo>
                    <a:pt x="2612" y="363"/>
                    <a:pt x="2615" y="369"/>
                    <a:pt x="2617" y="374"/>
                  </a:cubicBezTo>
                  <a:cubicBezTo>
                    <a:pt x="2619" y="378"/>
                    <a:pt x="2622" y="383"/>
                    <a:pt x="2627" y="389"/>
                  </a:cubicBezTo>
                  <a:cubicBezTo>
                    <a:pt x="2633" y="396"/>
                    <a:pt x="2633" y="389"/>
                    <a:pt x="2638" y="388"/>
                  </a:cubicBezTo>
                  <a:cubicBezTo>
                    <a:pt x="2644" y="388"/>
                    <a:pt x="2639" y="390"/>
                    <a:pt x="2643" y="399"/>
                  </a:cubicBezTo>
                  <a:cubicBezTo>
                    <a:pt x="2647" y="408"/>
                    <a:pt x="2652" y="398"/>
                    <a:pt x="2654" y="396"/>
                  </a:cubicBezTo>
                  <a:cubicBezTo>
                    <a:pt x="2656" y="394"/>
                    <a:pt x="2654" y="388"/>
                    <a:pt x="2654" y="381"/>
                  </a:cubicBezTo>
                  <a:cubicBezTo>
                    <a:pt x="2654" y="374"/>
                    <a:pt x="2660" y="379"/>
                    <a:pt x="2667" y="379"/>
                  </a:cubicBezTo>
                  <a:cubicBezTo>
                    <a:pt x="2673" y="379"/>
                    <a:pt x="2676" y="378"/>
                    <a:pt x="2677" y="374"/>
                  </a:cubicBezTo>
                  <a:cubicBezTo>
                    <a:pt x="2678" y="369"/>
                    <a:pt x="2672" y="372"/>
                    <a:pt x="2665" y="367"/>
                  </a:cubicBezTo>
                  <a:cubicBezTo>
                    <a:pt x="2657" y="361"/>
                    <a:pt x="2659" y="359"/>
                    <a:pt x="2656" y="357"/>
                  </a:cubicBezTo>
                  <a:cubicBezTo>
                    <a:pt x="2653" y="355"/>
                    <a:pt x="2652" y="353"/>
                    <a:pt x="2657" y="348"/>
                  </a:cubicBezTo>
                  <a:cubicBezTo>
                    <a:pt x="2662" y="342"/>
                    <a:pt x="2668" y="347"/>
                    <a:pt x="2672" y="347"/>
                  </a:cubicBezTo>
                  <a:cubicBezTo>
                    <a:pt x="2677" y="347"/>
                    <a:pt x="2676" y="354"/>
                    <a:pt x="2675" y="357"/>
                  </a:cubicBezTo>
                  <a:cubicBezTo>
                    <a:pt x="2674" y="360"/>
                    <a:pt x="2681" y="362"/>
                    <a:pt x="2683" y="369"/>
                  </a:cubicBezTo>
                  <a:cubicBezTo>
                    <a:pt x="2686" y="376"/>
                    <a:pt x="2690" y="375"/>
                    <a:pt x="2695" y="379"/>
                  </a:cubicBezTo>
                  <a:cubicBezTo>
                    <a:pt x="2701" y="383"/>
                    <a:pt x="2699" y="384"/>
                    <a:pt x="2705" y="388"/>
                  </a:cubicBezTo>
                  <a:cubicBezTo>
                    <a:pt x="2711" y="392"/>
                    <a:pt x="2708" y="391"/>
                    <a:pt x="2705" y="395"/>
                  </a:cubicBezTo>
                  <a:cubicBezTo>
                    <a:pt x="2703" y="399"/>
                    <a:pt x="2700" y="395"/>
                    <a:pt x="2696" y="396"/>
                  </a:cubicBezTo>
                  <a:cubicBezTo>
                    <a:pt x="2691" y="396"/>
                    <a:pt x="2691" y="402"/>
                    <a:pt x="2687" y="406"/>
                  </a:cubicBezTo>
                  <a:cubicBezTo>
                    <a:pt x="2684" y="410"/>
                    <a:pt x="2690" y="411"/>
                    <a:pt x="2690" y="416"/>
                  </a:cubicBezTo>
                  <a:cubicBezTo>
                    <a:pt x="2691" y="422"/>
                    <a:pt x="2690" y="423"/>
                    <a:pt x="2684" y="431"/>
                  </a:cubicBezTo>
                  <a:cubicBezTo>
                    <a:pt x="2678" y="439"/>
                    <a:pt x="2684" y="440"/>
                    <a:pt x="2685" y="444"/>
                  </a:cubicBezTo>
                  <a:cubicBezTo>
                    <a:pt x="2686" y="449"/>
                    <a:pt x="2686" y="451"/>
                    <a:pt x="2686" y="457"/>
                  </a:cubicBezTo>
                  <a:cubicBezTo>
                    <a:pt x="2686" y="463"/>
                    <a:pt x="2682" y="463"/>
                    <a:pt x="2678" y="466"/>
                  </a:cubicBezTo>
                  <a:cubicBezTo>
                    <a:pt x="2674" y="469"/>
                    <a:pt x="2672" y="467"/>
                    <a:pt x="2671" y="471"/>
                  </a:cubicBezTo>
                  <a:cubicBezTo>
                    <a:pt x="2670" y="475"/>
                    <a:pt x="2662" y="470"/>
                    <a:pt x="2659" y="469"/>
                  </a:cubicBezTo>
                  <a:cubicBezTo>
                    <a:pt x="2656" y="468"/>
                    <a:pt x="2659" y="477"/>
                    <a:pt x="2668" y="482"/>
                  </a:cubicBezTo>
                  <a:cubicBezTo>
                    <a:pt x="2677" y="488"/>
                    <a:pt x="2669" y="493"/>
                    <a:pt x="2671" y="503"/>
                  </a:cubicBezTo>
                  <a:cubicBezTo>
                    <a:pt x="2672" y="512"/>
                    <a:pt x="2673" y="509"/>
                    <a:pt x="2686" y="522"/>
                  </a:cubicBezTo>
                  <a:cubicBezTo>
                    <a:pt x="2700" y="534"/>
                    <a:pt x="2695" y="535"/>
                    <a:pt x="2704" y="545"/>
                  </a:cubicBezTo>
                  <a:cubicBezTo>
                    <a:pt x="2712" y="556"/>
                    <a:pt x="2731" y="568"/>
                    <a:pt x="2736" y="573"/>
                  </a:cubicBezTo>
                  <a:cubicBezTo>
                    <a:pt x="2741" y="578"/>
                    <a:pt x="2752" y="588"/>
                    <a:pt x="2762" y="598"/>
                  </a:cubicBezTo>
                  <a:cubicBezTo>
                    <a:pt x="2773" y="609"/>
                    <a:pt x="2769" y="607"/>
                    <a:pt x="2781" y="615"/>
                  </a:cubicBezTo>
                  <a:cubicBezTo>
                    <a:pt x="2792" y="622"/>
                    <a:pt x="2789" y="623"/>
                    <a:pt x="2803" y="634"/>
                  </a:cubicBezTo>
                  <a:cubicBezTo>
                    <a:pt x="2817" y="645"/>
                    <a:pt x="2815" y="646"/>
                    <a:pt x="2822" y="650"/>
                  </a:cubicBezTo>
                  <a:cubicBezTo>
                    <a:pt x="2828" y="654"/>
                    <a:pt x="2820" y="660"/>
                    <a:pt x="2817" y="661"/>
                  </a:cubicBezTo>
                  <a:cubicBezTo>
                    <a:pt x="2814" y="661"/>
                    <a:pt x="2815" y="664"/>
                    <a:pt x="2814" y="670"/>
                  </a:cubicBezTo>
                  <a:cubicBezTo>
                    <a:pt x="2813" y="676"/>
                    <a:pt x="2804" y="672"/>
                    <a:pt x="2815" y="680"/>
                  </a:cubicBezTo>
                  <a:cubicBezTo>
                    <a:pt x="2826" y="689"/>
                    <a:pt x="2828" y="672"/>
                    <a:pt x="2827" y="668"/>
                  </a:cubicBezTo>
                  <a:cubicBezTo>
                    <a:pt x="2826" y="664"/>
                    <a:pt x="2828" y="662"/>
                    <a:pt x="2828" y="660"/>
                  </a:cubicBezTo>
                  <a:cubicBezTo>
                    <a:pt x="2828" y="659"/>
                    <a:pt x="2828" y="650"/>
                    <a:pt x="2831" y="647"/>
                  </a:cubicBezTo>
                  <a:cubicBezTo>
                    <a:pt x="2834" y="644"/>
                    <a:pt x="2838" y="639"/>
                    <a:pt x="2838" y="635"/>
                  </a:cubicBezTo>
                  <a:cubicBezTo>
                    <a:pt x="2839" y="631"/>
                    <a:pt x="2838" y="623"/>
                    <a:pt x="2836" y="621"/>
                  </a:cubicBezTo>
                  <a:cubicBezTo>
                    <a:pt x="2835" y="618"/>
                    <a:pt x="2826" y="610"/>
                    <a:pt x="2823" y="607"/>
                  </a:cubicBezTo>
                  <a:cubicBezTo>
                    <a:pt x="2820" y="603"/>
                    <a:pt x="2828" y="600"/>
                    <a:pt x="2832" y="597"/>
                  </a:cubicBezTo>
                  <a:cubicBezTo>
                    <a:pt x="2836" y="594"/>
                    <a:pt x="2842" y="597"/>
                    <a:pt x="2845" y="595"/>
                  </a:cubicBezTo>
                  <a:cubicBezTo>
                    <a:pt x="2848" y="592"/>
                    <a:pt x="2836" y="588"/>
                    <a:pt x="2832" y="584"/>
                  </a:cubicBezTo>
                  <a:cubicBezTo>
                    <a:pt x="2828" y="580"/>
                    <a:pt x="2826" y="577"/>
                    <a:pt x="2820" y="572"/>
                  </a:cubicBezTo>
                  <a:cubicBezTo>
                    <a:pt x="2814" y="567"/>
                    <a:pt x="2825" y="566"/>
                    <a:pt x="2827" y="562"/>
                  </a:cubicBezTo>
                  <a:cubicBezTo>
                    <a:pt x="2830" y="558"/>
                    <a:pt x="2837" y="561"/>
                    <a:pt x="2845" y="560"/>
                  </a:cubicBezTo>
                  <a:cubicBezTo>
                    <a:pt x="2854" y="560"/>
                    <a:pt x="2849" y="559"/>
                    <a:pt x="2848" y="556"/>
                  </a:cubicBezTo>
                  <a:cubicBezTo>
                    <a:pt x="2847" y="552"/>
                    <a:pt x="2844" y="550"/>
                    <a:pt x="2838" y="547"/>
                  </a:cubicBezTo>
                  <a:cubicBezTo>
                    <a:pt x="2833" y="545"/>
                    <a:pt x="2830" y="542"/>
                    <a:pt x="2825" y="535"/>
                  </a:cubicBezTo>
                  <a:cubicBezTo>
                    <a:pt x="2819" y="528"/>
                    <a:pt x="2820" y="527"/>
                    <a:pt x="2817" y="524"/>
                  </a:cubicBezTo>
                  <a:cubicBezTo>
                    <a:pt x="2814" y="521"/>
                    <a:pt x="2814" y="512"/>
                    <a:pt x="2815" y="510"/>
                  </a:cubicBezTo>
                  <a:cubicBezTo>
                    <a:pt x="2816" y="507"/>
                    <a:pt x="2820" y="513"/>
                    <a:pt x="2826" y="516"/>
                  </a:cubicBezTo>
                  <a:cubicBezTo>
                    <a:pt x="2832" y="520"/>
                    <a:pt x="2830" y="518"/>
                    <a:pt x="2833" y="516"/>
                  </a:cubicBezTo>
                  <a:cubicBezTo>
                    <a:pt x="2835" y="515"/>
                    <a:pt x="2831" y="511"/>
                    <a:pt x="2828" y="508"/>
                  </a:cubicBezTo>
                  <a:cubicBezTo>
                    <a:pt x="2825" y="506"/>
                    <a:pt x="2823" y="503"/>
                    <a:pt x="2817" y="502"/>
                  </a:cubicBezTo>
                  <a:cubicBezTo>
                    <a:pt x="2811" y="502"/>
                    <a:pt x="2808" y="499"/>
                    <a:pt x="2803" y="495"/>
                  </a:cubicBezTo>
                  <a:cubicBezTo>
                    <a:pt x="2798" y="491"/>
                    <a:pt x="2795" y="489"/>
                    <a:pt x="2793" y="488"/>
                  </a:cubicBezTo>
                  <a:cubicBezTo>
                    <a:pt x="2790" y="487"/>
                    <a:pt x="2794" y="481"/>
                    <a:pt x="2793" y="479"/>
                  </a:cubicBezTo>
                  <a:cubicBezTo>
                    <a:pt x="2792" y="477"/>
                    <a:pt x="2789" y="474"/>
                    <a:pt x="2783" y="474"/>
                  </a:cubicBezTo>
                  <a:cubicBezTo>
                    <a:pt x="2778" y="473"/>
                    <a:pt x="2774" y="468"/>
                    <a:pt x="2771" y="471"/>
                  </a:cubicBezTo>
                  <a:cubicBezTo>
                    <a:pt x="2768" y="474"/>
                    <a:pt x="2768" y="471"/>
                    <a:pt x="2763" y="470"/>
                  </a:cubicBezTo>
                  <a:cubicBezTo>
                    <a:pt x="2758" y="469"/>
                    <a:pt x="2757" y="469"/>
                    <a:pt x="2753" y="463"/>
                  </a:cubicBezTo>
                  <a:cubicBezTo>
                    <a:pt x="2749" y="456"/>
                    <a:pt x="2751" y="455"/>
                    <a:pt x="2748" y="449"/>
                  </a:cubicBezTo>
                  <a:cubicBezTo>
                    <a:pt x="2745" y="443"/>
                    <a:pt x="2748" y="442"/>
                    <a:pt x="2748" y="439"/>
                  </a:cubicBezTo>
                  <a:cubicBezTo>
                    <a:pt x="2748" y="437"/>
                    <a:pt x="2743" y="434"/>
                    <a:pt x="2736" y="428"/>
                  </a:cubicBezTo>
                  <a:cubicBezTo>
                    <a:pt x="2728" y="422"/>
                    <a:pt x="2736" y="418"/>
                    <a:pt x="2736" y="415"/>
                  </a:cubicBezTo>
                  <a:cubicBezTo>
                    <a:pt x="2737" y="412"/>
                    <a:pt x="2743" y="416"/>
                    <a:pt x="2744" y="415"/>
                  </a:cubicBezTo>
                  <a:cubicBezTo>
                    <a:pt x="2745" y="414"/>
                    <a:pt x="2751" y="417"/>
                    <a:pt x="2753" y="416"/>
                  </a:cubicBezTo>
                  <a:cubicBezTo>
                    <a:pt x="2756" y="416"/>
                    <a:pt x="2757" y="423"/>
                    <a:pt x="2766" y="422"/>
                  </a:cubicBezTo>
                  <a:cubicBezTo>
                    <a:pt x="2774" y="421"/>
                    <a:pt x="2766" y="417"/>
                    <a:pt x="2763" y="412"/>
                  </a:cubicBezTo>
                  <a:cubicBezTo>
                    <a:pt x="2760" y="407"/>
                    <a:pt x="2764" y="402"/>
                    <a:pt x="2772" y="408"/>
                  </a:cubicBezTo>
                  <a:cubicBezTo>
                    <a:pt x="2781" y="413"/>
                    <a:pt x="2782" y="419"/>
                    <a:pt x="2787" y="422"/>
                  </a:cubicBezTo>
                  <a:cubicBezTo>
                    <a:pt x="2793" y="424"/>
                    <a:pt x="2789" y="417"/>
                    <a:pt x="2789" y="413"/>
                  </a:cubicBezTo>
                  <a:cubicBezTo>
                    <a:pt x="2788" y="410"/>
                    <a:pt x="2797" y="406"/>
                    <a:pt x="2800" y="403"/>
                  </a:cubicBezTo>
                  <a:cubicBezTo>
                    <a:pt x="2803" y="399"/>
                    <a:pt x="2811" y="402"/>
                    <a:pt x="2817" y="402"/>
                  </a:cubicBezTo>
                  <a:cubicBezTo>
                    <a:pt x="2823" y="402"/>
                    <a:pt x="2833" y="403"/>
                    <a:pt x="2845" y="409"/>
                  </a:cubicBezTo>
                  <a:cubicBezTo>
                    <a:pt x="2858" y="416"/>
                    <a:pt x="2850" y="414"/>
                    <a:pt x="2866" y="417"/>
                  </a:cubicBezTo>
                  <a:cubicBezTo>
                    <a:pt x="2882" y="421"/>
                    <a:pt x="2870" y="412"/>
                    <a:pt x="2866" y="409"/>
                  </a:cubicBezTo>
                  <a:cubicBezTo>
                    <a:pt x="2861" y="407"/>
                    <a:pt x="2866" y="405"/>
                    <a:pt x="2868" y="404"/>
                  </a:cubicBezTo>
                  <a:cubicBezTo>
                    <a:pt x="2869" y="403"/>
                    <a:pt x="2876" y="400"/>
                    <a:pt x="2877" y="393"/>
                  </a:cubicBezTo>
                  <a:cubicBezTo>
                    <a:pt x="2877" y="386"/>
                    <a:pt x="2879" y="388"/>
                    <a:pt x="2879" y="385"/>
                  </a:cubicBezTo>
                  <a:cubicBezTo>
                    <a:pt x="2879" y="382"/>
                    <a:pt x="2880" y="379"/>
                    <a:pt x="2879" y="376"/>
                  </a:cubicBezTo>
                  <a:cubicBezTo>
                    <a:pt x="2878" y="373"/>
                    <a:pt x="2889" y="376"/>
                    <a:pt x="2891" y="374"/>
                  </a:cubicBezTo>
                  <a:cubicBezTo>
                    <a:pt x="2893" y="372"/>
                    <a:pt x="2897" y="368"/>
                    <a:pt x="2902" y="363"/>
                  </a:cubicBezTo>
                  <a:cubicBezTo>
                    <a:pt x="2907" y="359"/>
                    <a:pt x="2913" y="356"/>
                    <a:pt x="2914" y="353"/>
                  </a:cubicBezTo>
                  <a:cubicBezTo>
                    <a:pt x="2915" y="349"/>
                    <a:pt x="2923" y="351"/>
                    <a:pt x="2927" y="350"/>
                  </a:cubicBezTo>
                  <a:cubicBezTo>
                    <a:pt x="2931" y="350"/>
                    <a:pt x="2936" y="350"/>
                    <a:pt x="2956" y="355"/>
                  </a:cubicBezTo>
                  <a:cubicBezTo>
                    <a:pt x="2976" y="360"/>
                    <a:pt x="2966" y="358"/>
                    <a:pt x="2965" y="350"/>
                  </a:cubicBezTo>
                  <a:cubicBezTo>
                    <a:pt x="2964" y="341"/>
                    <a:pt x="2949" y="341"/>
                    <a:pt x="2946" y="339"/>
                  </a:cubicBezTo>
                  <a:cubicBezTo>
                    <a:pt x="2943" y="336"/>
                    <a:pt x="2932" y="332"/>
                    <a:pt x="2917" y="324"/>
                  </a:cubicBezTo>
                  <a:cubicBezTo>
                    <a:pt x="2901" y="315"/>
                    <a:pt x="2900" y="316"/>
                    <a:pt x="2895" y="312"/>
                  </a:cubicBezTo>
                  <a:cubicBezTo>
                    <a:pt x="2889" y="308"/>
                    <a:pt x="2890" y="312"/>
                    <a:pt x="2875" y="308"/>
                  </a:cubicBezTo>
                  <a:cubicBezTo>
                    <a:pt x="2861" y="304"/>
                    <a:pt x="2856" y="307"/>
                    <a:pt x="2853" y="304"/>
                  </a:cubicBezTo>
                  <a:cubicBezTo>
                    <a:pt x="2850" y="302"/>
                    <a:pt x="2843" y="301"/>
                    <a:pt x="2833" y="294"/>
                  </a:cubicBezTo>
                  <a:cubicBezTo>
                    <a:pt x="2824" y="287"/>
                    <a:pt x="2841" y="290"/>
                    <a:pt x="2851" y="294"/>
                  </a:cubicBezTo>
                  <a:cubicBezTo>
                    <a:pt x="2862" y="299"/>
                    <a:pt x="2857" y="299"/>
                    <a:pt x="2866" y="298"/>
                  </a:cubicBezTo>
                  <a:cubicBezTo>
                    <a:pt x="2874" y="298"/>
                    <a:pt x="2880" y="302"/>
                    <a:pt x="2886" y="298"/>
                  </a:cubicBezTo>
                  <a:cubicBezTo>
                    <a:pt x="2893" y="295"/>
                    <a:pt x="2893" y="293"/>
                    <a:pt x="2894" y="288"/>
                  </a:cubicBezTo>
                  <a:cubicBezTo>
                    <a:pt x="2895" y="283"/>
                    <a:pt x="2890" y="279"/>
                    <a:pt x="2889" y="277"/>
                  </a:cubicBezTo>
                  <a:cubicBezTo>
                    <a:pt x="2888" y="274"/>
                    <a:pt x="2872" y="271"/>
                    <a:pt x="2866" y="269"/>
                  </a:cubicBezTo>
                  <a:cubicBezTo>
                    <a:pt x="2860" y="266"/>
                    <a:pt x="2865" y="262"/>
                    <a:pt x="2870" y="259"/>
                  </a:cubicBezTo>
                  <a:cubicBezTo>
                    <a:pt x="2875" y="255"/>
                    <a:pt x="2877" y="263"/>
                    <a:pt x="2887" y="268"/>
                  </a:cubicBezTo>
                  <a:cubicBezTo>
                    <a:pt x="2896" y="273"/>
                    <a:pt x="2895" y="269"/>
                    <a:pt x="2906" y="279"/>
                  </a:cubicBezTo>
                  <a:cubicBezTo>
                    <a:pt x="2917" y="288"/>
                    <a:pt x="2912" y="281"/>
                    <a:pt x="2919" y="279"/>
                  </a:cubicBezTo>
                  <a:cubicBezTo>
                    <a:pt x="2927" y="277"/>
                    <a:pt x="2932" y="279"/>
                    <a:pt x="2933" y="278"/>
                  </a:cubicBezTo>
                  <a:cubicBezTo>
                    <a:pt x="2934" y="277"/>
                    <a:pt x="2944" y="279"/>
                    <a:pt x="2948" y="279"/>
                  </a:cubicBezTo>
                  <a:cubicBezTo>
                    <a:pt x="2952" y="279"/>
                    <a:pt x="2957" y="288"/>
                    <a:pt x="2967" y="288"/>
                  </a:cubicBezTo>
                  <a:cubicBezTo>
                    <a:pt x="2978" y="288"/>
                    <a:pt x="2981" y="296"/>
                    <a:pt x="2990" y="298"/>
                  </a:cubicBezTo>
                  <a:cubicBezTo>
                    <a:pt x="2999" y="299"/>
                    <a:pt x="2998" y="299"/>
                    <a:pt x="3012" y="303"/>
                  </a:cubicBezTo>
                  <a:cubicBezTo>
                    <a:pt x="3026" y="307"/>
                    <a:pt x="3022" y="305"/>
                    <a:pt x="3040" y="306"/>
                  </a:cubicBezTo>
                  <a:cubicBezTo>
                    <a:pt x="3058" y="308"/>
                    <a:pt x="3051" y="310"/>
                    <a:pt x="3055" y="307"/>
                  </a:cubicBezTo>
                  <a:cubicBezTo>
                    <a:pt x="3059" y="303"/>
                    <a:pt x="3052" y="302"/>
                    <a:pt x="3048" y="301"/>
                  </a:cubicBezTo>
                  <a:close/>
                  <a:moveTo>
                    <a:pt x="1759" y="575"/>
                  </a:moveTo>
                  <a:cubicBezTo>
                    <a:pt x="1757" y="583"/>
                    <a:pt x="1759" y="589"/>
                    <a:pt x="1754" y="593"/>
                  </a:cubicBezTo>
                  <a:cubicBezTo>
                    <a:pt x="1748" y="597"/>
                    <a:pt x="1751" y="602"/>
                    <a:pt x="1744" y="605"/>
                  </a:cubicBezTo>
                  <a:cubicBezTo>
                    <a:pt x="1737" y="608"/>
                    <a:pt x="1736" y="610"/>
                    <a:pt x="1732" y="614"/>
                  </a:cubicBezTo>
                  <a:cubicBezTo>
                    <a:pt x="1728" y="619"/>
                    <a:pt x="1716" y="618"/>
                    <a:pt x="1720" y="622"/>
                  </a:cubicBezTo>
                  <a:cubicBezTo>
                    <a:pt x="1723" y="626"/>
                    <a:pt x="1722" y="635"/>
                    <a:pt x="1719" y="637"/>
                  </a:cubicBezTo>
                  <a:cubicBezTo>
                    <a:pt x="1716" y="639"/>
                    <a:pt x="1708" y="640"/>
                    <a:pt x="1702" y="642"/>
                  </a:cubicBezTo>
                  <a:cubicBezTo>
                    <a:pt x="1696" y="644"/>
                    <a:pt x="1684" y="641"/>
                    <a:pt x="1679" y="639"/>
                  </a:cubicBezTo>
                  <a:cubicBezTo>
                    <a:pt x="1674" y="636"/>
                    <a:pt x="1671" y="634"/>
                    <a:pt x="1679" y="634"/>
                  </a:cubicBezTo>
                  <a:cubicBezTo>
                    <a:pt x="1686" y="634"/>
                    <a:pt x="1699" y="629"/>
                    <a:pt x="1701" y="627"/>
                  </a:cubicBezTo>
                  <a:cubicBezTo>
                    <a:pt x="1704" y="624"/>
                    <a:pt x="1708" y="615"/>
                    <a:pt x="1712" y="612"/>
                  </a:cubicBezTo>
                  <a:cubicBezTo>
                    <a:pt x="1716" y="609"/>
                    <a:pt x="1720" y="607"/>
                    <a:pt x="1720" y="605"/>
                  </a:cubicBezTo>
                  <a:cubicBezTo>
                    <a:pt x="1720" y="603"/>
                    <a:pt x="1720" y="593"/>
                    <a:pt x="1722" y="590"/>
                  </a:cubicBezTo>
                  <a:cubicBezTo>
                    <a:pt x="1724" y="588"/>
                    <a:pt x="1724" y="583"/>
                    <a:pt x="1731" y="578"/>
                  </a:cubicBezTo>
                  <a:cubicBezTo>
                    <a:pt x="1737" y="573"/>
                    <a:pt x="1732" y="573"/>
                    <a:pt x="1732" y="565"/>
                  </a:cubicBezTo>
                  <a:cubicBezTo>
                    <a:pt x="1732" y="557"/>
                    <a:pt x="1734" y="552"/>
                    <a:pt x="1734" y="546"/>
                  </a:cubicBezTo>
                  <a:cubicBezTo>
                    <a:pt x="1734" y="540"/>
                    <a:pt x="1724" y="535"/>
                    <a:pt x="1728" y="532"/>
                  </a:cubicBezTo>
                  <a:cubicBezTo>
                    <a:pt x="1732" y="522"/>
                    <a:pt x="1733" y="520"/>
                    <a:pt x="1738" y="526"/>
                  </a:cubicBezTo>
                  <a:cubicBezTo>
                    <a:pt x="1743" y="532"/>
                    <a:pt x="1741" y="539"/>
                    <a:pt x="1746" y="546"/>
                  </a:cubicBezTo>
                  <a:cubicBezTo>
                    <a:pt x="1750" y="553"/>
                    <a:pt x="1745" y="552"/>
                    <a:pt x="1752" y="560"/>
                  </a:cubicBezTo>
                  <a:cubicBezTo>
                    <a:pt x="1759" y="569"/>
                    <a:pt x="1762" y="567"/>
                    <a:pt x="1759" y="575"/>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04" name="Freeform 1083">
              <a:extLst>
                <a:ext uri="{FF2B5EF4-FFF2-40B4-BE49-F238E27FC236}">
                  <a16:creationId xmlns:a16="http://schemas.microsoft.com/office/drawing/2014/main" id="{36C02537-3833-504F-8186-3BB6F395C313}"/>
                </a:ext>
              </a:extLst>
            </p:cNvPr>
            <p:cNvSpPr>
              <a:spLocks/>
            </p:cNvSpPr>
            <p:nvPr/>
          </p:nvSpPr>
          <p:spPr bwMode="auto">
            <a:xfrm>
              <a:off x="4460889" y="1200605"/>
              <a:ext cx="63500" cy="23813"/>
            </a:xfrm>
            <a:custGeom>
              <a:avLst/>
              <a:gdLst>
                <a:gd name="T0" fmla="*/ 64 w 67"/>
                <a:gd name="T1" fmla="*/ 16 h 25"/>
                <a:gd name="T2" fmla="*/ 62 w 67"/>
                <a:gd name="T3" fmla="*/ 22 h 25"/>
                <a:gd name="T4" fmla="*/ 62 w 67"/>
                <a:gd name="T5" fmla="*/ 25 h 25"/>
                <a:gd name="T6" fmla="*/ 6 w 67"/>
                <a:gd name="T7" fmla="*/ 25 h 25"/>
                <a:gd name="T8" fmla="*/ 1 w 67"/>
                <a:gd name="T9" fmla="*/ 25 h 25"/>
                <a:gd name="T10" fmla="*/ 2 w 67"/>
                <a:gd name="T11" fmla="*/ 24 h 25"/>
                <a:gd name="T12" fmla="*/ 6 w 67"/>
                <a:gd name="T13" fmla="*/ 14 h 25"/>
                <a:gd name="T14" fmla="*/ 17 w 67"/>
                <a:gd name="T15" fmla="*/ 9 h 25"/>
                <a:gd name="T16" fmla="*/ 27 w 67"/>
                <a:gd name="T17" fmla="*/ 10 h 25"/>
                <a:gd name="T18" fmla="*/ 29 w 67"/>
                <a:gd name="T19" fmla="*/ 1 h 25"/>
                <a:gd name="T20" fmla="*/ 36 w 67"/>
                <a:gd name="T21" fmla="*/ 2 h 25"/>
                <a:gd name="T22" fmla="*/ 45 w 67"/>
                <a:gd name="T23" fmla="*/ 6 h 25"/>
                <a:gd name="T24" fmla="*/ 60 w 67"/>
                <a:gd name="T25" fmla="*/ 9 h 25"/>
                <a:gd name="T26" fmla="*/ 64 w 67"/>
                <a:gd name="T2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25">
                  <a:moveTo>
                    <a:pt x="64" y="16"/>
                  </a:moveTo>
                  <a:cubicBezTo>
                    <a:pt x="62" y="19"/>
                    <a:pt x="62" y="21"/>
                    <a:pt x="62" y="22"/>
                  </a:cubicBezTo>
                  <a:cubicBezTo>
                    <a:pt x="62" y="23"/>
                    <a:pt x="62" y="24"/>
                    <a:pt x="62" y="25"/>
                  </a:cubicBezTo>
                  <a:cubicBezTo>
                    <a:pt x="49" y="25"/>
                    <a:pt x="10" y="25"/>
                    <a:pt x="6" y="25"/>
                  </a:cubicBezTo>
                  <a:cubicBezTo>
                    <a:pt x="4" y="25"/>
                    <a:pt x="2" y="25"/>
                    <a:pt x="1" y="25"/>
                  </a:cubicBezTo>
                  <a:cubicBezTo>
                    <a:pt x="1" y="24"/>
                    <a:pt x="1" y="24"/>
                    <a:pt x="2" y="24"/>
                  </a:cubicBezTo>
                  <a:cubicBezTo>
                    <a:pt x="5" y="20"/>
                    <a:pt x="0" y="17"/>
                    <a:pt x="6" y="14"/>
                  </a:cubicBezTo>
                  <a:cubicBezTo>
                    <a:pt x="12" y="11"/>
                    <a:pt x="11" y="7"/>
                    <a:pt x="17" y="9"/>
                  </a:cubicBezTo>
                  <a:cubicBezTo>
                    <a:pt x="23" y="12"/>
                    <a:pt x="26" y="16"/>
                    <a:pt x="27" y="10"/>
                  </a:cubicBezTo>
                  <a:cubicBezTo>
                    <a:pt x="28" y="7"/>
                    <a:pt x="29" y="4"/>
                    <a:pt x="29" y="1"/>
                  </a:cubicBezTo>
                  <a:cubicBezTo>
                    <a:pt x="35" y="1"/>
                    <a:pt x="32" y="0"/>
                    <a:pt x="36" y="2"/>
                  </a:cubicBezTo>
                  <a:cubicBezTo>
                    <a:pt x="40" y="4"/>
                    <a:pt x="38" y="6"/>
                    <a:pt x="45" y="6"/>
                  </a:cubicBezTo>
                  <a:cubicBezTo>
                    <a:pt x="52" y="6"/>
                    <a:pt x="55" y="5"/>
                    <a:pt x="60" y="9"/>
                  </a:cubicBezTo>
                  <a:cubicBezTo>
                    <a:pt x="64" y="12"/>
                    <a:pt x="67" y="13"/>
                    <a:pt x="64" y="1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05" name="Freeform 1084">
              <a:extLst>
                <a:ext uri="{FF2B5EF4-FFF2-40B4-BE49-F238E27FC236}">
                  <a16:creationId xmlns:a16="http://schemas.microsoft.com/office/drawing/2014/main" id="{C984ECB0-A3E1-014A-8B64-09CE63E562DF}"/>
                </a:ext>
              </a:extLst>
            </p:cNvPr>
            <p:cNvSpPr>
              <a:spLocks/>
            </p:cNvSpPr>
            <p:nvPr/>
          </p:nvSpPr>
          <p:spPr bwMode="auto">
            <a:xfrm>
              <a:off x="4830778" y="1797506"/>
              <a:ext cx="17463" cy="33338"/>
            </a:xfrm>
            <a:custGeom>
              <a:avLst/>
              <a:gdLst>
                <a:gd name="T0" fmla="*/ 18 w 18"/>
                <a:gd name="T1" fmla="*/ 21 h 36"/>
                <a:gd name="T2" fmla="*/ 15 w 18"/>
                <a:gd name="T3" fmla="*/ 32 h 36"/>
                <a:gd name="T4" fmla="*/ 9 w 18"/>
                <a:gd name="T5" fmla="*/ 34 h 36"/>
                <a:gd name="T6" fmla="*/ 3 w 18"/>
                <a:gd name="T7" fmla="*/ 35 h 36"/>
                <a:gd name="T8" fmla="*/ 3 w 18"/>
                <a:gd name="T9" fmla="*/ 30 h 36"/>
                <a:gd name="T10" fmla="*/ 8 w 18"/>
                <a:gd name="T11" fmla="*/ 25 h 36"/>
                <a:gd name="T12" fmla="*/ 3 w 18"/>
                <a:gd name="T13" fmla="*/ 21 h 36"/>
                <a:gd name="T14" fmla="*/ 2 w 18"/>
                <a:gd name="T15" fmla="*/ 16 h 36"/>
                <a:gd name="T16" fmla="*/ 3 w 18"/>
                <a:gd name="T17" fmla="*/ 9 h 36"/>
                <a:gd name="T18" fmla="*/ 5 w 18"/>
                <a:gd name="T19" fmla="*/ 3 h 36"/>
                <a:gd name="T20" fmla="*/ 12 w 18"/>
                <a:gd name="T21" fmla="*/ 4 h 36"/>
                <a:gd name="T22" fmla="*/ 16 w 18"/>
                <a:gd name="T23" fmla="*/ 7 h 36"/>
                <a:gd name="T24" fmla="*/ 16 w 18"/>
                <a:gd name="T25" fmla="*/ 12 h 36"/>
                <a:gd name="T26" fmla="*/ 18 w 18"/>
                <a:gd name="T27" fmla="*/ 2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36">
                  <a:moveTo>
                    <a:pt x="18" y="21"/>
                  </a:moveTo>
                  <a:cubicBezTo>
                    <a:pt x="18" y="25"/>
                    <a:pt x="15" y="27"/>
                    <a:pt x="15" y="32"/>
                  </a:cubicBezTo>
                  <a:cubicBezTo>
                    <a:pt x="14" y="32"/>
                    <a:pt x="12" y="33"/>
                    <a:pt x="9" y="34"/>
                  </a:cubicBezTo>
                  <a:cubicBezTo>
                    <a:pt x="6" y="36"/>
                    <a:pt x="5" y="36"/>
                    <a:pt x="3" y="35"/>
                  </a:cubicBezTo>
                  <a:cubicBezTo>
                    <a:pt x="2" y="34"/>
                    <a:pt x="3" y="31"/>
                    <a:pt x="3" y="30"/>
                  </a:cubicBezTo>
                  <a:cubicBezTo>
                    <a:pt x="4" y="29"/>
                    <a:pt x="6" y="27"/>
                    <a:pt x="8" y="25"/>
                  </a:cubicBezTo>
                  <a:cubicBezTo>
                    <a:pt x="10" y="22"/>
                    <a:pt x="6" y="23"/>
                    <a:pt x="3" y="21"/>
                  </a:cubicBezTo>
                  <a:cubicBezTo>
                    <a:pt x="0" y="19"/>
                    <a:pt x="3" y="20"/>
                    <a:pt x="2" y="16"/>
                  </a:cubicBezTo>
                  <a:cubicBezTo>
                    <a:pt x="1" y="12"/>
                    <a:pt x="3" y="12"/>
                    <a:pt x="3" y="9"/>
                  </a:cubicBezTo>
                  <a:cubicBezTo>
                    <a:pt x="3" y="6"/>
                    <a:pt x="4" y="5"/>
                    <a:pt x="5" y="3"/>
                  </a:cubicBezTo>
                  <a:cubicBezTo>
                    <a:pt x="6" y="0"/>
                    <a:pt x="8" y="2"/>
                    <a:pt x="12" y="4"/>
                  </a:cubicBezTo>
                  <a:cubicBezTo>
                    <a:pt x="15" y="6"/>
                    <a:pt x="14" y="6"/>
                    <a:pt x="16" y="7"/>
                  </a:cubicBezTo>
                  <a:cubicBezTo>
                    <a:pt x="16" y="9"/>
                    <a:pt x="16" y="11"/>
                    <a:pt x="16" y="12"/>
                  </a:cubicBezTo>
                  <a:cubicBezTo>
                    <a:pt x="18" y="14"/>
                    <a:pt x="17" y="17"/>
                    <a:pt x="18" y="2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06" name="Freeform 1085">
              <a:extLst>
                <a:ext uri="{FF2B5EF4-FFF2-40B4-BE49-F238E27FC236}">
                  <a16:creationId xmlns:a16="http://schemas.microsoft.com/office/drawing/2014/main" id="{13857B9F-D2C1-E041-BF0D-AB856309D0B0}"/>
                </a:ext>
              </a:extLst>
            </p:cNvPr>
            <p:cNvSpPr>
              <a:spLocks/>
            </p:cNvSpPr>
            <p:nvPr/>
          </p:nvSpPr>
          <p:spPr bwMode="auto">
            <a:xfrm>
              <a:off x="5791218" y="1707019"/>
              <a:ext cx="52388" cy="55563"/>
            </a:xfrm>
            <a:custGeom>
              <a:avLst/>
              <a:gdLst>
                <a:gd name="T0" fmla="*/ 55 w 56"/>
                <a:gd name="T1" fmla="*/ 23 h 58"/>
                <a:gd name="T2" fmla="*/ 48 w 56"/>
                <a:gd name="T3" fmla="*/ 37 h 58"/>
                <a:gd name="T4" fmla="*/ 42 w 56"/>
                <a:gd name="T5" fmla="*/ 50 h 58"/>
                <a:gd name="T6" fmla="*/ 37 w 56"/>
                <a:gd name="T7" fmla="*/ 55 h 58"/>
                <a:gd name="T8" fmla="*/ 27 w 56"/>
                <a:gd name="T9" fmla="*/ 57 h 58"/>
                <a:gd name="T10" fmla="*/ 30 w 56"/>
                <a:gd name="T11" fmla="*/ 46 h 58"/>
                <a:gd name="T12" fmla="*/ 14 w 56"/>
                <a:gd name="T13" fmla="*/ 38 h 58"/>
                <a:gd name="T14" fmla="*/ 8 w 56"/>
                <a:gd name="T15" fmla="*/ 30 h 58"/>
                <a:gd name="T16" fmla="*/ 1 w 56"/>
                <a:gd name="T17" fmla="*/ 16 h 58"/>
                <a:gd name="T18" fmla="*/ 0 w 56"/>
                <a:gd name="T19" fmla="*/ 14 h 58"/>
                <a:gd name="T20" fmla="*/ 7 w 56"/>
                <a:gd name="T21" fmla="*/ 6 h 58"/>
                <a:gd name="T22" fmla="*/ 32 w 56"/>
                <a:gd name="T23" fmla="*/ 3 h 58"/>
                <a:gd name="T24" fmla="*/ 50 w 56"/>
                <a:gd name="T25" fmla="*/ 14 h 58"/>
                <a:gd name="T26" fmla="*/ 55 w 56"/>
                <a:gd name="T27"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58">
                  <a:moveTo>
                    <a:pt x="55" y="23"/>
                  </a:moveTo>
                  <a:cubicBezTo>
                    <a:pt x="54" y="31"/>
                    <a:pt x="50" y="35"/>
                    <a:pt x="48" y="37"/>
                  </a:cubicBezTo>
                  <a:cubicBezTo>
                    <a:pt x="47" y="40"/>
                    <a:pt x="42" y="46"/>
                    <a:pt x="42" y="50"/>
                  </a:cubicBezTo>
                  <a:cubicBezTo>
                    <a:pt x="42" y="54"/>
                    <a:pt x="44" y="58"/>
                    <a:pt x="37" y="55"/>
                  </a:cubicBezTo>
                  <a:cubicBezTo>
                    <a:pt x="32" y="54"/>
                    <a:pt x="29" y="55"/>
                    <a:pt x="27" y="57"/>
                  </a:cubicBezTo>
                  <a:cubicBezTo>
                    <a:pt x="23" y="49"/>
                    <a:pt x="31" y="50"/>
                    <a:pt x="30" y="46"/>
                  </a:cubicBezTo>
                  <a:cubicBezTo>
                    <a:pt x="30" y="42"/>
                    <a:pt x="21" y="40"/>
                    <a:pt x="14" y="38"/>
                  </a:cubicBezTo>
                  <a:cubicBezTo>
                    <a:pt x="7" y="36"/>
                    <a:pt x="8" y="33"/>
                    <a:pt x="8" y="30"/>
                  </a:cubicBezTo>
                  <a:cubicBezTo>
                    <a:pt x="7" y="27"/>
                    <a:pt x="3" y="22"/>
                    <a:pt x="1" y="16"/>
                  </a:cubicBezTo>
                  <a:cubicBezTo>
                    <a:pt x="1" y="15"/>
                    <a:pt x="0" y="14"/>
                    <a:pt x="0" y="14"/>
                  </a:cubicBezTo>
                  <a:cubicBezTo>
                    <a:pt x="1" y="12"/>
                    <a:pt x="2" y="9"/>
                    <a:pt x="7" y="6"/>
                  </a:cubicBezTo>
                  <a:cubicBezTo>
                    <a:pt x="15" y="2"/>
                    <a:pt x="27" y="0"/>
                    <a:pt x="32" y="3"/>
                  </a:cubicBezTo>
                  <a:cubicBezTo>
                    <a:pt x="37" y="6"/>
                    <a:pt x="45" y="12"/>
                    <a:pt x="50" y="14"/>
                  </a:cubicBezTo>
                  <a:cubicBezTo>
                    <a:pt x="54" y="16"/>
                    <a:pt x="56" y="15"/>
                    <a:pt x="55" y="2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07" name="Freeform 1086">
              <a:extLst>
                <a:ext uri="{FF2B5EF4-FFF2-40B4-BE49-F238E27FC236}">
                  <a16:creationId xmlns:a16="http://schemas.microsoft.com/office/drawing/2014/main" id="{9ABB2ADE-DD7D-914A-9BDF-6C3196A53AE6}"/>
                </a:ext>
              </a:extLst>
            </p:cNvPr>
            <p:cNvSpPr>
              <a:spLocks/>
            </p:cNvSpPr>
            <p:nvPr/>
          </p:nvSpPr>
          <p:spPr bwMode="auto">
            <a:xfrm>
              <a:off x="5613418" y="1721306"/>
              <a:ext cx="668340" cy="731839"/>
            </a:xfrm>
            <a:custGeom>
              <a:avLst/>
              <a:gdLst>
                <a:gd name="T0" fmla="*/ 652 w 702"/>
                <a:gd name="T1" fmla="*/ 259 h 769"/>
                <a:gd name="T2" fmla="*/ 630 w 702"/>
                <a:gd name="T3" fmla="*/ 325 h 769"/>
                <a:gd name="T4" fmla="*/ 621 w 702"/>
                <a:gd name="T5" fmla="*/ 364 h 769"/>
                <a:gd name="T6" fmla="*/ 605 w 702"/>
                <a:gd name="T7" fmla="*/ 361 h 769"/>
                <a:gd name="T8" fmla="*/ 570 w 702"/>
                <a:gd name="T9" fmla="*/ 340 h 769"/>
                <a:gd name="T10" fmla="*/ 587 w 702"/>
                <a:gd name="T11" fmla="*/ 290 h 769"/>
                <a:gd name="T12" fmla="*/ 512 w 702"/>
                <a:gd name="T13" fmla="*/ 264 h 769"/>
                <a:gd name="T14" fmla="*/ 484 w 702"/>
                <a:gd name="T15" fmla="*/ 268 h 769"/>
                <a:gd name="T16" fmla="*/ 486 w 702"/>
                <a:gd name="T17" fmla="*/ 302 h 769"/>
                <a:gd name="T18" fmla="*/ 516 w 702"/>
                <a:gd name="T19" fmla="*/ 359 h 769"/>
                <a:gd name="T20" fmla="*/ 515 w 702"/>
                <a:gd name="T21" fmla="*/ 385 h 769"/>
                <a:gd name="T22" fmla="*/ 495 w 702"/>
                <a:gd name="T23" fmla="*/ 381 h 769"/>
                <a:gd name="T24" fmla="*/ 473 w 702"/>
                <a:gd name="T25" fmla="*/ 418 h 769"/>
                <a:gd name="T26" fmla="*/ 444 w 702"/>
                <a:gd name="T27" fmla="*/ 440 h 769"/>
                <a:gd name="T28" fmla="*/ 411 w 702"/>
                <a:gd name="T29" fmla="*/ 483 h 769"/>
                <a:gd name="T30" fmla="*/ 371 w 702"/>
                <a:gd name="T31" fmla="*/ 517 h 769"/>
                <a:gd name="T32" fmla="*/ 345 w 702"/>
                <a:gd name="T33" fmla="*/ 544 h 769"/>
                <a:gd name="T34" fmla="*/ 325 w 702"/>
                <a:gd name="T35" fmla="*/ 584 h 769"/>
                <a:gd name="T36" fmla="*/ 331 w 702"/>
                <a:gd name="T37" fmla="*/ 634 h 769"/>
                <a:gd name="T38" fmla="*/ 323 w 702"/>
                <a:gd name="T39" fmla="*/ 688 h 769"/>
                <a:gd name="T40" fmla="*/ 306 w 702"/>
                <a:gd name="T41" fmla="*/ 720 h 769"/>
                <a:gd name="T42" fmla="*/ 283 w 702"/>
                <a:gd name="T43" fmla="*/ 758 h 769"/>
                <a:gd name="T44" fmla="*/ 235 w 702"/>
                <a:gd name="T45" fmla="*/ 723 h 769"/>
                <a:gd name="T46" fmla="*/ 201 w 702"/>
                <a:gd name="T47" fmla="*/ 645 h 769"/>
                <a:gd name="T48" fmla="*/ 174 w 702"/>
                <a:gd name="T49" fmla="*/ 577 h 769"/>
                <a:gd name="T50" fmla="*/ 146 w 702"/>
                <a:gd name="T51" fmla="*/ 509 h 769"/>
                <a:gd name="T52" fmla="*/ 125 w 702"/>
                <a:gd name="T53" fmla="*/ 433 h 769"/>
                <a:gd name="T54" fmla="*/ 117 w 702"/>
                <a:gd name="T55" fmla="*/ 376 h 769"/>
                <a:gd name="T56" fmla="*/ 110 w 702"/>
                <a:gd name="T57" fmla="*/ 392 h 769"/>
                <a:gd name="T58" fmla="*/ 74 w 702"/>
                <a:gd name="T59" fmla="*/ 413 h 769"/>
                <a:gd name="T60" fmla="*/ 34 w 702"/>
                <a:gd name="T61" fmla="*/ 377 h 769"/>
                <a:gd name="T62" fmla="*/ 60 w 702"/>
                <a:gd name="T63" fmla="*/ 357 h 769"/>
                <a:gd name="T64" fmla="*/ 20 w 702"/>
                <a:gd name="T65" fmla="*/ 346 h 769"/>
                <a:gd name="T66" fmla="*/ 4 w 702"/>
                <a:gd name="T67" fmla="*/ 326 h 769"/>
                <a:gd name="T68" fmla="*/ 50 w 702"/>
                <a:gd name="T69" fmla="*/ 317 h 769"/>
                <a:gd name="T70" fmla="*/ 48 w 702"/>
                <a:gd name="T71" fmla="*/ 268 h 769"/>
                <a:gd name="T72" fmla="*/ 85 w 702"/>
                <a:gd name="T73" fmla="*/ 198 h 769"/>
                <a:gd name="T74" fmla="*/ 131 w 702"/>
                <a:gd name="T75" fmla="*/ 119 h 769"/>
                <a:gd name="T76" fmla="*/ 104 w 702"/>
                <a:gd name="T77" fmla="*/ 47 h 769"/>
                <a:gd name="T78" fmla="*/ 163 w 702"/>
                <a:gd name="T79" fmla="*/ 16 h 769"/>
                <a:gd name="T80" fmla="*/ 195 w 702"/>
                <a:gd name="T81" fmla="*/ 16 h 769"/>
                <a:gd name="T82" fmla="*/ 226 w 702"/>
                <a:gd name="T83" fmla="*/ 61 h 769"/>
                <a:gd name="T84" fmla="*/ 235 w 702"/>
                <a:gd name="T85" fmla="*/ 117 h 769"/>
                <a:gd name="T86" fmla="*/ 290 w 702"/>
                <a:gd name="T87" fmla="*/ 151 h 769"/>
                <a:gd name="T88" fmla="*/ 345 w 702"/>
                <a:gd name="T89" fmla="*/ 221 h 769"/>
                <a:gd name="T90" fmla="*/ 441 w 702"/>
                <a:gd name="T91" fmla="*/ 249 h 769"/>
                <a:gd name="T92" fmla="*/ 474 w 702"/>
                <a:gd name="T93" fmla="*/ 226 h 769"/>
                <a:gd name="T94" fmla="*/ 493 w 702"/>
                <a:gd name="T95" fmla="*/ 230 h 769"/>
                <a:gd name="T96" fmla="*/ 539 w 702"/>
                <a:gd name="T97" fmla="*/ 243 h 769"/>
                <a:gd name="T98" fmla="*/ 561 w 702"/>
                <a:gd name="T99" fmla="*/ 221 h 769"/>
                <a:gd name="T100" fmla="*/ 598 w 702"/>
                <a:gd name="T101" fmla="*/ 190 h 769"/>
                <a:gd name="T102" fmla="*/ 649 w 702"/>
                <a:gd name="T103" fmla="*/ 171 h 769"/>
                <a:gd name="T104" fmla="*/ 679 w 702"/>
                <a:gd name="T105" fmla="*/ 196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2" h="769">
                  <a:moveTo>
                    <a:pt x="694" y="234"/>
                  </a:moveTo>
                  <a:cubicBezTo>
                    <a:pt x="695" y="239"/>
                    <a:pt x="690" y="233"/>
                    <a:pt x="682" y="229"/>
                  </a:cubicBezTo>
                  <a:cubicBezTo>
                    <a:pt x="673" y="224"/>
                    <a:pt x="674" y="231"/>
                    <a:pt x="665" y="239"/>
                  </a:cubicBezTo>
                  <a:cubicBezTo>
                    <a:pt x="656" y="246"/>
                    <a:pt x="658" y="243"/>
                    <a:pt x="652" y="246"/>
                  </a:cubicBezTo>
                  <a:cubicBezTo>
                    <a:pt x="646" y="248"/>
                    <a:pt x="649" y="251"/>
                    <a:pt x="652" y="259"/>
                  </a:cubicBezTo>
                  <a:cubicBezTo>
                    <a:pt x="655" y="267"/>
                    <a:pt x="652" y="266"/>
                    <a:pt x="651" y="273"/>
                  </a:cubicBezTo>
                  <a:cubicBezTo>
                    <a:pt x="651" y="279"/>
                    <a:pt x="643" y="284"/>
                    <a:pt x="646" y="288"/>
                  </a:cubicBezTo>
                  <a:cubicBezTo>
                    <a:pt x="648" y="292"/>
                    <a:pt x="649" y="300"/>
                    <a:pt x="646" y="308"/>
                  </a:cubicBezTo>
                  <a:cubicBezTo>
                    <a:pt x="642" y="316"/>
                    <a:pt x="638" y="315"/>
                    <a:pt x="639" y="324"/>
                  </a:cubicBezTo>
                  <a:cubicBezTo>
                    <a:pt x="639" y="332"/>
                    <a:pt x="635" y="326"/>
                    <a:pt x="630" y="325"/>
                  </a:cubicBezTo>
                  <a:cubicBezTo>
                    <a:pt x="625" y="324"/>
                    <a:pt x="624" y="322"/>
                    <a:pt x="619" y="321"/>
                  </a:cubicBezTo>
                  <a:cubicBezTo>
                    <a:pt x="614" y="319"/>
                    <a:pt x="621" y="330"/>
                    <a:pt x="624" y="337"/>
                  </a:cubicBezTo>
                  <a:cubicBezTo>
                    <a:pt x="626" y="343"/>
                    <a:pt x="622" y="343"/>
                    <a:pt x="620" y="348"/>
                  </a:cubicBezTo>
                  <a:cubicBezTo>
                    <a:pt x="617" y="353"/>
                    <a:pt x="619" y="353"/>
                    <a:pt x="619" y="358"/>
                  </a:cubicBezTo>
                  <a:cubicBezTo>
                    <a:pt x="618" y="363"/>
                    <a:pt x="619" y="362"/>
                    <a:pt x="621" y="364"/>
                  </a:cubicBezTo>
                  <a:cubicBezTo>
                    <a:pt x="622" y="366"/>
                    <a:pt x="622" y="367"/>
                    <a:pt x="622" y="370"/>
                  </a:cubicBezTo>
                  <a:cubicBezTo>
                    <a:pt x="623" y="372"/>
                    <a:pt x="618" y="372"/>
                    <a:pt x="618" y="376"/>
                  </a:cubicBezTo>
                  <a:cubicBezTo>
                    <a:pt x="618" y="380"/>
                    <a:pt x="615" y="377"/>
                    <a:pt x="613" y="375"/>
                  </a:cubicBezTo>
                  <a:cubicBezTo>
                    <a:pt x="611" y="374"/>
                    <a:pt x="609" y="374"/>
                    <a:pt x="607" y="373"/>
                  </a:cubicBezTo>
                  <a:cubicBezTo>
                    <a:pt x="607" y="369"/>
                    <a:pt x="607" y="367"/>
                    <a:pt x="605" y="361"/>
                  </a:cubicBezTo>
                  <a:cubicBezTo>
                    <a:pt x="603" y="353"/>
                    <a:pt x="599" y="350"/>
                    <a:pt x="597" y="344"/>
                  </a:cubicBezTo>
                  <a:cubicBezTo>
                    <a:pt x="595" y="337"/>
                    <a:pt x="598" y="332"/>
                    <a:pt x="593" y="329"/>
                  </a:cubicBezTo>
                  <a:cubicBezTo>
                    <a:pt x="589" y="326"/>
                    <a:pt x="586" y="334"/>
                    <a:pt x="585" y="340"/>
                  </a:cubicBezTo>
                  <a:cubicBezTo>
                    <a:pt x="583" y="345"/>
                    <a:pt x="584" y="350"/>
                    <a:pt x="581" y="349"/>
                  </a:cubicBezTo>
                  <a:cubicBezTo>
                    <a:pt x="579" y="349"/>
                    <a:pt x="574" y="344"/>
                    <a:pt x="570" y="340"/>
                  </a:cubicBezTo>
                  <a:cubicBezTo>
                    <a:pt x="565" y="336"/>
                    <a:pt x="569" y="329"/>
                    <a:pt x="569" y="323"/>
                  </a:cubicBezTo>
                  <a:cubicBezTo>
                    <a:pt x="569" y="317"/>
                    <a:pt x="574" y="317"/>
                    <a:pt x="580" y="315"/>
                  </a:cubicBezTo>
                  <a:cubicBezTo>
                    <a:pt x="585" y="313"/>
                    <a:pt x="586" y="313"/>
                    <a:pt x="586" y="309"/>
                  </a:cubicBezTo>
                  <a:cubicBezTo>
                    <a:pt x="587" y="305"/>
                    <a:pt x="588" y="299"/>
                    <a:pt x="592" y="297"/>
                  </a:cubicBezTo>
                  <a:cubicBezTo>
                    <a:pt x="596" y="295"/>
                    <a:pt x="590" y="290"/>
                    <a:pt x="587" y="290"/>
                  </a:cubicBezTo>
                  <a:cubicBezTo>
                    <a:pt x="585" y="290"/>
                    <a:pt x="533" y="288"/>
                    <a:pt x="528" y="285"/>
                  </a:cubicBezTo>
                  <a:cubicBezTo>
                    <a:pt x="524" y="282"/>
                    <a:pt x="529" y="277"/>
                    <a:pt x="527" y="268"/>
                  </a:cubicBezTo>
                  <a:cubicBezTo>
                    <a:pt x="525" y="260"/>
                    <a:pt x="522" y="261"/>
                    <a:pt x="521" y="260"/>
                  </a:cubicBezTo>
                  <a:cubicBezTo>
                    <a:pt x="520" y="259"/>
                    <a:pt x="519" y="263"/>
                    <a:pt x="517" y="266"/>
                  </a:cubicBezTo>
                  <a:cubicBezTo>
                    <a:pt x="515" y="268"/>
                    <a:pt x="514" y="265"/>
                    <a:pt x="512" y="264"/>
                  </a:cubicBezTo>
                  <a:cubicBezTo>
                    <a:pt x="509" y="262"/>
                    <a:pt x="506" y="259"/>
                    <a:pt x="504" y="256"/>
                  </a:cubicBezTo>
                  <a:cubicBezTo>
                    <a:pt x="502" y="254"/>
                    <a:pt x="501" y="257"/>
                    <a:pt x="497" y="255"/>
                  </a:cubicBezTo>
                  <a:cubicBezTo>
                    <a:pt x="493" y="254"/>
                    <a:pt x="493" y="254"/>
                    <a:pt x="490" y="252"/>
                  </a:cubicBezTo>
                  <a:cubicBezTo>
                    <a:pt x="488" y="249"/>
                    <a:pt x="489" y="255"/>
                    <a:pt x="487" y="257"/>
                  </a:cubicBezTo>
                  <a:cubicBezTo>
                    <a:pt x="484" y="259"/>
                    <a:pt x="484" y="262"/>
                    <a:pt x="484" y="268"/>
                  </a:cubicBezTo>
                  <a:cubicBezTo>
                    <a:pt x="484" y="274"/>
                    <a:pt x="491" y="274"/>
                    <a:pt x="497" y="278"/>
                  </a:cubicBezTo>
                  <a:cubicBezTo>
                    <a:pt x="502" y="281"/>
                    <a:pt x="501" y="281"/>
                    <a:pt x="507" y="284"/>
                  </a:cubicBezTo>
                  <a:cubicBezTo>
                    <a:pt x="513" y="287"/>
                    <a:pt x="509" y="288"/>
                    <a:pt x="505" y="288"/>
                  </a:cubicBezTo>
                  <a:cubicBezTo>
                    <a:pt x="502" y="288"/>
                    <a:pt x="495" y="292"/>
                    <a:pt x="494" y="294"/>
                  </a:cubicBezTo>
                  <a:cubicBezTo>
                    <a:pt x="492" y="296"/>
                    <a:pt x="487" y="297"/>
                    <a:pt x="486" y="302"/>
                  </a:cubicBezTo>
                  <a:cubicBezTo>
                    <a:pt x="486" y="307"/>
                    <a:pt x="497" y="309"/>
                    <a:pt x="505" y="313"/>
                  </a:cubicBezTo>
                  <a:cubicBezTo>
                    <a:pt x="513" y="318"/>
                    <a:pt x="505" y="319"/>
                    <a:pt x="503" y="326"/>
                  </a:cubicBezTo>
                  <a:cubicBezTo>
                    <a:pt x="501" y="332"/>
                    <a:pt x="502" y="332"/>
                    <a:pt x="508" y="335"/>
                  </a:cubicBezTo>
                  <a:cubicBezTo>
                    <a:pt x="513" y="338"/>
                    <a:pt x="510" y="338"/>
                    <a:pt x="515" y="345"/>
                  </a:cubicBezTo>
                  <a:cubicBezTo>
                    <a:pt x="519" y="351"/>
                    <a:pt x="516" y="348"/>
                    <a:pt x="516" y="359"/>
                  </a:cubicBezTo>
                  <a:cubicBezTo>
                    <a:pt x="517" y="369"/>
                    <a:pt x="517" y="362"/>
                    <a:pt x="522" y="369"/>
                  </a:cubicBezTo>
                  <a:cubicBezTo>
                    <a:pt x="527" y="375"/>
                    <a:pt x="522" y="374"/>
                    <a:pt x="520" y="380"/>
                  </a:cubicBezTo>
                  <a:cubicBezTo>
                    <a:pt x="519" y="383"/>
                    <a:pt x="520" y="385"/>
                    <a:pt x="520" y="387"/>
                  </a:cubicBezTo>
                  <a:cubicBezTo>
                    <a:pt x="520" y="386"/>
                    <a:pt x="520" y="386"/>
                    <a:pt x="519" y="386"/>
                  </a:cubicBezTo>
                  <a:cubicBezTo>
                    <a:pt x="518" y="385"/>
                    <a:pt x="516" y="384"/>
                    <a:pt x="515" y="385"/>
                  </a:cubicBezTo>
                  <a:cubicBezTo>
                    <a:pt x="514" y="386"/>
                    <a:pt x="511" y="387"/>
                    <a:pt x="511" y="383"/>
                  </a:cubicBezTo>
                  <a:cubicBezTo>
                    <a:pt x="511" y="379"/>
                    <a:pt x="508" y="382"/>
                    <a:pt x="507" y="385"/>
                  </a:cubicBezTo>
                  <a:cubicBezTo>
                    <a:pt x="506" y="389"/>
                    <a:pt x="501" y="393"/>
                    <a:pt x="501" y="389"/>
                  </a:cubicBezTo>
                  <a:cubicBezTo>
                    <a:pt x="500" y="385"/>
                    <a:pt x="499" y="384"/>
                    <a:pt x="499" y="381"/>
                  </a:cubicBezTo>
                  <a:cubicBezTo>
                    <a:pt x="499" y="379"/>
                    <a:pt x="499" y="376"/>
                    <a:pt x="495" y="381"/>
                  </a:cubicBezTo>
                  <a:cubicBezTo>
                    <a:pt x="492" y="385"/>
                    <a:pt x="492" y="386"/>
                    <a:pt x="487" y="387"/>
                  </a:cubicBezTo>
                  <a:cubicBezTo>
                    <a:pt x="483" y="388"/>
                    <a:pt x="478" y="387"/>
                    <a:pt x="477" y="390"/>
                  </a:cubicBezTo>
                  <a:cubicBezTo>
                    <a:pt x="476" y="392"/>
                    <a:pt x="470" y="396"/>
                    <a:pt x="472" y="400"/>
                  </a:cubicBezTo>
                  <a:cubicBezTo>
                    <a:pt x="474" y="405"/>
                    <a:pt x="471" y="409"/>
                    <a:pt x="473" y="411"/>
                  </a:cubicBezTo>
                  <a:cubicBezTo>
                    <a:pt x="475" y="414"/>
                    <a:pt x="475" y="417"/>
                    <a:pt x="473" y="418"/>
                  </a:cubicBezTo>
                  <a:cubicBezTo>
                    <a:pt x="472" y="419"/>
                    <a:pt x="468" y="420"/>
                    <a:pt x="469" y="422"/>
                  </a:cubicBezTo>
                  <a:cubicBezTo>
                    <a:pt x="470" y="424"/>
                    <a:pt x="470" y="427"/>
                    <a:pt x="469" y="429"/>
                  </a:cubicBezTo>
                  <a:cubicBezTo>
                    <a:pt x="467" y="430"/>
                    <a:pt x="462" y="431"/>
                    <a:pt x="461" y="433"/>
                  </a:cubicBezTo>
                  <a:cubicBezTo>
                    <a:pt x="460" y="435"/>
                    <a:pt x="466" y="436"/>
                    <a:pt x="457" y="437"/>
                  </a:cubicBezTo>
                  <a:cubicBezTo>
                    <a:pt x="449" y="438"/>
                    <a:pt x="446" y="438"/>
                    <a:pt x="444" y="440"/>
                  </a:cubicBezTo>
                  <a:cubicBezTo>
                    <a:pt x="443" y="441"/>
                    <a:pt x="438" y="435"/>
                    <a:pt x="437" y="440"/>
                  </a:cubicBezTo>
                  <a:cubicBezTo>
                    <a:pt x="437" y="445"/>
                    <a:pt x="435" y="449"/>
                    <a:pt x="432" y="452"/>
                  </a:cubicBezTo>
                  <a:cubicBezTo>
                    <a:pt x="430" y="456"/>
                    <a:pt x="425" y="461"/>
                    <a:pt x="425" y="464"/>
                  </a:cubicBezTo>
                  <a:cubicBezTo>
                    <a:pt x="424" y="467"/>
                    <a:pt x="420" y="467"/>
                    <a:pt x="417" y="473"/>
                  </a:cubicBezTo>
                  <a:cubicBezTo>
                    <a:pt x="415" y="478"/>
                    <a:pt x="413" y="481"/>
                    <a:pt x="411" y="483"/>
                  </a:cubicBezTo>
                  <a:cubicBezTo>
                    <a:pt x="408" y="484"/>
                    <a:pt x="410" y="483"/>
                    <a:pt x="406" y="486"/>
                  </a:cubicBezTo>
                  <a:cubicBezTo>
                    <a:pt x="402" y="489"/>
                    <a:pt x="400" y="490"/>
                    <a:pt x="398" y="493"/>
                  </a:cubicBezTo>
                  <a:cubicBezTo>
                    <a:pt x="396" y="496"/>
                    <a:pt x="395" y="497"/>
                    <a:pt x="392" y="500"/>
                  </a:cubicBezTo>
                  <a:cubicBezTo>
                    <a:pt x="389" y="503"/>
                    <a:pt x="383" y="507"/>
                    <a:pt x="380" y="509"/>
                  </a:cubicBezTo>
                  <a:cubicBezTo>
                    <a:pt x="376" y="511"/>
                    <a:pt x="372" y="512"/>
                    <a:pt x="371" y="517"/>
                  </a:cubicBezTo>
                  <a:cubicBezTo>
                    <a:pt x="371" y="521"/>
                    <a:pt x="376" y="524"/>
                    <a:pt x="374" y="527"/>
                  </a:cubicBezTo>
                  <a:cubicBezTo>
                    <a:pt x="372" y="530"/>
                    <a:pt x="373" y="533"/>
                    <a:pt x="368" y="533"/>
                  </a:cubicBezTo>
                  <a:cubicBezTo>
                    <a:pt x="363" y="534"/>
                    <a:pt x="363" y="534"/>
                    <a:pt x="359" y="535"/>
                  </a:cubicBezTo>
                  <a:cubicBezTo>
                    <a:pt x="356" y="535"/>
                    <a:pt x="349" y="536"/>
                    <a:pt x="348" y="538"/>
                  </a:cubicBezTo>
                  <a:cubicBezTo>
                    <a:pt x="346" y="540"/>
                    <a:pt x="346" y="538"/>
                    <a:pt x="345" y="544"/>
                  </a:cubicBezTo>
                  <a:cubicBezTo>
                    <a:pt x="344" y="551"/>
                    <a:pt x="345" y="554"/>
                    <a:pt x="342" y="553"/>
                  </a:cubicBezTo>
                  <a:cubicBezTo>
                    <a:pt x="339" y="552"/>
                    <a:pt x="334" y="549"/>
                    <a:pt x="332" y="551"/>
                  </a:cubicBezTo>
                  <a:cubicBezTo>
                    <a:pt x="330" y="552"/>
                    <a:pt x="325" y="553"/>
                    <a:pt x="324" y="557"/>
                  </a:cubicBezTo>
                  <a:cubicBezTo>
                    <a:pt x="322" y="562"/>
                    <a:pt x="318" y="565"/>
                    <a:pt x="321" y="571"/>
                  </a:cubicBezTo>
                  <a:cubicBezTo>
                    <a:pt x="323" y="577"/>
                    <a:pt x="324" y="579"/>
                    <a:pt x="325" y="584"/>
                  </a:cubicBezTo>
                  <a:cubicBezTo>
                    <a:pt x="325" y="590"/>
                    <a:pt x="325" y="592"/>
                    <a:pt x="325" y="596"/>
                  </a:cubicBezTo>
                  <a:cubicBezTo>
                    <a:pt x="325" y="601"/>
                    <a:pt x="328" y="604"/>
                    <a:pt x="327" y="608"/>
                  </a:cubicBezTo>
                  <a:cubicBezTo>
                    <a:pt x="325" y="611"/>
                    <a:pt x="321" y="612"/>
                    <a:pt x="325" y="615"/>
                  </a:cubicBezTo>
                  <a:cubicBezTo>
                    <a:pt x="328" y="618"/>
                    <a:pt x="333" y="622"/>
                    <a:pt x="333" y="625"/>
                  </a:cubicBezTo>
                  <a:cubicBezTo>
                    <a:pt x="333" y="628"/>
                    <a:pt x="332" y="629"/>
                    <a:pt x="331" y="634"/>
                  </a:cubicBezTo>
                  <a:cubicBezTo>
                    <a:pt x="330" y="640"/>
                    <a:pt x="331" y="644"/>
                    <a:pt x="328" y="647"/>
                  </a:cubicBezTo>
                  <a:cubicBezTo>
                    <a:pt x="325" y="650"/>
                    <a:pt x="324" y="654"/>
                    <a:pt x="323" y="658"/>
                  </a:cubicBezTo>
                  <a:cubicBezTo>
                    <a:pt x="322" y="663"/>
                    <a:pt x="319" y="663"/>
                    <a:pt x="321" y="669"/>
                  </a:cubicBezTo>
                  <a:cubicBezTo>
                    <a:pt x="323" y="674"/>
                    <a:pt x="318" y="676"/>
                    <a:pt x="320" y="678"/>
                  </a:cubicBezTo>
                  <a:cubicBezTo>
                    <a:pt x="322" y="680"/>
                    <a:pt x="323" y="685"/>
                    <a:pt x="323" y="688"/>
                  </a:cubicBezTo>
                  <a:cubicBezTo>
                    <a:pt x="323" y="691"/>
                    <a:pt x="325" y="697"/>
                    <a:pt x="325" y="697"/>
                  </a:cubicBezTo>
                  <a:cubicBezTo>
                    <a:pt x="325" y="698"/>
                    <a:pt x="327" y="700"/>
                    <a:pt x="324" y="703"/>
                  </a:cubicBezTo>
                  <a:cubicBezTo>
                    <a:pt x="322" y="706"/>
                    <a:pt x="323" y="706"/>
                    <a:pt x="319" y="706"/>
                  </a:cubicBezTo>
                  <a:cubicBezTo>
                    <a:pt x="316" y="706"/>
                    <a:pt x="312" y="702"/>
                    <a:pt x="311" y="707"/>
                  </a:cubicBezTo>
                  <a:cubicBezTo>
                    <a:pt x="311" y="713"/>
                    <a:pt x="307" y="718"/>
                    <a:pt x="306" y="720"/>
                  </a:cubicBezTo>
                  <a:cubicBezTo>
                    <a:pt x="304" y="722"/>
                    <a:pt x="302" y="726"/>
                    <a:pt x="303" y="729"/>
                  </a:cubicBezTo>
                  <a:cubicBezTo>
                    <a:pt x="304" y="733"/>
                    <a:pt x="308" y="734"/>
                    <a:pt x="304" y="735"/>
                  </a:cubicBezTo>
                  <a:cubicBezTo>
                    <a:pt x="300" y="736"/>
                    <a:pt x="296" y="736"/>
                    <a:pt x="293" y="739"/>
                  </a:cubicBezTo>
                  <a:cubicBezTo>
                    <a:pt x="290" y="743"/>
                    <a:pt x="286" y="742"/>
                    <a:pt x="285" y="748"/>
                  </a:cubicBezTo>
                  <a:cubicBezTo>
                    <a:pt x="285" y="754"/>
                    <a:pt x="290" y="754"/>
                    <a:pt x="283" y="758"/>
                  </a:cubicBezTo>
                  <a:cubicBezTo>
                    <a:pt x="276" y="762"/>
                    <a:pt x="277" y="765"/>
                    <a:pt x="271" y="766"/>
                  </a:cubicBezTo>
                  <a:cubicBezTo>
                    <a:pt x="265" y="767"/>
                    <a:pt x="256" y="769"/>
                    <a:pt x="256" y="765"/>
                  </a:cubicBezTo>
                  <a:cubicBezTo>
                    <a:pt x="256" y="760"/>
                    <a:pt x="254" y="759"/>
                    <a:pt x="251" y="754"/>
                  </a:cubicBezTo>
                  <a:cubicBezTo>
                    <a:pt x="247" y="748"/>
                    <a:pt x="245" y="742"/>
                    <a:pt x="243" y="738"/>
                  </a:cubicBezTo>
                  <a:cubicBezTo>
                    <a:pt x="240" y="734"/>
                    <a:pt x="234" y="727"/>
                    <a:pt x="235" y="723"/>
                  </a:cubicBezTo>
                  <a:cubicBezTo>
                    <a:pt x="236" y="719"/>
                    <a:pt x="239" y="718"/>
                    <a:pt x="233" y="706"/>
                  </a:cubicBezTo>
                  <a:cubicBezTo>
                    <a:pt x="227" y="694"/>
                    <a:pt x="227" y="697"/>
                    <a:pt x="224" y="689"/>
                  </a:cubicBezTo>
                  <a:cubicBezTo>
                    <a:pt x="221" y="681"/>
                    <a:pt x="222" y="678"/>
                    <a:pt x="218" y="671"/>
                  </a:cubicBezTo>
                  <a:cubicBezTo>
                    <a:pt x="213" y="664"/>
                    <a:pt x="216" y="668"/>
                    <a:pt x="210" y="660"/>
                  </a:cubicBezTo>
                  <a:cubicBezTo>
                    <a:pt x="205" y="652"/>
                    <a:pt x="205" y="651"/>
                    <a:pt x="201" y="645"/>
                  </a:cubicBezTo>
                  <a:cubicBezTo>
                    <a:pt x="197" y="638"/>
                    <a:pt x="193" y="634"/>
                    <a:pt x="194" y="630"/>
                  </a:cubicBezTo>
                  <a:cubicBezTo>
                    <a:pt x="195" y="627"/>
                    <a:pt x="192" y="626"/>
                    <a:pt x="191" y="618"/>
                  </a:cubicBezTo>
                  <a:cubicBezTo>
                    <a:pt x="191" y="611"/>
                    <a:pt x="191" y="614"/>
                    <a:pt x="187" y="604"/>
                  </a:cubicBezTo>
                  <a:cubicBezTo>
                    <a:pt x="182" y="595"/>
                    <a:pt x="186" y="602"/>
                    <a:pt x="181" y="591"/>
                  </a:cubicBezTo>
                  <a:cubicBezTo>
                    <a:pt x="175" y="580"/>
                    <a:pt x="181" y="588"/>
                    <a:pt x="174" y="577"/>
                  </a:cubicBezTo>
                  <a:cubicBezTo>
                    <a:pt x="167" y="566"/>
                    <a:pt x="168" y="572"/>
                    <a:pt x="165" y="564"/>
                  </a:cubicBezTo>
                  <a:cubicBezTo>
                    <a:pt x="162" y="556"/>
                    <a:pt x="166" y="557"/>
                    <a:pt x="160" y="551"/>
                  </a:cubicBezTo>
                  <a:cubicBezTo>
                    <a:pt x="155" y="546"/>
                    <a:pt x="155" y="547"/>
                    <a:pt x="155" y="542"/>
                  </a:cubicBezTo>
                  <a:cubicBezTo>
                    <a:pt x="155" y="537"/>
                    <a:pt x="151" y="529"/>
                    <a:pt x="151" y="528"/>
                  </a:cubicBezTo>
                  <a:cubicBezTo>
                    <a:pt x="151" y="526"/>
                    <a:pt x="147" y="519"/>
                    <a:pt x="146" y="509"/>
                  </a:cubicBezTo>
                  <a:cubicBezTo>
                    <a:pt x="146" y="499"/>
                    <a:pt x="141" y="495"/>
                    <a:pt x="139" y="490"/>
                  </a:cubicBezTo>
                  <a:cubicBezTo>
                    <a:pt x="138" y="484"/>
                    <a:pt x="136" y="485"/>
                    <a:pt x="136" y="478"/>
                  </a:cubicBezTo>
                  <a:cubicBezTo>
                    <a:pt x="137" y="470"/>
                    <a:pt x="132" y="470"/>
                    <a:pt x="133" y="464"/>
                  </a:cubicBezTo>
                  <a:cubicBezTo>
                    <a:pt x="134" y="458"/>
                    <a:pt x="137" y="459"/>
                    <a:pt x="130" y="450"/>
                  </a:cubicBezTo>
                  <a:cubicBezTo>
                    <a:pt x="124" y="442"/>
                    <a:pt x="125" y="436"/>
                    <a:pt x="125" y="433"/>
                  </a:cubicBezTo>
                  <a:cubicBezTo>
                    <a:pt x="125" y="430"/>
                    <a:pt x="130" y="423"/>
                    <a:pt x="130" y="418"/>
                  </a:cubicBezTo>
                  <a:cubicBezTo>
                    <a:pt x="130" y="413"/>
                    <a:pt x="128" y="410"/>
                    <a:pt x="126" y="405"/>
                  </a:cubicBezTo>
                  <a:cubicBezTo>
                    <a:pt x="124" y="401"/>
                    <a:pt x="117" y="400"/>
                    <a:pt x="119" y="396"/>
                  </a:cubicBezTo>
                  <a:cubicBezTo>
                    <a:pt x="121" y="392"/>
                    <a:pt x="121" y="390"/>
                    <a:pt x="121" y="386"/>
                  </a:cubicBezTo>
                  <a:cubicBezTo>
                    <a:pt x="120" y="381"/>
                    <a:pt x="116" y="378"/>
                    <a:pt x="117" y="376"/>
                  </a:cubicBezTo>
                  <a:cubicBezTo>
                    <a:pt x="117" y="374"/>
                    <a:pt x="117" y="369"/>
                    <a:pt x="116" y="368"/>
                  </a:cubicBezTo>
                  <a:cubicBezTo>
                    <a:pt x="114" y="367"/>
                    <a:pt x="110" y="368"/>
                    <a:pt x="110" y="372"/>
                  </a:cubicBezTo>
                  <a:cubicBezTo>
                    <a:pt x="110" y="375"/>
                    <a:pt x="110" y="380"/>
                    <a:pt x="109" y="380"/>
                  </a:cubicBezTo>
                  <a:cubicBezTo>
                    <a:pt x="108" y="380"/>
                    <a:pt x="105" y="384"/>
                    <a:pt x="107" y="385"/>
                  </a:cubicBezTo>
                  <a:cubicBezTo>
                    <a:pt x="109" y="386"/>
                    <a:pt x="110" y="391"/>
                    <a:pt x="110" y="392"/>
                  </a:cubicBezTo>
                  <a:cubicBezTo>
                    <a:pt x="110" y="394"/>
                    <a:pt x="109" y="397"/>
                    <a:pt x="107" y="399"/>
                  </a:cubicBezTo>
                  <a:cubicBezTo>
                    <a:pt x="105" y="402"/>
                    <a:pt x="105" y="403"/>
                    <a:pt x="101" y="405"/>
                  </a:cubicBezTo>
                  <a:cubicBezTo>
                    <a:pt x="97" y="407"/>
                    <a:pt x="95" y="407"/>
                    <a:pt x="91" y="410"/>
                  </a:cubicBezTo>
                  <a:cubicBezTo>
                    <a:pt x="88" y="413"/>
                    <a:pt x="85" y="413"/>
                    <a:pt x="82" y="414"/>
                  </a:cubicBezTo>
                  <a:cubicBezTo>
                    <a:pt x="79" y="414"/>
                    <a:pt x="79" y="417"/>
                    <a:pt x="74" y="413"/>
                  </a:cubicBezTo>
                  <a:cubicBezTo>
                    <a:pt x="68" y="408"/>
                    <a:pt x="74" y="413"/>
                    <a:pt x="66" y="406"/>
                  </a:cubicBezTo>
                  <a:cubicBezTo>
                    <a:pt x="58" y="400"/>
                    <a:pt x="59" y="404"/>
                    <a:pt x="55" y="398"/>
                  </a:cubicBezTo>
                  <a:cubicBezTo>
                    <a:pt x="51" y="392"/>
                    <a:pt x="54" y="395"/>
                    <a:pt x="49" y="389"/>
                  </a:cubicBezTo>
                  <a:cubicBezTo>
                    <a:pt x="45" y="383"/>
                    <a:pt x="49" y="387"/>
                    <a:pt x="43" y="383"/>
                  </a:cubicBezTo>
                  <a:cubicBezTo>
                    <a:pt x="37" y="379"/>
                    <a:pt x="38" y="382"/>
                    <a:pt x="34" y="377"/>
                  </a:cubicBezTo>
                  <a:cubicBezTo>
                    <a:pt x="30" y="372"/>
                    <a:pt x="29" y="372"/>
                    <a:pt x="29" y="370"/>
                  </a:cubicBezTo>
                  <a:cubicBezTo>
                    <a:pt x="29" y="368"/>
                    <a:pt x="31" y="366"/>
                    <a:pt x="33" y="367"/>
                  </a:cubicBezTo>
                  <a:cubicBezTo>
                    <a:pt x="36" y="368"/>
                    <a:pt x="42" y="372"/>
                    <a:pt x="45" y="370"/>
                  </a:cubicBezTo>
                  <a:cubicBezTo>
                    <a:pt x="48" y="368"/>
                    <a:pt x="51" y="367"/>
                    <a:pt x="55" y="364"/>
                  </a:cubicBezTo>
                  <a:cubicBezTo>
                    <a:pt x="59" y="361"/>
                    <a:pt x="58" y="362"/>
                    <a:pt x="60" y="357"/>
                  </a:cubicBezTo>
                  <a:cubicBezTo>
                    <a:pt x="62" y="352"/>
                    <a:pt x="64" y="350"/>
                    <a:pt x="59" y="350"/>
                  </a:cubicBezTo>
                  <a:cubicBezTo>
                    <a:pt x="54" y="350"/>
                    <a:pt x="53" y="348"/>
                    <a:pt x="49" y="352"/>
                  </a:cubicBezTo>
                  <a:cubicBezTo>
                    <a:pt x="45" y="356"/>
                    <a:pt x="49" y="362"/>
                    <a:pt x="41" y="356"/>
                  </a:cubicBezTo>
                  <a:cubicBezTo>
                    <a:pt x="33" y="351"/>
                    <a:pt x="36" y="351"/>
                    <a:pt x="30" y="349"/>
                  </a:cubicBezTo>
                  <a:cubicBezTo>
                    <a:pt x="24" y="347"/>
                    <a:pt x="25" y="353"/>
                    <a:pt x="20" y="346"/>
                  </a:cubicBezTo>
                  <a:cubicBezTo>
                    <a:pt x="14" y="338"/>
                    <a:pt x="15" y="340"/>
                    <a:pt x="13" y="338"/>
                  </a:cubicBezTo>
                  <a:cubicBezTo>
                    <a:pt x="10" y="336"/>
                    <a:pt x="14" y="336"/>
                    <a:pt x="8" y="334"/>
                  </a:cubicBezTo>
                  <a:cubicBezTo>
                    <a:pt x="3" y="332"/>
                    <a:pt x="4" y="337"/>
                    <a:pt x="1" y="330"/>
                  </a:cubicBezTo>
                  <a:cubicBezTo>
                    <a:pt x="1" y="329"/>
                    <a:pt x="1" y="329"/>
                    <a:pt x="0" y="328"/>
                  </a:cubicBezTo>
                  <a:cubicBezTo>
                    <a:pt x="2" y="328"/>
                    <a:pt x="3" y="327"/>
                    <a:pt x="4" y="326"/>
                  </a:cubicBezTo>
                  <a:cubicBezTo>
                    <a:pt x="7" y="324"/>
                    <a:pt x="8" y="322"/>
                    <a:pt x="11" y="322"/>
                  </a:cubicBezTo>
                  <a:cubicBezTo>
                    <a:pt x="14" y="322"/>
                    <a:pt x="17" y="325"/>
                    <a:pt x="18" y="318"/>
                  </a:cubicBezTo>
                  <a:cubicBezTo>
                    <a:pt x="18" y="312"/>
                    <a:pt x="14" y="309"/>
                    <a:pt x="21" y="311"/>
                  </a:cubicBezTo>
                  <a:cubicBezTo>
                    <a:pt x="27" y="313"/>
                    <a:pt x="35" y="313"/>
                    <a:pt x="38" y="315"/>
                  </a:cubicBezTo>
                  <a:cubicBezTo>
                    <a:pt x="41" y="318"/>
                    <a:pt x="45" y="322"/>
                    <a:pt x="50" y="317"/>
                  </a:cubicBezTo>
                  <a:cubicBezTo>
                    <a:pt x="54" y="313"/>
                    <a:pt x="61" y="309"/>
                    <a:pt x="62" y="311"/>
                  </a:cubicBezTo>
                  <a:cubicBezTo>
                    <a:pt x="63" y="313"/>
                    <a:pt x="70" y="319"/>
                    <a:pt x="72" y="313"/>
                  </a:cubicBezTo>
                  <a:cubicBezTo>
                    <a:pt x="74" y="308"/>
                    <a:pt x="76" y="303"/>
                    <a:pt x="72" y="296"/>
                  </a:cubicBezTo>
                  <a:cubicBezTo>
                    <a:pt x="68" y="290"/>
                    <a:pt x="66" y="277"/>
                    <a:pt x="60" y="276"/>
                  </a:cubicBezTo>
                  <a:cubicBezTo>
                    <a:pt x="54" y="275"/>
                    <a:pt x="48" y="276"/>
                    <a:pt x="48" y="268"/>
                  </a:cubicBezTo>
                  <a:cubicBezTo>
                    <a:pt x="49" y="261"/>
                    <a:pt x="47" y="252"/>
                    <a:pt x="39" y="248"/>
                  </a:cubicBezTo>
                  <a:cubicBezTo>
                    <a:pt x="31" y="245"/>
                    <a:pt x="20" y="244"/>
                    <a:pt x="29" y="232"/>
                  </a:cubicBezTo>
                  <a:cubicBezTo>
                    <a:pt x="37" y="220"/>
                    <a:pt x="45" y="201"/>
                    <a:pt x="48" y="207"/>
                  </a:cubicBezTo>
                  <a:cubicBezTo>
                    <a:pt x="52" y="212"/>
                    <a:pt x="58" y="219"/>
                    <a:pt x="68" y="215"/>
                  </a:cubicBezTo>
                  <a:cubicBezTo>
                    <a:pt x="78" y="212"/>
                    <a:pt x="83" y="206"/>
                    <a:pt x="85" y="198"/>
                  </a:cubicBezTo>
                  <a:cubicBezTo>
                    <a:pt x="87" y="189"/>
                    <a:pt x="97" y="191"/>
                    <a:pt x="102" y="178"/>
                  </a:cubicBezTo>
                  <a:cubicBezTo>
                    <a:pt x="107" y="166"/>
                    <a:pt x="104" y="164"/>
                    <a:pt x="108" y="158"/>
                  </a:cubicBezTo>
                  <a:cubicBezTo>
                    <a:pt x="111" y="153"/>
                    <a:pt x="117" y="154"/>
                    <a:pt x="119" y="149"/>
                  </a:cubicBezTo>
                  <a:cubicBezTo>
                    <a:pt x="121" y="145"/>
                    <a:pt x="109" y="142"/>
                    <a:pt x="119" y="137"/>
                  </a:cubicBezTo>
                  <a:cubicBezTo>
                    <a:pt x="129" y="132"/>
                    <a:pt x="132" y="127"/>
                    <a:pt x="131" y="119"/>
                  </a:cubicBezTo>
                  <a:cubicBezTo>
                    <a:pt x="129" y="111"/>
                    <a:pt x="127" y="102"/>
                    <a:pt x="133" y="99"/>
                  </a:cubicBezTo>
                  <a:cubicBezTo>
                    <a:pt x="138" y="96"/>
                    <a:pt x="150" y="88"/>
                    <a:pt x="142" y="85"/>
                  </a:cubicBezTo>
                  <a:cubicBezTo>
                    <a:pt x="134" y="82"/>
                    <a:pt x="128" y="84"/>
                    <a:pt x="124" y="79"/>
                  </a:cubicBezTo>
                  <a:cubicBezTo>
                    <a:pt x="121" y="73"/>
                    <a:pt x="115" y="70"/>
                    <a:pt x="109" y="64"/>
                  </a:cubicBezTo>
                  <a:cubicBezTo>
                    <a:pt x="103" y="59"/>
                    <a:pt x="99" y="50"/>
                    <a:pt x="104" y="47"/>
                  </a:cubicBezTo>
                  <a:cubicBezTo>
                    <a:pt x="110" y="44"/>
                    <a:pt x="108" y="41"/>
                    <a:pt x="101" y="41"/>
                  </a:cubicBezTo>
                  <a:cubicBezTo>
                    <a:pt x="95" y="40"/>
                    <a:pt x="93" y="25"/>
                    <a:pt x="99" y="23"/>
                  </a:cubicBezTo>
                  <a:cubicBezTo>
                    <a:pt x="105" y="22"/>
                    <a:pt x="119" y="24"/>
                    <a:pt x="125" y="26"/>
                  </a:cubicBezTo>
                  <a:cubicBezTo>
                    <a:pt x="132" y="28"/>
                    <a:pt x="141" y="26"/>
                    <a:pt x="146" y="25"/>
                  </a:cubicBezTo>
                  <a:cubicBezTo>
                    <a:pt x="152" y="24"/>
                    <a:pt x="158" y="22"/>
                    <a:pt x="163" y="16"/>
                  </a:cubicBezTo>
                  <a:cubicBezTo>
                    <a:pt x="169" y="10"/>
                    <a:pt x="171" y="3"/>
                    <a:pt x="177" y="2"/>
                  </a:cubicBezTo>
                  <a:cubicBezTo>
                    <a:pt x="180" y="2"/>
                    <a:pt x="182" y="1"/>
                    <a:pt x="184" y="0"/>
                  </a:cubicBezTo>
                  <a:cubicBezTo>
                    <a:pt x="185" y="0"/>
                    <a:pt x="186" y="0"/>
                    <a:pt x="187" y="0"/>
                  </a:cubicBezTo>
                  <a:cubicBezTo>
                    <a:pt x="187" y="0"/>
                    <a:pt x="188" y="1"/>
                    <a:pt x="188" y="2"/>
                  </a:cubicBezTo>
                  <a:cubicBezTo>
                    <a:pt x="190" y="8"/>
                    <a:pt x="194" y="13"/>
                    <a:pt x="195" y="16"/>
                  </a:cubicBezTo>
                  <a:cubicBezTo>
                    <a:pt x="195" y="19"/>
                    <a:pt x="194" y="22"/>
                    <a:pt x="201" y="24"/>
                  </a:cubicBezTo>
                  <a:cubicBezTo>
                    <a:pt x="208" y="26"/>
                    <a:pt x="217" y="28"/>
                    <a:pt x="217" y="32"/>
                  </a:cubicBezTo>
                  <a:cubicBezTo>
                    <a:pt x="218" y="36"/>
                    <a:pt x="210" y="35"/>
                    <a:pt x="214" y="43"/>
                  </a:cubicBezTo>
                  <a:cubicBezTo>
                    <a:pt x="214" y="44"/>
                    <a:pt x="215" y="44"/>
                    <a:pt x="215" y="45"/>
                  </a:cubicBezTo>
                  <a:cubicBezTo>
                    <a:pt x="223" y="55"/>
                    <a:pt x="218" y="56"/>
                    <a:pt x="226" y="61"/>
                  </a:cubicBezTo>
                  <a:cubicBezTo>
                    <a:pt x="234" y="66"/>
                    <a:pt x="236" y="72"/>
                    <a:pt x="237" y="75"/>
                  </a:cubicBezTo>
                  <a:cubicBezTo>
                    <a:pt x="238" y="78"/>
                    <a:pt x="238" y="83"/>
                    <a:pt x="233" y="84"/>
                  </a:cubicBezTo>
                  <a:cubicBezTo>
                    <a:pt x="228" y="86"/>
                    <a:pt x="214" y="75"/>
                    <a:pt x="215" y="85"/>
                  </a:cubicBezTo>
                  <a:cubicBezTo>
                    <a:pt x="217" y="95"/>
                    <a:pt x="223" y="90"/>
                    <a:pt x="226" y="105"/>
                  </a:cubicBezTo>
                  <a:cubicBezTo>
                    <a:pt x="229" y="119"/>
                    <a:pt x="229" y="121"/>
                    <a:pt x="235" y="117"/>
                  </a:cubicBezTo>
                  <a:cubicBezTo>
                    <a:pt x="240" y="113"/>
                    <a:pt x="243" y="119"/>
                    <a:pt x="248" y="125"/>
                  </a:cubicBezTo>
                  <a:cubicBezTo>
                    <a:pt x="253" y="132"/>
                    <a:pt x="257" y="124"/>
                    <a:pt x="264" y="132"/>
                  </a:cubicBezTo>
                  <a:cubicBezTo>
                    <a:pt x="272" y="139"/>
                    <a:pt x="279" y="141"/>
                    <a:pt x="282" y="142"/>
                  </a:cubicBezTo>
                  <a:cubicBezTo>
                    <a:pt x="284" y="143"/>
                    <a:pt x="293" y="148"/>
                    <a:pt x="291" y="150"/>
                  </a:cubicBezTo>
                  <a:cubicBezTo>
                    <a:pt x="291" y="151"/>
                    <a:pt x="290" y="151"/>
                    <a:pt x="290" y="151"/>
                  </a:cubicBezTo>
                  <a:cubicBezTo>
                    <a:pt x="283" y="152"/>
                    <a:pt x="280" y="158"/>
                    <a:pt x="279" y="164"/>
                  </a:cubicBezTo>
                  <a:cubicBezTo>
                    <a:pt x="278" y="171"/>
                    <a:pt x="276" y="180"/>
                    <a:pt x="275" y="182"/>
                  </a:cubicBezTo>
                  <a:cubicBezTo>
                    <a:pt x="274" y="184"/>
                    <a:pt x="274" y="188"/>
                    <a:pt x="281" y="191"/>
                  </a:cubicBezTo>
                  <a:cubicBezTo>
                    <a:pt x="288" y="194"/>
                    <a:pt x="301" y="206"/>
                    <a:pt x="312" y="209"/>
                  </a:cubicBezTo>
                  <a:cubicBezTo>
                    <a:pt x="324" y="213"/>
                    <a:pt x="335" y="216"/>
                    <a:pt x="345" y="221"/>
                  </a:cubicBezTo>
                  <a:cubicBezTo>
                    <a:pt x="355" y="225"/>
                    <a:pt x="352" y="226"/>
                    <a:pt x="363" y="225"/>
                  </a:cubicBezTo>
                  <a:cubicBezTo>
                    <a:pt x="374" y="224"/>
                    <a:pt x="380" y="224"/>
                    <a:pt x="387" y="229"/>
                  </a:cubicBezTo>
                  <a:cubicBezTo>
                    <a:pt x="393" y="233"/>
                    <a:pt x="395" y="237"/>
                    <a:pt x="402" y="241"/>
                  </a:cubicBezTo>
                  <a:cubicBezTo>
                    <a:pt x="409" y="244"/>
                    <a:pt x="406" y="242"/>
                    <a:pt x="416" y="244"/>
                  </a:cubicBezTo>
                  <a:cubicBezTo>
                    <a:pt x="426" y="247"/>
                    <a:pt x="432" y="246"/>
                    <a:pt x="441" y="249"/>
                  </a:cubicBezTo>
                  <a:cubicBezTo>
                    <a:pt x="451" y="252"/>
                    <a:pt x="455" y="252"/>
                    <a:pt x="457" y="253"/>
                  </a:cubicBezTo>
                  <a:cubicBezTo>
                    <a:pt x="459" y="254"/>
                    <a:pt x="464" y="255"/>
                    <a:pt x="471" y="255"/>
                  </a:cubicBezTo>
                  <a:cubicBezTo>
                    <a:pt x="478" y="254"/>
                    <a:pt x="480" y="250"/>
                    <a:pt x="480" y="246"/>
                  </a:cubicBezTo>
                  <a:cubicBezTo>
                    <a:pt x="480" y="241"/>
                    <a:pt x="480" y="245"/>
                    <a:pt x="478" y="239"/>
                  </a:cubicBezTo>
                  <a:cubicBezTo>
                    <a:pt x="475" y="232"/>
                    <a:pt x="474" y="234"/>
                    <a:pt x="474" y="226"/>
                  </a:cubicBezTo>
                  <a:cubicBezTo>
                    <a:pt x="474" y="219"/>
                    <a:pt x="480" y="213"/>
                    <a:pt x="475" y="212"/>
                  </a:cubicBezTo>
                  <a:cubicBezTo>
                    <a:pt x="477" y="211"/>
                    <a:pt x="480" y="209"/>
                    <a:pt x="483" y="208"/>
                  </a:cubicBezTo>
                  <a:cubicBezTo>
                    <a:pt x="487" y="206"/>
                    <a:pt x="490" y="208"/>
                    <a:pt x="491" y="214"/>
                  </a:cubicBezTo>
                  <a:cubicBezTo>
                    <a:pt x="492" y="220"/>
                    <a:pt x="489" y="221"/>
                    <a:pt x="492" y="228"/>
                  </a:cubicBezTo>
                  <a:cubicBezTo>
                    <a:pt x="493" y="228"/>
                    <a:pt x="493" y="229"/>
                    <a:pt x="493" y="230"/>
                  </a:cubicBezTo>
                  <a:cubicBezTo>
                    <a:pt x="496" y="234"/>
                    <a:pt x="495" y="233"/>
                    <a:pt x="496" y="237"/>
                  </a:cubicBezTo>
                  <a:cubicBezTo>
                    <a:pt x="497" y="241"/>
                    <a:pt x="501" y="240"/>
                    <a:pt x="508" y="240"/>
                  </a:cubicBezTo>
                  <a:cubicBezTo>
                    <a:pt x="515" y="239"/>
                    <a:pt x="511" y="241"/>
                    <a:pt x="517" y="245"/>
                  </a:cubicBezTo>
                  <a:cubicBezTo>
                    <a:pt x="524" y="248"/>
                    <a:pt x="526" y="246"/>
                    <a:pt x="529" y="243"/>
                  </a:cubicBezTo>
                  <a:cubicBezTo>
                    <a:pt x="532" y="240"/>
                    <a:pt x="536" y="241"/>
                    <a:pt x="539" y="243"/>
                  </a:cubicBezTo>
                  <a:cubicBezTo>
                    <a:pt x="541" y="244"/>
                    <a:pt x="552" y="246"/>
                    <a:pt x="558" y="243"/>
                  </a:cubicBezTo>
                  <a:cubicBezTo>
                    <a:pt x="564" y="241"/>
                    <a:pt x="566" y="243"/>
                    <a:pt x="574" y="241"/>
                  </a:cubicBezTo>
                  <a:cubicBezTo>
                    <a:pt x="581" y="240"/>
                    <a:pt x="572" y="236"/>
                    <a:pt x="571" y="233"/>
                  </a:cubicBezTo>
                  <a:cubicBezTo>
                    <a:pt x="571" y="231"/>
                    <a:pt x="573" y="228"/>
                    <a:pt x="571" y="227"/>
                  </a:cubicBezTo>
                  <a:cubicBezTo>
                    <a:pt x="569" y="226"/>
                    <a:pt x="563" y="223"/>
                    <a:pt x="561" y="221"/>
                  </a:cubicBezTo>
                  <a:cubicBezTo>
                    <a:pt x="559" y="219"/>
                    <a:pt x="560" y="217"/>
                    <a:pt x="563" y="215"/>
                  </a:cubicBezTo>
                  <a:cubicBezTo>
                    <a:pt x="564" y="215"/>
                    <a:pt x="566" y="214"/>
                    <a:pt x="568" y="214"/>
                  </a:cubicBezTo>
                  <a:cubicBezTo>
                    <a:pt x="575" y="213"/>
                    <a:pt x="578" y="215"/>
                    <a:pt x="581" y="212"/>
                  </a:cubicBezTo>
                  <a:cubicBezTo>
                    <a:pt x="585" y="208"/>
                    <a:pt x="584" y="206"/>
                    <a:pt x="587" y="202"/>
                  </a:cubicBezTo>
                  <a:cubicBezTo>
                    <a:pt x="589" y="199"/>
                    <a:pt x="592" y="196"/>
                    <a:pt x="598" y="190"/>
                  </a:cubicBezTo>
                  <a:cubicBezTo>
                    <a:pt x="603" y="185"/>
                    <a:pt x="605" y="189"/>
                    <a:pt x="609" y="186"/>
                  </a:cubicBezTo>
                  <a:cubicBezTo>
                    <a:pt x="612" y="183"/>
                    <a:pt x="614" y="179"/>
                    <a:pt x="615" y="176"/>
                  </a:cubicBezTo>
                  <a:cubicBezTo>
                    <a:pt x="617" y="173"/>
                    <a:pt x="623" y="172"/>
                    <a:pt x="630" y="174"/>
                  </a:cubicBezTo>
                  <a:cubicBezTo>
                    <a:pt x="637" y="176"/>
                    <a:pt x="635" y="176"/>
                    <a:pt x="642" y="179"/>
                  </a:cubicBezTo>
                  <a:cubicBezTo>
                    <a:pt x="649" y="182"/>
                    <a:pt x="646" y="177"/>
                    <a:pt x="649" y="171"/>
                  </a:cubicBezTo>
                  <a:cubicBezTo>
                    <a:pt x="652" y="166"/>
                    <a:pt x="656" y="170"/>
                    <a:pt x="662" y="171"/>
                  </a:cubicBezTo>
                  <a:cubicBezTo>
                    <a:pt x="668" y="173"/>
                    <a:pt x="663" y="174"/>
                    <a:pt x="662" y="180"/>
                  </a:cubicBezTo>
                  <a:cubicBezTo>
                    <a:pt x="660" y="186"/>
                    <a:pt x="666" y="182"/>
                    <a:pt x="669" y="182"/>
                  </a:cubicBezTo>
                  <a:cubicBezTo>
                    <a:pt x="671" y="181"/>
                    <a:pt x="669" y="189"/>
                    <a:pt x="668" y="195"/>
                  </a:cubicBezTo>
                  <a:cubicBezTo>
                    <a:pt x="667" y="201"/>
                    <a:pt x="674" y="197"/>
                    <a:pt x="679" y="196"/>
                  </a:cubicBezTo>
                  <a:cubicBezTo>
                    <a:pt x="685" y="196"/>
                    <a:pt x="686" y="198"/>
                    <a:pt x="694" y="201"/>
                  </a:cubicBezTo>
                  <a:cubicBezTo>
                    <a:pt x="694" y="201"/>
                    <a:pt x="694" y="201"/>
                    <a:pt x="695" y="201"/>
                  </a:cubicBezTo>
                  <a:cubicBezTo>
                    <a:pt x="702" y="204"/>
                    <a:pt x="696" y="210"/>
                    <a:pt x="690" y="215"/>
                  </a:cubicBezTo>
                  <a:cubicBezTo>
                    <a:pt x="684" y="221"/>
                    <a:pt x="694" y="229"/>
                    <a:pt x="694" y="234"/>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08" name="Freeform 1087">
              <a:extLst>
                <a:ext uri="{FF2B5EF4-FFF2-40B4-BE49-F238E27FC236}">
                  <a16:creationId xmlns:a16="http://schemas.microsoft.com/office/drawing/2014/main" id="{90A5EFEC-0D7C-9E4D-9F8D-EE49D6F0571C}"/>
                </a:ext>
              </a:extLst>
            </p:cNvPr>
            <p:cNvSpPr>
              <a:spLocks/>
            </p:cNvSpPr>
            <p:nvPr/>
          </p:nvSpPr>
          <p:spPr bwMode="auto">
            <a:xfrm>
              <a:off x="5881706" y="1283155"/>
              <a:ext cx="706440" cy="274638"/>
            </a:xfrm>
            <a:custGeom>
              <a:avLst/>
              <a:gdLst>
                <a:gd name="T0" fmla="*/ 713 w 742"/>
                <a:gd name="T1" fmla="*/ 147 h 288"/>
                <a:gd name="T2" fmla="*/ 677 w 742"/>
                <a:gd name="T3" fmla="*/ 158 h 288"/>
                <a:gd name="T4" fmla="*/ 658 w 742"/>
                <a:gd name="T5" fmla="*/ 183 h 288"/>
                <a:gd name="T6" fmla="*/ 611 w 742"/>
                <a:gd name="T7" fmla="*/ 195 h 288"/>
                <a:gd name="T8" fmla="*/ 586 w 742"/>
                <a:gd name="T9" fmla="*/ 201 h 288"/>
                <a:gd name="T10" fmla="*/ 594 w 742"/>
                <a:gd name="T11" fmla="*/ 238 h 288"/>
                <a:gd name="T12" fmla="*/ 574 w 742"/>
                <a:gd name="T13" fmla="*/ 261 h 288"/>
                <a:gd name="T14" fmla="*/ 528 w 742"/>
                <a:gd name="T15" fmla="*/ 266 h 288"/>
                <a:gd name="T16" fmla="*/ 477 w 742"/>
                <a:gd name="T17" fmla="*/ 287 h 288"/>
                <a:gd name="T18" fmla="*/ 441 w 742"/>
                <a:gd name="T19" fmla="*/ 280 h 288"/>
                <a:gd name="T20" fmla="*/ 389 w 742"/>
                <a:gd name="T21" fmla="*/ 264 h 288"/>
                <a:gd name="T22" fmla="*/ 343 w 742"/>
                <a:gd name="T23" fmla="*/ 261 h 288"/>
                <a:gd name="T24" fmla="*/ 299 w 742"/>
                <a:gd name="T25" fmla="*/ 257 h 288"/>
                <a:gd name="T26" fmla="*/ 265 w 742"/>
                <a:gd name="T27" fmla="*/ 256 h 288"/>
                <a:gd name="T28" fmla="*/ 244 w 742"/>
                <a:gd name="T29" fmla="*/ 235 h 288"/>
                <a:gd name="T30" fmla="*/ 214 w 742"/>
                <a:gd name="T31" fmla="*/ 213 h 288"/>
                <a:gd name="T32" fmla="*/ 181 w 742"/>
                <a:gd name="T33" fmla="*/ 199 h 288"/>
                <a:gd name="T34" fmla="*/ 136 w 742"/>
                <a:gd name="T35" fmla="*/ 193 h 288"/>
                <a:gd name="T36" fmla="*/ 106 w 742"/>
                <a:gd name="T37" fmla="*/ 177 h 288"/>
                <a:gd name="T38" fmla="*/ 101 w 742"/>
                <a:gd name="T39" fmla="*/ 151 h 288"/>
                <a:gd name="T40" fmla="*/ 73 w 742"/>
                <a:gd name="T41" fmla="*/ 120 h 288"/>
                <a:gd name="T42" fmla="*/ 39 w 742"/>
                <a:gd name="T43" fmla="*/ 111 h 288"/>
                <a:gd name="T44" fmla="*/ 14 w 742"/>
                <a:gd name="T45" fmla="*/ 94 h 288"/>
                <a:gd name="T46" fmla="*/ 0 w 742"/>
                <a:gd name="T47" fmla="*/ 80 h 288"/>
                <a:gd name="T48" fmla="*/ 32 w 742"/>
                <a:gd name="T49" fmla="*/ 68 h 288"/>
                <a:gd name="T50" fmla="*/ 55 w 742"/>
                <a:gd name="T51" fmla="*/ 49 h 288"/>
                <a:gd name="T52" fmla="*/ 87 w 742"/>
                <a:gd name="T53" fmla="*/ 36 h 288"/>
                <a:gd name="T54" fmla="*/ 127 w 742"/>
                <a:gd name="T55" fmla="*/ 44 h 288"/>
                <a:gd name="T56" fmla="*/ 176 w 742"/>
                <a:gd name="T57" fmla="*/ 58 h 288"/>
                <a:gd name="T58" fmla="*/ 213 w 742"/>
                <a:gd name="T59" fmla="*/ 57 h 288"/>
                <a:gd name="T60" fmla="*/ 205 w 742"/>
                <a:gd name="T61" fmla="*/ 39 h 288"/>
                <a:gd name="T62" fmla="*/ 200 w 742"/>
                <a:gd name="T63" fmla="*/ 12 h 288"/>
                <a:gd name="T64" fmla="*/ 214 w 742"/>
                <a:gd name="T65" fmla="*/ 3 h 288"/>
                <a:gd name="T66" fmla="*/ 261 w 742"/>
                <a:gd name="T67" fmla="*/ 16 h 288"/>
                <a:gd name="T68" fmla="*/ 299 w 742"/>
                <a:gd name="T69" fmla="*/ 39 h 288"/>
                <a:gd name="T70" fmla="*/ 335 w 742"/>
                <a:gd name="T71" fmla="*/ 54 h 288"/>
                <a:gd name="T72" fmla="*/ 373 w 742"/>
                <a:gd name="T73" fmla="*/ 46 h 288"/>
                <a:gd name="T74" fmla="*/ 414 w 742"/>
                <a:gd name="T75" fmla="*/ 58 h 288"/>
                <a:gd name="T76" fmla="*/ 451 w 742"/>
                <a:gd name="T77" fmla="*/ 75 h 288"/>
                <a:gd name="T78" fmla="*/ 510 w 742"/>
                <a:gd name="T79" fmla="*/ 79 h 288"/>
                <a:gd name="T80" fmla="*/ 548 w 742"/>
                <a:gd name="T81" fmla="*/ 66 h 288"/>
                <a:gd name="T82" fmla="*/ 586 w 742"/>
                <a:gd name="T83" fmla="*/ 56 h 288"/>
                <a:gd name="T84" fmla="*/ 623 w 742"/>
                <a:gd name="T85" fmla="*/ 63 h 288"/>
                <a:gd name="T86" fmla="*/ 623 w 742"/>
                <a:gd name="T87" fmla="*/ 94 h 288"/>
                <a:gd name="T88" fmla="*/ 631 w 742"/>
                <a:gd name="T89" fmla="*/ 116 h 288"/>
                <a:gd name="T90" fmla="*/ 653 w 742"/>
                <a:gd name="T91" fmla="*/ 116 h 288"/>
                <a:gd name="T92" fmla="*/ 677 w 742"/>
                <a:gd name="T93" fmla="*/ 112 h 288"/>
                <a:gd name="T94" fmla="*/ 713 w 742"/>
                <a:gd name="T95" fmla="*/ 124 h 288"/>
                <a:gd name="T96" fmla="*/ 739 w 742"/>
                <a:gd name="T97" fmla="*/ 14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42" h="288">
                  <a:moveTo>
                    <a:pt x="739" y="148"/>
                  </a:moveTo>
                  <a:cubicBezTo>
                    <a:pt x="737" y="148"/>
                    <a:pt x="722" y="147"/>
                    <a:pt x="713" y="147"/>
                  </a:cubicBezTo>
                  <a:cubicBezTo>
                    <a:pt x="704" y="147"/>
                    <a:pt x="696" y="150"/>
                    <a:pt x="693" y="152"/>
                  </a:cubicBezTo>
                  <a:cubicBezTo>
                    <a:pt x="689" y="153"/>
                    <a:pt x="682" y="155"/>
                    <a:pt x="677" y="158"/>
                  </a:cubicBezTo>
                  <a:cubicBezTo>
                    <a:pt x="673" y="160"/>
                    <a:pt x="673" y="165"/>
                    <a:pt x="675" y="171"/>
                  </a:cubicBezTo>
                  <a:cubicBezTo>
                    <a:pt x="678" y="178"/>
                    <a:pt x="666" y="183"/>
                    <a:pt x="658" y="183"/>
                  </a:cubicBezTo>
                  <a:cubicBezTo>
                    <a:pt x="650" y="182"/>
                    <a:pt x="640" y="188"/>
                    <a:pt x="638" y="193"/>
                  </a:cubicBezTo>
                  <a:cubicBezTo>
                    <a:pt x="636" y="198"/>
                    <a:pt x="623" y="200"/>
                    <a:pt x="611" y="195"/>
                  </a:cubicBezTo>
                  <a:cubicBezTo>
                    <a:pt x="599" y="191"/>
                    <a:pt x="599" y="191"/>
                    <a:pt x="592" y="192"/>
                  </a:cubicBezTo>
                  <a:cubicBezTo>
                    <a:pt x="585" y="192"/>
                    <a:pt x="587" y="194"/>
                    <a:pt x="586" y="201"/>
                  </a:cubicBezTo>
                  <a:cubicBezTo>
                    <a:pt x="584" y="208"/>
                    <a:pt x="597" y="219"/>
                    <a:pt x="605" y="225"/>
                  </a:cubicBezTo>
                  <a:cubicBezTo>
                    <a:pt x="612" y="231"/>
                    <a:pt x="596" y="236"/>
                    <a:pt x="594" y="238"/>
                  </a:cubicBezTo>
                  <a:cubicBezTo>
                    <a:pt x="592" y="240"/>
                    <a:pt x="589" y="242"/>
                    <a:pt x="588" y="248"/>
                  </a:cubicBezTo>
                  <a:cubicBezTo>
                    <a:pt x="587" y="255"/>
                    <a:pt x="582" y="256"/>
                    <a:pt x="574" y="261"/>
                  </a:cubicBezTo>
                  <a:cubicBezTo>
                    <a:pt x="565" y="266"/>
                    <a:pt x="565" y="262"/>
                    <a:pt x="556" y="264"/>
                  </a:cubicBezTo>
                  <a:cubicBezTo>
                    <a:pt x="547" y="265"/>
                    <a:pt x="538" y="264"/>
                    <a:pt x="528" y="266"/>
                  </a:cubicBezTo>
                  <a:cubicBezTo>
                    <a:pt x="517" y="268"/>
                    <a:pt x="502" y="272"/>
                    <a:pt x="496" y="273"/>
                  </a:cubicBezTo>
                  <a:cubicBezTo>
                    <a:pt x="490" y="274"/>
                    <a:pt x="479" y="285"/>
                    <a:pt x="477" y="287"/>
                  </a:cubicBezTo>
                  <a:cubicBezTo>
                    <a:pt x="476" y="288"/>
                    <a:pt x="471" y="287"/>
                    <a:pt x="463" y="283"/>
                  </a:cubicBezTo>
                  <a:cubicBezTo>
                    <a:pt x="454" y="279"/>
                    <a:pt x="452" y="283"/>
                    <a:pt x="441" y="280"/>
                  </a:cubicBezTo>
                  <a:cubicBezTo>
                    <a:pt x="430" y="277"/>
                    <a:pt x="415" y="275"/>
                    <a:pt x="410" y="275"/>
                  </a:cubicBezTo>
                  <a:cubicBezTo>
                    <a:pt x="405" y="274"/>
                    <a:pt x="396" y="268"/>
                    <a:pt x="389" y="264"/>
                  </a:cubicBezTo>
                  <a:cubicBezTo>
                    <a:pt x="382" y="261"/>
                    <a:pt x="376" y="262"/>
                    <a:pt x="366" y="260"/>
                  </a:cubicBezTo>
                  <a:cubicBezTo>
                    <a:pt x="356" y="258"/>
                    <a:pt x="352" y="259"/>
                    <a:pt x="343" y="261"/>
                  </a:cubicBezTo>
                  <a:cubicBezTo>
                    <a:pt x="333" y="263"/>
                    <a:pt x="321" y="261"/>
                    <a:pt x="319" y="261"/>
                  </a:cubicBezTo>
                  <a:cubicBezTo>
                    <a:pt x="317" y="261"/>
                    <a:pt x="307" y="259"/>
                    <a:pt x="299" y="257"/>
                  </a:cubicBezTo>
                  <a:cubicBezTo>
                    <a:pt x="291" y="256"/>
                    <a:pt x="285" y="256"/>
                    <a:pt x="278" y="256"/>
                  </a:cubicBezTo>
                  <a:cubicBezTo>
                    <a:pt x="271" y="257"/>
                    <a:pt x="272" y="259"/>
                    <a:pt x="265" y="256"/>
                  </a:cubicBezTo>
                  <a:cubicBezTo>
                    <a:pt x="258" y="253"/>
                    <a:pt x="261" y="254"/>
                    <a:pt x="255" y="248"/>
                  </a:cubicBezTo>
                  <a:cubicBezTo>
                    <a:pt x="248" y="242"/>
                    <a:pt x="251" y="242"/>
                    <a:pt x="244" y="235"/>
                  </a:cubicBezTo>
                  <a:cubicBezTo>
                    <a:pt x="237" y="227"/>
                    <a:pt x="229" y="221"/>
                    <a:pt x="228" y="219"/>
                  </a:cubicBezTo>
                  <a:cubicBezTo>
                    <a:pt x="227" y="216"/>
                    <a:pt x="223" y="216"/>
                    <a:pt x="214" y="213"/>
                  </a:cubicBezTo>
                  <a:cubicBezTo>
                    <a:pt x="204" y="210"/>
                    <a:pt x="206" y="210"/>
                    <a:pt x="198" y="207"/>
                  </a:cubicBezTo>
                  <a:cubicBezTo>
                    <a:pt x="190" y="204"/>
                    <a:pt x="192" y="203"/>
                    <a:pt x="181" y="199"/>
                  </a:cubicBezTo>
                  <a:cubicBezTo>
                    <a:pt x="171" y="194"/>
                    <a:pt x="176" y="197"/>
                    <a:pt x="161" y="194"/>
                  </a:cubicBezTo>
                  <a:cubicBezTo>
                    <a:pt x="146" y="191"/>
                    <a:pt x="140" y="193"/>
                    <a:pt x="136" y="193"/>
                  </a:cubicBezTo>
                  <a:cubicBezTo>
                    <a:pt x="132" y="192"/>
                    <a:pt x="125" y="191"/>
                    <a:pt x="118" y="189"/>
                  </a:cubicBezTo>
                  <a:cubicBezTo>
                    <a:pt x="111" y="187"/>
                    <a:pt x="111" y="184"/>
                    <a:pt x="106" y="177"/>
                  </a:cubicBezTo>
                  <a:cubicBezTo>
                    <a:pt x="100" y="170"/>
                    <a:pt x="105" y="169"/>
                    <a:pt x="107" y="165"/>
                  </a:cubicBezTo>
                  <a:cubicBezTo>
                    <a:pt x="109" y="161"/>
                    <a:pt x="103" y="158"/>
                    <a:pt x="101" y="151"/>
                  </a:cubicBezTo>
                  <a:cubicBezTo>
                    <a:pt x="100" y="145"/>
                    <a:pt x="91" y="137"/>
                    <a:pt x="87" y="134"/>
                  </a:cubicBezTo>
                  <a:cubicBezTo>
                    <a:pt x="82" y="131"/>
                    <a:pt x="78" y="126"/>
                    <a:pt x="73" y="120"/>
                  </a:cubicBezTo>
                  <a:cubicBezTo>
                    <a:pt x="68" y="115"/>
                    <a:pt x="67" y="118"/>
                    <a:pt x="57" y="116"/>
                  </a:cubicBezTo>
                  <a:cubicBezTo>
                    <a:pt x="48" y="114"/>
                    <a:pt x="46" y="113"/>
                    <a:pt x="39" y="111"/>
                  </a:cubicBezTo>
                  <a:cubicBezTo>
                    <a:pt x="32" y="109"/>
                    <a:pt x="31" y="105"/>
                    <a:pt x="24" y="102"/>
                  </a:cubicBezTo>
                  <a:cubicBezTo>
                    <a:pt x="16" y="99"/>
                    <a:pt x="18" y="96"/>
                    <a:pt x="14" y="94"/>
                  </a:cubicBezTo>
                  <a:cubicBezTo>
                    <a:pt x="10" y="92"/>
                    <a:pt x="5" y="87"/>
                    <a:pt x="5" y="84"/>
                  </a:cubicBezTo>
                  <a:cubicBezTo>
                    <a:pt x="5" y="81"/>
                    <a:pt x="2" y="81"/>
                    <a:pt x="0" y="80"/>
                  </a:cubicBezTo>
                  <a:cubicBezTo>
                    <a:pt x="3" y="77"/>
                    <a:pt x="2" y="73"/>
                    <a:pt x="11" y="71"/>
                  </a:cubicBezTo>
                  <a:cubicBezTo>
                    <a:pt x="21" y="70"/>
                    <a:pt x="28" y="77"/>
                    <a:pt x="32" y="68"/>
                  </a:cubicBezTo>
                  <a:cubicBezTo>
                    <a:pt x="36" y="59"/>
                    <a:pt x="28" y="60"/>
                    <a:pt x="37" y="57"/>
                  </a:cubicBezTo>
                  <a:cubicBezTo>
                    <a:pt x="45" y="53"/>
                    <a:pt x="45" y="55"/>
                    <a:pt x="55" y="49"/>
                  </a:cubicBezTo>
                  <a:cubicBezTo>
                    <a:pt x="65" y="43"/>
                    <a:pt x="64" y="41"/>
                    <a:pt x="73" y="39"/>
                  </a:cubicBezTo>
                  <a:cubicBezTo>
                    <a:pt x="82" y="37"/>
                    <a:pt x="82" y="34"/>
                    <a:pt x="87" y="36"/>
                  </a:cubicBezTo>
                  <a:cubicBezTo>
                    <a:pt x="91" y="38"/>
                    <a:pt x="93" y="44"/>
                    <a:pt x="101" y="42"/>
                  </a:cubicBezTo>
                  <a:cubicBezTo>
                    <a:pt x="108" y="40"/>
                    <a:pt x="125" y="42"/>
                    <a:pt x="127" y="44"/>
                  </a:cubicBezTo>
                  <a:cubicBezTo>
                    <a:pt x="129" y="46"/>
                    <a:pt x="135" y="57"/>
                    <a:pt x="147" y="58"/>
                  </a:cubicBezTo>
                  <a:cubicBezTo>
                    <a:pt x="160" y="58"/>
                    <a:pt x="163" y="56"/>
                    <a:pt x="176" y="58"/>
                  </a:cubicBezTo>
                  <a:cubicBezTo>
                    <a:pt x="189" y="59"/>
                    <a:pt x="198" y="67"/>
                    <a:pt x="203" y="65"/>
                  </a:cubicBezTo>
                  <a:cubicBezTo>
                    <a:pt x="208" y="62"/>
                    <a:pt x="211" y="61"/>
                    <a:pt x="213" y="57"/>
                  </a:cubicBezTo>
                  <a:cubicBezTo>
                    <a:pt x="215" y="52"/>
                    <a:pt x="218" y="48"/>
                    <a:pt x="215" y="45"/>
                  </a:cubicBezTo>
                  <a:cubicBezTo>
                    <a:pt x="212" y="42"/>
                    <a:pt x="213" y="46"/>
                    <a:pt x="205" y="39"/>
                  </a:cubicBezTo>
                  <a:cubicBezTo>
                    <a:pt x="198" y="32"/>
                    <a:pt x="192" y="30"/>
                    <a:pt x="194" y="23"/>
                  </a:cubicBezTo>
                  <a:cubicBezTo>
                    <a:pt x="196" y="17"/>
                    <a:pt x="196" y="16"/>
                    <a:pt x="200" y="12"/>
                  </a:cubicBezTo>
                  <a:cubicBezTo>
                    <a:pt x="204" y="7"/>
                    <a:pt x="204" y="7"/>
                    <a:pt x="205" y="3"/>
                  </a:cubicBezTo>
                  <a:cubicBezTo>
                    <a:pt x="205" y="0"/>
                    <a:pt x="208" y="0"/>
                    <a:pt x="214" y="3"/>
                  </a:cubicBezTo>
                  <a:cubicBezTo>
                    <a:pt x="220" y="7"/>
                    <a:pt x="232" y="11"/>
                    <a:pt x="239" y="11"/>
                  </a:cubicBezTo>
                  <a:cubicBezTo>
                    <a:pt x="245" y="11"/>
                    <a:pt x="250" y="15"/>
                    <a:pt x="261" y="16"/>
                  </a:cubicBezTo>
                  <a:cubicBezTo>
                    <a:pt x="272" y="16"/>
                    <a:pt x="278" y="14"/>
                    <a:pt x="284" y="22"/>
                  </a:cubicBezTo>
                  <a:cubicBezTo>
                    <a:pt x="291" y="30"/>
                    <a:pt x="292" y="31"/>
                    <a:pt x="299" y="39"/>
                  </a:cubicBezTo>
                  <a:cubicBezTo>
                    <a:pt x="306" y="46"/>
                    <a:pt x="305" y="49"/>
                    <a:pt x="316" y="50"/>
                  </a:cubicBezTo>
                  <a:cubicBezTo>
                    <a:pt x="326" y="51"/>
                    <a:pt x="328" y="55"/>
                    <a:pt x="335" y="54"/>
                  </a:cubicBezTo>
                  <a:cubicBezTo>
                    <a:pt x="341" y="52"/>
                    <a:pt x="354" y="50"/>
                    <a:pt x="356" y="47"/>
                  </a:cubicBezTo>
                  <a:cubicBezTo>
                    <a:pt x="358" y="44"/>
                    <a:pt x="362" y="45"/>
                    <a:pt x="373" y="46"/>
                  </a:cubicBezTo>
                  <a:cubicBezTo>
                    <a:pt x="384" y="47"/>
                    <a:pt x="383" y="47"/>
                    <a:pt x="396" y="49"/>
                  </a:cubicBezTo>
                  <a:cubicBezTo>
                    <a:pt x="408" y="52"/>
                    <a:pt x="410" y="58"/>
                    <a:pt x="414" y="58"/>
                  </a:cubicBezTo>
                  <a:cubicBezTo>
                    <a:pt x="419" y="58"/>
                    <a:pt x="428" y="58"/>
                    <a:pt x="433" y="61"/>
                  </a:cubicBezTo>
                  <a:cubicBezTo>
                    <a:pt x="438" y="65"/>
                    <a:pt x="443" y="74"/>
                    <a:pt x="451" y="75"/>
                  </a:cubicBezTo>
                  <a:cubicBezTo>
                    <a:pt x="459" y="75"/>
                    <a:pt x="474" y="79"/>
                    <a:pt x="483" y="80"/>
                  </a:cubicBezTo>
                  <a:cubicBezTo>
                    <a:pt x="492" y="81"/>
                    <a:pt x="502" y="80"/>
                    <a:pt x="510" y="79"/>
                  </a:cubicBezTo>
                  <a:cubicBezTo>
                    <a:pt x="517" y="78"/>
                    <a:pt x="518" y="74"/>
                    <a:pt x="530" y="73"/>
                  </a:cubicBezTo>
                  <a:cubicBezTo>
                    <a:pt x="542" y="71"/>
                    <a:pt x="545" y="74"/>
                    <a:pt x="548" y="66"/>
                  </a:cubicBezTo>
                  <a:cubicBezTo>
                    <a:pt x="552" y="59"/>
                    <a:pt x="553" y="55"/>
                    <a:pt x="558" y="54"/>
                  </a:cubicBezTo>
                  <a:cubicBezTo>
                    <a:pt x="563" y="53"/>
                    <a:pt x="581" y="53"/>
                    <a:pt x="586" y="56"/>
                  </a:cubicBezTo>
                  <a:cubicBezTo>
                    <a:pt x="592" y="59"/>
                    <a:pt x="598" y="60"/>
                    <a:pt x="603" y="59"/>
                  </a:cubicBezTo>
                  <a:cubicBezTo>
                    <a:pt x="608" y="58"/>
                    <a:pt x="609" y="61"/>
                    <a:pt x="623" y="63"/>
                  </a:cubicBezTo>
                  <a:cubicBezTo>
                    <a:pt x="623" y="63"/>
                    <a:pt x="623" y="63"/>
                    <a:pt x="623" y="63"/>
                  </a:cubicBezTo>
                  <a:cubicBezTo>
                    <a:pt x="623" y="70"/>
                    <a:pt x="622" y="91"/>
                    <a:pt x="623" y="94"/>
                  </a:cubicBezTo>
                  <a:cubicBezTo>
                    <a:pt x="625" y="99"/>
                    <a:pt x="626" y="100"/>
                    <a:pt x="624" y="106"/>
                  </a:cubicBezTo>
                  <a:cubicBezTo>
                    <a:pt x="621" y="111"/>
                    <a:pt x="626" y="110"/>
                    <a:pt x="631" y="116"/>
                  </a:cubicBezTo>
                  <a:cubicBezTo>
                    <a:pt x="635" y="122"/>
                    <a:pt x="635" y="118"/>
                    <a:pt x="639" y="117"/>
                  </a:cubicBezTo>
                  <a:cubicBezTo>
                    <a:pt x="644" y="115"/>
                    <a:pt x="648" y="116"/>
                    <a:pt x="653" y="116"/>
                  </a:cubicBezTo>
                  <a:cubicBezTo>
                    <a:pt x="659" y="116"/>
                    <a:pt x="660" y="117"/>
                    <a:pt x="668" y="118"/>
                  </a:cubicBezTo>
                  <a:cubicBezTo>
                    <a:pt x="676" y="119"/>
                    <a:pt x="674" y="115"/>
                    <a:pt x="677" y="112"/>
                  </a:cubicBezTo>
                  <a:cubicBezTo>
                    <a:pt x="681" y="109"/>
                    <a:pt x="686" y="112"/>
                    <a:pt x="697" y="116"/>
                  </a:cubicBezTo>
                  <a:cubicBezTo>
                    <a:pt x="708" y="120"/>
                    <a:pt x="707" y="121"/>
                    <a:pt x="713" y="124"/>
                  </a:cubicBezTo>
                  <a:cubicBezTo>
                    <a:pt x="719" y="128"/>
                    <a:pt x="727" y="134"/>
                    <a:pt x="734" y="140"/>
                  </a:cubicBezTo>
                  <a:cubicBezTo>
                    <a:pt x="742" y="145"/>
                    <a:pt x="741" y="148"/>
                    <a:pt x="739" y="148"/>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09" name="Freeform 1088">
              <a:extLst>
                <a:ext uri="{FF2B5EF4-FFF2-40B4-BE49-F238E27FC236}">
                  <a16:creationId xmlns:a16="http://schemas.microsoft.com/office/drawing/2014/main" id="{973B4226-DBAD-614B-8EC2-4FD67BF9D4E5}"/>
                </a:ext>
              </a:extLst>
            </p:cNvPr>
            <p:cNvSpPr>
              <a:spLocks noEditPoints="1"/>
            </p:cNvSpPr>
            <p:nvPr/>
          </p:nvSpPr>
          <p:spPr bwMode="auto">
            <a:xfrm>
              <a:off x="5026041" y="1199018"/>
              <a:ext cx="854078" cy="385763"/>
            </a:xfrm>
            <a:custGeom>
              <a:avLst/>
              <a:gdLst>
                <a:gd name="T0" fmla="*/ 849 w 897"/>
                <a:gd name="T1" fmla="*/ 158 h 404"/>
                <a:gd name="T2" fmla="*/ 790 w 897"/>
                <a:gd name="T3" fmla="*/ 119 h 404"/>
                <a:gd name="T4" fmla="*/ 728 w 897"/>
                <a:gd name="T5" fmla="*/ 110 h 404"/>
                <a:gd name="T6" fmla="*/ 602 w 897"/>
                <a:gd name="T7" fmla="*/ 37 h 404"/>
                <a:gd name="T8" fmla="*/ 569 w 897"/>
                <a:gd name="T9" fmla="*/ 45 h 404"/>
                <a:gd name="T10" fmla="*/ 542 w 897"/>
                <a:gd name="T11" fmla="*/ 39 h 404"/>
                <a:gd name="T12" fmla="*/ 496 w 897"/>
                <a:gd name="T13" fmla="*/ 34 h 404"/>
                <a:gd name="T14" fmla="*/ 463 w 897"/>
                <a:gd name="T15" fmla="*/ 5 h 404"/>
                <a:gd name="T16" fmla="*/ 422 w 897"/>
                <a:gd name="T17" fmla="*/ 5 h 404"/>
                <a:gd name="T18" fmla="*/ 357 w 897"/>
                <a:gd name="T19" fmla="*/ 26 h 404"/>
                <a:gd name="T20" fmla="*/ 303 w 897"/>
                <a:gd name="T21" fmla="*/ 40 h 404"/>
                <a:gd name="T22" fmla="*/ 287 w 897"/>
                <a:gd name="T23" fmla="*/ 55 h 404"/>
                <a:gd name="T24" fmla="*/ 294 w 897"/>
                <a:gd name="T25" fmla="*/ 64 h 404"/>
                <a:gd name="T26" fmla="*/ 288 w 897"/>
                <a:gd name="T27" fmla="*/ 84 h 404"/>
                <a:gd name="T28" fmla="*/ 292 w 897"/>
                <a:gd name="T29" fmla="*/ 102 h 404"/>
                <a:gd name="T30" fmla="*/ 303 w 897"/>
                <a:gd name="T31" fmla="*/ 128 h 404"/>
                <a:gd name="T32" fmla="*/ 266 w 897"/>
                <a:gd name="T33" fmla="*/ 127 h 404"/>
                <a:gd name="T34" fmla="*/ 227 w 897"/>
                <a:gd name="T35" fmla="*/ 122 h 404"/>
                <a:gd name="T36" fmla="*/ 178 w 897"/>
                <a:gd name="T37" fmla="*/ 123 h 404"/>
                <a:gd name="T38" fmla="*/ 149 w 897"/>
                <a:gd name="T39" fmla="*/ 115 h 404"/>
                <a:gd name="T40" fmla="*/ 93 w 897"/>
                <a:gd name="T41" fmla="*/ 105 h 404"/>
                <a:gd name="T42" fmla="*/ 51 w 897"/>
                <a:gd name="T43" fmla="*/ 120 h 404"/>
                <a:gd name="T44" fmla="*/ 30 w 897"/>
                <a:gd name="T45" fmla="*/ 144 h 404"/>
                <a:gd name="T46" fmla="*/ 7 w 897"/>
                <a:gd name="T47" fmla="*/ 165 h 404"/>
                <a:gd name="T48" fmla="*/ 18 w 897"/>
                <a:gd name="T49" fmla="*/ 200 h 404"/>
                <a:gd name="T50" fmla="*/ 66 w 897"/>
                <a:gd name="T51" fmla="*/ 230 h 404"/>
                <a:gd name="T52" fmla="*/ 72 w 897"/>
                <a:gd name="T53" fmla="*/ 245 h 404"/>
                <a:gd name="T54" fmla="*/ 110 w 897"/>
                <a:gd name="T55" fmla="*/ 229 h 404"/>
                <a:gd name="T56" fmla="*/ 160 w 897"/>
                <a:gd name="T57" fmla="*/ 260 h 404"/>
                <a:gd name="T58" fmla="*/ 127 w 897"/>
                <a:gd name="T59" fmla="*/ 275 h 404"/>
                <a:gd name="T60" fmla="*/ 122 w 897"/>
                <a:gd name="T61" fmla="*/ 308 h 404"/>
                <a:gd name="T62" fmla="*/ 167 w 897"/>
                <a:gd name="T63" fmla="*/ 342 h 404"/>
                <a:gd name="T64" fmla="*/ 184 w 897"/>
                <a:gd name="T65" fmla="*/ 361 h 404"/>
                <a:gd name="T66" fmla="*/ 224 w 897"/>
                <a:gd name="T67" fmla="*/ 364 h 404"/>
                <a:gd name="T68" fmla="*/ 255 w 897"/>
                <a:gd name="T69" fmla="*/ 384 h 404"/>
                <a:gd name="T70" fmla="*/ 285 w 897"/>
                <a:gd name="T71" fmla="*/ 268 h 404"/>
                <a:gd name="T72" fmla="*/ 304 w 897"/>
                <a:gd name="T73" fmla="*/ 246 h 404"/>
                <a:gd name="T74" fmla="*/ 317 w 897"/>
                <a:gd name="T75" fmla="*/ 264 h 404"/>
                <a:gd name="T76" fmla="*/ 342 w 897"/>
                <a:gd name="T77" fmla="*/ 293 h 404"/>
                <a:gd name="T78" fmla="*/ 377 w 897"/>
                <a:gd name="T79" fmla="*/ 322 h 404"/>
                <a:gd name="T80" fmla="*/ 437 w 897"/>
                <a:gd name="T81" fmla="*/ 319 h 404"/>
                <a:gd name="T82" fmla="*/ 476 w 897"/>
                <a:gd name="T83" fmla="*/ 352 h 404"/>
                <a:gd name="T84" fmla="*/ 510 w 897"/>
                <a:gd name="T85" fmla="*/ 389 h 404"/>
                <a:gd name="T86" fmla="*/ 547 w 897"/>
                <a:gd name="T87" fmla="*/ 403 h 404"/>
                <a:gd name="T88" fmla="*/ 569 w 897"/>
                <a:gd name="T89" fmla="*/ 370 h 404"/>
                <a:gd name="T90" fmla="*/ 627 w 897"/>
                <a:gd name="T91" fmla="*/ 345 h 404"/>
                <a:gd name="T92" fmla="*/ 654 w 897"/>
                <a:gd name="T93" fmla="*/ 329 h 404"/>
                <a:gd name="T94" fmla="*/ 743 w 897"/>
                <a:gd name="T95" fmla="*/ 341 h 404"/>
                <a:gd name="T96" fmla="*/ 801 w 897"/>
                <a:gd name="T97" fmla="*/ 357 h 404"/>
                <a:gd name="T98" fmla="*/ 801 w 897"/>
                <a:gd name="T99" fmla="*/ 336 h 404"/>
                <a:gd name="T100" fmla="*/ 784 w 897"/>
                <a:gd name="T101" fmla="*/ 292 h 404"/>
                <a:gd name="T102" fmla="*/ 804 w 897"/>
                <a:gd name="T103" fmla="*/ 273 h 404"/>
                <a:gd name="T104" fmla="*/ 816 w 897"/>
                <a:gd name="T105" fmla="*/ 230 h 404"/>
                <a:gd name="T106" fmla="*/ 872 w 897"/>
                <a:gd name="T107" fmla="*/ 224 h 404"/>
                <a:gd name="T108" fmla="*/ 880 w 897"/>
                <a:gd name="T109" fmla="*/ 177 h 404"/>
                <a:gd name="T110" fmla="*/ 874 w 897"/>
                <a:gd name="T111" fmla="*/ 156 h 404"/>
                <a:gd name="T112" fmla="*/ 715 w 897"/>
                <a:gd name="T113" fmla="*/ 246 h 404"/>
                <a:gd name="T114" fmla="*/ 669 w 897"/>
                <a:gd name="T115" fmla="*/ 240 h 404"/>
                <a:gd name="T116" fmla="*/ 634 w 897"/>
                <a:gd name="T117" fmla="*/ 266 h 404"/>
                <a:gd name="T118" fmla="*/ 619 w 897"/>
                <a:gd name="T119" fmla="*/ 264 h 404"/>
                <a:gd name="T120" fmla="*/ 655 w 897"/>
                <a:gd name="T121" fmla="*/ 231 h 404"/>
                <a:gd name="T122" fmla="*/ 705 w 897"/>
                <a:gd name="T123" fmla="*/ 236 h 404"/>
                <a:gd name="T124" fmla="*/ 739 w 897"/>
                <a:gd name="T125" fmla="*/ 24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7" h="404">
                  <a:moveTo>
                    <a:pt x="874" y="156"/>
                  </a:moveTo>
                  <a:cubicBezTo>
                    <a:pt x="871" y="151"/>
                    <a:pt x="868" y="152"/>
                    <a:pt x="864" y="156"/>
                  </a:cubicBezTo>
                  <a:cubicBezTo>
                    <a:pt x="860" y="160"/>
                    <a:pt x="857" y="158"/>
                    <a:pt x="849" y="158"/>
                  </a:cubicBezTo>
                  <a:cubicBezTo>
                    <a:pt x="841" y="157"/>
                    <a:pt x="835" y="153"/>
                    <a:pt x="831" y="146"/>
                  </a:cubicBezTo>
                  <a:cubicBezTo>
                    <a:pt x="828" y="139"/>
                    <a:pt x="826" y="140"/>
                    <a:pt x="812" y="134"/>
                  </a:cubicBezTo>
                  <a:cubicBezTo>
                    <a:pt x="798" y="128"/>
                    <a:pt x="799" y="125"/>
                    <a:pt x="790" y="119"/>
                  </a:cubicBezTo>
                  <a:cubicBezTo>
                    <a:pt x="781" y="113"/>
                    <a:pt x="778" y="120"/>
                    <a:pt x="765" y="126"/>
                  </a:cubicBezTo>
                  <a:cubicBezTo>
                    <a:pt x="751" y="131"/>
                    <a:pt x="756" y="126"/>
                    <a:pt x="749" y="126"/>
                  </a:cubicBezTo>
                  <a:cubicBezTo>
                    <a:pt x="741" y="125"/>
                    <a:pt x="738" y="114"/>
                    <a:pt x="728" y="110"/>
                  </a:cubicBezTo>
                  <a:cubicBezTo>
                    <a:pt x="717" y="106"/>
                    <a:pt x="722" y="115"/>
                    <a:pt x="722" y="120"/>
                  </a:cubicBezTo>
                  <a:cubicBezTo>
                    <a:pt x="722" y="125"/>
                    <a:pt x="710" y="124"/>
                    <a:pt x="706" y="120"/>
                  </a:cubicBezTo>
                  <a:cubicBezTo>
                    <a:pt x="659" y="62"/>
                    <a:pt x="612" y="43"/>
                    <a:pt x="602" y="37"/>
                  </a:cubicBezTo>
                  <a:cubicBezTo>
                    <a:pt x="592" y="31"/>
                    <a:pt x="607" y="33"/>
                    <a:pt x="608" y="29"/>
                  </a:cubicBezTo>
                  <a:cubicBezTo>
                    <a:pt x="609" y="25"/>
                    <a:pt x="601" y="29"/>
                    <a:pt x="590" y="33"/>
                  </a:cubicBezTo>
                  <a:cubicBezTo>
                    <a:pt x="580" y="37"/>
                    <a:pt x="579" y="40"/>
                    <a:pt x="569" y="45"/>
                  </a:cubicBezTo>
                  <a:cubicBezTo>
                    <a:pt x="559" y="50"/>
                    <a:pt x="560" y="50"/>
                    <a:pt x="554" y="49"/>
                  </a:cubicBezTo>
                  <a:cubicBezTo>
                    <a:pt x="549" y="48"/>
                    <a:pt x="549" y="55"/>
                    <a:pt x="541" y="52"/>
                  </a:cubicBezTo>
                  <a:cubicBezTo>
                    <a:pt x="533" y="49"/>
                    <a:pt x="538" y="45"/>
                    <a:pt x="542" y="39"/>
                  </a:cubicBezTo>
                  <a:cubicBezTo>
                    <a:pt x="545" y="34"/>
                    <a:pt x="538" y="38"/>
                    <a:pt x="532" y="36"/>
                  </a:cubicBezTo>
                  <a:cubicBezTo>
                    <a:pt x="527" y="34"/>
                    <a:pt x="523" y="37"/>
                    <a:pt x="514" y="35"/>
                  </a:cubicBezTo>
                  <a:cubicBezTo>
                    <a:pt x="505" y="33"/>
                    <a:pt x="502" y="33"/>
                    <a:pt x="496" y="34"/>
                  </a:cubicBezTo>
                  <a:cubicBezTo>
                    <a:pt x="491" y="35"/>
                    <a:pt x="485" y="34"/>
                    <a:pt x="485" y="28"/>
                  </a:cubicBezTo>
                  <a:cubicBezTo>
                    <a:pt x="484" y="22"/>
                    <a:pt x="479" y="13"/>
                    <a:pt x="474" y="7"/>
                  </a:cubicBezTo>
                  <a:cubicBezTo>
                    <a:pt x="469" y="2"/>
                    <a:pt x="465" y="4"/>
                    <a:pt x="463" y="5"/>
                  </a:cubicBezTo>
                  <a:cubicBezTo>
                    <a:pt x="461" y="6"/>
                    <a:pt x="455" y="5"/>
                    <a:pt x="449" y="2"/>
                  </a:cubicBezTo>
                  <a:cubicBezTo>
                    <a:pt x="444" y="0"/>
                    <a:pt x="447" y="1"/>
                    <a:pt x="436" y="1"/>
                  </a:cubicBezTo>
                  <a:cubicBezTo>
                    <a:pt x="426" y="0"/>
                    <a:pt x="428" y="2"/>
                    <a:pt x="422" y="5"/>
                  </a:cubicBezTo>
                  <a:cubicBezTo>
                    <a:pt x="416" y="8"/>
                    <a:pt x="415" y="13"/>
                    <a:pt x="406" y="15"/>
                  </a:cubicBezTo>
                  <a:cubicBezTo>
                    <a:pt x="396" y="17"/>
                    <a:pt x="384" y="19"/>
                    <a:pt x="376" y="20"/>
                  </a:cubicBezTo>
                  <a:cubicBezTo>
                    <a:pt x="368" y="22"/>
                    <a:pt x="366" y="26"/>
                    <a:pt x="357" y="26"/>
                  </a:cubicBezTo>
                  <a:cubicBezTo>
                    <a:pt x="348" y="27"/>
                    <a:pt x="348" y="28"/>
                    <a:pt x="336" y="33"/>
                  </a:cubicBezTo>
                  <a:cubicBezTo>
                    <a:pt x="325" y="37"/>
                    <a:pt x="330" y="34"/>
                    <a:pt x="322" y="36"/>
                  </a:cubicBezTo>
                  <a:cubicBezTo>
                    <a:pt x="314" y="38"/>
                    <a:pt x="312" y="41"/>
                    <a:pt x="303" y="40"/>
                  </a:cubicBezTo>
                  <a:cubicBezTo>
                    <a:pt x="294" y="38"/>
                    <a:pt x="290" y="37"/>
                    <a:pt x="284" y="37"/>
                  </a:cubicBezTo>
                  <a:cubicBezTo>
                    <a:pt x="278" y="38"/>
                    <a:pt x="281" y="46"/>
                    <a:pt x="285" y="48"/>
                  </a:cubicBezTo>
                  <a:cubicBezTo>
                    <a:pt x="289" y="51"/>
                    <a:pt x="287" y="50"/>
                    <a:pt x="287" y="55"/>
                  </a:cubicBezTo>
                  <a:cubicBezTo>
                    <a:pt x="287" y="61"/>
                    <a:pt x="290" y="57"/>
                    <a:pt x="296" y="58"/>
                  </a:cubicBezTo>
                  <a:cubicBezTo>
                    <a:pt x="303" y="59"/>
                    <a:pt x="305" y="60"/>
                    <a:pt x="305" y="63"/>
                  </a:cubicBezTo>
                  <a:cubicBezTo>
                    <a:pt x="306" y="66"/>
                    <a:pt x="302" y="66"/>
                    <a:pt x="294" y="64"/>
                  </a:cubicBezTo>
                  <a:cubicBezTo>
                    <a:pt x="287" y="62"/>
                    <a:pt x="289" y="64"/>
                    <a:pt x="282" y="68"/>
                  </a:cubicBezTo>
                  <a:cubicBezTo>
                    <a:pt x="275" y="72"/>
                    <a:pt x="282" y="71"/>
                    <a:pt x="289" y="79"/>
                  </a:cubicBezTo>
                  <a:cubicBezTo>
                    <a:pt x="295" y="86"/>
                    <a:pt x="290" y="82"/>
                    <a:pt x="288" y="84"/>
                  </a:cubicBezTo>
                  <a:cubicBezTo>
                    <a:pt x="287" y="86"/>
                    <a:pt x="281" y="89"/>
                    <a:pt x="275" y="90"/>
                  </a:cubicBezTo>
                  <a:cubicBezTo>
                    <a:pt x="270" y="92"/>
                    <a:pt x="273" y="93"/>
                    <a:pt x="277" y="95"/>
                  </a:cubicBezTo>
                  <a:cubicBezTo>
                    <a:pt x="282" y="98"/>
                    <a:pt x="281" y="98"/>
                    <a:pt x="292" y="102"/>
                  </a:cubicBezTo>
                  <a:cubicBezTo>
                    <a:pt x="304" y="105"/>
                    <a:pt x="299" y="105"/>
                    <a:pt x="307" y="108"/>
                  </a:cubicBezTo>
                  <a:cubicBezTo>
                    <a:pt x="314" y="110"/>
                    <a:pt x="312" y="110"/>
                    <a:pt x="313" y="114"/>
                  </a:cubicBezTo>
                  <a:cubicBezTo>
                    <a:pt x="313" y="119"/>
                    <a:pt x="310" y="124"/>
                    <a:pt x="303" y="128"/>
                  </a:cubicBezTo>
                  <a:cubicBezTo>
                    <a:pt x="296" y="132"/>
                    <a:pt x="292" y="128"/>
                    <a:pt x="289" y="125"/>
                  </a:cubicBezTo>
                  <a:cubicBezTo>
                    <a:pt x="285" y="123"/>
                    <a:pt x="281" y="126"/>
                    <a:pt x="281" y="128"/>
                  </a:cubicBezTo>
                  <a:cubicBezTo>
                    <a:pt x="280" y="131"/>
                    <a:pt x="272" y="129"/>
                    <a:pt x="266" y="127"/>
                  </a:cubicBezTo>
                  <a:cubicBezTo>
                    <a:pt x="260" y="126"/>
                    <a:pt x="257" y="127"/>
                    <a:pt x="251" y="120"/>
                  </a:cubicBezTo>
                  <a:cubicBezTo>
                    <a:pt x="245" y="113"/>
                    <a:pt x="242" y="116"/>
                    <a:pt x="237" y="116"/>
                  </a:cubicBezTo>
                  <a:cubicBezTo>
                    <a:pt x="231" y="117"/>
                    <a:pt x="232" y="123"/>
                    <a:pt x="227" y="122"/>
                  </a:cubicBezTo>
                  <a:cubicBezTo>
                    <a:pt x="221" y="120"/>
                    <a:pt x="216" y="116"/>
                    <a:pt x="209" y="117"/>
                  </a:cubicBezTo>
                  <a:cubicBezTo>
                    <a:pt x="202" y="117"/>
                    <a:pt x="202" y="120"/>
                    <a:pt x="195" y="127"/>
                  </a:cubicBezTo>
                  <a:cubicBezTo>
                    <a:pt x="188" y="133"/>
                    <a:pt x="185" y="127"/>
                    <a:pt x="178" y="123"/>
                  </a:cubicBezTo>
                  <a:cubicBezTo>
                    <a:pt x="171" y="118"/>
                    <a:pt x="168" y="118"/>
                    <a:pt x="168" y="123"/>
                  </a:cubicBezTo>
                  <a:cubicBezTo>
                    <a:pt x="167" y="128"/>
                    <a:pt x="167" y="129"/>
                    <a:pt x="165" y="131"/>
                  </a:cubicBezTo>
                  <a:cubicBezTo>
                    <a:pt x="162" y="134"/>
                    <a:pt x="160" y="123"/>
                    <a:pt x="149" y="115"/>
                  </a:cubicBezTo>
                  <a:cubicBezTo>
                    <a:pt x="138" y="106"/>
                    <a:pt x="136" y="106"/>
                    <a:pt x="128" y="105"/>
                  </a:cubicBezTo>
                  <a:cubicBezTo>
                    <a:pt x="120" y="104"/>
                    <a:pt x="112" y="105"/>
                    <a:pt x="110" y="100"/>
                  </a:cubicBezTo>
                  <a:cubicBezTo>
                    <a:pt x="108" y="95"/>
                    <a:pt x="102" y="105"/>
                    <a:pt x="93" y="105"/>
                  </a:cubicBezTo>
                  <a:cubicBezTo>
                    <a:pt x="85" y="106"/>
                    <a:pt x="87" y="102"/>
                    <a:pt x="81" y="96"/>
                  </a:cubicBezTo>
                  <a:cubicBezTo>
                    <a:pt x="75" y="91"/>
                    <a:pt x="73" y="110"/>
                    <a:pt x="66" y="114"/>
                  </a:cubicBezTo>
                  <a:cubicBezTo>
                    <a:pt x="58" y="119"/>
                    <a:pt x="53" y="115"/>
                    <a:pt x="51" y="120"/>
                  </a:cubicBezTo>
                  <a:cubicBezTo>
                    <a:pt x="50" y="126"/>
                    <a:pt x="49" y="126"/>
                    <a:pt x="40" y="128"/>
                  </a:cubicBezTo>
                  <a:cubicBezTo>
                    <a:pt x="32" y="130"/>
                    <a:pt x="45" y="139"/>
                    <a:pt x="46" y="146"/>
                  </a:cubicBezTo>
                  <a:cubicBezTo>
                    <a:pt x="46" y="153"/>
                    <a:pt x="34" y="149"/>
                    <a:pt x="30" y="144"/>
                  </a:cubicBezTo>
                  <a:cubicBezTo>
                    <a:pt x="25" y="139"/>
                    <a:pt x="21" y="134"/>
                    <a:pt x="13" y="134"/>
                  </a:cubicBezTo>
                  <a:cubicBezTo>
                    <a:pt x="5" y="134"/>
                    <a:pt x="10" y="147"/>
                    <a:pt x="6" y="152"/>
                  </a:cubicBezTo>
                  <a:cubicBezTo>
                    <a:pt x="2" y="156"/>
                    <a:pt x="2" y="160"/>
                    <a:pt x="7" y="165"/>
                  </a:cubicBezTo>
                  <a:cubicBezTo>
                    <a:pt x="11" y="170"/>
                    <a:pt x="8" y="174"/>
                    <a:pt x="4" y="181"/>
                  </a:cubicBezTo>
                  <a:cubicBezTo>
                    <a:pt x="0" y="189"/>
                    <a:pt x="5" y="188"/>
                    <a:pt x="12" y="191"/>
                  </a:cubicBezTo>
                  <a:cubicBezTo>
                    <a:pt x="19" y="194"/>
                    <a:pt x="18" y="195"/>
                    <a:pt x="18" y="200"/>
                  </a:cubicBezTo>
                  <a:cubicBezTo>
                    <a:pt x="17" y="205"/>
                    <a:pt x="26" y="206"/>
                    <a:pt x="34" y="205"/>
                  </a:cubicBezTo>
                  <a:cubicBezTo>
                    <a:pt x="42" y="204"/>
                    <a:pt x="43" y="207"/>
                    <a:pt x="49" y="210"/>
                  </a:cubicBezTo>
                  <a:cubicBezTo>
                    <a:pt x="54" y="213"/>
                    <a:pt x="63" y="226"/>
                    <a:pt x="66" y="230"/>
                  </a:cubicBezTo>
                  <a:cubicBezTo>
                    <a:pt x="68" y="234"/>
                    <a:pt x="62" y="233"/>
                    <a:pt x="56" y="235"/>
                  </a:cubicBezTo>
                  <a:cubicBezTo>
                    <a:pt x="50" y="237"/>
                    <a:pt x="61" y="239"/>
                    <a:pt x="68" y="243"/>
                  </a:cubicBezTo>
                  <a:cubicBezTo>
                    <a:pt x="70" y="244"/>
                    <a:pt x="72" y="245"/>
                    <a:pt x="72" y="245"/>
                  </a:cubicBezTo>
                  <a:cubicBezTo>
                    <a:pt x="72" y="244"/>
                    <a:pt x="73" y="243"/>
                    <a:pt x="73" y="242"/>
                  </a:cubicBezTo>
                  <a:cubicBezTo>
                    <a:pt x="78" y="234"/>
                    <a:pt x="85" y="239"/>
                    <a:pt x="92" y="235"/>
                  </a:cubicBezTo>
                  <a:cubicBezTo>
                    <a:pt x="99" y="231"/>
                    <a:pt x="103" y="229"/>
                    <a:pt x="110" y="229"/>
                  </a:cubicBezTo>
                  <a:cubicBezTo>
                    <a:pt x="117" y="229"/>
                    <a:pt x="130" y="230"/>
                    <a:pt x="138" y="229"/>
                  </a:cubicBezTo>
                  <a:cubicBezTo>
                    <a:pt x="145" y="229"/>
                    <a:pt x="150" y="228"/>
                    <a:pt x="160" y="232"/>
                  </a:cubicBezTo>
                  <a:cubicBezTo>
                    <a:pt x="169" y="235"/>
                    <a:pt x="160" y="250"/>
                    <a:pt x="160" y="260"/>
                  </a:cubicBezTo>
                  <a:cubicBezTo>
                    <a:pt x="160" y="270"/>
                    <a:pt x="169" y="273"/>
                    <a:pt x="171" y="275"/>
                  </a:cubicBezTo>
                  <a:cubicBezTo>
                    <a:pt x="173" y="278"/>
                    <a:pt x="149" y="273"/>
                    <a:pt x="144" y="273"/>
                  </a:cubicBezTo>
                  <a:cubicBezTo>
                    <a:pt x="138" y="272"/>
                    <a:pt x="132" y="273"/>
                    <a:pt x="127" y="275"/>
                  </a:cubicBezTo>
                  <a:cubicBezTo>
                    <a:pt x="121" y="278"/>
                    <a:pt x="124" y="286"/>
                    <a:pt x="132" y="293"/>
                  </a:cubicBezTo>
                  <a:cubicBezTo>
                    <a:pt x="140" y="300"/>
                    <a:pt x="118" y="293"/>
                    <a:pt x="107" y="294"/>
                  </a:cubicBezTo>
                  <a:cubicBezTo>
                    <a:pt x="95" y="296"/>
                    <a:pt x="115" y="302"/>
                    <a:pt x="122" y="308"/>
                  </a:cubicBezTo>
                  <a:cubicBezTo>
                    <a:pt x="128" y="314"/>
                    <a:pt x="127" y="320"/>
                    <a:pt x="134" y="328"/>
                  </a:cubicBezTo>
                  <a:cubicBezTo>
                    <a:pt x="141" y="336"/>
                    <a:pt x="144" y="334"/>
                    <a:pt x="151" y="339"/>
                  </a:cubicBezTo>
                  <a:cubicBezTo>
                    <a:pt x="157" y="344"/>
                    <a:pt x="157" y="339"/>
                    <a:pt x="167" y="342"/>
                  </a:cubicBezTo>
                  <a:cubicBezTo>
                    <a:pt x="178" y="346"/>
                    <a:pt x="173" y="350"/>
                    <a:pt x="171" y="355"/>
                  </a:cubicBezTo>
                  <a:cubicBezTo>
                    <a:pt x="171" y="357"/>
                    <a:pt x="171" y="362"/>
                    <a:pt x="173" y="368"/>
                  </a:cubicBezTo>
                  <a:cubicBezTo>
                    <a:pt x="176" y="366"/>
                    <a:pt x="179" y="364"/>
                    <a:pt x="184" y="361"/>
                  </a:cubicBezTo>
                  <a:cubicBezTo>
                    <a:pt x="189" y="358"/>
                    <a:pt x="188" y="358"/>
                    <a:pt x="195" y="358"/>
                  </a:cubicBezTo>
                  <a:cubicBezTo>
                    <a:pt x="202" y="358"/>
                    <a:pt x="198" y="355"/>
                    <a:pt x="206" y="357"/>
                  </a:cubicBezTo>
                  <a:cubicBezTo>
                    <a:pt x="214" y="360"/>
                    <a:pt x="221" y="360"/>
                    <a:pt x="224" y="364"/>
                  </a:cubicBezTo>
                  <a:cubicBezTo>
                    <a:pt x="227" y="368"/>
                    <a:pt x="228" y="366"/>
                    <a:pt x="235" y="375"/>
                  </a:cubicBezTo>
                  <a:cubicBezTo>
                    <a:pt x="241" y="384"/>
                    <a:pt x="243" y="385"/>
                    <a:pt x="246" y="385"/>
                  </a:cubicBezTo>
                  <a:cubicBezTo>
                    <a:pt x="248" y="385"/>
                    <a:pt x="253" y="384"/>
                    <a:pt x="255" y="384"/>
                  </a:cubicBezTo>
                  <a:cubicBezTo>
                    <a:pt x="254" y="377"/>
                    <a:pt x="236" y="297"/>
                    <a:pt x="232" y="287"/>
                  </a:cubicBezTo>
                  <a:cubicBezTo>
                    <a:pt x="228" y="276"/>
                    <a:pt x="268" y="269"/>
                    <a:pt x="278" y="267"/>
                  </a:cubicBezTo>
                  <a:cubicBezTo>
                    <a:pt x="280" y="267"/>
                    <a:pt x="282" y="267"/>
                    <a:pt x="285" y="268"/>
                  </a:cubicBezTo>
                  <a:cubicBezTo>
                    <a:pt x="287" y="264"/>
                    <a:pt x="289" y="260"/>
                    <a:pt x="291" y="257"/>
                  </a:cubicBezTo>
                  <a:cubicBezTo>
                    <a:pt x="294" y="252"/>
                    <a:pt x="299" y="258"/>
                    <a:pt x="307" y="258"/>
                  </a:cubicBezTo>
                  <a:cubicBezTo>
                    <a:pt x="315" y="258"/>
                    <a:pt x="307" y="255"/>
                    <a:pt x="304" y="246"/>
                  </a:cubicBezTo>
                  <a:cubicBezTo>
                    <a:pt x="300" y="237"/>
                    <a:pt x="311" y="249"/>
                    <a:pt x="313" y="252"/>
                  </a:cubicBezTo>
                  <a:cubicBezTo>
                    <a:pt x="316" y="254"/>
                    <a:pt x="319" y="252"/>
                    <a:pt x="322" y="254"/>
                  </a:cubicBezTo>
                  <a:cubicBezTo>
                    <a:pt x="324" y="257"/>
                    <a:pt x="322" y="260"/>
                    <a:pt x="317" y="264"/>
                  </a:cubicBezTo>
                  <a:cubicBezTo>
                    <a:pt x="312" y="267"/>
                    <a:pt x="328" y="263"/>
                    <a:pt x="330" y="267"/>
                  </a:cubicBezTo>
                  <a:cubicBezTo>
                    <a:pt x="332" y="272"/>
                    <a:pt x="333" y="278"/>
                    <a:pt x="340" y="285"/>
                  </a:cubicBezTo>
                  <a:cubicBezTo>
                    <a:pt x="344" y="289"/>
                    <a:pt x="344" y="291"/>
                    <a:pt x="342" y="293"/>
                  </a:cubicBezTo>
                  <a:cubicBezTo>
                    <a:pt x="344" y="293"/>
                    <a:pt x="344" y="294"/>
                    <a:pt x="344" y="294"/>
                  </a:cubicBezTo>
                  <a:cubicBezTo>
                    <a:pt x="344" y="294"/>
                    <a:pt x="349" y="296"/>
                    <a:pt x="357" y="304"/>
                  </a:cubicBezTo>
                  <a:cubicBezTo>
                    <a:pt x="365" y="312"/>
                    <a:pt x="369" y="315"/>
                    <a:pt x="377" y="322"/>
                  </a:cubicBezTo>
                  <a:cubicBezTo>
                    <a:pt x="385" y="328"/>
                    <a:pt x="390" y="323"/>
                    <a:pt x="394" y="321"/>
                  </a:cubicBezTo>
                  <a:cubicBezTo>
                    <a:pt x="398" y="318"/>
                    <a:pt x="408" y="322"/>
                    <a:pt x="422" y="322"/>
                  </a:cubicBezTo>
                  <a:cubicBezTo>
                    <a:pt x="435" y="322"/>
                    <a:pt x="432" y="323"/>
                    <a:pt x="437" y="319"/>
                  </a:cubicBezTo>
                  <a:cubicBezTo>
                    <a:pt x="442" y="316"/>
                    <a:pt x="442" y="317"/>
                    <a:pt x="453" y="326"/>
                  </a:cubicBezTo>
                  <a:cubicBezTo>
                    <a:pt x="463" y="335"/>
                    <a:pt x="462" y="336"/>
                    <a:pt x="469" y="336"/>
                  </a:cubicBezTo>
                  <a:cubicBezTo>
                    <a:pt x="476" y="336"/>
                    <a:pt x="473" y="342"/>
                    <a:pt x="476" y="352"/>
                  </a:cubicBezTo>
                  <a:cubicBezTo>
                    <a:pt x="480" y="362"/>
                    <a:pt x="478" y="362"/>
                    <a:pt x="484" y="364"/>
                  </a:cubicBezTo>
                  <a:cubicBezTo>
                    <a:pt x="490" y="366"/>
                    <a:pt x="491" y="371"/>
                    <a:pt x="495" y="382"/>
                  </a:cubicBezTo>
                  <a:cubicBezTo>
                    <a:pt x="499" y="393"/>
                    <a:pt x="503" y="388"/>
                    <a:pt x="510" y="389"/>
                  </a:cubicBezTo>
                  <a:cubicBezTo>
                    <a:pt x="517" y="391"/>
                    <a:pt x="522" y="387"/>
                    <a:pt x="527" y="387"/>
                  </a:cubicBezTo>
                  <a:cubicBezTo>
                    <a:pt x="531" y="387"/>
                    <a:pt x="533" y="389"/>
                    <a:pt x="534" y="396"/>
                  </a:cubicBezTo>
                  <a:cubicBezTo>
                    <a:pt x="534" y="403"/>
                    <a:pt x="540" y="403"/>
                    <a:pt x="547" y="403"/>
                  </a:cubicBezTo>
                  <a:cubicBezTo>
                    <a:pt x="554" y="404"/>
                    <a:pt x="547" y="402"/>
                    <a:pt x="546" y="398"/>
                  </a:cubicBezTo>
                  <a:cubicBezTo>
                    <a:pt x="545" y="393"/>
                    <a:pt x="552" y="391"/>
                    <a:pt x="553" y="383"/>
                  </a:cubicBezTo>
                  <a:cubicBezTo>
                    <a:pt x="553" y="375"/>
                    <a:pt x="564" y="375"/>
                    <a:pt x="569" y="370"/>
                  </a:cubicBezTo>
                  <a:cubicBezTo>
                    <a:pt x="574" y="366"/>
                    <a:pt x="583" y="361"/>
                    <a:pt x="591" y="359"/>
                  </a:cubicBezTo>
                  <a:cubicBezTo>
                    <a:pt x="591" y="358"/>
                    <a:pt x="592" y="355"/>
                    <a:pt x="592" y="348"/>
                  </a:cubicBezTo>
                  <a:cubicBezTo>
                    <a:pt x="592" y="337"/>
                    <a:pt x="621" y="345"/>
                    <a:pt x="627" y="345"/>
                  </a:cubicBezTo>
                  <a:cubicBezTo>
                    <a:pt x="634" y="345"/>
                    <a:pt x="636" y="351"/>
                    <a:pt x="644" y="350"/>
                  </a:cubicBezTo>
                  <a:cubicBezTo>
                    <a:pt x="652" y="349"/>
                    <a:pt x="644" y="345"/>
                    <a:pt x="643" y="337"/>
                  </a:cubicBezTo>
                  <a:cubicBezTo>
                    <a:pt x="642" y="328"/>
                    <a:pt x="649" y="332"/>
                    <a:pt x="654" y="329"/>
                  </a:cubicBezTo>
                  <a:cubicBezTo>
                    <a:pt x="658" y="327"/>
                    <a:pt x="668" y="333"/>
                    <a:pt x="678" y="340"/>
                  </a:cubicBezTo>
                  <a:cubicBezTo>
                    <a:pt x="689" y="347"/>
                    <a:pt x="688" y="345"/>
                    <a:pt x="696" y="341"/>
                  </a:cubicBezTo>
                  <a:cubicBezTo>
                    <a:pt x="704" y="338"/>
                    <a:pt x="717" y="342"/>
                    <a:pt x="743" y="341"/>
                  </a:cubicBezTo>
                  <a:cubicBezTo>
                    <a:pt x="768" y="341"/>
                    <a:pt x="762" y="342"/>
                    <a:pt x="772" y="346"/>
                  </a:cubicBezTo>
                  <a:cubicBezTo>
                    <a:pt x="781" y="350"/>
                    <a:pt x="777" y="350"/>
                    <a:pt x="793" y="354"/>
                  </a:cubicBezTo>
                  <a:cubicBezTo>
                    <a:pt x="797" y="356"/>
                    <a:pt x="799" y="356"/>
                    <a:pt x="801" y="357"/>
                  </a:cubicBezTo>
                  <a:cubicBezTo>
                    <a:pt x="800" y="356"/>
                    <a:pt x="800" y="355"/>
                    <a:pt x="799" y="354"/>
                  </a:cubicBezTo>
                  <a:cubicBezTo>
                    <a:pt x="792" y="348"/>
                    <a:pt x="799" y="342"/>
                    <a:pt x="799" y="342"/>
                  </a:cubicBezTo>
                  <a:cubicBezTo>
                    <a:pt x="799" y="342"/>
                    <a:pt x="798" y="337"/>
                    <a:pt x="801" y="336"/>
                  </a:cubicBezTo>
                  <a:cubicBezTo>
                    <a:pt x="805" y="334"/>
                    <a:pt x="804" y="330"/>
                    <a:pt x="801" y="325"/>
                  </a:cubicBezTo>
                  <a:cubicBezTo>
                    <a:pt x="798" y="319"/>
                    <a:pt x="806" y="323"/>
                    <a:pt x="794" y="311"/>
                  </a:cubicBezTo>
                  <a:cubicBezTo>
                    <a:pt x="782" y="299"/>
                    <a:pt x="785" y="299"/>
                    <a:pt x="784" y="292"/>
                  </a:cubicBezTo>
                  <a:cubicBezTo>
                    <a:pt x="784" y="285"/>
                    <a:pt x="775" y="289"/>
                    <a:pt x="771" y="283"/>
                  </a:cubicBezTo>
                  <a:cubicBezTo>
                    <a:pt x="767" y="277"/>
                    <a:pt x="788" y="279"/>
                    <a:pt x="792" y="277"/>
                  </a:cubicBezTo>
                  <a:cubicBezTo>
                    <a:pt x="797" y="275"/>
                    <a:pt x="802" y="273"/>
                    <a:pt x="804" y="273"/>
                  </a:cubicBezTo>
                  <a:cubicBezTo>
                    <a:pt x="807" y="274"/>
                    <a:pt x="817" y="279"/>
                    <a:pt x="827" y="279"/>
                  </a:cubicBezTo>
                  <a:cubicBezTo>
                    <a:pt x="836" y="279"/>
                    <a:pt x="819" y="268"/>
                    <a:pt x="819" y="268"/>
                  </a:cubicBezTo>
                  <a:cubicBezTo>
                    <a:pt x="819" y="268"/>
                    <a:pt x="816" y="237"/>
                    <a:pt x="816" y="230"/>
                  </a:cubicBezTo>
                  <a:cubicBezTo>
                    <a:pt x="816" y="223"/>
                    <a:pt x="824" y="223"/>
                    <a:pt x="832" y="225"/>
                  </a:cubicBezTo>
                  <a:cubicBezTo>
                    <a:pt x="840" y="228"/>
                    <a:pt x="840" y="227"/>
                    <a:pt x="850" y="228"/>
                  </a:cubicBezTo>
                  <a:cubicBezTo>
                    <a:pt x="860" y="229"/>
                    <a:pt x="864" y="230"/>
                    <a:pt x="872" y="224"/>
                  </a:cubicBezTo>
                  <a:cubicBezTo>
                    <a:pt x="881" y="218"/>
                    <a:pt x="867" y="211"/>
                    <a:pt x="863" y="200"/>
                  </a:cubicBezTo>
                  <a:cubicBezTo>
                    <a:pt x="859" y="188"/>
                    <a:pt x="872" y="189"/>
                    <a:pt x="880" y="188"/>
                  </a:cubicBezTo>
                  <a:cubicBezTo>
                    <a:pt x="887" y="187"/>
                    <a:pt x="882" y="182"/>
                    <a:pt x="880" y="177"/>
                  </a:cubicBezTo>
                  <a:cubicBezTo>
                    <a:pt x="878" y="173"/>
                    <a:pt x="884" y="171"/>
                    <a:pt x="889" y="169"/>
                  </a:cubicBezTo>
                  <a:cubicBezTo>
                    <a:pt x="890" y="168"/>
                    <a:pt x="890" y="168"/>
                    <a:pt x="891" y="168"/>
                  </a:cubicBezTo>
                  <a:cubicBezTo>
                    <a:pt x="897" y="166"/>
                    <a:pt x="877" y="161"/>
                    <a:pt x="874" y="156"/>
                  </a:cubicBezTo>
                  <a:close/>
                  <a:moveTo>
                    <a:pt x="739" y="240"/>
                  </a:moveTo>
                  <a:cubicBezTo>
                    <a:pt x="738" y="242"/>
                    <a:pt x="732" y="245"/>
                    <a:pt x="728" y="246"/>
                  </a:cubicBezTo>
                  <a:cubicBezTo>
                    <a:pt x="724" y="247"/>
                    <a:pt x="720" y="247"/>
                    <a:pt x="715" y="246"/>
                  </a:cubicBezTo>
                  <a:cubicBezTo>
                    <a:pt x="709" y="246"/>
                    <a:pt x="710" y="245"/>
                    <a:pt x="695" y="243"/>
                  </a:cubicBezTo>
                  <a:cubicBezTo>
                    <a:pt x="679" y="241"/>
                    <a:pt x="687" y="243"/>
                    <a:pt x="677" y="243"/>
                  </a:cubicBezTo>
                  <a:cubicBezTo>
                    <a:pt x="667" y="243"/>
                    <a:pt x="671" y="240"/>
                    <a:pt x="669" y="240"/>
                  </a:cubicBezTo>
                  <a:cubicBezTo>
                    <a:pt x="667" y="240"/>
                    <a:pt x="648" y="242"/>
                    <a:pt x="648" y="244"/>
                  </a:cubicBezTo>
                  <a:cubicBezTo>
                    <a:pt x="647" y="246"/>
                    <a:pt x="646" y="251"/>
                    <a:pt x="639" y="252"/>
                  </a:cubicBezTo>
                  <a:cubicBezTo>
                    <a:pt x="632" y="253"/>
                    <a:pt x="634" y="260"/>
                    <a:pt x="634" y="266"/>
                  </a:cubicBezTo>
                  <a:cubicBezTo>
                    <a:pt x="634" y="273"/>
                    <a:pt x="638" y="275"/>
                    <a:pt x="639" y="280"/>
                  </a:cubicBezTo>
                  <a:cubicBezTo>
                    <a:pt x="640" y="286"/>
                    <a:pt x="636" y="281"/>
                    <a:pt x="630" y="276"/>
                  </a:cubicBezTo>
                  <a:cubicBezTo>
                    <a:pt x="624" y="272"/>
                    <a:pt x="621" y="269"/>
                    <a:pt x="619" y="264"/>
                  </a:cubicBezTo>
                  <a:cubicBezTo>
                    <a:pt x="617" y="259"/>
                    <a:pt x="618" y="257"/>
                    <a:pt x="619" y="250"/>
                  </a:cubicBezTo>
                  <a:cubicBezTo>
                    <a:pt x="620" y="242"/>
                    <a:pt x="623" y="243"/>
                    <a:pt x="631" y="237"/>
                  </a:cubicBezTo>
                  <a:cubicBezTo>
                    <a:pt x="638" y="231"/>
                    <a:pt x="641" y="231"/>
                    <a:pt x="655" y="231"/>
                  </a:cubicBezTo>
                  <a:cubicBezTo>
                    <a:pt x="658" y="231"/>
                    <a:pt x="663" y="232"/>
                    <a:pt x="666" y="232"/>
                  </a:cubicBezTo>
                  <a:cubicBezTo>
                    <a:pt x="668" y="233"/>
                    <a:pt x="675" y="234"/>
                    <a:pt x="687" y="235"/>
                  </a:cubicBezTo>
                  <a:cubicBezTo>
                    <a:pt x="698" y="235"/>
                    <a:pt x="692" y="234"/>
                    <a:pt x="705" y="236"/>
                  </a:cubicBezTo>
                  <a:cubicBezTo>
                    <a:pt x="717" y="237"/>
                    <a:pt x="713" y="240"/>
                    <a:pt x="721" y="240"/>
                  </a:cubicBezTo>
                  <a:cubicBezTo>
                    <a:pt x="728" y="240"/>
                    <a:pt x="723" y="235"/>
                    <a:pt x="731" y="231"/>
                  </a:cubicBezTo>
                  <a:cubicBezTo>
                    <a:pt x="740" y="227"/>
                    <a:pt x="740" y="237"/>
                    <a:pt x="739" y="240"/>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10" name="Freeform 1089">
              <a:extLst>
                <a:ext uri="{FF2B5EF4-FFF2-40B4-BE49-F238E27FC236}">
                  <a16:creationId xmlns:a16="http://schemas.microsoft.com/office/drawing/2014/main" id="{AA712BC6-F648-F547-9E20-6CA80B285E26}"/>
                </a:ext>
              </a:extLst>
            </p:cNvPr>
            <p:cNvSpPr>
              <a:spLocks/>
            </p:cNvSpPr>
            <p:nvPr/>
          </p:nvSpPr>
          <p:spPr bwMode="auto">
            <a:xfrm>
              <a:off x="5432442" y="1675269"/>
              <a:ext cx="355601" cy="357188"/>
            </a:xfrm>
            <a:custGeom>
              <a:avLst/>
              <a:gdLst>
                <a:gd name="T0" fmla="*/ 367 w 374"/>
                <a:gd name="T1" fmla="*/ 49 h 375"/>
                <a:gd name="T2" fmla="*/ 336 w 374"/>
                <a:gd name="T3" fmla="*/ 72 h 375"/>
                <a:gd name="T4" fmla="*/ 289 w 374"/>
                <a:gd name="T5" fmla="*/ 70 h 375"/>
                <a:gd name="T6" fmla="*/ 294 w 374"/>
                <a:gd name="T7" fmla="*/ 94 h 375"/>
                <a:gd name="T8" fmla="*/ 314 w 374"/>
                <a:gd name="T9" fmla="*/ 126 h 375"/>
                <a:gd name="T10" fmla="*/ 323 w 374"/>
                <a:gd name="T11" fmla="*/ 146 h 375"/>
                <a:gd name="T12" fmla="*/ 309 w 374"/>
                <a:gd name="T13" fmla="*/ 184 h 375"/>
                <a:gd name="T14" fmla="*/ 298 w 374"/>
                <a:gd name="T15" fmla="*/ 205 h 375"/>
                <a:gd name="T16" fmla="*/ 275 w 374"/>
                <a:gd name="T17" fmla="*/ 245 h 375"/>
                <a:gd name="T18" fmla="*/ 238 w 374"/>
                <a:gd name="T19" fmla="*/ 254 h 375"/>
                <a:gd name="T20" fmla="*/ 229 w 374"/>
                <a:gd name="T21" fmla="*/ 295 h 375"/>
                <a:gd name="T22" fmla="*/ 250 w 374"/>
                <a:gd name="T23" fmla="*/ 323 h 375"/>
                <a:gd name="T24" fmla="*/ 262 w 374"/>
                <a:gd name="T25" fmla="*/ 360 h 375"/>
                <a:gd name="T26" fmla="*/ 240 w 374"/>
                <a:gd name="T27" fmla="*/ 364 h 375"/>
                <a:gd name="T28" fmla="*/ 211 w 374"/>
                <a:gd name="T29" fmla="*/ 358 h 375"/>
                <a:gd name="T30" fmla="*/ 201 w 374"/>
                <a:gd name="T31" fmla="*/ 369 h 375"/>
                <a:gd name="T32" fmla="*/ 190 w 374"/>
                <a:gd name="T33" fmla="*/ 375 h 375"/>
                <a:gd name="T34" fmla="*/ 171 w 374"/>
                <a:gd name="T35" fmla="*/ 363 h 375"/>
                <a:gd name="T36" fmla="*/ 158 w 374"/>
                <a:gd name="T37" fmla="*/ 345 h 375"/>
                <a:gd name="T38" fmla="*/ 148 w 374"/>
                <a:gd name="T39" fmla="*/ 328 h 375"/>
                <a:gd name="T40" fmla="*/ 124 w 374"/>
                <a:gd name="T41" fmla="*/ 330 h 375"/>
                <a:gd name="T42" fmla="*/ 107 w 374"/>
                <a:gd name="T43" fmla="*/ 334 h 375"/>
                <a:gd name="T44" fmla="*/ 94 w 374"/>
                <a:gd name="T45" fmla="*/ 331 h 375"/>
                <a:gd name="T46" fmla="*/ 75 w 374"/>
                <a:gd name="T47" fmla="*/ 334 h 375"/>
                <a:gd name="T48" fmla="*/ 50 w 374"/>
                <a:gd name="T49" fmla="*/ 335 h 375"/>
                <a:gd name="T50" fmla="*/ 35 w 374"/>
                <a:gd name="T51" fmla="*/ 339 h 375"/>
                <a:gd name="T52" fmla="*/ 33 w 374"/>
                <a:gd name="T53" fmla="*/ 329 h 375"/>
                <a:gd name="T54" fmla="*/ 44 w 374"/>
                <a:gd name="T55" fmla="*/ 304 h 375"/>
                <a:gd name="T56" fmla="*/ 64 w 374"/>
                <a:gd name="T57" fmla="*/ 293 h 375"/>
                <a:gd name="T58" fmla="*/ 57 w 374"/>
                <a:gd name="T59" fmla="*/ 278 h 375"/>
                <a:gd name="T60" fmla="*/ 35 w 374"/>
                <a:gd name="T61" fmla="*/ 243 h 375"/>
                <a:gd name="T62" fmla="*/ 3 w 374"/>
                <a:gd name="T63" fmla="*/ 212 h 375"/>
                <a:gd name="T64" fmla="*/ 19 w 374"/>
                <a:gd name="T65" fmla="*/ 211 h 375"/>
                <a:gd name="T66" fmla="*/ 79 w 374"/>
                <a:gd name="T67" fmla="*/ 216 h 375"/>
                <a:gd name="T68" fmla="*/ 115 w 374"/>
                <a:gd name="T69" fmla="*/ 208 h 375"/>
                <a:gd name="T70" fmla="*/ 127 w 374"/>
                <a:gd name="T71" fmla="*/ 188 h 375"/>
                <a:gd name="T72" fmla="*/ 142 w 374"/>
                <a:gd name="T73" fmla="*/ 164 h 375"/>
                <a:gd name="T74" fmla="*/ 156 w 374"/>
                <a:gd name="T75" fmla="*/ 161 h 375"/>
                <a:gd name="T76" fmla="*/ 171 w 374"/>
                <a:gd name="T77" fmla="*/ 151 h 375"/>
                <a:gd name="T78" fmla="*/ 189 w 374"/>
                <a:gd name="T79" fmla="*/ 151 h 375"/>
                <a:gd name="T80" fmla="*/ 191 w 374"/>
                <a:gd name="T81" fmla="*/ 127 h 375"/>
                <a:gd name="T82" fmla="*/ 204 w 374"/>
                <a:gd name="T83" fmla="*/ 103 h 375"/>
                <a:gd name="T84" fmla="*/ 223 w 374"/>
                <a:gd name="T85" fmla="*/ 85 h 375"/>
                <a:gd name="T86" fmla="*/ 225 w 374"/>
                <a:gd name="T87" fmla="*/ 42 h 375"/>
                <a:gd name="T88" fmla="*/ 231 w 374"/>
                <a:gd name="T89" fmla="*/ 15 h 375"/>
                <a:gd name="T90" fmla="*/ 264 w 374"/>
                <a:gd name="T91" fmla="*/ 9 h 375"/>
                <a:gd name="T92" fmla="*/ 283 w 374"/>
                <a:gd name="T93" fmla="*/ 4 h 375"/>
                <a:gd name="T94" fmla="*/ 315 w 374"/>
                <a:gd name="T95" fmla="*/ 14 h 375"/>
                <a:gd name="T96" fmla="*/ 326 w 374"/>
                <a:gd name="T97" fmla="*/ 32 h 375"/>
                <a:gd name="T98" fmla="*/ 341 w 374"/>
                <a:gd name="T99" fmla="*/ 37 h 375"/>
                <a:gd name="T100" fmla="*/ 374 w 374"/>
                <a:gd name="T101" fmla="*/ 4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4" h="375">
                  <a:moveTo>
                    <a:pt x="374" y="47"/>
                  </a:moveTo>
                  <a:cubicBezTo>
                    <a:pt x="372" y="48"/>
                    <a:pt x="370" y="49"/>
                    <a:pt x="367" y="49"/>
                  </a:cubicBezTo>
                  <a:cubicBezTo>
                    <a:pt x="361" y="50"/>
                    <a:pt x="359" y="57"/>
                    <a:pt x="353" y="63"/>
                  </a:cubicBezTo>
                  <a:cubicBezTo>
                    <a:pt x="348" y="69"/>
                    <a:pt x="342" y="71"/>
                    <a:pt x="336" y="72"/>
                  </a:cubicBezTo>
                  <a:cubicBezTo>
                    <a:pt x="331" y="73"/>
                    <a:pt x="322" y="75"/>
                    <a:pt x="315" y="73"/>
                  </a:cubicBezTo>
                  <a:cubicBezTo>
                    <a:pt x="309" y="71"/>
                    <a:pt x="295" y="69"/>
                    <a:pt x="289" y="70"/>
                  </a:cubicBezTo>
                  <a:cubicBezTo>
                    <a:pt x="283" y="72"/>
                    <a:pt x="285" y="87"/>
                    <a:pt x="291" y="88"/>
                  </a:cubicBezTo>
                  <a:cubicBezTo>
                    <a:pt x="298" y="88"/>
                    <a:pt x="300" y="91"/>
                    <a:pt x="294" y="94"/>
                  </a:cubicBezTo>
                  <a:cubicBezTo>
                    <a:pt x="289" y="97"/>
                    <a:pt x="293" y="106"/>
                    <a:pt x="299" y="111"/>
                  </a:cubicBezTo>
                  <a:cubicBezTo>
                    <a:pt x="305" y="117"/>
                    <a:pt x="311" y="120"/>
                    <a:pt x="314" y="126"/>
                  </a:cubicBezTo>
                  <a:cubicBezTo>
                    <a:pt x="318" y="131"/>
                    <a:pt x="324" y="129"/>
                    <a:pt x="332" y="132"/>
                  </a:cubicBezTo>
                  <a:cubicBezTo>
                    <a:pt x="340" y="135"/>
                    <a:pt x="328" y="143"/>
                    <a:pt x="323" y="146"/>
                  </a:cubicBezTo>
                  <a:cubicBezTo>
                    <a:pt x="317" y="149"/>
                    <a:pt x="319" y="158"/>
                    <a:pt x="321" y="166"/>
                  </a:cubicBezTo>
                  <a:cubicBezTo>
                    <a:pt x="322" y="174"/>
                    <a:pt x="319" y="179"/>
                    <a:pt x="309" y="184"/>
                  </a:cubicBezTo>
                  <a:cubicBezTo>
                    <a:pt x="299" y="189"/>
                    <a:pt x="311" y="192"/>
                    <a:pt x="309" y="196"/>
                  </a:cubicBezTo>
                  <a:cubicBezTo>
                    <a:pt x="307" y="201"/>
                    <a:pt x="301" y="200"/>
                    <a:pt x="298" y="205"/>
                  </a:cubicBezTo>
                  <a:cubicBezTo>
                    <a:pt x="294" y="211"/>
                    <a:pt x="297" y="213"/>
                    <a:pt x="292" y="225"/>
                  </a:cubicBezTo>
                  <a:cubicBezTo>
                    <a:pt x="287" y="238"/>
                    <a:pt x="277" y="236"/>
                    <a:pt x="275" y="245"/>
                  </a:cubicBezTo>
                  <a:cubicBezTo>
                    <a:pt x="273" y="253"/>
                    <a:pt x="268" y="259"/>
                    <a:pt x="258" y="262"/>
                  </a:cubicBezTo>
                  <a:cubicBezTo>
                    <a:pt x="248" y="266"/>
                    <a:pt x="242" y="259"/>
                    <a:pt x="238" y="254"/>
                  </a:cubicBezTo>
                  <a:cubicBezTo>
                    <a:pt x="235" y="248"/>
                    <a:pt x="227" y="267"/>
                    <a:pt x="219" y="279"/>
                  </a:cubicBezTo>
                  <a:cubicBezTo>
                    <a:pt x="210" y="291"/>
                    <a:pt x="221" y="292"/>
                    <a:pt x="229" y="295"/>
                  </a:cubicBezTo>
                  <a:cubicBezTo>
                    <a:pt x="237" y="299"/>
                    <a:pt x="239" y="308"/>
                    <a:pt x="238" y="315"/>
                  </a:cubicBezTo>
                  <a:cubicBezTo>
                    <a:pt x="238" y="323"/>
                    <a:pt x="244" y="322"/>
                    <a:pt x="250" y="323"/>
                  </a:cubicBezTo>
                  <a:cubicBezTo>
                    <a:pt x="256" y="324"/>
                    <a:pt x="258" y="337"/>
                    <a:pt x="262" y="343"/>
                  </a:cubicBezTo>
                  <a:cubicBezTo>
                    <a:pt x="266" y="350"/>
                    <a:pt x="264" y="355"/>
                    <a:pt x="262" y="360"/>
                  </a:cubicBezTo>
                  <a:cubicBezTo>
                    <a:pt x="260" y="366"/>
                    <a:pt x="253" y="360"/>
                    <a:pt x="252" y="358"/>
                  </a:cubicBezTo>
                  <a:cubicBezTo>
                    <a:pt x="251" y="356"/>
                    <a:pt x="244" y="360"/>
                    <a:pt x="240" y="364"/>
                  </a:cubicBezTo>
                  <a:cubicBezTo>
                    <a:pt x="235" y="369"/>
                    <a:pt x="231" y="365"/>
                    <a:pt x="228" y="362"/>
                  </a:cubicBezTo>
                  <a:cubicBezTo>
                    <a:pt x="225" y="360"/>
                    <a:pt x="217" y="360"/>
                    <a:pt x="211" y="358"/>
                  </a:cubicBezTo>
                  <a:cubicBezTo>
                    <a:pt x="204" y="356"/>
                    <a:pt x="208" y="359"/>
                    <a:pt x="208" y="365"/>
                  </a:cubicBezTo>
                  <a:cubicBezTo>
                    <a:pt x="207" y="372"/>
                    <a:pt x="204" y="369"/>
                    <a:pt x="201" y="369"/>
                  </a:cubicBezTo>
                  <a:cubicBezTo>
                    <a:pt x="198" y="369"/>
                    <a:pt x="197" y="371"/>
                    <a:pt x="194" y="373"/>
                  </a:cubicBezTo>
                  <a:cubicBezTo>
                    <a:pt x="193" y="374"/>
                    <a:pt x="192" y="375"/>
                    <a:pt x="190" y="375"/>
                  </a:cubicBezTo>
                  <a:cubicBezTo>
                    <a:pt x="187" y="371"/>
                    <a:pt x="185" y="374"/>
                    <a:pt x="182" y="371"/>
                  </a:cubicBezTo>
                  <a:cubicBezTo>
                    <a:pt x="179" y="368"/>
                    <a:pt x="172" y="368"/>
                    <a:pt x="171" y="363"/>
                  </a:cubicBezTo>
                  <a:cubicBezTo>
                    <a:pt x="171" y="358"/>
                    <a:pt x="174" y="356"/>
                    <a:pt x="169" y="351"/>
                  </a:cubicBezTo>
                  <a:cubicBezTo>
                    <a:pt x="164" y="346"/>
                    <a:pt x="162" y="348"/>
                    <a:pt x="158" y="345"/>
                  </a:cubicBezTo>
                  <a:cubicBezTo>
                    <a:pt x="155" y="343"/>
                    <a:pt x="155" y="343"/>
                    <a:pt x="154" y="339"/>
                  </a:cubicBezTo>
                  <a:cubicBezTo>
                    <a:pt x="154" y="335"/>
                    <a:pt x="156" y="328"/>
                    <a:pt x="148" y="328"/>
                  </a:cubicBezTo>
                  <a:cubicBezTo>
                    <a:pt x="140" y="328"/>
                    <a:pt x="139" y="328"/>
                    <a:pt x="138" y="330"/>
                  </a:cubicBezTo>
                  <a:cubicBezTo>
                    <a:pt x="136" y="331"/>
                    <a:pt x="127" y="330"/>
                    <a:pt x="124" y="330"/>
                  </a:cubicBezTo>
                  <a:cubicBezTo>
                    <a:pt x="120" y="330"/>
                    <a:pt x="121" y="329"/>
                    <a:pt x="116" y="330"/>
                  </a:cubicBezTo>
                  <a:cubicBezTo>
                    <a:pt x="112" y="332"/>
                    <a:pt x="108" y="332"/>
                    <a:pt x="107" y="334"/>
                  </a:cubicBezTo>
                  <a:cubicBezTo>
                    <a:pt x="105" y="337"/>
                    <a:pt x="109" y="338"/>
                    <a:pt x="101" y="334"/>
                  </a:cubicBezTo>
                  <a:cubicBezTo>
                    <a:pt x="94" y="331"/>
                    <a:pt x="100" y="332"/>
                    <a:pt x="94" y="331"/>
                  </a:cubicBezTo>
                  <a:cubicBezTo>
                    <a:pt x="88" y="330"/>
                    <a:pt x="84" y="328"/>
                    <a:pt x="80" y="329"/>
                  </a:cubicBezTo>
                  <a:cubicBezTo>
                    <a:pt x="76" y="331"/>
                    <a:pt x="77" y="334"/>
                    <a:pt x="75" y="334"/>
                  </a:cubicBezTo>
                  <a:cubicBezTo>
                    <a:pt x="73" y="335"/>
                    <a:pt x="71" y="335"/>
                    <a:pt x="63" y="335"/>
                  </a:cubicBezTo>
                  <a:cubicBezTo>
                    <a:pt x="56" y="335"/>
                    <a:pt x="53" y="333"/>
                    <a:pt x="50" y="335"/>
                  </a:cubicBezTo>
                  <a:cubicBezTo>
                    <a:pt x="48" y="337"/>
                    <a:pt x="46" y="335"/>
                    <a:pt x="43" y="337"/>
                  </a:cubicBezTo>
                  <a:cubicBezTo>
                    <a:pt x="40" y="339"/>
                    <a:pt x="36" y="340"/>
                    <a:pt x="35" y="339"/>
                  </a:cubicBezTo>
                  <a:cubicBezTo>
                    <a:pt x="34" y="338"/>
                    <a:pt x="33" y="337"/>
                    <a:pt x="32" y="337"/>
                  </a:cubicBezTo>
                  <a:cubicBezTo>
                    <a:pt x="32" y="334"/>
                    <a:pt x="33" y="330"/>
                    <a:pt x="33" y="329"/>
                  </a:cubicBezTo>
                  <a:cubicBezTo>
                    <a:pt x="33" y="328"/>
                    <a:pt x="33" y="316"/>
                    <a:pt x="33" y="310"/>
                  </a:cubicBezTo>
                  <a:cubicBezTo>
                    <a:pt x="34" y="304"/>
                    <a:pt x="42" y="305"/>
                    <a:pt x="44" y="304"/>
                  </a:cubicBezTo>
                  <a:cubicBezTo>
                    <a:pt x="45" y="303"/>
                    <a:pt x="45" y="298"/>
                    <a:pt x="49" y="296"/>
                  </a:cubicBezTo>
                  <a:cubicBezTo>
                    <a:pt x="52" y="295"/>
                    <a:pt x="61" y="295"/>
                    <a:pt x="64" y="293"/>
                  </a:cubicBezTo>
                  <a:cubicBezTo>
                    <a:pt x="68" y="291"/>
                    <a:pt x="66" y="281"/>
                    <a:pt x="66" y="278"/>
                  </a:cubicBezTo>
                  <a:cubicBezTo>
                    <a:pt x="66" y="275"/>
                    <a:pt x="65" y="280"/>
                    <a:pt x="57" y="278"/>
                  </a:cubicBezTo>
                  <a:cubicBezTo>
                    <a:pt x="48" y="276"/>
                    <a:pt x="53" y="270"/>
                    <a:pt x="52" y="259"/>
                  </a:cubicBezTo>
                  <a:cubicBezTo>
                    <a:pt x="51" y="248"/>
                    <a:pt x="43" y="248"/>
                    <a:pt x="35" y="243"/>
                  </a:cubicBezTo>
                  <a:cubicBezTo>
                    <a:pt x="26" y="239"/>
                    <a:pt x="21" y="234"/>
                    <a:pt x="18" y="229"/>
                  </a:cubicBezTo>
                  <a:cubicBezTo>
                    <a:pt x="15" y="225"/>
                    <a:pt x="6" y="216"/>
                    <a:pt x="3" y="212"/>
                  </a:cubicBezTo>
                  <a:cubicBezTo>
                    <a:pt x="1" y="209"/>
                    <a:pt x="0" y="207"/>
                    <a:pt x="0" y="205"/>
                  </a:cubicBezTo>
                  <a:cubicBezTo>
                    <a:pt x="3" y="206"/>
                    <a:pt x="8" y="208"/>
                    <a:pt x="19" y="211"/>
                  </a:cubicBezTo>
                  <a:cubicBezTo>
                    <a:pt x="33" y="215"/>
                    <a:pt x="52" y="218"/>
                    <a:pt x="59" y="215"/>
                  </a:cubicBezTo>
                  <a:cubicBezTo>
                    <a:pt x="66" y="213"/>
                    <a:pt x="75" y="219"/>
                    <a:pt x="79" y="216"/>
                  </a:cubicBezTo>
                  <a:cubicBezTo>
                    <a:pt x="82" y="213"/>
                    <a:pt x="85" y="212"/>
                    <a:pt x="97" y="212"/>
                  </a:cubicBezTo>
                  <a:cubicBezTo>
                    <a:pt x="108" y="212"/>
                    <a:pt x="104" y="210"/>
                    <a:pt x="115" y="208"/>
                  </a:cubicBezTo>
                  <a:cubicBezTo>
                    <a:pt x="125" y="206"/>
                    <a:pt x="128" y="212"/>
                    <a:pt x="128" y="205"/>
                  </a:cubicBezTo>
                  <a:cubicBezTo>
                    <a:pt x="127" y="197"/>
                    <a:pt x="127" y="194"/>
                    <a:pt x="127" y="188"/>
                  </a:cubicBezTo>
                  <a:cubicBezTo>
                    <a:pt x="127" y="182"/>
                    <a:pt x="125" y="177"/>
                    <a:pt x="130" y="171"/>
                  </a:cubicBezTo>
                  <a:cubicBezTo>
                    <a:pt x="135" y="165"/>
                    <a:pt x="139" y="160"/>
                    <a:pt x="142" y="164"/>
                  </a:cubicBezTo>
                  <a:cubicBezTo>
                    <a:pt x="146" y="168"/>
                    <a:pt x="148" y="169"/>
                    <a:pt x="153" y="166"/>
                  </a:cubicBezTo>
                  <a:cubicBezTo>
                    <a:pt x="158" y="164"/>
                    <a:pt x="161" y="162"/>
                    <a:pt x="156" y="161"/>
                  </a:cubicBezTo>
                  <a:cubicBezTo>
                    <a:pt x="151" y="159"/>
                    <a:pt x="148" y="158"/>
                    <a:pt x="154" y="157"/>
                  </a:cubicBezTo>
                  <a:cubicBezTo>
                    <a:pt x="160" y="156"/>
                    <a:pt x="164" y="151"/>
                    <a:pt x="171" y="151"/>
                  </a:cubicBezTo>
                  <a:cubicBezTo>
                    <a:pt x="177" y="152"/>
                    <a:pt x="174" y="154"/>
                    <a:pt x="179" y="154"/>
                  </a:cubicBezTo>
                  <a:cubicBezTo>
                    <a:pt x="183" y="153"/>
                    <a:pt x="187" y="155"/>
                    <a:pt x="189" y="151"/>
                  </a:cubicBezTo>
                  <a:cubicBezTo>
                    <a:pt x="192" y="147"/>
                    <a:pt x="190" y="140"/>
                    <a:pt x="189" y="136"/>
                  </a:cubicBezTo>
                  <a:cubicBezTo>
                    <a:pt x="189" y="132"/>
                    <a:pt x="189" y="132"/>
                    <a:pt x="191" y="127"/>
                  </a:cubicBezTo>
                  <a:cubicBezTo>
                    <a:pt x="193" y="122"/>
                    <a:pt x="183" y="118"/>
                    <a:pt x="191" y="115"/>
                  </a:cubicBezTo>
                  <a:cubicBezTo>
                    <a:pt x="199" y="112"/>
                    <a:pt x="209" y="111"/>
                    <a:pt x="204" y="103"/>
                  </a:cubicBezTo>
                  <a:cubicBezTo>
                    <a:pt x="198" y="95"/>
                    <a:pt x="186" y="86"/>
                    <a:pt x="198" y="87"/>
                  </a:cubicBezTo>
                  <a:cubicBezTo>
                    <a:pt x="210" y="88"/>
                    <a:pt x="226" y="91"/>
                    <a:pt x="223" y="85"/>
                  </a:cubicBezTo>
                  <a:cubicBezTo>
                    <a:pt x="220" y="78"/>
                    <a:pt x="215" y="73"/>
                    <a:pt x="220" y="68"/>
                  </a:cubicBezTo>
                  <a:cubicBezTo>
                    <a:pt x="225" y="62"/>
                    <a:pt x="235" y="53"/>
                    <a:pt x="225" y="42"/>
                  </a:cubicBezTo>
                  <a:cubicBezTo>
                    <a:pt x="214" y="31"/>
                    <a:pt x="210" y="30"/>
                    <a:pt x="215" y="25"/>
                  </a:cubicBezTo>
                  <a:cubicBezTo>
                    <a:pt x="220" y="20"/>
                    <a:pt x="225" y="19"/>
                    <a:pt x="231" y="15"/>
                  </a:cubicBezTo>
                  <a:cubicBezTo>
                    <a:pt x="237" y="11"/>
                    <a:pt x="239" y="10"/>
                    <a:pt x="245" y="9"/>
                  </a:cubicBezTo>
                  <a:cubicBezTo>
                    <a:pt x="252" y="9"/>
                    <a:pt x="254" y="11"/>
                    <a:pt x="264" y="9"/>
                  </a:cubicBezTo>
                  <a:cubicBezTo>
                    <a:pt x="274" y="8"/>
                    <a:pt x="277" y="6"/>
                    <a:pt x="282" y="4"/>
                  </a:cubicBezTo>
                  <a:cubicBezTo>
                    <a:pt x="282" y="4"/>
                    <a:pt x="283" y="4"/>
                    <a:pt x="283" y="4"/>
                  </a:cubicBezTo>
                  <a:cubicBezTo>
                    <a:pt x="288" y="2"/>
                    <a:pt x="297" y="0"/>
                    <a:pt x="300" y="4"/>
                  </a:cubicBezTo>
                  <a:cubicBezTo>
                    <a:pt x="303" y="7"/>
                    <a:pt x="311" y="12"/>
                    <a:pt x="315" y="14"/>
                  </a:cubicBezTo>
                  <a:cubicBezTo>
                    <a:pt x="319" y="16"/>
                    <a:pt x="323" y="19"/>
                    <a:pt x="324" y="22"/>
                  </a:cubicBezTo>
                  <a:cubicBezTo>
                    <a:pt x="324" y="25"/>
                    <a:pt x="324" y="29"/>
                    <a:pt x="326" y="32"/>
                  </a:cubicBezTo>
                  <a:cubicBezTo>
                    <a:pt x="328" y="34"/>
                    <a:pt x="324" y="36"/>
                    <a:pt x="331" y="36"/>
                  </a:cubicBezTo>
                  <a:cubicBezTo>
                    <a:pt x="337" y="37"/>
                    <a:pt x="332" y="32"/>
                    <a:pt x="341" y="37"/>
                  </a:cubicBezTo>
                  <a:cubicBezTo>
                    <a:pt x="349" y="42"/>
                    <a:pt x="353" y="47"/>
                    <a:pt x="358" y="47"/>
                  </a:cubicBezTo>
                  <a:cubicBezTo>
                    <a:pt x="362" y="47"/>
                    <a:pt x="371" y="46"/>
                    <a:pt x="374" y="47"/>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11" name="Freeform 1090">
              <a:extLst>
                <a:ext uri="{FF2B5EF4-FFF2-40B4-BE49-F238E27FC236}">
                  <a16:creationId xmlns:a16="http://schemas.microsoft.com/office/drawing/2014/main" id="{8DFFFD84-883F-3A47-B9E5-4E9CA8849CA3}"/>
                </a:ext>
              </a:extLst>
            </p:cNvPr>
            <p:cNvSpPr>
              <a:spLocks/>
            </p:cNvSpPr>
            <p:nvPr/>
          </p:nvSpPr>
          <p:spPr bwMode="auto">
            <a:xfrm>
              <a:off x="5403867" y="1641931"/>
              <a:ext cx="301626" cy="242888"/>
            </a:xfrm>
            <a:custGeom>
              <a:avLst/>
              <a:gdLst>
                <a:gd name="T0" fmla="*/ 314 w 318"/>
                <a:gd name="T1" fmla="*/ 31 h 254"/>
                <a:gd name="T2" fmla="*/ 294 w 318"/>
                <a:gd name="T3" fmla="*/ 44 h 254"/>
                <a:gd name="T4" fmla="*/ 261 w 318"/>
                <a:gd name="T5" fmla="*/ 50 h 254"/>
                <a:gd name="T6" fmla="*/ 255 w 318"/>
                <a:gd name="T7" fmla="*/ 77 h 254"/>
                <a:gd name="T8" fmla="*/ 253 w 318"/>
                <a:gd name="T9" fmla="*/ 120 h 254"/>
                <a:gd name="T10" fmla="*/ 234 w 318"/>
                <a:gd name="T11" fmla="*/ 138 h 254"/>
                <a:gd name="T12" fmla="*/ 221 w 318"/>
                <a:gd name="T13" fmla="*/ 162 h 254"/>
                <a:gd name="T14" fmla="*/ 219 w 318"/>
                <a:gd name="T15" fmla="*/ 186 h 254"/>
                <a:gd name="T16" fmla="*/ 201 w 318"/>
                <a:gd name="T17" fmla="*/ 186 h 254"/>
                <a:gd name="T18" fmla="*/ 186 w 318"/>
                <a:gd name="T19" fmla="*/ 196 h 254"/>
                <a:gd name="T20" fmla="*/ 172 w 318"/>
                <a:gd name="T21" fmla="*/ 199 h 254"/>
                <a:gd name="T22" fmla="*/ 157 w 318"/>
                <a:gd name="T23" fmla="*/ 223 h 254"/>
                <a:gd name="T24" fmla="*/ 145 w 318"/>
                <a:gd name="T25" fmla="*/ 243 h 254"/>
                <a:gd name="T26" fmla="*/ 109 w 318"/>
                <a:gd name="T27" fmla="*/ 251 h 254"/>
                <a:gd name="T28" fmla="*/ 49 w 318"/>
                <a:gd name="T29" fmla="*/ 246 h 254"/>
                <a:gd name="T30" fmla="*/ 32 w 318"/>
                <a:gd name="T31" fmla="*/ 235 h 254"/>
                <a:gd name="T32" fmla="*/ 46 w 318"/>
                <a:gd name="T33" fmla="*/ 206 h 254"/>
                <a:gd name="T34" fmla="*/ 19 w 318"/>
                <a:gd name="T35" fmla="*/ 189 h 254"/>
                <a:gd name="T36" fmla="*/ 10 w 318"/>
                <a:gd name="T37" fmla="*/ 156 h 254"/>
                <a:gd name="T38" fmla="*/ 7 w 318"/>
                <a:gd name="T39" fmla="*/ 135 h 254"/>
                <a:gd name="T40" fmla="*/ 6 w 318"/>
                <a:gd name="T41" fmla="*/ 116 h 254"/>
                <a:gd name="T42" fmla="*/ 11 w 318"/>
                <a:gd name="T43" fmla="*/ 95 h 254"/>
                <a:gd name="T44" fmla="*/ 23 w 318"/>
                <a:gd name="T45" fmla="*/ 82 h 254"/>
                <a:gd name="T46" fmla="*/ 47 w 318"/>
                <a:gd name="T47" fmla="*/ 87 h 254"/>
                <a:gd name="T48" fmla="*/ 82 w 318"/>
                <a:gd name="T49" fmla="*/ 62 h 254"/>
                <a:gd name="T50" fmla="*/ 96 w 318"/>
                <a:gd name="T51" fmla="*/ 34 h 254"/>
                <a:gd name="T52" fmla="*/ 120 w 318"/>
                <a:gd name="T53" fmla="*/ 31 h 254"/>
                <a:gd name="T54" fmla="*/ 136 w 318"/>
                <a:gd name="T55" fmla="*/ 30 h 254"/>
                <a:gd name="T56" fmla="*/ 155 w 318"/>
                <a:gd name="T57" fmla="*/ 33 h 254"/>
                <a:gd name="T58" fmla="*/ 177 w 318"/>
                <a:gd name="T59" fmla="*/ 31 h 254"/>
                <a:gd name="T60" fmla="*/ 190 w 318"/>
                <a:gd name="T61" fmla="*/ 27 h 254"/>
                <a:gd name="T62" fmla="*/ 211 w 318"/>
                <a:gd name="T63" fmla="*/ 21 h 254"/>
                <a:gd name="T64" fmla="*/ 225 w 318"/>
                <a:gd name="T65" fmla="*/ 0 h 254"/>
                <a:gd name="T66" fmla="*/ 240 w 318"/>
                <a:gd name="T67" fmla="*/ 14 h 254"/>
                <a:gd name="T68" fmla="*/ 260 w 318"/>
                <a:gd name="T69" fmla="*/ 40 h 254"/>
                <a:gd name="T70" fmla="*/ 289 w 318"/>
                <a:gd name="T71" fmla="*/ 28 h 254"/>
                <a:gd name="T72" fmla="*/ 309 w 318"/>
                <a:gd name="T73" fmla="*/ 2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8" h="254">
                  <a:moveTo>
                    <a:pt x="318" y="31"/>
                  </a:moveTo>
                  <a:cubicBezTo>
                    <a:pt x="316" y="30"/>
                    <a:pt x="314" y="30"/>
                    <a:pt x="314" y="31"/>
                  </a:cubicBezTo>
                  <a:cubicBezTo>
                    <a:pt x="313" y="33"/>
                    <a:pt x="313" y="37"/>
                    <a:pt x="312" y="39"/>
                  </a:cubicBezTo>
                  <a:cubicBezTo>
                    <a:pt x="307" y="41"/>
                    <a:pt x="304" y="43"/>
                    <a:pt x="294" y="44"/>
                  </a:cubicBezTo>
                  <a:cubicBezTo>
                    <a:pt x="284" y="46"/>
                    <a:pt x="282" y="44"/>
                    <a:pt x="275" y="44"/>
                  </a:cubicBezTo>
                  <a:cubicBezTo>
                    <a:pt x="269" y="45"/>
                    <a:pt x="267" y="46"/>
                    <a:pt x="261" y="50"/>
                  </a:cubicBezTo>
                  <a:cubicBezTo>
                    <a:pt x="255" y="54"/>
                    <a:pt x="250" y="55"/>
                    <a:pt x="245" y="60"/>
                  </a:cubicBezTo>
                  <a:cubicBezTo>
                    <a:pt x="240" y="65"/>
                    <a:pt x="244" y="66"/>
                    <a:pt x="255" y="77"/>
                  </a:cubicBezTo>
                  <a:cubicBezTo>
                    <a:pt x="265" y="88"/>
                    <a:pt x="255" y="97"/>
                    <a:pt x="250" y="103"/>
                  </a:cubicBezTo>
                  <a:cubicBezTo>
                    <a:pt x="245" y="108"/>
                    <a:pt x="250" y="113"/>
                    <a:pt x="253" y="120"/>
                  </a:cubicBezTo>
                  <a:cubicBezTo>
                    <a:pt x="256" y="126"/>
                    <a:pt x="240" y="123"/>
                    <a:pt x="228" y="122"/>
                  </a:cubicBezTo>
                  <a:cubicBezTo>
                    <a:pt x="216" y="121"/>
                    <a:pt x="228" y="130"/>
                    <a:pt x="234" y="138"/>
                  </a:cubicBezTo>
                  <a:cubicBezTo>
                    <a:pt x="239" y="146"/>
                    <a:pt x="229" y="147"/>
                    <a:pt x="221" y="150"/>
                  </a:cubicBezTo>
                  <a:cubicBezTo>
                    <a:pt x="213" y="153"/>
                    <a:pt x="223" y="157"/>
                    <a:pt x="221" y="162"/>
                  </a:cubicBezTo>
                  <a:cubicBezTo>
                    <a:pt x="219" y="167"/>
                    <a:pt x="219" y="167"/>
                    <a:pt x="219" y="171"/>
                  </a:cubicBezTo>
                  <a:cubicBezTo>
                    <a:pt x="220" y="175"/>
                    <a:pt x="222" y="182"/>
                    <a:pt x="219" y="186"/>
                  </a:cubicBezTo>
                  <a:cubicBezTo>
                    <a:pt x="217" y="190"/>
                    <a:pt x="213" y="188"/>
                    <a:pt x="209" y="189"/>
                  </a:cubicBezTo>
                  <a:cubicBezTo>
                    <a:pt x="204" y="189"/>
                    <a:pt x="207" y="187"/>
                    <a:pt x="201" y="186"/>
                  </a:cubicBezTo>
                  <a:cubicBezTo>
                    <a:pt x="194" y="186"/>
                    <a:pt x="190" y="191"/>
                    <a:pt x="184" y="192"/>
                  </a:cubicBezTo>
                  <a:cubicBezTo>
                    <a:pt x="178" y="193"/>
                    <a:pt x="181" y="194"/>
                    <a:pt x="186" y="196"/>
                  </a:cubicBezTo>
                  <a:cubicBezTo>
                    <a:pt x="191" y="197"/>
                    <a:pt x="188" y="199"/>
                    <a:pt x="183" y="201"/>
                  </a:cubicBezTo>
                  <a:cubicBezTo>
                    <a:pt x="178" y="204"/>
                    <a:pt x="176" y="203"/>
                    <a:pt x="172" y="199"/>
                  </a:cubicBezTo>
                  <a:cubicBezTo>
                    <a:pt x="169" y="195"/>
                    <a:pt x="165" y="200"/>
                    <a:pt x="160" y="206"/>
                  </a:cubicBezTo>
                  <a:cubicBezTo>
                    <a:pt x="155" y="212"/>
                    <a:pt x="157" y="217"/>
                    <a:pt x="157" y="223"/>
                  </a:cubicBezTo>
                  <a:cubicBezTo>
                    <a:pt x="157" y="229"/>
                    <a:pt x="157" y="232"/>
                    <a:pt x="158" y="240"/>
                  </a:cubicBezTo>
                  <a:cubicBezTo>
                    <a:pt x="158" y="247"/>
                    <a:pt x="155" y="241"/>
                    <a:pt x="145" y="243"/>
                  </a:cubicBezTo>
                  <a:cubicBezTo>
                    <a:pt x="134" y="245"/>
                    <a:pt x="138" y="247"/>
                    <a:pt x="127" y="247"/>
                  </a:cubicBezTo>
                  <a:cubicBezTo>
                    <a:pt x="115" y="247"/>
                    <a:pt x="112" y="248"/>
                    <a:pt x="109" y="251"/>
                  </a:cubicBezTo>
                  <a:cubicBezTo>
                    <a:pt x="105" y="254"/>
                    <a:pt x="96" y="248"/>
                    <a:pt x="89" y="250"/>
                  </a:cubicBezTo>
                  <a:cubicBezTo>
                    <a:pt x="82" y="253"/>
                    <a:pt x="63" y="250"/>
                    <a:pt x="49" y="246"/>
                  </a:cubicBezTo>
                  <a:cubicBezTo>
                    <a:pt x="35" y="243"/>
                    <a:pt x="33" y="241"/>
                    <a:pt x="30" y="240"/>
                  </a:cubicBezTo>
                  <a:cubicBezTo>
                    <a:pt x="30" y="238"/>
                    <a:pt x="31" y="236"/>
                    <a:pt x="32" y="235"/>
                  </a:cubicBezTo>
                  <a:cubicBezTo>
                    <a:pt x="34" y="233"/>
                    <a:pt x="38" y="226"/>
                    <a:pt x="40" y="222"/>
                  </a:cubicBezTo>
                  <a:cubicBezTo>
                    <a:pt x="42" y="217"/>
                    <a:pt x="46" y="214"/>
                    <a:pt x="46" y="206"/>
                  </a:cubicBezTo>
                  <a:cubicBezTo>
                    <a:pt x="46" y="199"/>
                    <a:pt x="41" y="196"/>
                    <a:pt x="35" y="196"/>
                  </a:cubicBezTo>
                  <a:cubicBezTo>
                    <a:pt x="30" y="195"/>
                    <a:pt x="24" y="196"/>
                    <a:pt x="19" y="189"/>
                  </a:cubicBezTo>
                  <a:cubicBezTo>
                    <a:pt x="14" y="182"/>
                    <a:pt x="18" y="177"/>
                    <a:pt x="18" y="173"/>
                  </a:cubicBezTo>
                  <a:cubicBezTo>
                    <a:pt x="18" y="168"/>
                    <a:pt x="16" y="166"/>
                    <a:pt x="10" y="156"/>
                  </a:cubicBezTo>
                  <a:cubicBezTo>
                    <a:pt x="3" y="147"/>
                    <a:pt x="9" y="146"/>
                    <a:pt x="11" y="141"/>
                  </a:cubicBezTo>
                  <a:cubicBezTo>
                    <a:pt x="13" y="136"/>
                    <a:pt x="11" y="137"/>
                    <a:pt x="7" y="135"/>
                  </a:cubicBezTo>
                  <a:cubicBezTo>
                    <a:pt x="3" y="133"/>
                    <a:pt x="1" y="131"/>
                    <a:pt x="0" y="129"/>
                  </a:cubicBezTo>
                  <a:cubicBezTo>
                    <a:pt x="0" y="127"/>
                    <a:pt x="5" y="116"/>
                    <a:pt x="6" y="116"/>
                  </a:cubicBezTo>
                  <a:cubicBezTo>
                    <a:pt x="7" y="115"/>
                    <a:pt x="7" y="110"/>
                    <a:pt x="10" y="107"/>
                  </a:cubicBezTo>
                  <a:cubicBezTo>
                    <a:pt x="13" y="104"/>
                    <a:pt x="12" y="99"/>
                    <a:pt x="11" y="95"/>
                  </a:cubicBezTo>
                  <a:cubicBezTo>
                    <a:pt x="10" y="91"/>
                    <a:pt x="11" y="85"/>
                    <a:pt x="12" y="79"/>
                  </a:cubicBezTo>
                  <a:cubicBezTo>
                    <a:pt x="14" y="79"/>
                    <a:pt x="18" y="82"/>
                    <a:pt x="23" y="82"/>
                  </a:cubicBezTo>
                  <a:cubicBezTo>
                    <a:pt x="28" y="83"/>
                    <a:pt x="28" y="81"/>
                    <a:pt x="35" y="87"/>
                  </a:cubicBezTo>
                  <a:cubicBezTo>
                    <a:pt x="41" y="93"/>
                    <a:pt x="41" y="90"/>
                    <a:pt x="47" y="87"/>
                  </a:cubicBezTo>
                  <a:cubicBezTo>
                    <a:pt x="54" y="84"/>
                    <a:pt x="56" y="81"/>
                    <a:pt x="54" y="74"/>
                  </a:cubicBezTo>
                  <a:cubicBezTo>
                    <a:pt x="52" y="66"/>
                    <a:pt x="74" y="65"/>
                    <a:pt x="82" y="62"/>
                  </a:cubicBezTo>
                  <a:cubicBezTo>
                    <a:pt x="90" y="58"/>
                    <a:pt x="85" y="43"/>
                    <a:pt x="85" y="43"/>
                  </a:cubicBezTo>
                  <a:cubicBezTo>
                    <a:pt x="85" y="43"/>
                    <a:pt x="91" y="35"/>
                    <a:pt x="96" y="34"/>
                  </a:cubicBezTo>
                  <a:cubicBezTo>
                    <a:pt x="102" y="34"/>
                    <a:pt x="105" y="31"/>
                    <a:pt x="105" y="27"/>
                  </a:cubicBezTo>
                  <a:cubicBezTo>
                    <a:pt x="104" y="23"/>
                    <a:pt x="115" y="29"/>
                    <a:pt x="120" y="31"/>
                  </a:cubicBezTo>
                  <a:cubicBezTo>
                    <a:pt x="124" y="32"/>
                    <a:pt x="127" y="30"/>
                    <a:pt x="128" y="29"/>
                  </a:cubicBezTo>
                  <a:cubicBezTo>
                    <a:pt x="131" y="30"/>
                    <a:pt x="132" y="29"/>
                    <a:pt x="136" y="30"/>
                  </a:cubicBezTo>
                  <a:cubicBezTo>
                    <a:pt x="143" y="31"/>
                    <a:pt x="144" y="32"/>
                    <a:pt x="147" y="33"/>
                  </a:cubicBezTo>
                  <a:cubicBezTo>
                    <a:pt x="150" y="33"/>
                    <a:pt x="153" y="33"/>
                    <a:pt x="155" y="33"/>
                  </a:cubicBezTo>
                  <a:cubicBezTo>
                    <a:pt x="156" y="36"/>
                    <a:pt x="160" y="36"/>
                    <a:pt x="164" y="39"/>
                  </a:cubicBezTo>
                  <a:cubicBezTo>
                    <a:pt x="171" y="43"/>
                    <a:pt x="174" y="36"/>
                    <a:pt x="177" y="31"/>
                  </a:cubicBezTo>
                  <a:cubicBezTo>
                    <a:pt x="181" y="26"/>
                    <a:pt x="187" y="35"/>
                    <a:pt x="190" y="37"/>
                  </a:cubicBezTo>
                  <a:cubicBezTo>
                    <a:pt x="194" y="38"/>
                    <a:pt x="193" y="34"/>
                    <a:pt x="190" y="27"/>
                  </a:cubicBezTo>
                  <a:cubicBezTo>
                    <a:pt x="188" y="20"/>
                    <a:pt x="199" y="21"/>
                    <a:pt x="202" y="23"/>
                  </a:cubicBezTo>
                  <a:cubicBezTo>
                    <a:pt x="206" y="26"/>
                    <a:pt x="208" y="24"/>
                    <a:pt x="211" y="21"/>
                  </a:cubicBezTo>
                  <a:cubicBezTo>
                    <a:pt x="213" y="17"/>
                    <a:pt x="207" y="13"/>
                    <a:pt x="209" y="7"/>
                  </a:cubicBezTo>
                  <a:cubicBezTo>
                    <a:pt x="210" y="2"/>
                    <a:pt x="220" y="1"/>
                    <a:pt x="225" y="0"/>
                  </a:cubicBezTo>
                  <a:cubicBezTo>
                    <a:pt x="230" y="0"/>
                    <a:pt x="230" y="2"/>
                    <a:pt x="230" y="8"/>
                  </a:cubicBezTo>
                  <a:cubicBezTo>
                    <a:pt x="231" y="14"/>
                    <a:pt x="236" y="14"/>
                    <a:pt x="240" y="14"/>
                  </a:cubicBezTo>
                  <a:cubicBezTo>
                    <a:pt x="243" y="14"/>
                    <a:pt x="238" y="30"/>
                    <a:pt x="242" y="40"/>
                  </a:cubicBezTo>
                  <a:cubicBezTo>
                    <a:pt x="246" y="51"/>
                    <a:pt x="252" y="44"/>
                    <a:pt x="260" y="40"/>
                  </a:cubicBezTo>
                  <a:cubicBezTo>
                    <a:pt x="268" y="36"/>
                    <a:pt x="270" y="35"/>
                    <a:pt x="275" y="30"/>
                  </a:cubicBezTo>
                  <a:cubicBezTo>
                    <a:pt x="280" y="25"/>
                    <a:pt x="285" y="24"/>
                    <a:pt x="289" y="28"/>
                  </a:cubicBezTo>
                  <a:cubicBezTo>
                    <a:pt x="294" y="31"/>
                    <a:pt x="291" y="32"/>
                    <a:pt x="298" y="33"/>
                  </a:cubicBezTo>
                  <a:cubicBezTo>
                    <a:pt x="306" y="34"/>
                    <a:pt x="304" y="29"/>
                    <a:pt x="309" y="27"/>
                  </a:cubicBezTo>
                  <a:cubicBezTo>
                    <a:pt x="314" y="25"/>
                    <a:pt x="317" y="28"/>
                    <a:pt x="318" y="3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12" name="Freeform 1091">
              <a:extLst>
                <a:ext uri="{FF2B5EF4-FFF2-40B4-BE49-F238E27FC236}">
                  <a16:creationId xmlns:a16="http://schemas.microsoft.com/office/drawing/2014/main" id="{3E9E1CE3-165B-A941-A909-24BFFF89375A}"/>
                </a:ext>
              </a:extLst>
            </p:cNvPr>
            <p:cNvSpPr>
              <a:spLocks/>
            </p:cNvSpPr>
            <p:nvPr/>
          </p:nvSpPr>
          <p:spPr bwMode="auto">
            <a:xfrm>
              <a:off x="5014928" y="1607006"/>
              <a:ext cx="481014" cy="390526"/>
            </a:xfrm>
            <a:custGeom>
              <a:avLst/>
              <a:gdLst>
                <a:gd name="T0" fmla="*/ 481 w 505"/>
                <a:gd name="T1" fmla="*/ 377 h 411"/>
                <a:gd name="T2" fmla="*/ 469 w 505"/>
                <a:gd name="T3" fmla="*/ 410 h 411"/>
                <a:gd name="T4" fmla="*/ 447 w 505"/>
                <a:gd name="T5" fmla="*/ 406 h 411"/>
                <a:gd name="T6" fmla="*/ 415 w 505"/>
                <a:gd name="T7" fmla="*/ 399 h 411"/>
                <a:gd name="T8" fmla="*/ 388 w 505"/>
                <a:gd name="T9" fmla="*/ 397 h 411"/>
                <a:gd name="T10" fmla="*/ 356 w 505"/>
                <a:gd name="T11" fmla="*/ 384 h 411"/>
                <a:gd name="T12" fmla="*/ 343 w 505"/>
                <a:gd name="T13" fmla="*/ 353 h 411"/>
                <a:gd name="T14" fmla="*/ 310 w 505"/>
                <a:gd name="T15" fmla="*/ 365 h 411"/>
                <a:gd name="T16" fmla="*/ 279 w 505"/>
                <a:gd name="T17" fmla="*/ 364 h 411"/>
                <a:gd name="T18" fmla="*/ 250 w 505"/>
                <a:gd name="T19" fmla="*/ 351 h 411"/>
                <a:gd name="T20" fmla="*/ 216 w 505"/>
                <a:gd name="T21" fmla="*/ 331 h 411"/>
                <a:gd name="T22" fmla="*/ 199 w 505"/>
                <a:gd name="T23" fmla="*/ 305 h 411"/>
                <a:gd name="T24" fmla="*/ 184 w 505"/>
                <a:gd name="T25" fmla="*/ 284 h 411"/>
                <a:gd name="T26" fmla="*/ 169 w 505"/>
                <a:gd name="T27" fmla="*/ 272 h 411"/>
                <a:gd name="T28" fmla="*/ 143 w 505"/>
                <a:gd name="T29" fmla="*/ 263 h 411"/>
                <a:gd name="T30" fmla="*/ 137 w 505"/>
                <a:gd name="T31" fmla="*/ 273 h 411"/>
                <a:gd name="T32" fmla="*/ 123 w 505"/>
                <a:gd name="T33" fmla="*/ 249 h 411"/>
                <a:gd name="T34" fmla="*/ 115 w 505"/>
                <a:gd name="T35" fmla="*/ 226 h 411"/>
                <a:gd name="T36" fmla="*/ 77 w 505"/>
                <a:gd name="T37" fmla="*/ 190 h 411"/>
                <a:gd name="T38" fmla="*/ 53 w 505"/>
                <a:gd name="T39" fmla="*/ 161 h 411"/>
                <a:gd name="T40" fmla="*/ 55 w 505"/>
                <a:gd name="T41" fmla="*/ 141 h 411"/>
                <a:gd name="T42" fmla="*/ 61 w 505"/>
                <a:gd name="T43" fmla="*/ 118 h 411"/>
                <a:gd name="T44" fmla="*/ 43 w 505"/>
                <a:gd name="T45" fmla="*/ 103 h 411"/>
                <a:gd name="T46" fmla="*/ 32 w 505"/>
                <a:gd name="T47" fmla="*/ 85 h 411"/>
                <a:gd name="T48" fmla="*/ 25 w 505"/>
                <a:gd name="T49" fmla="*/ 70 h 411"/>
                <a:gd name="T50" fmla="*/ 13 w 505"/>
                <a:gd name="T51" fmla="*/ 48 h 411"/>
                <a:gd name="T52" fmla="*/ 1 w 505"/>
                <a:gd name="T53" fmla="*/ 14 h 411"/>
                <a:gd name="T54" fmla="*/ 12 w 505"/>
                <a:gd name="T55" fmla="*/ 0 h 411"/>
                <a:gd name="T56" fmla="*/ 24 w 505"/>
                <a:gd name="T57" fmla="*/ 11 h 411"/>
                <a:gd name="T58" fmla="*/ 52 w 505"/>
                <a:gd name="T59" fmla="*/ 25 h 411"/>
                <a:gd name="T60" fmla="*/ 66 w 505"/>
                <a:gd name="T61" fmla="*/ 19 h 411"/>
                <a:gd name="T62" fmla="*/ 95 w 505"/>
                <a:gd name="T63" fmla="*/ 5 h 411"/>
                <a:gd name="T64" fmla="*/ 99 w 505"/>
                <a:gd name="T65" fmla="*/ 23 h 411"/>
                <a:gd name="T66" fmla="*/ 117 w 505"/>
                <a:gd name="T67" fmla="*/ 37 h 411"/>
                <a:gd name="T68" fmla="*/ 142 w 505"/>
                <a:gd name="T69" fmla="*/ 66 h 411"/>
                <a:gd name="T70" fmla="*/ 220 w 505"/>
                <a:gd name="T71" fmla="*/ 84 h 411"/>
                <a:gd name="T72" fmla="*/ 236 w 505"/>
                <a:gd name="T73" fmla="*/ 65 h 411"/>
                <a:gd name="T74" fmla="*/ 264 w 505"/>
                <a:gd name="T75" fmla="*/ 50 h 411"/>
                <a:gd name="T76" fmla="*/ 297 w 505"/>
                <a:gd name="T77" fmla="*/ 42 h 411"/>
                <a:gd name="T78" fmla="*/ 341 w 505"/>
                <a:gd name="T79" fmla="*/ 60 h 411"/>
                <a:gd name="T80" fmla="*/ 374 w 505"/>
                <a:gd name="T81" fmla="*/ 74 h 411"/>
                <a:gd name="T82" fmla="*/ 411 w 505"/>
                <a:gd name="T83" fmla="*/ 89 h 411"/>
                <a:gd name="T84" fmla="*/ 419 w 505"/>
                <a:gd name="T85" fmla="*/ 117 h 411"/>
                <a:gd name="T86" fmla="*/ 413 w 505"/>
                <a:gd name="T87" fmla="*/ 154 h 411"/>
                <a:gd name="T88" fmla="*/ 418 w 505"/>
                <a:gd name="T89" fmla="*/ 179 h 411"/>
                <a:gd name="T90" fmla="*/ 426 w 505"/>
                <a:gd name="T91" fmla="*/ 227 h 411"/>
                <a:gd name="T92" fmla="*/ 447 w 505"/>
                <a:gd name="T93" fmla="*/ 260 h 411"/>
                <a:gd name="T94" fmla="*/ 438 w 505"/>
                <a:gd name="T95" fmla="*/ 278 h 411"/>
                <a:gd name="T96" fmla="*/ 472 w 505"/>
                <a:gd name="T97" fmla="*/ 316 h 411"/>
                <a:gd name="T98" fmla="*/ 503 w 505"/>
                <a:gd name="T99" fmla="*/ 351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5" h="411">
                  <a:moveTo>
                    <a:pt x="501" y="366"/>
                  </a:moveTo>
                  <a:cubicBezTo>
                    <a:pt x="498" y="368"/>
                    <a:pt x="489" y="368"/>
                    <a:pt x="486" y="369"/>
                  </a:cubicBezTo>
                  <a:cubicBezTo>
                    <a:pt x="482" y="371"/>
                    <a:pt x="482" y="376"/>
                    <a:pt x="481" y="377"/>
                  </a:cubicBezTo>
                  <a:cubicBezTo>
                    <a:pt x="479" y="378"/>
                    <a:pt x="471" y="377"/>
                    <a:pt x="470" y="383"/>
                  </a:cubicBezTo>
                  <a:cubicBezTo>
                    <a:pt x="470" y="389"/>
                    <a:pt x="470" y="401"/>
                    <a:pt x="470" y="402"/>
                  </a:cubicBezTo>
                  <a:cubicBezTo>
                    <a:pt x="470" y="403"/>
                    <a:pt x="469" y="407"/>
                    <a:pt x="469" y="410"/>
                  </a:cubicBezTo>
                  <a:cubicBezTo>
                    <a:pt x="467" y="409"/>
                    <a:pt x="466" y="409"/>
                    <a:pt x="465" y="410"/>
                  </a:cubicBezTo>
                  <a:cubicBezTo>
                    <a:pt x="464" y="411"/>
                    <a:pt x="462" y="411"/>
                    <a:pt x="458" y="409"/>
                  </a:cubicBezTo>
                  <a:cubicBezTo>
                    <a:pt x="454" y="408"/>
                    <a:pt x="449" y="406"/>
                    <a:pt x="447" y="406"/>
                  </a:cubicBezTo>
                  <a:cubicBezTo>
                    <a:pt x="446" y="406"/>
                    <a:pt x="442" y="400"/>
                    <a:pt x="440" y="402"/>
                  </a:cubicBezTo>
                  <a:cubicBezTo>
                    <a:pt x="439" y="404"/>
                    <a:pt x="435" y="405"/>
                    <a:pt x="432" y="405"/>
                  </a:cubicBezTo>
                  <a:cubicBezTo>
                    <a:pt x="428" y="404"/>
                    <a:pt x="417" y="398"/>
                    <a:pt x="415" y="399"/>
                  </a:cubicBezTo>
                  <a:cubicBezTo>
                    <a:pt x="414" y="399"/>
                    <a:pt x="418" y="405"/>
                    <a:pt x="410" y="403"/>
                  </a:cubicBezTo>
                  <a:cubicBezTo>
                    <a:pt x="403" y="401"/>
                    <a:pt x="403" y="399"/>
                    <a:pt x="399" y="398"/>
                  </a:cubicBezTo>
                  <a:cubicBezTo>
                    <a:pt x="395" y="397"/>
                    <a:pt x="393" y="397"/>
                    <a:pt x="388" y="397"/>
                  </a:cubicBezTo>
                  <a:cubicBezTo>
                    <a:pt x="383" y="398"/>
                    <a:pt x="387" y="402"/>
                    <a:pt x="378" y="397"/>
                  </a:cubicBezTo>
                  <a:cubicBezTo>
                    <a:pt x="369" y="392"/>
                    <a:pt x="372" y="393"/>
                    <a:pt x="366" y="391"/>
                  </a:cubicBezTo>
                  <a:cubicBezTo>
                    <a:pt x="360" y="388"/>
                    <a:pt x="358" y="391"/>
                    <a:pt x="356" y="384"/>
                  </a:cubicBezTo>
                  <a:cubicBezTo>
                    <a:pt x="355" y="378"/>
                    <a:pt x="354" y="382"/>
                    <a:pt x="354" y="373"/>
                  </a:cubicBezTo>
                  <a:cubicBezTo>
                    <a:pt x="353" y="365"/>
                    <a:pt x="355" y="365"/>
                    <a:pt x="350" y="360"/>
                  </a:cubicBezTo>
                  <a:cubicBezTo>
                    <a:pt x="345" y="355"/>
                    <a:pt x="349" y="353"/>
                    <a:pt x="343" y="353"/>
                  </a:cubicBezTo>
                  <a:cubicBezTo>
                    <a:pt x="336" y="353"/>
                    <a:pt x="335" y="353"/>
                    <a:pt x="330" y="356"/>
                  </a:cubicBezTo>
                  <a:cubicBezTo>
                    <a:pt x="325" y="359"/>
                    <a:pt x="318" y="359"/>
                    <a:pt x="318" y="360"/>
                  </a:cubicBezTo>
                  <a:cubicBezTo>
                    <a:pt x="317" y="361"/>
                    <a:pt x="315" y="362"/>
                    <a:pt x="310" y="365"/>
                  </a:cubicBezTo>
                  <a:cubicBezTo>
                    <a:pt x="306" y="368"/>
                    <a:pt x="305" y="370"/>
                    <a:pt x="302" y="371"/>
                  </a:cubicBezTo>
                  <a:cubicBezTo>
                    <a:pt x="299" y="372"/>
                    <a:pt x="297" y="374"/>
                    <a:pt x="292" y="370"/>
                  </a:cubicBezTo>
                  <a:cubicBezTo>
                    <a:pt x="287" y="367"/>
                    <a:pt x="279" y="364"/>
                    <a:pt x="279" y="364"/>
                  </a:cubicBezTo>
                  <a:cubicBezTo>
                    <a:pt x="279" y="364"/>
                    <a:pt x="278" y="371"/>
                    <a:pt x="271" y="365"/>
                  </a:cubicBezTo>
                  <a:cubicBezTo>
                    <a:pt x="265" y="359"/>
                    <a:pt x="267" y="361"/>
                    <a:pt x="261" y="358"/>
                  </a:cubicBezTo>
                  <a:cubicBezTo>
                    <a:pt x="255" y="355"/>
                    <a:pt x="255" y="354"/>
                    <a:pt x="250" y="351"/>
                  </a:cubicBezTo>
                  <a:cubicBezTo>
                    <a:pt x="246" y="348"/>
                    <a:pt x="244" y="349"/>
                    <a:pt x="240" y="344"/>
                  </a:cubicBezTo>
                  <a:cubicBezTo>
                    <a:pt x="237" y="340"/>
                    <a:pt x="240" y="338"/>
                    <a:pt x="232" y="336"/>
                  </a:cubicBezTo>
                  <a:cubicBezTo>
                    <a:pt x="224" y="334"/>
                    <a:pt x="222" y="331"/>
                    <a:pt x="216" y="331"/>
                  </a:cubicBezTo>
                  <a:cubicBezTo>
                    <a:pt x="211" y="331"/>
                    <a:pt x="213" y="331"/>
                    <a:pt x="210" y="326"/>
                  </a:cubicBezTo>
                  <a:cubicBezTo>
                    <a:pt x="207" y="320"/>
                    <a:pt x="202" y="315"/>
                    <a:pt x="202" y="314"/>
                  </a:cubicBezTo>
                  <a:cubicBezTo>
                    <a:pt x="202" y="312"/>
                    <a:pt x="201" y="307"/>
                    <a:pt x="199" y="305"/>
                  </a:cubicBezTo>
                  <a:cubicBezTo>
                    <a:pt x="196" y="303"/>
                    <a:pt x="200" y="298"/>
                    <a:pt x="196" y="298"/>
                  </a:cubicBezTo>
                  <a:cubicBezTo>
                    <a:pt x="192" y="297"/>
                    <a:pt x="191" y="294"/>
                    <a:pt x="190" y="293"/>
                  </a:cubicBezTo>
                  <a:cubicBezTo>
                    <a:pt x="190" y="291"/>
                    <a:pt x="188" y="287"/>
                    <a:pt x="184" y="284"/>
                  </a:cubicBezTo>
                  <a:cubicBezTo>
                    <a:pt x="181" y="280"/>
                    <a:pt x="176" y="276"/>
                    <a:pt x="176" y="273"/>
                  </a:cubicBezTo>
                  <a:cubicBezTo>
                    <a:pt x="176" y="271"/>
                    <a:pt x="174" y="266"/>
                    <a:pt x="172" y="268"/>
                  </a:cubicBezTo>
                  <a:cubicBezTo>
                    <a:pt x="170" y="270"/>
                    <a:pt x="176" y="274"/>
                    <a:pt x="169" y="272"/>
                  </a:cubicBezTo>
                  <a:cubicBezTo>
                    <a:pt x="163" y="269"/>
                    <a:pt x="156" y="271"/>
                    <a:pt x="155" y="268"/>
                  </a:cubicBezTo>
                  <a:cubicBezTo>
                    <a:pt x="154" y="266"/>
                    <a:pt x="150" y="265"/>
                    <a:pt x="150" y="263"/>
                  </a:cubicBezTo>
                  <a:cubicBezTo>
                    <a:pt x="150" y="262"/>
                    <a:pt x="143" y="258"/>
                    <a:pt x="143" y="263"/>
                  </a:cubicBezTo>
                  <a:cubicBezTo>
                    <a:pt x="144" y="268"/>
                    <a:pt x="145" y="270"/>
                    <a:pt x="145" y="271"/>
                  </a:cubicBezTo>
                  <a:cubicBezTo>
                    <a:pt x="145" y="271"/>
                    <a:pt x="146" y="272"/>
                    <a:pt x="144" y="272"/>
                  </a:cubicBezTo>
                  <a:cubicBezTo>
                    <a:pt x="141" y="272"/>
                    <a:pt x="139" y="272"/>
                    <a:pt x="137" y="273"/>
                  </a:cubicBezTo>
                  <a:cubicBezTo>
                    <a:pt x="137" y="271"/>
                    <a:pt x="136" y="270"/>
                    <a:pt x="136" y="269"/>
                  </a:cubicBezTo>
                  <a:cubicBezTo>
                    <a:pt x="135" y="268"/>
                    <a:pt x="130" y="264"/>
                    <a:pt x="128" y="261"/>
                  </a:cubicBezTo>
                  <a:cubicBezTo>
                    <a:pt x="125" y="258"/>
                    <a:pt x="124" y="254"/>
                    <a:pt x="123" y="249"/>
                  </a:cubicBezTo>
                  <a:cubicBezTo>
                    <a:pt x="121" y="245"/>
                    <a:pt x="121" y="247"/>
                    <a:pt x="118" y="245"/>
                  </a:cubicBezTo>
                  <a:cubicBezTo>
                    <a:pt x="115" y="243"/>
                    <a:pt x="115" y="242"/>
                    <a:pt x="115" y="238"/>
                  </a:cubicBezTo>
                  <a:cubicBezTo>
                    <a:pt x="114" y="235"/>
                    <a:pt x="115" y="232"/>
                    <a:pt x="115" y="226"/>
                  </a:cubicBezTo>
                  <a:cubicBezTo>
                    <a:pt x="115" y="220"/>
                    <a:pt x="109" y="211"/>
                    <a:pt x="106" y="209"/>
                  </a:cubicBezTo>
                  <a:cubicBezTo>
                    <a:pt x="103" y="207"/>
                    <a:pt x="95" y="205"/>
                    <a:pt x="91" y="201"/>
                  </a:cubicBezTo>
                  <a:cubicBezTo>
                    <a:pt x="88" y="198"/>
                    <a:pt x="85" y="193"/>
                    <a:pt x="77" y="190"/>
                  </a:cubicBezTo>
                  <a:cubicBezTo>
                    <a:pt x="69" y="187"/>
                    <a:pt x="71" y="189"/>
                    <a:pt x="73" y="183"/>
                  </a:cubicBezTo>
                  <a:cubicBezTo>
                    <a:pt x="74" y="177"/>
                    <a:pt x="66" y="175"/>
                    <a:pt x="62" y="172"/>
                  </a:cubicBezTo>
                  <a:cubicBezTo>
                    <a:pt x="59" y="169"/>
                    <a:pt x="53" y="165"/>
                    <a:pt x="53" y="161"/>
                  </a:cubicBezTo>
                  <a:cubicBezTo>
                    <a:pt x="54" y="157"/>
                    <a:pt x="52" y="154"/>
                    <a:pt x="51" y="151"/>
                  </a:cubicBezTo>
                  <a:cubicBezTo>
                    <a:pt x="50" y="149"/>
                    <a:pt x="52" y="146"/>
                    <a:pt x="54" y="145"/>
                  </a:cubicBezTo>
                  <a:cubicBezTo>
                    <a:pt x="57" y="144"/>
                    <a:pt x="56" y="143"/>
                    <a:pt x="55" y="141"/>
                  </a:cubicBezTo>
                  <a:cubicBezTo>
                    <a:pt x="55" y="140"/>
                    <a:pt x="56" y="137"/>
                    <a:pt x="59" y="134"/>
                  </a:cubicBezTo>
                  <a:cubicBezTo>
                    <a:pt x="62" y="131"/>
                    <a:pt x="65" y="129"/>
                    <a:pt x="66" y="127"/>
                  </a:cubicBezTo>
                  <a:cubicBezTo>
                    <a:pt x="66" y="125"/>
                    <a:pt x="63" y="123"/>
                    <a:pt x="61" y="118"/>
                  </a:cubicBezTo>
                  <a:cubicBezTo>
                    <a:pt x="59" y="113"/>
                    <a:pt x="64" y="114"/>
                    <a:pt x="64" y="111"/>
                  </a:cubicBezTo>
                  <a:cubicBezTo>
                    <a:pt x="64" y="109"/>
                    <a:pt x="57" y="111"/>
                    <a:pt x="52" y="108"/>
                  </a:cubicBezTo>
                  <a:cubicBezTo>
                    <a:pt x="46" y="106"/>
                    <a:pt x="43" y="105"/>
                    <a:pt x="43" y="103"/>
                  </a:cubicBezTo>
                  <a:cubicBezTo>
                    <a:pt x="43" y="102"/>
                    <a:pt x="43" y="102"/>
                    <a:pt x="40" y="98"/>
                  </a:cubicBezTo>
                  <a:cubicBezTo>
                    <a:pt x="36" y="95"/>
                    <a:pt x="35" y="93"/>
                    <a:pt x="34" y="91"/>
                  </a:cubicBezTo>
                  <a:cubicBezTo>
                    <a:pt x="34" y="89"/>
                    <a:pt x="34" y="87"/>
                    <a:pt x="32" y="85"/>
                  </a:cubicBezTo>
                  <a:cubicBezTo>
                    <a:pt x="31" y="83"/>
                    <a:pt x="28" y="80"/>
                    <a:pt x="27" y="75"/>
                  </a:cubicBezTo>
                  <a:cubicBezTo>
                    <a:pt x="27" y="74"/>
                    <a:pt x="26" y="73"/>
                    <a:pt x="26" y="72"/>
                  </a:cubicBezTo>
                  <a:cubicBezTo>
                    <a:pt x="26" y="70"/>
                    <a:pt x="26" y="70"/>
                    <a:pt x="25" y="70"/>
                  </a:cubicBezTo>
                  <a:cubicBezTo>
                    <a:pt x="24" y="69"/>
                    <a:pt x="21" y="66"/>
                    <a:pt x="20" y="64"/>
                  </a:cubicBezTo>
                  <a:cubicBezTo>
                    <a:pt x="20" y="62"/>
                    <a:pt x="18" y="57"/>
                    <a:pt x="15" y="55"/>
                  </a:cubicBezTo>
                  <a:cubicBezTo>
                    <a:pt x="11" y="53"/>
                    <a:pt x="11" y="50"/>
                    <a:pt x="13" y="48"/>
                  </a:cubicBezTo>
                  <a:cubicBezTo>
                    <a:pt x="14" y="45"/>
                    <a:pt x="13" y="43"/>
                    <a:pt x="12" y="41"/>
                  </a:cubicBezTo>
                  <a:cubicBezTo>
                    <a:pt x="11" y="40"/>
                    <a:pt x="9" y="32"/>
                    <a:pt x="8" y="28"/>
                  </a:cubicBezTo>
                  <a:cubicBezTo>
                    <a:pt x="7" y="23"/>
                    <a:pt x="2" y="18"/>
                    <a:pt x="1" y="14"/>
                  </a:cubicBezTo>
                  <a:cubicBezTo>
                    <a:pt x="0" y="10"/>
                    <a:pt x="3" y="12"/>
                    <a:pt x="7" y="10"/>
                  </a:cubicBezTo>
                  <a:cubicBezTo>
                    <a:pt x="11" y="9"/>
                    <a:pt x="10" y="5"/>
                    <a:pt x="9" y="3"/>
                  </a:cubicBezTo>
                  <a:cubicBezTo>
                    <a:pt x="9" y="2"/>
                    <a:pt x="10" y="1"/>
                    <a:pt x="12" y="0"/>
                  </a:cubicBezTo>
                  <a:cubicBezTo>
                    <a:pt x="13" y="0"/>
                    <a:pt x="14" y="1"/>
                    <a:pt x="14" y="1"/>
                  </a:cubicBezTo>
                  <a:cubicBezTo>
                    <a:pt x="15" y="2"/>
                    <a:pt x="17" y="3"/>
                    <a:pt x="18" y="5"/>
                  </a:cubicBezTo>
                  <a:cubicBezTo>
                    <a:pt x="21" y="7"/>
                    <a:pt x="19" y="7"/>
                    <a:pt x="24" y="11"/>
                  </a:cubicBezTo>
                  <a:cubicBezTo>
                    <a:pt x="29" y="16"/>
                    <a:pt x="33" y="19"/>
                    <a:pt x="37" y="22"/>
                  </a:cubicBezTo>
                  <a:cubicBezTo>
                    <a:pt x="41" y="25"/>
                    <a:pt x="45" y="26"/>
                    <a:pt x="48" y="26"/>
                  </a:cubicBezTo>
                  <a:cubicBezTo>
                    <a:pt x="50" y="27"/>
                    <a:pt x="51" y="26"/>
                    <a:pt x="52" y="25"/>
                  </a:cubicBezTo>
                  <a:cubicBezTo>
                    <a:pt x="53" y="27"/>
                    <a:pt x="56" y="26"/>
                    <a:pt x="58" y="25"/>
                  </a:cubicBezTo>
                  <a:cubicBezTo>
                    <a:pt x="58" y="25"/>
                    <a:pt x="59" y="25"/>
                    <a:pt x="59" y="25"/>
                  </a:cubicBezTo>
                  <a:cubicBezTo>
                    <a:pt x="62" y="24"/>
                    <a:pt x="64" y="22"/>
                    <a:pt x="66" y="19"/>
                  </a:cubicBezTo>
                  <a:cubicBezTo>
                    <a:pt x="68" y="15"/>
                    <a:pt x="69" y="15"/>
                    <a:pt x="74" y="12"/>
                  </a:cubicBezTo>
                  <a:cubicBezTo>
                    <a:pt x="79" y="8"/>
                    <a:pt x="82" y="4"/>
                    <a:pt x="84" y="3"/>
                  </a:cubicBezTo>
                  <a:cubicBezTo>
                    <a:pt x="86" y="3"/>
                    <a:pt x="92" y="2"/>
                    <a:pt x="95" y="5"/>
                  </a:cubicBezTo>
                  <a:cubicBezTo>
                    <a:pt x="97" y="8"/>
                    <a:pt x="102" y="10"/>
                    <a:pt x="100" y="12"/>
                  </a:cubicBezTo>
                  <a:cubicBezTo>
                    <a:pt x="98" y="14"/>
                    <a:pt x="97" y="17"/>
                    <a:pt x="98" y="18"/>
                  </a:cubicBezTo>
                  <a:cubicBezTo>
                    <a:pt x="99" y="20"/>
                    <a:pt x="100" y="23"/>
                    <a:pt x="99" y="23"/>
                  </a:cubicBezTo>
                  <a:cubicBezTo>
                    <a:pt x="99" y="24"/>
                    <a:pt x="92" y="24"/>
                    <a:pt x="96" y="27"/>
                  </a:cubicBezTo>
                  <a:cubicBezTo>
                    <a:pt x="101" y="31"/>
                    <a:pt x="108" y="37"/>
                    <a:pt x="112" y="37"/>
                  </a:cubicBezTo>
                  <a:cubicBezTo>
                    <a:pt x="114" y="38"/>
                    <a:pt x="116" y="37"/>
                    <a:pt x="117" y="37"/>
                  </a:cubicBezTo>
                  <a:cubicBezTo>
                    <a:pt x="119" y="42"/>
                    <a:pt x="121" y="44"/>
                    <a:pt x="122" y="49"/>
                  </a:cubicBezTo>
                  <a:cubicBezTo>
                    <a:pt x="123" y="55"/>
                    <a:pt x="118" y="57"/>
                    <a:pt x="125" y="60"/>
                  </a:cubicBezTo>
                  <a:cubicBezTo>
                    <a:pt x="132" y="63"/>
                    <a:pt x="134" y="59"/>
                    <a:pt x="142" y="66"/>
                  </a:cubicBezTo>
                  <a:cubicBezTo>
                    <a:pt x="150" y="73"/>
                    <a:pt x="154" y="74"/>
                    <a:pt x="164" y="81"/>
                  </a:cubicBezTo>
                  <a:cubicBezTo>
                    <a:pt x="175" y="87"/>
                    <a:pt x="180" y="90"/>
                    <a:pt x="189" y="90"/>
                  </a:cubicBezTo>
                  <a:cubicBezTo>
                    <a:pt x="197" y="90"/>
                    <a:pt x="210" y="87"/>
                    <a:pt x="220" y="84"/>
                  </a:cubicBezTo>
                  <a:cubicBezTo>
                    <a:pt x="231" y="81"/>
                    <a:pt x="238" y="87"/>
                    <a:pt x="241" y="83"/>
                  </a:cubicBezTo>
                  <a:cubicBezTo>
                    <a:pt x="243" y="80"/>
                    <a:pt x="246" y="82"/>
                    <a:pt x="238" y="68"/>
                  </a:cubicBezTo>
                  <a:cubicBezTo>
                    <a:pt x="237" y="67"/>
                    <a:pt x="237" y="66"/>
                    <a:pt x="236" y="65"/>
                  </a:cubicBezTo>
                  <a:cubicBezTo>
                    <a:pt x="239" y="66"/>
                    <a:pt x="241" y="68"/>
                    <a:pt x="246" y="68"/>
                  </a:cubicBezTo>
                  <a:cubicBezTo>
                    <a:pt x="251" y="68"/>
                    <a:pt x="257" y="64"/>
                    <a:pt x="258" y="59"/>
                  </a:cubicBezTo>
                  <a:cubicBezTo>
                    <a:pt x="260" y="54"/>
                    <a:pt x="259" y="52"/>
                    <a:pt x="264" y="50"/>
                  </a:cubicBezTo>
                  <a:cubicBezTo>
                    <a:pt x="269" y="47"/>
                    <a:pt x="278" y="47"/>
                    <a:pt x="283" y="48"/>
                  </a:cubicBezTo>
                  <a:cubicBezTo>
                    <a:pt x="287" y="48"/>
                    <a:pt x="291" y="50"/>
                    <a:pt x="291" y="47"/>
                  </a:cubicBezTo>
                  <a:cubicBezTo>
                    <a:pt x="292" y="45"/>
                    <a:pt x="289" y="43"/>
                    <a:pt x="297" y="42"/>
                  </a:cubicBezTo>
                  <a:cubicBezTo>
                    <a:pt x="305" y="41"/>
                    <a:pt x="312" y="42"/>
                    <a:pt x="314" y="46"/>
                  </a:cubicBezTo>
                  <a:cubicBezTo>
                    <a:pt x="316" y="50"/>
                    <a:pt x="312" y="48"/>
                    <a:pt x="323" y="52"/>
                  </a:cubicBezTo>
                  <a:cubicBezTo>
                    <a:pt x="333" y="56"/>
                    <a:pt x="335" y="59"/>
                    <a:pt x="341" y="60"/>
                  </a:cubicBezTo>
                  <a:cubicBezTo>
                    <a:pt x="348" y="60"/>
                    <a:pt x="351" y="57"/>
                    <a:pt x="356" y="60"/>
                  </a:cubicBezTo>
                  <a:cubicBezTo>
                    <a:pt x="362" y="63"/>
                    <a:pt x="367" y="68"/>
                    <a:pt x="367" y="70"/>
                  </a:cubicBezTo>
                  <a:cubicBezTo>
                    <a:pt x="368" y="72"/>
                    <a:pt x="370" y="73"/>
                    <a:pt x="374" y="74"/>
                  </a:cubicBezTo>
                  <a:cubicBezTo>
                    <a:pt x="378" y="74"/>
                    <a:pt x="384" y="76"/>
                    <a:pt x="386" y="80"/>
                  </a:cubicBezTo>
                  <a:cubicBezTo>
                    <a:pt x="388" y="83"/>
                    <a:pt x="388" y="85"/>
                    <a:pt x="394" y="86"/>
                  </a:cubicBezTo>
                  <a:cubicBezTo>
                    <a:pt x="399" y="87"/>
                    <a:pt x="410" y="84"/>
                    <a:pt x="411" y="89"/>
                  </a:cubicBezTo>
                  <a:cubicBezTo>
                    <a:pt x="412" y="95"/>
                    <a:pt x="412" y="100"/>
                    <a:pt x="415" y="104"/>
                  </a:cubicBezTo>
                  <a:cubicBezTo>
                    <a:pt x="418" y="107"/>
                    <a:pt x="421" y="108"/>
                    <a:pt x="420" y="114"/>
                  </a:cubicBezTo>
                  <a:cubicBezTo>
                    <a:pt x="420" y="115"/>
                    <a:pt x="420" y="116"/>
                    <a:pt x="419" y="117"/>
                  </a:cubicBezTo>
                  <a:cubicBezTo>
                    <a:pt x="418" y="122"/>
                    <a:pt x="417" y="129"/>
                    <a:pt x="418" y="133"/>
                  </a:cubicBezTo>
                  <a:cubicBezTo>
                    <a:pt x="419" y="137"/>
                    <a:pt x="420" y="142"/>
                    <a:pt x="417" y="145"/>
                  </a:cubicBezTo>
                  <a:cubicBezTo>
                    <a:pt x="414" y="148"/>
                    <a:pt x="414" y="153"/>
                    <a:pt x="413" y="154"/>
                  </a:cubicBezTo>
                  <a:cubicBezTo>
                    <a:pt x="412" y="154"/>
                    <a:pt x="407" y="165"/>
                    <a:pt x="407" y="167"/>
                  </a:cubicBezTo>
                  <a:cubicBezTo>
                    <a:pt x="408" y="169"/>
                    <a:pt x="410" y="171"/>
                    <a:pt x="414" y="173"/>
                  </a:cubicBezTo>
                  <a:cubicBezTo>
                    <a:pt x="418" y="175"/>
                    <a:pt x="420" y="174"/>
                    <a:pt x="418" y="179"/>
                  </a:cubicBezTo>
                  <a:cubicBezTo>
                    <a:pt x="416" y="184"/>
                    <a:pt x="410" y="185"/>
                    <a:pt x="417" y="194"/>
                  </a:cubicBezTo>
                  <a:cubicBezTo>
                    <a:pt x="423" y="204"/>
                    <a:pt x="425" y="206"/>
                    <a:pt x="425" y="211"/>
                  </a:cubicBezTo>
                  <a:cubicBezTo>
                    <a:pt x="425" y="215"/>
                    <a:pt x="421" y="220"/>
                    <a:pt x="426" y="227"/>
                  </a:cubicBezTo>
                  <a:cubicBezTo>
                    <a:pt x="431" y="234"/>
                    <a:pt x="437" y="233"/>
                    <a:pt x="442" y="234"/>
                  </a:cubicBezTo>
                  <a:cubicBezTo>
                    <a:pt x="448" y="234"/>
                    <a:pt x="453" y="237"/>
                    <a:pt x="453" y="244"/>
                  </a:cubicBezTo>
                  <a:cubicBezTo>
                    <a:pt x="453" y="252"/>
                    <a:pt x="449" y="255"/>
                    <a:pt x="447" y="260"/>
                  </a:cubicBezTo>
                  <a:cubicBezTo>
                    <a:pt x="445" y="264"/>
                    <a:pt x="441" y="271"/>
                    <a:pt x="439" y="273"/>
                  </a:cubicBezTo>
                  <a:cubicBezTo>
                    <a:pt x="438" y="274"/>
                    <a:pt x="438" y="276"/>
                    <a:pt x="438" y="278"/>
                  </a:cubicBezTo>
                  <a:cubicBezTo>
                    <a:pt x="438" y="278"/>
                    <a:pt x="438" y="278"/>
                    <a:pt x="438" y="278"/>
                  </a:cubicBezTo>
                  <a:cubicBezTo>
                    <a:pt x="438" y="280"/>
                    <a:pt x="439" y="282"/>
                    <a:pt x="440" y="285"/>
                  </a:cubicBezTo>
                  <a:cubicBezTo>
                    <a:pt x="444" y="289"/>
                    <a:pt x="452" y="298"/>
                    <a:pt x="455" y="302"/>
                  </a:cubicBezTo>
                  <a:cubicBezTo>
                    <a:pt x="458" y="307"/>
                    <a:pt x="463" y="312"/>
                    <a:pt x="472" y="316"/>
                  </a:cubicBezTo>
                  <a:cubicBezTo>
                    <a:pt x="481" y="321"/>
                    <a:pt x="489" y="321"/>
                    <a:pt x="489" y="332"/>
                  </a:cubicBezTo>
                  <a:cubicBezTo>
                    <a:pt x="490" y="343"/>
                    <a:pt x="485" y="349"/>
                    <a:pt x="494" y="351"/>
                  </a:cubicBezTo>
                  <a:cubicBezTo>
                    <a:pt x="502" y="353"/>
                    <a:pt x="503" y="348"/>
                    <a:pt x="503" y="351"/>
                  </a:cubicBezTo>
                  <a:cubicBezTo>
                    <a:pt x="503" y="354"/>
                    <a:pt x="505" y="364"/>
                    <a:pt x="501" y="366"/>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13" name="Freeform 1092">
              <a:extLst>
                <a:ext uri="{FF2B5EF4-FFF2-40B4-BE49-F238E27FC236}">
                  <a16:creationId xmlns:a16="http://schemas.microsoft.com/office/drawing/2014/main" id="{427D1F76-8EBC-614B-B5C6-118E02AF706B}"/>
                </a:ext>
              </a:extLst>
            </p:cNvPr>
            <p:cNvSpPr>
              <a:spLocks/>
            </p:cNvSpPr>
            <p:nvPr/>
          </p:nvSpPr>
          <p:spPr bwMode="auto">
            <a:xfrm>
              <a:off x="4914916" y="1670506"/>
              <a:ext cx="231776" cy="222250"/>
            </a:xfrm>
            <a:custGeom>
              <a:avLst/>
              <a:gdLst>
                <a:gd name="T0" fmla="*/ 243 w 243"/>
                <a:gd name="T1" fmla="*/ 205 h 232"/>
                <a:gd name="T2" fmla="*/ 242 w 243"/>
                <a:gd name="T3" fmla="*/ 205 h 232"/>
                <a:gd name="T4" fmla="*/ 235 w 243"/>
                <a:gd name="T5" fmla="*/ 206 h 232"/>
                <a:gd name="T6" fmla="*/ 229 w 243"/>
                <a:gd name="T7" fmla="*/ 204 h 232"/>
                <a:gd name="T8" fmla="*/ 208 w 243"/>
                <a:gd name="T9" fmla="*/ 208 h 232"/>
                <a:gd name="T10" fmla="*/ 201 w 243"/>
                <a:gd name="T11" fmla="*/ 227 h 232"/>
                <a:gd name="T12" fmla="*/ 200 w 243"/>
                <a:gd name="T13" fmla="*/ 228 h 232"/>
                <a:gd name="T14" fmla="*/ 200 w 243"/>
                <a:gd name="T15" fmla="*/ 228 h 232"/>
                <a:gd name="T16" fmla="*/ 181 w 243"/>
                <a:gd name="T17" fmla="*/ 229 h 232"/>
                <a:gd name="T18" fmla="*/ 150 w 243"/>
                <a:gd name="T19" fmla="*/ 224 h 232"/>
                <a:gd name="T20" fmla="*/ 123 w 243"/>
                <a:gd name="T21" fmla="*/ 203 h 232"/>
                <a:gd name="T22" fmla="*/ 98 w 243"/>
                <a:gd name="T23" fmla="*/ 183 h 232"/>
                <a:gd name="T24" fmla="*/ 73 w 243"/>
                <a:gd name="T25" fmla="*/ 167 h 232"/>
                <a:gd name="T26" fmla="*/ 51 w 243"/>
                <a:gd name="T27" fmla="*/ 155 h 232"/>
                <a:gd name="T28" fmla="*/ 31 w 243"/>
                <a:gd name="T29" fmla="*/ 147 h 232"/>
                <a:gd name="T30" fmla="*/ 17 w 243"/>
                <a:gd name="T31" fmla="*/ 145 h 232"/>
                <a:gd name="T32" fmla="*/ 16 w 243"/>
                <a:gd name="T33" fmla="*/ 142 h 232"/>
                <a:gd name="T34" fmla="*/ 10 w 243"/>
                <a:gd name="T35" fmla="*/ 134 h 232"/>
                <a:gd name="T36" fmla="*/ 7 w 243"/>
                <a:gd name="T37" fmla="*/ 123 h 232"/>
                <a:gd name="T38" fmla="*/ 3 w 243"/>
                <a:gd name="T39" fmla="*/ 114 h 232"/>
                <a:gd name="T40" fmla="*/ 0 w 243"/>
                <a:gd name="T41" fmla="*/ 112 h 232"/>
                <a:gd name="T42" fmla="*/ 4 w 243"/>
                <a:gd name="T43" fmla="*/ 110 h 232"/>
                <a:gd name="T44" fmla="*/ 21 w 243"/>
                <a:gd name="T45" fmla="*/ 100 h 232"/>
                <a:gd name="T46" fmla="*/ 35 w 243"/>
                <a:gd name="T47" fmla="*/ 90 h 232"/>
                <a:gd name="T48" fmla="*/ 54 w 243"/>
                <a:gd name="T49" fmla="*/ 77 h 232"/>
                <a:gd name="T50" fmla="*/ 58 w 243"/>
                <a:gd name="T51" fmla="*/ 50 h 232"/>
                <a:gd name="T52" fmla="*/ 53 w 243"/>
                <a:gd name="T53" fmla="*/ 28 h 232"/>
                <a:gd name="T54" fmla="*/ 64 w 243"/>
                <a:gd name="T55" fmla="*/ 18 h 232"/>
                <a:gd name="T56" fmla="*/ 76 w 243"/>
                <a:gd name="T57" fmla="*/ 8 h 232"/>
                <a:gd name="T58" fmla="*/ 78 w 243"/>
                <a:gd name="T59" fmla="*/ 4 h 232"/>
                <a:gd name="T60" fmla="*/ 82 w 243"/>
                <a:gd name="T61" fmla="*/ 4 h 232"/>
                <a:gd name="T62" fmla="*/ 89 w 243"/>
                <a:gd name="T63" fmla="*/ 0 h 232"/>
                <a:gd name="T64" fmla="*/ 103 w 243"/>
                <a:gd name="T65" fmla="*/ 2 h 232"/>
                <a:gd name="T66" fmla="*/ 111 w 243"/>
                <a:gd name="T67" fmla="*/ 3 h 232"/>
                <a:gd name="T68" fmla="*/ 118 w 243"/>
                <a:gd name="T69" fmla="*/ 5 h 232"/>
                <a:gd name="T70" fmla="*/ 123 w 243"/>
                <a:gd name="T71" fmla="*/ 11 h 232"/>
                <a:gd name="T72" fmla="*/ 132 w 243"/>
                <a:gd name="T73" fmla="*/ 4 h 232"/>
                <a:gd name="T74" fmla="*/ 133 w 243"/>
                <a:gd name="T75" fmla="*/ 7 h 232"/>
                <a:gd name="T76" fmla="*/ 138 w 243"/>
                <a:gd name="T77" fmla="*/ 17 h 232"/>
                <a:gd name="T78" fmla="*/ 140 w 243"/>
                <a:gd name="T79" fmla="*/ 23 h 232"/>
                <a:gd name="T80" fmla="*/ 146 w 243"/>
                <a:gd name="T81" fmla="*/ 30 h 232"/>
                <a:gd name="T82" fmla="*/ 149 w 243"/>
                <a:gd name="T83" fmla="*/ 35 h 232"/>
                <a:gd name="T84" fmla="*/ 158 w 243"/>
                <a:gd name="T85" fmla="*/ 40 h 232"/>
                <a:gd name="T86" fmla="*/ 170 w 243"/>
                <a:gd name="T87" fmla="*/ 43 h 232"/>
                <a:gd name="T88" fmla="*/ 167 w 243"/>
                <a:gd name="T89" fmla="*/ 50 h 232"/>
                <a:gd name="T90" fmla="*/ 172 w 243"/>
                <a:gd name="T91" fmla="*/ 59 h 232"/>
                <a:gd name="T92" fmla="*/ 165 w 243"/>
                <a:gd name="T93" fmla="*/ 66 h 232"/>
                <a:gd name="T94" fmla="*/ 161 w 243"/>
                <a:gd name="T95" fmla="*/ 73 h 232"/>
                <a:gd name="T96" fmla="*/ 160 w 243"/>
                <a:gd name="T97" fmla="*/ 77 h 232"/>
                <a:gd name="T98" fmla="*/ 157 w 243"/>
                <a:gd name="T99" fmla="*/ 83 h 232"/>
                <a:gd name="T100" fmla="*/ 159 w 243"/>
                <a:gd name="T101" fmla="*/ 93 h 232"/>
                <a:gd name="T102" fmla="*/ 168 w 243"/>
                <a:gd name="T103" fmla="*/ 104 h 232"/>
                <a:gd name="T104" fmla="*/ 179 w 243"/>
                <a:gd name="T105" fmla="*/ 115 h 232"/>
                <a:gd name="T106" fmla="*/ 183 w 243"/>
                <a:gd name="T107" fmla="*/ 122 h 232"/>
                <a:gd name="T108" fmla="*/ 197 w 243"/>
                <a:gd name="T109" fmla="*/ 133 h 232"/>
                <a:gd name="T110" fmla="*/ 212 w 243"/>
                <a:gd name="T111" fmla="*/ 141 h 232"/>
                <a:gd name="T112" fmla="*/ 221 w 243"/>
                <a:gd name="T113" fmla="*/ 158 h 232"/>
                <a:gd name="T114" fmla="*/ 221 w 243"/>
                <a:gd name="T115" fmla="*/ 170 h 232"/>
                <a:gd name="T116" fmla="*/ 224 w 243"/>
                <a:gd name="T117" fmla="*/ 177 h 232"/>
                <a:gd name="T118" fmla="*/ 229 w 243"/>
                <a:gd name="T119" fmla="*/ 181 h 232"/>
                <a:gd name="T120" fmla="*/ 234 w 243"/>
                <a:gd name="T121" fmla="*/ 193 h 232"/>
                <a:gd name="T122" fmla="*/ 242 w 243"/>
                <a:gd name="T123" fmla="*/ 201 h 232"/>
                <a:gd name="T124" fmla="*/ 243 w 243"/>
                <a:gd name="T125" fmla="*/ 20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3" h="232">
                  <a:moveTo>
                    <a:pt x="243" y="205"/>
                  </a:moveTo>
                  <a:cubicBezTo>
                    <a:pt x="243" y="205"/>
                    <a:pt x="242" y="205"/>
                    <a:pt x="242" y="205"/>
                  </a:cubicBezTo>
                  <a:cubicBezTo>
                    <a:pt x="241" y="207"/>
                    <a:pt x="234" y="205"/>
                    <a:pt x="235" y="206"/>
                  </a:cubicBezTo>
                  <a:cubicBezTo>
                    <a:pt x="233" y="206"/>
                    <a:pt x="231" y="205"/>
                    <a:pt x="229" y="204"/>
                  </a:cubicBezTo>
                  <a:cubicBezTo>
                    <a:pt x="227" y="203"/>
                    <a:pt x="212" y="204"/>
                    <a:pt x="208" y="208"/>
                  </a:cubicBezTo>
                  <a:cubicBezTo>
                    <a:pt x="205" y="211"/>
                    <a:pt x="203" y="222"/>
                    <a:pt x="201" y="227"/>
                  </a:cubicBezTo>
                  <a:cubicBezTo>
                    <a:pt x="201" y="228"/>
                    <a:pt x="200" y="228"/>
                    <a:pt x="200" y="228"/>
                  </a:cubicBezTo>
                  <a:cubicBezTo>
                    <a:pt x="200" y="228"/>
                    <a:pt x="200" y="228"/>
                    <a:pt x="200" y="228"/>
                  </a:cubicBezTo>
                  <a:cubicBezTo>
                    <a:pt x="196" y="232"/>
                    <a:pt x="189" y="229"/>
                    <a:pt x="181" y="229"/>
                  </a:cubicBezTo>
                  <a:cubicBezTo>
                    <a:pt x="171" y="228"/>
                    <a:pt x="167" y="232"/>
                    <a:pt x="150" y="224"/>
                  </a:cubicBezTo>
                  <a:cubicBezTo>
                    <a:pt x="133" y="216"/>
                    <a:pt x="136" y="213"/>
                    <a:pt x="123" y="203"/>
                  </a:cubicBezTo>
                  <a:cubicBezTo>
                    <a:pt x="111" y="193"/>
                    <a:pt x="106" y="189"/>
                    <a:pt x="98" y="183"/>
                  </a:cubicBezTo>
                  <a:cubicBezTo>
                    <a:pt x="91" y="177"/>
                    <a:pt x="81" y="173"/>
                    <a:pt x="73" y="167"/>
                  </a:cubicBezTo>
                  <a:cubicBezTo>
                    <a:pt x="65" y="162"/>
                    <a:pt x="55" y="158"/>
                    <a:pt x="51" y="155"/>
                  </a:cubicBezTo>
                  <a:cubicBezTo>
                    <a:pt x="48" y="151"/>
                    <a:pt x="36" y="148"/>
                    <a:pt x="31" y="147"/>
                  </a:cubicBezTo>
                  <a:cubicBezTo>
                    <a:pt x="27" y="146"/>
                    <a:pt x="20" y="145"/>
                    <a:pt x="17" y="145"/>
                  </a:cubicBezTo>
                  <a:cubicBezTo>
                    <a:pt x="17" y="144"/>
                    <a:pt x="17" y="143"/>
                    <a:pt x="16" y="142"/>
                  </a:cubicBezTo>
                  <a:cubicBezTo>
                    <a:pt x="11" y="138"/>
                    <a:pt x="10" y="138"/>
                    <a:pt x="10" y="134"/>
                  </a:cubicBezTo>
                  <a:cubicBezTo>
                    <a:pt x="10" y="130"/>
                    <a:pt x="9" y="129"/>
                    <a:pt x="7" y="123"/>
                  </a:cubicBezTo>
                  <a:cubicBezTo>
                    <a:pt x="4" y="117"/>
                    <a:pt x="6" y="116"/>
                    <a:pt x="3" y="114"/>
                  </a:cubicBezTo>
                  <a:cubicBezTo>
                    <a:pt x="2" y="113"/>
                    <a:pt x="1" y="112"/>
                    <a:pt x="0" y="112"/>
                  </a:cubicBezTo>
                  <a:cubicBezTo>
                    <a:pt x="1" y="111"/>
                    <a:pt x="2" y="110"/>
                    <a:pt x="4" y="110"/>
                  </a:cubicBezTo>
                  <a:cubicBezTo>
                    <a:pt x="11" y="107"/>
                    <a:pt x="15" y="103"/>
                    <a:pt x="21" y="100"/>
                  </a:cubicBezTo>
                  <a:cubicBezTo>
                    <a:pt x="27" y="97"/>
                    <a:pt x="33" y="93"/>
                    <a:pt x="35" y="90"/>
                  </a:cubicBezTo>
                  <a:cubicBezTo>
                    <a:pt x="37" y="88"/>
                    <a:pt x="52" y="79"/>
                    <a:pt x="54" y="77"/>
                  </a:cubicBezTo>
                  <a:cubicBezTo>
                    <a:pt x="57" y="74"/>
                    <a:pt x="57" y="52"/>
                    <a:pt x="58" y="50"/>
                  </a:cubicBezTo>
                  <a:cubicBezTo>
                    <a:pt x="58" y="48"/>
                    <a:pt x="54" y="33"/>
                    <a:pt x="53" y="28"/>
                  </a:cubicBezTo>
                  <a:cubicBezTo>
                    <a:pt x="51" y="22"/>
                    <a:pt x="60" y="20"/>
                    <a:pt x="64" y="18"/>
                  </a:cubicBezTo>
                  <a:cubicBezTo>
                    <a:pt x="68" y="15"/>
                    <a:pt x="71" y="13"/>
                    <a:pt x="76" y="8"/>
                  </a:cubicBezTo>
                  <a:cubicBezTo>
                    <a:pt x="77" y="6"/>
                    <a:pt x="78" y="5"/>
                    <a:pt x="78" y="4"/>
                  </a:cubicBezTo>
                  <a:cubicBezTo>
                    <a:pt x="79" y="5"/>
                    <a:pt x="80" y="5"/>
                    <a:pt x="82" y="4"/>
                  </a:cubicBezTo>
                  <a:cubicBezTo>
                    <a:pt x="84" y="2"/>
                    <a:pt x="82" y="0"/>
                    <a:pt x="89" y="0"/>
                  </a:cubicBezTo>
                  <a:cubicBezTo>
                    <a:pt x="95" y="0"/>
                    <a:pt x="100" y="1"/>
                    <a:pt x="103" y="2"/>
                  </a:cubicBezTo>
                  <a:cubicBezTo>
                    <a:pt x="106" y="4"/>
                    <a:pt x="107" y="4"/>
                    <a:pt x="111" y="3"/>
                  </a:cubicBezTo>
                  <a:cubicBezTo>
                    <a:pt x="116" y="1"/>
                    <a:pt x="117" y="1"/>
                    <a:pt x="118" y="5"/>
                  </a:cubicBezTo>
                  <a:cubicBezTo>
                    <a:pt x="119" y="9"/>
                    <a:pt x="119" y="14"/>
                    <a:pt x="123" y="11"/>
                  </a:cubicBezTo>
                  <a:cubicBezTo>
                    <a:pt x="126" y="9"/>
                    <a:pt x="130" y="6"/>
                    <a:pt x="132" y="4"/>
                  </a:cubicBezTo>
                  <a:cubicBezTo>
                    <a:pt x="132" y="5"/>
                    <a:pt x="133" y="6"/>
                    <a:pt x="133" y="7"/>
                  </a:cubicBezTo>
                  <a:cubicBezTo>
                    <a:pt x="134" y="12"/>
                    <a:pt x="137" y="15"/>
                    <a:pt x="138" y="17"/>
                  </a:cubicBezTo>
                  <a:cubicBezTo>
                    <a:pt x="140" y="19"/>
                    <a:pt x="140" y="21"/>
                    <a:pt x="140" y="23"/>
                  </a:cubicBezTo>
                  <a:cubicBezTo>
                    <a:pt x="141" y="25"/>
                    <a:pt x="142" y="27"/>
                    <a:pt x="146" y="30"/>
                  </a:cubicBezTo>
                  <a:cubicBezTo>
                    <a:pt x="149" y="34"/>
                    <a:pt x="149" y="34"/>
                    <a:pt x="149" y="35"/>
                  </a:cubicBezTo>
                  <a:cubicBezTo>
                    <a:pt x="149" y="37"/>
                    <a:pt x="152" y="38"/>
                    <a:pt x="158" y="40"/>
                  </a:cubicBezTo>
                  <a:cubicBezTo>
                    <a:pt x="163" y="43"/>
                    <a:pt x="170" y="41"/>
                    <a:pt x="170" y="43"/>
                  </a:cubicBezTo>
                  <a:cubicBezTo>
                    <a:pt x="170" y="46"/>
                    <a:pt x="165" y="45"/>
                    <a:pt x="167" y="50"/>
                  </a:cubicBezTo>
                  <a:cubicBezTo>
                    <a:pt x="169" y="55"/>
                    <a:pt x="172" y="57"/>
                    <a:pt x="172" y="59"/>
                  </a:cubicBezTo>
                  <a:cubicBezTo>
                    <a:pt x="171" y="61"/>
                    <a:pt x="168" y="63"/>
                    <a:pt x="165" y="66"/>
                  </a:cubicBezTo>
                  <a:cubicBezTo>
                    <a:pt x="162" y="69"/>
                    <a:pt x="161" y="72"/>
                    <a:pt x="161" y="73"/>
                  </a:cubicBezTo>
                  <a:cubicBezTo>
                    <a:pt x="162" y="75"/>
                    <a:pt x="163" y="76"/>
                    <a:pt x="160" y="77"/>
                  </a:cubicBezTo>
                  <a:cubicBezTo>
                    <a:pt x="158" y="78"/>
                    <a:pt x="156" y="81"/>
                    <a:pt x="157" y="83"/>
                  </a:cubicBezTo>
                  <a:cubicBezTo>
                    <a:pt x="158" y="86"/>
                    <a:pt x="160" y="89"/>
                    <a:pt x="159" y="93"/>
                  </a:cubicBezTo>
                  <a:cubicBezTo>
                    <a:pt x="159" y="97"/>
                    <a:pt x="165" y="101"/>
                    <a:pt x="168" y="104"/>
                  </a:cubicBezTo>
                  <a:cubicBezTo>
                    <a:pt x="172" y="107"/>
                    <a:pt x="180" y="109"/>
                    <a:pt x="179" y="115"/>
                  </a:cubicBezTo>
                  <a:cubicBezTo>
                    <a:pt x="177" y="121"/>
                    <a:pt x="175" y="119"/>
                    <a:pt x="183" y="122"/>
                  </a:cubicBezTo>
                  <a:cubicBezTo>
                    <a:pt x="191" y="125"/>
                    <a:pt x="194" y="130"/>
                    <a:pt x="197" y="133"/>
                  </a:cubicBezTo>
                  <a:cubicBezTo>
                    <a:pt x="201" y="137"/>
                    <a:pt x="209" y="139"/>
                    <a:pt x="212" y="141"/>
                  </a:cubicBezTo>
                  <a:cubicBezTo>
                    <a:pt x="215" y="143"/>
                    <a:pt x="221" y="152"/>
                    <a:pt x="221" y="158"/>
                  </a:cubicBezTo>
                  <a:cubicBezTo>
                    <a:pt x="221" y="164"/>
                    <a:pt x="220" y="167"/>
                    <a:pt x="221" y="170"/>
                  </a:cubicBezTo>
                  <a:cubicBezTo>
                    <a:pt x="221" y="174"/>
                    <a:pt x="221" y="175"/>
                    <a:pt x="224" y="177"/>
                  </a:cubicBezTo>
                  <a:cubicBezTo>
                    <a:pt x="227" y="179"/>
                    <a:pt x="227" y="177"/>
                    <a:pt x="229" y="181"/>
                  </a:cubicBezTo>
                  <a:cubicBezTo>
                    <a:pt x="230" y="186"/>
                    <a:pt x="231" y="190"/>
                    <a:pt x="234" y="193"/>
                  </a:cubicBezTo>
                  <a:cubicBezTo>
                    <a:pt x="236" y="196"/>
                    <a:pt x="241" y="200"/>
                    <a:pt x="242" y="201"/>
                  </a:cubicBezTo>
                  <a:cubicBezTo>
                    <a:pt x="242" y="202"/>
                    <a:pt x="243" y="203"/>
                    <a:pt x="243" y="20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14" name="Freeform 1093">
              <a:extLst>
                <a:ext uri="{FF2B5EF4-FFF2-40B4-BE49-F238E27FC236}">
                  <a16:creationId xmlns:a16="http://schemas.microsoft.com/office/drawing/2014/main" id="{43113226-CFDC-6945-A0B4-13CC49738629}"/>
                </a:ext>
              </a:extLst>
            </p:cNvPr>
            <p:cNvSpPr>
              <a:spLocks/>
            </p:cNvSpPr>
            <p:nvPr/>
          </p:nvSpPr>
          <p:spPr bwMode="auto">
            <a:xfrm>
              <a:off x="5191141" y="1526043"/>
              <a:ext cx="333376" cy="204788"/>
            </a:xfrm>
            <a:custGeom>
              <a:avLst/>
              <a:gdLst>
                <a:gd name="T0" fmla="*/ 343 w 350"/>
                <a:gd name="T1" fmla="*/ 154 h 216"/>
                <a:gd name="T2" fmla="*/ 319 w 350"/>
                <a:gd name="T3" fmla="*/ 157 h 216"/>
                <a:gd name="T4" fmla="*/ 305 w 350"/>
                <a:gd name="T5" fmla="*/ 185 h 216"/>
                <a:gd name="T6" fmla="*/ 270 w 350"/>
                <a:gd name="T7" fmla="*/ 210 h 216"/>
                <a:gd name="T8" fmla="*/ 246 w 350"/>
                <a:gd name="T9" fmla="*/ 205 h 216"/>
                <a:gd name="T10" fmla="*/ 236 w 350"/>
                <a:gd name="T11" fmla="*/ 199 h 216"/>
                <a:gd name="T12" fmla="*/ 227 w 350"/>
                <a:gd name="T13" fmla="*/ 174 h 216"/>
                <a:gd name="T14" fmla="*/ 202 w 350"/>
                <a:gd name="T15" fmla="*/ 165 h 216"/>
                <a:gd name="T16" fmla="*/ 183 w 350"/>
                <a:gd name="T17" fmla="*/ 155 h 216"/>
                <a:gd name="T18" fmla="*/ 157 w 350"/>
                <a:gd name="T19" fmla="*/ 145 h 216"/>
                <a:gd name="T20" fmla="*/ 130 w 350"/>
                <a:gd name="T21" fmla="*/ 131 h 216"/>
                <a:gd name="T22" fmla="*/ 107 w 350"/>
                <a:gd name="T23" fmla="*/ 132 h 216"/>
                <a:gd name="T24" fmla="*/ 80 w 350"/>
                <a:gd name="T25" fmla="*/ 135 h 216"/>
                <a:gd name="T26" fmla="*/ 62 w 350"/>
                <a:gd name="T27" fmla="*/ 153 h 216"/>
                <a:gd name="T28" fmla="*/ 47 w 350"/>
                <a:gd name="T29" fmla="*/ 120 h 216"/>
                <a:gd name="T30" fmla="*/ 28 w 350"/>
                <a:gd name="T31" fmla="*/ 91 h 216"/>
                <a:gd name="T32" fmla="*/ 8 w 350"/>
                <a:gd name="T33" fmla="*/ 70 h 216"/>
                <a:gd name="T34" fmla="*/ 0 w 350"/>
                <a:gd name="T35" fmla="*/ 26 h 216"/>
                <a:gd name="T36" fmla="*/ 22 w 350"/>
                <a:gd name="T37" fmla="*/ 16 h 216"/>
                <a:gd name="T38" fmla="*/ 51 w 350"/>
                <a:gd name="T39" fmla="*/ 22 h 216"/>
                <a:gd name="T40" fmla="*/ 73 w 350"/>
                <a:gd name="T41" fmla="*/ 43 h 216"/>
                <a:gd name="T42" fmla="*/ 82 w 350"/>
                <a:gd name="T43" fmla="*/ 42 h 216"/>
                <a:gd name="T44" fmla="*/ 104 w 350"/>
                <a:gd name="T45" fmla="*/ 34 h 216"/>
                <a:gd name="T46" fmla="*/ 120 w 350"/>
                <a:gd name="T47" fmla="*/ 15 h 216"/>
                <a:gd name="T48" fmla="*/ 142 w 350"/>
                <a:gd name="T49" fmla="*/ 4 h 216"/>
                <a:gd name="T50" fmla="*/ 170 w 350"/>
                <a:gd name="T51" fmla="*/ 19 h 216"/>
                <a:gd name="T52" fmla="*/ 196 w 350"/>
                <a:gd name="T53" fmla="*/ 46 h 216"/>
                <a:gd name="T54" fmla="*/ 234 w 350"/>
                <a:gd name="T55" fmla="*/ 73 h 216"/>
                <a:gd name="T56" fmla="*/ 268 w 350"/>
                <a:gd name="T57" fmla="*/ 95 h 216"/>
                <a:gd name="T58" fmla="*/ 303 w 350"/>
                <a:gd name="T59" fmla="*/ 118 h 216"/>
                <a:gd name="T60" fmla="*/ 338 w 350"/>
                <a:gd name="T61" fmla="*/ 132 h 216"/>
                <a:gd name="T62" fmla="*/ 347 w 350"/>
                <a:gd name="T63" fmla="*/ 15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0" h="216">
                  <a:moveTo>
                    <a:pt x="350" y="152"/>
                  </a:moveTo>
                  <a:cubicBezTo>
                    <a:pt x="349" y="154"/>
                    <a:pt x="346" y="156"/>
                    <a:pt x="343" y="154"/>
                  </a:cubicBezTo>
                  <a:cubicBezTo>
                    <a:pt x="338" y="151"/>
                    <a:pt x="327" y="146"/>
                    <a:pt x="328" y="150"/>
                  </a:cubicBezTo>
                  <a:cubicBezTo>
                    <a:pt x="328" y="154"/>
                    <a:pt x="325" y="157"/>
                    <a:pt x="319" y="157"/>
                  </a:cubicBezTo>
                  <a:cubicBezTo>
                    <a:pt x="314" y="158"/>
                    <a:pt x="308" y="166"/>
                    <a:pt x="308" y="166"/>
                  </a:cubicBezTo>
                  <a:cubicBezTo>
                    <a:pt x="308" y="166"/>
                    <a:pt x="313" y="181"/>
                    <a:pt x="305" y="185"/>
                  </a:cubicBezTo>
                  <a:cubicBezTo>
                    <a:pt x="297" y="188"/>
                    <a:pt x="275" y="189"/>
                    <a:pt x="277" y="197"/>
                  </a:cubicBezTo>
                  <a:cubicBezTo>
                    <a:pt x="279" y="204"/>
                    <a:pt x="277" y="207"/>
                    <a:pt x="270" y="210"/>
                  </a:cubicBezTo>
                  <a:cubicBezTo>
                    <a:pt x="264" y="213"/>
                    <a:pt x="264" y="216"/>
                    <a:pt x="258" y="210"/>
                  </a:cubicBezTo>
                  <a:cubicBezTo>
                    <a:pt x="251" y="204"/>
                    <a:pt x="251" y="206"/>
                    <a:pt x="246" y="205"/>
                  </a:cubicBezTo>
                  <a:cubicBezTo>
                    <a:pt x="243" y="205"/>
                    <a:pt x="238" y="203"/>
                    <a:pt x="235" y="202"/>
                  </a:cubicBezTo>
                  <a:cubicBezTo>
                    <a:pt x="236" y="201"/>
                    <a:pt x="236" y="200"/>
                    <a:pt x="236" y="199"/>
                  </a:cubicBezTo>
                  <a:cubicBezTo>
                    <a:pt x="237" y="193"/>
                    <a:pt x="234" y="192"/>
                    <a:pt x="231" y="189"/>
                  </a:cubicBezTo>
                  <a:cubicBezTo>
                    <a:pt x="228" y="185"/>
                    <a:pt x="228" y="180"/>
                    <a:pt x="227" y="174"/>
                  </a:cubicBezTo>
                  <a:cubicBezTo>
                    <a:pt x="226" y="169"/>
                    <a:pt x="215" y="172"/>
                    <a:pt x="210" y="171"/>
                  </a:cubicBezTo>
                  <a:cubicBezTo>
                    <a:pt x="204" y="170"/>
                    <a:pt x="204" y="168"/>
                    <a:pt x="202" y="165"/>
                  </a:cubicBezTo>
                  <a:cubicBezTo>
                    <a:pt x="200" y="161"/>
                    <a:pt x="194" y="159"/>
                    <a:pt x="190" y="159"/>
                  </a:cubicBezTo>
                  <a:cubicBezTo>
                    <a:pt x="186" y="158"/>
                    <a:pt x="184" y="157"/>
                    <a:pt x="183" y="155"/>
                  </a:cubicBezTo>
                  <a:cubicBezTo>
                    <a:pt x="183" y="153"/>
                    <a:pt x="178" y="148"/>
                    <a:pt x="172" y="145"/>
                  </a:cubicBezTo>
                  <a:cubicBezTo>
                    <a:pt x="167" y="142"/>
                    <a:pt x="164" y="145"/>
                    <a:pt x="157" y="145"/>
                  </a:cubicBezTo>
                  <a:cubicBezTo>
                    <a:pt x="151" y="144"/>
                    <a:pt x="149" y="141"/>
                    <a:pt x="139" y="137"/>
                  </a:cubicBezTo>
                  <a:cubicBezTo>
                    <a:pt x="128" y="133"/>
                    <a:pt x="132" y="135"/>
                    <a:pt x="130" y="131"/>
                  </a:cubicBezTo>
                  <a:cubicBezTo>
                    <a:pt x="128" y="127"/>
                    <a:pt x="121" y="126"/>
                    <a:pt x="113" y="127"/>
                  </a:cubicBezTo>
                  <a:cubicBezTo>
                    <a:pt x="105" y="128"/>
                    <a:pt x="108" y="130"/>
                    <a:pt x="107" y="132"/>
                  </a:cubicBezTo>
                  <a:cubicBezTo>
                    <a:pt x="107" y="135"/>
                    <a:pt x="103" y="133"/>
                    <a:pt x="99" y="133"/>
                  </a:cubicBezTo>
                  <a:cubicBezTo>
                    <a:pt x="94" y="132"/>
                    <a:pt x="85" y="132"/>
                    <a:pt x="80" y="135"/>
                  </a:cubicBezTo>
                  <a:cubicBezTo>
                    <a:pt x="75" y="137"/>
                    <a:pt x="76" y="139"/>
                    <a:pt x="74" y="144"/>
                  </a:cubicBezTo>
                  <a:cubicBezTo>
                    <a:pt x="73" y="149"/>
                    <a:pt x="67" y="153"/>
                    <a:pt x="62" y="153"/>
                  </a:cubicBezTo>
                  <a:cubicBezTo>
                    <a:pt x="57" y="153"/>
                    <a:pt x="55" y="151"/>
                    <a:pt x="52" y="150"/>
                  </a:cubicBezTo>
                  <a:cubicBezTo>
                    <a:pt x="46" y="137"/>
                    <a:pt x="46" y="129"/>
                    <a:pt x="47" y="120"/>
                  </a:cubicBezTo>
                  <a:cubicBezTo>
                    <a:pt x="49" y="111"/>
                    <a:pt x="46" y="109"/>
                    <a:pt x="39" y="102"/>
                  </a:cubicBezTo>
                  <a:cubicBezTo>
                    <a:pt x="32" y="96"/>
                    <a:pt x="23" y="98"/>
                    <a:pt x="28" y="91"/>
                  </a:cubicBezTo>
                  <a:cubicBezTo>
                    <a:pt x="33" y="84"/>
                    <a:pt x="38" y="83"/>
                    <a:pt x="32" y="80"/>
                  </a:cubicBezTo>
                  <a:cubicBezTo>
                    <a:pt x="26" y="78"/>
                    <a:pt x="6" y="79"/>
                    <a:pt x="8" y="70"/>
                  </a:cubicBezTo>
                  <a:cubicBezTo>
                    <a:pt x="11" y="60"/>
                    <a:pt x="22" y="53"/>
                    <a:pt x="11" y="43"/>
                  </a:cubicBezTo>
                  <a:cubicBezTo>
                    <a:pt x="6" y="38"/>
                    <a:pt x="2" y="32"/>
                    <a:pt x="0" y="26"/>
                  </a:cubicBezTo>
                  <a:cubicBezTo>
                    <a:pt x="3" y="24"/>
                    <a:pt x="6" y="22"/>
                    <a:pt x="11" y="19"/>
                  </a:cubicBezTo>
                  <a:cubicBezTo>
                    <a:pt x="16" y="16"/>
                    <a:pt x="15" y="16"/>
                    <a:pt x="22" y="16"/>
                  </a:cubicBezTo>
                  <a:cubicBezTo>
                    <a:pt x="29" y="16"/>
                    <a:pt x="25" y="13"/>
                    <a:pt x="33" y="15"/>
                  </a:cubicBezTo>
                  <a:cubicBezTo>
                    <a:pt x="41" y="18"/>
                    <a:pt x="48" y="18"/>
                    <a:pt x="51" y="22"/>
                  </a:cubicBezTo>
                  <a:cubicBezTo>
                    <a:pt x="54" y="26"/>
                    <a:pt x="55" y="24"/>
                    <a:pt x="62" y="33"/>
                  </a:cubicBezTo>
                  <a:cubicBezTo>
                    <a:pt x="68" y="42"/>
                    <a:pt x="70" y="43"/>
                    <a:pt x="73" y="43"/>
                  </a:cubicBezTo>
                  <a:cubicBezTo>
                    <a:pt x="75" y="43"/>
                    <a:pt x="80" y="42"/>
                    <a:pt x="82" y="42"/>
                  </a:cubicBezTo>
                  <a:cubicBezTo>
                    <a:pt x="82" y="42"/>
                    <a:pt x="82" y="42"/>
                    <a:pt x="82" y="42"/>
                  </a:cubicBezTo>
                  <a:cubicBezTo>
                    <a:pt x="83" y="45"/>
                    <a:pt x="106" y="45"/>
                    <a:pt x="108" y="43"/>
                  </a:cubicBezTo>
                  <a:cubicBezTo>
                    <a:pt x="109" y="42"/>
                    <a:pt x="106" y="41"/>
                    <a:pt x="104" y="34"/>
                  </a:cubicBezTo>
                  <a:cubicBezTo>
                    <a:pt x="103" y="27"/>
                    <a:pt x="105" y="24"/>
                    <a:pt x="110" y="21"/>
                  </a:cubicBezTo>
                  <a:cubicBezTo>
                    <a:pt x="114" y="18"/>
                    <a:pt x="119" y="22"/>
                    <a:pt x="120" y="15"/>
                  </a:cubicBezTo>
                  <a:cubicBezTo>
                    <a:pt x="121" y="8"/>
                    <a:pt x="122" y="11"/>
                    <a:pt x="127" y="7"/>
                  </a:cubicBezTo>
                  <a:cubicBezTo>
                    <a:pt x="131" y="4"/>
                    <a:pt x="136" y="0"/>
                    <a:pt x="142" y="4"/>
                  </a:cubicBezTo>
                  <a:cubicBezTo>
                    <a:pt x="147" y="9"/>
                    <a:pt x="146" y="13"/>
                    <a:pt x="154" y="14"/>
                  </a:cubicBezTo>
                  <a:cubicBezTo>
                    <a:pt x="162" y="16"/>
                    <a:pt x="168" y="14"/>
                    <a:pt x="170" y="19"/>
                  </a:cubicBezTo>
                  <a:cubicBezTo>
                    <a:pt x="172" y="24"/>
                    <a:pt x="174" y="31"/>
                    <a:pt x="177" y="37"/>
                  </a:cubicBezTo>
                  <a:cubicBezTo>
                    <a:pt x="180" y="43"/>
                    <a:pt x="186" y="47"/>
                    <a:pt x="196" y="46"/>
                  </a:cubicBezTo>
                  <a:cubicBezTo>
                    <a:pt x="206" y="46"/>
                    <a:pt x="214" y="39"/>
                    <a:pt x="219" y="47"/>
                  </a:cubicBezTo>
                  <a:cubicBezTo>
                    <a:pt x="224" y="54"/>
                    <a:pt x="227" y="68"/>
                    <a:pt x="234" y="73"/>
                  </a:cubicBezTo>
                  <a:cubicBezTo>
                    <a:pt x="241" y="77"/>
                    <a:pt x="231" y="74"/>
                    <a:pt x="244" y="81"/>
                  </a:cubicBezTo>
                  <a:cubicBezTo>
                    <a:pt x="257" y="89"/>
                    <a:pt x="261" y="91"/>
                    <a:pt x="268" y="95"/>
                  </a:cubicBezTo>
                  <a:cubicBezTo>
                    <a:pt x="275" y="100"/>
                    <a:pt x="272" y="100"/>
                    <a:pt x="282" y="106"/>
                  </a:cubicBezTo>
                  <a:cubicBezTo>
                    <a:pt x="293" y="112"/>
                    <a:pt x="295" y="113"/>
                    <a:pt x="303" y="118"/>
                  </a:cubicBezTo>
                  <a:cubicBezTo>
                    <a:pt x="311" y="123"/>
                    <a:pt x="312" y="127"/>
                    <a:pt x="319" y="128"/>
                  </a:cubicBezTo>
                  <a:cubicBezTo>
                    <a:pt x="327" y="129"/>
                    <a:pt x="331" y="127"/>
                    <a:pt x="338" y="132"/>
                  </a:cubicBezTo>
                  <a:cubicBezTo>
                    <a:pt x="346" y="136"/>
                    <a:pt x="348" y="140"/>
                    <a:pt x="348" y="142"/>
                  </a:cubicBezTo>
                  <a:cubicBezTo>
                    <a:pt x="347" y="144"/>
                    <a:pt x="340" y="148"/>
                    <a:pt x="347" y="151"/>
                  </a:cubicBezTo>
                  <a:cubicBezTo>
                    <a:pt x="348" y="151"/>
                    <a:pt x="349" y="152"/>
                    <a:pt x="350" y="15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15" name="Freeform 1094">
              <a:extLst>
                <a:ext uri="{FF2B5EF4-FFF2-40B4-BE49-F238E27FC236}">
                  <a16:creationId xmlns:a16="http://schemas.microsoft.com/office/drawing/2014/main" id="{E1478330-F951-3341-BE82-0A1673606600}"/>
                </a:ext>
              </a:extLst>
            </p:cNvPr>
            <p:cNvSpPr>
              <a:spLocks/>
            </p:cNvSpPr>
            <p:nvPr/>
          </p:nvSpPr>
          <p:spPr bwMode="auto">
            <a:xfrm>
              <a:off x="5243529" y="1454606"/>
              <a:ext cx="404814" cy="219075"/>
            </a:xfrm>
            <a:custGeom>
              <a:avLst/>
              <a:gdLst>
                <a:gd name="T0" fmla="*/ 399 w 426"/>
                <a:gd name="T1" fmla="*/ 147 h 231"/>
                <a:gd name="T2" fmla="*/ 370 w 426"/>
                <a:gd name="T3" fmla="*/ 147 h 231"/>
                <a:gd name="T4" fmla="*/ 366 w 426"/>
                <a:gd name="T5" fmla="*/ 138 h 231"/>
                <a:gd name="T6" fmla="*/ 354 w 426"/>
                <a:gd name="T7" fmla="*/ 131 h 231"/>
                <a:gd name="T8" fmla="*/ 340 w 426"/>
                <a:gd name="T9" fmla="*/ 142 h 231"/>
                <a:gd name="T10" fmla="*/ 332 w 426"/>
                <a:gd name="T11" fmla="*/ 153 h 231"/>
                <a:gd name="T12" fmla="*/ 315 w 426"/>
                <a:gd name="T13" fmla="*/ 164 h 231"/>
                <a:gd name="T14" fmla="*/ 320 w 426"/>
                <a:gd name="T15" fmla="*/ 182 h 231"/>
                <a:gd name="T16" fmla="*/ 323 w 426"/>
                <a:gd name="T17" fmla="*/ 223 h 231"/>
                <a:gd name="T18" fmla="*/ 315 w 426"/>
                <a:gd name="T19" fmla="*/ 231 h 231"/>
                <a:gd name="T20" fmla="*/ 296 w 426"/>
                <a:gd name="T21" fmla="*/ 227 h 231"/>
                <a:gd name="T22" fmla="*/ 293 w 426"/>
                <a:gd name="T23" fmla="*/ 217 h 231"/>
                <a:gd name="T24" fmla="*/ 264 w 426"/>
                <a:gd name="T25" fmla="*/ 203 h 231"/>
                <a:gd name="T26" fmla="*/ 227 w 426"/>
                <a:gd name="T27" fmla="*/ 181 h 231"/>
                <a:gd name="T28" fmla="*/ 189 w 426"/>
                <a:gd name="T29" fmla="*/ 156 h 231"/>
                <a:gd name="T30" fmla="*/ 164 w 426"/>
                <a:gd name="T31" fmla="*/ 122 h 231"/>
                <a:gd name="T32" fmla="*/ 122 w 426"/>
                <a:gd name="T33" fmla="*/ 112 h 231"/>
                <a:gd name="T34" fmla="*/ 99 w 426"/>
                <a:gd name="T35" fmla="*/ 89 h 231"/>
                <a:gd name="T36" fmla="*/ 72 w 426"/>
                <a:gd name="T37" fmla="*/ 82 h 231"/>
                <a:gd name="T38" fmla="*/ 55 w 426"/>
                <a:gd name="T39" fmla="*/ 96 h 231"/>
                <a:gd name="T40" fmla="*/ 53 w 426"/>
                <a:gd name="T41" fmla="*/ 118 h 231"/>
                <a:gd name="T42" fmla="*/ 27 w 426"/>
                <a:gd name="T43" fmla="*/ 117 h 231"/>
                <a:gd name="T44" fmla="*/ 50 w 426"/>
                <a:gd name="T45" fmla="*/ 0 h 231"/>
                <a:gd name="T46" fmla="*/ 55 w 426"/>
                <a:gd name="T47" fmla="*/ 8 h 231"/>
                <a:gd name="T48" fmla="*/ 68 w 426"/>
                <a:gd name="T49" fmla="*/ 35 h 231"/>
                <a:gd name="T50" fmla="*/ 67 w 426"/>
                <a:gd name="T51" fmla="*/ 13 h 231"/>
                <a:gd name="T52" fmla="*/ 79 w 426"/>
                <a:gd name="T53" fmla="*/ 9 h 231"/>
                <a:gd name="T54" fmla="*/ 78 w 426"/>
                <a:gd name="T55" fmla="*/ 36 h 231"/>
                <a:gd name="T56" fmla="*/ 99 w 426"/>
                <a:gd name="T57" fmla="*/ 41 h 231"/>
                <a:gd name="T58" fmla="*/ 114 w 426"/>
                <a:gd name="T59" fmla="*/ 26 h 231"/>
                <a:gd name="T60" fmla="*/ 129 w 426"/>
                <a:gd name="T61" fmla="*/ 37 h 231"/>
                <a:gd name="T62" fmla="*/ 166 w 426"/>
                <a:gd name="T63" fmla="*/ 54 h 231"/>
                <a:gd name="T64" fmla="*/ 209 w 426"/>
                <a:gd name="T65" fmla="*/ 52 h 231"/>
                <a:gd name="T66" fmla="*/ 241 w 426"/>
                <a:gd name="T67" fmla="*/ 69 h 231"/>
                <a:gd name="T68" fmla="*/ 256 w 426"/>
                <a:gd name="T69" fmla="*/ 97 h 231"/>
                <a:gd name="T70" fmla="*/ 282 w 426"/>
                <a:gd name="T71" fmla="*/ 122 h 231"/>
                <a:gd name="T72" fmla="*/ 306 w 426"/>
                <a:gd name="T73" fmla="*/ 129 h 231"/>
                <a:gd name="T74" fmla="*/ 318 w 426"/>
                <a:gd name="T75" fmla="*/ 131 h 231"/>
                <a:gd name="T76" fmla="*/ 341 w 426"/>
                <a:gd name="T77" fmla="*/ 103 h 231"/>
                <a:gd name="T78" fmla="*/ 368 w 426"/>
                <a:gd name="T79" fmla="*/ 91 h 231"/>
                <a:gd name="T80" fmla="*/ 363 w 426"/>
                <a:gd name="T81" fmla="*/ 113 h 231"/>
                <a:gd name="T82" fmla="*/ 382 w 426"/>
                <a:gd name="T83" fmla="*/ 112 h 231"/>
                <a:gd name="T84" fmla="*/ 418 w 426"/>
                <a:gd name="T85" fmla="*/ 129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6" h="231">
                  <a:moveTo>
                    <a:pt x="414" y="137"/>
                  </a:moveTo>
                  <a:cubicBezTo>
                    <a:pt x="409" y="140"/>
                    <a:pt x="404" y="142"/>
                    <a:pt x="399" y="147"/>
                  </a:cubicBezTo>
                  <a:cubicBezTo>
                    <a:pt x="393" y="152"/>
                    <a:pt x="389" y="146"/>
                    <a:pt x="383" y="147"/>
                  </a:cubicBezTo>
                  <a:cubicBezTo>
                    <a:pt x="379" y="147"/>
                    <a:pt x="374" y="147"/>
                    <a:pt x="370" y="147"/>
                  </a:cubicBezTo>
                  <a:cubicBezTo>
                    <a:pt x="369" y="146"/>
                    <a:pt x="368" y="145"/>
                    <a:pt x="367" y="145"/>
                  </a:cubicBezTo>
                  <a:cubicBezTo>
                    <a:pt x="361" y="141"/>
                    <a:pt x="364" y="141"/>
                    <a:pt x="366" y="138"/>
                  </a:cubicBezTo>
                  <a:cubicBezTo>
                    <a:pt x="369" y="135"/>
                    <a:pt x="370" y="132"/>
                    <a:pt x="367" y="127"/>
                  </a:cubicBezTo>
                  <a:cubicBezTo>
                    <a:pt x="364" y="123"/>
                    <a:pt x="360" y="127"/>
                    <a:pt x="354" y="131"/>
                  </a:cubicBezTo>
                  <a:cubicBezTo>
                    <a:pt x="348" y="136"/>
                    <a:pt x="347" y="132"/>
                    <a:pt x="342" y="131"/>
                  </a:cubicBezTo>
                  <a:cubicBezTo>
                    <a:pt x="336" y="130"/>
                    <a:pt x="338" y="140"/>
                    <a:pt x="340" y="142"/>
                  </a:cubicBezTo>
                  <a:cubicBezTo>
                    <a:pt x="342" y="145"/>
                    <a:pt x="340" y="147"/>
                    <a:pt x="338" y="147"/>
                  </a:cubicBezTo>
                  <a:cubicBezTo>
                    <a:pt x="336" y="147"/>
                    <a:pt x="331" y="148"/>
                    <a:pt x="332" y="153"/>
                  </a:cubicBezTo>
                  <a:cubicBezTo>
                    <a:pt x="334" y="158"/>
                    <a:pt x="327" y="158"/>
                    <a:pt x="324" y="165"/>
                  </a:cubicBezTo>
                  <a:cubicBezTo>
                    <a:pt x="321" y="171"/>
                    <a:pt x="321" y="166"/>
                    <a:pt x="315" y="164"/>
                  </a:cubicBezTo>
                  <a:cubicBezTo>
                    <a:pt x="310" y="162"/>
                    <a:pt x="304" y="163"/>
                    <a:pt x="300" y="170"/>
                  </a:cubicBezTo>
                  <a:cubicBezTo>
                    <a:pt x="297" y="176"/>
                    <a:pt x="311" y="180"/>
                    <a:pt x="320" y="182"/>
                  </a:cubicBezTo>
                  <a:cubicBezTo>
                    <a:pt x="329" y="184"/>
                    <a:pt x="325" y="191"/>
                    <a:pt x="330" y="201"/>
                  </a:cubicBezTo>
                  <a:cubicBezTo>
                    <a:pt x="336" y="211"/>
                    <a:pt x="327" y="213"/>
                    <a:pt x="323" y="223"/>
                  </a:cubicBezTo>
                  <a:cubicBezTo>
                    <a:pt x="322" y="227"/>
                    <a:pt x="322" y="230"/>
                    <a:pt x="323" y="231"/>
                  </a:cubicBezTo>
                  <a:cubicBezTo>
                    <a:pt x="321" y="231"/>
                    <a:pt x="318" y="231"/>
                    <a:pt x="315" y="231"/>
                  </a:cubicBezTo>
                  <a:cubicBezTo>
                    <a:pt x="312" y="230"/>
                    <a:pt x="311" y="229"/>
                    <a:pt x="304" y="228"/>
                  </a:cubicBezTo>
                  <a:cubicBezTo>
                    <a:pt x="300" y="227"/>
                    <a:pt x="299" y="228"/>
                    <a:pt x="296" y="227"/>
                  </a:cubicBezTo>
                  <a:cubicBezTo>
                    <a:pt x="295" y="227"/>
                    <a:pt x="293" y="226"/>
                    <a:pt x="292" y="226"/>
                  </a:cubicBezTo>
                  <a:cubicBezTo>
                    <a:pt x="285" y="223"/>
                    <a:pt x="292" y="219"/>
                    <a:pt x="293" y="217"/>
                  </a:cubicBezTo>
                  <a:cubicBezTo>
                    <a:pt x="293" y="215"/>
                    <a:pt x="291" y="211"/>
                    <a:pt x="283" y="207"/>
                  </a:cubicBezTo>
                  <a:cubicBezTo>
                    <a:pt x="276" y="202"/>
                    <a:pt x="272" y="204"/>
                    <a:pt x="264" y="203"/>
                  </a:cubicBezTo>
                  <a:cubicBezTo>
                    <a:pt x="257" y="202"/>
                    <a:pt x="256" y="198"/>
                    <a:pt x="248" y="193"/>
                  </a:cubicBezTo>
                  <a:cubicBezTo>
                    <a:pt x="240" y="188"/>
                    <a:pt x="238" y="187"/>
                    <a:pt x="227" y="181"/>
                  </a:cubicBezTo>
                  <a:cubicBezTo>
                    <a:pt x="217" y="175"/>
                    <a:pt x="220" y="175"/>
                    <a:pt x="213" y="170"/>
                  </a:cubicBezTo>
                  <a:cubicBezTo>
                    <a:pt x="206" y="166"/>
                    <a:pt x="202" y="164"/>
                    <a:pt x="189" y="156"/>
                  </a:cubicBezTo>
                  <a:cubicBezTo>
                    <a:pt x="176" y="149"/>
                    <a:pt x="186" y="152"/>
                    <a:pt x="179" y="148"/>
                  </a:cubicBezTo>
                  <a:cubicBezTo>
                    <a:pt x="172" y="143"/>
                    <a:pt x="169" y="129"/>
                    <a:pt x="164" y="122"/>
                  </a:cubicBezTo>
                  <a:cubicBezTo>
                    <a:pt x="159" y="114"/>
                    <a:pt x="151" y="121"/>
                    <a:pt x="141" y="121"/>
                  </a:cubicBezTo>
                  <a:cubicBezTo>
                    <a:pt x="131" y="122"/>
                    <a:pt x="125" y="118"/>
                    <a:pt x="122" y="112"/>
                  </a:cubicBezTo>
                  <a:cubicBezTo>
                    <a:pt x="119" y="106"/>
                    <a:pt x="117" y="99"/>
                    <a:pt x="115" y="94"/>
                  </a:cubicBezTo>
                  <a:cubicBezTo>
                    <a:pt x="113" y="89"/>
                    <a:pt x="107" y="91"/>
                    <a:pt x="99" y="89"/>
                  </a:cubicBezTo>
                  <a:cubicBezTo>
                    <a:pt x="91" y="88"/>
                    <a:pt x="92" y="84"/>
                    <a:pt x="87" y="79"/>
                  </a:cubicBezTo>
                  <a:cubicBezTo>
                    <a:pt x="81" y="75"/>
                    <a:pt x="76" y="79"/>
                    <a:pt x="72" y="82"/>
                  </a:cubicBezTo>
                  <a:cubicBezTo>
                    <a:pt x="67" y="86"/>
                    <a:pt x="66" y="83"/>
                    <a:pt x="65" y="90"/>
                  </a:cubicBezTo>
                  <a:cubicBezTo>
                    <a:pt x="64" y="97"/>
                    <a:pt x="59" y="93"/>
                    <a:pt x="55" y="96"/>
                  </a:cubicBezTo>
                  <a:cubicBezTo>
                    <a:pt x="50" y="99"/>
                    <a:pt x="48" y="102"/>
                    <a:pt x="49" y="109"/>
                  </a:cubicBezTo>
                  <a:cubicBezTo>
                    <a:pt x="51" y="116"/>
                    <a:pt x="54" y="117"/>
                    <a:pt x="53" y="118"/>
                  </a:cubicBezTo>
                  <a:cubicBezTo>
                    <a:pt x="51" y="120"/>
                    <a:pt x="28" y="120"/>
                    <a:pt x="27" y="117"/>
                  </a:cubicBezTo>
                  <a:cubicBezTo>
                    <a:pt x="27" y="117"/>
                    <a:pt x="27" y="117"/>
                    <a:pt x="27" y="117"/>
                  </a:cubicBezTo>
                  <a:cubicBezTo>
                    <a:pt x="26" y="110"/>
                    <a:pt x="8" y="30"/>
                    <a:pt x="4" y="20"/>
                  </a:cubicBezTo>
                  <a:cubicBezTo>
                    <a:pt x="0" y="9"/>
                    <a:pt x="40" y="2"/>
                    <a:pt x="50" y="0"/>
                  </a:cubicBezTo>
                  <a:cubicBezTo>
                    <a:pt x="52" y="0"/>
                    <a:pt x="54" y="0"/>
                    <a:pt x="57" y="1"/>
                  </a:cubicBezTo>
                  <a:cubicBezTo>
                    <a:pt x="55" y="3"/>
                    <a:pt x="55" y="6"/>
                    <a:pt x="55" y="8"/>
                  </a:cubicBezTo>
                  <a:cubicBezTo>
                    <a:pt x="56" y="14"/>
                    <a:pt x="52" y="9"/>
                    <a:pt x="57" y="21"/>
                  </a:cubicBezTo>
                  <a:cubicBezTo>
                    <a:pt x="62" y="33"/>
                    <a:pt x="65" y="36"/>
                    <a:pt x="68" y="35"/>
                  </a:cubicBezTo>
                  <a:cubicBezTo>
                    <a:pt x="72" y="34"/>
                    <a:pt x="74" y="27"/>
                    <a:pt x="72" y="24"/>
                  </a:cubicBezTo>
                  <a:cubicBezTo>
                    <a:pt x="71" y="21"/>
                    <a:pt x="69" y="19"/>
                    <a:pt x="67" y="13"/>
                  </a:cubicBezTo>
                  <a:cubicBezTo>
                    <a:pt x="66" y="10"/>
                    <a:pt x="66" y="7"/>
                    <a:pt x="65" y="4"/>
                  </a:cubicBezTo>
                  <a:cubicBezTo>
                    <a:pt x="69" y="5"/>
                    <a:pt x="74" y="7"/>
                    <a:pt x="79" y="9"/>
                  </a:cubicBezTo>
                  <a:cubicBezTo>
                    <a:pt x="80" y="13"/>
                    <a:pt x="82" y="19"/>
                    <a:pt x="81" y="23"/>
                  </a:cubicBezTo>
                  <a:cubicBezTo>
                    <a:pt x="79" y="28"/>
                    <a:pt x="78" y="34"/>
                    <a:pt x="78" y="36"/>
                  </a:cubicBezTo>
                  <a:cubicBezTo>
                    <a:pt x="78" y="38"/>
                    <a:pt x="75" y="37"/>
                    <a:pt x="82" y="41"/>
                  </a:cubicBezTo>
                  <a:cubicBezTo>
                    <a:pt x="94" y="42"/>
                    <a:pt x="91" y="41"/>
                    <a:pt x="99" y="41"/>
                  </a:cubicBezTo>
                  <a:cubicBezTo>
                    <a:pt x="107" y="41"/>
                    <a:pt x="107" y="33"/>
                    <a:pt x="110" y="30"/>
                  </a:cubicBezTo>
                  <a:cubicBezTo>
                    <a:pt x="111" y="28"/>
                    <a:pt x="113" y="27"/>
                    <a:pt x="114" y="26"/>
                  </a:cubicBezTo>
                  <a:cubicBezTo>
                    <a:pt x="116" y="26"/>
                    <a:pt x="116" y="27"/>
                    <a:pt x="116" y="27"/>
                  </a:cubicBezTo>
                  <a:cubicBezTo>
                    <a:pt x="116" y="27"/>
                    <a:pt x="121" y="29"/>
                    <a:pt x="129" y="37"/>
                  </a:cubicBezTo>
                  <a:cubicBezTo>
                    <a:pt x="137" y="45"/>
                    <a:pt x="141" y="48"/>
                    <a:pt x="149" y="55"/>
                  </a:cubicBezTo>
                  <a:cubicBezTo>
                    <a:pt x="157" y="61"/>
                    <a:pt x="162" y="56"/>
                    <a:pt x="166" y="54"/>
                  </a:cubicBezTo>
                  <a:cubicBezTo>
                    <a:pt x="170" y="51"/>
                    <a:pt x="180" y="55"/>
                    <a:pt x="194" y="55"/>
                  </a:cubicBezTo>
                  <a:cubicBezTo>
                    <a:pt x="207" y="55"/>
                    <a:pt x="204" y="56"/>
                    <a:pt x="209" y="52"/>
                  </a:cubicBezTo>
                  <a:cubicBezTo>
                    <a:pt x="214" y="49"/>
                    <a:pt x="214" y="50"/>
                    <a:pt x="225" y="59"/>
                  </a:cubicBezTo>
                  <a:cubicBezTo>
                    <a:pt x="235" y="68"/>
                    <a:pt x="234" y="69"/>
                    <a:pt x="241" y="69"/>
                  </a:cubicBezTo>
                  <a:cubicBezTo>
                    <a:pt x="248" y="69"/>
                    <a:pt x="245" y="75"/>
                    <a:pt x="248" y="85"/>
                  </a:cubicBezTo>
                  <a:cubicBezTo>
                    <a:pt x="252" y="95"/>
                    <a:pt x="250" y="95"/>
                    <a:pt x="256" y="97"/>
                  </a:cubicBezTo>
                  <a:cubicBezTo>
                    <a:pt x="262" y="99"/>
                    <a:pt x="263" y="104"/>
                    <a:pt x="267" y="115"/>
                  </a:cubicBezTo>
                  <a:cubicBezTo>
                    <a:pt x="271" y="126"/>
                    <a:pt x="275" y="121"/>
                    <a:pt x="282" y="122"/>
                  </a:cubicBezTo>
                  <a:cubicBezTo>
                    <a:pt x="289" y="124"/>
                    <a:pt x="294" y="120"/>
                    <a:pt x="299" y="120"/>
                  </a:cubicBezTo>
                  <a:cubicBezTo>
                    <a:pt x="303" y="120"/>
                    <a:pt x="305" y="122"/>
                    <a:pt x="306" y="129"/>
                  </a:cubicBezTo>
                  <a:cubicBezTo>
                    <a:pt x="306" y="136"/>
                    <a:pt x="312" y="136"/>
                    <a:pt x="319" y="136"/>
                  </a:cubicBezTo>
                  <a:cubicBezTo>
                    <a:pt x="326" y="137"/>
                    <a:pt x="319" y="135"/>
                    <a:pt x="318" y="131"/>
                  </a:cubicBezTo>
                  <a:cubicBezTo>
                    <a:pt x="317" y="126"/>
                    <a:pt x="324" y="124"/>
                    <a:pt x="325" y="116"/>
                  </a:cubicBezTo>
                  <a:cubicBezTo>
                    <a:pt x="325" y="108"/>
                    <a:pt x="336" y="108"/>
                    <a:pt x="341" y="103"/>
                  </a:cubicBezTo>
                  <a:cubicBezTo>
                    <a:pt x="346" y="99"/>
                    <a:pt x="355" y="94"/>
                    <a:pt x="363" y="92"/>
                  </a:cubicBezTo>
                  <a:cubicBezTo>
                    <a:pt x="365" y="92"/>
                    <a:pt x="366" y="92"/>
                    <a:pt x="368" y="91"/>
                  </a:cubicBezTo>
                  <a:cubicBezTo>
                    <a:pt x="375" y="91"/>
                    <a:pt x="360" y="103"/>
                    <a:pt x="352" y="107"/>
                  </a:cubicBezTo>
                  <a:cubicBezTo>
                    <a:pt x="344" y="112"/>
                    <a:pt x="357" y="112"/>
                    <a:pt x="363" y="113"/>
                  </a:cubicBezTo>
                  <a:cubicBezTo>
                    <a:pt x="369" y="114"/>
                    <a:pt x="366" y="117"/>
                    <a:pt x="371" y="119"/>
                  </a:cubicBezTo>
                  <a:cubicBezTo>
                    <a:pt x="377" y="121"/>
                    <a:pt x="381" y="117"/>
                    <a:pt x="382" y="112"/>
                  </a:cubicBezTo>
                  <a:cubicBezTo>
                    <a:pt x="384" y="106"/>
                    <a:pt x="391" y="116"/>
                    <a:pt x="398" y="124"/>
                  </a:cubicBezTo>
                  <a:cubicBezTo>
                    <a:pt x="406" y="133"/>
                    <a:pt x="410" y="127"/>
                    <a:pt x="418" y="129"/>
                  </a:cubicBezTo>
                  <a:cubicBezTo>
                    <a:pt x="426" y="131"/>
                    <a:pt x="418" y="135"/>
                    <a:pt x="414" y="137"/>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16" name="Freeform 1095">
              <a:extLst>
                <a:ext uri="{FF2B5EF4-FFF2-40B4-BE49-F238E27FC236}">
                  <a16:creationId xmlns:a16="http://schemas.microsoft.com/office/drawing/2014/main" id="{712600CE-9F65-324F-B73E-06011C6AF69F}"/>
                </a:ext>
              </a:extLst>
            </p:cNvPr>
            <p:cNvSpPr>
              <a:spLocks/>
            </p:cNvSpPr>
            <p:nvPr/>
          </p:nvSpPr>
          <p:spPr bwMode="auto">
            <a:xfrm>
              <a:off x="5526105" y="1570493"/>
              <a:ext cx="190501" cy="120650"/>
            </a:xfrm>
            <a:custGeom>
              <a:avLst/>
              <a:gdLst>
                <a:gd name="T0" fmla="*/ 196 w 200"/>
                <a:gd name="T1" fmla="*/ 107 h 126"/>
                <a:gd name="T2" fmla="*/ 189 w 200"/>
                <a:gd name="T3" fmla="*/ 106 h 126"/>
                <a:gd name="T4" fmla="*/ 180 w 200"/>
                <a:gd name="T5" fmla="*/ 102 h 126"/>
                <a:gd name="T6" fmla="*/ 169 w 200"/>
                <a:gd name="T7" fmla="*/ 108 h 126"/>
                <a:gd name="T8" fmla="*/ 160 w 200"/>
                <a:gd name="T9" fmla="*/ 103 h 126"/>
                <a:gd name="T10" fmla="*/ 146 w 200"/>
                <a:gd name="T11" fmla="*/ 105 h 126"/>
                <a:gd name="T12" fmla="*/ 131 w 200"/>
                <a:gd name="T13" fmla="*/ 115 h 126"/>
                <a:gd name="T14" fmla="*/ 113 w 200"/>
                <a:gd name="T15" fmla="*/ 115 h 126"/>
                <a:gd name="T16" fmla="*/ 111 w 200"/>
                <a:gd name="T17" fmla="*/ 89 h 126"/>
                <a:gd name="T18" fmla="*/ 101 w 200"/>
                <a:gd name="T19" fmla="*/ 83 h 126"/>
                <a:gd name="T20" fmla="*/ 96 w 200"/>
                <a:gd name="T21" fmla="*/ 75 h 126"/>
                <a:gd name="T22" fmla="*/ 80 w 200"/>
                <a:gd name="T23" fmla="*/ 82 h 126"/>
                <a:gd name="T24" fmla="*/ 82 w 200"/>
                <a:gd name="T25" fmla="*/ 96 h 126"/>
                <a:gd name="T26" fmla="*/ 73 w 200"/>
                <a:gd name="T27" fmla="*/ 98 h 126"/>
                <a:gd name="T28" fmla="*/ 61 w 200"/>
                <a:gd name="T29" fmla="*/ 102 h 126"/>
                <a:gd name="T30" fmla="*/ 61 w 200"/>
                <a:gd name="T31" fmla="*/ 112 h 126"/>
                <a:gd name="T32" fmla="*/ 48 w 200"/>
                <a:gd name="T33" fmla="*/ 106 h 126"/>
                <a:gd name="T34" fmla="*/ 35 w 200"/>
                <a:gd name="T35" fmla="*/ 114 h 126"/>
                <a:gd name="T36" fmla="*/ 26 w 200"/>
                <a:gd name="T37" fmla="*/ 108 h 126"/>
                <a:gd name="T38" fmla="*/ 26 w 200"/>
                <a:gd name="T39" fmla="*/ 100 h 126"/>
                <a:gd name="T40" fmla="*/ 33 w 200"/>
                <a:gd name="T41" fmla="*/ 78 h 126"/>
                <a:gd name="T42" fmla="*/ 23 w 200"/>
                <a:gd name="T43" fmla="*/ 59 h 126"/>
                <a:gd name="T44" fmla="*/ 3 w 200"/>
                <a:gd name="T45" fmla="*/ 47 h 126"/>
                <a:gd name="T46" fmla="*/ 18 w 200"/>
                <a:gd name="T47" fmla="*/ 41 h 126"/>
                <a:gd name="T48" fmla="*/ 27 w 200"/>
                <a:gd name="T49" fmla="*/ 42 h 126"/>
                <a:gd name="T50" fmla="*/ 35 w 200"/>
                <a:gd name="T51" fmla="*/ 30 h 126"/>
                <a:gd name="T52" fmla="*/ 41 w 200"/>
                <a:gd name="T53" fmla="*/ 24 h 126"/>
                <a:gd name="T54" fmla="*/ 43 w 200"/>
                <a:gd name="T55" fmla="*/ 19 h 126"/>
                <a:gd name="T56" fmla="*/ 45 w 200"/>
                <a:gd name="T57" fmla="*/ 8 h 126"/>
                <a:gd name="T58" fmla="*/ 57 w 200"/>
                <a:gd name="T59" fmla="*/ 8 h 126"/>
                <a:gd name="T60" fmla="*/ 70 w 200"/>
                <a:gd name="T61" fmla="*/ 4 h 126"/>
                <a:gd name="T62" fmla="*/ 69 w 200"/>
                <a:gd name="T63" fmla="*/ 15 h 126"/>
                <a:gd name="T64" fmla="*/ 70 w 200"/>
                <a:gd name="T65" fmla="*/ 22 h 126"/>
                <a:gd name="T66" fmla="*/ 73 w 200"/>
                <a:gd name="T67" fmla="*/ 24 h 126"/>
                <a:gd name="T68" fmla="*/ 77 w 200"/>
                <a:gd name="T69" fmla="*/ 31 h 126"/>
                <a:gd name="T70" fmla="*/ 67 w 200"/>
                <a:gd name="T71" fmla="*/ 29 h 126"/>
                <a:gd name="T72" fmla="*/ 52 w 200"/>
                <a:gd name="T73" fmla="*/ 28 h 126"/>
                <a:gd name="T74" fmla="*/ 44 w 200"/>
                <a:gd name="T75" fmla="*/ 38 h 126"/>
                <a:gd name="T76" fmla="*/ 61 w 200"/>
                <a:gd name="T77" fmla="*/ 43 h 126"/>
                <a:gd name="T78" fmla="*/ 77 w 200"/>
                <a:gd name="T79" fmla="*/ 43 h 126"/>
                <a:gd name="T80" fmla="*/ 91 w 200"/>
                <a:gd name="T81" fmla="*/ 45 h 126"/>
                <a:gd name="T82" fmla="*/ 99 w 200"/>
                <a:gd name="T83" fmla="*/ 43 h 126"/>
                <a:gd name="T84" fmla="*/ 117 w 200"/>
                <a:gd name="T85" fmla="*/ 53 h 126"/>
                <a:gd name="T86" fmla="*/ 143 w 200"/>
                <a:gd name="T87" fmla="*/ 46 h 126"/>
                <a:gd name="T88" fmla="*/ 152 w 200"/>
                <a:gd name="T89" fmla="*/ 45 h 126"/>
                <a:gd name="T90" fmla="*/ 152 w 200"/>
                <a:gd name="T91" fmla="*/ 46 h 126"/>
                <a:gd name="T92" fmla="*/ 149 w 200"/>
                <a:gd name="T93" fmla="*/ 53 h 126"/>
                <a:gd name="T94" fmla="*/ 156 w 200"/>
                <a:gd name="T95" fmla="*/ 67 h 126"/>
                <a:gd name="T96" fmla="*/ 166 w 200"/>
                <a:gd name="T97" fmla="*/ 70 h 126"/>
                <a:gd name="T98" fmla="*/ 178 w 200"/>
                <a:gd name="T99" fmla="*/ 71 h 126"/>
                <a:gd name="T100" fmla="*/ 183 w 200"/>
                <a:gd name="T101" fmla="*/ 81 h 126"/>
                <a:gd name="T102" fmla="*/ 193 w 200"/>
                <a:gd name="T103" fmla="*/ 95 h 126"/>
                <a:gd name="T104" fmla="*/ 196 w 200"/>
                <a:gd name="T105" fmla="*/ 10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126">
                  <a:moveTo>
                    <a:pt x="196" y="107"/>
                  </a:moveTo>
                  <a:cubicBezTo>
                    <a:pt x="193" y="107"/>
                    <a:pt x="191" y="106"/>
                    <a:pt x="189" y="106"/>
                  </a:cubicBezTo>
                  <a:cubicBezTo>
                    <a:pt x="187" y="103"/>
                    <a:pt x="185" y="100"/>
                    <a:pt x="180" y="102"/>
                  </a:cubicBezTo>
                  <a:cubicBezTo>
                    <a:pt x="175" y="104"/>
                    <a:pt x="177" y="109"/>
                    <a:pt x="169" y="108"/>
                  </a:cubicBezTo>
                  <a:cubicBezTo>
                    <a:pt x="162" y="107"/>
                    <a:pt x="165" y="106"/>
                    <a:pt x="160" y="103"/>
                  </a:cubicBezTo>
                  <a:cubicBezTo>
                    <a:pt x="156" y="99"/>
                    <a:pt x="151" y="100"/>
                    <a:pt x="146" y="105"/>
                  </a:cubicBezTo>
                  <a:cubicBezTo>
                    <a:pt x="141" y="110"/>
                    <a:pt x="139" y="111"/>
                    <a:pt x="131" y="115"/>
                  </a:cubicBezTo>
                  <a:cubicBezTo>
                    <a:pt x="123" y="119"/>
                    <a:pt x="117" y="126"/>
                    <a:pt x="113" y="115"/>
                  </a:cubicBezTo>
                  <a:cubicBezTo>
                    <a:pt x="109" y="105"/>
                    <a:pt x="114" y="89"/>
                    <a:pt x="111" y="89"/>
                  </a:cubicBezTo>
                  <a:cubicBezTo>
                    <a:pt x="107" y="89"/>
                    <a:pt x="102" y="89"/>
                    <a:pt x="101" y="83"/>
                  </a:cubicBezTo>
                  <a:cubicBezTo>
                    <a:pt x="101" y="77"/>
                    <a:pt x="101" y="75"/>
                    <a:pt x="96" y="75"/>
                  </a:cubicBezTo>
                  <a:cubicBezTo>
                    <a:pt x="91" y="76"/>
                    <a:pt x="81" y="77"/>
                    <a:pt x="80" y="82"/>
                  </a:cubicBezTo>
                  <a:cubicBezTo>
                    <a:pt x="78" y="88"/>
                    <a:pt x="84" y="92"/>
                    <a:pt x="82" y="96"/>
                  </a:cubicBezTo>
                  <a:cubicBezTo>
                    <a:pt x="79" y="99"/>
                    <a:pt x="77" y="101"/>
                    <a:pt x="73" y="98"/>
                  </a:cubicBezTo>
                  <a:cubicBezTo>
                    <a:pt x="70" y="96"/>
                    <a:pt x="59" y="95"/>
                    <a:pt x="61" y="102"/>
                  </a:cubicBezTo>
                  <a:cubicBezTo>
                    <a:pt x="64" y="109"/>
                    <a:pt x="65" y="113"/>
                    <a:pt x="61" y="112"/>
                  </a:cubicBezTo>
                  <a:cubicBezTo>
                    <a:pt x="58" y="110"/>
                    <a:pt x="52" y="101"/>
                    <a:pt x="48" y="106"/>
                  </a:cubicBezTo>
                  <a:cubicBezTo>
                    <a:pt x="45" y="111"/>
                    <a:pt x="42" y="118"/>
                    <a:pt x="35" y="114"/>
                  </a:cubicBezTo>
                  <a:cubicBezTo>
                    <a:pt x="31" y="111"/>
                    <a:pt x="27" y="111"/>
                    <a:pt x="26" y="108"/>
                  </a:cubicBezTo>
                  <a:cubicBezTo>
                    <a:pt x="25" y="107"/>
                    <a:pt x="25" y="104"/>
                    <a:pt x="26" y="100"/>
                  </a:cubicBezTo>
                  <a:cubicBezTo>
                    <a:pt x="30" y="90"/>
                    <a:pt x="39" y="88"/>
                    <a:pt x="33" y="78"/>
                  </a:cubicBezTo>
                  <a:cubicBezTo>
                    <a:pt x="28" y="68"/>
                    <a:pt x="32" y="61"/>
                    <a:pt x="23" y="59"/>
                  </a:cubicBezTo>
                  <a:cubicBezTo>
                    <a:pt x="14" y="57"/>
                    <a:pt x="0" y="53"/>
                    <a:pt x="3" y="47"/>
                  </a:cubicBezTo>
                  <a:cubicBezTo>
                    <a:pt x="7" y="40"/>
                    <a:pt x="13" y="39"/>
                    <a:pt x="18" y="41"/>
                  </a:cubicBezTo>
                  <a:cubicBezTo>
                    <a:pt x="24" y="43"/>
                    <a:pt x="24" y="48"/>
                    <a:pt x="27" y="42"/>
                  </a:cubicBezTo>
                  <a:cubicBezTo>
                    <a:pt x="30" y="35"/>
                    <a:pt x="37" y="35"/>
                    <a:pt x="35" y="30"/>
                  </a:cubicBezTo>
                  <a:cubicBezTo>
                    <a:pt x="34" y="25"/>
                    <a:pt x="39" y="24"/>
                    <a:pt x="41" y="24"/>
                  </a:cubicBezTo>
                  <a:cubicBezTo>
                    <a:pt x="43" y="24"/>
                    <a:pt x="45" y="22"/>
                    <a:pt x="43" y="19"/>
                  </a:cubicBezTo>
                  <a:cubicBezTo>
                    <a:pt x="41" y="17"/>
                    <a:pt x="39" y="7"/>
                    <a:pt x="45" y="8"/>
                  </a:cubicBezTo>
                  <a:cubicBezTo>
                    <a:pt x="50" y="9"/>
                    <a:pt x="51" y="13"/>
                    <a:pt x="57" y="8"/>
                  </a:cubicBezTo>
                  <a:cubicBezTo>
                    <a:pt x="63" y="4"/>
                    <a:pt x="67" y="0"/>
                    <a:pt x="70" y="4"/>
                  </a:cubicBezTo>
                  <a:cubicBezTo>
                    <a:pt x="73" y="9"/>
                    <a:pt x="72" y="12"/>
                    <a:pt x="69" y="15"/>
                  </a:cubicBezTo>
                  <a:cubicBezTo>
                    <a:pt x="67" y="18"/>
                    <a:pt x="64" y="18"/>
                    <a:pt x="70" y="22"/>
                  </a:cubicBezTo>
                  <a:cubicBezTo>
                    <a:pt x="71" y="22"/>
                    <a:pt x="72" y="23"/>
                    <a:pt x="73" y="24"/>
                  </a:cubicBezTo>
                  <a:cubicBezTo>
                    <a:pt x="77" y="27"/>
                    <a:pt x="80" y="30"/>
                    <a:pt x="77" y="31"/>
                  </a:cubicBezTo>
                  <a:cubicBezTo>
                    <a:pt x="72" y="32"/>
                    <a:pt x="72" y="31"/>
                    <a:pt x="67" y="29"/>
                  </a:cubicBezTo>
                  <a:cubicBezTo>
                    <a:pt x="62" y="27"/>
                    <a:pt x="55" y="26"/>
                    <a:pt x="52" y="28"/>
                  </a:cubicBezTo>
                  <a:cubicBezTo>
                    <a:pt x="48" y="31"/>
                    <a:pt x="40" y="33"/>
                    <a:pt x="44" y="38"/>
                  </a:cubicBezTo>
                  <a:cubicBezTo>
                    <a:pt x="48" y="43"/>
                    <a:pt x="52" y="44"/>
                    <a:pt x="61" y="43"/>
                  </a:cubicBezTo>
                  <a:cubicBezTo>
                    <a:pt x="70" y="42"/>
                    <a:pt x="71" y="40"/>
                    <a:pt x="77" y="43"/>
                  </a:cubicBezTo>
                  <a:cubicBezTo>
                    <a:pt x="84" y="45"/>
                    <a:pt x="87" y="48"/>
                    <a:pt x="91" y="45"/>
                  </a:cubicBezTo>
                  <a:cubicBezTo>
                    <a:pt x="95" y="42"/>
                    <a:pt x="94" y="40"/>
                    <a:pt x="99" y="43"/>
                  </a:cubicBezTo>
                  <a:cubicBezTo>
                    <a:pt x="104" y="46"/>
                    <a:pt x="112" y="55"/>
                    <a:pt x="117" y="53"/>
                  </a:cubicBezTo>
                  <a:cubicBezTo>
                    <a:pt x="121" y="50"/>
                    <a:pt x="138" y="47"/>
                    <a:pt x="143" y="46"/>
                  </a:cubicBezTo>
                  <a:cubicBezTo>
                    <a:pt x="147" y="45"/>
                    <a:pt x="150" y="45"/>
                    <a:pt x="152" y="45"/>
                  </a:cubicBezTo>
                  <a:cubicBezTo>
                    <a:pt x="152" y="46"/>
                    <a:pt x="152" y="46"/>
                    <a:pt x="152" y="46"/>
                  </a:cubicBezTo>
                  <a:cubicBezTo>
                    <a:pt x="149" y="48"/>
                    <a:pt x="147" y="49"/>
                    <a:pt x="149" y="53"/>
                  </a:cubicBezTo>
                  <a:cubicBezTo>
                    <a:pt x="151" y="58"/>
                    <a:pt x="151" y="65"/>
                    <a:pt x="156" y="67"/>
                  </a:cubicBezTo>
                  <a:cubicBezTo>
                    <a:pt x="160" y="70"/>
                    <a:pt x="161" y="71"/>
                    <a:pt x="166" y="70"/>
                  </a:cubicBezTo>
                  <a:cubicBezTo>
                    <a:pt x="171" y="68"/>
                    <a:pt x="175" y="68"/>
                    <a:pt x="178" y="71"/>
                  </a:cubicBezTo>
                  <a:cubicBezTo>
                    <a:pt x="181" y="75"/>
                    <a:pt x="181" y="75"/>
                    <a:pt x="183" y="81"/>
                  </a:cubicBezTo>
                  <a:cubicBezTo>
                    <a:pt x="185" y="88"/>
                    <a:pt x="190" y="88"/>
                    <a:pt x="193" y="95"/>
                  </a:cubicBezTo>
                  <a:cubicBezTo>
                    <a:pt x="197" y="102"/>
                    <a:pt x="200" y="107"/>
                    <a:pt x="196" y="107"/>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17" name="Freeform 1096">
              <a:extLst>
                <a:ext uri="{FF2B5EF4-FFF2-40B4-BE49-F238E27FC236}">
                  <a16:creationId xmlns:a16="http://schemas.microsoft.com/office/drawing/2014/main" id="{F9EF9E1F-5D59-6C4B-B571-2422A6896F59}"/>
                </a:ext>
              </a:extLst>
            </p:cNvPr>
            <p:cNvSpPr>
              <a:spLocks/>
            </p:cNvSpPr>
            <p:nvPr/>
          </p:nvSpPr>
          <p:spPr bwMode="auto">
            <a:xfrm>
              <a:off x="5564205" y="1511756"/>
              <a:ext cx="228601" cy="111125"/>
            </a:xfrm>
            <a:custGeom>
              <a:avLst/>
              <a:gdLst>
                <a:gd name="T0" fmla="*/ 233 w 240"/>
                <a:gd name="T1" fmla="*/ 38 h 118"/>
                <a:gd name="T2" fmla="*/ 219 w 240"/>
                <a:gd name="T3" fmla="*/ 45 h 118"/>
                <a:gd name="T4" fmla="*/ 203 w 240"/>
                <a:gd name="T5" fmla="*/ 54 h 118"/>
                <a:gd name="T6" fmla="*/ 196 w 240"/>
                <a:gd name="T7" fmla="*/ 63 h 118"/>
                <a:gd name="T8" fmla="*/ 170 w 240"/>
                <a:gd name="T9" fmla="*/ 67 h 118"/>
                <a:gd name="T10" fmla="*/ 164 w 240"/>
                <a:gd name="T11" fmla="*/ 84 h 118"/>
                <a:gd name="T12" fmla="*/ 148 w 240"/>
                <a:gd name="T13" fmla="*/ 84 h 118"/>
                <a:gd name="T14" fmla="*/ 141 w 240"/>
                <a:gd name="T15" fmla="*/ 78 h 118"/>
                <a:gd name="T16" fmla="*/ 129 w 240"/>
                <a:gd name="T17" fmla="*/ 82 h 118"/>
                <a:gd name="T18" fmla="*/ 118 w 240"/>
                <a:gd name="T19" fmla="*/ 89 h 118"/>
                <a:gd name="T20" fmla="*/ 111 w 240"/>
                <a:gd name="T21" fmla="*/ 100 h 118"/>
                <a:gd name="T22" fmla="*/ 112 w 240"/>
                <a:gd name="T23" fmla="*/ 108 h 118"/>
                <a:gd name="T24" fmla="*/ 103 w 240"/>
                <a:gd name="T25" fmla="*/ 109 h 118"/>
                <a:gd name="T26" fmla="*/ 77 w 240"/>
                <a:gd name="T27" fmla="*/ 116 h 118"/>
                <a:gd name="T28" fmla="*/ 59 w 240"/>
                <a:gd name="T29" fmla="*/ 106 h 118"/>
                <a:gd name="T30" fmla="*/ 51 w 240"/>
                <a:gd name="T31" fmla="*/ 108 h 118"/>
                <a:gd name="T32" fmla="*/ 37 w 240"/>
                <a:gd name="T33" fmla="*/ 106 h 118"/>
                <a:gd name="T34" fmla="*/ 21 w 240"/>
                <a:gd name="T35" fmla="*/ 106 h 118"/>
                <a:gd name="T36" fmla="*/ 4 w 240"/>
                <a:gd name="T37" fmla="*/ 101 h 118"/>
                <a:gd name="T38" fmla="*/ 12 w 240"/>
                <a:gd name="T39" fmla="*/ 91 h 118"/>
                <a:gd name="T40" fmla="*/ 27 w 240"/>
                <a:gd name="T41" fmla="*/ 92 h 118"/>
                <a:gd name="T42" fmla="*/ 37 w 240"/>
                <a:gd name="T43" fmla="*/ 94 h 118"/>
                <a:gd name="T44" fmla="*/ 33 w 240"/>
                <a:gd name="T45" fmla="*/ 87 h 118"/>
                <a:gd name="T46" fmla="*/ 46 w 240"/>
                <a:gd name="T47" fmla="*/ 87 h 118"/>
                <a:gd name="T48" fmla="*/ 62 w 240"/>
                <a:gd name="T49" fmla="*/ 87 h 118"/>
                <a:gd name="T50" fmla="*/ 77 w 240"/>
                <a:gd name="T51" fmla="*/ 77 h 118"/>
                <a:gd name="T52" fmla="*/ 81 w 240"/>
                <a:gd name="T53" fmla="*/ 69 h 118"/>
                <a:gd name="T54" fmla="*/ 61 w 240"/>
                <a:gd name="T55" fmla="*/ 64 h 118"/>
                <a:gd name="T56" fmla="*/ 45 w 240"/>
                <a:gd name="T57" fmla="*/ 52 h 118"/>
                <a:gd name="T58" fmla="*/ 34 w 240"/>
                <a:gd name="T59" fmla="*/ 59 h 118"/>
                <a:gd name="T60" fmla="*/ 26 w 240"/>
                <a:gd name="T61" fmla="*/ 53 h 118"/>
                <a:gd name="T62" fmla="*/ 15 w 240"/>
                <a:gd name="T63" fmla="*/ 47 h 118"/>
                <a:gd name="T64" fmla="*/ 31 w 240"/>
                <a:gd name="T65" fmla="*/ 31 h 118"/>
                <a:gd name="T66" fmla="*/ 26 w 240"/>
                <a:gd name="T67" fmla="*/ 32 h 118"/>
                <a:gd name="T68" fmla="*/ 27 w 240"/>
                <a:gd name="T69" fmla="*/ 21 h 118"/>
                <a:gd name="T70" fmla="*/ 62 w 240"/>
                <a:gd name="T71" fmla="*/ 18 h 118"/>
                <a:gd name="T72" fmla="*/ 79 w 240"/>
                <a:gd name="T73" fmla="*/ 23 h 118"/>
                <a:gd name="T74" fmla="*/ 78 w 240"/>
                <a:gd name="T75" fmla="*/ 10 h 118"/>
                <a:gd name="T76" fmla="*/ 89 w 240"/>
                <a:gd name="T77" fmla="*/ 2 h 118"/>
                <a:gd name="T78" fmla="*/ 113 w 240"/>
                <a:gd name="T79" fmla="*/ 13 h 118"/>
                <a:gd name="T80" fmla="*/ 131 w 240"/>
                <a:gd name="T81" fmla="*/ 14 h 118"/>
                <a:gd name="T82" fmla="*/ 178 w 240"/>
                <a:gd name="T83" fmla="*/ 14 h 118"/>
                <a:gd name="T84" fmla="*/ 207 w 240"/>
                <a:gd name="T85" fmla="*/ 19 h 118"/>
                <a:gd name="T86" fmla="*/ 228 w 240"/>
                <a:gd name="T87" fmla="*/ 27 h 118"/>
                <a:gd name="T88" fmla="*/ 236 w 240"/>
                <a:gd name="T89" fmla="*/ 30 h 118"/>
                <a:gd name="T90" fmla="*/ 233 w 240"/>
                <a:gd name="T91" fmla="*/ 3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0" h="118">
                  <a:moveTo>
                    <a:pt x="233" y="38"/>
                  </a:moveTo>
                  <a:cubicBezTo>
                    <a:pt x="229" y="41"/>
                    <a:pt x="226" y="42"/>
                    <a:pt x="219" y="45"/>
                  </a:cubicBezTo>
                  <a:cubicBezTo>
                    <a:pt x="211" y="48"/>
                    <a:pt x="204" y="47"/>
                    <a:pt x="203" y="54"/>
                  </a:cubicBezTo>
                  <a:cubicBezTo>
                    <a:pt x="202" y="60"/>
                    <a:pt x="207" y="61"/>
                    <a:pt x="196" y="63"/>
                  </a:cubicBezTo>
                  <a:cubicBezTo>
                    <a:pt x="186" y="66"/>
                    <a:pt x="171" y="58"/>
                    <a:pt x="170" y="67"/>
                  </a:cubicBezTo>
                  <a:cubicBezTo>
                    <a:pt x="169" y="76"/>
                    <a:pt x="172" y="83"/>
                    <a:pt x="164" y="84"/>
                  </a:cubicBezTo>
                  <a:cubicBezTo>
                    <a:pt x="155" y="86"/>
                    <a:pt x="150" y="93"/>
                    <a:pt x="148" y="84"/>
                  </a:cubicBezTo>
                  <a:cubicBezTo>
                    <a:pt x="146" y="76"/>
                    <a:pt x="144" y="76"/>
                    <a:pt x="141" y="78"/>
                  </a:cubicBezTo>
                  <a:cubicBezTo>
                    <a:pt x="137" y="81"/>
                    <a:pt x="131" y="80"/>
                    <a:pt x="129" y="82"/>
                  </a:cubicBezTo>
                  <a:cubicBezTo>
                    <a:pt x="127" y="84"/>
                    <a:pt x="123" y="86"/>
                    <a:pt x="118" y="89"/>
                  </a:cubicBezTo>
                  <a:cubicBezTo>
                    <a:pt x="113" y="92"/>
                    <a:pt x="111" y="96"/>
                    <a:pt x="111" y="100"/>
                  </a:cubicBezTo>
                  <a:cubicBezTo>
                    <a:pt x="112" y="104"/>
                    <a:pt x="114" y="106"/>
                    <a:pt x="112" y="108"/>
                  </a:cubicBezTo>
                  <a:cubicBezTo>
                    <a:pt x="110" y="108"/>
                    <a:pt x="107" y="108"/>
                    <a:pt x="103" y="109"/>
                  </a:cubicBezTo>
                  <a:cubicBezTo>
                    <a:pt x="98" y="110"/>
                    <a:pt x="81" y="113"/>
                    <a:pt x="77" y="116"/>
                  </a:cubicBezTo>
                  <a:cubicBezTo>
                    <a:pt x="72" y="118"/>
                    <a:pt x="64" y="109"/>
                    <a:pt x="59" y="106"/>
                  </a:cubicBezTo>
                  <a:cubicBezTo>
                    <a:pt x="54" y="103"/>
                    <a:pt x="55" y="105"/>
                    <a:pt x="51" y="108"/>
                  </a:cubicBezTo>
                  <a:cubicBezTo>
                    <a:pt x="47" y="111"/>
                    <a:pt x="44" y="108"/>
                    <a:pt x="37" y="106"/>
                  </a:cubicBezTo>
                  <a:cubicBezTo>
                    <a:pt x="31" y="103"/>
                    <a:pt x="30" y="105"/>
                    <a:pt x="21" y="106"/>
                  </a:cubicBezTo>
                  <a:cubicBezTo>
                    <a:pt x="12" y="107"/>
                    <a:pt x="8" y="106"/>
                    <a:pt x="4" y="101"/>
                  </a:cubicBezTo>
                  <a:cubicBezTo>
                    <a:pt x="0" y="96"/>
                    <a:pt x="8" y="94"/>
                    <a:pt x="12" y="91"/>
                  </a:cubicBezTo>
                  <a:cubicBezTo>
                    <a:pt x="15" y="89"/>
                    <a:pt x="22" y="90"/>
                    <a:pt x="27" y="92"/>
                  </a:cubicBezTo>
                  <a:cubicBezTo>
                    <a:pt x="32" y="94"/>
                    <a:pt x="32" y="95"/>
                    <a:pt x="37" y="94"/>
                  </a:cubicBezTo>
                  <a:cubicBezTo>
                    <a:pt x="40" y="93"/>
                    <a:pt x="37" y="90"/>
                    <a:pt x="33" y="87"/>
                  </a:cubicBezTo>
                  <a:cubicBezTo>
                    <a:pt x="37" y="87"/>
                    <a:pt x="42" y="87"/>
                    <a:pt x="46" y="87"/>
                  </a:cubicBezTo>
                  <a:cubicBezTo>
                    <a:pt x="52" y="86"/>
                    <a:pt x="56" y="92"/>
                    <a:pt x="62" y="87"/>
                  </a:cubicBezTo>
                  <a:cubicBezTo>
                    <a:pt x="67" y="82"/>
                    <a:pt x="72" y="80"/>
                    <a:pt x="77" y="77"/>
                  </a:cubicBezTo>
                  <a:cubicBezTo>
                    <a:pt x="81" y="75"/>
                    <a:pt x="89" y="71"/>
                    <a:pt x="81" y="69"/>
                  </a:cubicBezTo>
                  <a:cubicBezTo>
                    <a:pt x="73" y="67"/>
                    <a:pt x="69" y="73"/>
                    <a:pt x="61" y="64"/>
                  </a:cubicBezTo>
                  <a:cubicBezTo>
                    <a:pt x="54" y="56"/>
                    <a:pt x="47" y="46"/>
                    <a:pt x="45" y="52"/>
                  </a:cubicBezTo>
                  <a:cubicBezTo>
                    <a:pt x="44" y="57"/>
                    <a:pt x="40" y="61"/>
                    <a:pt x="34" y="59"/>
                  </a:cubicBezTo>
                  <a:cubicBezTo>
                    <a:pt x="29" y="57"/>
                    <a:pt x="32" y="54"/>
                    <a:pt x="26" y="53"/>
                  </a:cubicBezTo>
                  <a:cubicBezTo>
                    <a:pt x="20" y="52"/>
                    <a:pt x="7" y="52"/>
                    <a:pt x="15" y="47"/>
                  </a:cubicBezTo>
                  <a:cubicBezTo>
                    <a:pt x="23" y="43"/>
                    <a:pt x="38" y="31"/>
                    <a:pt x="31" y="31"/>
                  </a:cubicBezTo>
                  <a:cubicBezTo>
                    <a:pt x="29" y="32"/>
                    <a:pt x="28" y="32"/>
                    <a:pt x="26" y="32"/>
                  </a:cubicBezTo>
                  <a:cubicBezTo>
                    <a:pt x="26" y="31"/>
                    <a:pt x="27" y="28"/>
                    <a:pt x="27" y="21"/>
                  </a:cubicBezTo>
                  <a:cubicBezTo>
                    <a:pt x="27" y="10"/>
                    <a:pt x="56" y="18"/>
                    <a:pt x="62" y="18"/>
                  </a:cubicBezTo>
                  <a:cubicBezTo>
                    <a:pt x="69" y="18"/>
                    <a:pt x="71" y="24"/>
                    <a:pt x="79" y="23"/>
                  </a:cubicBezTo>
                  <a:cubicBezTo>
                    <a:pt x="87" y="22"/>
                    <a:pt x="79" y="18"/>
                    <a:pt x="78" y="10"/>
                  </a:cubicBezTo>
                  <a:cubicBezTo>
                    <a:pt x="77" y="1"/>
                    <a:pt x="84" y="5"/>
                    <a:pt x="89" y="2"/>
                  </a:cubicBezTo>
                  <a:cubicBezTo>
                    <a:pt x="93" y="0"/>
                    <a:pt x="103" y="6"/>
                    <a:pt x="113" y="13"/>
                  </a:cubicBezTo>
                  <a:cubicBezTo>
                    <a:pt x="124" y="20"/>
                    <a:pt x="123" y="18"/>
                    <a:pt x="131" y="14"/>
                  </a:cubicBezTo>
                  <a:cubicBezTo>
                    <a:pt x="139" y="11"/>
                    <a:pt x="152" y="15"/>
                    <a:pt x="178" y="14"/>
                  </a:cubicBezTo>
                  <a:cubicBezTo>
                    <a:pt x="203" y="14"/>
                    <a:pt x="197" y="15"/>
                    <a:pt x="207" y="19"/>
                  </a:cubicBezTo>
                  <a:cubicBezTo>
                    <a:pt x="216" y="23"/>
                    <a:pt x="212" y="23"/>
                    <a:pt x="228" y="27"/>
                  </a:cubicBezTo>
                  <a:cubicBezTo>
                    <a:pt x="232" y="29"/>
                    <a:pt x="234" y="29"/>
                    <a:pt x="236" y="30"/>
                  </a:cubicBezTo>
                  <a:cubicBezTo>
                    <a:pt x="240" y="34"/>
                    <a:pt x="237" y="36"/>
                    <a:pt x="233" y="38"/>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18" name="Freeform 1097">
              <a:extLst>
                <a:ext uri="{FF2B5EF4-FFF2-40B4-BE49-F238E27FC236}">
                  <a16:creationId xmlns:a16="http://schemas.microsoft.com/office/drawing/2014/main" id="{77627582-5CE7-2C4A-972A-4E113E609564}"/>
                </a:ext>
              </a:extLst>
            </p:cNvPr>
            <p:cNvSpPr>
              <a:spLocks/>
            </p:cNvSpPr>
            <p:nvPr/>
          </p:nvSpPr>
          <p:spPr bwMode="auto">
            <a:xfrm>
              <a:off x="5873769" y="1854656"/>
              <a:ext cx="195263" cy="109538"/>
            </a:xfrm>
            <a:custGeom>
              <a:avLst/>
              <a:gdLst>
                <a:gd name="T0" fmla="*/ 206 w 206"/>
                <a:gd name="T1" fmla="*/ 105 h 114"/>
                <a:gd name="T2" fmla="*/ 197 w 206"/>
                <a:gd name="T3" fmla="*/ 114 h 114"/>
                <a:gd name="T4" fmla="*/ 183 w 206"/>
                <a:gd name="T5" fmla="*/ 112 h 114"/>
                <a:gd name="T6" fmla="*/ 167 w 206"/>
                <a:gd name="T7" fmla="*/ 108 h 114"/>
                <a:gd name="T8" fmla="*/ 142 w 206"/>
                <a:gd name="T9" fmla="*/ 103 h 114"/>
                <a:gd name="T10" fmla="*/ 128 w 206"/>
                <a:gd name="T11" fmla="*/ 100 h 114"/>
                <a:gd name="T12" fmla="*/ 113 w 206"/>
                <a:gd name="T13" fmla="*/ 88 h 114"/>
                <a:gd name="T14" fmla="*/ 89 w 206"/>
                <a:gd name="T15" fmla="*/ 84 h 114"/>
                <a:gd name="T16" fmla="*/ 71 w 206"/>
                <a:gd name="T17" fmla="*/ 80 h 114"/>
                <a:gd name="T18" fmla="*/ 38 w 206"/>
                <a:gd name="T19" fmla="*/ 68 h 114"/>
                <a:gd name="T20" fmla="*/ 7 w 206"/>
                <a:gd name="T21" fmla="*/ 50 h 114"/>
                <a:gd name="T22" fmla="*/ 1 w 206"/>
                <a:gd name="T23" fmla="*/ 41 h 114"/>
                <a:gd name="T24" fmla="*/ 5 w 206"/>
                <a:gd name="T25" fmla="*/ 23 h 114"/>
                <a:gd name="T26" fmla="*/ 16 w 206"/>
                <a:gd name="T27" fmla="*/ 10 h 114"/>
                <a:gd name="T28" fmla="*/ 17 w 206"/>
                <a:gd name="T29" fmla="*/ 9 h 114"/>
                <a:gd name="T30" fmla="*/ 22 w 206"/>
                <a:gd name="T31" fmla="*/ 9 h 114"/>
                <a:gd name="T32" fmla="*/ 33 w 206"/>
                <a:gd name="T33" fmla="*/ 1 h 114"/>
                <a:gd name="T34" fmla="*/ 55 w 206"/>
                <a:gd name="T35" fmla="*/ 14 h 114"/>
                <a:gd name="T36" fmla="*/ 77 w 206"/>
                <a:gd name="T37" fmla="*/ 29 h 114"/>
                <a:gd name="T38" fmla="*/ 92 w 206"/>
                <a:gd name="T39" fmla="*/ 33 h 114"/>
                <a:gd name="T40" fmla="*/ 106 w 206"/>
                <a:gd name="T41" fmla="*/ 46 h 114"/>
                <a:gd name="T42" fmla="*/ 118 w 206"/>
                <a:gd name="T43" fmla="*/ 51 h 114"/>
                <a:gd name="T44" fmla="*/ 122 w 206"/>
                <a:gd name="T45" fmla="*/ 58 h 114"/>
                <a:gd name="T46" fmla="*/ 139 w 206"/>
                <a:gd name="T47" fmla="*/ 64 h 114"/>
                <a:gd name="T48" fmla="*/ 148 w 206"/>
                <a:gd name="T49" fmla="*/ 68 h 114"/>
                <a:gd name="T50" fmla="*/ 154 w 206"/>
                <a:gd name="T51" fmla="*/ 70 h 114"/>
                <a:gd name="T52" fmla="*/ 163 w 206"/>
                <a:gd name="T53" fmla="*/ 66 h 114"/>
                <a:gd name="T54" fmla="*/ 172 w 206"/>
                <a:gd name="T55" fmla="*/ 71 h 114"/>
                <a:gd name="T56" fmla="*/ 198 w 206"/>
                <a:gd name="T57" fmla="*/ 71 h 114"/>
                <a:gd name="T58" fmla="*/ 201 w 206"/>
                <a:gd name="T59" fmla="*/ 71 h 114"/>
                <a:gd name="T60" fmla="*/ 200 w 206"/>
                <a:gd name="T61" fmla="*/ 85 h 114"/>
                <a:gd name="T62" fmla="*/ 204 w 206"/>
                <a:gd name="T63" fmla="*/ 98 h 114"/>
                <a:gd name="T64" fmla="*/ 206 w 206"/>
                <a:gd name="T65" fmla="*/ 10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6" h="114">
                  <a:moveTo>
                    <a:pt x="206" y="105"/>
                  </a:moveTo>
                  <a:cubicBezTo>
                    <a:pt x="206" y="109"/>
                    <a:pt x="204" y="113"/>
                    <a:pt x="197" y="114"/>
                  </a:cubicBezTo>
                  <a:cubicBezTo>
                    <a:pt x="190" y="114"/>
                    <a:pt x="185" y="113"/>
                    <a:pt x="183" y="112"/>
                  </a:cubicBezTo>
                  <a:cubicBezTo>
                    <a:pt x="181" y="111"/>
                    <a:pt x="177" y="111"/>
                    <a:pt x="167" y="108"/>
                  </a:cubicBezTo>
                  <a:cubicBezTo>
                    <a:pt x="158" y="105"/>
                    <a:pt x="152" y="106"/>
                    <a:pt x="142" y="103"/>
                  </a:cubicBezTo>
                  <a:cubicBezTo>
                    <a:pt x="132" y="101"/>
                    <a:pt x="135" y="103"/>
                    <a:pt x="128" y="100"/>
                  </a:cubicBezTo>
                  <a:cubicBezTo>
                    <a:pt x="121" y="96"/>
                    <a:pt x="119" y="92"/>
                    <a:pt x="113" y="88"/>
                  </a:cubicBezTo>
                  <a:cubicBezTo>
                    <a:pt x="106" y="83"/>
                    <a:pt x="100" y="83"/>
                    <a:pt x="89" y="84"/>
                  </a:cubicBezTo>
                  <a:cubicBezTo>
                    <a:pt x="78" y="85"/>
                    <a:pt x="81" y="84"/>
                    <a:pt x="71" y="80"/>
                  </a:cubicBezTo>
                  <a:cubicBezTo>
                    <a:pt x="61" y="75"/>
                    <a:pt x="50" y="72"/>
                    <a:pt x="38" y="68"/>
                  </a:cubicBezTo>
                  <a:cubicBezTo>
                    <a:pt x="27" y="65"/>
                    <a:pt x="14" y="53"/>
                    <a:pt x="7" y="50"/>
                  </a:cubicBezTo>
                  <a:cubicBezTo>
                    <a:pt x="0" y="47"/>
                    <a:pt x="0" y="43"/>
                    <a:pt x="1" y="41"/>
                  </a:cubicBezTo>
                  <a:cubicBezTo>
                    <a:pt x="2" y="39"/>
                    <a:pt x="4" y="30"/>
                    <a:pt x="5" y="23"/>
                  </a:cubicBezTo>
                  <a:cubicBezTo>
                    <a:pt x="6" y="17"/>
                    <a:pt x="9" y="11"/>
                    <a:pt x="16" y="10"/>
                  </a:cubicBezTo>
                  <a:cubicBezTo>
                    <a:pt x="16" y="10"/>
                    <a:pt x="17" y="10"/>
                    <a:pt x="17" y="9"/>
                  </a:cubicBezTo>
                  <a:cubicBezTo>
                    <a:pt x="19" y="10"/>
                    <a:pt x="21" y="10"/>
                    <a:pt x="22" y="9"/>
                  </a:cubicBezTo>
                  <a:cubicBezTo>
                    <a:pt x="25" y="7"/>
                    <a:pt x="28" y="2"/>
                    <a:pt x="33" y="1"/>
                  </a:cubicBezTo>
                  <a:cubicBezTo>
                    <a:pt x="38" y="0"/>
                    <a:pt x="47" y="8"/>
                    <a:pt x="55" y="14"/>
                  </a:cubicBezTo>
                  <a:cubicBezTo>
                    <a:pt x="62" y="20"/>
                    <a:pt x="72" y="19"/>
                    <a:pt x="77" y="29"/>
                  </a:cubicBezTo>
                  <a:cubicBezTo>
                    <a:pt x="83" y="38"/>
                    <a:pt x="85" y="33"/>
                    <a:pt x="92" y="33"/>
                  </a:cubicBezTo>
                  <a:cubicBezTo>
                    <a:pt x="99" y="33"/>
                    <a:pt x="101" y="37"/>
                    <a:pt x="106" y="46"/>
                  </a:cubicBezTo>
                  <a:cubicBezTo>
                    <a:pt x="110" y="55"/>
                    <a:pt x="110" y="50"/>
                    <a:pt x="118" y="51"/>
                  </a:cubicBezTo>
                  <a:cubicBezTo>
                    <a:pt x="127" y="52"/>
                    <a:pt x="122" y="53"/>
                    <a:pt x="122" y="58"/>
                  </a:cubicBezTo>
                  <a:cubicBezTo>
                    <a:pt x="122" y="64"/>
                    <a:pt x="136" y="59"/>
                    <a:pt x="139" y="64"/>
                  </a:cubicBezTo>
                  <a:cubicBezTo>
                    <a:pt x="142" y="68"/>
                    <a:pt x="144" y="69"/>
                    <a:pt x="148" y="68"/>
                  </a:cubicBezTo>
                  <a:cubicBezTo>
                    <a:pt x="152" y="67"/>
                    <a:pt x="150" y="66"/>
                    <a:pt x="154" y="70"/>
                  </a:cubicBezTo>
                  <a:cubicBezTo>
                    <a:pt x="158" y="74"/>
                    <a:pt x="158" y="69"/>
                    <a:pt x="163" y="66"/>
                  </a:cubicBezTo>
                  <a:cubicBezTo>
                    <a:pt x="168" y="62"/>
                    <a:pt x="170" y="67"/>
                    <a:pt x="172" y="71"/>
                  </a:cubicBezTo>
                  <a:cubicBezTo>
                    <a:pt x="175" y="74"/>
                    <a:pt x="188" y="73"/>
                    <a:pt x="198" y="71"/>
                  </a:cubicBezTo>
                  <a:cubicBezTo>
                    <a:pt x="199" y="71"/>
                    <a:pt x="200" y="71"/>
                    <a:pt x="201" y="71"/>
                  </a:cubicBezTo>
                  <a:cubicBezTo>
                    <a:pt x="206" y="72"/>
                    <a:pt x="200" y="78"/>
                    <a:pt x="200" y="85"/>
                  </a:cubicBezTo>
                  <a:cubicBezTo>
                    <a:pt x="200" y="93"/>
                    <a:pt x="201" y="91"/>
                    <a:pt x="204" y="98"/>
                  </a:cubicBezTo>
                  <a:cubicBezTo>
                    <a:pt x="206" y="104"/>
                    <a:pt x="206" y="100"/>
                    <a:pt x="206" y="105"/>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19" name="Freeform 1098">
              <a:extLst>
                <a:ext uri="{FF2B5EF4-FFF2-40B4-BE49-F238E27FC236}">
                  <a16:creationId xmlns:a16="http://schemas.microsoft.com/office/drawing/2014/main" id="{DCAB1CD1-843C-8049-874E-627F4E1D581E}"/>
                </a:ext>
              </a:extLst>
            </p:cNvPr>
            <p:cNvSpPr>
              <a:spLocks/>
            </p:cNvSpPr>
            <p:nvPr/>
          </p:nvSpPr>
          <p:spPr bwMode="auto">
            <a:xfrm>
              <a:off x="6081732" y="1908631"/>
              <a:ext cx="84138" cy="47625"/>
            </a:xfrm>
            <a:custGeom>
              <a:avLst/>
              <a:gdLst>
                <a:gd name="T0" fmla="*/ 81 w 88"/>
                <a:gd name="T1" fmla="*/ 43 h 50"/>
                <a:gd name="T2" fmla="*/ 65 w 88"/>
                <a:gd name="T3" fmla="*/ 45 h 50"/>
                <a:gd name="T4" fmla="*/ 46 w 88"/>
                <a:gd name="T5" fmla="*/ 45 h 50"/>
                <a:gd name="T6" fmla="*/ 36 w 88"/>
                <a:gd name="T7" fmla="*/ 45 h 50"/>
                <a:gd name="T8" fmla="*/ 24 w 88"/>
                <a:gd name="T9" fmla="*/ 47 h 50"/>
                <a:gd name="T10" fmla="*/ 15 w 88"/>
                <a:gd name="T11" fmla="*/ 42 h 50"/>
                <a:gd name="T12" fmla="*/ 3 w 88"/>
                <a:gd name="T13" fmla="*/ 39 h 50"/>
                <a:gd name="T14" fmla="*/ 0 w 88"/>
                <a:gd name="T15" fmla="*/ 32 h 50"/>
                <a:gd name="T16" fmla="*/ 2 w 88"/>
                <a:gd name="T17" fmla="*/ 27 h 50"/>
                <a:gd name="T18" fmla="*/ 8 w 88"/>
                <a:gd name="T19" fmla="*/ 18 h 50"/>
                <a:gd name="T20" fmla="*/ 14 w 88"/>
                <a:gd name="T21" fmla="*/ 9 h 50"/>
                <a:gd name="T22" fmla="*/ 26 w 88"/>
                <a:gd name="T23" fmla="*/ 2 h 50"/>
                <a:gd name="T24" fmla="*/ 34 w 88"/>
                <a:gd name="T25" fmla="*/ 8 h 50"/>
                <a:gd name="T26" fmla="*/ 46 w 88"/>
                <a:gd name="T27" fmla="*/ 11 h 50"/>
                <a:gd name="T28" fmla="*/ 64 w 88"/>
                <a:gd name="T29" fmla="*/ 11 h 50"/>
                <a:gd name="T30" fmla="*/ 70 w 88"/>
                <a:gd name="T31" fmla="*/ 17 h 50"/>
                <a:gd name="T32" fmla="*/ 68 w 88"/>
                <a:gd name="T33" fmla="*/ 23 h 50"/>
                <a:gd name="T34" fmla="*/ 78 w 88"/>
                <a:gd name="T35" fmla="*/ 29 h 50"/>
                <a:gd name="T36" fmla="*/ 78 w 88"/>
                <a:gd name="T37" fmla="*/ 35 h 50"/>
                <a:gd name="T38" fmla="*/ 81 w 88"/>
                <a:gd name="T39"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8" h="50">
                  <a:moveTo>
                    <a:pt x="81" y="43"/>
                  </a:moveTo>
                  <a:cubicBezTo>
                    <a:pt x="73" y="45"/>
                    <a:pt x="71" y="43"/>
                    <a:pt x="65" y="45"/>
                  </a:cubicBezTo>
                  <a:cubicBezTo>
                    <a:pt x="59" y="48"/>
                    <a:pt x="48" y="46"/>
                    <a:pt x="46" y="45"/>
                  </a:cubicBezTo>
                  <a:cubicBezTo>
                    <a:pt x="43" y="43"/>
                    <a:pt x="39" y="42"/>
                    <a:pt x="36" y="45"/>
                  </a:cubicBezTo>
                  <a:cubicBezTo>
                    <a:pt x="33" y="48"/>
                    <a:pt x="31" y="50"/>
                    <a:pt x="24" y="47"/>
                  </a:cubicBezTo>
                  <a:cubicBezTo>
                    <a:pt x="18" y="43"/>
                    <a:pt x="22" y="41"/>
                    <a:pt x="15" y="42"/>
                  </a:cubicBezTo>
                  <a:cubicBezTo>
                    <a:pt x="8" y="42"/>
                    <a:pt x="4" y="43"/>
                    <a:pt x="3" y="39"/>
                  </a:cubicBezTo>
                  <a:cubicBezTo>
                    <a:pt x="2" y="35"/>
                    <a:pt x="3" y="36"/>
                    <a:pt x="0" y="32"/>
                  </a:cubicBezTo>
                  <a:cubicBezTo>
                    <a:pt x="0" y="31"/>
                    <a:pt x="0" y="32"/>
                    <a:pt x="2" y="27"/>
                  </a:cubicBezTo>
                  <a:cubicBezTo>
                    <a:pt x="5" y="20"/>
                    <a:pt x="4" y="22"/>
                    <a:pt x="8" y="18"/>
                  </a:cubicBezTo>
                  <a:cubicBezTo>
                    <a:pt x="11" y="13"/>
                    <a:pt x="9" y="13"/>
                    <a:pt x="14" y="9"/>
                  </a:cubicBezTo>
                  <a:cubicBezTo>
                    <a:pt x="19" y="6"/>
                    <a:pt x="23" y="0"/>
                    <a:pt x="26" y="2"/>
                  </a:cubicBezTo>
                  <a:cubicBezTo>
                    <a:pt x="28" y="4"/>
                    <a:pt x="30" y="6"/>
                    <a:pt x="34" y="8"/>
                  </a:cubicBezTo>
                  <a:cubicBezTo>
                    <a:pt x="39" y="10"/>
                    <a:pt x="39" y="10"/>
                    <a:pt x="46" y="11"/>
                  </a:cubicBezTo>
                  <a:cubicBezTo>
                    <a:pt x="53" y="12"/>
                    <a:pt x="62" y="10"/>
                    <a:pt x="64" y="11"/>
                  </a:cubicBezTo>
                  <a:cubicBezTo>
                    <a:pt x="65" y="12"/>
                    <a:pt x="68" y="16"/>
                    <a:pt x="70" y="17"/>
                  </a:cubicBezTo>
                  <a:cubicBezTo>
                    <a:pt x="67" y="19"/>
                    <a:pt x="66" y="21"/>
                    <a:pt x="68" y="23"/>
                  </a:cubicBezTo>
                  <a:cubicBezTo>
                    <a:pt x="70" y="25"/>
                    <a:pt x="76" y="28"/>
                    <a:pt x="78" y="29"/>
                  </a:cubicBezTo>
                  <a:cubicBezTo>
                    <a:pt x="80" y="30"/>
                    <a:pt x="78" y="33"/>
                    <a:pt x="78" y="35"/>
                  </a:cubicBezTo>
                  <a:cubicBezTo>
                    <a:pt x="79" y="38"/>
                    <a:pt x="88" y="42"/>
                    <a:pt x="81" y="4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20" name="Freeform 1099">
              <a:extLst>
                <a:ext uri="{FF2B5EF4-FFF2-40B4-BE49-F238E27FC236}">
                  <a16:creationId xmlns:a16="http://schemas.microsoft.com/office/drawing/2014/main" id="{947D1F04-260E-0C4F-9604-AF8CBFBF132A}"/>
                </a:ext>
              </a:extLst>
            </p:cNvPr>
            <p:cNvSpPr>
              <a:spLocks/>
            </p:cNvSpPr>
            <p:nvPr/>
          </p:nvSpPr>
          <p:spPr bwMode="auto">
            <a:xfrm>
              <a:off x="6073794" y="1957844"/>
              <a:ext cx="125413" cy="146050"/>
            </a:xfrm>
            <a:custGeom>
              <a:avLst/>
              <a:gdLst>
                <a:gd name="T0" fmla="*/ 127 w 132"/>
                <a:gd name="T1" fmla="*/ 148 h 153"/>
                <a:gd name="T2" fmla="*/ 121 w 132"/>
                <a:gd name="T3" fmla="*/ 148 h 153"/>
                <a:gd name="T4" fmla="*/ 116 w 132"/>
                <a:gd name="T5" fmla="*/ 153 h 153"/>
                <a:gd name="T6" fmla="*/ 113 w 132"/>
                <a:gd name="T7" fmla="*/ 148 h 153"/>
                <a:gd name="T8" fmla="*/ 106 w 132"/>
                <a:gd name="T9" fmla="*/ 129 h 153"/>
                <a:gd name="T10" fmla="*/ 99 w 132"/>
                <a:gd name="T11" fmla="*/ 119 h 153"/>
                <a:gd name="T12" fmla="*/ 92 w 132"/>
                <a:gd name="T13" fmla="*/ 105 h 153"/>
                <a:gd name="T14" fmla="*/ 82 w 132"/>
                <a:gd name="T15" fmla="*/ 112 h 153"/>
                <a:gd name="T16" fmla="*/ 73 w 132"/>
                <a:gd name="T17" fmla="*/ 109 h 153"/>
                <a:gd name="T18" fmla="*/ 68 w 132"/>
                <a:gd name="T19" fmla="*/ 113 h 153"/>
                <a:gd name="T20" fmla="*/ 74 w 132"/>
                <a:gd name="T21" fmla="*/ 123 h 153"/>
                <a:gd name="T22" fmla="*/ 72 w 132"/>
                <a:gd name="T23" fmla="*/ 128 h 153"/>
                <a:gd name="T24" fmla="*/ 66 w 132"/>
                <a:gd name="T25" fmla="*/ 132 h 153"/>
                <a:gd name="T26" fmla="*/ 62 w 132"/>
                <a:gd name="T27" fmla="*/ 131 h 153"/>
                <a:gd name="T28" fmla="*/ 57 w 132"/>
                <a:gd name="T29" fmla="*/ 130 h 153"/>
                <a:gd name="T30" fmla="*/ 54 w 132"/>
                <a:gd name="T31" fmla="*/ 134 h 153"/>
                <a:gd name="T32" fmla="*/ 47 w 132"/>
                <a:gd name="T33" fmla="*/ 135 h 153"/>
                <a:gd name="T34" fmla="*/ 45 w 132"/>
                <a:gd name="T35" fmla="*/ 137 h 153"/>
                <a:gd name="T36" fmla="*/ 41 w 132"/>
                <a:gd name="T37" fmla="*/ 137 h 153"/>
                <a:gd name="T38" fmla="*/ 36 w 132"/>
                <a:gd name="T39" fmla="*/ 138 h 153"/>
                <a:gd name="T40" fmla="*/ 36 w 132"/>
                <a:gd name="T41" fmla="*/ 131 h 153"/>
                <a:gd name="T42" fmla="*/ 38 w 132"/>
                <a:gd name="T43" fmla="*/ 120 h 153"/>
                <a:gd name="T44" fmla="*/ 32 w 132"/>
                <a:gd name="T45" fmla="*/ 110 h 153"/>
                <a:gd name="T46" fmla="*/ 31 w 132"/>
                <a:gd name="T47" fmla="*/ 96 h 153"/>
                <a:gd name="T48" fmla="*/ 24 w 132"/>
                <a:gd name="T49" fmla="*/ 86 h 153"/>
                <a:gd name="T50" fmla="*/ 19 w 132"/>
                <a:gd name="T51" fmla="*/ 77 h 153"/>
                <a:gd name="T52" fmla="*/ 21 w 132"/>
                <a:gd name="T53" fmla="*/ 64 h 153"/>
                <a:gd name="T54" fmla="*/ 2 w 132"/>
                <a:gd name="T55" fmla="*/ 53 h 153"/>
                <a:gd name="T56" fmla="*/ 10 w 132"/>
                <a:gd name="T57" fmla="*/ 45 h 153"/>
                <a:gd name="T58" fmla="*/ 21 w 132"/>
                <a:gd name="T59" fmla="*/ 39 h 153"/>
                <a:gd name="T60" fmla="*/ 23 w 132"/>
                <a:gd name="T61" fmla="*/ 35 h 153"/>
                <a:gd name="T62" fmla="*/ 13 w 132"/>
                <a:gd name="T63" fmla="*/ 29 h 153"/>
                <a:gd name="T64" fmla="*/ 0 w 132"/>
                <a:gd name="T65" fmla="*/ 19 h 153"/>
                <a:gd name="T66" fmla="*/ 3 w 132"/>
                <a:gd name="T67" fmla="*/ 8 h 153"/>
                <a:gd name="T68" fmla="*/ 6 w 132"/>
                <a:gd name="T69" fmla="*/ 3 h 153"/>
                <a:gd name="T70" fmla="*/ 13 w 132"/>
                <a:gd name="T71" fmla="*/ 6 h 153"/>
                <a:gd name="T72" fmla="*/ 20 w 132"/>
                <a:gd name="T73" fmla="*/ 7 h 153"/>
                <a:gd name="T74" fmla="*/ 28 w 132"/>
                <a:gd name="T75" fmla="*/ 15 h 153"/>
                <a:gd name="T76" fmla="*/ 33 w 132"/>
                <a:gd name="T77" fmla="*/ 17 h 153"/>
                <a:gd name="T78" fmla="*/ 37 w 132"/>
                <a:gd name="T79" fmla="*/ 11 h 153"/>
                <a:gd name="T80" fmla="*/ 43 w 132"/>
                <a:gd name="T81" fmla="*/ 19 h 153"/>
                <a:gd name="T82" fmla="*/ 44 w 132"/>
                <a:gd name="T83" fmla="*/ 36 h 153"/>
                <a:gd name="T84" fmla="*/ 103 w 132"/>
                <a:gd name="T85" fmla="*/ 41 h 153"/>
                <a:gd name="T86" fmla="*/ 108 w 132"/>
                <a:gd name="T87" fmla="*/ 48 h 153"/>
                <a:gd name="T88" fmla="*/ 102 w 132"/>
                <a:gd name="T89" fmla="*/ 60 h 153"/>
                <a:gd name="T90" fmla="*/ 96 w 132"/>
                <a:gd name="T91" fmla="*/ 66 h 153"/>
                <a:gd name="T92" fmla="*/ 85 w 132"/>
                <a:gd name="T93" fmla="*/ 74 h 153"/>
                <a:gd name="T94" fmla="*/ 86 w 132"/>
                <a:gd name="T95" fmla="*/ 91 h 153"/>
                <a:gd name="T96" fmla="*/ 97 w 132"/>
                <a:gd name="T97" fmla="*/ 100 h 153"/>
                <a:gd name="T98" fmla="*/ 101 w 132"/>
                <a:gd name="T99" fmla="*/ 91 h 153"/>
                <a:gd name="T100" fmla="*/ 109 w 132"/>
                <a:gd name="T101" fmla="*/ 80 h 153"/>
                <a:gd name="T102" fmla="*/ 113 w 132"/>
                <a:gd name="T103" fmla="*/ 95 h 153"/>
                <a:gd name="T104" fmla="*/ 121 w 132"/>
                <a:gd name="T105" fmla="*/ 112 h 153"/>
                <a:gd name="T106" fmla="*/ 124 w 132"/>
                <a:gd name="T107" fmla="*/ 129 h 153"/>
                <a:gd name="T108" fmla="*/ 127 w 132"/>
                <a:gd name="T109" fmla="*/ 14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2" h="153">
                  <a:moveTo>
                    <a:pt x="127" y="148"/>
                  </a:moveTo>
                  <a:cubicBezTo>
                    <a:pt x="122" y="147"/>
                    <a:pt x="121" y="145"/>
                    <a:pt x="121" y="148"/>
                  </a:cubicBezTo>
                  <a:cubicBezTo>
                    <a:pt x="120" y="150"/>
                    <a:pt x="117" y="152"/>
                    <a:pt x="116" y="153"/>
                  </a:cubicBezTo>
                  <a:cubicBezTo>
                    <a:pt x="115" y="152"/>
                    <a:pt x="114" y="150"/>
                    <a:pt x="113" y="148"/>
                  </a:cubicBezTo>
                  <a:cubicBezTo>
                    <a:pt x="109" y="141"/>
                    <a:pt x="107" y="130"/>
                    <a:pt x="106" y="129"/>
                  </a:cubicBezTo>
                  <a:cubicBezTo>
                    <a:pt x="106" y="127"/>
                    <a:pt x="103" y="126"/>
                    <a:pt x="99" y="119"/>
                  </a:cubicBezTo>
                  <a:cubicBezTo>
                    <a:pt x="95" y="111"/>
                    <a:pt x="97" y="101"/>
                    <a:pt x="92" y="105"/>
                  </a:cubicBezTo>
                  <a:cubicBezTo>
                    <a:pt x="88" y="109"/>
                    <a:pt x="85" y="116"/>
                    <a:pt x="82" y="112"/>
                  </a:cubicBezTo>
                  <a:cubicBezTo>
                    <a:pt x="80" y="109"/>
                    <a:pt x="74" y="102"/>
                    <a:pt x="73" y="109"/>
                  </a:cubicBezTo>
                  <a:cubicBezTo>
                    <a:pt x="71" y="116"/>
                    <a:pt x="68" y="103"/>
                    <a:pt x="68" y="113"/>
                  </a:cubicBezTo>
                  <a:cubicBezTo>
                    <a:pt x="68" y="123"/>
                    <a:pt x="73" y="118"/>
                    <a:pt x="74" y="123"/>
                  </a:cubicBezTo>
                  <a:cubicBezTo>
                    <a:pt x="76" y="127"/>
                    <a:pt x="73" y="129"/>
                    <a:pt x="72" y="128"/>
                  </a:cubicBezTo>
                  <a:cubicBezTo>
                    <a:pt x="71" y="127"/>
                    <a:pt x="69" y="131"/>
                    <a:pt x="66" y="132"/>
                  </a:cubicBezTo>
                  <a:cubicBezTo>
                    <a:pt x="64" y="134"/>
                    <a:pt x="63" y="133"/>
                    <a:pt x="62" y="131"/>
                  </a:cubicBezTo>
                  <a:cubicBezTo>
                    <a:pt x="61" y="129"/>
                    <a:pt x="59" y="127"/>
                    <a:pt x="57" y="130"/>
                  </a:cubicBezTo>
                  <a:cubicBezTo>
                    <a:pt x="56" y="133"/>
                    <a:pt x="58" y="136"/>
                    <a:pt x="54" y="134"/>
                  </a:cubicBezTo>
                  <a:cubicBezTo>
                    <a:pt x="50" y="133"/>
                    <a:pt x="47" y="134"/>
                    <a:pt x="47" y="135"/>
                  </a:cubicBezTo>
                  <a:cubicBezTo>
                    <a:pt x="47" y="136"/>
                    <a:pt x="46" y="138"/>
                    <a:pt x="45" y="137"/>
                  </a:cubicBezTo>
                  <a:cubicBezTo>
                    <a:pt x="43" y="135"/>
                    <a:pt x="42" y="135"/>
                    <a:pt x="41" y="137"/>
                  </a:cubicBezTo>
                  <a:cubicBezTo>
                    <a:pt x="40" y="139"/>
                    <a:pt x="38" y="139"/>
                    <a:pt x="36" y="138"/>
                  </a:cubicBezTo>
                  <a:cubicBezTo>
                    <a:pt x="37" y="136"/>
                    <a:pt x="35" y="137"/>
                    <a:pt x="36" y="131"/>
                  </a:cubicBezTo>
                  <a:cubicBezTo>
                    <a:pt x="38" y="125"/>
                    <a:pt x="43" y="126"/>
                    <a:pt x="38" y="120"/>
                  </a:cubicBezTo>
                  <a:cubicBezTo>
                    <a:pt x="33" y="113"/>
                    <a:pt x="33" y="120"/>
                    <a:pt x="32" y="110"/>
                  </a:cubicBezTo>
                  <a:cubicBezTo>
                    <a:pt x="32" y="99"/>
                    <a:pt x="35" y="102"/>
                    <a:pt x="31" y="96"/>
                  </a:cubicBezTo>
                  <a:cubicBezTo>
                    <a:pt x="26" y="89"/>
                    <a:pt x="29" y="89"/>
                    <a:pt x="24" y="86"/>
                  </a:cubicBezTo>
                  <a:cubicBezTo>
                    <a:pt x="18" y="83"/>
                    <a:pt x="17" y="83"/>
                    <a:pt x="19" y="77"/>
                  </a:cubicBezTo>
                  <a:cubicBezTo>
                    <a:pt x="21" y="70"/>
                    <a:pt x="29" y="69"/>
                    <a:pt x="21" y="64"/>
                  </a:cubicBezTo>
                  <a:cubicBezTo>
                    <a:pt x="13" y="60"/>
                    <a:pt x="2" y="58"/>
                    <a:pt x="2" y="53"/>
                  </a:cubicBezTo>
                  <a:cubicBezTo>
                    <a:pt x="3" y="48"/>
                    <a:pt x="8" y="47"/>
                    <a:pt x="10" y="45"/>
                  </a:cubicBezTo>
                  <a:cubicBezTo>
                    <a:pt x="11" y="43"/>
                    <a:pt x="18" y="39"/>
                    <a:pt x="21" y="39"/>
                  </a:cubicBezTo>
                  <a:cubicBezTo>
                    <a:pt x="25" y="39"/>
                    <a:pt x="29" y="38"/>
                    <a:pt x="23" y="35"/>
                  </a:cubicBezTo>
                  <a:cubicBezTo>
                    <a:pt x="17" y="32"/>
                    <a:pt x="18" y="32"/>
                    <a:pt x="13" y="29"/>
                  </a:cubicBezTo>
                  <a:cubicBezTo>
                    <a:pt x="7" y="25"/>
                    <a:pt x="0" y="25"/>
                    <a:pt x="0" y="19"/>
                  </a:cubicBezTo>
                  <a:cubicBezTo>
                    <a:pt x="0" y="13"/>
                    <a:pt x="0" y="10"/>
                    <a:pt x="3" y="8"/>
                  </a:cubicBezTo>
                  <a:cubicBezTo>
                    <a:pt x="5" y="6"/>
                    <a:pt x="4" y="0"/>
                    <a:pt x="6" y="3"/>
                  </a:cubicBezTo>
                  <a:cubicBezTo>
                    <a:pt x="9" y="5"/>
                    <a:pt x="9" y="5"/>
                    <a:pt x="13" y="6"/>
                  </a:cubicBezTo>
                  <a:cubicBezTo>
                    <a:pt x="17" y="8"/>
                    <a:pt x="18" y="5"/>
                    <a:pt x="20" y="7"/>
                  </a:cubicBezTo>
                  <a:cubicBezTo>
                    <a:pt x="22" y="10"/>
                    <a:pt x="25" y="13"/>
                    <a:pt x="28" y="15"/>
                  </a:cubicBezTo>
                  <a:cubicBezTo>
                    <a:pt x="30" y="16"/>
                    <a:pt x="31" y="19"/>
                    <a:pt x="33" y="17"/>
                  </a:cubicBezTo>
                  <a:cubicBezTo>
                    <a:pt x="35" y="14"/>
                    <a:pt x="36" y="10"/>
                    <a:pt x="37" y="11"/>
                  </a:cubicBezTo>
                  <a:cubicBezTo>
                    <a:pt x="38" y="12"/>
                    <a:pt x="41" y="11"/>
                    <a:pt x="43" y="19"/>
                  </a:cubicBezTo>
                  <a:cubicBezTo>
                    <a:pt x="45" y="28"/>
                    <a:pt x="40" y="33"/>
                    <a:pt x="44" y="36"/>
                  </a:cubicBezTo>
                  <a:cubicBezTo>
                    <a:pt x="49" y="39"/>
                    <a:pt x="101" y="41"/>
                    <a:pt x="103" y="41"/>
                  </a:cubicBezTo>
                  <a:cubicBezTo>
                    <a:pt x="106" y="41"/>
                    <a:pt x="112" y="46"/>
                    <a:pt x="108" y="48"/>
                  </a:cubicBezTo>
                  <a:cubicBezTo>
                    <a:pt x="104" y="50"/>
                    <a:pt x="103" y="56"/>
                    <a:pt x="102" y="60"/>
                  </a:cubicBezTo>
                  <a:cubicBezTo>
                    <a:pt x="102" y="64"/>
                    <a:pt x="101" y="64"/>
                    <a:pt x="96" y="66"/>
                  </a:cubicBezTo>
                  <a:cubicBezTo>
                    <a:pt x="90" y="68"/>
                    <a:pt x="85" y="68"/>
                    <a:pt x="85" y="74"/>
                  </a:cubicBezTo>
                  <a:cubicBezTo>
                    <a:pt x="85" y="80"/>
                    <a:pt x="81" y="87"/>
                    <a:pt x="86" y="91"/>
                  </a:cubicBezTo>
                  <a:cubicBezTo>
                    <a:pt x="90" y="95"/>
                    <a:pt x="95" y="100"/>
                    <a:pt x="97" y="100"/>
                  </a:cubicBezTo>
                  <a:cubicBezTo>
                    <a:pt x="100" y="101"/>
                    <a:pt x="99" y="96"/>
                    <a:pt x="101" y="91"/>
                  </a:cubicBezTo>
                  <a:cubicBezTo>
                    <a:pt x="102" y="85"/>
                    <a:pt x="105" y="77"/>
                    <a:pt x="109" y="80"/>
                  </a:cubicBezTo>
                  <a:cubicBezTo>
                    <a:pt x="114" y="83"/>
                    <a:pt x="111" y="88"/>
                    <a:pt x="113" y="95"/>
                  </a:cubicBezTo>
                  <a:cubicBezTo>
                    <a:pt x="115" y="101"/>
                    <a:pt x="119" y="104"/>
                    <a:pt x="121" y="112"/>
                  </a:cubicBezTo>
                  <a:cubicBezTo>
                    <a:pt x="124" y="120"/>
                    <a:pt x="123" y="121"/>
                    <a:pt x="124" y="129"/>
                  </a:cubicBezTo>
                  <a:cubicBezTo>
                    <a:pt x="125" y="137"/>
                    <a:pt x="132" y="149"/>
                    <a:pt x="127" y="148"/>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21" name="Freeform 1100">
              <a:extLst>
                <a:ext uri="{FF2B5EF4-FFF2-40B4-BE49-F238E27FC236}">
                  <a16:creationId xmlns:a16="http://schemas.microsoft.com/office/drawing/2014/main" id="{4CF8A72F-4FA9-0E4E-83F8-B8D228CE313F}"/>
                </a:ext>
              </a:extLst>
            </p:cNvPr>
            <p:cNvSpPr>
              <a:spLocks/>
            </p:cNvSpPr>
            <p:nvPr/>
          </p:nvSpPr>
          <p:spPr bwMode="auto">
            <a:xfrm>
              <a:off x="6183332" y="1905456"/>
              <a:ext cx="209551" cy="496888"/>
            </a:xfrm>
            <a:custGeom>
              <a:avLst/>
              <a:gdLst>
                <a:gd name="T0" fmla="*/ 216 w 219"/>
                <a:gd name="T1" fmla="*/ 202 h 521"/>
                <a:gd name="T2" fmla="*/ 203 w 219"/>
                <a:gd name="T3" fmla="*/ 219 h 521"/>
                <a:gd name="T4" fmla="*/ 196 w 219"/>
                <a:gd name="T5" fmla="*/ 229 h 521"/>
                <a:gd name="T6" fmla="*/ 181 w 219"/>
                <a:gd name="T7" fmla="*/ 236 h 521"/>
                <a:gd name="T8" fmla="*/ 163 w 219"/>
                <a:gd name="T9" fmla="*/ 249 h 521"/>
                <a:gd name="T10" fmla="*/ 146 w 219"/>
                <a:gd name="T11" fmla="*/ 263 h 521"/>
                <a:gd name="T12" fmla="*/ 141 w 219"/>
                <a:gd name="T13" fmla="*/ 283 h 521"/>
                <a:gd name="T14" fmla="*/ 156 w 219"/>
                <a:gd name="T15" fmla="*/ 312 h 521"/>
                <a:gd name="T16" fmla="*/ 181 w 219"/>
                <a:gd name="T17" fmla="*/ 342 h 521"/>
                <a:gd name="T18" fmla="*/ 176 w 219"/>
                <a:gd name="T19" fmla="*/ 353 h 521"/>
                <a:gd name="T20" fmla="*/ 170 w 219"/>
                <a:gd name="T21" fmla="*/ 380 h 521"/>
                <a:gd name="T22" fmla="*/ 195 w 219"/>
                <a:gd name="T23" fmla="*/ 418 h 521"/>
                <a:gd name="T24" fmla="*/ 209 w 219"/>
                <a:gd name="T25" fmla="*/ 456 h 521"/>
                <a:gd name="T26" fmla="*/ 202 w 219"/>
                <a:gd name="T27" fmla="*/ 490 h 521"/>
                <a:gd name="T28" fmla="*/ 192 w 219"/>
                <a:gd name="T29" fmla="*/ 519 h 521"/>
                <a:gd name="T30" fmla="*/ 189 w 219"/>
                <a:gd name="T31" fmla="*/ 508 h 521"/>
                <a:gd name="T32" fmla="*/ 191 w 219"/>
                <a:gd name="T33" fmla="*/ 476 h 521"/>
                <a:gd name="T34" fmla="*/ 188 w 219"/>
                <a:gd name="T35" fmla="*/ 451 h 521"/>
                <a:gd name="T36" fmla="*/ 181 w 219"/>
                <a:gd name="T37" fmla="*/ 421 h 521"/>
                <a:gd name="T38" fmla="*/ 163 w 219"/>
                <a:gd name="T39" fmla="*/ 389 h 521"/>
                <a:gd name="T40" fmla="*/ 157 w 219"/>
                <a:gd name="T41" fmla="*/ 358 h 521"/>
                <a:gd name="T42" fmla="*/ 141 w 219"/>
                <a:gd name="T43" fmla="*/ 329 h 521"/>
                <a:gd name="T44" fmla="*/ 130 w 219"/>
                <a:gd name="T45" fmla="*/ 316 h 521"/>
                <a:gd name="T46" fmla="*/ 123 w 219"/>
                <a:gd name="T47" fmla="*/ 336 h 521"/>
                <a:gd name="T48" fmla="*/ 108 w 219"/>
                <a:gd name="T49" fmla="*/ 350 h 521"/>
                <a:gd name="T50" fmla="*/ 96 w 219"/>
                <a:gd name="T51" fmla="*/ 360 h 521"/>
                <a:gd name="T52" fmla="*/ 87 w 219"/>
                <a:gd name="T53" fmla="*/ 357 h 521"/>
                <a:gd name="T54" fmla="*/ 73 w 219"/>
                <a:gd name="T55" fmla="*/ 351 h 521"/>
                <a:gd name="T56" fmla="*/ 70 w 219"/>
                <a:gd name="T57" fmla="*/ 326 h 521"/>
                <a:gd name="T58" fmla="*/ 64 w 219"/>
                <a:gd name="T59" fmla="*/ 286 h 521"/>
                <a:gd name="T60" fmla="*/ 46 w 219"/>
                <a:gd name="T61" fmla="*/ 276 h 521"/>
                <a:gd name="T62" fmla="*/ 44 w 219"/>
                <a:gd name="T63" fmla="*/ 262 h 521"/>
                <a:gd name="T64" fmla="*/ 43 w 219"/>
                <a:gd name="T65" fmla="*/ 245 h 521"/>
                <a:gd name="T66" fmla="*/ 25 w 219"/>
                <a:gd name="T67" fmla="*/ 238 h 521"/>
                <a:gd name="T68" fmla="*/ 8 w 219"/>
                <a:gd name="T69" fmla="*/ 223 h 521"/>
                <a:gd name="T70" fmla="*/ 0 w 219"/>
                <a:gd name="T71" fmla="*/ 208 h 521"/>
                <a:gd name="T72" fmla="*/ 11 w 219"/>
                <a:gd name="T73" fmla="*/ 203 h 521"/>
                <a:gd name="T74" fmla="*/ 7 w 219"/>
                <a:gd name="T75" fmla="*/ 179 h 521"/>
                <a:gd name="T76" fmla="*/ 18 w 219"/>
                <a:gd name="T77" fmla="*/ 182 h 521"/>
                <a:gd name="T78" fmla="*/ 21 w 219"/>
                <a:gd name="T79" fmla="*/ 170 h 521"/>
                <a:gd name="T80" fmla="*/ 20 w 219"/>
                <a:gd name="T81" fmla="*/ 154 h 521"/>
                <a:gd name="T82" fmla="*/ 19 w 219"/>
                <a:gd name="T83" fmla="*/ 127 h 521"/>
                <a:gd name="T84" fmla="*/ 39 w 219"/>
                <a:gd name="T85" fmla="*/ 130 h 521"/>
                <a:gd name="T86" fmla="*/ 46 w 219"/>
                <a:gd name="T87" fmla="*/ 94 h 521"/>
                <a:gd name="T88" fmla="*/ 52 w 219"/>
                <a:gd name="T89" fmla="*/ 65 h 521"/>
                <a:gd name="T90" fmla="*/ 65 w 219"/>
                <a:gd name="T91" fmla="*/ 45 h 521"/>
                <a:gd name="T92" fmla="*/ 94 w 219"/>
                <a:gd name="T93" fmla="*/ 40 h 521"/>
                <a:gd name="T94" fmla="*/ 95 w 219"/>
                <a:gd name="T95" fmla="*/ 7 h 521"/>
                <a:gd name="T96" fmla="*/ 108 w 219"/>
                <a:gd name="T97" fmla="*/ 5 h 521"/>
                <a:gd name="T98" fmla="*/ 122 w 219"/>
                <a:gd name="T99" fmla="*/ 30 h 521"/>
                <a:gd name="T100" fmla="*/ 136 w 219"/>
                <a:gd name="T101" fmla="*/ 57 h 521"/>
                <a:gd name="T102" fmla="*/ 123 w 219"/>
                <a:gd name="T103" fmla="*/ 94 h 521"/>
                <a:gd name="T104" fmla="*/ 122 w 219"/>
                <a:gd name="T105" fmla="*/ 128 h 521"/>
                <a:gd name="T106" fmla="*/ 148 w 219"/>
                <a:gd name="T107" fmla="*/ 126 h 521"/>
                <a:gd name="T108" fmla="*/ 160 w 219"/>
                <a:gd name="T109" fmla="*/ 149 h 521"/>
                <a:gd name="T110" fmla="*/ 171 w 219"/>
                <a:gd name="T111" fmla="*/ 173 h 521"/>
                <a:gd name="T112" fmla="*/ 191 w 219"/>
                <a:gd name="T113" fmla="*/ 186 h 521"/>
                <a:gd name="T114" fmla="*/ 207 w 219"/>
                <a:gd name="T115" fmla="*/ 198 h 521"/>
                <a:gd name="T116" fmla="*/ 218 w 219"/>
                <a:gd name="T117" fmla="*/ 199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9" h="521">
                  <a:moveTo>
                    <a:pt x="218" y="199"/>
                  </a:moveTo>
                  <a:cubicBezTo>
                    <a:pt x="218" y="200"/>
                    <a:pt x="217" y="201"/>
                    <a:pt x="216" y="202"/>
                  </a:cubicBezTo>
                  <a:cubicBezTo>
                    <a:pt x="212" y="206"/>
                    <a:pt x="206" y="212"/>
                    <a:pt x="206" y="213"/>
                  </a:cubicBezTo>
                  <a:cubicBezTo>
                    <a:pt x="206" y="214"/>
                    <a:pt x="205" y="218"/>
                    <a:pt x="203" y="219"/>
                  </a:cubicBezTo>
                  <a:cubicBezTo>
                    <a:pt x="200" y="221"/>
                    <a:pt x="197" y="227"/>
                    <a:pt x="197" y="228"/>
                  </a:cubicBezTo>
                  <a:cubicBezTo>
                    <a:pt x="197" y="228"/>
                    <a:pt x="197" y="229"/>
                    <a:pt x="196" y="229"/>
                  </a:cubicBezTo>
                  <a:cubicBezTo>
                    <a:pt x="195" y="229"/>
                    <a:pt x="193" y="229"/>
                    <a:pt x="190" y="230"/>
                  </a:cubicBezTo>
                  <a:cubicBezTo>
                    <a:pt x="185" y="231"/>
                    <a:pt x="182" y="234"/>
                    <a:pt x="181" y="236"/>
                  </a:cubicBezTo>
                  <a:cubicBezTo>
                    <a:pt x="180" y="238"/>
                    <a:pt x="174" y="241"/>
                    <a:pt x="174" y="243"/>
                  </a:cubicBezTo>
                  <a:cubicBezTo>
                    <a:pt x="173" y="245"/>
                    <a:pt x="167" y="247"/>
                    <a:pt x="163" y="249"/>
                  </a:cubicBezTo>
                  <a:cubicBezTo>
                    <a:pt x="159" y="251"/>
                    <a:pt x="156" y="242"/>
                    <a:pt x="151" y="248"/>
                  </a:cubicBezTo>
                  <a:cubicBezTo>
                    <a:pt x="147" y="253"/>
                    <a:pt x="145" y="259"/>
                    <a:pt x="146" y="263"/>
                  </a:cubicBezTo>
                  <a:cubicBezTo>
                    <a:pt x="147" y="267"/>
                    <a:pt x="146" y="270"/>
                    <a:pt x="146" y="276"/>
                  </a:cubicBezTo>
                  <a:cubicBezTo>
                    <a:pt x="147" y="281"/>
                    <a:pt x="136" y="279"/>
                    <a:pt x="141" y="283"/>
                  </a:cubicBezTo>
                  <a:cubicBezTo>
                    <a:pt x="146" y="287"/>
                    <a:pt x="149" y="297"/>
                    <a:pt x="150" y="299"/>
                  </a:cubicBezTo>
                  <a:cubicBezTo>
                    <a:pt x="151" y="301"/>
                    <a:pt x="145" y="304"/>
                    <a:pt x="156" y="312"/>
                  </a:cubicBezTo>
                  <a:cubicBezTo>
                    <a:pt x="166" y="320"/>
                    <a:pt x="174" y="328"/>
                    <a:pt x="175" y="332"/>
                  </a:cubicBezTo>
                  <a:cubicBezTo>
                    <a:pt x="176" y="336"/>
                    <a:pt x="177" y="341"/>
                    <a:pt x="181" y="342"/>
                  </a:cubicBezTo>
                  <a:cubicBezTo>
                    <a:pt x="184" y="342"/>
                    <a:pt x="186" y="338"/>
                    <a:pt x="184" y="342"/>
                  </a:cubicBezTo>
                  <a:cubicBezTo>
                    <a:pt x="182" y="347"/>
                    <a:pt x="176" y="350"/>
                    <a:pt x="176" y="353"/>
                  </a:cubicBezTo>
                  <a:cubicBezTo>
                    <a:pt x="176" y="356"/>
                    <a:pt x="180" y="361"/>
                    <a:pt x="179" y="364"/>
                  </a:cubicBezTo>
                  <a:cubicBezTo>
                    <a:pt x="178" y="366"/>
                    <a:pt x="169" y="373"/>
                    <a:pt x="170" y="380"/>
                  </a:cubicBezTo>
                  <a:cubicBezTo>
                    <a:pt x="172" y="386"/>
                    <a:pt x="180" y="393"/>
                    <a:pt x="184" y="397"/>
                  </a:cubicBezTo>
                  <a:cubicBezTo>
                    <a:pt x="187" y="401"/>
                    <a:pt x="194" y="414"/>
                    <a:pt x="195" y="418"/>
                  </a:cubicBezTo>
                  <a:cubicBezTo>
                    <a:pt x="196" y="423"/>
                    <a:pt x="197" y="429"/>
                    <a:pt x="200" y="435"/>
                  </a:cubicBezTo>
                  <a:cubicBezTo>
                    <a:pt x="203" y="441"/>
                    <a:pt x="204" y="450"/>
                    <a:pt x="209" y="456"/>
                  </a:cubicBezTo>
                  <a:cubicBezTo>
                    <a:pt x="213" y="463"/>
                    <a:pt x="212" y="474"/>
                    <a:pt x="210" y="477"/>
                  </a:cubicBezTo>
                  <a:cubicBezTo>
                    <a:pt x="209" y="479"/>
                    <a:pt x="205" y="484"/>
                    <a:pt x="202" y="490"/>
                  </a:cubicBezTo>
                  <a:cubicBezTo>
                    <a:pt x="199" y="495"/>
                    <a:pt x="196" y="500"/>
                    <a:pt x="195" y="506"/>
                  </a:cubicBezTo>
                  <a:cubicBezTo>
                    <a:pt x="194" y="512"/>
                    <a:pt x="195" y="517"/>
                    <a:pt x="192" y="519"/>
                  </a:cubicBezTo>
                  <a:cubicBezTo>
                    <a:pt x="192" y="520"/>
                    <a:pt x="191" y="521"/>
                    <a:pt x="190" y="521"/>
                  </a:cubicBezTo>
                  <a:cubicBezTo>
                    <a:pt x="191" y="516"/>
                    <a:pt x="191" y="515"/>
                    <a:pt x="189" y="508"/>
                  </a:cubicBezTo>
                  <a:cubicBezTo>
                    <a:pt x="186" y="500"/>
                    <a:pt x="192" y="492"/>
                    <a:pt x="192" y="488"/>
                  </a:cubicBezTo>
                  <a:cubicBezTo>
                    <a:pt x="193" y="483"/>
                    <a:pt x="192" y="480"/>
                    <a:pt x="191" y="476"/>
                  </a:cubicBezTo>
                  <a:cubicBezTo>
                    <a:pt x="189" y="471"/>
                    <a:pt x="192" y="471"/>
                    <a:pt x="191" y="464"/>
                  </a:cubicBezTo>
                  <a:cubicBezTo>
                    <a:pt x="189" y="457"/>
                    <a:pt x="187" y="452"/>
                    <a:pt x="188" y="451"/>
                  </a:cubicBezTo>
                  <a:cubicBezTo>
                    <a:pt x="189" y="449"/>
                    <a:pt x="187" y="445"/>
                    <a:pt x="185" y="435"/>
                  </a:cubicBezTo>
                  <a:cubicBezTo>
                    <a:pt x="182" y="426"/>
                    <a:pt x="187" y="428"/>
                    <a:pt x="181" y="421"/>
                  </a:cubicBezTo>
                  <a:cubicBezTo>
                    <a:pt x="175" y="413"/>
                    <a:pt x="178" y="419"/>
                    <a:pt x="173" y="408"/>
                  </a:cubicBezTo>
                  <a:cubicBezTo>
                    <a:pt x="168" y="396"/>
                    <a:pt x="164" y="396"/>
                    <a:pt x="163" y="389"/>
                  </a:cubicBezTo>
                  <a:cubicBezTo>
                    <a:pt x="162" y="382"/>
                    <a:pt x="158" y="388"/>
                    <a:pt x="158" y="376"/>
                  </a:cubicBezTo>
                  <a:cubicBezTo>
                    <a:pt x="158" y="363"/>
                    <a:pt x="163" y="369"/>
                    <a:pt x="157" y="358"/>
                  </a:cubicBezTo>
                  <a:cubicBezTo>
                    <a:pt x="151" y="347"/>
                    <a:pt x="155" y="348"/>
                    <a:pt x="150" y="340"/>
                  </a:cubicBezTo>
                  <a:cubicBezTo>
                    <a:pt x="144" y="332"/>
                    <a:pt x="142" y="332"/>
                    <a:pt x="141" y="329"/>
                  </a:cubicBezTo>
                  <a:cubicBezTo>
                    <a:pt x="140" y="327"/>
                    <a:pt x="136" y="320"/>
                    <a:pt x="135" y="316"/>
                  </a:cubicBezTo>
                  <a:cubicBezTo>
                    <a:pt x="134" y="313"/>
                    <a:pt x="129" y="311"/>
                    <a:pt x="130" y="316"/>
                  </a:cubicBezTo>
                  <a:cubicBezTo>
                    <a:pt x="130" y="321"/>
                    <a:pt x="133" y="331"/>
                    <a:pt x="130" y="332"/>
                  </a:cubicBezTo>
                  <a:cubicBezTo>
                    <a:pt x="128" y="333"/>
                    <a:pt x="127" y="330"/>
                    <a:pt x="123" y="336"/>
                  </a:cubicBezTo>
                  <a:cubicBezTo>
                    <a:pt x="118" y="341"/>
                    <a:pt x="118" y="341"/>
                    <a:pt x="115" y="344"/>
                  </a:cubicBezTo>
                  <a:cubicBezTo>
                    <a:pt x="113" y="347"/>
                    <a:pt x="110" y="346"/>
                    <a:pt x="108" y="350"/>
                  </a:cubicBezTo>
                  <a:cubicBezTo>
                    <a:pt x="106" y="354"/>
                    <a:pt x="103" y="356"/>
                    <a:pt x="103" y="358"/>
                  </a:cubicBezTo>
                  <a:cubicBezTo>
                    <a:pt x="102" y="361"/>
                    <a:pt x="97" y="365"/>
                    <a:pt x="96" y="360"/>
                  </a:cubicBezTo>
                  <a:cubicBezTo>
                    <a:pt x="96" y="355"/>
                    <a:pt x="94" y="352"/>
                    <a:pt x="92" y="354"/>
                  </a:cubicBezTo>
                  <a:cubicBezTo>
                    <a:pt x="90" y="357"/>
                    <a:pt x="89" y="360"/>
                    <a:pt x="87" y="357"/>
                  </a:cubicBezTo>
                  <a:cubicBezTo>
                    <a:pt x="86" y="354"/>
                    <a:pt x="84" y="355"/>
                    <a:pt x="80" y="354"/>
                  </a:cubicBezTo>
                  <a:cubicBezTo>
                    <a:pt x="76" y="353"/>
                    <a:pt x="77" y="355"/>
                    <a:pt x="73" y="351"/>
                  </a:cubicBezTo>
                  <a:cubicBezTo>
                    <a:pt x="69" y="347"/>
                    <a:pt x="67" y="352"/>
                    <a:pt x="68" y="343"/>
                  </a:cubicBezTo>
                  <a:cubicBezTo>
                    <a:pt x="70" y="335"/>
                    <a:pt x="68" y="332"/>
                    <a:pt x="70" y="326"/>
                  </a:cubicBezTo>
                  <a:cubicBezTo>
                    <a:pt x="73" y="319"/>
                    <a:pt x="73" y="302"/>
                    <a:pt x="73" y="300"/>
                  </a:cubicBezTo>
                  <a:cubicBezTo>
                    <a:pt x="72" y="297"/>
                    <a:pt x="70" y="294"/>
                    <a:pt x="64" y="286"/>
                  </a:cubicBezTo>
                  <a:cubicBezTo>
                    <a:pt x="58" y="279"/>
                    <a:pt x="55" y="272"/>
                    <a:pt x="54" y="271"/>
                  </a:cubicBezTo>
                  <a:cubicBezTo>
                    <a:pt x="53" y="270"/>
                    <a:pt x="46" y="278"/>
                    <a:pt x="46" y="276"/>
                  </a:cubicBezTo>
                  <a:cubicBezTo>
                    <a:pt x="45" y="275"/>
                    <a:pt x="40" y="270"/>
                    <a:pt x="42" y="269"/>
                  </a:cubicBezTo>
                  <a:cubicBezTo>
                    <a:pt x="44" y="268"/>
                    <a:pt x="48" y="267"/>
                    <a:pt x="44" y="262"/>
                  </a:cubicBezTo>
                  <a:cubicBezTo>
                    <a:pt x="41" y="257"/>
                    <a:pt x="43" y="252"/>
                    <a:pt x="45" y="250"/>
                  </a:cubicBezTo>
                  <a:cubicBezTo>
                    <a:pt x="47" y="249"/>
                    <a:pt x="51" y="247"/>
                    <a:pt x="43" y="245"/>
                  </a:cubicBezTo>
                  <a:cubicBezTo>
                    <a:pt x="35" y="242"/>
                    <a:pt x="31" y="234"/>
                    <a:pt x="30" y="238"/>
                  </a:cubicBezTo>
                  <a:cubicBezTo>
                    <a:pt x="30" y="241"/>
                    <a:pt x="26" y="243"/>
                    <a:pt x="25" y="238"/>
                  </a:cubicBezTo>
                  <a:cubicBezTo>
                    <a:pt x="24" y="234"/>
                    <a:pt x="20" y="231"/>
                    <a:pt x="16" y="229"/>
                  </a:cubicBezTo>
                  <a:cubicBezTo>
                    <a:pt x="12" y="227"/>
                    <a:pt x="12" y="227"/>
                    <a:pt x="8" y="223"/>
                  </a:cubicBezTo>
                  <a:cubicBezTo>
                    <a:pt x="4" y="219"/>
                    <a:pt x="3" y="218"/>
                    <a:pt x="2" y="213"/>
                  </a:cubicBezTo>
                  <a:cubicBezTo>
                    <a:pt x="2" y="210"/>
                    <a:pt x="1" y="210"/>
                    <a:pt x="0" y="208"/>
                  </a:cubicBezTo>
                  <a:cubicBezTo>
                    <a:pt x="1" y="207"/>
                    <a:pt x="4" y="205"/>
                    <a:pt x="5" y="203"/>
                  </a:cubicBezTo>
                  <a:cubicBezTo>
                    <a:pt x="5" y="200"/>
                    <a:pt x="6" y="202"/>
                    <a:pt x="11" y="203"/>
                  </a:cubicBezTo>
                  <a:cubicBezTo>
                    <a:pt x="16" y="204"/>
                    <a:pt x="9" y="192"/>
                    <a:pt x="8" y="184"/>
                  </a:cubicBezTo>
                  <a:cubicBezTo>
                    <a:pt x="8" y="182"/>
                    <a:pt x="8" y="181"/>
                    <a:pt x="7" y="179"/>
                  </a:cubicBezTo>
                  <a:cubicBezTo>
                    <a:pt x="9" y="180"/>
                    <a:pt x="11" y="180"/>
                    <a:pt x="13" y="181"/>
                  </a:cubicBezTo>
                  <a:cubicBezTo>
                    <a:pt x="15" y="183"/>
                    <a:pt x="18" y="186"/>
                    <a:pt x="18" y="182"/>
                  </a:cubicBezTo>
                  <a:cubicBezTo>
                    <a:pt x="18" y="178"/>
                    <a:pt x="23" y="178"/>
                    <a:pt x="22" y="176"/>
                  </a:cubicBezTo>
                  <a:cubicBezTo>
                    <a:pt x="22" y="173"/>
                    <a:pt x="22" y="172"/>
                    <a:pt x="21" y="170"/>
                  </a:cubicBezTo>
                  <a:cubicBezTo>
                    <a:pt x="19" y="168"/>
                    <a:pt x="18" y="169"/>
                    <a:pt x="19" y="164"/>
                  </a:cubicBezTo>
                  <a:cubicBezTo>
                    <a:pt x="19" y="159"/>
                    <a:pt x="17" y="159"/>
                    <a:pt x="20" y="154"/>
                  </a:cubicBezTo>
                  <a:cubicBezTo>
                    <a:pt x="22" y="149"/>
                    <a:pt x="26" y="149"/>
                    <a:pt x="24" y="143"/>
                  </a:cubicBezTo>
                  <a:cubicBezTo>
                    <a:pt x="21" y="136"/>
                    <a:pt x="14" y="125"/>
                    <a:pt x="19" y="127"/>
                  </a:cubicBezTo>
                  <a:cubicBezTo>
                    <a:pt x="24" y="128"/>
                    <a:pt x="25" y="130"/>
                    <a:pt x="30" y="131"/>
                  </a:cubicBezTo>
                  <a:cubicBezTo>
                    <a:pt x="35" y="132"/>
                    <a:pt x="39" y="138"/>
                    <a:pt x="39" y="130"/>
                  </a:cubicBezTo>
                  <a:cubicBezTo>
                    <a:pt x="38" y="121"/>
                    <a:pt x="42" y="122"/>
                    <a:pt x="46" y="114"/>
                  </a:cubicBezTo>
                  <a:cubicBezTo>
                    <a:pt x="49" y="106"/>
                    <a:pt x="48" y="98"/>
                    <a:pt x="46" y="94"/>
                  </a:cubicBezTo>
                  <a:cubicBezTo>
                    <a:pt x="43" y="90"/>
                    <a:pt x="51" y="85"/>
                    <a:pt x="51" y="79"/>
                  </a:cubicBezTo>
                  <a:cubicBezTo>
                    <a:pt x="52" y="72"/>
                    <a:pt x="55" y="73"/>
                    <a:pt x="52" y="65"/>
                  </a:cubicBezTo>
                  <a:cubicBezTo>
                    <a:pt x="49" y="57"/>
                    <a:pt x="46" y="54"/>
                    <a:pt x="52" y="52"/>
                  </a:cubicBezTo>
                  <a:cubicBezTo>
                    <a:pt x="58" y="49"/>
                    <a:pt x="56" y="52"/>
                    <a:pt x="65" y="45"/>
                  </a:cubicBezTo>
                  <a:cubicBezTo>
                    <a:pt x="74" y="37"/>
                    <a:pt x="73" y="30"/>
                    <a:pt x="82" y="35"/>
                  </a:cubicBezTo>
                  <a:cubicBezTo>
                    <a:pt x="90" y="39"/>
                    <a:pt x="95" y="45"/>
                    <a:pt x="94" y="40"/>
                  </a:cubicBezTo>
                  <a:cubicBezTo>
                    <a:pt x="94" y="35"/>
                    <a:pt x="84" y="27"/>
                    <a:pt x="90" y="21"/>
                  </a:cubicBezTo>
                  <a:cubicBezTo>
                    <a:pt x="96" y="16"/>
                    <a:pt x="102" y="10"/>
                    <a:pt x="95" y="7"/>
                  </a:cubicBezTo>
                  <a:cubicBezTo>
                    <a:pt x="96" y="5"/>
                    <a:pt x="97" y="4"/>
                    <a:pt x="98" y="2"/>
                  </a:cubicBezTo>
                  <a:cubicBezTo>
                    <a:pt x="99" y="0"/>
                    <a:pt x="106" y="2"/>
                    <a:pt x="108" y="5"/>
                  </a:cubicBezTo>
                  <a:cubicBezTo>
                    <a:pt x="110" y="8"/>
                    <a:pt x="120" y="16"/>
                    <a:pt x="120" y="20"/>
                  </a:cubicBezTo>
                  <a:cubicBezTo>
                    <a:pt x="120" y="24"/>
                    <a:pt x="117" y="32"/>
                    <a:pt x="122" y="30"/>
                  </a:cubicBezTo>
                  <a:cubicBezTo>
                    <a:pt x="127" y="28"/>
                    <a:pt x="132" y="26"/>
                    <a:pt x="133" y="33"/>
                  </a:cubicBezTo>
                  <a:cubicBezTo>
                    <a:pt x="135" y="40"/>
                    <a:pt x="131" y="48"/>
                    <a:pt x="136" y="57"/>
                  </a:cubicBezTo>
                  <a:cubicBezTo>
                    <a:pt x="140" y="66"/>
                    <a:pt x="144" y="72"/>
                    <a:pt x="139" y="77"/>
                  </a:cubicBezTo>
                  <a:cubicBezTo>
                    <a:pt x="133" y="82"/>
                    <a:pt x="125" y="87"/>
                    <a:pt x="123" y="94"/>
                  </a:cubicBezTo>
                  <a:cubicBezTo>
                    <a:pt x="121" y="101"/>
                    <a:pt x="117" y="104"/>
                    <a:pt x="119" y="112"/>
                  </a:cubicBezTo>
                  <a:cubicBezTo>
                    <a:pt x="121" y="119"/>
                    <a:pt x="119" y="124"/>
                    <a:pt x="122" y="128"/>
                  </a:cubicBezTo>
                  <a:cubicBezTo>
                    <a:pt x="125" y="132"/>
                    <a:pt x="130" y="128"/>
                    <a:pt x="133" y="126"/>
                  </a:cubicBezTo>
                  <a:cubicBezTo>
                    <a:pt x="137" y="124"/>
                    <a:pt x="146" y="124"/>
                    <a:pt x="148" y="126"/>
                  </a:cubicBezTo>
                  <a:cubicBezTo>
                    <a:pt x="151" y="128"/>
                    <a:pt x="148" y="132"/>
                    <a:pt x="152" y="137"/>
                  </a:cubicBezTo>
                  <a:cubicBezTo>
                    <a:pt x="155" y="142"/>
                    <a:pt x="158" y="142"/>
                    <a:pt x="160" y="149"/>
                  </a:cubicBezTo>
                  <a:cubicBezTo>
                    <a:pt x="163" y="156"/>
                    <a:pt x="174" y="153"/>
                    <a:pt x="174" y="158"/>
                  </a:cubicBezTo>
                  <a:cubicBezTo>
                    <a:pt x="175" y="163"/>
                    <a:pt x="171" y="172"/>
                    <a:pt x="171" y="173"/>
                  </a:cubicBezTo>
                  <a:cubicBezTo>
                    <a:pt x="171" y="175"/>
                    <a:pt x="161" y="183"/>
                    <a:pt x="172" y="182"/>
                  </a:cubicBezTo>
                  <a:cubicBezTo>
                    <a:pt x="183" y="182"/>
                    <a:pt x="191" y="180"/>
                    <a:pt x="191" y="186"/>
                  </a:cubicBezTo>
                  <a:cubicBezTo>
                    <a:pt x="191" y="192"/>
                    <a:pt x="196" y="201"/>
                    <a:pt x="199" y="202"/>
                  </a:cubicBezTo>
                  <a:cubicBezTo>
                    <a:pt x="203" y="203"/>
                    <a:pt x="202" y="202"/>
                    <a:pt x="207" y="198"/>
                  </a:cubicBezTo>
                  <a:cubicBezTo>
                    <a:pt x="213" y="194"/>
                    <a:pt x="216" y="188"/>
                    <a:pt x="218" y="192"/>
                  </a:cubicBezTo>
                  <a:cubicBezTo>
                    <a:pt x="218" y="194"/>
                    <a:pt x="219" y="196"/>
                    <a:pt x="218" y="199"/>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22" name="Freeform 1101">
              <a:extLst>
                <a:ext uri="{FF2B5EF4-FFF2-40B4-BE49-F238E27FC236}">
                  <a16:creationId xmlns:a16="http://schemas.microsoft.com/office/drawing/2014/main" id="{6C144208-0C46-A14B-A833-6D4373BF6FCB}"/>
                </a:ext>
              </a:extLst>
            </p:cNvPr>
            <p:cNvSpPr>
              <a:spLocks/>
            </p:cNvSpPr>
            <p:nvPr/>
          </p:nvSpPr>
          <p:spPr bwMode="auto">
            <a:xfrm>
              <a:off x="6313507" y="2122944"/>
              <a:ext cx="209551" cy="396876"/>
            </a:xfrm>
            <a:custGeom>
              <a:avLst/>
              <a:gdLst>
                <a:gd name="T0" fmla="*/ 212 w 220"/>
                <a:gd name="T1" fmla="*/ 169 h 416"/>
                <a:gd name="T2" fmla="*/ 198 w 220"/>
                <a:gd name="T3" fmla="*/ 167 h 416"/>
                <a:gd name="T4" fmla="*/ 166 w 220"/>
                <a:gd name="T5" fmla="*/ 167 h 416"/>
                <a:gd name="T6" fmla="*/ 150 w 220"/>
                <a:gd name="T7" fmla="*/ 186 h 416"/>
                <a:gd name="T8" fmla="*/ 145 w 220"/>
                <a:gd name="T9" fmla="*/ 206 h 416"/>
                <a:gd name="T10" fmla="*/ 154 w 220"/>
                <a:gd name="T11" fmla="*/ 227 h 416"/>
                <a:gd name="T12" fmla="*/ 154 w 220"/>
                <a:gd name="T13" fmla="*/ 228 h 416"/>
                <a:gd name="T14" fmla="*/ 141 w 220"/>
                <a:gd name="T15" fmla="*/ 223 h 416"/>
                <a:gd name="T16" fmla="*/ 123 w 220"/>
                <a:gd name="T17" fmla="*/ 216 h 416"/>
                <a:gd name="T18" fmla="*/ 106 w 220"/>
                <a:gd name="T19" fmla="*/ 215 h 416"/>
                <a:gd name="T20" fmla="*/ 106 w 220"/>
                <a:gd name="T21" fmla="*/ 193 h 416"/>
                <a:gd name="T22" fmla="*/ 86 w 220"/>
                <a:gd name="T23" fmla="*/ 195 h 416"/>
                <a:gd name="T24" fmla="*/ 86 w 220"/>
                <a:gd name="T25" fmla="*/ 209 h 416"/>
                <a:gd name="T26" fmla="*/ 87 w 220"/>
                <a:gd name="T27" fmla="*/ 226 h 416"/>
                <a:gd name="T28" fmla="*/ 81 w 220"/>
                <a:gd name="T29" fmla="*/ 246 h 416"/>
                <a:gd name="T30" fmla="*/ 73 w 220"/>
                <a:gd name="T31" fmla="*/ 279 h 416"/>
                <a:gd name="T32" fmla="*/ 72 w 220"/>
                <a:gd name="T33" fmla="*/ 306 h 416"/>
                <a:gd name="T34" fmla="*/ 91 w 220"/>
                <a:gd name="T35" fmla="*/ 311 h 416"/>
                <a:gd name="T36" fmla="*/ 98 w 220"/>
                <a:gd name="T37" fmla="*/ 333 h 416"/>
                <a:gd name="T38" fmla="*/ 105 w 220"/>
                <a:gd name="T39" fmla="*/ 351 h 416"/>
                <a:gd name="T40" fmla="*/ 101 w 220"/>
                <a:gd name="T41" fmla="*/ 358 h 416"/>
                <a:gd name="T42" fmla="*/ 119 w 220"/>
                <a:gd name="T43" fmla="*/ 377 h 416"/>
                <a:gd name="T44" fmla="*/ 141 w 220"/>
                <a:gd name="T45" fmla="*/ 388 h 416"/>
                <a:gd name="T46" fmla="*/ 148 w 220"/>
                <a:gd name="T47" fmla="*/ 403 h 416"/>
                <a:gd name="T48" fmla="*/ 126 w 220"/>
                <a:gd name="T49" fmla="*/ 414 h 416"/>
                <a:gd name="T50" fmla="*/ 120 w 220"/>
                <a:gd name="T51" fmla="*/ 392 h 416"/>
                <a:gd name="T52" fmla="*/ 99 w 220"/>
                <a:gd name="T53" fmla="*/ 391 h 416"/>
                <a:gd name="T54" fmla="*/ 86 w 220"/>
                <a:gd name="T55" fmla="*/ 375 h 416"/>
                <a:gd name="T56" fmla="*/ 77 w 220"/>
                <a:gd name="T57" fmla="*/ 357 h 416"/>
                <a:gd name="T58" fmla="*/ 67 w 220"/>
                <a:gd name="T59" fmla="*/ 349 h 416"/>
                <a:gd name="T60" fmla="*/ 55 w 220"/>
                <a:gd name="T61" fmla="*/ 341 h 416"/>
                <a:gd name="T62" fmla="*/ 51 w 220"/>
                <a:gd name="T63" fmla="*/ 351 h 416"/>
                <a:gd name="T64" fmla="*/ 48 w 220"/>
                <a:gd name="T65" fmla="*/ 325 h 416"/>
                <a:gd name="T66" fmla="*/ 54 w 220"/>
                <a:gd name="T67" fmla="*/ 294 h 416"/>
                <a:gd name="T68" fmla="*/ 56 w 220"/>
                <a:gd name="T69" fmla="*/ 290 h 416"/>
                <a:gd name="T70" fmla="*/ 66 w 220"/>
                <a:gd name="T71" fmla="*/ 261 h 416"/>
                <a:gd name="T72" fmla="*/ 73 w 220"/>
                <a:gd name="T73" fmla="*/ 227 h 416"/>
                <a:gd name="T74" fmla="*/ 59 w 220"/>
                <a:gd name="T75" fmla="*/ 189 h 416"/>
                <a:gd name="T76" fmla="*/ 34 w 220"/>
                <a:gd name="T77" fmla="*/ 151 h 416"/>
                <a:gd name="T78" fmla="*/ 40 w 220"/>
                <a:gd name="T79" fmla="*/ 124 h 416"/>
                <a:gd name="T80" fmla="*/ 45 w 220"/>
                <a:gd name="T81" fmla="*/ 113 h 416"/>
                <a:gd name="T82" fmla="*/ 20 w 220"/>
                <a:gd name="T83" fmla="*/ 83 h 416"/>
                <a:gd name="T84" fmla="*/ 5 w 220"/>
                <a:gd name="T85" fmla="*/ 54 h 416"/>
                <a:gd name="T86" fmla="*/ 10 w 220"/>
                <a:gd name="T87" fmla="*/ 34 h 416"/>
                <a:gd name="T88" fmla="*/ 27 w 220"/>
                <a:gd name="T89" fmla="*/ 20 h 416"/>
                <a:gd name="T90" fmla="*/ 45 w 220"/>
                <a:gd name="T91" fmla="*/ 7 h 416"/>
                <a:gd name="T92" fmla="*/ 60 w 220"/>
                <a:gd name="T93" fmla="*/ 0 h 416"/>
                <a:gd name="T94" fmla="*/ 73 w 220"/>
                <a:gd name="T95" fmla="*/ 6 h 416"/>
                <a:gd name="T96" fmla="*/ 76 w 220"/>
                <a:gd name="T97" fmla="*/ 24 h 416"/>
                <a:gd name="T98" fmla="*/ 95 w 220"/>
                <a:gd name="T99" fmla="*/ 26 h 416"/>
                <a:gd name="T100" fmla="*/ 96 w 220"/>
                <a:gd name="T101" fmla="*/ 54 h 416"/>
                <a:gd name="T102" fmla="*/ 94 w 220"/>
                <a:gd name="T103" fmla="*/ 78 h 416"/>
                <a:gd name="T104" fmla="*/ 111 w 220"/>
                <a:gd name="T105" fmla="*/ 69 h 416"/>
                <a:gd name="T106" fmla="*/ 132 w 220"/>
                <a:gd name="T107" fmla="*/ 70 h 416"/>
                <a:gd name="T108" fmla="*/ 152 w 220"/>
                <a:gd name="T109" fmla="*/ 54 h 416"/>
                <a:gd name="T110" fmla="*/ 189 w 220"/>
                <a:gd name="T111" fmla="*/ 88 h 416"/>
                <a:gd name="T112" fmla="*/ 202 w 220"/>
                <a:gd name="T113" fmla="*/ 119 h 416"/>
                <a:gd name="T114" fmla="*/ 216 w 220"/>
                <a:gd name="T115" fmla="*/ 132 h 416"/>
                <a:gd name="T116" fmla="*/ 218 w 220"/>
                <a:gd name="T117" fmla="*/ 15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0" h="416">
                  <a:moveTo>
                    <a:pt x="218" y="157"/>
                  </a:moveTo>
                  <a:cubicBezTo>
                    <a:pt x="216" y="161"/>
                    <a:pt x="217" y="167"/>
                    <a:pt x="212" y="169"/>
                  </a:cubicBezTo>
                  <a:cubicBezTo>
                    <a:pt x="211" y="169"/>
                    <a:pt x="209" y="169"/>
                    <a:pt x="208" y="168"/>
                  </a:cubicBezTo>
                  <a:cubicBezTo>
                    <a:pt x="205" y="167"/>
                    <a:pt x="203" y="166"/>
                    <a:pt x="198" y="167"/>
                  </a:cubicBezTo>
                  <a:cubicBezTo>
                    <a:pt x="191" y="169"/>
                    <a:pt x="185" y="169"/>
                    <a:pt x="180" y="169"/>
                  </a:cubicBezTo>
                  <a:cubicBezTo>
                    <a:pt x="175" y="169"/>
                    <a:pt x="172" y="168"/>
                    <a:pt x="166" y="167"/>
                  </a:cubicBezTo>
                  <a:cubicBezTo>
                    <a:pt x="161" y="167"/>
                    <a:pt x="156" y="170"/>
                    <a:pt x="155" y="174"/>
                  </a:cubicBezTo>
                  <a:cubicBezTo>
                    <a:pt x="154" y="178"/>
                    <a:pt x="153" y="183"/>
                    <a:pt x="150" y="186"/>
                  </a:cubicBezTo>
                  <a:cubicBezTo>
                    <a:pt x="147" y="188"/>
                    <a:pt x="137" y="190"/>
                    <a:pt x="140" y="194"/>
                  </a:cubicBezTo>
                  <a:cubicBezTo>
                    <a:pt x="143" y="199"/>
                    <a:pt x="142" y="200"/>
                    <a:pt x="145" y="206"/>
                  </a:cubicBezTo>
                  <a:cubicBezTo>
                    <a:pt x="148" y="213"/>
                    <a:pt x="149" y="218"/>
                    <a:pt x="151" y="221"/>
                  </a:cubicBezTo>
                  <a:cubicBezTo>
                    <a:pt x="153" y="224"/>
                    <a:pt x="154" y="225"/>
                    <a:pt x="154" y="227"/>
                  </a:cubicBezTo>
                  <a:cubicBezTo>
                    <a:pt x="154" y="227"/>
                    <a:pt x="154" y="228"/>
                    <a:pt x="154" y="228"/>
                  </a:cubicBezTo>
                  <a:cubicBezTo>
                    <a:pt x="154" y="228"/>
                    <a:pt x="154" y="228"/>
                    <a:pt x="154" y="228"/>
                  </a:cubicBezTo>
                  <a:cubicBezTo>
                    <a:pt x="147" y="232"/>
                    <a:pt x="144" y="238"/>
                    <a:pt x="142" y="231"/>
                  </a:cubicBezTo>
                  <a:cubicBezTo>
                    <a:pt x="141" y="223"/>
                    <a:pt x="148" y="223"/>
                    <a:pt x="141" y="223"/>
                  </a:cubicBezTo>
                  <a:cubicBezTo>
                    <a:pt x="134" y="223"/>
                    <a:pt x="133" y="220"/>
                    <a:pt x="131" y="218"/>
                  </a:cubicBezTo>
                  <a:cubicBezTo>
                    <a:pt x="129" y="217"/>
                    <a:pt x="127" y="216"/>
                    <a:pt x="123" y="216"/>
                  </a:cubicBezTo>
                  <a:cubicBezTo>
                    <a:pt x="119" y="217"/>
                    <a:pt x="119" y="216"/>
                    <a:pt x="114" y="216"/>
                  </a:cubicBezTo>
                  <a:cubicBezTo>
                    <a:pt x="108" y="216"/>
                    <a:pt x="106" y="221"/>
                    <a:pt x="106" y="215"/>
                  </a:cubicBezTo>
                  <a:cubicBezTo>
                    <a:pt x="106" y="208"/>
                    <a:pt x="106" y="203"/>
                    <a:pt x="107" y="198"/>
                  </a:cubicBezTo>
                  <a:cubicBezTo>
                    <a:pt x="108" y="194"/>
                    <a:pt x="115" y="193"/>
                    <a:pt x="106" y="193"/>
                  </a:cubicBezTo>
                  <a:cubicBezTo>
                    <a:pt x="98" y="192"/>
                    <a:pt x="95" y="191"/>
                    <a:pt x="92" y="192"/>
                  </a:cubicBezTo>
                  <a:cubicBezTo>
                    <a:pt x="90" y="194"/>
                    <a:pt x="87" y="193"/>
                    <a:pt x="86" y="195"/>
                  </a:cubicBezTo>
                  <a:cubicBezTo>
                    <a:pt x="85" y="198"/>
                    <a:pt x="84" y="200"/>
                    <a:pt x="84" y="202"/>
                  </a:cubicBezTo>
                  <a:cubicBezTo>
                    <a:pt x="84" y="204"/>
                    <a:pt x="86" y="208"/>
                    <a:pt x="86" y="209"/>
                  </a:cubicBezTo>
                  <a:cubicBezTo>
                    <a:pt x="86" y="211"/>
                    <a:pt x="85" y="211"/>
                    <a:pt x="85" y="215"/>
                  </a:cubicBezTo>
                  <a:cubicBezTo>
                    <a:pt x="85" y="220"/>
                    <a:pt x="87" y="224"/>
                    <a:pt x="87" y="226"/>
                  </a:cubicBezTo>
                  <a:cubicBezTo>
                    <a:pt x="87" y="228"/>
                    <a:pt x="87" y="232"/>
                    <a:pt x="85" y="236"/>
                  </a:cubicBezTo>
                  <a:cubicBezTo>
                    <a:pt x="84" y="239"/>
                    <a:pt x="82" y="242"/>
                    <a:pt x="81" y="246"/>
                  </a:cubicBezTo>
                  <a:cubicBezTo>
                    <a:pt x="80" y="250"/>
                    <a:pt x="77" y="255"/>
                    <a:pt x="76" y="259"/>
                  </a:cubicBezTo>
                  <a:cubicBezTo>
                    <a:pt x="75" y="264"/>
                    <a:pt x="73" y="272"/>
                    <a:pt x="73" y="279"/>
                  </a:cubicBezTo>
                  <a:cubicBezTo>
                    <a:pt x="73" y="285"/>
                    <a:pt x="69" y="290"/>
                    <a:pt x="69" y="294"/>
                  </a:cubicBezTo>
                  <a:cubicBezTo>
                    <a:pt x="69" y="297"/>
                    <a:pt x="70" y="303"/>
                    <a:pt x="72" y="306"/>
                  </a:cubicBezTo>
                  <a:cubicBezTo>
                    <a:pt x="74" y="308"/>
                    <a:pt x="80" y="315"/>
                    <a:pt x="83" y="315"/>
                  </a:cubicBezTo>
                  <a:cubicBezTo>
                    <a:pt x="85" y="314"/>
                    <a:pt x="90" y="310"/>
                    <a:pt x="91" y="311"/>
                  </a:cubicBezTo>
                  <a:cubicBezTo>
                    <a:pt x="93" y="313"/>
                    <a:pt x="91" y="320"/>
                    <a:pt x="92" y="323"/>
                  </a:cubicBezTo>
                  <a:cubicBezTo>
                    <a:pt x="93" y="327"/>
                    <a:pt x="95" y="331"/>
                    <a:pt x="98" y="333"/>
                  </a:cubicBezTo>
                  <a:cubicBezTo>
                    <a:pt x="100" y="335"/>
                    <a:pt x="100" y="334"/>
                    <a:pt x="100" y="338"/>
                  </a:cubicBezTo>
                  <a:cubicBezTo>
                    <a:pt x="101" y="342"/>
                    <a:pt x="105" y="349"/>
                    <a:pt x="105" y="351"/>
                  </a:cubicBezTo>
                  <a:cubicBezTo>
                    <a:pt x="105" y="352"/>
                    <a:pt x="104" y="353"/>
                    <a:pt x="104" y="356"/>
                  </a:cubicBezTo>
                  <a:cubicBezTo>
                    <a:pt x="105" y="359"/>
                    <a:pt x="102" y="353"/>
                    <a:pt x="101" y="358"/>
                  </a:cubicBezTo>
                  <a:cubicBezTo>
                    <a:pt x="100" y="363"/>
                    <a:pt x="104" y="366"/>
                    <a:pt x="109" y="368"/>
                  </a:cubicBezTo>
                  <a:cubicBezTo>
                    <a:pt x="114" y="371"/>
                    <a:pt x="115" y="375"/>
                    <a:pt x="119" y="377"/>
                  </a:cubicBezTo>
                  <a:cubicBezTo>
                    <a:pt x="123" y="379"/>
                    <a:pt x="128" y="378"/>
                    <a:pt x="132" y="379"/>
                  </a:cubicBezTo>
                  <a:cubicBezTo>
                    <a:pt x="136" y="380"/>
                    <a:pt x="141" y="386"/>
                    <a:pt x="141" y="388"/>
                  </a:cubicBezTo>
                  <a:cubicBezTo>
                    <a:pt x="142" y="390"/>
                    <a:pt x="146" y="391"/>
                    <a:pt x="150" y="393"/>
                  </a:cubicBezTo>
                  <a:cubicBezTo>
                    <a:pt x="149" y="396"/>
                    <a:pt x="149" y="400"/>
                    <a:pt x="148" y="403"/>
                  </a:cubicBezTo>
                  <a:cubicBezTo>
                    <a:pt x="146" y="409"/>
                    <a:pt x="142" y="409"/>
                    <a:pt x="137" y="406"/>
                  </a:cubicBezTo>
                  <a:cubicBezTo>
                    <a:pt x="133" y="403"/>
                    <a:pt x="134" y="412"/>
                    <a:pt x="126" y="414"/>
                  </a:cubicBezTo>
                  <a:cubicBezTo>
                    <a:pt x="117" y="416"/>
                    <a:pt x="125" y="406"/>
                    <a:pt x="126" y="404"/>
                  </a:cubicBezTo>
                  <a:cubicBezTo>
                    <a:pt x="126" y="401"/>
                    <a:pt x="123" y="394"/>
                    <a:pt x="120" y="392"/>
                  </a:cubicBezTo>
                  <a:cubicBezTo>
                    <a:pt x="117" y="389"/>
                    <a:pt x="108" y="388"/>
                    <a:pt x="102" y="384"/>
                  </a:cubicBezTo>
                  <a:cubicBezTo>
                    <a:pt x="97" y="380"/>
                    <a:pt x="98" y="387"/>
                    <a:pt x="99" y="391"/>
                  </a:cubicBezTo>
                  <a:cubicBezTo>
                    <a:pt x="98" y="389"/>
                    <a:pt x="98" y="387"/>
                    <a:pt x="97" y="385"/>
                  </a:cubicBezTo>
                  <a:cubicBezTo>
                    <a:pt x="96" y="382"/>
                    <a:pt x="86" y="377"/>
                    <a:pt x="86" y="375"/>
                  </a:cubicBezTo>
                  <a:cubicBezTo>
                    <a:pt x="86" y="372"/>
                    <a:pt x="84" y="370"/>
                    <a:pt x="80" y="367"/>
                  </a:cubicBezTo>
                  <a:cubicBezTo>
                    <a:pt x="77" y="364"/>
                    <a:pt x="77" y="360"/>
                    <a:pt x="77" y="357"/>
                  </a:cubicBezTo>
                  <a:cubicBezTo>
                    <a:pt x="77" y="355"/>
                    <a:pt x="73" y="355"/>
                    <a:pt x="71" y="354"/>
                  </a:cubicBezTo>
                  <a:cubicBezTo>
                    <a:pt x="68" y="353"/>
                    <a:pt x="68" y="353"/>
                    <a:pt x="67" y="349"/>
                  </a:cubicBezTo>
                  <a:cubicBezTo>
                    <a:pt x="65" y="344"/>
                    <a:pt x="63" y="343"/>
                    <a:pt x="62" y="341"/>
                  </a:cubicBezTo>
                  <a:cubicBezTo>
                    <a:pt x="61" y="338"/>
                    <a:pt x="55" y="337"/>
                    <a:pt x="55" y="341"/>
                  </a:cubicBezTo>
                  <a:cubicBezTo>
                    <a:pt x="56" y="345"/>
                    <a:pt x="56" y="349"/>
                    <a:pt x="56" y="350"/>
                  </a:cubicBezTo>
                  <a:cubicBezTo>
                    <a:pt x="56" y="351"/>
                    <a:pt x="52" y="359"/>
                    <a:pt x="51" y="351"/>
                  </a:cubicBezTo>
                  <a:cubicBezTo>
                    <a:pt x="50" y="343"/>
                    <a:pt x="51" y="342"/>
                    <a:pt x="49" y="338"/>
                  </a:cubicBezTo>
                  <a:cubicBezTo>
                    <a:pt x="46" y="334"/>
                    <a:pt x="46" y="330"/>
                    <a:pt x="48" y="325"/>
                  </a:cubicBezTo>
                  <a:cubicBezTo>
                    <a:pt x="51" y="320"/>
                    <a:pt x="51" y="321"/>
                    <a:pt x="52" y="311"/>
                  </a:cubicBezTo>
                  <a:cubicBezTo>
                    <a:pt x="53" y="302"/>
                    <a:pt x="53" y="302"/>
                    <a:pt x="54" y="294"/>
                  </a:cubicBezTo>
                  <a:cubicBezTo>
                    <a:pt x="54" y="294"/>
                    <a:pt x="54" y="293"/>
                    <a:pt x="54" y="292"/>
                  </a:cubicBezTo>
                  <a:cubicBezTo>
                    <a:pt x="55" y="292"/>
                    <a:pt x="56" y="291"/>
                    <a:pt x="56" y="290"/>
                  </a:cubicBezTo>
                  <a:cubicBezTo>
                    <a:pt x="59" y="288"/>
                    <a:pt x="58" y="283"/>
                    <a:pt x="59" y="277"/>
                  </a:cubicBezTo>
                  <a:cubicBezTo>
                    <a:pt x="60" y="271"/>
                    <a:pt x="63" y="266"/>
                    <a:pt x="66" y="261"/>
                  </a:cubicBezTo>
                  <a:cubicBezTo>
                    <a:pt x="69" y="255"/>
                    <a:pt x="73" y="250"/>
                    <a:pt x="74" y="248"/>
                  </a:cubicBezTo>
                  <a:cubicBezTo>
                    <a:pt x="76" y="245"/>
                    <a:pt x="77" y="234"/>
                    <a:pt x="73" y="227"/>
                  </a:cubicBezTo>
                  <a:cubicBezTo>
                    <a:pt x="68" y="221"/>
                    <a:pt x="67" y="212"/>
                    <a:pt x="64" y="206"/>
                  </a:cubicBezTo>
                  <a:cubicBezTo>
                    <a:pt x="61" y="200"/>
                    <a:pt x="60" y="194"/>
                    <a:pt x="59" y="189"/>
                  </a:cubicBezTo>
                  <a:cubicBezTo>
                    <a:pt x="58" y="185"/>
                    <a:pt x="51" y="172"/>
                    <a:pt x="48" y="168"/>
                  </a:cubicBezTo>
                  <a:cubicBezTo>
                    <a:pt x="44" y="164"/>
                    <a:pt x="36" y="157"/>
                    <a:pt x="34" y="151"/>
                  </a:cubicBezTo>
                  <a:cubicBezTo>
                    <a:pt x="33" y="144"/>
                    <a:pt x="42" y="137"/>
                    <a:pt x="43" y="135"/>
                  </a:cubicBezTo>
                  <a:cubicBezTo>
                    <a:pt x="44" y="132"/>
                    <a:pt x="40" y="127"/>
                    <a:pt x="40" y="124"/>
                  </a:cubicBezTo>
                  <a:cubicBezTo>
                    <a:pt x="40" y="121"/>
                    <a:pt x="46" y="118"/>
                    <a:pt x="48" y="113"/>
                  </a:cubicBezTo>
                  <a:cubicBezTo>
                    <a:pt x="50" y="109"/>
                    <a:pt x="48" y="113"/>
                    <a:pt x="45" y="113"/>
                  </a:cubicBezTo>
                  <a:cubicBezTo>
                    <a:pt x="41" y="112"/>
                    <a:pt x="40" y="107"/>
                    <a:pt x="39" y="103"/>
                  </a:cubicBezTo>
                  <a:cubicBezTo>
                    <a:pt x="38" y="99"/>
                    <a:pt x="30" y="91"/>
                    <a:pt x="20" y="83"/>
                  </a:cubicBezTo>
                  <a:cubicBezTo>
                    <a:pt x="9" y="75"/>
                    <a:pt x="15" y="72"/>
                    <a:pt x="14" y="70"/>
                  </a:cubicBezTo>
                  <a:cubicBezTo>
                    <a:pt x="13" y="68"/>
                    <a:pt x="10" y="58"/>
                    <a:pt x="5" y="54"/>
                  </a:cubicBezTo>
                  <a:cubicBezTo>
                    <a:pt x="0" y="50"/>
                    <a:pt x="11" y="52"/>
                    <a:pt x="10" y="47"/>
                  </a:cubicBezTo>
                  <a:cubicBezTo>
                    <a:pt x="10" y="41"/>
                    <a:pt x="11" y="38"/>
                    <a:pt x="10" y="34"/>
                  </a:cubicBezTo>
                  <a:cubicBezTo>
                    <a:pt x="9" y="30"/>
                    <a:pt x="11" y="24"/>
                    <a:pt x="15" y="19"/>
                  </a:cubicBezTo>
                  <a:cubicBezTo>
                    <a:pt x="20" y="13"/>
                    <a:pt x="23" y="22"/>
                    <a:pt x="27" y="20"/>
                  </a:cubicBezTo>
                  <a:cubicBezTo>
                    <a:pt x="31" y="18"/>
                    <a:pt x="37" y="16"/>
                    <a:pt x="38" y="14"/>
                  </a:cubicBezTo>
                  <a:cubicBezTo>
                    <a:pt x="38" y="12"/>
                    <a:pt x="44" y="9"/>
                    <a:pt x="45" y="7"/>
                  </a:cubicBezTo>
                  <a:cubicBezTo>
                    <a:pt x="46" y="5"/>
                    <a:pt x="49" y="2"/>
                    <a:pt x="54" y="1"/>
                  </a:cubicBezTo>
                  <a:cubicBezTo>
                    <a:pt x="57" y="0"/>
                    <a:pt x="59" y="0"/>
                    <a:pt x="60" y="0"/>
                  </a:cubicBezTo>
                  <a:cubicBezTo>
                    <a:pt x="62" y="1"/>
                    <a:pt x="62" y="2"/>
                    <a:pt x="64" y="1"/>
                  </a:cubicBezTo>
                  <a:cubicBezTo>
                    <a:pt x="67" y="0"/>
                    <a:pt x="72" y="4"/>
                    <a:pt x="73" y="6"/>
                  </a:cubicBezTo>
                  <a:cubicBezTo>
                    <a:pt x="74" y="8"/>
                    <a:pt x="75" y="13"/>
                    <a:pt x="74" y="15"/>
                  </a:cubicBezTo>
                  <a:cubicBezTo>
                    <a:pt x="73" y="17"/>
                    <a:pt x="75" y="24"/>
                    <a:pt x="76" y="24"/>
                  </a:cubicBezTo>
                  <a:cubicBezTo>
                    <a:pt x="77" y="25"/>
                    <a:pt x="79" y="29"/>
                    <a:pt x="84" y="26"/>
                  </a:cubicBezTo>
                  <a:cubicBezTo>
                    <a:pt x="89" y="23"/>
                    <a:pt x="95" y="23"/>
                    <a:pt x="95" y="26"/>
                  </a:cubicBezTo>
                  <a:cubicBezTo>
                    <a:pt x="96" y="29"/>
                    <a:pt x="94" y="31"/>
                    <a:pt x="96" y="38"/>
                  </a:cubicBezTo>
                  <a:cubicBezTo>
                    <a:pt x="97" y="45"/>
                    <a:pt x="97" y="48"/>
                    <a:pt x="96" y="54"/>
                  </a:cubicBezTo>
                  <a:cubicBezTo>
                    <a:pt x="95" y="60"/>
                    <a:pt x="98" y="62"/>
                    <a:pt x="97" y="65"/>
                  </a:cubicBezTo>
                  <a:cubicBezTo>
                    <a:pt x="96" y="68"/>
                    <a:pt x="92" y="74"/>
                    <a:pt x="94" y="78"/>
                  </a:cubicBezTo>
                  <a:cubicBezTo>
                    <a:pt x="96" y="81"/>
                    <a:pt x="97" y="84"/>
                    <a:pt x="101" y="80"/>
                  </a:cubicBezTo>
                  <a:cubicBezTo>
                    <a:pt x="105" y="76"/>
                    <a:pt x="108" y="76"/>
                    <a:pt x="111" y="69"/>
                  </a:cubicBezTo>
                  <a:cubicBezTo>
                    <a:pt x="114" y="63"/>
                    <a:pt x="117" y="60"/>
                    <a:pt x="121" y="62"/>
                  </a:cubicBezTo>
                  <a:cubicBezTo>
                    <a:pt x="125" y="64"/>
                    <a:pt x="127" y="69"/>
                    <a:pt x="132" y="70"/>
                  </a:cubicBezTo>
                  <a:cubicBezTo>
                    <a:pt x="137" y="70"/>
                    <a:pt x="138" y="71"/>
                    <a:pt x="144" y="66"/>
                  </a:cubicBezTo>
                  <a:cubicBezTo>
                    <a:pt x="150" y="60"/>
                    <a:pt x="145" y="53"/>
                    <a:pt x="152" y="54"/>
                  </a:cubicBezTo>
                  <a:cubicBezTo>
                    <a:pt x="159" y="55"/>
                    <a:pt x="173" y="61"/>
                    <a:pt x="177" y="67"/>
                  </a:cubicBezTo>
                  <a:cubicBezTo>
                    <a:pt x="181" y="73"/>
                    <a:pt x="189" y="81"/>
                    <a:pt x="189" y="88"/>
                  </a:cubicBezTo>
                  <a:cubicBezTo>
                    <a:pt x="190" y="95"/>
                    <a:pt x="190" y="106"/>
                    <a:pt x="192" y="108"/>
                  </a:cubicBezTo>
                  <a:cubicBezTo>
                    <a:pt x="194" y="111"/>
                    <a:pt x="195" y="116"/>
                    <a:pt x="202" y="119"/>
                  </a:cubicBezTo>
                  <a:cubicBezTo>
                    <a:pt x="208" y="122"/>
                    <a:pt x="208" y="125"/>
                    <a:pt x="210" y="127"/>
                  </a:cubicBezTo>
                  <a:cubicBezTo>
                    <a:pt x="211" y="129"/>
                    <a:pt x="217" y="127"/>
                    <a:pt x="216" y="132"/>
                  </a:cubicBezTo>
                  <a:cubicBezTo>
                    <a:pt x="215" y="138"/>
                    <a:pt x="208" y="138"/>
                    <a:pt x="213" y="145"/>
                  </a:cubicBezTo>
                  <a:cubicBezTo>
                    <a:pt x="218" y="152"/>
                    <a:pt x="220" y="154"/>
                    <a:pt x="218" y="157"/>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23" name="Freeform 1102">
              <a:extLst>
                <a:ext uri="{FF2B5EF4-FFF2-40B4-BE49-F238E27FC236}">
                  <a16:creationId xmlns:a16="http://schemas.microsoft.com/office/drawing/2014/main" id="{B409FA55-9881-4B49-951F-AAC096C77E44}"/>
                </a:ext>
              </a:extLst>
            </p:cNvPr>
            <p:cNvSpPr>
              <a:spLocks/>
            </p:cNvSpPr>
            <p:nvPr/>
          </p:nvSpPr>
          <p:spPr bwMode="auto">
            <a:xfrm>
              <a:off x="6443683" y="2275344"/>
              <a:ext cx="131763" cy="112713"/>
            </a:xfrm>
            <a:custGeom>
              <a:avLst/>
              <a:gdLst>
                <a:gd name="T0" fmla="*/ 136 w 138"/>
                <a:gd name="T1" fmla="*/ 61 h 119"/>
                <a:gd name="T2" fmla="*/ 129 w 138"/>
                <a:gd name="T3" fmla="*/ 68 h 119"/>
                <a:gd name="T4" fmla="*/ 120 w 138"/>
                <a:gd name="T5" fmla="*/ 73 h 119"/>
                <a:gd name="T6" fmla="*/ 109 w 138"/>
                <a:gd name="T7" fmla="*/ 80 h 119"/>
                <a:gd name="T8" fmla="*/ 107 w 138"/>
                <a:gd name="T9" fmla="*/ 84 h 119"/>
                <a:gd name="T10" fmla="*/ 101 w 138"/>
                <a:gd name="T11" fmla="*/ 83 h 119"/>
                <a:gd name="T12" fmla="*/ 95 w 138"/>
                <a:gd name="T13" fmla="*/ 91 h 119"/>
                <a:gd name="T14" fmla="*/ 102 w 138"/>
                <a:gd name="T15" fmla="*/ 101 h 119"/>
                <a:gd name="T16" fmla="*/ 106 w 138"/>
                <a:gd name="T17" fmla="*/ 108 h 119"/>
                <a:gd name="T18" fmla="*/ 100 w 138"/>
                <a:gd name="T19" fmla="*/ 109 h 119"/>
                <a:gd name="T20" fmla="*/ 91 w 138"/>
                <a:gd name="T21" fmla="*/ 104 h 119"/>
                <a:gd name="T22" fmla="*/ 82 w 138"/>
                <a:gd name="T23" fmla="*/ 107 h 119"/>
                <a:gd name="T24" fmla="*/ 76 w 138"/>
                <a:gd name="T25" fmla="*/ 112 h 119"/>
                <a:gd name="T26" fmla="*/ 69 w 138"/>
                <a:gd name="T27" fmla="*/ 117 h 119"/>
                <a:gd name="T28" fmla="*/ 64 w 138"/>
                <a:gd name="T29" fmla="*/ 119 h 119"/>
                <a:gd name="T30" fmla="*/ 58 w 138"/>
                <a:gd name="T31" fmla="*/ 119 h 119"/>
                <a:gd name="T32" fmla="*/ 52 w 138"/>
                <a:gd name="T33" fmla="*/ 117 h 119"/>
                <a:gd name="T34" fmla="*/ 43 w 138"/>
                <a:gd name="T35" fmla="*/ 116 h 119"/>
                <a:gd name="T36" fmla="*/ 40 w 138"/>
                <a:gd name="T37" fmla="*/ 112 h 119"/>
                <a:gd name="T38" fmla="*/ 42 w 138"/>
                <a:gd name="T39" fmla="*/ 102 h 119"/>
                <a:gd name="T40" fmla="*/ 31 w 138"/>
                <a:gd name="T41" fmla="*/ 107 h 119"/>
                <a:gd name="T42" fmla="*/ 27 w 138"/>
                <a:gd name="T43" fmla="*/ 95 h 119"/>
                <a:gd name="T44" fmla="*/ 23 w 138"/>
                <a:gd name="T45" fmla="*/ 84 h 119"/>
                <a:gd name="T46" fmla="*/ 17 w 138"/>
                <a:gd name="T47" fmla="*/ 69 h 119"/>
                <a:gd name="T48" fmla="*/ 17 w 138"/>
                <a:gd name="T49" fmla="*/ 68 h 119"/>
                <a:gd name="T50" fmla="*/ 14 w 138"/>
                <a:gd name="T51" fmla="*/ 62 h 119"/>
                <a:gd name="T52" fmla="*/ 8 w 138"/>
                <a:gd name="T53" fmla="*/ 47 h 119"/>
                <a:gd name="T54" fmla="*/ 3 w 138"/>
                <a:gd name="T55" fmla="*/ 35 h 119"/>
                <a:gd name="T56" fmla="*/ 13 w 138"/>
                <a:gd name="T57" fmla="*/ 27 h 119"/>
                <a:gd name="T58" fmla="*/ 18 w 138"/>
                <a:gd name="T59" fmla="*/ 15 h 119"/>
                <a:gd name="T60" fmla="*/ 29 w 138"/>
                <a:gd name="T61" fmla="*/ 8 h 119"/>
                <a:gd name="T62" fmla="*/ 43 w 138"/>
                <a:gd name="T63" fmla="*/ 10 h 119"/>
                <a:gd name="T64" fmla="*/ 61 w 138"/>
                <a:gd name="T65" fmla="*/ 8 h 119"/>
                <a:gd name="T66" fmla="*/ 71 w 138"/>
                <a:gd name="T67" fmla="*/ 9 h 119"/>
                <a:gd name="T68" fmla="*/ 72 w 138"/>
                <a:gd name="T69" fmla="*/ 13 h 119"/>
                <a:gd name="T70" fmla="*/ 85 w 138"/>
                <a:gd name="T71" fmla="*/ 18 h 119"/>
                <a:gd name="T72" fmla="*/ 95 w 138"/>
                <a:gd name="T73" fmla="*/ 22 h 119"/>
                <a:gd name="T74" fmla="*/ 92 w 138"/>
                <a:gd name="T75" fmla="*/ 11 h 119"/>
                <a:gd name="T76" fmla="*/ 100 w 138"/>
                <a:gd name="T77" fmla="*/ 7 h 119"/>
                <a:gd name="T78" fmla="*/ 110 w 138"/>
                <a:gd name="T79" fmla="*/ 9 h 119"/>
                <a:gd name="T80" fmla="*/ 118 w 138"/>
                <a:gd name="T81" fmla="*/ 7 h 119"/>
                <a:gd name="T82" fmla="*/ 128 w 138"/>
                <a:gd name="T83" fmla="*/ 1 h 119"/>
                <a:gd name="T84" fmla="*/ 129 w 138"/>
                <a:gd name="T85" fmla="*/ 0 h 119"/>
                <a:gd name="T86" fmla="*/ 129 w 138"/>
                <a:gd name="T87" fmla="*/ 4 h 119"/>
                <a:gd name="T88" fmla="*/ 126 w 138"/>
                <a:gd name="T89" fmla="*/ 14 h 119"/>
                <a:gd name="T90" fmla="*/ 136 w 138"/>
                <a:gd name="T91" fmla="*/ 36 h 119"/>
                <a:gd name="T92" fmla="*/ 134 w 138"/>
                <a:gd name="T93" fmla="*/ 49 h 119"/>
                <a:gd name="T94" fmla="*/ 136 w 138"/>
                <a:gd name="T95" fmla="*/ 6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8" h="119">
                  <a:moveTo>
                    <a:pt x="136" y="61"/>
                  </a:moveTo>
                  <a:cubicBezTo>
                    <a:pt x="137" y="65"/>
                    <a:pt x="131" y="68"/>
                    <a:pt x="129" y="68"/>
                  </a:cubicBezTo>
                  <a:cubicBezTo>
                    <a:pt x="127" y="69"/>
                    <a:pt x="124" y="70"/>
                    <a:pt x="120" y="73"/>
                  </a:cubicBezTo>
                  <a:cubicBezTo>
                    <a:pt x="115" y="76"/>
                    <a:pt x="109" y="78"/>
                    <a:pt x="109" y="80"/>
                  </a:cubicBezTo>
                  <a:cubicBezTo>
                    <a:pt x="109" y="83"/>
                    <a:pt x="110" y="85"/>
                    <a:pt x="107" y="84"/>
                  </a:cubicBezTo>
                  <a:cubicBezTo>
                    <a:pt x="105" y="83"/>
                    <a:pt x="103" y="82"/>
                    <a:pt x="101" y="83"/>
                  </a:cubicBezTo>
                  <a:cubicBezTo>
                    <a:pt x="99" y="84"/>
                    <a:pt x="91" y="88"/>
                    <a:pt x="95" y="91"/>
                  </a:cubicBezTo>
                  <a:cubicBezTo>
                    <a:pt x="98" y="94"/>
                    <a:pt x="99" y="97"/>
                    <a:pt x="102" y="101"/>
                  </a:cubicBezTo>
                  <a:cubicBezTo>
                    <a:pt x="106" y="104"/>
                    <a:pt x="109" y="106"/>
                    <a:pt x="106" y="108"/>
                  </a:cubicBezTo>
                  <a:cubicBezTo>
                    <a:pt x="104" y="109"/>
                    <a:pt x="105" y="112"/>
                    <a:pt x="100" y="109"/>
                  </a:cubicBezTo>
                  <a:cubicBezTo>
                    <a:pt x="96" y="106"/>
                    <a:pt x="95" y="102"/>
                    <a:pt x="91" y="104"/>
                  </a:cubicBezTo>
                  <a:cubicBezTo>
                    <a:pt x="87" y="106"/>
                    <a:pt x="84" y="105"/>
                    <a:pt x="82" y="107"/>
                  </a:cubicBezTo>
                  <a:cubicBezTo>
                    <a:pt x="79" y="109"/>
                    <a:pt x="80" y="108"/>
                    <a:pt x="76" y="112"/>
                  </a:cubicBezTo>
                  <a:cubicBezTo>
                    <a:pt x="71" y="116"/>
                    <a:pt x="74" y="116"/>
                    <a:pt x="69" y="117"/>
                  </a:cubicBezTo>
                  <a:cubicBezTo>
                    <a:pt x="67" y="117"/>
                    <a:pt x="65" y="118"/>
                    <a:pt x="64" y="119"/>
                  </a:cubicBezTo>
                  <a:cubicBezTo>
                    <a:pt x="62" y="119"/>
                    <a:pt x="60" y="119"/>
                    <a:pt x="58" y="119"/>
                  </a:cubicBezTo>
                  <a:cubicBezTo>
                    <a:pt x="56" y="119"/>
                    <a:pt x="55" y="116"/>
                    <a:pt x="52" y="117"/>
                  </a:cubicBezTo>
                  <a:cubicBezTo>
                    <a:pt x="49" y="118"/>
                    <a:pt x="45" y="116"/>
                    <a:pt x="43" y="116"/>
                  </a:cubicBezTo>
                  <a:cubicBezTo>
                    <a:pt x="42" y="116"/>
                    <a:pt x="39" y="117"/>
                    <a:pt x="40" y="112"/>
                  </a:cubicBezTo>
                  <a:cubicBezTo>
                    <a:pt x="40" y="107"/>
                    <a:pt x="46" y="100"/>
                    <a:pt x="42" y="102"/>
                  </a:cubicBezTo>
                  <a:cubicBezTo>
                    <a:pt x="37" y="105"/>
                    <a:pt x="32" y="110"/>
                    <a:pt x="31" y="107"/>
                  </a:cubicBezTo>
                  <a:cubicBezTo>
                    <a:pt x="29" y="104"/>
                    <a:pt x="27" y="99"/>
                    <a:pt x="27" y="95"/>
                  </a:cubicBezTo>
                  <a:cubicBezTo>
                    <a:pt x="27" y="90"/>
                    <a:pt x="26" y="91"/>
                    <a:pt x="23" y="84"/>
                  </a:cubicBezTo>
                  <a:cubicBezTo>
                    <a:pt x="19" y="77"/>
                    <a:pt x="23" y="66"/>
                    <a:pt x="17" y="69"/>
                  </a:cubicBezTo>
                  <a:cubicBezTo>
                    <a:pt x="17" y="69"/>
                    <a:pt x="17" y="68"/>
                    <a:pt x="17" y="68"/>
                  </a:cubicBezTo>
                  <a:cubicBezTo>
                    <a:pt x="17" y="66"/>
                    <a:pt x="16" y="65"/>
                    <a:pt x="14" y="62"/>
                  </a:cubicBezTo>
                  <a:cubicBezTo>
                    <a:pt x="12" y="59"/>
                    <a:pt x="11" y="54"/>
                    <a:pt x="8" y="47"/>
                  </a:cubicBezTo>
                  <a:cubicBezTo>
                    <a:pt x="5" y="41"/>
                    <a:pt x="6" y="40"/>
                    <a:pt x="3" y="35"/>
                  </a:cubicBezTo>
                  <a:cubicBezTo>
                    <a:pt x="0" y="31"/>
                    <a:pt x="10" y="29"/>
                    <a:pt x="13" y="27"/>
                  </a:cubicBezTo>
                  <a:cubicBezTo>
                    <a:pt x="16" y="24"/>
                    <a:pt x="17" y="19"/>
                    <a:pt x="18" y="15"/>
                  </a:cubicBezTo>
                  <a:cubicBezTo>
                    <a:pt x="19" y="11"/>
                    <a:pt x="24" y="8"/>
                    <a:pt x="29" y="8"/>
                  </a:cubicBezTo>
                  <a:cubicBezTo>
                    <a:pt x="35" y="9"/>
                    <a:pt x="38" y="10"/>
                    <a:pt x="43" y="10"/>
                  </a:cubicBezTo>
                  <a:cubicBezTo>
                    <a:pt x="48" y="10"/>
                    <a:pt x="54" y="10"/>
                    <a:pt x="61" y="8"/>
                  </a:cubicBezTo>
                  <a:cubicBezTo>
                    <a:pt x="66" y="7"/>
                    <a:pt x="68" y="8"/>
                    <a:pt x="71" y="9"/>
                  </a:cubicBezTo>
                  <a:cubicBezTo>
                    <a:pt x="71" y="10"/>
                    <a:pt x="71" y="12"/>
                    <a:pt x="72" y="13"/>
                  </a:cubicBezTo>
                  <a:cubicBezTo>
                    <a:pt x="72" y="15"/>
                    <a:pt x="79" y="15"/>
                    <a:pt x="85" y="18"/>
                  </a:cubicBezTo>
                  <a:cubicBezTo>
                    <a:pt x="92" y="21"/>
                    <a:pt x="88" y="22"/>
                    <a:pt x="95" y="22"/>
                  </a:cubicBezTo>
                  <a:cubicBezTo>
                    <a:pt x="102" y="22"/>
                    <a:pt x="94" y="17"/>
                    <a:pt x="92" y="11"/>
                  </a:cubicBezTo>
                  <a:cubicBezTo>
                    <a:pt x="90" y="5"/>
                    <a:pt x="95" y="10"/>
                    <a:pt x="100" y="7"/>
                  </a:cubicBezTo>
                  <a:cubicBezTo>
                    <a:pt x="104" y="4"/>
                    <a:pt x="107" y="5"/>
                    <a:pt x="110" y="9"/>
                  </a:cubicBezTo>
                  <a:cubicBezTo>
                    <a:pt x="113" y="14"/>
                    <a:pt x="112" y="10"/>
                    <a:pt x="118" y="7"/>
                  </a:cubicBezTo>
                  <a:cubicBezTo>
                    <a:pt x="124" y="4"/>
                    <a:pt x="126" y="1"/>
                    <a:pt x="128" y="1"/>
                  </a:cubicBezTo>
                  <a:cubicBezTo>
                    <a:pt x="128" y="1"/>
                    <a:pt x="129" y="0"/>
                    <a:pt x="129" y="0"/>
                  </a:cubicBezTo>
                  <a:cubicBezTo>
                    <a:pt x="130" y="1"/>
                    <a:pt x="130" y="2"/>
                    <a:pt x="129" y="4"/>
                  </a:cubicBezTo>
                  <a:cubicBezTo>
                    <a:pt x="128" y="6"/>
                    <a:pt x="124" y="10"/>
                    <a:pt x="126" y="14"/>
                  </a:cubicBezTo>
                  <a:cubicBezTo>
                    <a:pt x="129" y="19"/>
                    <a:pt x="134" y="31"/>
                    <a:pt x="136" y="36"/>
                  </a:cubicBezTo>
                  <a:cubicBezTo>
                    <a:pt x="138" y="42"/>
                    <a:pt x="133" y="45"/>
                    <a:pt x="134" y="49"/>
                  </a:cubicBezTo>
                  <a:cubicBezTo>
                    <a:pt x="135" y="52"/>
                    <a:pt x="136" y="57"/>
                    <a:pt x="136" y="6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24" name="Freeform 1103">
              <a:extLst>
                <a:ext uri="{FF2B5EF4-FFF2-40B4-BE49-F238E27FC236}">
                  <a16:creationId xmlns:a16="http://schemas.microsoft.com/office/drawing/2014/main" id="{6FA1C317-0657-8F43-BBFA-8F6C6BE75EDA}"/>
                </a:ext>
              </a:extLst>
            </p:cNvPr>
            <p:cNvSpPr>
              <a:spLocks/>
            </p:cNvSpPr>
            <p:nvPr/>
          </p:nvSpPr>
          <p:spPr bwMode="auto">
            <a:xfrm>
              <a:off x="6411933" y="2045157"/>
              <a:ext cx="204788" cy="395288"/>
            </a:xfrm>
            <a:custGeom>
              <a:avLst/>
              <a:gdLst>
                <a:gd name="T0" fmla="*/ 210 w 214"/>
                <a:gd name="T1" fmla="*/ 305 h 415"/>
                <a:gd name="T2" fmla="*/ 211 w 214"/>
                <a:gd name="T3" fmla="*/ 332 h 415"/>
                <a:gd name="T4" fmla="*/ 193 w 214"/>
                <a:gd name="T5" fmla="*/ 347 h 415"/>
                <a:gd name="T6" fmla="*/ 178 w 214"/>
                <a:gd name="T7" fmla="*/ 357 h 415"/>
                <a:gd name="T8" fmla="*/ 160 w 214"/>
                <a:gd name="T9" fmla="*/ 361 h 415"/>
                <a:gd name="T10" fmla="*/ 150 w 214"/>
                <a:gd name="T11" fmla="*/ 366 h 415"/>
                <a:gd name="T12" fmla="*/ 144 w 214"/>
                <a:gd name="T13" fmla="*/ 372 h 415"/>
                <a:gd name="T14" fmla="*/ 145 w 214"/>
                <a:gd name="T15" fmla="*/ 386 h 415"/>
                <a:gd name="T16" fmla="*/ 132 w 214"/>
                <a:gd name="T17" fmla="*/ 395 h 415"/>
                <a:gd name="T18" fmla="*/ 116 w 214"/>
                <a:gd name="T19" fmla="*/ 414 h 415"/>
                <a:gd name="T20" fmla="*/ 109 w 214"/>
                <a:gd name="T21" fmla="*/ 405 h 415"/>
                <a:gd name="T22" fmla="*/ 113 w 214"/>
                <a:gd name="T23" fmla="*/ 371 h 415"/>
                <a:gd name="T24" fmla="*/ 97 w 214"/>
                <a:gd name="T25" fmla="*/ 360 h 415"/>
                <a:gd name="T26" fmla="*/ 109 w 214"/>
                <a:gd name="T27" fmla="*/ 353 h 415"/>
                <a:gd name="T28" fmla="*/ 124 w 214"/>
                <a:gd name="T29" fmla="*/ 345 h 415"/>
                <a:gd name="T30" fmla="*/ 139 w 214"/>
                <a:gd name="T31" fmla="*/ 349 h 415"/>
                <a:gd name="T32" fmla="*/ 128 w 214"/>
                <a:gd name="T33" fmla="*/ 332 h 415"/>
                <a:gd name="T34" fmla="*/ 140 w 214"/>
                <a:gd name="T35" fmla="*/ 325 h 415"/>
                <a:gd name="T36" fmla="*/ 153 w 214"/>
                <a:gd name="T37" fmla="*/ 314 h 415"/>
                <a:gd name="T38" fmla="*/ 169 w 214"/>
                <a:gd name="T39" fmla="*/ 302 h 415"/>
                <a:gd name="T40" fmla="*/ 169 w 214"/>
                <a:gd name="T41" fmla="*/ 277 h 415"/>
                <a:gd name="T42" fmla="*/ 162 w 214"/>
                <a:gd name="T43" fmla="*/ 245 h 415"/>
                <a:gd name="T44" fmla="*/ 163 w 214"/>
                <a:gd name="T45" fmla="*/ 229 h 415"/>
                <a:gd name="T46" fmla="*/ 157 w 214"/>
                <a:gd name="T47" fmla="*/ 204 h 415"/>
                <a:gd name="T48" fmla="*/ 132 w 214"/>
                <a:gd name="T49" fmla="*/ 184 h 415"/>
                <a:gd name="T50" fmla="*/ 99 w 214"/>
                <a:gd name="T51" fmla="*/ 146 h 415"/>
                <a:gd name="T52" fmla="*/ 75 w 214"/>
                <a:gd name="T53" fmla="*/ 126 h 415"/>
                <a:gd name="T54" fmla="*/ 59 w 214"/>
                <a:gd name="T55" fmla="*/ 104 h 415"/>
                <a:gd name="T56" fmla="*/ 77 w 214"/>
                <a:gd name="T57" fmla="*/ 92 h 415"/>
                <a:gd name="T58" fmla="*/ 70 w 214"/>
                <a:gd name="T59" fmla="*/ 77 h 415"/>
                <a:gd name="T60" fmla="*/ 50 w 214"/>
                <a:gd name="T61" fmla="*/ 69 h 415"/>
                <a:gd name="T62" fmla="*/ 25 w 214"/>
                <a:gd name="T63" fmla="*/ 61 h 415"/>
                <a:gd name="T64" fmla="*/ 15 w 214"/>
                <a:gd name="T65" fmla="*/ 43 h 415"/>
                <a:gd name="T66" fmla="*/ 1 w 214"/>
                <a:gd name="T67" fmla="*/ 26 h 415"/>
                <a:gd name="T68" fmla="*/ 2 w 214"/>
                <a:gd name="T69" fmla="*/ 20 h 415"/>
                <a:gd name="T70" fmla="*/ 24 w 214"/>
                <a:gd name="T71" fmla="*/ 21 h 415"/>
                <a:gd name="T72" fmla="*/ 44 w 214"/>
                <a:gd name="T73" fmla="*/ 21 h 415"/>
                <a:gd name="T74" fmla="*/ 65 w 214"/>
                <a:gd name="T75" fmla="*/ 9 h 415"/>
                <a:gd name="T76" fmla="*/ 80 w 214"/>
                <a:gd name="T77" fmla="*/ 4 h 415"/>
                <a:gd name="T78" fmla="*/ 110 w 214"/>
                <a:gd name="T79" fmla="*/ 13 h 415"/>
                <a:gd name="T80" fmla="*/ 122 w 214"/>
                <a:gd name="T81" fmla="*/ 40 h 415"/>
                <a:gd name="T82" fmla="*/ 146 w 214"/>
                <a:gd name="T83" fmla="*/ 48 h 415"/>
                <a:gd name="T84" fmla="*/ 132 w 214"/>
                <a:gd name="T85" fmla="*/ 64 h 415"/>
                <a:gd name="T86" fmla="*/ 116 w 214"/>
                <a:gd name="T87" fmla="*/ 75 h 415"/>
                <a:gd name="T88" fmla="*/ 109 w 214"/>
                <a:gd name="T89" fmla="*/ 91 h 415"/>
                <a:gd name="T90" fmla="*/ 100 w 214"/>
                <a:gd name="T91" fmla="*/ 117 h 415"/>
                <a:gd name="T92" fmla="*/ 117 w 214"/>
                <a:gd name="T93" fmla="*/ 143 h 415"/>
                <a:gd name="T94" fmla="*/ 135 w 214"/>
                <a:gd name="T95" fmla="*/ 167 h 415"/>
                <a:gd name="T96" fmla="*/ 158 w 214"/>
                <a:gd name="T97" fmla="*/ 188 h 415"/>
                <a:gd name="T98" fmla="*/ 179 w 214"/>
                <a:gd name="T99" fmla="*/ 206 h 415"/>
                <a:gd name="T100" fmla="*/ 195 w 214"/>
                <a:gd name="T101" fmla="*/ 231 h 415"/>
                <a:gd name="T102" fmla="*/ 209 w 214"/>
                <a:gd name="T103" fmla="*/ 263 h 415"/>
                <a:gd name="T104" fmla="*/ 213 w 214"/>
                <a:gd name="T105" fmla="*/ 29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4" h="415">
                  <a:moveTo>
                    <a:pt x="213" y="295"/>
                  </a:moveTo>
                  <a:cubicBezTo>
                    <a:pt x="212" y="299"/>
                    <a:pt x="209" y="299"/>
                    <a:pt x="210" y="305"/>
                  </a:cubicBezTo>
                  <a:cubicBezTo>
                    <a:pt x="212" y="310"/>
                    <a:pt x="212" y="315"/>
                    <a:pt x="212" y="320"/>
                  </a:cubicBezTo>
                  <a:cubicBezTo>
                    <a:pt x="212" y="325"/>
                    <a:pt x="214" y="331"/>
                    <a:pt x="211" y="332"/>
                  </a:cubicBezTo>
                  <a:cubicBezTo>
                    <a:pt x="208" y="333"/>
                    <a:pt x="205" y="334"/>
                    <a:pt x="201" y="338"/>
                  </a:cubicBezTo>
                  <a:cubicBezTo>
                    <a:pt x="197" y="342"/>
                    <a:pt x="194" y="345"/>
                    <a:pt x="193" y="347"/>
                  </a:cubicBezTo>
                  <a:cubicBezTo>
                    <a:pt x="192" y="348"/>
                    <a:pt x="185" y="348"/>
                    <a:pt x="185" y="351"/>
                  </a:cubicBezTo>
                  <a:cubicBezTo>
                    <a:pt x="185" y="354"/>
                    <a:pt x="183" y="356"/>
                    <a:pt x="178" y="357"/>
                  </a:cubicBezTo>
                  <a:cubicBezTo>
                    <a:pt x="172" y="358"/>
                    <a:pt x="170" y="359"/>
                    <a:pt x="167" y="361"/>
                  </a:cubicBezTo>
                  <a:cubicBezTo>
                    <a:pt x="165" y="362"/>
                    <a:pt x="163" y="363"/>
                    <a:pt x="160" y="361"/>
                  </a:cubicBezTo>
                  <a:cubicBezTo>
                    <a:pt x="157" y="358"/>
                    <a:pt x="156" y="358"/>
                    <a:pt x="155" y="360"/>
                  </a:cubicBezTo>
                  <a:cubicBezTo>
                    <a:pt x="155" y="362"/>
                    <a:pt x="148" y="364"/>
                    <a:pt x="150" y="366"/>
                  </a:cubicBezTo>
                  <a:cubicBezTo>
                    <a:pt x="152" y="367"/>
                    <a:pt x="159" y="374"/>
                    <a:pt x="154" y="373"/>
                  </a:cubicBezTo>
                  <a:cubicBezTo>
                    <a:pt x="149" y="373"/>
                    <a:pt x="142" y="370"/>
                    <a:pt x="144" y="372"/>
                  </a:cubicBezTo>
                  <a:cubicBezTo>
                    <a:pt x="145" y="374"/>
                    <a:pt x="153" y="381"/>
                    <a:pt x="149" y="381"/>
                  </a:cubicBezTo>
                  <a:cubicBezTo>
                    <a:pt x="145" y="382"/>
                    <a:pt x="147" y="387"/>
                    <a:pt x="145" y="386"/>
                  </a:cubicBezTo>
                  <a:cubicBezTo>
                    <a:pt x="143" y="385"/>
                    <a:pt x="143" y="389"/>
                    <a:pt x="142" y="391"/>
                  </a:cubicBezTo>
                  <a:cubicBezTo>
                    <a:pt x="141" y="394"/>
                    <a:pt x="137" y="393"/>
                    <a:pt x="132" y="395"/>
                  </a:cubicBezTo>
                  <a:cubicBezTo>
                    <a:pt x="127" y="398"/>
                    <a:pt x="124" y="399"/>
                    <a:pt x="122" y="403"/>
                  </a:cubicBezTo>
                  <a:cubicBezTo>
                    <a:pt x="121" y="408"/>
                    <a:pt x="121" y="412"/>
                    <a:pt x="116" y="414"/>
                  </a:cubicBezTo>
                  <a:cubicBezTo>
                    <a:pt x="110" y="415"/>
                    <a:pt x="103" y="409"/>
                    <a:pt x="106" y="409"/>
                  </a:cubicBezTo>
                  <a:cubicBezTo>
                    <a:pt x="108" y="409"/>
                    <a:pt x="111" y="408"/>
                    <a:pt x="109" y="405"/>
                  </a:cubicBezTo>
                  <a:cubicBezTo>
                    <a:pt x="107" y="403"/>
                    <a:pt x="108" y="381"/>
                    <a:pt x="108" y="380"/>
                  </a:cubicBezTo>
                  <a:cubicBezTo>
                    <a:pt x="108" y="379"/>
                    <a:pt x="118" y="373"/>
                    <a:pt x="113" y="371"/>
                  </a:cubicBezTo>
                  <a:cubicBezTo>
                    <a:pt x="107" y="368"/>
                    <a:pt x="99" y="364"/>
                    <a:pt x="99" y="362"/>
                  </a:cubicBezTo>
                  <a:cubicBezTo>
                    <a:pt x="99" y="361"/>
                    <a:pt x="98" y="360"/>
                    <a:pt x="97" y="360"/>
                  </a:cubicBezTo>
                  <a:cubicBezTo>
                    <a:pt x="98" y="359"/>
                    <a:pt x="100" y="358"/>
                    <a:pt x="102" y="358"/>
                  </a:cubicBezTo>
                  <a:cubicBezTo>
                    <a:pt x="107" y="357"/>
                    <a:pt x="104" y="357"/>
                    <a:pt x="109" y="353"/>
                  </a:cubicBezTo>
                  <a:cubicBezTo>
                    <a:pt x="113" y="349"/>
                    <a:pt x="112" y="350"/>
                    <a:pt x="115" y="348"/>
                  </a:cubicBezTo>
                  <a:cubicBezTo>
                    <a:pt x="117" y="346"/>
                    <a:pt x="120" y="347"/>
                    <a:pt x="124" y="345"/>
                  </a:cubicBezTo>
                  <a:cubicBezTo>
                    <a:pt x="128" y="343"/>
                    <a:pt x="129" y="347"/>
                    <a:pt x="133" y="350"/>
                  </a:cubicBezTo>
                  <a:cubicBezTo>
                    <a:pt x="138" y="353"/>
                    <a:pt x="137" y="350"/>
                    <a:pt x="139" y="349"/>
                  </a:cubicBezTo>
                  <a:cubicBezTo>
                    <a:pt x="142" y="347"/>
                    <a:pt x="139" y="345"/>
                    <a:pt x="135" y="342"/>
                  </a:cubicBezTo>
                  <a:cubicBezTo>
                    <a:pt x="132" y="338"/>
                    <a:pt x="131" y="335"/>
                    <a:pt x="128" y="332"/>
                  </a:cubicBezTo>
                  <a:cubicBezTo>
                    <a:pt x="124" y="329"/>
                    <a:pt x="132" y="325"/>
                    <a:pt x="134" y="324"/>
                  </a:cubicBezTo>
                  <a:cubicBezTo>
                    <a:pt x="136" y="323"/>
                    <a:pt x="138" y="324"/>
                    <a:pt x="140" y="325"/>
                  </a:cubicBezTo>
                  <a:cubicBezTo>
                    <a:pt x="143" y="326"/>
                    <a:pt x="142" y="324"/>
                    <a:pt x="142" y="321"/>
                  </a:cubicBezTo>
                  <a:cubicBezTo>
                    <a:pt x="142" y="319"/>
                    <a:pt x="148" y="317"/>
                    <a:pt x="153" y="314"/>
                  </a:cubicBezTo>
                  <a:cubicBezTo>
                    <a:pt x="157" y="311"/>
                    <a:pt x="160" y="310"/>
                    <a:pt x="162" y="309"/>
                  </a:cubicBezTo>
                  <a:cubicBezTo>
                    <a:pt x="164" y="309"/>
                    <a:pt x="170" y="306"/>
                    <a:pt x="169" y="302"/>
                  </a:cubicBezTo>
                  <a:cubicBezTo>
                    <a:pt x="169" y="298"/>
                    <a:pt x="168" y="293"/>
                    <a:pt x="167" y="290"/>
                  </a:cubicBezTo>
                  <a:cubicBezTo>
                    <a:pt x="166" y="286"/>
                    <a:pt x="171" y="283"/>
                    <a:pt x="169" y="277"/>
                  </a:cubicBezTo>
                  <a:cubicBezTo>
                    <a:pt x="167" y="272"/>
                    <a:pt x="162" y="260"/>
                    <a:pt x="159" y="255"/>
                  </a:cubicBezTo>
                  <a:cubicBezTo>
                    <a:pt x="157" y="251"/>
                    <a:pt x="161" y="247"/>
                    <a:pt x="162" y="245"/>
                  </a:cubicBezTo>
                  <a:cubicBezTo>
                    <a:pt x="163" y="243"/>
                    <a:pt x="163" y="242"/>
                    <a:pt x="162" y="241"/>
                  </a:cubicBezTo>
                  <a:cubicBezTo>
                    <a:pt x="163" y="238"/>
                    <a:pt x="163" y="232"/>
                    <a:pt x="163" y="229"/>
                  </a:cubicBezTo>
                  <a:cubicBezTo>
                    <a:pt x="164" y="224"/>
                    <a:pt x="161" y="222"/>
                    <a:pt x="152" y="213"/>
                  </a:cubicBezTo>
                  <a:cubicBezTo>
                    <a:pt x="143" y="204"/>
                    <a:pt x="155" y="207"/>
                    <a:pt x="157" y="204"/>
                  </a:cubicBezTo>
                  <a:cubicBezTo>
                    <a:pt x="158" y="200"/>
                    <a:pt x="147" y="195"/>
                    <a:pt x="138" y="192"/>
                  </a:cubicBezTo>
                  <a:cubicBezTo>
                    <a:pt x="130" y="189"/>
                    <a:pt x="132" y="186"/>
                    <a:pt x="132" y="184"/>
                  </a:cubicBezTo>
                  <a:cubicBezTo>
                    <a:pt x="132" y="181"/>
                    <a:pt x="120" y="169"/>
                    <a:pt x="115" y="164"/>
                  </a:cubicBezTo>
                  <a:cubicBezTo>
                    <a:pt x="110" y="159"/>
                    <a:pt x="104" y="152"/>
                    <a:pt x="99" y="146"/>
                  </a:cubicBezTo>
                  <a:cubicBezTo>
                    <a:pt x="94" y="140"/>
                    <a:pt x="91" y="136"/>
                    <a:pt x="92" y="132"/>
                  </a:cubicBezTo>
                  <a:cubicBezTo>
                    <a:pt x="92" y="128"/>
                    <a:pt x="81" y="128"/>
                    <a:pt x="75" y="126"/>
                  </a:cubicBezTo>
                  <a:cubicBezTo>
                    <a:pt x="70" y="123"/>
                    <a:pt x="67" y="117"/>
                    <a:pt x="61" y="116"/>
                  </a:cubicBezTo>
                  <a:cubicBezTo>
                    <a:pt x="54" y="115"/>
                    <a:pt x="59" y="108"/>
                    <a:pt x="59" y="104"/>
                  </a:cubicBezTo>
                  <a:cubicBezTo>
                    <a:pt x="58" y="101"/>
                    <a:pt x="64" y="102"/>
                    <a:pt x="73" y="102"/>
                  </a:cubicBezTo>
                  <a:cubicBezTo>
                    <a:pt x="81" y="102"/>
                    <a:pt x="76" y="97"/>
                    <a:pt x="77" y="92"/>
                  </a:cubicBezTo>
                  <a:cubicBezTo>
                    <a:pt x="79" y="87"/>
                    <a:pt x="73" y="86"/>
                    <a:pt x="68" y="81"/>
                  </a:cubicBezTo>
                  <a:cubicBezTo>
                    <a:pt x="64" y="77"/>
                    <a:pt x="69" y="79"/>
                    <a:pt x="70" y="77"/>
                  </a:cubicBezTo>
                  <a:cubicBezTo>
                    <a:pt x="71" y="74"/>
                    <a:pt x="65" y="71"/>
                    <a:pt x="59" y="68"/>
                  </a:cubicBezTo>
                  <a:cubicBezTo>
                    <a:pt x="53" y="65"/>
                    <a:pt x="52" y="64"/>
                    <a:pt x="50" y="69"/>
                  </a:cubicBezTo>
                  <a:cubicBezTo>
                    <a:pt x="48" y="74"/>
                    <a:pt x="48" y="75"/>
                    <a:pt x="42" y="75"/>
                  </a:cubicBezTo>
                  <a:cubicBezTo>
                    <a:pt x="36" y="75"/>
                    <a:pt x="31" y="69"/>
                    <a:pt x="25" y="61"/>
                  </a:cubicBezTo>
                  <a:cubicBezTo>
                    <a:pt x="20" y="53"/>
                    <a:pt x="24" y="52"/>
                    <a:pt x="24" y="47"/>
                  </a:cubicBezTo>
                  <a:cubicBezTo>
                    <a:pt x="24" y="42"/>
                    <a:pt x="21" y="46"/>
                    <a:pt x="15" y="43"/>
                  </a:cubicBezTo>
                  <a:cubicBezTo>
                    <a:pt x="9" y="40"/>
                    <a:pt x="10" y="37"/>
                    <a:pt x="6" y="33"/>
                  </a:cubicBezTo>
                  <a:cubicBezTo>
                    <a:pt x="2" y="28"/>
                    <a:pt x="4" y="28"/>
                    <a:pt x="1" y="26"/>
                  </a:cubicBezTo>
                  <a:cubicBezTo>
                    <a:pt x="0" y="26"/>
                    <a:pt x="0" y="26"/>
                    <a:pt x="0" y="25"/>
                  </a:cubicBezTo>
                  <a:cubicBezTo>
                    <a:pt x="0" y="23"/>
                    <a:pt x="0" y="25"/>
                    <a:pt x="2" y="20"/>
                  </a:cubicBezTo>
                  <a:cubicBezTo>
                    <a:pt x="5" y="14"/>
                    <a:pt x="10" y="16"/>
                    <a:pt x="14" y="19"/>
                  </a:cubicBezTo>
                  <a:cubicBezTo>
                    <a:pt x="18" y="21"/>
                    <a:pt x="20" y="25"/>
                    <a:pt x="24" y="21"/>
                  </a:cubicBezTo>
                  <a:cubicBezTo>
                    <a:pt x="29" y="17"/>
                    <a:pt x="36" y="19"/>
                    <a:pt x="37" y="19"/>
                  </a:cubicBezTo>
                  <a:cubicBezTo>
                    <a:pt x="38" y="20"/>
                    <a:pt x="44" y="24"/>
                    <a:pt x="44" y="21"/>
                  </a:cubicBezTo>
                  <a:cubicBezTo>
                    <a:pt x="44" y="17"/>
                    <a:pt x="49" y="15"/>
                    <a:pt x="55" y="16"/>
                  </a:cubicBezTo>
                  <a:cubicBezTo>
                    <a:pt x="62" y="18"/>
                    <a:pt x="65" y="12"/>
                    <a:pt x="65" y="9"/>
                  </a:cubicBezTo>
                  <a:cubicBezTo>
                    <a:pt x="65" y="6"/>
                    <a:pt x="62" y="4"/>
                    <a:pt x="67" y="2"/>
                  </a:cubicBezTo>
                  <a:cubicBezTo>
                    <a:pt x="72" y="1"/>
                    <a:pt x="76" y="0"/>
                    <a:pt x="80" y="4"/>
                  </a:cubicBezTo>
                  <a:cubicBezTo>
                    <a:pt x="84" y="8"/>
                    <a:pt x="86" y="11"/>
                    <a:pt x="96" y="11"/>
                  </a:cubicBezTo>
                  <a:cubicBezTo>
                    <a:pt x="105" y="10"/>
                    <a:pt x="109" y="9"/>
                    <a:pt x="110" y="13"/>
                  </a:cubicBezTo>
                  <a:cubicBezTo>
                    <a:pt x="111" y="17"/>
                    <a:pt x="108" y="17"/>
                    <a:pt x="110" y="24"/>
                  </a:cubicBezTo>
                  <a:cubicBezTo>
                    <a:pt x="112" y="32"/>
                    <a:pt x="118" y="40"/>
                    <a:pt x="122" y="40"/>
                  </a:cubicBezTo>
                  <a:cubicBezTo>
                    <a:pt x="126" y="41"/>
                    <a:pt x="142" y="46"/>
                    <a:pt x="144" y="46"/>
                  </a:cubicBezTo>
                  <a:cubicBezTo>
                    <a:pt x="145" y="46"/>
                    <a:pt x="145" y="47"/>
                    <a:pt x="146" y="48"/>
                  </a:cubicBezTo>
                  <a:cubicBezTo>
                    <a:pt x="143" y="50"/>
                    <a:pt x="138" y="50"/>
                    <a:pt x="138" y="53"/>
                  </a:cubicBezTo>
                  <a:cubicBezTo>
                    <a:pt x="138" y="58"/>
                    <a:pt x="140" y="61"/>
                    <a:pt x="132" y="64"/>
                  </a:cubicBezTo>
                  <a:cubicBezTo>
                    <a:pt x="124" y="68"/>
                    <a:pt x="122" y="64"/>
                    <a:pt x="120" y="68"/>
                  </a:cubicBezTo>
                  <a:cubicBezTo>
                    <a:pt x="118" y="71"/>
                    <a:pt x="116" y="70"/>
                    <a:pt x="116" y="75"/>
                  </a:cubicBezTo>
                  <a:cubicBezTo>
                    <a:pt x="116" y="80"/>
                    <a:pt x="115" y="81"/>
                    <a:pt x="113" y="84"/>
                  </a:cubicBezTo>
                  <a:cubicBezTo>
                    <a:pt x="111" y="87"/>
                    <a:pt x="112" y="87"/>
                    <a:pt x="109" y="91"/>
                  </a:cubicBezTo>
                  <a:cubicBezTo>
                    <a:pt x="106" y="94"/>
                    <a:pt x="104" y="93"/>
                    <a:pt x="103" y="98"/>
                  </a:cubicBezTo>
                  <a:cubicBezTo>
                    <a:pt x="102" y="104"/>
                    <a:pt x="99" y="113"/>
                    <a:pt x="100" y="117"/>
                  </a:cubicBezTo>
                  <a:cubicBezTo>
                    <a:pt x="100" y="121"/>
                    <a:pt x="99" y="124"/>
                    <a:pt x="106" y="129"/>
                  </a:cubicBezTo>
                  <a:cubicBezTo>
                    <a:pt x="112" y="135"/>
                    <a:pt x="113" y="140"/>
                    <a:pt x="117" y="143"/>
                  </a:cubicBezTo>
                  <a:cubicBezTo>
                    <a:pt x="120" y="147"/>
                    <a:pt x="124" y="148"/>
                    <a:pt x="125" y="153"/>
                  </a:cubicBezTo>
                  <a:cubicBezTo>
                    <a:pt x="126" y="159"/>
                    <a:pt x="130" y="164"/>
                    <a:pt x="135" y="167"/>
                  </a:cubicBezTo>
                  <a:cubicBezTo>
                    <a:pt x="139" y="170"/>
                    <a:pt x="142" y="171"/>
                    <a:pt x="148" y="177"/>
                  </a:cubicBezTo>
                  <a:cubicBezTo>
                    <a:pt x="154" y="184"/>
                    <a:pt x="151" y="183"/>
                    <a:pt x="158" y="188"/>
                  </a:cubicBezTo>
                  <a:cubicBezTo>
                    <a:pt x="165" y="193"/>
                    <a:pt x="161" y="191"/>
                    <a:pt x="168" y="197"/>
                  </a:cubicBezTo>
                  <a:cubicBezTo>
                    <a:pt x="175" y="202"/>
                    <a:pt x="177" y="200"/>
                    <a:pt x="179" y="206"/>
                  </a:cubicBezTo>
                  <a:cubicBezTo>
                    <a:pt x="182" y="211"/>
                    <a:pt x="185" y="214"/>
                    <a:pt x="189" y="220"/>
                  </a:cubicBezTo>
                  <a:cubicBezTo>
                    <a:pt x="193" y="226"/>
                    <a:pt x="194" y="223"/>
                    <a:pt x="195" y="231"/>
                  </a:cubicBezTo>
                  <a:cubicBezTo>
                    <a:pt x="197" y="239"/>
                    <a:pt x="202" y="244"/>
                    <a:pt x="204" y="250"/>
                  </a:cubicBezTo>
                  <a:cubicBezTo>
                    <a:pt x="205" y="255"/>
                    <a:pt x="208" y="257"/>
                    <a:pt x="209" y="263"/>
                  </a:cubicBezTo>
                  <a:cubicBezTo>
                    <a:pt x="211" y="269"/>
                    <a:pt x="208" y="267"/>
                    <a:pt x="210" y="276"/>
                  </a:cubicBezTo>
                  <a:cubicBezTo>
                    <a:pt x="213" y="285"/>
                    <a:pt x="214" y="291"/>
                    <a:pt x="213" y="295"/>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25" name="Freeform 1104">
              <a:extLst>
                <a:ext uri="{FF2B5EF4-FFF2-40B4-BE49-F238E27FC236}">
                  <a16:creationId xmlns:a16="http://schemas.microsoft.com/office/drawing/2014/main" id="{FF75E9B7-474B-184E-A9DD-7E1A13E0ECC0}"/>
                </a:ext>
              </a:extLst>
            </p:cNvPr>
            <p:cNvSpPr>
              <a:spLocks/>
            </p:cNvSpPr>
            <p:nvPr/>
          </p:nvSpPr>
          <p:spPr bwMode="auto">
            <a:xfrm>
              <a:off x="6370658" y="2068969"/>
              <a:ext cx="198438" cy="227013"/>
            </a:xfrm>
            <a:custGeom>
              <a:avLst/>
              <a:gdLst>
                <a:gd name="T0" fmla="*/ 206 w 208"/>
                <a:gd name="T1" fmla="*/ 217 h 239"/>
                <a:gd name="T2" fmla="*/ 195 w 208"/>
                <a:gd name="T3" fmla="*/ 224 h 239"/>
                <a:gd name="T4" fmla="*/ 177 w 208"/>
                <a:gd name="T5" fmla="*/ 224 h 239"/>
                <a:gd name="T6" fmla="*/ 172 w 208"/>
                <a:gd name="T7" fmla="*/ 239 h 239"/>
                <a:gd name="T8" fmla="*/ 149 w 208"/>
                <a:gd name="T9" fmla="*/ 230 h 239"/>
                <a:gd name="T10" fmla="*/ 152 w 208"/>
                <a:gd name="T11" fmla="*/ 227 h 239"/>
                <a:gd name="T12" fmla="*/ 153 w 208"/>
                <a:gd name="T13" fmla="*/ 203 h 239"/>
                <a:gd name="T14" fmla="*/ 150 w 208"/>
                <a:gd name="T15" fmla="*/ 185 h 239"/>
                <a:gd name="T16" fmla="*/ 132 w 208"/>
                <a:gd name="T17" fmla="*/ 166 h 239"/>
                <a:gd name="T18" fmla="*/ 117 w 208"/>
                <a:gd name="T19" fmla="*/ 125 h 239"/>
                <a:gd name="T20" fmla="*/ 84 w 208"/>
                <a:gd name="T21" fmla="*/ 124 h 239"/>
                <a:gd name="T22" fmla="*/ 61 w 208"/>
                <a:gd name="T23" fmla="*/ 120 h 239"/>
                <a:gd name="T24" fmla="*/ 41 w 208"/>
                <a:gd name="T25" fmla="*/ 138 h 239"/>
                <a:gd name="T26" fmla="*/ 37 w 208"/>
                <a:gd name="T27" fmla="*/ 123 h 239"/>
                <a:gd name="T28" fmla="*/ 36 w 208"/>
                <a:gd name="T29" fmla="*/ 96 h 239"/>
                <a:gd name="T30" fmla="*/ 24 w 208"/>
                <a:gd name="T31" fmla="*/ 84 h 239"/>
                <a:gd name="T32" fmla="*/ 14 w 208"/>
                <a:gd name="T33" fmla="*/ 73 h 239"/>
                <a:gd name="T34" fmla="*/ 4 w 208"/>
                <a:gd name="T35" fmla="*/ 59 h 239"/>
                <a:gd name="T36" fmla="*/ 1 w 208"/>
                <a:gd name="T37" fmla="*/ 57 h 239"/>
                <a:gd name="T38" fmla="*/ 10 w 208"/>
                <a:gd name="T39" fmla="*/ 42 h 239"/>
                <a:gd name="T40" fmla="*/ 22 w 208"/>
                <a:gd name="T41" fmla="*/ 28 h 239"/>
                <a:gd name="T42" fmla="*/ 32 w 208"/>
                <a:gd name="T43" fmla="*/ 35 h 239"/>
                <a:gd name="T44" fmla="*/ 37 w 208"/>
                <a:gd name="T45" fmla="*/ 23 h 239"/>
                <a:gd name="T46" fmla="*/ 32 w 208"/>
                <a:gd name="T47" fmla="*/ 2 h 239"/>
                <a:gd name="T48" fmla="*/ 45 w 208"/>
                <a:gd name="T49" fmla="*/ 2 h 239"/>
                <a:gd name="T50" fmla="*/ 59 w 208"/>
                <a:gd name="T51" fmla="*/ 19 h 239"/>
                <a:gd name="T52" fmla="*/ 69 w 208"/>
                <a:gd name="T53" fmla="*/ 37 h 239"/>
                <a:gd name="T54" fmla="*/ 94 w 208"/>
                <a:gd name="T55" fmla="*/ 45 h 239"/>
                <a:gd name="T56" fmla="*/ 114 w 208"/>
                <a:gd name="T57" fmla="*/ 53 h 239"/>
                <a:gd name="T58" fmla="*/ 121 w 208"/>
                <a:gd name="T59" fmla="*/ 68 h 239"/>
                <a:gd name="T60" fmla="*/ 103 w 208"/>
                <a:gd name="T61" fmla="*/ 80 h 239"/>
                <a:gd name="T62" fmla="*/ 119 w 208"/>
                <a:gd name="T63" fmla="*/ 102 h 239"/>
                <a:gd name="T64" fmla="*/ 143 w 208"/>
                <a:gd name="T65" fmla="*/ 122 h 239"/>
                <a:gd name="T66" fmla="*/ 176 w 208"/>
                <a:gd name="T67" fmla="*/ 160 h 239"/>
                <a:gd name="T68" fmla="*/ 201 w 208"/>
                <a:gd name="T69" fmla="*/ 180 h 239"/>
                <a:gd name="T70" fmla="*/ 207 w 208"/>
                <a:gd name="T71" fmla="*/ 20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8" h="239">
                  <a:moveTo>
                    <a:pt x="207" y="205"/>
                  </a:moveTo>
                  <a:cubicBezTo>
                    <a:pt x="207" y="208"/>
                    <a:pt x="207" y="214"/>
                    <a:pt x="206" y="217"/>
                  </a:cubicBezTo>
                  <a:cubicBezTo>
                    <a:pt x="206" y="217"/>
                    <a:pt x="205" y="218"/>
                    <a:pt x="205" y="218"/>
                  </a:cubicBezTo>
                  <a:cubicBezTo>
                    <a:pt x="203" y="218"/>
                    <a:pt x="201" y="221"/>
                    <a:pt x="195" y="224"/>
                  </a:cubicBezTo>
                  <a:cubicBezTo>
                    <a:pt x="189" y="227"/>
                    <a:pt x="190" y="231"/>
                    <a:pt x="187" y="226"/>
                  </a:cubicBezTo>
                  <a:cubicBezTo>
                    <a:pt x="184" y="222"/>
                    <a:pt x="181" y="221"/>
                    <a:pt x="177" y="224"/>
                  </a:cubicBezTo>
                  <a:cubicBezTo>
                    <a:pt x="172" y="227"/>
                    <a:pt x="167" y="222"/>
                    <a:pt x="169" y="228"/>
                  </a:cubicBezTo>
                  <a:cubicBezTo>
                    <a:pt x="171" y="234"/>
                    <a:pt x="179" y="239"/>
                    <a:pt x="172" y="239"/>
                  </a:cubicBezTo>
                  <a:cubicBezTo>
                    <a:pt x="165" y="239"/>
                    <a:pt x="169" y="238"/>
                    <a:pt x="162" y="235"/>
                  </a:cubicBezTo>
                  <a:cubicBezTo>
                    <a:pt x="156" y="232"/>
                    <a:pt x="149" y="232"/>
                    <a:pt x="149" y="230"/>
                  </a:cubicBezTo>
                  <a:cubicBezTo>
                    <a:pt x="148" y="229"/>
                    <a:pt x="148" y="227"/>
                    <a:pt x="148" y="226"/>
                  </a:cubicBezTo>
                  <a:cubicBezTo>
                    <a:pt x="149" y="227"/>
                    <a:pt x="151" y="227"/>
                    <a:pt x="152" y="227"/>
                  </a:cubicBezTo>
                  <a:cubicBezTo>
                    <a:pt x="157" y="225"/>
                    <a:pt x="156" y="219"/>
                    <a:pt x="158" y="215"/>
                  </a:cubicBezTo>
                  <a:cubicBezTo>
                    <a:pt x="160" y="212"/>
                    <a:pt x="158" y="210"/>
                    <a:pt x="153" y="203"/>
                  </a:cubicBezTo>
                  <a:cubicBezTo>
                    <a:pt x="148" y="196"/>
                    <a:pt x="155" y="196"/>
                    <a:pt x="156" y="190"/>
                  </a:cubicBezTo>
                  <a:cubicBezTo>
                    <a:pt x="157" y="185"/>
                    <a:pt x="151" y="187"/>
                    <a:pt x="150" y="185"/>
                  </a:cubicBezTo>
                  <a:cubicBezTo>
                    <a:pt x="148" y="183"/>
                    <a:pt x="148" y="180"/>
                    <a:pt x="142" y="177"/>
                  </a:cubicBezTo>
                  <a:cubicBezTo>
                    <a:pt x="135" y="174"/>
                    <a:pt x="134" y="169"/>
                    <a:pt x="132" y="166"/>
                  </a:cubicBezTo>
                  <a:cubicBezTo>
                    <a:pt x="130" y="164"/>
                    <a:pt x="130" y="153"/>
                    <a:pt x="129" y="146"/>
                  </a:cubicBezTo>
                  <a:cubicBezTo>
                    <a:pt x="129" y="139"/>
                    <a:pt x="121" y="131"/>
                    <a:pt x="117" y="125"/>
                  </a:cubicBezTo>
                  <a:cubicBezTo>
                    <a:pt x="113" y="119"/>
                    <a:pt x="99" y="113"/>
                    <a:pt x="92" y="112"/>
                  </a:cubicBezTo>
                  <a:cubicBezTo>
                    <a:pt x="85" y="111"/>
                    <a:pt x="90" y="118"/>
                    <a:pt x="84" y="124"/>
                  </a:cubicBezTo>
                  <a:cubicBezTo>
                    <a:pt x="78" y="129"/>
                    <a:pt x="77" y="128"/>
                    <a:pt x="72" y="128"/>
                  </a:cubicBezTo>
                  <a:cubicBezTo>
                    <a:pt x="67" y="127"/>
                    <a:pt x="65" y="122"/>
                    <a:pt x="61" y="120"/>
                  </a:cubicBezTo>
                  <a:cubicBezTo>
                    <a:pt x="57" y="118"/>
                    <a:pt x="54" y="121"/>
                    <a:pt x="51" y="127"/>
                  </a:cubicBezTo>
                  <a:cubicBezTo>
                    <a:pt x="48" y="134"/>
                    <a:pt x="45" y="134"/>
                    <a:pt x="41" y="138"/>
                  </a:cubicBezTo>
                  <a:cubicBezTo>
                    <a:pt x="37" y="142"/>
                    <a:pt x="36" y="139"/>
                    <a:pt x="34" y="136"/>
                  </a:cubicBezTo>
                  <a:cubicBezTo>
                    <a:pt x="32" y="132"/>
                    <a:pt x="36" y="126"/>
                    <a:pt x="37" y="123"/>
                  </a:cubicBezTo>
                  <a:cubicBezTo>
                    <a:pt x="38" y="120"/>
                    <a:pt x="35" y="118"/>
                    <a:pt x="36" y="112"/>
                  </a:cubicBezTo>
                  <a:cubicBezTo>
                    <a:pt x="37" y="106"/>
                    <a:pt x="37" y="103"/>
                    <a:pt x="36" y="96"/>
                  </a:cubicBezTo>
                  <a:cubicBezTo>
                    <a:pt x="34" y="89"/>
                    <a:pt x="36" y="87"/>
                    <a:pt x="35" y="84"/>
                  </a:cubicBezTo>
                  <a:cubicBezTo>
                    <a:pt x="35" y="81"/>
                    <a:pt x="29" y="81"/>
                    <a:pt x="24" y="84"/>
                  </a:cubicBezTo>
                  <a:cubicBezTo>
                    <a:pt x="19" y="87"/>
                    <a:pt x="17" y="83"/>
                    <a:pt x="16" y="82"/>
                  </a:cubicBezTo>
                  <a:cubicBezTo>
                    <a:pt x="15" y="82"/>
                    <a:pt x="13" y="75"/>
                    <a:pt x="14" y="73"/>
                  </a:cubicBezTo>
                  <a:cubicBezTo>
                    <a:pt x="15" y="71"/>
                    <a:pt x="14" y="66"/>
                    <a:pt x="13" y="64"/>
                  </a:cubicBezTo>
                  <a:cubicBezTo>
                    <a:pt x="12" y="62"/>
                    <a:pt x="7" y="58"/>
                    <a:pt x="4" y="59"/>
                  </a:cubicBezTo>
                  <a:cubicBezTo>
                    <a:pt x="2" y="60"/>
                    <a:pt x="2" y="59"/>
                    <a:pt x="0" y="58"/>
                  </a:cubicBezTo>
                  <a:cubicBezTo>
                    <a:pt x="1" y="58"/>
                    <a:pt x="1" y="57"/>
                    <a:pt x="1" y="57"/>
                  </a:cubicBezTo>
                  <a:cubicBezTo>
                    <a:pt x="1" y="56"/>
                    <a:pt x="4" y="50"/>
                    <a:pt x="7" y="48"/>
                  </a:cubicBezTo>
                  <a:cubicBezTo>
                    <a:pt x="9" y="47"/>
                    <a:pt x="10" y="43"/>
                    <a:pt x="10" y="42"/>
                  </a:cubicBezTo>
                  <a:cubicBezTo>
                    <a:pt x="10" y="41"/>
                    <a:pt x="16" y="35"/>
                    <a:pt x="20" y="31"/>
                  </a:cubicBezTo>
                  <a:cubicBezTo>
                    <a:pt x="21" y="30"/>
                    <a:pt x="22" y="29"/>
                    <a:pt x="22" y="28"/>
                  </a:cubicBezTo>
                  <a:cubicBezTo>
                    <a:pt x="23" y="29"/>
                    <a:pt x="24" y="30"/>
                    <a:pt x="25" y="33"/>
                  </a:cubicBezTo>
                  <a:cubicBezTo>
                    <a:pt x="28" y="37"/>
                    <a:pt x="23" y="33"/>
                    <a:pt x="32" y="35"/>
                  </a:cubicBezTo>
                  <a:cubicBezTo>
                    <a:pt x="41" y="38"/>
                    <a:pt x="42" y="38"/>
                    <a:pt x="41" y="34"/>
                  </a:cubicBezTo>
                  <a:cubicBezTo>
                    <a:pt x="40" y="31"/>
                    <a:pt x="36" y="29"/>
                    <a:pt x="37" y="23"/>
                  </a:cubicBezTo>
                  <a:cubicBezTo>
                    <a:pt x="37" y="16"/>
                    <a:pt x="39" y="20"/>
                    <a:pt x="36" y="14"/>
                  </a:cubicBezTo>
                  <a:cubicBezTo>
                    <a:pt x="33" y="9"/>
                    <a:pt x="29" y="4"/>
                    <a:pt x="32" y="2"/>
                  </a:cubicBezTo>
                  <a:cubicBezTo>
                    <a:pt x="35" y="0"/>
                    <a:pt x="40" y="0"/>
                    <a:pt x="44" y="1"/>
                  </a:cubicBezTo>
                  <a:cubicBezTo>
                    <a:pt x="44" y="2"/>
                    <a:pt x="44" y="2"/>
                    <a:pt x="45" y="2"/>
                  </a:cubicBezTo>
                  <a:cubicBezTo>
                    <a:pt x="48" y="4"/>
                    <a:pt x="46" y="4"/>
                    <a:pt x="50" y="9"/>
                  </a:cubicBezTo>
                  <a:cubicBezTo>
                    <a:pt x="54" y="13"/>
                    <a:pt x="53" y="16"/>
                    <a:pt x="59" y="19"/>
                  </a:cubicBezTo>
                  <a:cubicBezTo>
                    <a:pt x="65" y="22"/>
                    <a:pt x="68" y="18"/>
                    <a:pt x="68" y="23"/>
                  </a:cubicBezTo>
                  <a:cubicBezTo>
                    <a:pt x="68" y="28"/>
                    <a:pt x="64" y="29"/>
                    <a:pt x="69" y="37"/>
                  </a:cubicBezTo>
                  <a:cubicBezTo>
                    <a:pt x="75" y="45"/>
                    <a:pt x="80" y="51"/>
                    <a:pt x="86" y="51"/>
                  </a:cubicBezTo>
                  <a:cubicBezTo>
                    <a:pt x="92" y="51"/>
                    <a:pt x="92" y="50"/>
                    <a:pt x="94" y="45"/>
                  </a:cubicBezTo>
                  <a:cubicBezTo>
                    <a:pt x="96" y="40"/>
                    <a:pt x="97" y="41"/>
                    <a:pt x="103" y="44"/>
                  </a:cubicBezTo>
                  <a:cubicBezTo>
                    <a:pt x="109" y="47"/>
                    <a:pt x="115" y="50"/>
                    <a:pt x="114" y="53"/>
                  </a:cubicBezTo>
                  <a:cubicBezTo>
                    <a:pt x="113" y="55"/>
                    <a:pt x="108" y="53"/>
                    <a:pt x="112" y="57"/>
                  </a:cubicBezTo>
                  <a:cubicBezTo>
                    <a:pt x="117" y="62"/>
                    <a:pt x="123" y="63"/>
                    <a:pt x="121" y="68"/>
                  </a:cubicBezTo>
                  <a:cubicBezTo>
                    <a:pt x="120" y="73"/>
                    <a:pt x="125" y="78"/>
                    <a:pt x="117" y="78"/>
                  </a:cubicBezTo>
                  <a:cubicBezTo>
                    <a:pt x="108" y="78"/>
                    <a:pt x="102" y="77"/>
                    <a:pt x="103" y="80"/>
                  </a:cubicBezTo>
                  <a:cubicBezTo>
                    <a:pt x="103" y="84"/>
                    <a:pt x="98" y="91"/>
                    <a:pt x="105" y="92"/>
                  </a:cubicBezTo>
                  <a:cubicBezTo>
                    <a:pt x="111" y="93"/>
                    <a:pt x="114" y="99"/>
                    <a:pt x="119" y="102"/>
                  </a:cubicBezTo>
                  <a:cubicBezTo>
                    <a:pt x="125" y="104"/>
                    <a:pt x="136" y="104"/>
                    <a:pt x="136" y="108"/>
                  </a:cubicBezTo>
                  <a:cubicBezTo>
                    <a:pt x="135" y="112"/>
                    <a:pt x="138" y="116"/>
                    <a:pt x="143" y="122"/>
                  </a:cubicBezTo>
                  <a:cubicBezTo>
                    <a:pt x="148" y="128"/>
                    <a:pt x="154" y="135"/>
                    <a:pt x="159" y="140"/>
                  </a:cubicBezTo>
                  <a:cubicBezTo>
                    <a:pt x="164" y="145"/>
                    <a:pt x="176" y="157"/>
                    <a:pt x="176" y="160"/>
                  </a:cubicBezTo>
                  <a:cubicBezTo>
                    <a:pt x="176" y="162"/>
                    <a:pt x="174" y="165"/>
                    <a:pt x="182" y="168"/>
                  </a:cubicBezTo>
                  <a:cubicBezTo>
                    <a:pt x="191" y="171"/>
                    <a:pt x="202" y="176"/>
                    <a:pt x="201" y="180"/>
                  </a:cubicBezTo>
                  <a:cubicBezTo>
                    <a:pt x="199" y="183"/>
                    <a:pt x="187" y="180"/>
                    <a:pt x="196" y="189"/>
                  </a:cubicBezTo>
                  <a:cubicBezTo>
                    <a:pt x="205" y="198"/>
                    <a:pt x="208" y="200"/>
                    <a:pt x="207" y="20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26" name="Freeform 1105">
              <a:extLst>
                <a:ext uri="{FF2B5EF4-FFF2-40B4-BE49-F238E27FC236}">
                  <a16:creationId xmlns:a16="http://schemas.microsoft.com/office/drawing/2014/main" id="{B798FA39-ED97-2547-B9E3-FFD68CD3228F}"/>
                </a:ext>
              </a:extLst>
            </p:cNvPr>
            <p:cNvSpPr>
              <a:spLocks/>
            </p:cNvSpPr>
            <p:nvPr/>
          </p:nvSpPr>
          <p:spPr bwMode="auto">
            <a:xfrm>
              <a:off x="6515121" y="2210257"/>
              <a:ext cx="82550" cy="7938"/>
            </a:xfrm>
            <a:custGeom>
              <a:avLst/>
              <a:gdLst>
                <a:gd name="T0" fmla="*/ 52 w 52"/>
                <a:gd name="T1" fmla="*/ 4 h 5"/>
                <a:gd name="T2" fmla="*/ 5 w 52"/>
                <a:gd name="T3" fmla="*/ 1 h 5"/>
                <a:gd name="T4" fmla="*/ 6 w 52"/>
                <a:gd name="T5" fmla="*/ 0 h 5"/>
                <a:gd name="T6" fmla="*/ 0 w 52"/>
                <a:gd name="T7" fmla="*/ 2 h 5"/>
                <a:gd name="T8" fmla="*/ 6 w 52"/>
                <a:gd name="T9" fmla="*/ 5 h 5"/>
                <a:gd name="T10" fmla="*/ 5 w 52"/>
                <a:gd name="T11" fmla="*/ 3 h 5"/>
                <a:gd name="T12" fmla="*/ 52 w 52"/>
                <a:gd name="T13" fmla="*/ 5 h 5"/>
                <a:gd name="T14" fmla="*/ 52 w 52"/>
                <a:gd name="T15" fmla="*/ 4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5">
                  <a:moveTo>
                    <a:pt x="52" y="4"/>
                  </a:moveTo>
                  <a:lnTo>
                    <a:pt x="5" y="1"/>
                  </a:lnTo>
                  <a:lnTo>
                    <a:pt x="6" y="0"/>
                  </a:lnTo>
                  <a:lnTo>
                    <a:pt x="0" y="2"/>
                  </a:lnTo>
                  <a:lnTo>
                    <a:pt x="6" y="5"/>
                  </a:lnTo>
                  <a:lnTo>
                    <a:pt x="5" y="3"/>
                  </a:lnTo>
                  <a:lnTo>
                    <a:pt x="52" y="5"/>
                  </a:lnTo>
                  <a:lnTo>
                    <a:pt x="52" y="4"/>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27" name="Freeform 1106">
              <a:extLst>
                <a:ext uri="{FF2B5EF4-FFF2-40B4-BE49-F238E27FC236}">
                  <a16:creationId xmlns:a16="http://schemas.microsoft.com/office/drawing/2014/main" id="{1CD7D444-DF51-5844-8033-74EFC667E9B7}"/>
                </a:ext>
              </a:extLst>
            </p:cNvPr>
            <p:cNvSpPr>
              <a:spLocks/>
            </p:cNvSpPr>
            <p:nvPr/>
          </p:nvSpPr>
          <p:spPr bwMode="auto">
            <a:xfrm>
              <a:off x="6775471" y="1518106"/>
              <a:ext cx="112713" cy="147638"/>
            </a:xfrm>
            <a:custGeom>
              <a:avLst/>
              <a:gdLst>
                <a:gd name="T0" fmla="*/ 82 w 119"/>
                <a:gd name="T1" fmla="*/ 93 h 155"/>
                <a:gd name="T2" fmla="*/ 79 w 119"/>
                <a:gd name="T3" fmla="*/ 100 h 155"/>
                <a:gd name="T4" fmla="*/ 86 w 119"/>
                <a:gd name="T5" fmla="*/ 111 h 155"/>
                <a:gd name="T6" fmla="*/ 106 w 119"/>
                <a:gd name="T7" fmla="*/ 120 h 155"/>
                <a:gd name="T8" fmla="*/ 113 w 119"/>
                <a:gd name="T9" fmla="*/ 125 h 155"/>
                <a:gd name="T10" fmla="*/ 112 w 119"/>
                <a:gd name="T11" fmla="*/ 131 h 155"/>
                <a:gd name="T12" fmla="*/ 89 w 119"/>
                <a:gd name="T13" fmla="*/ 134 h 155"/>
                <a:gd name="T14" fmla="*/ 82 w 119"/>
                <a:gd name="T15" fmla="*/ 148 h 155"/>
                <a:gd name="T16" fmla="*/ 82 w 119"/>
                <a:gd name="T17" fmla="*/ 155 h 155"/>
                <a:gd name="T18" fmla="*/ 82 w 119"/>
                <a:gd name="T19" fmla="*/ 155 h 155"/>
                <a:gd name="T20" fmla="*/ 75 w 119"/>
                <a:gd name="T21" fmla="*/ 146 h 155"/>
                <a:gd name="T22" fmla="*/ 70 w 119"/>
                <a:gd name="T23" fmla="*/ 145 h 155"/>
                <a:gd name="T24" fmla="*/ 62 w 119"/>
                <a:gd name="T25" fmla="*/ 148 h 155"/>
                <a:gd name="T26" fmla="*/ 57 w 119"/>
                <a:gd name="T27" fmla="*/ 145 h 155"/>
                <a:gd name="T28" fmla="*/ 52 w 119"/>
                <a:gd name="T29" fmla="*/ 152 h 155"/>
                <a:gd name="T30" fmla="*/ 43 w 119"/>
                <a:gd name="T31" fmla="*/ 146 h 155"/>
                <a:gd name="T32" fmla="*/ 37 w 119"/>
                <a:gd name="T33" fmla="*/ 142 h 155"/>
                <a:gd name="T34" fmla="*/ 36 w 119"/>
                <a:gd name="T35" fmla="*/ 126 h 155"/>
                <a:gd name="T36" fmla="*/ 40 w 119"/>
                <a:gd name="T37" fmla="*/ 119 h 155"/>
                <a:gd name="T38" fmla="*/ 36 w 119"/>
                <a:gd name="T39" fmla="*/ 112 h 155"/>
                <a:gd name="T40" fmla="*/ 25 w 119"/>
                <a:gd name="T41" fmla="*/ 99 h 155"/>
                <a:gd name="T42" fmla="*/ 13 w 119"/>
                <a:gd name="T43" fmla="*/ 95 h 155"/>
                <a:gd name="T44" fmla="*/ 7 w 119"/>
                <a:gd name="T45" fmla="*/ 94 h 155"/>
                <a:gd name="T46" fmla="*/ 0 w 119"/>
                <a:gd name="T47" fmla="*/ 91 h 155"/>
                <a:gd name="T48" fmla="*/ 1 w 119"/>
                <a:gd name="T49" fmla="*/ 84 h 155"/>
                <a:gd name="T50" fmla="*/ 5 w 119"/>
                <a:gd name="T51" fmla="*/ 75 h 155"/>
                <a:gd name="T52" fmla="*/ 22 w 119"/>
                <a:gd name="T53" fmla="*/ 63 h 155"/>
                <a:gd name="T54" fmla="*/ 33 w 119"/>
                <a:gd name="T55" fmla="*/ 43 h 155"/>
                <a:gd name="T56" fmla="*/ 43 w 119"/>
                <a:gd name="T57" fmla="*/ 45 h 155"/>
                <a:gd name="T58" fmla="*/ 56 w 119"/>
                <a:gd name="T59" fmla="*/ 48 h 155"/>
                <a:gd name="T60" fmla="*/ 69 w 119"/>
                <a:gd name="T61" fmla="*/ 45 h 155"/>
                <a:gd name="T62" fmla="*/ 61 w 119"/>
                <a:gd name="T63" fmla="*/ 36 h 155"/>
                <a:gd name="T64" fmla="*/ 69 w 119"/>
                <a:gd name="T65" fmla="*/ 31 h 155"/>
                <a:gd name="T66" fmla="*/ 78 w 119"/>
                <a:gd name="T67" fmla="*/ 27 h 155"/>
                <a:gd name="T68" fmla="*/ 85 w 119"/>
                <a:gd name="T69" fmla="*/ 18 h 155"/>
                <a:gd name="T70" fmla="*/ 85 w 119"/>
                <a:gd name="T71" fmla="*/ 5 h 155"/>
                <a:gd name="T72" fmla="*/ 93 w 119"/>
                <a:gd name="T73" fmla="*/ 8 h 155"/>
                <a:gd name="T74" fmla="*/ 101 w 119"/>
                <a:gd name="T75" fmla="*/ 12 h 155"/>
                <a:gd name="T76" fmla="*/ 101 w 119"/>
                <a:gd name="T77" fmla="*/ 14 h 155"/>
                <a:gd name="T78" fmla="*/ 109 w 119"/>
                <a:gd name="T79" fmla="*/ 20 h 155"/>
                <a:gd name="T80" fmla="*/ 108 w 119"/>
                <a:gd name="T81" fmla="*/ 28 h 155"/>
                <a:gd name="T82" fmla="*/ 101 w 119"/>
                <a:gd name="T83" fmla="*/ 37 h 155"/>
                <a:gd name="T84" fmla="*/ 108 w 119"/>
                <a:gd name="T85" fmla="*/ 50 h 155"/>
                <a:gd name="T86" fmla="*/ 114 w 119"/>
                <a:gd name="T87" fmla="*/ 65 h 155"/>
                <a:gd name="T88" fmla="*/ 100 w 119"/>
                <a:gd name="T89" fmla="*/ 74 h 155"/>
                <a:gd name="T90" fmla="*/ 93 w 119"/>
                <a:gd name="T91" fmla="*/ 85 h 155"/>
                <a:gd name="T92" fmla="*/ 82 w 119"/>
                <a:gd name="T93" fmla="*/ 9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9" h="155">
                  <a:moveTo>
                    <a:pt x="82" y="93"/>
                  </a:moveTo>
                  <a:cubicBezTo>
                    <a:pt x="81" y="94"/>
                    <a:pt x="77" y="98"/>
                    <a:pt x="79" y="100"/>
                  </a:cubicBezTo>
                  <a:cubicBezTo>
                    <a:pt x="81" y="103"/>
                    <a:pt x="75" y="105"/>
                    <a:pt x="86" y="111"/>
                  </a:cubicBezTo>
                  <a:cubicBezTo>
                    <a:pt x="97" y="117"/>
                    <a:pt x="99" y="116"/>
                    <a:pt x="106" y="120"/>
                  </a:cubicBezTo>
                  <a:cubicBezTo>
                    <a:pt x="108" y="122"/>
                    <a:pt x="111" y="123"/>
                    <a:pt x="113" y="125"/>
                  </a:cubicBezTo>
                  <a:cubicBezTo>
                    <a:pt x="113" y="126"/>
                    <a:pt x="112" y="128"/>
                    <a:pt x="112" y="131"/>
                  </a:cubicBezTo>
                  <a:cubicBezTo>
                    <a:pt x="110" y="136"/>
                    <a:pt x="98" y="134"/>
                    <a:pt x="89" y="134"/>
                  </a:cubicBezTo>
                  <a:cubicBezTo>
                    <a:pt x="79" y="134"/>
                    <a:pt x="83" y="142"/>
                    <a:pt x="82" y="148"/>
                  </a:cubicBezTo>
                  <a:cubicBezTo>
                    <a:pt x="81" y="152"/>
                    <a:pt x="82" y="154"/>
                    <a:pt x="82" y="155"/>
                  </a:cubicBezTo>
                  <a:cubicBezTo>
                    <a:pt x="82" y="155"/>
                    <a:pt x="82" y="155"/>
                    <a:pt x="82" y="155"/>
                  </a:cubicBezTo>
                  <a:cubicBezTo>
                    <a:pt x="74" y="153"/>
                    <a:pt x="74" y="148"/>
                    <a:pt x="75" y="146"/>
                  </a:cubicBezTo>
                  <a:cubicBezTo>
                    <a:pt x="77" y="145"/>
                    <a:pt x="74" y="141"/>
                    <a:pt x="70" y="145"/>
                  </a:cubicBezTo>
                  <a:cubicBezTo>
                    <a:pt x="66" y="148"/>
                    <a:pt x="65" y="151"/>
                    <a:pt x="62" y="148"/>
                  </a:cubicBezTo>
                  <a:cubicBezTo>
                    <a:pt x="59" y="144"/>
                    <a:pt x="59" y="140"/>
                    <a:pt x="57" y="145"/>
                  </a:cubicBezTo>
                  <a:cubicBezTo>
                    <a:pt x="55" y="150"/>
                    <a:pt x="60" y="155"/>
                    <a:pt x="52" y="152"/>
                  </a:cubicBezTo>
                  <a:cubicBezTo>
                    <a:pt x="44" y="149"/>
                    <a:pt x="45" y="146"/>
                    <a:pt x="43" y="146"/>
                  </a:cubicBezTo>
                  <a:cubicBezTo>
                    <a:pt x="41" y="146"/>
                    <a:pt x="37" y="148"/>
                    <a:pt x="37" y="142"/>
                  </a:cubicBezTo>
                  <a:cubicBezTo>
                    <a:pt x="37" y="137"/>
                    <a:pt x="29" y="127"/>
                    <a:pt x="36" y="126"/>
                  </a:cubicBezTo>
                  <a:cubicBezTo>
                    <a:pt x="42" y="124"/>
                    <a:pt x="44" y="121"/>
                    <a:pt x="40" y="119"/>
                  </a:cubicBezTo>
                  <a:cubicBezTo>
                    <a:pt x="36" y="118"/>
                    <a:pt x="37" y="117"/>
                    <a:pt x="36" y="112"/>
                  </a:cubicBezTo>
                  <a:cubicBezTo>
                    <a:pt x="34" y="106"/>
                    <a:pt x="29" y="100"/>
                    <a:pt x="25" y="99"/>
                  </a:cubicBezTo>
                  <a:cubicBezTo>
                    <a:pt x="21" y="99"/>
                    <a:pt x="16" y="93"/>
                    <a:pt x="13" y="95"/>
                  </a:cubicBezTo>
                  <a:cubicBezTo>
                    <a:pt x="11" y="96"/>
                    <a:pt x="11" y="97"/>
                    <a:pt x="7" y="94"/>
                  </a:cubicBezTo>
                  <a:cubicBezTo>
                    <a:pt x="4" y="92"/>
                    <a:pt x="2" y="91"/>
                    <a:pt x="0" y="91"/>
                  </a:cubicBezTo>
                  <a:cubicBezTo>
                    <a:pt x="0" y="89"/>
                    <a:pt x="1" y="87"/>
                    <a:pt x="1" y="84"/>
                  </a:cubicBezTo>
                  <a:cubicBezTo>
                    <a:pt x="1" y="80"/>
                    <a:pt x="2" y="79"/>
                    <a:pt x="5" y="75"/>
                  </a:cubicBezTo>
                  <a:cubicBezTo>
                    <a:pt x="8" y="71"/>
                    <a:pt x="15" y="69"/>
                    <a:pt x="22" y="63"/>
                  </a:cubicBezTo>
                  <a:cubicBezTo>
                    <a:pt x="29" y="57"/>
                    <a:pt x="31" y="53"/>
                    <a:pt x="33" y="43"/>
                  </a:cubicBezTo>
                  <a:cubicBezTo>
                    <a:pt x="35" y="34"/>
                    <a:pt x="35" y="38"/>
                    <a:pt x="43" y="45"/>
                  </a:cubicBezTo>
                  <a:cubicBezTo>
                    <a:pt x="50" y="52"/>
                    <a:pt x="47" y="47"/>
                    <a:pt x="56" y="48"/>
                  </a:cubicBezTo>
                  <a:cubicBezTo>
                    <a:pt x="66" y="49"/>
                    <a:pt x="67" y="46"/>
                    <a:pt x="69" y="45"/>
                  </a:cubicBezTo>
                  <a:cubicBezTo>
                    <a:pt x="70" y="43"/>
                    <a:pt x="66" y="41"/>
                    <a:pt x="61" y="36"/>
                  </a:cubicBezTo>
                  <a:cubicBezTo>
                    <a:pt x="56" y="31"/>
                    <a:pt x="66" y="31"/>
                    <a:pt x="69" y="31"/>
                  </a:cubicBezTo>
                  <a:cubicBezTo>
                    <a:pt x="72" y="31"/>
                    <a:pt x="74" y="31"/>
                    <a:pt x="78" y="27"/>
                  </a:cubicBezTo>
                  <a:cubicBezTo>
                    <a:pt x="81" y="23"/>
                    <a:pt x="82" y="21"/>
                    <a:pt x="85" y="18"/>
                  </a:cubicBezTo>
                  <a:cubicBezTo>
                    <a:pt x="89" y="15"/>
                    <a:pt x="86" y="10"/>
                    <a:pt x="85" y="5"/>
                  </a:cubicBezTo>
                  <a:cubicBezTo>
                    <a:pt x="85" y="0"/>
                    <a:pt x="91" y="7"/>
                    <a:pt x="93" y="8"/>
                  </a:cubicBezTo>
                  <a:cubicBezTo>
                    <a:pt x="94" y="9"/>
                    <a:pt x="98" y="11"/>
                    <a:pt x="101" y="12"/>
                  </a:cubicBezTo>
                  <a:cubicBezTo>
                    <a:pt x="101" y="13"/>
                    <a:pt x="101" y="13"/>
                    <a:pt x="101" y="14"/>
                  </a:cubicBezTo>
                  <a:cubicBezTo>
                    <a:pt x="103" y="16"/>
                    <a:pt x="107" y="19"/>
                    <a:pt x="109" y="20"/>
                  </a:cubicBezTo>
                  <a:cubicBezTo>
                    <a:pt x="110" y="23"/>
                    <a:pt x="109" y="26"/>
                    <a:pt x="108" y="28"/>
                  </a:cubicBezTo>
                  <a:cubicBezTo>
                    <a:pt x="107" y="31"/>
                    <a:pt x="102" y="33"/>
                    <a:pt x="101" y="37"/>
                  </a:cubicBezTo>
                  <a:cubicBezTo>
                    <a:pt x="101" y="40"/>
                    <a:pt x="103" y="44"/>
                    <a:pt x="108" y="50"/>
                  </a:cubicBezTo>
                  <a:cubicBezTo>
                    <a:pt x="114" y="56"/>
                    <a:pt x="119" y="61"/>
                    <a:pt x="114" y="65"/>
                  </a:cubicBezTo>
                  <a:cubicBezTo>
                    <a:pt x="109" y="68"/>
                    <a:pt x="103" y="69"/>
                    <a:pt x="100" y="74"/>
                  </a:cubicBezTo>
                  <a:cubicBezTo>
                    <a:pt x="97" y="79"/>
                    <a:pt x="97" y="81"/>
                    <a:pt x="93" y="85"/>
                  </a:cubicBezTo>
                  <a:cubicBezTo>
                    <a:pt x="89" y="89"/>
                    <a:pt x="83" y="91"/>
                    <a:pt x="82" y="9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28" name="Freeform 1107">
              <a:extLst>
                <a:ext uri="{FF2B5EF4-FFF2-40B4-BE49-F238E27FC236}">
                  <a16:creationId xmlns:a16="http://schemas.microsoft.com/office/drawing/2014/main" id="{647352FA-A75E-3A46-AA5F-52DA25FFE05D}"/>
                </a:ext>
              </a:extLst>
            </p:cNvPr>
            <p:cNvSpPr>
              <a:spLocks/>
            </p:cNvSpPr>
            <p:nvPr/>
          </p:nvSpPr>
          <p:spPr bwMode="auto">
            <a:xfrm>
              <a:off x="6831034" y="1592718"/>
              <a:ext cx="61913" cy="17463"/>
            </a:xfrm>
            <a:custGeom>
              <a:avLst/>
              <a:gdLst>
                <a:gd name="T0" fmla="*/ 0 w 39"/>
                <a:gd name="T1" fmla="*/ 11 h 11"/>
                <a:gd name="T2" fmla="*/ 0 w 39"/>
                <a:gd name="T3" fmla="*/ 10 h 11"/>
                <a:gd name="T4" fmla="*/ 38 w 39"/>
                <a:gd name="T5" fmla="*/ 0 h 11"/>
                <a:gd name="T6" fmla="*/ 39 w 39"/>
                <a:gd name="T7" fmla="*/ 1 h 11"/>
                <a:gd name="T8" fmla="*/ 0 w 39"/>
                <a:gd name="T9" fmla="*/ 11 h 11"/>
              </a:gdLst>
              <a:ahLst/>
              <a:cxnLst>
                <a:cxn ang="0">
                  <a:pos x="T0" y="T1"/>
                </a:cxn>
                <a:cxn ang="0">
                  <a:pos x="T2" y="T3"/>
                </a:cxn>
                <a:cxn ang="0">
                  <a:pos x="T4" y="T5"/>
                </a:cxn>
                <a:cxn ang="0">
                  <a:pos x="T6" y="T7"/>
                </a:cxn>
                <a:cxn ang="0">
                  <a:pos x="T8" y="T9"/>
                </a:cxn>
              </a:cxnLst>
              <a:rect l="0" t="0" r="r" b="b"/>
              <a:pathLst>
                <a:path w="39" h="11">
                  <a:moveTo>
                    <a:pt x="0" y="11"/>
                  </a:moveTo>
                  <a:lnTo>
                    <a:pt x="0" y="10"/>
                  </a:lnTo>
                  <a:lnTo>
                    <a:pt x="38" y="0"/>
                  </a:lnTo>
                  <a:lnTo>
                    <a:pt x="39" y="1"/>
                  </a:lnTo>
                  <a:lnTo>
                    <a:pt x="0" y="11"/>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29" name="Freeform 1108">
              <a:extLst>
                <a:ext uri="{FF2B5EF4-FFF2-40B4-BE49-F238E27FC236}">
                  <a16:creationId xmlns:a16="http://schemas.microsoft.com/office/drawing/2014/main" id="{3A21E08A-09E6-5149-80A6-8905C39DB554}"/>
                </a:ext>
              </a:extLst>
            </p:cNvPr>
            <p:cNvSpPr>
              <a:spLocks/>
            </p:cNvSpPr>
            <p:nvPr/>
          </p:nvSpPr>
          <p:spPr bwMode="auto">
            <a:xfrm>
              <a:off x="6824684" y="1603831"/>
              <a:ext cx="9525" cy="7938"/>
            </a:xfrm>
            <a:custGeom>
              <a:avLst/>
              <a:gdLst>
                <a:gd name="T0" fmla="*/ 5 w 6"/>
                <a:gd name="T1" fmla="*/ 0 h 5"/>
                <a:gd name="T2" fmla="*/ 4 w 6"/>
                <a:gd name="T3" fmla="*/ 3 h 5"/>
                <a:gd name="T4" fmla="*/ 6 w 6"/>
                <a:gd name="T5" fmla="*/ 5 h 5"/>
                <a:gd name="T6" fmla="*/ 0 w 6"/>
                <a:gd name="T7" fmla="*/ 5 h 5"/>
                <a:gd name="T8" fmla="*/ 5 w 6"/>
                <a:gd name="T9" fmla="*/ 0 h 5"/>
              </a:gdLst>
              <a:ahLst/>
              <a:cxnLst>
                <a:cxn ang="0">
                  <a:pos x="T0" y="T1"/>
                </a:cxn>
                <a:cxn ang="0">
                  <a:pos x="T2" y="T3"/>
                </a:cxn>
                <a:cxn ang="0">
                  <a:pos x="T4" y="T5"/>
                </a:cxn>
                <a:cxn ang="0">
                  <a:pos x="T6" y="T7"/>
                </a:cxn>
                <a:cxn ang="0">
                  <a:pos x="T8" y="T9"/>
                </a:cxn>
              </a:cxnLst>
              <a:rect l="0" t="0" r="r" b="b"/>
              <a:pathLst>
                <a:path w="6" h="5">
                  <a:moveTo>
                    <a:pt x="5" y="0"/>
                  </a:moveTo>
                  <a:lnTo>
                    <a:pt x="4" y="3"/>
                  </a:lnTo>
                  <a:lnTo>
                    <a:pt x="6" y="5"/>
                  </a:lnTo>
                  <a:lnTo>
                    <a:pt x="0" y="5"/>
                  </a:lnTo>
                  <a:lnTo>
                    <a:pt x="5"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30" name="Freeform 1109">
              <a:extLst>
                <a:ext uri="{FF2B5EF4-FFF2-40B4-BE49-F238E27FC236}">
                  <a16:creationId xmlns:a16="http://schemas.microsoft.com/office/drawing/2014/main" id="{2C3EB05E-0D4E-AB40-A664-180706F1DDF3}"/>
                </a:ext>
              </a:extLst>
            </p:cNvPr>
            <p:cNvSpPr>
              <a:spLocks/>
            </p:cNvSpPr>
            <p:nvPr/>
          </p:nvSpPr>
          <p:spPr bwMode="auto">
            <a:xfrm>
              <a:off x="6850084" y="1637168"/>
              <a:ext cx="98425" cy="123825"/>
            </a:xfrm>
            <a:custGeom>
              <a:avLst/>
              <a:gdLst>
                <a:gd name="T0" fmla="*/ 96 w 103"/>
                <a:gd name="T1" fmla="*/ 98 h 130"/>
                <a:gd name="T2" fmla="*/ 84 w 103"/>
                <a:gd name="T3" fmla="*/ 98 h 130"/>
                <a:gd name="T4" fmla="*/ 81 w 103"/>
                <a:gd name="T5" fmla="*/ 102 h 130"/>
                <a:gd name="T6" fmla="*/ 86 w 103"/>
                <a:gd name="T7" fmla="*/ 108 h 130"/>
                <a:gd name="T8" fmla="*/ 74 w 103"/>
                <a:gd name="T9" fmla="*/ 105 h 130"/>
                <a:gd name="T10" fmla="*/ 66 w 103"/>
                <a:gd name="T11" fmla="*/ 108 h 130"/>
                <a:gd name="T12" fmla="*/ 60 w 103"/>
                <a:gd name="T13" fmla="*/ 108 h 130"/>
                <a:gd name="T14" fmla="*/ 50 w 103"/>
                <a:gd name="T15" fmla="*/ 113 h 130"/>
                <a:gd name="T16" fmla="*/ 41 w 103"/>
                <a:gd name="T17" fmla="*/ 119 h 130"/>
                <a:gd name="T18" fmla="*/ 34 w 103"/>
                <a:gd name="T19" fmla="*/ 119 h 130"/>
                <a:gd name="T20" fmla="*/ 34 w 103"/>
                <a:gd name="T21" fmla="*/ 104 h 130"/>
                <a:gd name="T22" fmla="*/ 28 w 103"/>
                <a:gd name="T23" fmla="*/ 99 h 130"/>
                <a:gd name="T24" fmla="*/ 27 w 103"/>
                <a:gd name="T25" fmla="*/ 85 h 130"/>
                <a:gd name="T26" fmla="*/ 28 w 103"/>
                <a:gd name="T27" fmla="*/ 78 h 130"/>
                <a:gd name="T28" fmla="*/ 24 w 103"/>
                <a:gd name="T29" fmla="*/ 72 h 130"/>
                <a:gd name="T30" fmla="*/ 15 w 103"/>
                <a:gd name="T31" fmla="*/ 65 h 130"/>
                <a:gd name="T32" fmla="*/ 13 w 103"/>
                <a:gd name="T33" fmla="*/ 56 h 130"/>
                <a:gd name="T34" fmla="*/ 4 w 103"/>
                <a:gd name="T35" fmla="*/ 45 h 130"/>
                <a:gd name="T36" fmla="*/ 20 w 103"/>
                <a:gd name="T37" fmla="*/ 48 h 130"/>
                <a:gd name="T38" fmla="*/ 11 w 103"/>
                <a:gd name="T39" fmla="*/ 39 h 130"/>
                <a:gd name="T40" fmla="*/ 3 w 103"/>
                <a:gd name="T41" fmla="*/ 30 h 130"/>
                <a:gd name="T42" fmla="*/ 3 w 103"/>
                <a:gd name="T43" fmla="*/ 23 h 130"/>
                <a:gd name="T44" fmla="*/ 10 w 103"/>
                <a:gd name="T45" fmla="*/ 9 h 130"/>
                <a:gd name="T46" fmla="*/ 33 w 103"/>
                <a:gd name="T47" fmla="*/ 6 h 130"/>
                <a:gd name="T48" fmla="*/ 34 w 103"/>
                <a:gd name="T49" fmla="*/ 0 h 130"/>
                <a:gd name="T50" fmla="*/ 44 w 103"/>
                <a:gd name="T51" fmla="*/ 10 h 130"/>
                <a:gd name="T52" fmla="*/ 57 w 103"/>
                <a:gd name="T53" fmla="*/ 21 h 130"/>
                <a:gd name="T54" fmla="*/ 75 w 103"/>
                <a:gd name="T55" fmla="*/ 37 h 130"/>
                <a:gd name="T56" fmla="*/ 82 w 103"/>
                <a:gd name="T57" fmla="*/ 52 h 130"/>
                <a:gd name="T58" fmla="*/ 87 w 103"/>
                <a:gd name="T59" fmla="*/ 70 h 130"/>
                <a:gd name="T60" fmla="*/ 96 w 103"/>
                <a:gd name="T61" fmla="*/ 78 h 130"/>
                <a:gd name="T62" fmla="*/ 96 w 103"/>
                <a:gd name="T63" fmla="*/ 9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30">
                  <a:moveTo>
                    <a:pt x="96" y="98"/>
                  </a:moveTo>
                  <a:cubicBezTo>
                    <a:pt x="90" y="99"/>
                    <a:pt x="87" y="99"/>
                    <a:pt x="84" y="98"/>
                  </a:cubicBezTo>
                  <a:cubicBezTo>
                    <a:pt x="82" y="97"/>
                    <a:pt x="79" y="99"/>
                    <a:pt x="81" y="102"/>
                  </a:cubicBezTo>
                  <a:cubicBezTo>
                    <a:pt x="83" y="104"/>
                    <a:pt x="89" y="107"/>
                    <a:pt x="86" y="108"/>
                  </a:cubicBezTo>
                  <a:cubicBezTo>
                    <a:pt x="83" y="109"/>
                    <a:pt x="77" y="105"/>
                    <a:pt x="74" y="105"/>
                  </a:cubicBezTo>
                  <a:cubicBezTo>
                    <a:pt x="71" y="105"/>
                    <a:pt x="66" y="103"/>
                    <a:pt x="66" y="108"/>
                  </a:cubicBezTo>
                  <a:cubicBezTo>
                    <a:pt x="65" y="113"/>
                    <a:pt x="60" y="102"/>
                    <a:pt x="60" y="108"/>
                  </a:cubicBezTo>
                  <a:cubicBezTo>
                    <a:pt x="59" y="115"/>
                    <a:pt x="51" y="109"/>
                    <a:pt x="50" y="113"/>
                  </a:cubicBezTo>
                  <a:cubicBezTo>
                    <a:pt x="49" y="118"/>
                    <a:pt x="44" y="118"/>
                    <a:pt x="41" y="119"/>
                  </a:cubicBezTo>
                  <a:cubicBezTo>
                    <a:pt x="38" y="119"/>
                    <a:pt x="34" y="130"/>
                    <a:pt x="34" y="119"/>
                  </a:cubicBezTo>
                  <a:cubicBezTo>
                    <a:pt x="34" y="108"/>
                    <a:pt x="39" y="104"/>
                    <a:pt x="34" y="104"/>
                  </a:cubicBezTo>
                  <a:cubicBezTo>
                    <a:pt x="29" y="104"/>
                    <a:pt x="28" y="104"/>
                    <a:pt x="28" y="99"/>
                  </a:cubicBezTo>
                  <a:cubicBezTo>
                    <a:pt x="28" y="94"/>
                    <a:pt x="27" y="85"/>
                    <a:pt x="27" y="85"/>
                  </a:cubicBezTo>
                  <a:cubicBezTo>
                    <a:pt x="27" y="85"/>
                    <a:pt x="27" y="80"/>
                    <a:pt x="28" y="78"/>
                  </a:cubicBezTo>
                  <a:cubicBezTo>
                    <a:pt x="28" y="77"/>
                    <a:pt x="23" y="73"/>
                    <a:pt x="24" y="72"/>
                  </a:cubicBezTo>
                  <a:cubicBezTo>
                    <a:pt x="25" y="71"/>
                    <a:pt x="13" y="68"/>
                    <a:pt x="15" y="65"/>
                  </a:cubicBezTo>
                  <a:cubicBezTo>
                    <a:pt x="17" y="61"/>
                    <a:pt x="13" y="56"/>
                    <a:pt x="13" y="56"/>
                  </a:cubicBezTo>
                  <a:cubicBezTo>
                    <a:pt x="13" y="56"/>
                    <a:pt x="0" y="47"/>
                    <a:pt x="4" y="45"/>
                  </a:cubicBezTo>
                  <a:cubicBezTo>
                    <a:pt x="7" y="44"/>
                    <a:pt x="19" y="48"/>
                    <a:pt x="20" y="48"/>
                  </a:cubicBezTo>
                  <a:cubicBezTo>
                    <a:pt x="22" y="48"/>
                    <a:pt x="13" y="45"/>
                    <a:pt x="11" y="39"/>
                  </a:cubicBezTo>
                  <a:cubicBezTo>
                    <a:pt x="9" y="32"/>
                    <a:pt x="10" y="32"/>
                    <a:pt x="3" y="30"/>
                  </a:cubicBezTo>
                  <a:cubicBezTo>
                    <a:pt x="3" y="29"/>
                    <a:pt x="2" y="27"/>
                    <a:pt x="3" y="23"/>
                  </a:cubicBezTo>
                  <a:cubicBezTo>
                    <a:pt x="4" y="17"/>
                    <a:pt x="0" y="9"/>
                    <a:pt x="10" y="9"/>
                  </a:cubicBezTo>
                  <a:cubicBezTo>
                    <a:pt x="19" y="9"/>
                    <a:pt x="31" y="11"/>
                    <a:pt x="33" y="6"/>
                  </a:cubicBezTo>
                  <a:cubicBezTo>
                    <a:pt x="33" y="3"/>
                    <a:pt x="34" y="1"/>
                    <a:pt x="34" y="0"/>
                  </a:cubicBezTo>
                  <a:cubicBezTo>
                    <a:pt x="38" y="4"/>
                    <a:pt x="42" y="8"/>
                    <a:pt x="44" y="10"/>
                  </a:cubicBezTo>
                  <a:cubicBezTo>
                    <a:pt x="46" y="14"/>
                    <a:pt x="55" y="15"/>
                    <a:pt x="57" y="21"/>
                  </a:cubicBezTo>
                  <a:cubicBezTo>
                    <a:pt x="60" y="27"/>
                    <a:pt x="73" y="32"/>
                    <a:pt x="75" y="37"/>
                  </a:cubicBezTo>
                  <a:cubicBezTo>
                    <a:pt x="76" y="41"/>
                    <a:pt x="79" y="42"/>
                    <a:pt x="82" y="52"/>
                  </a:cubicBezTo>
                  <a:cubicBezTo>
                    <a:pt x="84" y="63"/>
                    <a:pt x="83" y="65"/>
                    <a:pt x="87" y="70"/>
                  </a:cubicBezTo>
                  <a:cubicBezTo>
                    <a:pt x="91" y="75"/>
                    <a:pt x="96" y="75"/>
                    <a:pt x="96" y="78"/>
                  </a:cubicBezTo>
                  <a:cubicBezTo>
                    <a:pt x="96" y="82"/>
                    <a:pt x="103" y="97"/>
                    <a:pt x="96" y="98"/>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31" name="Freeform 1110">
              <a:extLst>
                <a:ext uri="{FF2B5EF4-FFF2-40B4-BE49-F238E27FC236}">
                  <a16:creationId xmlns:a16="http://schemas.microsoft.com/office/drawing/2014/main" id="{BE1369CB-F406-F84B-BE23-20941858250C}"/>
                </a:ext>
              </a:extLst>
            </p:cNvPr>
            <p:cNvSpPr>
              <a:spLocks/>
            </p:cNvSpPr>
            <p:nvPr/>
          </p:nvSpPr>
          <p:spPr bwMode="auto">
            <a:xfrm>
              <a:off x="6848497" y="1710194"/>
              <a:ext cx="65088" cy="28575"/>
            </a:xfrm>
            <a:custGeom>
              <a:avLst/>
              <a:gdLst>
                <a:gd name="T0" fmla="*/ 41 w 41"/>
                <a:gd name="T1" fmla="*/ 0 h 18"/>
                <a:gd name="T2" fmla="*/ 34 w 41"/>
                <a:gd name="T3" fmla="*/ 0 h 18"/>
                <a:gd name="T4" fmla="*/ 35 w 41"/>
                <a:gd name="T5" fmla="*/ 2 h 18"/>
                <a:gd name="T6" fmla="*/ 0 w 41"/>
                <a:gd name="T7" fmla="*/ 16 h 18"/>
                <a:gd name="T8" fmla="*/ 0 w 41"/>
                <a:gd name="T9" fmla="*/ 18 h 18"/>
                <a:gd name="T10" fmla="*/ 36 w 41"/>
                <a:gd name="T11" fmla="*/ 3 h 18"/>
                <a:gd name="T12" fmla="*/ 36 w 41"/>
                <a:gd name="T13" fmla="*/ 5 h 18"/>
                <a:gd name="T14" fmla="*/ 41 w 41"/>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8">
                  <a:moveTo>
                    <a:pt x="41" y="0"/>
                  </a:moveTo>
                  <a:lnTo>
                    <a:pt x="34" y="0"/>
                  </a:lnTo>
                  <a:lnTo>
                    <a:pt x="35" y="2"/>
                  </a:lnTo>
                  <a:lnTo>
                    <a:pt x="0" y="16"/>
                  </a:lnTo>
                  <a:lnTo>
                    <a:pt x="0" y="18"/>
                  </a:lnTo>
                  <a:lnTo>
                    <a:pt x="36" y="3"/>
                  </a:lnTo>
                  <a:lnTo>
                    <a:pt x="36" y="5"/>
                  </a:lnTo>
                  <a:lnTo>
                    <a:pt x="41"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32" name="Freeform 1111">
              <a:extLst>
                <a:ext uri="{FF2B5EF4-FFF2-40B4-BE49-F238E27FC236}">
                  <a16:creationId xmlns:a16="http://schemas.microsoft.com/office/drawing/2014/main" id="{49A8FB78-43E9-4F4C-89A6-3BD9DBFFF7C2}"/>
                </a:ext>
              </a:extLst>
            </p:cNvPr>
            <p:cNvSpPr>
              <a:spLocks/>
            </p:cNvSpPr>
            <p:nvPr/>
          </p:nvSpPr>
          <p:spPr bwMode="auto">
            <a:xfrm>
              <a:off x="4829190" y="1808619"/>
              <a:ext cx="503239" cy="442913"/>
            </a:xfrm>
            <a:custGeom>
              <a:avLst/>
              <a:gdLst>
                <a:gd name="T0" fmla="*/ 514 w 527"/>
                <a:gd name="T1" fmla="*/ 340 h 464"/>
                <a:gd name="T2" fmla="*/ 443 w 527"/>
                <a:gd name="T3" fmla="*/ 369 h 464"/>
                <a:gd name="T4" fmla="*/ 337 w 527"/>
                <a:gd name="T5" fmla="*/ 424 h 464"/>
                <a:gd name="T6" fmla="*/ 305 w 527"/>
                <a:gd name="T7" fmla="*/ 434 h 464"/>
                <a:gd name="T8" fmla="*/ 271 w 527"/>
                <a:gd name="T9" fmla="*/ 419 h 464"/>
                <a:gd name="T10" fmla="*/ 242 w 527"/>
                <a:gd name="T11" fmla="*/ 413 h 464"/>
                <a:gd name="T12" fmla="*/ 229 w 527"/>
                <a:gd name="T13" fmla="*/ 429 h 464"/>
                <a:gd name="T14" fmla="*/ 215 w 527"/>
                <a:gd name="T15" fmla="*/ 433 h 464"/>
                <a:gd name="T16" fmla="*/ 203 w 527"/>
                <a:gd name="T17" fmla="*/ 414 h 464"/>
                <a:gd name="T18" fmla="*/ 183 w 527"/>
                <a:gd name="T19" fmla="*/ 387 h 464"/>
                <a:gd name="T20" fmla="*/ 170 w 527"/>
                <a:gd name="T21" fmla="*/ 359 h 464"/>
                <a:gd name="T22" fmla="*/ 153 w 527"/>
                <a:gd name="T23" fmla="*/ 338 h 464"/>
                <a:gd name="T24" fmla="*/ 133 w 527"/>
                <a:gd name="T25" fmla="*/ 324 h 464"/>
                <a:gd name="T26" fmla="*/ 120 w 527"/>
                <a:gd name="T27" fmla="*/ 299 h 464"/>
                <a:gd name="T28" fmla="*/ 120 w 527"/>
                <a:gd name="T29" fmla="*/ 280 h 464"/>
                <a:gd name="T30" fmla="*/ 111 w 527"/>
                <a:gd name="T31" fmla="*/ 252 h 464"/>
                <a:gd name="T32" fmla="*/ 94 w 527"/>
                <a:gd name="T33" fmla="*/ 226 h 464"/>
                <a:gd name="T34" fmla="*/ 77 w 527"/>
                <a:gd name="T35" fmla="*/ 218 h 464"/>
                <a:gd name="T36" fmla="*/ 73 w 527"/>
                <a:gd name="T37" fmla="*/ 200 h 464"/>
                <a:gd name="T38" fmla="*/ 62 w 527"/>
                <a:gd name="T39" fmla="*/ 182 h 464"/>
                <a:gd name="T40" fmla="*/ 49 w 527"/>
                <a:gd name="T41" fmla="*/ 164 h 464"/>
                <a:gd name="T42" fmla="*/ 38 w 527"/>
                <a:gd name="T43" fmla="*/ 144 h 464"/>
                <a:gd name="T44" fmla="*/ 23 w 527"/>
                <a:gd name="T45" fmla="*/ 125 h 464"/>
                <a:gd name="T46" fmla="*/ 13 w 527"/>
                <a:gd name="T47" fmla="*/ 113 h 464"/>
                <a:gd name="T48" fmla="*/ 2 w 527"/>
                <a:gd name="T49" fmla="*/ 117 h 464"/>
                <a:gd name="T50" fmla="*/ 8 w 527"/>
                <a:gd name="T51" fmla="*/ 91 h 464"/>
                <a:gd name="T52" fmla="*/ 8 w 527"/>
                <a:gd name="T53" fmla="*/ 75 h 464"/>
                <a:gd name="T54" fmla="*/ 36 w 527"/>
                <a:gd name="T55" fmla="*/ 83 h 464"/>
                <a:gd name="T56" fmla="*/ 58 w 527"/>
                <a:gd name="T57" fmla="*/ 63 h 464"/>
                <a:gd name="T58" fmla="*/ 78 w 527"/>
                <a:gd name="T59" fmla="*/ 44 h 464"/>
                <a:gd name="T60" fmla="*/ 80 w 527"/>
                <a:gd name="T61" fmla="*/ 11 h 464"/>
                <a:gd name="T62" fmla="*/ 106 w 527"/>
                <a:gd name="T63" fmla="*/ 0 h 464"/>
                <a:gd name="T64" fmla="*/ 140 w 527"/>
                <a:gd name="T65" fmla="*/ 10 h 464"/>
                <a:gd name="T66" fmla="*/ 187 w 527"/>
                <a:gd name="T67" fmla="*/ 38 h 464"/>
                <a:gd name="T68" fmla="*/ 239 w 527"/>
                <a:gd name="T69" fmla="*/ 79 h 464"/>
                <a:gd name="T70" fmla="*/ 289 w 527"/>
                <a:gd name="T71" fmla="*/ 83 h 464"/>
                <a:gd name="T72" fmla="*/ 297 w 527"/>
                <a:gd name="T73" fmla="*/ 85 h 464"/>
                <a:gd name="T74" fmla="*/ 319 w 527"/>
                <a:gd name="T75" fmla="*/ 101 h 464"/>
                <a:gd name="T76" fmla="*/ 335 w 527"/>
                <a:gd name="T77" fmla="*/ 102 h 464"/>
                <a:gd name="T78" fmla="*/ 347 w 527"/>
                <a:gd name="T79" fmla="*/ 122 h 464"/>
                <a:gd name="T80" fmla="*/ 359 w 527"/>
                <a:gd name="T81" fmla="*/ 134 h 464"/>
                <a:gd name="T82" fmla="*/ 375 w 527"/>
                <a:gd name="T83" fmla="*/ 149 h 464"/>
                <a:gd name="T84" fmla="*/ 379 w 527"/>
                <a:gd name="T85" fmla="*/ 172 h 464"/>
                <a:gd name="T86" fmla="*/ 397 w 527"/>
                <a:gd name="T87" fmla="*/ 201 h 464"/>
                <a:gd name="T88" fmla="*/ 405 w 527"/>
                <a:gd name="T89" fmla="*/ 211 h 464"/>
                <a:gd name="T90" fmla="*/ 418 w 527"/>
                <a:gd name="T91" fmla="*/ 220 h 464"/>
                <a:gd name="T92" fmla="*/ 424 w 527"/>
                <a:gd name="T93" fmla="*/ 227 h 464"/>
                <a:gd name="T94" fmla="*/ 447 w 527"/>
                <a:gd name="T95" fmla="*/ 257 h 464"/>
                <a:gd name="T96" fmla="*/ 488 w 527"/>
                <a:gd name="T97" fmla="*/ 265 h 464"/>
                <a:gd name="T98" fmla="*/ 513 w 527"/>
                <a:gd name="T99" fmla="*/ 265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7" h="464">
                  <a:moveTo>
                    <a:pt x="527" y="285"/>
                  </a:moveTo>
                  <a:cubicBezTo>
                    <a:pt x="526" y="289"/>
                    <a:pt x="518" y="334"/>
                    <a:pt x="514" y="340"/>
                  </a:cubicBezTo>
                  <a:cubicBezTo>
                    <a:pt x="509" y="345"/>
                    <a:pt x="446" y="368"/>
                    <a:pt x="444" y="369"/>
                  </a:cubicBezTo>
                  <a:cubicBezTo>
                    <a:pt x="444" y="369"/>
                    <a:pt x="443" y="369"/>
                    <a:pt x="443" y="369"/>
                  </a:cubicBezTo>
                  <a:cubicBezTo>
                    <a:pt x="435" y="372"/>
                    <a:pt x="378" y="384"/>
                    <a:pt x="365" y="389"/>
                  </a:cubicBezTo>
                  <a:cubicBezTo>
                    <a:pt x="351" y="395"/>
                    <a:pt x="340" y="418"/>
                    <a:pt x="337" y="424"/>
                  </a:cubicBezTo>
                  <a:cubicBezTo>
                    <a:pt x="335" y="430"/>
                    <a:pt x="311" y="462"/>
                    <a:pt x="308" y="463"/>
                  </a:cubicBezTo>
                  <a:cubicBezTo>
                    <a:pt x="304" y="464"/>
                    <a:pt x="307" y="439"/>
                    <a:pt x="305" y="434"/>
                  </a:cubicBezTo>
                  <a:cubicBezTo>
                    <a:pt x="304" y="430"/>
                    <a:pt x="297" y="430"/>
                    <a:pt x="288" y="426"/>
                  </a:cubicBezTo>
                  <a:cubicBezTo>
                    <a:pt x="278" y="422"/>
                    <a:pt x="278" y="422"/>
                    <a:pt x="271" y="419"/>
                  </a:cubicBezTo>
                  <a:cubicBezTo>
                    <a:pt x="264" y="415"/>
                    <a:pt x="262" y="413"/>
                    <a:pt x="260" y="413"/>
                  </a:cubicBezTo>
                  <a:cubicBezTo>
                    <a:pt x="258" y="413"/>
                    <a:pt x="248" y="415"/>
                    <a:pt x="242" y="413"/>
                  </a:cubicBezTo>
                  <a:cubicBezTo>
                    <a:pt x="236" y="411"/>
                    <a:pt x="235" y="412"/>
                    <a:pt x="232" y="412"/>
                  </a:cubicBezTo>
                  <a:cubicBezTo>
                    <a:pt x="229" y="412"/>
                    <a:pt x="229" y="424"/>
                    <a:pt x="229" y="429"/>
                  </a:cubicBezTo>
                  <a:cubicBezTo>
                    <a:pt x="229" y="435"/>
                    <a:pt x="225" y="438"/>
                    <a:pt x="223" y="439"/>
                  </a:cubicBezTo>
                  <a:cubicBezTo>
                    <a:pt x="221" y="439"/>
                    <a:pt x="217" y="435"/>
                    <a:pt x="215" y="433"/>
                  </a:cubicBezTo>
                  <a:cubicBezTo>
                    <a:pt x="214" y="430"/>
                    <a:pt x="216" y="431"/>
                    <a:pt x="211" y="424"/>
                  </a:cubicBezTo>
                  <a:cubicBezTo>
                    <a:pt x="204" y="415"/>
                    <a:pt x="207" y="420"/>
                    <a:pt x="203" y="414"/>
                  </a:cubicBezTo>
                  <a:cubicBezTo>
                    <a:pt x="198" y="407"/>
                    <a:pt x="198" y="409"/>
                    <a:pt x="193" y="401"/>
                  </a:cubicBezTo>
                  <a:cubicBezTo>
                    <a:pt x="188" y="394"/>
                    <a:pt x="190" y="395"/>
                    <a:pt x="183" y="387"/>
                  </a:cubicBezTo>
                  <a:cubicBezTo>
                    <a:pt x="177" y="380"/>
                    <a:pt x="173" y="373"/>
                    <a:pt x="174" y="371"/>
                  </a:cubicBezTo>
                  <a:cubicBezTo>
                    <a:pt x="175" y="369"/>
                    <a:pt x="174" y="368"/>
                    <a:pt x="170" y="359"/>
                  </a:cubicBezTo>
                  <a:cubicBezTo>
                    <a:pt x="165" y="351"/>
                    <a:pt x="168" y="349"/>
                    <a:pt x="162" y="345"/>
                  </a:cubicBezTo>
                  <a:cubicBezTo>
                    <a:pt x="156" y="341"/>
                    <a:pt x="157" y="342"/>
                    <a:pt x="153" y="338"/>
                  </a:cubicBezTo>
                  <a:cubicBezTo>
                    <a:pt x="148" y="335"/>
                    <a:pt x="143" y="332"/>
                    <a:pt x="140" y="331"/>
                  </a:cubicBezTo>
                  <a:cubicBezTo>
                    <a:pt x="136" y="330"/>
                    <a:pt x="137" y="330"/>
                    <a:pt x="133" y="324"/>
                  </a:cubicBezTo>
                  <a:cubicBezTo>
                    <a:pt x="129" y="317"/>
                    <a:pt x="127" y="319"/>
                    <a:pt x="125" y="312"/>
                  </a:cubicBezTo>
                  <a:cubicBezTo>
                    <a:pt x="122" y="306"/>
                    <a:pt x="119" y="303"/>
                    <a:pt x="120" y="299"/>
                  </a:cubicBezTo>
                  <a:cubicBezTo>
                    <a:pt x="121" y="296"/>
                    <a:pt x="121" y="292"/>
                    <a:pt x="120" y="290"/>
                  </a:cubicBezTo>
                  <a:cubicBezTo>
                    <a:pt x="119" y="288"/>
                    <a:pt x="118" y="284"/>
                    <a:pt x="120" y="280"/>
                  </a:cubicBezTo>
                  <a:cubicBezTo>
                    <a:pt x="123" y="277"/>
                    <a:pt x="123" y="271"/>
                    <a:pt x="121" y="270"/>
                  </a:cubicBezTo>
                  <a:cubicBezTo>
                    <a:pt x="119" y="268"/>
                    <a:pt x="116" y="263"/>
                    <a:pt x="111" y="252"/>
                  </a:cubicBezTo>
                  <a:cubicBezTo>
                    <a:pt x="105" y="240"/>
                    <a:pt x="110" y="243"/>
                    <a:pt x="103" y="237"/>
                  </a:cubicBezTo>
                  <a:cubicBezTo>
                    <a:pt x="96" y="231"/>
                    <a:pt x="99" y="230"/>
                    <a:pt x="94" y="226"/>
                  </a:cubicBezTo>
                  <a:cubicBezTo>
                    <a:pt x="88" y="223"/>
                    <a:pt x="91" y="222"/>
                    <a:pt x="85" y="222"/>
                  </a:cubicBezTo>
                  <a:cubicBezTo>
                    <a:pt x="79" y="221"/>
                    <a:pt x="78" y="224"/>
                    <a:pt x="77" y="218"/>
                  </a:cubicBezTo>
                  <a:cubicBezTo>
                    <a:pt x="75" y="212"/>
                    <a:pt x="76" y="213"/>
                    <a:pt x="71" y="208"/>
                  </a:cubicBezTo>
                  <a:cubicBezTo>
                    <a:pt x="67" y="204"/>
                    <a:pt x="74" y="202"/>
                    <a:pt x="73" y="200"/>
                  </a:cubicBezTo>
                  <a:cubicBezTo>
                    <a:pt x="73" y="197"/>
                    <a:pt x="70" y="194"/>
                    <a:pt x="68" y="190"/>
                  </a:cubicBezTo>
                  <a:cubicBezTo>
                    <a:pt x="65" y="187"/>
                    <a:pt x="66" y="185"/>
                    <a:pt x="62" y="182"/>
                  </a:cubicBezTo>
                  <a:cubicBezTo>
                    <a:pt x="58" y="178"/>
                    <a:pt x="60" y="182"/>
                    <a:pt x="57" y="176"/>
                  </a:cubicBezTo>
                  <a:cubicBezTo>
                    <a:pt x="54" y="170"/>
                    <a:pt x="51" y="166"/>
                    <a:pt x="49" y="164"/>
                  </a:cubicBezTo>
                  <a:cubicBezTo>
                    <a:pt x="47" y="162"/>
                    <a:pt x="49" y="163"/>
                    <a:pt x="45" y="156"/>
                  </a:cubicBezTo>
                  <a:cubicBezTo>
                    <a:pt x="41" y="149"/>
                    <a:pt x="44" y="151"/>
                    <a:pt x="38" y="144"/>
                  </a:cubicBezTo>
                  <a:cubicBezTo>
                    <a:pt x="33" y="138"/>
                    <a:pt x="35" y="143"/>
                    <a:pt x="30" y="136"/>
                  </a:cubicBezTo>
                  <a:cubicBezTo>
                    <a:pt x="26" y="129"/>
                    <a:pt x="27" y="131"/>
                    <a:pt x="23" y="125"/>
                  </a:cubicBezTo>
                  <a:cubicBezTo>
                    <a:pt x="20" y="118"/>
                    <a:pt x="21" y="118"/>
                    <a:pt x="19" y="116"/>
                  </a:cubicBezTo>
                  <a:cubicBezTo>
                    <a:pt x="16" y="114"/>
                    <a:pt x="15" y="113"/>
                    <a:pt x="13" y="113"/>
                  </a:cubicBezTo>
                  <a:cubicBezTo>
                    <a:pt x="10" y="114"/>
                    <a:pt x="7" y="113"/>
                    <a:pt x="6" y="115"/>
                  </a:cubicBezTo>
                  <a:cubicBezTo>
                    <a:pt x="4" y="116"/>
                    <a:pt x="0" y="121"/>
                    <a:pt x="2" y="117"/>
                  </a:cubicBezTo>
                  <a:cubicBezTo>
                    <a:pt x="4" y="113"/>
                    <a:pt x="5" y="106"/>
                    <a:pt x="5" y="104"/>
                  </a:cubicBezTo>
                  <a:cubicBezTo>
                    <a:pt x="6" y="102"/>
                    <a:pt x="9" y="96"/>
                    <a:pt x="8" y="91"/>
                  </a:cubicBezTo>
                  <a:cubicBezTo>
                    <a:pt x="8" y="87"/>
                    <a:pt x="8" y="79"/>
                    <a:pt x="8" y="75"/>
                  </a:cubicBezTo>
                  <a:cubicBezTo>
                    <a:pt x="8" y="75"/>
                    <a:pt x="8" y="75"/>
                    <a:pt x="8" y="75"/>
                  </a:cubicBezTo>
                  <a:cubicBezTo>
                    <a:pt x="10" y="77"/>
                    <a:pt x="12" y="80"/>
                    <a:pt x="15" y="80"/>
                  </a:cubicBezTo>
                  <a:cubicBezTo>
                    <a:pt x="19" y="81"/>
                    <a:pt x="33" y="83"/>
                    <a:pt x="36" y="83"/>
                  </a:cubicBezTo>
                  <a:cubicBezTo>
                    <a:pt x="39" y="83"/>
                    <a:pt x="42" y="76"/>
                    <a:pt x="45" y="73"/>
                  </a:cubicBezTo>
                  <a:cubicBezTo>
                    <a:pt x="48" y="70"/>
                    <a:pt x="53" y="64"/>
                    <a:pt x="58" y="63"/>
                  </a:cubicBezTo>
                  <a:cubicBezTo>
                    <a:pt x="62" y="61"/>
                    <a:pt x="66" y="64"/>
                    <a:pt x="69" y="57"/>
                  </a:cubicBezTo>
                  <a:cubicBezTo>
                    <a:pt x="72" y="50"/>
                    <a:pt x="81" y="46"/>
                    <a:pt x="78" y="44"/>
                  </a:cubicBezTo>
                  <a:cubicBezTo>
                    <a:pt x="76" y="41"/>
                    <a:pt x="52" y="19"/>
                    <a:pt x="56" y="18"/>
                  </a:cubicBezTo>
                  <a:cubicBezTo>
                    <a:pt x="61" y="16"/>
                    <a:pt x="70" y="12"/>
                    <a:pt x="80" y="11"/>
                  </a:cubicBezTo>
                  <a:cubicBezTo>
                    <a:pt x="90" y="9"/>
                    <a:pt x="97" y="5"/>
                    <a:pt x="99" y="3"/>
                  </a:cubicBezTo>
                  <a:cubicBezTo>
                    <a:pt x="101" y="2"/>
                    <a:pt x="106" y="2"/>
                    <a:pt x="106" y="0"/>
                  </a:cubicBezTo>
                  <a:cubicBezTo>
                    <a:pt x="109" y="0"/>
                    <a:pt x="116" y="1"/>
                    <a:pt x="120" y="2"/>
                  </a:cubicBezTo>
                  <a:cubicBezTo>
                    <a:pt x="125" y="3"/>
                    <a:pt x="137" y="6"/>
                    <a:pt x="140" y="10"/>
                  </a:cubicBezTo>
                  <a:cubicBezTo>
                    <a:pt x="144" y="13"/>
                    <a:pt x="154" y="17"/>
                    <a:pt x="162" y="22"/>
                  </a:cubicBezTo>
                  <a:cubicBezTo>
                    <a:pt x="170" y="28"/>
                    <a:pt x="180" y="32"/>
                    <a:pt x="187" y="38"/>
                  </a:cubicBezTo>
                  <a:cubicBezTo>
                    <a:pt x="195" y="44"/>
                    <a:pt x="200" y="48"/>
                    <a:pt x="212" y="58"/>
                  </a:cubicBezTo>
                  <a:cubicBezTo>
                    <a:pt x="225" y="68"/>
                    <a:pt x="222" y="71"/>
                    <a:pt x="239" y="79"/>
                  </a:cubicBezTo>
                  <a:cubicBezTo>
                    <a:pt x="256" y="87"/>
                    <a:pt x="260" y="83"/>
                    <a:pt x="270" y="84"/>
                  </a:cubicBezTo>
                  <a:cubicBezTo>
                    <a:pt x="278" y="84"/>
                    <a:pt x="285" y="87"/>
                    <a:pt x="289" y="83"/>
                  </a:cubicBezTo>
                  <a:cubicBezTo>
                    <a:pt x="289" y="83"/>
                    <a:pt x="289" y="83"/>
                    <a:pt x="289" y="83"/>
                  </a:cubicBezTo>
                  <a:cubicBezTo>
                    <a:pt x="290" y="83"/>
                    <a:pt x="292" y="84"/>
                    <a:pt x="297" y="85"/>
                  </a:cubicBezTo>
                  <a:cubicBezTo>
                    <a:pt x="304" y="86"/>
                    <a:pt x="308" y="86"/>
                    <a:pt x="311" y="91"/>
                  </a:cubicBezTo>
                  <a:cubicBezTo>
                    <a:pt x="313" y="95"/>
                    <a:pt x="312" y="101"/>
                    <a:pt x="319" y="101"/>
                  </a:cubicBezTo>
                  <a:cubicBezTo>
                    <a:pt x="324" y="102"/>
                    <a:pt x="332" y="101"/>
                    <a:pt x="335" y="100"/>
                  </a:cubicBezTo>
                  <a:cubicBezTo>
                    <a:pt x="335" y="101"/>
                    <a:pt x="335" y="101"/>
                    <a:pt x="335" y="102"/>
                  </a:cubicBezTo>
                  <a:cubicBezTo>
                    <a:pt x="336" y="108"/>
                    <a:pt x="341" y="111"/>
                    <a:pt x="342" y="114"/>
                  </a:cubicBezTo>
                  <a:cubicBezTo>
                    <a:pt x="343" y="117"/>
                    <a:pt x="348" y="119"/>
                    <a:pt x="347" y="122"/>
                  </a:cubicBezTo>
                  <a:cubicBezTo>
                    <a:pt x="347" y="125"/>
                    <a:pt x="345" y="125"/>
                    <a:pt x="351" y="128"/>
                  </a:cubicBezTo>
                  <a:cubicBezTo>
                    <a:pt x="357" y="130"/>
                    <a:pt x="359" y="132"/>
                    <a:pt x="359" y="134"/>
                  </a:cubicBezTo>
                  <a:cubicBezTo>
                    <a:pt x="359" y="136"/>
                    <a:pt x="364" y="139"/>
                    <a:pt x="367" y="141"/>
                  </a:cubicBezTo>
                  <a:cubicBezTo>
                    <a:pt x="370" y="143"/>
                    <a:pt x="373" y="144"/>
                    <a:pt x="375" y="149"/>
                  </a:cubicBezTo>
                  <a:cubicBezTo>
                    <a:pt x="378" y="155"/>
                    <a:pt x="382" y="157"/>
                    <a:pt x="382" y="162"/>
                  </a:cubicBezTo>
                  <a:cubicBezTo>
                    <a:pt x="382" y="168"/>
                    <a:pt x="378" y="168"/>
                    <a:pt x="379" y="172"/>
                  </a:cubicBezTo>
                  <a:cubicBezTo>
                    <a:pt x="380" y="176"/>
                    <a:pt x="387" y="178"/>
                    <a:pt x="388" y="180"/>
                  </a:cubicBezTo>
                  <a:cubicBezTo>
                    <a:pt x="388" y="182"/>
                    <a:pt x="394" y="199"/>
                    <a:pt x="397" y="201"/>
                  </a:cubicBezTo>
                  <a:cubicBezTo>
                    <a:pt x="398" y="202"/>
                    <a:pt x="400" y="204"/>
                    <a:pt x="401" y="204"/>
                  </a:cubicBezTo>
                  <a:cubicBezTo>
                    <a:pt x="401" y="207"/>
                    <a:pt x="402" y="210"/>
                    <a:pt x="405" y="211"/>
                  </a:cubicBezTo>
                  <a:cubicBezTo>
                    <a:pt x="409" y="212"/>
                    <a:pt x="414" y="212"/>
                    <a:pt x="416" y="213"/>
                  </a:cubicBezTo>
                  <a:cubicBezTo>
                    <a:pt x="416" y="217"/>
                    <a:pt x="411" y="220"/>
                    <a:pt x="418" y="220"/>
                  </a:cubicBezTo>
                  <a:cubicBezTo>
                    <a:pt x="419" y="220"/>
                    <a:pt x="420" y="220"/>
                    <a:pt x="421" y="220"/>
                  </a:cubicBezTo>
                  <a:cubicBezTo>
                    <a:pt x="421" y="221"/>
                    <a:pt x="422" y="223"/>
                    <a:pt x="424" y="227"/>
                  </a:cubicBezTo>
                  <a:cubicBezTo>
                    <a:pt x="427" y="232"/>
                    <a:pt x="427" y="234"/>
                    <a:pt x="433" y="241"/>
                  </a:cubicBezTo>
                  <a:cubicBezTo>
                    <a:pt x="439" y="248"/>
                    <a:pt x="437" y="249"/>
                    <a:pt x="447" y="257"/>
                  </a:cubicBezTo>
                  <a:cubicBezTo>
                    <a:pt x="457" y="265"/>
                    <a:pt x="459" y="261"/>
                    <a:pt x="466" y="262"/>
                  </a:cubicBezTo>
                  <a:cubicBezTo>
                    <a:pt x="474" y="262"/>
                    <a:pt x="480" y="264"/>
                    <a:pt x="488" y="265"/>
                  </a:cubicBezTo>
                  <a:cubicBezTo>
                    <a:pt x="497" y="267"/>
                    <a:pt x="503" y="267"/>
                    <a:pt x="507" y="267"/>
                  </a:cubicBezTo>
                  <a:cubicBezTo>
                    <a:pt x="510" y="267"/>
                    <a:pt x="512" y="266"/>
                    <a:pt x="513" y="265"/>
                  </a:cubicBezTo>
                  <a:cubicBezTo>
                    <a:pt x="515" y="270"/>
                    <a:pt x="527" y="281"/>
                    <a:pt x="527" y="285"/>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33" name="Freeform 1112">
              <a:extLst>
                <a:ext uri="{FF2B5EF4-FFF2-40B4-BE49-F238E27FC236}">
                  <a16:creationId xmlns:a16="http://schemas.microsoft.com/office/drawing/2014/main" id="{C33CBD67-7C2C-5A4C-8591-42A1A7041267}"/>
                </a:ext>
              </a:extLst>
            </p:cNvPr>
            <p:cNvSpPr>
              <a:spLocks/>
            </p:cNvSpPr>
            <p:nvPr/>
          </p:nvSpPr>
          <p:spPr bwMode="auto">
            <a:xfrm>
              <a:off x="5251467" y="1997531"/>
              <a:ext cx="179388" cy="225425"/>
            </a:xfrm>
            <a:custGeom>
              <a:avLst/>
              <a:gdLst>
                <a:gd name="T0" fmla="*/ 185 w 188"/>
                <a:gd name="T1" fmla="*/ 78 h 238"/>
                <a:gd name="T2" fmla="*/ 181 w 188"/>
                <a:gd name="T3" fmla="*/ 96 h 238"/>
                <a:gd name="T4" fmla="*/ 169 w 188"/>
                <a:gd name="T5" fmla="*/ 107 h 238"/>
                <a:gd name="T6" fmla="*/ 162 w 188"/>
                <a:gd name="T7" fmla="*/ 117 h 238"/>
                <a:gd name="T8" fmla="*/ 158 w 188"/>
                <a:gd name="T9" fmla="*/ 129 h 238"/>
                <a:gd name="T10" fmla="*/ 151 w 188"/>
                <a:gd name="T11" fmla="*/ 134 h 238"/>
                <a:gd name="T12" fmla="*/ 146 w 188"/>
                <a:gd name="T13" fmla="*/ 130 h 238"/>
                <a:gd name="T14" fmla="*/ 141 w 188"/>
                <a:gd name="T15" fmla="*/ 142 h 238"/>
                <a:gd name="T16" fmla="*/ 140 w 188"/>
                <a:gd name="T17" fmla="*/ 153 h 238"/>
                <a:gd name="T18" fmla="*/ 140 w 188"/>
                <a:gd name="T19" fmla="*/ 165 h 238"/>
                <a:gd name="T20" fmla="*/ 140 w 188"/>
                <a:gd name="T21" fmla="*/ 173 h 238"/>
                <a:gd name="T22" fmla="*/ 129 w 188"/>
                <a:gd name="T23" fmla="*/ 174 h 238"/>
                <a:gd name="T24" fmla="*/ 119 w 188"/>
                <a:gd name="T25" fmla="*/ 180 h 238"/>
                <a:gd name="T26" fmla="*/ 115 w 188"/>
                <a:gd name="T27" fmla="*/ 191 h 238"/>
                <a:gd name="T28" fmla="*/ 107 w 188"/>
                <a:gd name="T29" fmla="*/ 201 h 238"/>
                <a:gd name="T30" fmla="*/ 94 w 188"/>
                <a:gd name="T31" fmla="*/ 202 h 238"/>
                <a:gd name="T32" fmla="*/ 80 w 188"/>
                <a:gd name="T33" fmla="*/ 220 h 238"/>
                <a:gd name="T34" fmla="*/ 79 w 188"/>
                <a:gd name="T35" fmla="*/ 228 h 238"/>
                <a:gd name="T36" fmla="*/ 64 w 188"/>
                <a:gd name="T37" fmla="*/ 228 h 238"/>
                <a:gd name="T38" fmla="*/ 52 w 188"/>
                <a:gd name="T39" fmla="*/ 233 h 238"/>
                <a:gd name="T40" fmla="*/ 37 w 188"/>
                <a:gd name="T41" fmla="*/ 237 h 238"/>
                <a:gd name="T42" fmla="*/ 30 w 188"/>
                <a:gd name="T43" fmla="*/ 237 h 238"/>
                <a:gd name="T44" fmla="*/ 0 w 188"/>
                <a:gd name="T45" fmla="*/ 172 h 238"/>
                <a:gd name="T46" fmla="*/ 1 w 188"/>
                <a:gd name="T47" fmla="*/ 172 h 238"/>
                <a:gd name="T48" fmla="*/ 71 w 188"/>
                <a:gd name="T49" fmla="*/ 143 h 238"/>
                <a:gd name="T50" fmla="*/ 84 w 188"/>
                <a:gd name="T51" fmla="*/ 88 h 238"/>
                <a:gd name="T52" fmla="*/ 70 w 188"/>
                <a:gd name="T53" fmla="*/ 68 h 238"/>
                <a:gd name="T54" fmla="*/ 69 w 188"/>
                <a:gd name="T55" fmla="*/ 68 h 238"/>
                <a:gd name="T56" fmla="*/ 73 w 188"/>
                <a:gd name="T57" fmla="*/ 50 h 238"/>
                <a:gd name="T58" fmla="*/ 77 w 188"/>
                <a:gd name="T59" fmla="*/ 33 h 238"/>
                <a:gd name="T60" fmla="*/ 85 w 188"/>
                <a:gd name="T61" fmla="*/ 26 h 238"/>
                <a:gd name="T62" fmla="*/ 80 w 188"/>
                <a:gd name="T63" fmla="*/ 15 h 238"/>
                <a:gd name="T64" fmla="*/ 84 w 188"/>
                <a:gd name="T65" fmla="*/ 6 h 238"/>
                <a:gd name="T66" fmla="*/ 95 w 188"/>
                <a:gd name="T67" fmla="*/ 4 h 238"/>
                <a:gd name="T68" fmla="*/ 95 w 188"/>
                <a:gd name="T69" fmla="*/ 5 h 238"/>
                <a:gd name="T70" fmla="*/ 104 w 188"/>
                <a:gd name="T71" fmla="*/ 19 h 238"/>
                <a:gd name="T72" fmla="*/ 120 w 188"/>
                <a:gd name="T73" fmla="*/ 33 h 238"/>
                <a:gd name="T74" fmla="*/ 143 w 188"/>
                <a:gd name="T75" fmla="*/ 41 h 238"/>
                <a:gd name="T76" fmla="*/ 156 w 188"/>
                <a:gd name="T77" fmla="*/ 44 h 238"/>
                <a:gd name="T78" fmla="*/ 162 w 188"/>
                <a:gd name="T79" fmla="*/ 53 h 238"/>
                <a:gd name="T80" fmla="*/ 171 w 188"/>
                <a:gd name="T81" fmla="*/ 64 h 238"/>
                <a:gd name="T82" fmla="*/ 177 w 188"/>
                <a:gd name="T83" fmla="*/ 69 h 238"/>
                <a:gd name="T84" fmla="*/ 185 w 188"/>
                <a:gd name="T85" fmla="*/ 7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8" h="238">
                  <a:moveTo>
                    <a:pt x="185" y="78"/>
                  </a:moveTo>
                  <a:cubicBezTo>
                    <a:pt x="183" y="83"/>
                    <a:pt x="185" y="91"/>
                    <a:pt x="181" y="96"/>
                  </a:cubicBezTo>
                  <a:cubicBezTo>
                    <a:pt x="176" y="100"/>
                    <a:pt x="172" y="102"/>
                    <a:pt x="169" y="107"/>
                  </a:cubicBezTo>
                  <a:cubicBezTo>
                    <a:pt x="166" y="112"/>
                    <a:pt x="163" y="111"/>
                    <a:pt x="162" y="117"/>
                  </a:cubicBezTo>
                  <a:cubicBezTo>
                    <a:pt x="161" y="124"/>
                    <a:pt x="160" y="125"/>
                    <a:pt x="158" y="129"/>
                  </a:cubicBezTo>
                  <a:cubicBezTo>
                    <a:pt x="157" y="134"/>
                    <a:pt x="153" y="137"/>
                    <a:pt x="151" y="134"/>
                  </a:cubicBezTo>
                  <a:cubicBezTo>
                    <a:pt x="149" y="131"/>
                    <a:pt x="150" y="125"/>
                    <a:pt x="146" y="130"/>
                  </a:cubicBezTo>
                  <a:cubicBezTo>
                    <a:pt x="142" y="136"/>
                    <a:pt x="141" y="138"/>
                    <a:pt x="141" y="142"/>
                  </a:cubicBezTo>
                  <a:cubicBezTo>
                    <a:pt x="141" y="147"/>
                    <a:pt x="140" y="149"/>
                    <a:pt x="140" y="153"/>
                  </a:cubicBezTo>
                  <a:cubicBezTo>
                    <a:pt x="140" y="156"/>
                    <a:pt x="139" y="162"/>
                    <a:pt x="140" y="165"/>
                  </a:cubicBezTo>
                  <a:cubicBezTo>
                    <a:pt x="141" y="168"/>
                    <a:pt x="144" y="173"/>
                    <a:pt x="140" y="173"/>
                  </a:cubicBezTo>
                  <a:cubicBezTo>
                    <a:pt x="137" y="174"/>
                    <a:pt x="132" y="173"/>
                    <a:pt x="129" y="174"/>
                  </a:cubicBezTo>
                  <a:cubicBezTo>
                    <a:pt x="126" y="176"/>
                    <a:pt x="121" y="176"/>
                    <a:pt x="119" y="180"/>
                  </a:cubicBezTo>
                  <a:cubicBezTo>
                    <a:pt x="118" y="184"/>
                    <a:pt x="115" y="187"/>
                    <a:pt x="115" y="191"/>
                  </a:cubicBezTo>
                  <a:cubicBezTo>
                    <a:pt x="115" y="195"/>
                    <a:pt x="111" y="201"/>
                    <a:pt x="107" y="201"/>
                  </a:cubicBezTo>
                  <a:cubicBezTo>
                    <a:pt x="104" y="201"/>
                    <a:pt x="107" y="194"/>
                    <a:pt x="94" y="202"/>
                  </a:cubicBezTo>
                  <a:cubicBezTo>
                    <a:pt x="81" y="211"/>
                    <a:pt x="79" y="217"/>
                    <a:pt x="80" y="220"/>
                  </a:cubicBezTo>
                  <a:cubicBezTo>
                    <a:pt x="81" y="222"/>
                    <a:pt x="85" y="228"/>
                    <a:pt x="79" y="228"/>
                  </a:cubicBezTo>
                  <a:cubicBezTo>
                    <a:pt x="72" y="229"/>
                    <a:pt x="71" y="228"/>
                    <a:pt x="64" y="228"/>
                  </a:cubicBezTo>
                  <a:cubicBezTo>
                    <a:pt x="56" y="228"/>
                    <a:pt x="54" y="230"/>
                    <a:pt x="52" y="233"/>
                  </a:cubicBezTo>
                  <a:cubicBezTo>
                    <a:pt x="49" y="235"/>
                    <a:pt x="40" y="236"/>
                    <a:pt x="37" y="237"/>
                  </a:cubicBezTo>
                  <a:cubicBezTo>
                    <a:pt x="34" y="238"/>
                    <a:pt x="32" y="237"/>
                    <a:pt x="30" y="237"/>
                  </a:cubicBezTo>
                  <a:cubicBezTo>
                    <a:pt x="26" y="229"/>
                    <a:pt x="4" y="181"/>
                    <a:pt x="0" y="172"/>
                  </a:cubicBezTo>
                  <a:cubicBezTo>
                    <a:pt x="0" y="172"/>
                    <a:pt x="1" y="172"/>
                    <a:pt x="1" y="172"/>
                  </a:cubicBezTo>
                  <a:cubicBezTo>
                    <a:pt x="3" y="171"/>
                    <a:pt x="66" y="148"/>
                    <a:pt x="71" y="143"/>
                  </a:cubicBezTo>
                  <a:cubicBezTo>
                    <a:pt x="75" y="137"/>
                    <a:pt x="83" y="92"/>
                    <a:pt x="84" y="88"/>
                  </a:cubicBezTo>
                  <a:cubicBezTo>
                    <a:pt x="84" y="84"/>
                    <a:pt x="72" y="73"/>
                    <a:pt x="70" y="68"/>
                  </a:cubicBezTo>
                  <a:cubicBezTo>
                    <a:pt x="70" y="68"/>
                    <a:pt x="69" y="68"/>
                    <a:pt x="69" y="68"/>
                  </a:cubicBezTo>
                  <a:cubicBezTo>
                    <a:pt x="68" y="63"/>
                    <a:pt x="67" y="61"/>
                    <a:pt x="73" y="50"/>
                  </a:cubicBezTo>
                  <a:cubicBezTo>
                    <a:pt x="79" y="39"/>
                    <a:pt x="69" y="35"/>
                    <a:pt x="77" y="33"/>
                  </a:cubicBezTo>
                  <a:cubicBezTo>
                    <a:pt x="84" y="31"/>
                    <a:pt x="89" y="30"/>
                    <a:pt x="85" y="26"/>
                  </a:cubicBezTo>
                  <a:cubicBezTo>
                    <a:pt x="81" y="22"/>
                    <a:pt x="79" y="19"/>
                    <a:pt x="80" y="15"/>
                  </a:cubicBezTo>
                  <a:cubicBezTo>
                    <a:pt x="82" y="11"/>
                    <a:pt x="80" y="0"/>
                    <a:pt x="84" y="6"/>
                  </a:cubicBezTo>
                  <a:cubicBezTo>
                    <a:pt x="88" y="10"/>
                    <a:pt x="93" y="8"/>
                    <a:pt x="95" y="4"/>
                  </a:cubicBezTo>
                  <a:cubicBezTo>
                    <a:pt x="95" y="4"/>
                    <a:pt x="95" y="4"/>
                    <a:pt x="95" y="5"/>
                  </a:cubicBezTo>
                  <a:cubicBezTo>
                    <a:pt x="98" y="11"/>
                    <a:pt x="100" y="12"/>
                    <a:pt x="104" y="19"/>
                  </a:cubicBezTo>
                  <a:cubicBezTo>
                    <a:pt x="108" y="27"/>
                    <a:pt x="110" y="28"/>
                    <a:pt x="120" y="33"/>
                  </a:cubicBezTo>
                  <a:cubicBezTo>
                    <a:pt x="130" y="38"/>
                    <a:pt x="132" y="38"/>
                    <a:pt x="143" y="41"/>
                  </a:cubicBezTo>
                  <a:cubicBezTo>
                    <a:pt x="154" y="43"/>
                    <a:pt x="153" y="41"/>
                    <a:pt x="156" y="44"/>
                  </a:cubicBezTo>
                  <a:cubicBezTo>
                    <a:pt x="159" y="48"/>
                    <a:pt x="156" y="47"/>
                    <a:pt x="162" y="53"/>
                  </a:cubicBezTo>
                  <a:cubicBezTo>
                    <a:pt x="169" y="60"/>
                    <a:pt x="169" y="60"/>
                    <a:pt x="171" y="64"/>
                  </a:cubicBezTo>
                  <a:cubicBezTo>
                    <a:pt x="174" y="68"/>
                    <a:pt x="172" y="67"/>
                    <a:pt x="177" y="69"/>
                  </a:cubicBezTo>
                  <a:cubicBezTo>
                    <a:pt x="183" y="72"/>
                    <a:pt x="188" y="74"/>
                    <a:pt x="185" y="78"/>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34" name="Freeform 1113">
              <a:extLst>
                <a:ext uri="{FF2B5EF4-FFF2-40B4-BE49-F238E27FC236}">
                  <a16:creationId xmlns:a16="http://schemas.microsoft.com/office/drawing/2014/main" id="{60F6366F-47B9-EC44-AC62-5C435B76C74B}"/>
                </a:ext>
              </a:extLst>
            </p:cNvPr>
            <p:cNvSpPr>
              <a:spLocks/>
            </p:cNvSpPr>
            <p:nvPr/>
          </p:nvSpPr>
          <p:spPr bwMode="auto">
            <a:xfrm>
              <a:off x="5289567" y="2326144"/>
              <a:ext cx="30163" cy="14288"/>
            </a:xfrm>
            <a:custGeom>
              <a:avLst/>
              <a:gdLst>
                <a:gd name="T0" fmla="*/ 19 w 31"/>
                <a:gd name="T1" fmla="*/ 1 h 14"/>
                <a:gd name="T2" fmla="*/ 16 w 31"/>
                <a:gd name="T3" fmla="*/ 4 h 14"/>
                <a:gd name="T4" fmla="*/ 10 w 31"/>
                <a:gd name="T5" fmla="*/ 2 h 14"/>
                <a:gd name="T6" fmla="*/ 7 w 31"/>
                <a:gd name="T7" fmla="*/ 1 h 14"/>
                <a:gd name="T8" fmla="*/ 3 w 31"/>
                <a:gd name="T9" fmla="*/ 4 h 14"/>
                <a:gd name="T10" fmla="*/ 2 w 31"/>
                <a:gd name="T11" fmla="*/ 9 h 14"/>
                <a:gd name="T12" fmla="*/ 8 w 31"/>
                <a:gd name="T13" fmla="*/ 13 h 14"/>
                <a:gd name="T14" fmla="*/ 18 w 31"/>
                <a:gd name="T15" fmla="*/ 12 h 14"/>
                <a:gd name="T16" fmla="*/ 25 w 31"/>
                <a:gd name="T17" fmla="*/ 10 h 14"/>
                <a:gd name="T18" fmla="*/ 29 w 31"/>
                <a:gd name="T19" fmla="*/ 7 h 14"/>
                <a:gd name="T20" fmla="*/ 26 w 31"/>
                <a:gd name="T21" fmla="*/ 2 h 14"/>
                <a:gd name="T22" fmla="*/ 19 w 31"/>
                <a:gd name="T23"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14">
                  <a:moveTo>
                    <a:pt x="19" y="1"/>
                  </a:moveTo>
                  <a:cubicBezTo>
                    <a:pt x="19" y="2"/>
                    <a:pt x="19" y="4"/>
                    <a:pt x="16" y="4"/>
                  </a:cubicBezTo>
                  <a:cubicBezTo>
                    <a:pt x="13" y="4"/>
                    <a:pt x="11" y="3"/>
                    <a:pt x="10" y="2"/>
                  </a:cubicBezTo>
                  <a:cubicBezTo>
                    <a:pt x="9" y="2"/>
                    <a:pt x="8" y="1"/>
                    <a:pt x="7" y="1"/>
                  </a:cubicBezTo>
                  <a:cubicBezTo>
                    <a:pt x="5" y="2"/>
                    <a:pt x="4" y="3"/>
                    <a:pt x="3" y="4"/>
                  </a:cubicBezTo>
                  <a:cubicBezTo>
                    <a:pt x="3" y="5"/>
                    <a:pt x="0" y="7"/>
                    <a:pt x="2" y="9"/>
                  </a:cubicBezTo>
                  <a:cubicBezTo>
                    <a:pt x="4" y="10"/>
                    <a:pt x="4" y="12"/>
                    <a:pt x="8" y="13"/>
                  </a:cubicBezTo>
                  <a:cubicBezTo>
                    <a:pt x="13" y="14"/>
                    <a:pt x="13" y="13"/>
                    <a:pt x="18" y="12"/>
                  </a:cubicBezTo>
                  <a:cubicBezTo>
                    <a:pt x="24" y="11"/>
                    <a:pt x="22" y="10"/>
                    <a:pt x="25" y="10"/>
                  </a:cubicBezTo>
                  <a:cubicBezTo>
                    <a:pt x="29" y="10"/>
                    <a:pt x="29" y="10"/>
                    <a:pt x="29" y="7"/>
                  </a:cubicBezTo>
                  <a:cubicBezTo>
                    <a:pt x="29" y="4"/>
                    <a:pt x="31" y="3"/>
                    <a:pt x="26" y="2"/>
                  </a:cubicBezTo>
                  <a:cubicBezTo>
                    <a:pt x="21" y="1"/>
                    <a:pt x="19" y="0"/>
                    <a:pt x="19" y="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35" name="Freeform 1114">
              <a:extLst>
                <a:ext uri="{FF2B5EF4-FFF2-40B4-BE49-F238E27FC236}">
                  <a16:creationId xmlns:a16="http://schemas.microsoft.com/office/drawing/2014/main" id="{F916920D-65A8-0F40-9405-D8CABE6093FE}"/>
                </a:ext>
              </a:extLst>
            </p:cNvPr>
            <p:cNvSpPr>
              <a:spLocks/>
            </p:cNvSpPr>
            <p:nvPr/>
          </p:nvSpPr>
          <p:spPr bwMode="auto">
            <a:xfrm>
              <a:off x="5033978" y="2161044"/>
              <a:ext cx="246063" cy="171450"/>
            </a:xfrm>
            <a:custGeom>
              <a:avLst/>
              <a:gdLst>
                <a:gd name="T0" fmla="*/ 258 w 258"/>
                <a:gd name="T1" fmla="*/ 65 h 180"/>
                <a:gd name="T2" fmla="*/ 254 w 258"/>
                <a:gd name="T3" fmla="*/ 67 h 180"/>
                <a:gd name="T4" fmla="*/ 238 w 258"/>
                <a:gd name="T5" fmla="*/ 77 h 180"/>
                <a:gd name="T6" fmla="*/ 237 w 258"/>
                <a:gd name="T7" fmla="*/ 89 h 180"/>
                <a:gd name="T8" fmla="*/ 228 w 258"/>
                <a:gd name="T9" fmla="*/ 101 h 180"/>
                <a:gd name="T10" fmla="*/ 210 w 258"/>
                <a:gd name="T11" fmla="*/ 106 h 180"/>
                <a:gd name="T12" fmla="*/ 199 w 258"/>
                <a:gd name="T13" fmla="*/ 111 h 180"/>
                <a:gd name="T14" fmla="*/ 180 w 258"/>
                <a:gd name="T15" fmla="*/ 115 h 180"/>
                <a:gd name="T16" fmla="*/ 169 w 258"/>
                <a:gd name="T17" fmla="*/ 120 h 180"/>
                <a:gd name="T18" fmla="*/ 158 w 258"/>
                <a:gd name="T19" fmla="*/ 132 h 180"/>
                <a:gd name="T20" fmla="*/ 151 w 258"/>
                <a:gd name="T21" fmla="*/ 138 h 180"/>
                <a:gd name="T22" fmla="*/ 138 w 258"/>
                <a:gd name="T23" fmla="*/ 139 h 180"/>
                <a:gd name="T24" fmla="*/ 126 w 258"/>
                <a:gd name="T25" fmla="*/ 145 h 180"/>
                <a:gd name="T26" fmla="*/ 118 w 258"/>
                <a:gd name="T27" fmla="*/ 151 h 180"/>
                <a:gd name="T28" fmla="*/ 107 w 258"/>
                <a:gd name="T29" fmla="*/ 156 h 180"/>
                <a:gd name="T30" fmla="*/ 92 w 258"/>
                <a:gd name="T31" fmla="*/ 156 h 180"/>
                <a:gd name="T32" fmla="*/ 77 w 258"/>
                <a:gd name="T33" fmla="*/ 156 h 180"/>
                <a:gd name="T34" fmla="*/ 72 w 258"/>
                <a:gd name="T35" fmla="*/ 166 h 180"/>
                <a:gd name="T36" fmla="*/ 60 w 258"/>
                <a:gd name="T37" fmla="*/ 173 h 180"/>
                <a:gd name="T38" fmla="*/ 51 w 258"/>
                <a:gd name="T39" fmla="*/ 175 h 180"/>
                <a:gd name="T40" fmla="*/ 38 w 258"/>
                <a:gd name="T41" fmla="*/ 176 h 180"/>
                <a:gd name="T42" fmla="*/ 30 w 258"/>
                <a:gd name="T43" fmla="*/ 177 h 180"/>
                <a:gd name="T44" fmla="*/ 23 w 258"/>
                <a:gd name="T45" fmla="*/ 173 h 180"/>
                <a:gd name="T46" fmla="*/ 21 w 258"/>
                <a:gd name="T47" fmla="*/ 166 h 180"/>
                <a:gd name="T48" fmla="*/ 17 w 258"/>
                <a:gd name="T49" fmla="*/ 146 h 180"/>
                <a:gd name="T50" fmla="*/ 12 w 258"/>
                <a:gd name="T51" fmla="*/ 135 h 180"/>
                <a:gd name="T52" fmla="*/ 10 w 258"/>
                <a:gd name="T53" fmla="*/ 123 h 180"/>
                <a:gd name="T54" fmla="*/ 4 w 258"/>
                <a:gd name="T55" fmla="*/ 107 h 180"/>
                <a:gd name="T56" fmla="*/ 3 w 258"/>
                <a:gd name="T57" fmla="*/ 100 h 180"/>
                <a:gd name="T58" fmla="*/ 3 w 258"/>
                <a:gd name="T59" fmla="*/ 84 h 180"/>
                <a:gd name="T60" fmla="*/ 2 w 258"/>
                <a:gd name="T61" fmla="*/ 67 h 180"/>
                <a:gd name="T62" fmla="*/ 0 w 258"/>
                <a:gd name="T63" fmla="*/ 64 h 180"/>
                <a:gd name="T64" fmla="*/ 8 w 258"/>
                <a:gd name="T65" fmla="*/ 70 h 180"/>
                <a:gd name="T66" fmla="*/ 14 w 258"/>
                <a:gd name="T67" fmla="*/ 60 h 180"/>
                <a:gd name="T68" fmla="*/ 17 w 258"/>
                <a:gd name="T69" fmla="*/ 43 h 180"/>
                <a:gd name="T70" fmla="*/ 27 w 258"/>
                <a:gd name="T71" fmla="*/ 44 h 180"/>
                <a:gd name="T72" fmla="*/ 45 w 258"/>
                <a:gd name="T73" fmla="*/ 44 h 180"/>
                <a:gd name="T74" fmla="*/ 56 w 258"/>
                <a:gd name="T75" fmla="*/ 50 h 180"/>
                <a:gd name="T76" fmla="*/ 73 w 258"/>
                <a:gd name="T77" fmla="*/ 57 h 180"/>
                <a:gd name="T78" fmla="*/ 90 w 258"/>
                <a:gd name="T79" fmla="*/ 65 h 180"/>
                <a:gd name="T80" fmla="*/ 93 w 258"/>
                <a:gd name="T81" fmla="*/ 94 h 180"/>
                <a:gd name="T82" fmla="*/ 122 w 258"/>
                <a:gd name="T83" fmla="*/ 55 h 180"/>
                <a:gd name="T84" fmla="*/ 150 w 258"/>
                <a:gd name="T85" fmla="*/ 20 h 180"/>
                <a:gd name="T86" fmla="*/ 228 w 258"/>
                <a:gd name="T87" fmla="*/ 0 h 180"/>
                <a:gd name="T88" fmla="*/ 258 w 258"/>
                <a:gd name="T89" fmla="*/ 6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8" h="180">
                  <a:moveTo>
                    <a:pt x="258" y="65"/>
                  </a:moveTo>
                  <a:cubicBezTo>
                    <a:pt x="257" y="65"/>
                    <a:pt x="255" y="66"/>
                    <a:pt x="254" y="67"/>
                  </a:cubicBezTo>
                  <a:cubicBezTo>
                    <a:pt x="249" y="70"/>
                    <a:pt x="238" y="74"/>
                    <a:pt x="238" y="77"/>
                  </a:cubicBezTo>
                  <a:cubicBezTo>
                    <a:pt x="237" y="80"/>
                    <a:pt x="237" y="81"/>
                    <a:pt x="237" y="89"/>
                  </a:cubicBezTo>
                  <a:cubicBezTo>
                    <a:pt x="236" y="97"/>
                    <a:pt x="236" y="99"/>
                    <a:pt x="228" y="101"/>
                  </a:cubicBezTo>
                  <a:cubicBezTo>
                    <a:pt x="219" y="104"/>
                    <a:pt x="219" y="102"/>
                    <a:pt x="210" y="106"/>
                  </a:cubicBezTo>
                  <a:cubicBezTo>
                    <a:pt x="201" y="110"/>
                    <a:pt x="208" y="108"/>
                    <a:pt x="199" y="111"/>
                  </a:cubicBezTo>
                  <a:cubicBezTo>
                    <a:pt x="190" y="113"/>
                    <a:pt x="186" y="112"/>
                    <a:pt x="180" y="115"/>
                  </a:cubicBezTo>
                  <a:cubicBezTo>
                    <a:pt x="175" y="118"/>
                    <a:pt x="176" y="115"/>
                    <a:pt x="169" y="120"/>
                  </a:cubicBezTo>
                  <a:cubicBezTo>
                    <a:pt x="162" y="126"/>
                    <a:pt x="162" y="127"/>
                    <a:pt x="158" y="132"/>
                  </a:cubicBezTo>
                  <a:cubicBezTo>
                    <a:pt x="155" y="136"/>
                    <a:pt x="158" y="138"/>
                    <a:pt x="151" y="138"/>
                  </a:cubicBezTo>
                  <a:cubicBezTo>
                    <a:pt x="143" y="139"/>
                    <a:pt x="143" y="136"/>
                    <a:pt x="138" y="139"/>
                  </a:cubicBezTo>
                  <a:cubicBezTo>
                    <a:pt x="132" y="142"/>
                    <a:pt x="128" y="144"/>
                    <a:pt x="126" y="145"/>
                  </a:cubicBezTo>
                  <a:cubicBezTo>
                    <a:pt x="124" y="147"/>
                    <a:pt x="122" y="148"/>
                    <a:pt x="118" y="151"/>
                  </a:cubicBezTo>
                  <a:cubicBezTo>
                    <a:pt x="115" y="153"/>
                    <a:pt x="110" y="156"/>
                    <a:pt x="107" y="156"/>
                  </a:cubicBezTo>
                  <a:cubicBezTo>
                    <a:pt x="103" y="156"/>
                    <a:pt x="100" y="156"/>
                    <a:pt x="92" y="156"/>
                  </a:cubicBezTo>
                  <a:cubicBezTo>
                    <a:pt x="83" y="156"/>
                    <a:pt x="78" y="153"/>
                    <a:pt x="77" y="156"/>
                  </a:cubicBezTo>
                  <a:cubicBezTo>
                    <a:pt x="76" y="158"/>
                    <a:pt x="77" y="162"/>
                    <a:pt x="72" y="166"/>
                  </a:cubicBezTo>
                  <a:cubicBezTo>
                    <a:pt x="67" y="169"/>
                    <a:pt x="64" y="171"/>
                    <a:pt x="60" y="173"/>
                  </a:cubicBezTo>
                  <a:cubicBezTo>
                    <a:pt x="55" y="174"/>
                    <a:pt x="58" y="174"/>
                    <a:pt x="51" y="175"/>
                  </a:cubicBezTo>
                  <a:cubicBezTo>
                    <a:pt x="43" y="176"/>
                    <a:pt x="47" y="176"/>
                    <a:pt x="38" y="176"/>
                  </a:cubicBezTo>
                  <a:cubicBezTo>
                    <a:pt x="30" y="177"/>
                    <a:pt x="35" y="180"/>
                    <a:pt x="30" y="177"/>
                  </a:cubicBezTo>
                  <a:cubicBezTo>
                    <a:pt x="25" y="174"/>
                    <a:pt x="23" y="177"/>
                    <a:pt x="23" y="173"/>
                  </a:cubicBezTo>
                  <a:cubicBezTo>
                    <a:pt x="23" y="170"/>
                    <a:pt x="23" y="178"/>
                    <a:pt x="21" y="166"/>
                  </a:cubicBezTo>
                  <a:cubicBezTo>
                    <a:pt x="19" y="153"/>
                    <a:pt x="15" y="152"/>
                    <a:pt x="17" y="146"/>
                  </a:cubicBezTo>
                  <a:cubicBezTo>
                    <a:pt x="18" y="140"/>
                    <a:pt x="12" y="140"/>
                    <a:pt x="12" y="135"/>
                  </a:cubicBezTo>
                  <a:cubicBezTo>
                    <a:pt x="12" y="130"/>
                    <a:pt x="12" y="128"/>
                    <a:pt x="10" y="123"/>
                  </a:cubicBezTo>
                  <a:cubicBezTo>
                    <a:pt x="7" y="117"/>
                    <a:pt x="6" y="110"/>
                    <a:pt x="4" y="107"/>
                  </a:cubicBezTo>
                  <a:cubicBezTo>
                    <a:pt x="2" y="105"/>
                    <a:pt x="2" y="101"/>
                    <a:pt x="3" y="100"/>
                  </a:cubicBezTo>
                  <a:cubicBezTo>
                    <a:pt x="5" y="99"/>
                    <a:pt x="3" y="92"/>
                    <a:pt x="3" y="84"/>
                  </a:cubicBezTo>
                  <a:cubicBezTo>
                    <a:pt x="3" y="76"/>
                    <a:pt x="5" y="74"/>
                    <a:pt x="2" y="67"/>
                  </a:cubicBezTo>
                  <a:cubicBezTo>
                    <a:pt x="1" y="66"/>
                    <a:pt x="0" y="65"/>
                    <a:pt x="0" y="64"/>
                  </a:cubicBezTo>
                  <a:cubicBezTo>
                    <a:pt x="2" y="66"/>
                    <a:pt x="6" y="70"/>
                    <a:pt x="8" y="70"/>
                  </a:cubicBezTo>
                  <a:cubicBezTo>
                    <a:pt x="10" y="69"/>
                    <a:pt x="14" y="66"/>
                    <a:pt x="14" y="60"/>
                  </a:cubicBezTo>
                  <a:cubicBezTo>
                    <a:pt x="14" y="55"/>
                    <a:pt x="14" y="43"/>
                    <a:pt x="17" y="43"/>
                  </a:cubicBezTo>
                  <a:cubicBezTo>
                    <a:pt x="20" y="43"/>
                    <a:pt x="21" y="42"/>
                    <a:pt x="27" y="44"/>
                  </a:cubicBezTo>
                  <a:cubicBezTo>
                    <a:pt x="33" y="46"/>
                    <a:pt x="43" y="44"/>
                    <a:pt x="45" y="44"/>
                  </a:cubicBezTo>
                  <a:cubicBezTo>
                    <a:pt x="47" y="44"/>
                    <a:pt x="49" y="46"/>
                    <a:pt x="56" y="50"/>
                  </a:cubicBezTo>
                  <a:cubicBezTo>
                    <a:pt x="63" y="53"/>
                    <a:pt x="63" y="53"/>
                    <a:pt x="73" y="57"/>
                  </a:cubicBezTo>
                  <a:cubicBezTo>
                    <a:pt x="82" y="61"/>
                    <a:pt x="89" y="61"/>
                    <a:pt x="90" y="65"/>
                  </a:cubicBezTo>
                  <a:cubicBezTo>
                    <a:pt x="92" y="70"/>
                    <a:pt x="89" y="95"/>
                    <a:pt x="93" y="94"/>
                  </a:cubicBezTo>
                  <a:cubicBezTo>
                    <a:pt x="96" y="93"/>
                    <a:pt x="120" y="61"/>
                    <a:pt x="122" y="55"/>
                  </a:cubicBezTo>
                  <a:cubicBezTo>
                    <a:pt x="125" y="49"/>
                    <a:pt x="136" y="26"/>
                    <a:pt x="150" y="20"/>
                  </a:cubicBezTo>
                  <a:cubicBezTo>
                    <a:pt x="163" y="15"/>
                    <a:pt x="220" y="3"/>
                    <a:pt x="228" y="0"/>
                  </a:cubicBezTo>
                  <a:cubicBezTo>
                    <a:pt x="232" y="9"/>
                    <a:pt x="254" y="57"/>
                    <a:pt x="258" y="65"/>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36" name="Freeform 1115">
              <a:extLst>
                <a:ext uri="{FF2B5EF4-FFF2-40B4-BE49-F238E27FC236}">
                  <a16:creationId xmlns:a16="http://schemas.microsoft.com/office/drawing/2014/main" id="{69E9D885-8773-AB44-862C-E92D7414C7D8}"/>
                </a:ext>
              </a:extLst>
            </p:cNvPr>
            <p:cNvSpPr>
              <a:spLocks/>
            </p:cNvSpPr>
            <p:nvPr/>
          </p:nvSpPr>
          <p:spPr bwMode="auto">
            <a:xfrm>
              <a:off x="5230829" y="1961019"/>
              <a:ext cx="112713" cy="103188"/>
            </a:xfrm>
            <a:custGeom>
              <a:avLst/>
              <a:gdLst>
                <a:gd name="T0" fmla="*/ 117 w 118"/>
                <a:gd name="T1" fmla="*/ 41 h 107"/>
                <a:gd name="T2" fmla="*/ 106 w 118"/>
                <a:gd name="T3" fmla="*/ 43 h 107"/>
                <a:gd name="T4" fmla="*/ 102 w 118"/>
                <a:gd name="T5" fmla="*/ 52 h 107"/>
                <a:gd name="T6" fmla="*/ 107 w 118"/>
                <a:gd name="T7" fmla="*/ 63 h 107"/>
                <a:gd name="T8" fmla="*/ 99 w 118"/>
                <a:gd name="T9" fmla="*/ 70 h 107"/>
                <a:gd name="T10" fmla="*/ 95 w 118"/>
                <a:gd name="T11" fmla="*/ 87 h 107"/>
                <a:gd name="T12" fmla="*/ 91 w 118"/>
                <a:gd name="T13" fmla="*/ 105 h 107"/>
                <a:gd name="T14" fmla="*/ 92 w 118"/>
                <a:gd name="T15" fmla="*/ 105 h 107"/>
                <a:gd name="T16" fmla="*/ 86 w 118"/>
                <a:gd name="T17" fmla="*/ 107 h 107"/>
                <a:gd name="T18" fmla="*/ 67 w 118"/>
                <a:gd name="T19" fmla="*/ 105 h 107"/>
                <a:gd name="T20" fmla="*/ 45 w 118"/>
                <a:gd name="T21" fmla="*/ 102 h 107"/>
                <a:gd name="T22" fmla="*/ 26 w 118"/>
                <a:gd name="T23" fmla="*/ 97 h 107"/>
                <a:gd name="T24" fmla="*/ 12 w 118"/>
                <a:gd name="T25" fmla="*/ 81 h 107"/>
                <a:gd name="T26" fmla="*/ 3 w 118"/>
                <a:gd name="T27" fmla="*/ 67 h 107"/>
                <a:gd name="T28" fmla="*/ 0 w 118"/>
                <a:gd name="T29" fmla="*/ 60 h 107"/>
                <a:gd name="T30" fmla="*/ 6 w 118"/>
                <a:gd name="T31" fmla="*/ 63 h 107"/>
                <a:gd name="T32" fmla="*/ 13 w 118"/>
                <a:gd name="T33" fmla="*/ 67 h 107"/>
                <a:gd name="T34" fmla="*/ 28 w 118"/>
                <a:gd name="T35" fmla="*/ 62 h 107"/>
                <a:gd name="T36" fmla="*/ 42 w 118"/>
                <a:gd name="T37" fmla="*/ 65 h 107"/>
                <a:gd name="T38" fmla="*/ 55 w 118"/>
                <a:gd name="T39" fmla="*/ 64 h 107"/>
                <a:gd name="T40" fmla="*/ 68 w 118"/>
                <a:gd name="T41" fmla="*/ 58 h 107"/>
                <a:gd name="T42" fmla="*/ 78 w 118"/>
                <a:gd name="T43" fmla="*/ 45 h 107"/>
                <a:gd name="T44" fmla="*/ 89 w 118"/>
                <a:gd name="T45" fmla="*/ 29 h 107"/>
                <a:gd name="T46" fmla="*/ 100 w 118"/>
                <a:gd name="T47" fmla="*/ 17 h 107"/>
                <a:gd name="T48" fmla="*/ 109 w 118"/>
                <a:gd name="T49" fmla="*/ 7 h 107"/>
                <a:gd name="T50" fmla="*/ 116 w 118"/>
                <a:gd name="T51" fmla="*/ 5 h 107"/>
                <a:gd name="T52" fmla="*/ 115 w 118"/>
                <a:gd name="T53" fmla="*/ 18 h 107"/>
                <a:gd name="T54" fmla="*/ 115 w 118"/>
                <a:gd name="T55" fmla="*/ 30 h 107"/>
                <a:gd name="T56" fmla="*/ 117 w 118"/>
                <a:gd name="T57" fmla="*/ 4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 h="107">
                  <a:moveTo>
                    <a:pt x="117" y="41"/>
                  </a:moveTo>
                  <a:cubicBezTo>
                    <a:pt x="115" y="45"/>
                    <a:pt x="110" y="47"/>
                    <a:pt x="106" y="43"/>
                  </a:cubicBezTo>
                  <a:cubicBezTo>
                    <a:pt x="102" y="37"/>
                    <a:pt x="104" y="48"/>
                    <a:pt x="102" y="52"/>
                  </a:cubicBezTo>
                  <a:cubicBezTo>
                    <a:pt x="101" y="56"/>
                    <a:pt x="103" y="59"/>
                    <a:pt x="107" y="63"/>
                  </a:cubicBezTo>
                  <a:cubicBezTo>
                    <a:pt x="111" y="67"/>
                    <a:pt x="106" y="68"/>
                    <a:pt x="99" y="70"/>
                  </a:cubicBezTo>
                  <a:cubicBezTo>
                    <a:pt x="91" y="72"/>
                    <a:pt x="101" y="76"/>
                    <a:pt x="95" y="87"/>
                  </a:cubicBezTo>
                  <a:cubicBezTo>
                    <a:pt x="89" y="98"/>
                    <a:pt x="90" y="100"/>
                    <a:pt x="91" y="105"/>
                  </a:cubicBezTo>
                  <a:cubicBezTo>
                    <a:pt x="91" y="105"/>
                    <a:pt x="92" y="105"/>
                    <a:pt x="92" y="105"/>
                  </a:cubicBezTo>
                  <a:cubicBezTo>
                    <a:pt x="91" y="106"/>
                    <a:pt x="89" y="107"/>
                    <a:pt x="86" y="107"/>
                  </a:cubicBezTo>
                  <a:cubicBezTo>
                    <a:pt x="82" y="107"/>
                    <a:pt x="76" y="107"/>
                    <a:pt x="67" y="105"/>
                  </a:cubicBezTo>
                  <a:cubicBezTo>
                    <a:pt x="59" y="104"/>
                    <a:pt x="53" y="102"/>
                    <a:pt x="45" y="102"/>
                  </a:cubicBezTo>
                  <a:cubicBezTo>
                    <a:pt x="38" y="101"/>
                    <a:pt x="36" y="105"/>
                    <a:pt x="26" y="97"/>
                  </a:cubicBezTo>
                  <a:cubicBezTo>
                    <a:pt x="16" y="89"/>
                    <a:pt x="18" y="88"/>
                    <a:pt x="12" y="81"/>
                  </a:cubicBezTo>
                  <a:cubicBezTo>
                    <a:pt x="6" y="74"/>
                    <a:pt x="6" y="72"/>
                    <a:pt x="3" y="67"/>
                  </a:cubicBezTo>
                  <a:cubicBezTo>
                    <a:pt x="1" y="63"/>
                    <a:pt x="0" y="61"/>
                    <a:pt x="0" y="60"/>
                  </a:cubicBezTo>
                  <a:cubicBezTo>
                    <a:pt x="4" y="60"/>
                    <a:pt x="5" y="61"/>
                    <a:pt x="6" y="63"/>
                  </a:cubicBezTo>
                  <a:cubicBezTo>
                    <a:pt x="6" y="65"/>
                    <a:pt x="7" y="67"/>
                    <a:pt x="13" y="67"/>
                  </a:cubicBezTo>
                  <a:cubicBezTo>
                    <a:pt x="20" y="67"/>
                    <a:pt x="25" y="62"/>
                    <a:pt x="28" y="62"/>
                  </a:cubicBezTo>
                  <a:cubicBezTo>
                    <a:pt x="30" y="62"/>
                    <a:pt x="38" y="64"/>
                    <a:pt x="42" y="65"/>
                  </a:cubicBezTo>
                  <a:cubicBezTo>
                    <a:pt x="47" y="66"/>
                    <a:pt x="48" y="64"/>
                    <a:pt x="55" y="64"/>
                  </a:cubicBezTo>
                  <a:cubicBezTo>
                    <a:pt x="62" y="63"/>
                    <a:pt x="62" y="65"/>
                    <a:pt x="68" y="58"/>
                  </a:cubicBezTo>
                  <a:cubicBezTo>
                    <a:pt x="74" y="51"/>
                    <a:pt x="72" y="55"/>
                    <a:pt x="78" y="45"/>
                  </a:cubicBezTo>
                  <a:cubicBezTo>
                    <a:pt x="84" y="34"/>
                    <a:pt x="81" y="37"/>
                    <a:pt x="89" y="29"/>
                  </a:cubicBezTo>
                  <a:cubicBezTo>
                    <a:pt x="98" y="22"/>
                    <a:pt x="93" y="24"/>
                    <a:pt x="100" y="17"/>
                  </a:cubicBezTo>
                  <a:cubicBezTo>
                    <a:pt x="108" y="11"/>
                    <a:pt x="107" y="11"/>
                    <a:pt x="109" y="7"/>
                  </a:cubicBezTo>
                  <a:cubicBezTo>
                    <a:pt x="110" y="3"/>
                    <a:pt x="116" y="0"/>
                    <a:pt x="116" y="5"/>
                  </a:cubicBezTo>
                  <a:cubicBezTo>
                    <a:pt x="116" y="10"/>
                    <a:pt x="116" y="14"/>
                    <a:pt x="115" y="18"/>
                  </a:cubicBezTo>
                  <a:cubicBezTo>
                    <a:pt x="113" y="23"/>
                    <a:pt x="112" y="25"/>
                    <a:pt x="115" y="30"/>
                  </a:cubicBezTo>
                  <a:cubicBezTo>
                    <a:pt x="118" y="35"/>
                    <a:pt x="114" y="36"/>
                    <a:pt x="117" y="4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37" name="Freeform 1116">
              <a:extLst>
                <a:ext uri="{FF2B5EF4-FFF2-40B4-BE49-F238E27FC236}">
                  <a16:creationId xmlns:a16="http://schemas.microsoft.com/office/drawing/2014/main" id="{46DB66A3-D2DB-7742-B4A8-0B75F2926C12}"/>
                </a:ext>
              </a:extLst>
            </p:cNvPr>
            <p:cNvSpPr>
              <a:spLocks/>
            </p:cNvSpPr>
            <p:nvPr/>
          </p:nvSpPr>
          <p:spPr bwMode="auto">
            <a:xfrm>
              <a:off x="5210192" y="1968956"/>
              <a:ext cx="22225" cy="42863"/>
            </a:xfrm>
            <a:custGeom>
              <a:avLst/>
              <a:gdLst>
                <a:gd name="T0" fmla="*/ 22 w 24"/>
                <a:gd name="T1" fmla="*/ 8 h 45"/>
                <a:gd name="T2" fmla="*/ 19 w 24"/>
                <a:gd name="T3" fmla="*/ 20 h 45"/>
                <a:gd name="T4" fmla="*/ 21 w 24"/>
                <a:gd name="T5" fmla="*/ 33 h 45"/>
                <a:gd name="T6" fmla="*/ 18 w 24"/>
                <a:gd name="T7" fmla="*/ 45 h 45"/>
                <a:gd name="T8" fmla="*/ 17 w 24"/>
                <a:gd name="T9" fmla="*/ 45 h 45"/>
                <a:gd name="T10" fmla="*/ 6 w 24"/>
                <a:gd name="T11" fmla="*/ 43 h 45"/>
                <a:gd name="T12" fmla="*/ 2 w 24"/>
                <a:gd name="T13" fmla="*/ 36 h 45"/>
                <a:gd name="T14" fmla="*/ 3 w 24"/>
                <a:gd name="T15" fmla="*/ 33 h 45"/>
                <a:gd name="T16" fmla="*/ 1 w 24"/>
                <a:gd name="T17" fmla="*/ 19 h 45"/>
                <a:gd name="T18" fmla="*/ 6 w 24"/>
                <a:gd name="T19" fmla="*/ 9 h 45"/>
                <a:gd name="T20" fmla="*/ 12 w 24"/>
                <a:gd name="T21" fmla="*/ 1 h 45"/>
                <a:gd name="T22" fmla="*/ 22 w 24"/>
                <a:gd name="T2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45">
                  <a:moveTo>
                    <a:pt x="22" y="8"/>
                  </a:moveTo>
                  <a:cubicBezTo>
                    <a:pt x="21" y="11"/>
                    <a:pt x="16" y="16"/>
                    <a:pt x="19" y="20"/>
                  </a:cubicBezTo>
                  <a:cubicBezTo>
                    <a:pt x="21" y="24"/>
                    <a:pt x="23" y="23"/>
                    <a:pt x="21" y="33"/>
                  </a:cubicBezTo>
                  <a:cubicBezTo>
                    <a:pt x="20" y="42"/>
                    <a:pt x="18" y="40"/>
                    <a:pt x="18" y="45"/>
                  </a:cubicBezTo>
                  <a:cubicBezTo>
                    <a:pt x="18" y="45"/>
                    <a:pt x="18" y="45"/>
                    <a:pt x="17" y="45"/>
                  </a:cubicBezTo>
                  <a:cubicBezTo>
                    <a:pt x="15" y="44"/>
                    <a:pt x="10" y="44"/>
                    <a:pt x="6" y="43"/>
                  </a:cubicBezTo>
                  <a:cubicBezTo>
                    <a:pt x="3" y="42"/>
                    <a:pt x="2" y="39"/>
                    <a:pt x="2" y="36"/>
                  </a:cubicBezTo>
                  <a:cubicBezTo>
                    <a:pt x="3" y="37"/>
                    <a:pt x="4" y="36"/>
                    <a:pt x="3" y="33"/>
                  </a:cubicBezTo>
                  <a:cubicBezTo>
                    <a:pt x="2" y="27"/>
                    <a:pt x="0" y="26"/>
                    <a:pt x="1" y="19"/>
                  </a:cubicBezTo>
                  <a:cubicBezTo>
                    <a:pt x="3" y="13"/>
                    <a:pt x="5" y="15"/>
                    <a:pt x="6" y="9"/>
                  </a:cubicBezTo>
                  <a:cubicBezTo>
                    <a:pt x="6" y="2"/>
                    <a:pt x="8" y="0"/>
                    <a:pt x="12" y="1"/>
                  </a:cubicBezTo>
                  <a:cubicBezTo>
                    <a:pt x="16" y="2"/>
                    <a:pt x="24" y="5"/>
                    <a:pt x="22" y="8"/>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38" name="Freeform 1117">
              <a:extLst>
                <a:ext uri="{FF2B5EF4-FFF2-40B4-BE49-F238E27FC236}">
                  <a16:creationId xmlns:a16="http://schemas.microsoft.com/office/drawing/2014/main" id="{E8FA60AF-AB3D-1E44-A65E-68EB9A1763DD}"/>
                </a:ext>
              </a:extLst>
            </p:cNvPr>
            <p:cNvSpPr>
              <a:spLocks/>
            </p:cNvSpPr>
            <p:nvPr/>
          </p:nvSpPr>
          <p:spPr bwMode="auto">
            <a:xfrm>
              <a:off x="5105416" y="1864181"/>
              <a:ext cx="42863" cy="42863"/>
            </a:xfrm>
            <a:custGeom>
              <a:avLst/>
              <a:gdLst>
                <a:gd name="T0" fmla="*/ 46 w 46"/>
                <a:gd name="T1" fmla="*/ 42 h 44"/>
                <a:gd name="T2" fmla="*/ 30 w 46"/>
                <a:gd name="T3" fmla="*/ 43 h 44"/>
                <a:gd name="T4" fmla="*/ 22 w 46"/>
                <a:gd name="T5" fmla="*/ 33 h 44"/>
                <a:gd name="T6" fmla="*/ 8 w 46"/>
                <a:gd name="T7" fmla="*/ 28 h 44"/>
                <a:gd name="T8" fmla="*/ 0 w 46"/>
                <a:gd name="T9" fmla="*/ 26 h 44"/>
                <a:gd name="T10" fmla="*/ 1 w 46"/>
                <a:gd name="T11" fmla="*/ 25 h 44"/>
                <a:gd name="T12" fmla="*/ 8 w 46"/>
                <a:gd name="T13" fmla="*/ 5 h 44"/>
                <a:gd name="T14" fmla="*/ 29 w 46"/>
                <a:gd name="T15" fmla="*/ 1 h 44"/>
                <a:gd name="T16" fmla="*/ 35 w 46"/>
                <a:gd name="T17" fmla="*/ 3 h 44"/>
                <a:gd name="T18" fmla="*/ 35 w 46"/>
                <a:gd name="T19" fmla="*/ 4 h 44"/>
                <a:gd name="T20" fmla="*/ 42 w 46"/>
                <a:gd name="T21" fmla="*/ 11 h 44"/>
                <a:gd name="T22" fmla="*/ 37 w 46"/>
                <a:gd name="T23" fmla="*/ 14 h 44"/>
                <a:gd name="T24" fmla="*/ 26 w 46"/>
                <a:gd name="T25" fmla="*/ 18 h 44"/>
                <a:gd name="T26" fmla="*/ 35 w 46"/>
                <a:gd name="T27" fmla="*/ 22 h 44"/>
                <a:gd name="T28" fmla="*/ 41 w 46"/>
                <a:gd name="T29" fmla="*/ 35 h 44"/>
                <a:gd name="T30" fmla="*/ 46 w 46"/>
                <a:gd name="T31" fmla="*/ 4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44">
                  <a:moveTo>
                    <a:pt x="46" y="42"/>
                  </a:moveTo>
                  <a:cubicBezTo>
                    <a:pt x="43" y="43"/>
                    <a:pt x="35" y="44"/>
                    <a:pt x="30" y="43"/>
                  </a:cubicBezTo>
                  <a:cubicBezTo>
                    <a:pt x="23" y="43"/>
                    <a:pt x="24" y="37"/>
                    <a:pt x="22" y="33"/>
                  </a:cubicBezTo>
                  <a:cubicBezTo>
                    <a:pt x="19" y="28"/>
                    <a:pt x="15" y="28"/>
                    <a:pt x="8" y="28"/>
                  </a:cubicBezTo>
                  <a:cubicBezTo>
                    <a:pt x="3" y="27"/>
                    <a:pt x="1" y="27"/>
                    <a:pt x="0" y="26"/>
                  </a:cubicBezTo>
                  <a:cubicBezTo>
                    <a:pt x="0" y="26"/>
                    <a:pt x="1" y="25"/>
                    <a:pt x="1" y="25"/>
                  </a:cubicBezTo>
                  <a:cubicBezTo>
                    <a:pt x="3" y="20"/>
                    <a:pt x="5" y="8"/>
                    <a:pt x="8" y="5"/>
                  </a:cubicBezTo>
                  <a:cubicBezTo>
                    <a:pt x="12" y="1"/>
                    <a:pt x="27" y="0"/>
                    <a:pt x="29" y="1"/>
                  </a:cubicBezTo>
                  <a:cubicBezTo>
                    <a:pt x="31" y="2"/>
                    <a:pt x="34" y="3"/>
                    <a:pt x="35" y="3"/>
                  </a:cubicBezTo>
                  <a:cubicBezTo>
                    <a:pt x="35" y="4"/>
                    <a:pt x="35" y="4"/>
                    <a:pt x="35" y="4"/>
                  </a:cubicBezTo>
                  <a:cubicBezTo>
                    <a:pt x="38" y="7"/>
                    <a:pt x="42" y="9"/>
                    <a:pt x="42" y="11"/>
                  </a:cubicBezTo>
                  <a:cubicBezTo>
                    <a:pt x="42" y="13"/>
                    <a:pt x="42" y="12"/>
                    <a:pt x="37" y="14"/>
                  </a:cubicBezTo>
                  <a:cubicBezTo>
                    <a:pt x="32" y="15"/>
                    <a:pt x="24" y="15"/>
                    <a:pt x="26" y="18"/>
                  </a:cubicBezTo>
                  <a:cubicBezTo>
                    <a:pt x="29" y="21"/>
                    <a:pt x="35" y="19"/>
                    <a:pt x="35" y="22"/>
                  </a:cubicBezTo>
                  <a:cubicBezTo>
                    <a:pt x="36" y="25"/>
                    <a:pt x="40" y="30"/>
                    <a:pt x="41" y="35"/>
                  </a:cubicBezTo>
                  <a:cubicBezTo>
                    <a:pt x="42" y="38"/>
                    <a:pt x="45" y="38"/>
                    <a:pt x="46" y="4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39" name="Freeform 1118">
              <a:extLst>
                <a:ext uri="{FF2B5EF4-FFF2-40B4-BE49-F238E27FC236}">
                  <a16:creationId xmlns:a16="http://schemas.microsoft.com/office/drawing/2014/main" id="{17BFDAFA-C910-5040-8B6C-84F799DC7667}"/>
                </a:ext>
              </a:extLst>
            </p:cNvPr>
            <p:cNvSpPr>
              <a:spLocks/>
            </p:cNvSpPr>
            <p:nvPr/>
          </p:nvSpPr>
          <p:spPr bwMode="auto">
            <a:xfrm>
              <a:off x="5202254" y="1956256"/>
              <a:ext cx="11113" cy="20638"/>
            </a:xfrm>
            <a:custGeom>
              <a:avLst/>
              <a:gdLst>
                <a:gd name="T0" fmla="*/ 2 w 11"/>
                <a:gd name="T1" fmla="*/ 8 h 21"/>
                <a:gd name="T2" fmla="*/ 0 w 11"/>
                <a:gd name="T3" fmla="*/ 12 h 21"/>
                <a:gd name="T4" fmla="*/ 1 w 11"/>
                <a:gd name="T5" fmla="*/ 18 h 21"/>
                <a:gd name="T6" fmla="*/ 4 w 11"/>
                <a:gd name="T7" fmla="*/ 18 h 21"/>
                <a:gd name="T8" fmla="*/ 8 w 11"/>
                <a:gd name="T9" fmla="*/ 12 h 21"/>
                <a:gd name="T10" fmla="*/ 9 w 11"/>
                <a:gd name="T11" fmla="*/ 4 h 21"/>
                <a:gd name="T12" fmla="*/ 4 w 11"/>
                <a:gd name="T13" fmla="*/ 2 h 21"/>
                <a:gd name="T14" fmla="*/ 2 w 11"/>
                <a:gd name="T15" fmla="*/ 8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1">
                  <a:moveTo>
                    <a:pt x="2" y="8"/>
                  </a:moveTo>
                  <a:cubicBezTo>
                    <a:pt x="1" y="10"/>
                    <a:pt x="0" y="10"/>
                    <a:pt x="0" y="12"/>
                  </a:cubicBezTo>
                  <a:cubicBezTo>
                    <a:pt x="0" y="14"/>
                    <a:pt x="0" y="16"/>
                    <a:pt x="1" y="18"/>
                  </a:cubicBezTo>
                  <a:cubicBezTo>
                    <a:pt x="2" y="21"/>
                    <a:pt x="2" y="21"/>
                    <a:pt x="4" y="18"/>
                  </a:cubicBezTo>
                  <a:cubicBezTo>
                    <a:pt x="7" y="16"/>
                    <a:pt x="7" y="17"/>
                    <a:pt x="8" y="12"/>
                  </a:cubicBezTo>
                  <a:cubicBezTo>
                    <a:pt x="9" y="8"/>
                    <a:pt x="11" y="4"/>
                    <a:pt x="9" y="4"/>
                  </a:cubicBezTo>
                  <a:cubicBezTo>
                    <a:pt x="7" y="3"/>
                    <a:pt x="4" y="0"/>
                    <a:pt x="4" y="2"/>
                  </a:cubicBezTo>
                  <a:cubicBezTo>
                    <a:pt x="3" y="5"/>
                    <a:pt x="2" y="7"/>
                    <a:pt x="2" y="8"/>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40" name="Freeform 1119">
              <a:extLst>
                <a:ext uri="{FF2B5EF4-FFF2-40B4-BE49-F238E27FC236}">
                  <a16:creationId xmlns:a16="http://schemas.microsoft.com/office/drawing/2014/main" id="{7DA539F6-4EF2-F84F-BB9C-D93250FA9F01}"/>
                </a:ext>
              </a:extLst>
            </p:cNvPr>
            <p:cNvSpPr>
              <a:spLocks/>
            </p:cNvSpPr>
            <p:nvPr/>
          </p:nvSpPr>
          <p:spPr bwMode="auto">
            <a:xfrm>
              <a:off x="7178698" y="1480006"/>
              <a:ext cx="12700" cy="17463"/>
            </a:xfrm>
            <a:custGeom>
              <a:avLst/>
              <a:gdLst>
                <a:gd name="T0" fmla="*/ 5 w 13"/>
                <a:gd name="T1" fmla="*/ 19 h 19"/>
                <a:gd name="T2" fmla="*/ 11 w 13"/>
                <a:gd name="T3" fmla="*/ 8 h 19"/>
                <a:gd name="T4" fmla="*/ 8 w 13"/>
                <a:gd name="T5" fmla="*/ 1 h 19"/>
                <a:gd name="T6" fmla="*/ 0 w 13"/>
                <a:gd name="T7" fmla="*/ 7 h 19"/>
                <a:gd name="T8" fmla="*/ 5 w 13"/>
                <a:gd name="T9" fmla="*/ 19 h 19"/>
              </a:gdLst>
              <a:ahLst/>
              <a:cxnLst>
                <a:cxn ang="0">
                  <a:pos x="T0" y="T1"/>
                </a:cxn>
                <a:cxn ang="0">
                  <a:pos x="T2" y="T3"/>
                </a:cxn>
                <a:cxn ang="0">
                  <a:pos x="T4" y="T5"/>
                </a:cxn>
                <a:cxn ang="0">
                  <a:pos x="T6" y="T7"/>
                </a:cxn>
                <a:cxn ang="0">
                  <a:pos x="T8" y="T9"/>
                </a:cxn>
              </a:cxnLst>
              <a:rect l="0" t="0" r="r" b="b"/>
              <a:pathLst>
                <a:path w="13" h="19">
                  <a:moveTo>
                    <a:pt x="5" y="19"/>
                  </a:moveTo>
                  <a:cubicBezTo>
                    <a:pt x="7" y="13"/>
                    <a:pt x="8" y="13"/>
                    <a:pt x="11" y="8"/>
                  </a:cubicBezTo>
                  <a:cubicBezTo>
                    <a:pt x="13" y="4"/>
                    <a:pt x="12" y="0"/>
                    <a:pt x="8" y="1"/>
                  </a:cubicBezTo>
                  <a:cubicBezTo>
                    <a:pt x="3" y="2"/>
                    <a:pt x="0" y="1"/>
                    <a:pt x="0" y="7"/>
                  </a:cubicBezTo>
                  <a:cubicBezTo>
                    <a:pt x="0" y="12"/>
                    <a:pt x="0" y="19"/>
                    <a:pt x="5" y="1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41" name="Freeform 1120">
              <a:extLst>
                <a:ext uri="{FF2B5EF4-FFF2-40B4-BE49-F238E27FC236}">
                  <a16:creationId xmlns:a16="http://schemas.microsoft.com/office/drawing/2014/main" id="{15D99F74-A971-1A4E-8EB6-E09029FF4A07}"/>
                </a:ext>
              </a:extLst>
            </p:cNvPr>
            <p:cNvSpPr>
              <a:spLocks/>
            </p:cNvSpPr>
            <p:nvPr/>
          </p:nvSpPr>
          <p:spPr bwMode="auto">
            <a:xfrm>
              <a:off x="7194573" y="1451431"/>
              <a:ext cx="36513" cy="33338"/>
            </a:xfrm>
            <a:custGeom>
              <a:avLst/>
              <a:gdLst>
                <a:gd name="T0" fmla="*/ 7 w 38"/>
                <a:gd name="T1" fmla="*/ 35 h 35"/>
                <a:gd name="T2" fmla="*/ 11 w 38"/>
                <a:gd name="T3" fmla="*/ 25 h 35"/>
                <a:gd name="T4" fmla="*/ 16 w 38"/>
                <a:gd name="T5" fmla="*/ 18 h 35"/>
                <a:gd name="T6" fmla="*/ 29 w 38"/>
                <a:gd name="T7" fmla="*/ 9 h 35"/>
                <a:gd name="T8" fmla="*/ 29 w 38"/>
                <a:gd name="T9" fmla="*/ 2 h 35"/>
                <a:gd name="T10" fmla="*/ 17 w 38"/>
                <a:gd name="T11" fmla="*/ 4 h 35"/>
                <a:gd name="T12" fmla="*/ 7 w 38"/>
                <a:gd name="T13" fmla="*/ 11 h 35"/>
                <a:gd name="T14" fmla="*/ 1 w 38"/>
                <a:gd name="T15" fmla="*/ 25 h 35"/>
                <a:gd name="T16" fmla="*/ 7 w 38"/>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7" y="35"/>
                  </a:moveTo>
                  <a:cubicBezTo>
                    <a:pt x="7" y="29"/>
                    <a:pt x="7" y="26"/>
                    <a:pt x="11" y="25"/>
                  </a:cubicBezTo>
                  <a:cubicBezTo>
                    <a:pt x="14" y="23"/>
                    <a:pt x="9" y="20"/>
                    <a:pt x="16" y="18"/>
                  </a:cubicBezTo>
                  <a:cubicBezTo>
                    <a:pt x="22" y="15"/>
                    <a:pt x="25" y="12"/>
                    <a:pt x="29" y="9"/>
                  </a:cubicBezTo>
                  <a:cubicBezTo>
                    <a:pt x="34" y="7"/>
                    <a:pt x="38" y="0"/>
                    <a:pt x="29" y="2"/>
                  </a:cubicBezTo>
                  <a:cubicBezTo>
                    <a:pt x="21" y="5"/>
                    <a:pt x="19" y="0"/>
                    <a:pt x="17" y="4"/>
                  </a:cubicBezTo>
                  <a:cubicBezTo>
                    <a:pt x="15" y="8"/>
                    <a:pt x="8" y="7"/>
                    <a:pt x="7" y="11"/>
                  </a:cubicBezTo>
                  <a:cubicBezTo>
                    <a:pt x="5" y="16"/>
                    <a:pt x="1" y="19"/>
                    <a:pt x="1" y="25"/>
                  </a:cubicBezTo>
                  <a:cubicBezTo>
                    <a:pt x="0" y="31"/>
                    <a:pt x="2" y="34"/>
                    <a:pt x="7" y="3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42" name="Freeform 1121">
              <a:extLst>
                <a:ext uri="{FF2B5EF4-FFF2-40B4-BE49-F238E27FC236}">
                  <a16:creationId xmlns:a16="http://schemas.microsoft.com/office/drawing/2014/main" id="{27980B3E-2EF1-B842-BBED-FE75A83C98C9}"/>
                </a:ext>
              </a:extLst>
            </p:cNvPr>
            <p:cNvSpPr>
              <a:spLocks/>
            </p:cNvSpPr>
            <p:nvPr/>
          </p:nvSpPr>
          <p:spPr bwMode="auto">
            <a:xfrm>
              <a:off x="7229498" y="1432381"/>
              <a:ext cx="19050" cy="23813"/>
            </a:xfrm>
            <a:custGeom>
              <a:avLst/>
              <a:gdLst>
                <a:gd name="T0" fmla="*/ 7 w 19"/>
                <a:gd name="T1" fmla="*/ 22 h 25"/>
                <a:gd name="T2" fmla="*/ 14 w 19"/>
                <a:gd name="T3" fmla="*/ 14 h 25"/>
                <a:gd name="T4" fmla="*/ 17 w 19"/>
                <a:gd name="T5" fmla="*/ 4 h 25"/>
                <a:gd name="T6" fmla="*/ 9 w 19"/>
                <a:gd name="T7" fmla="*/ 4 h 25"/>
                <a:gd name="T8" fmla="*/ 3 w 19"/>
                <a:gd name="T9" fmla="*/ 12 h 25"/>
                <a:gd name="T10" fmla="*/ 0 w 19"/>
                <a:gd name="T11" fmla="*/ 22 h 25"/>
                <a:gd name="T12" fmla="*/ 7 w 19"/>
                <a:gd name="T13" fmla="*/ 22 h 25"/>
              </a:gdLst>
              <a:ahLst/>
              <a:cxnLst>
                <a:cxn ang="0">
                  <a:pos x="T0" y="T1"/>
                </a:cxn>
                <a:cxn ang="0">
                  <a:pos x="T2" y="T3"/>
                </a:cxn>
                <a:cxn ang="0">
                  <a:pos x="T4" y="T5"/>
                </a:cxn>
                <a:cxn ang="0">
                  <a:pos x="T6" y="T7"/>
                </a:cxn>
                <a:cxn ang="0">
                  <a:pos x="T8" y="T9"/>
                </a:cxn>
                <a:cxn ang="0">
                  <a:pos x="T10" y="T11"/>
                </a:cxn>
                <a:cxn ang="0">
                  <a:pos x="T12" y="T13"/>
                </a:cxn>
              </a:cxnLst>
              <a:rect l="0" t="0" r="r" b="b"/>
              <a:pathLst>
                <a:path w="19" h="25">
                  <a:moveTo>
                    <a:pt x="7" y="22"/>
                  </a:moveTo>
                  <a:cubicBezTo>
                    <a:pt x="12" y="18"/>
                    <a:pt x="10" y="20"/>
                    <a:pt x="14" y="14"/>
                  </a:cubicBezTo>
                  <a:cubicBezTo>
                    <a:pt x="17" y="8"/>
                    <a:pt x="19" y="5"/>
                    <a:pt x="17" y="4"/>
                  </a:cubicBezTo>
                  <a:cubicBezTo>
                    <a:pt x="15" y="3"/>
                    <a:pt x="13" y="0"/>
                    <a:pt x="9" y="4"/>
                  </a:cubicBezTo>
                  <a:cubicBezTo>
                    <a:pt x="6" y="8"/>
                    <a:pt x="5" y="9"/>
                    <a:pt x="3" y="12"/>
                  </a:cubicBezTo>
                  <a:cubicBezTo>
                    <a:pt x="2" y="15"/>
                    <a:pt x="0" y="22"/>
                    <a:pt x="0" y="22"/>
                  </a:cubicBezTo>
                  <a:cubicBezTo>
                    <a:pt x="1" y="22"/>
                    <a:pt x="3" y="25"/>
                    <a:pt x="7" y="2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43" name="Freeform 1122">
              <a:extLst>
                <a:ext uri="{FF2B5EF4-FFF2-40B4-BE49-F238E27FC236}">
                  <a16:creationId xmlns:a16="http://schemas.microsoft.com/office/drawing/2014/main" id="{95FB82DD-7862-574B-BABD-924AF6AED4D4}"/>
                </a:ext>
              </a:extLst>
            </p:cNvPr>
            <p:cNvSpPr>
              <a:spLocks/>
            </p:cNvSpPr>
            <p:nvPr/>
          </p:nvSpPr>
          <p:spPr bwMode="auto">
            <a:xfrm>
              <a:off x="7254898" y="1408568"/>
              <a:ext cx="9525" cy="15875"/>
            </a:xfrm>
            <a:custGeom>
              <a:avLst/>
              <a:gdLst>
                <a:gd name="T0" fmla="*/ 5 w 10"/>
                <a:gd name="T1" fmla="*/ 16 h 16"/>
                <a:gd name="T2" fmla="*/ 8 w 10"/>
                <a:gd name="T3" fmla="*/ 7 h 16"/>
                <a:gd name="T4" fmla="*/ 7 w 10"/>
                <a:gd name="T5" fmla="*/ 2 h 16"/>
                <a:gd name="T6" fmla="*/ 0 w 10"/>
                <a:gd name="T7" fmla="*/ 6 h 16"/>
                <a:gd name="T8" fmla="*/ 5 w 10"/>
                <a:gd name="T9" fmla="*/ 16 h 16"/>
              </a:gdLst>
              <a:ahLst/>
              <a:cxnLst>
                <a:cxn ang="0">
                  <a:pos x="T0" y="T1"/>
                </a:cxn>
                <a:cxn ang="0">
                  <a:pos x="T2" y="T3"/>
                </a:cxn>
                <a:cxn ang="0">
                  <a:pos x="T4" y="T5"/>
                </a:cxn>
                <a:cxn ang="0">
                  <a:pos x="T6" y="T7"/>
                </a:cxn>
                <a:cxn ang="0">
                  <a:pos x="T8" y="T9"/>
                </a:cxn>
              </a:cxnLst>
              <a:rect l="0" t="0" r="r" b="b"/>
              <a:pathLst>
                <a:path w="10" h="16">
                  <a:moveTo>
                    <a:pt x="5" y="16"/>
                  </a:moveTo>
                  <a:cubicBezTo>
                    <a:pt x="8" y="11"/>
                    <a:pt x="8" y="12"/>
                    <a:pt x="8" y="7"/>
                  </a:cubicBezTo>
                  <a:cubicBezTo>
                    <a:pt x="9" y="3"/>
                    <a:pt x="10" y="0"/>
                    <a:pt x="7" y="2"/>
                  </a:cubicBezTo>
                  <a:cubicBezTo>
                    <a:pt x="3" y="4"/>
                    <a:pt x="0" y="3"/>
                    <a:pt x="0" y="6"/>
                  </a:cubicBezTo>
                  <a:cubicBezTo>
                    <a:pt x="0" y="9"/>
                    <a:pt x="0" y="13"/>
                    <a:pt x="5" y="1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44" name="Freeform 1124">
              <a:extLst>
                <a:ext uri="{FF2B5EF4-FFF2-40B4-BE49-F238E27FC236}">
                  <a16:creationId xmlns:a16="http://schemas.microsoft.com/office/drawing/2014/main" id="{2DBBC2ED-C8E9-AA48-93B8-2597AC8D8737}"/>
                </a:ext>
              </a:extLst>
            </p:cNvPr>
            <p:cNvSpPr>
              <a:spLocks/>
            </p:cNvSpPr>
            <p:nvPr/>
          </p:nvSpPr>
          <p:spPr bwMode="auto">
            <a:xfrm>
              <a:off x="4837128" y="1778456"/>
              <a:ext cx="93663" cy="109538"/>
            </a:xfrm>
            <a:custGeom>
              <a:avLst/>
              <a:gdLst>
                <a:gd name="T0" fmla="*/ 98 w 98"/>
                <a:gd name="T1" fmla="*/ 33 h 116"/>
                <a:gd name="T2" fmla="*/ 91 w 98"/>
                <a:gd name="T3" fmla="*/ 36 h 116"/>
                <a:gd name="T4" fmla="*/ 72 w 98"/>
                <a:gd name="T5" fmla="*/ 44 h 116"/>
                <a:gd name="T6" fmla="*/ 48 w 98"/>
                <a:gd name="T7" fmla="*/ 51 h 116"/>
                <a:gd name="T8" fmla="*/ 70 w 98"/>
                <a:gd name="T9" fmla="*/ 77 h 116"/>
                <a:gd name="T10" fmla="*/ 61 w 98"/>
                <a:gd name="T11" fmla="*/ 90 h 116"/>
                <a:gd name="T12" fmla="*/ 50 w 98"/>
                <a:gd name="T13" fmla="*/ 96 h 116"/>
                <a:gd name="T14" fmla="*/ 37 w 98"/>
                <a:gd name="T15" fmla="*/ 106 h 116"/>
                <a:gd name="T16" fmla="*/ 28 w 98"/>
                <a:gd name="T17" fmla="*/ 116 h 116"/>
                <a:gd name="T18" fmla="*/ 7 w 98"/>
                <a:gd name="T19" fmla="*/ 113 h 116"/>
                <a:gd name="T20" fmla="*/ 0 w 98"/>
                <a:gd name="T21" fmla="*/ 108 h 116"/>
                <a:gd name="T22" fmla="*/ 2 w 98"/>
                <a:gd name="T23" fmla="*/ 105 h 116"/>
                <a:gd name="T24" fmla="*/ 4 w 98"/>
                <a:gd name="T25" fmla="*/ 97 h 116"/>
                <a:gd name="T26" fmla="*/ 3 w 98"/>
                <a:gd name="T27" fmla="*/ 84 h 116"/>
                <a:gd name="T28" fmla="*/ 8 w 98"/>
                <a:gd name="T29" fmla="*/ 68 h 116"/>
                <a:gd name="T30" fmla="*/ 8 w 98"/>
                <a:gd name="T31" fmla="*/ 52 h 116"/>
                <a:gd name="T32" fmla="*/ 8 w 98"/>
                <a:gd name="T33" fmla="*/ 52 h 116"/>
                <a:gd name="T34" fmla="*/ 11 w 98"/>
                <a:gd name="T35" fmla="*/ 41 h 116"/>
                <a:gd name="T36" fmla="*/ 9 w 98"/>
                <a:gd name="T37" fmla="*/ 32 h 116"/>
                <a:gd name="T38" fmla="*/ 9 w 98"/>
                <a:gd name="T39" fmla="*/ 27 h 116"/>
                <a:gd name="T40" fmla="*/ 8 w 98"/>
                <a:gd name="T41" fmla="*/ 21 h 116"/>
                <a:gd name="T42" fmla="*/ 10 w 98"/>
                <a:gd name="T43" fmla="*/ 14 h 116"/>
                <a:gd name="T44" fmla="*/ 12 w 98"/>
                <a:gd name="T45" fmla="*/ 18 h 116"/>
                <a:gd name="T46" fmla="*/ 23 w 98"/>
                <a:gd name="T47" fmla="*/ 22 h 116"/>
                <a:gd name="T48" fmla="*/ 34 w 98"/>
                <a:gd name="T49" fmla="*/ 28 h 116"/>
                <a:gd name="T50" fmla="*/ 50 w 98"/>
                <a:gd name="T51" fmla="*/ 23 h 116"/>
                <a:gd name="T52" fmla="*/ 68 w 98"/>
                <a:gd name="T53" fmla="*/ 9 h 116"/>
                <a:gd name="T54" fmla="*/ 81 w 98"/>
                <a:gd name="T55" fmla="*/ 0 h 116"/>
                <a:gd name="T56" fmla="*/ 84 w 98"/>
                <a:gd name="T57" fmla="*/ 2 h 116"/>
                <a:gd name="T58" fmla="*/ 88 w 98"/>
                <a:gd name="T59" fmla="*/ 11 h 116"/>
                <a:gd name="T60" fmla="*/ 91 w 98"/>
                <a:gd name="T61" fmla="*/ 22 h 116"/>
                <a:gd name="T62" fmla="*/ 97 w 98"/>
                <a:gd name="T63" fmla="*/ 30 h 116"/>
                <a:gd name="T64" fmla="*/ 98 w 98"/>
                <a:gd name="T65" fmla="*/ 3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8" h="116">
                  <a:moveTo>
                    <a:pt x="98" y="33"/>
                  </a:moveTo>
                  <a:cubicBezTo>
                    <a:pt x="98" y="35"/>
                    <a:pt x="93" y="35"/>
                    <a:pt x="91" y="36"/>
                  </a:cubicBezTo>
                  <a:cubicBezTo>
                    <a:pt x="89" y="38"/>
                    <a:pt x="82" y="42"/>
                    <a:pt x="72" y="44"/>
                  </a:cubicBezTo>
                  <a:cubicBezTo>
                    <a:pt x="62" y="45"/>
                    <a:pt x="53" y="49"/>
                    <a:pt x="48" y="51"/>
                  </a:cubicBezTo>
                  <a:cubicBezTo>
                    <a:pt x="44" y="52"/>
                    <a:pt x="68" y="74"/>
                    <a:pt x="70" y="77"/>
                  </a:cubicBezTo>
                  <a:cubicBezTo>
                    <a:pt x="73" y="79"/>
                    <a:pt x="64" y="83"/>
                    <a:pt x="61" y="90"/>
                  </a:cubicBezTo>
                  <a:cubicBezTo>
                    <a:pt x="58" y="97"/>
                    <a:pt x="54" y="94"/>
                    <a:pt x="50" y="96"/>
                  </a:cubicBezTo>
                  <a:cubicBezTo>
                    <a:pt x="45" y="97"/>
                    <a:pt x="40" y="103"/>
                    <a:pt x="37" y="106"/>
                  </a:cubicBezTo>
                  <a:cubicBezTo>
                    <a:pt x="34" y="109"/>
                    <a:pt x="31" y="116"/>
                    <a:pt x="28" y="116"/>
                  </a:cubicBezTo>
                  <a:cubicBezTo>
                    <a:pt x="25" y="116"/>
                    <a:pt x="11" y="114"/>
                    <a:pt x="7" y="113"/>
                  </a:cubicBezTo>
                  <a:cubicBezTo>
                    <a:pt x="4" y="113"/>
                    <a:pt x="2" y="110"/>
                    <a:pt x="0" y="108"/>
                  </a:cubicBezTo>
                  <a:cubicBezTo>
                    <a:pt x="1" y="107"/>
                    <a:pt x="2" y="105"/>
                    <a:pt x="2" y="105"/>
                  </a:cubicBezTo>
                  <a:cubicBezTo>
                    <a:pt x="2" y="104"/>
                    <a:pt x="4" y="101"/>
                    <a:pt x="4" y="97"/>
                  </a:cubicBezTo>
                  <a:cubicBezTo>
                    <a:pt x="4" y="94"/>
                    <a:pt x="4" y="88"/>
                    <a:pt x="3" y="84"/>
                  </a:cubicBezTo>
                  <a:cubicBezTo>
                    <a:pt x="2" y="79"/>
                    <a:pt x="5" y="72"/>
                    <a:pt x="8" y="68"/>
                  </a:cubicBezTo>
                  <a:cubicBezTo>
                    <a:pt x="11" y="64"/>
                    <a:pt x="8" y="58"/>
                    <a:pt x="8" y="52"/>
                  </a:cubicBezTo>
                  <a:cubicBezTo>
                    <a:pt x="8" y="52"/>
                    <a:pt x="8" y="52"/>
                    <a:pt x="8" y="52"/>
                  </a:cubicBezTo>
                  <a:cubicBezTo>
                    <a:pt x="8" y="47"/>
                    <a:pt x="11" y="45"/>
                    <a:pt x="11" y="41"/>
                  </a:cubicBezTo>
                  <a:cubicBezTo>
                    <a:pt x="10" y="37"/>
                    <a:pt x="11" y="34"/>
                    <a:pt x="9" y="32"/>
                  </a:cubicBezTo>
                  <a:cubicBezTo>
                    <a:pt x="9" y="31"/>
                    <a:pt x="9" y="29"/>
                    <a:pt x="9" y="27"/>
                  </a:cubicBezTo>
                  <a:cubicBezTo>
                    <a:pt x="8" y="25"/>
                    <a:pt x="8" y="22"/>
                    <a:pt x="8" y="21"/>
                  </a:cubicBezTo>
                  <a:cubicBezTo>
                    <a:pt x="8" y="19"/>
                    <a:pt x="9" y="16"/>
                    <a:pt x="10" y="14"/>
                  </a:cubicBezTo>
                  <a:cubicBezTo>
                    <a:pt x="11" y="16"/>
                    <a:pt x="12" y="18"/>
                    <a:pt x="12" y="18"/>
                  </a:cubicBezTo>
                  <a:cubicBezTo>
                    <a:pt x="14" y="18"/>
                    <a:pt x="19" y="19"/>
                    <a:pt x="23" y="22"/>
                  </a:cubicBezTo>
                  <a:cubicBezTo>
                    <a:pt x="28" y="24"/>
                    <a:pt x="29" y="26"/>
                    <a:pt x="34" y="28"/>
                  </a:cubicBezTo>
                  <a:cubicBezTo>
                    <a:pt x="40" y="31"/>
                    <a:pt x="41" y="28"/>
                    <a:pt x="50" y="23"/>
                  </a:cubicBezTo>
                  <a:cubicBezTo>
                    <a:pt x="59" y="18"/>
                    <a:pt x="63" y="13"/>
                    <a:pt x="68" y="9"/>
                  </a:cubicBezTo>
                  <a:cubicBezTo>
                    <a:pt x="73" y="6"/>
                    <a:pt x="76" y="3"/>
                    <a:pt x="81" y="0"/>
                  </a:cubicBezTo>
                  <a:cubicBezTo>
                    <a:pt x="82" y="0"/>
                    <a:pt x="83" y="1"/>
                    <a:pt x="84" y="2"/>
                  </a:cubicBezTo>
                  <a:cubicBezTo>
                    <a:pt x="87" y="4"/>
                    <a:pt x="85" y="5"/>
                    <a:pt x="88" y="11"/>
                  </a:cubicBezTo>
                  <a:cubicBezTo>
                    <a:pt x="90" y="17"/>
                    <a:pt x="91" y="18"/>
                    <a:pt x="91" y="22"/>
                  </a:cubicBezTo>
                  <a:cubicBezTo>
                    <a:pt x="91" y="26"/>
                    <a:pt x="92" y="26"/>
                    <a:pt x="97" y="30"/>
                  </a:cubicBezTo>
                  <a:cubicBezTo>
                    <a:pt x="98" y="31"/>
                    <a:pt x="98" y="32"/>
                    <a:pt x="98" y="33"/>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45" name="Freeform 1125">
              <a:extLst>
                <a:ext uri="{FF2B5EF4-FFF2-40B4-BE49-F238E27FC236}">
                  <a16:creationId xmlns:a16="http://schemas.microsoft.com/office/drawing/2014/main" id="{116C2939-91E9-5B49-8678-0129B767FC01}"/>
                </a:ext>
              </a:extLst>
            </p:cNvPr>
            <p:cNvSpPr>
              <a:spLocks/>
            </p:cNvSpPr>
            <p:nvPr/>
          </p:nvSpPr>
          <p:spPr bwMode="auto">
            <a:xfrm>
              <a:off x="4833953" y="1740356"/>
              <a:ext cx="33338" cy="42863"/>
            </a:xfrm>
            <a:custGeom>
              <a:avLst/>
              <a:gdLst>
                <a:gd name="T0" fmla="*/ 28 w 35"/>
                <a:gd name="T1" fmla="*/ 21 h 45"/>
                <a:gd name="T2" fmla="*/ 20 w 35"/>
                <a:gd name="T3" fmla="*/ 28 h 45"/>
                <a:gd name="T4" fmla="*/ 11 w 35"/>
                <a:gd name="T5" fmla="*/ 40 h 45"/>
                <a:gd name="T6" fmla="*/ 9 w 35"/>
                <a:gd name="T7" fmla="*/ 45 h 45"/>
                <a:gd name="T8" fmla="*/ 4 w 35"/>
                <a:gd name="T9" fmla="*/ 44 h 45"/>
                <a:gd name="T10" fmla="*/ 0 w 35"/>
                <a:gd name="T11" fmla="*/ 45 h 45"/>
                <a:gd name="T12" fmla="*/ 3 w 35"/>
                <a:gd name="T13" fmla="*/ 35 h 45"/>
                <a:gd name="T14" fmla="*/ 13 w 35"/>
                <a:gd name="T15" fmla="*/ 13 h 45"/>
                <a:gd name="T16" fmla="*/ 16 w 35"/>
                <a:gd name="T17" fmla="*/ 2 h 45"/>
                <a:gd name="T18" fmla="*/ 24 w 35"/>
                <a:gd name="T19" fmla="*/ 1 h 45"/>
                <a:gd name="T20" fmla="*/ 32 w 35"/>
                <a:gd name="T21" fmla="*/ 11 h 45"/>
                <a:gd name="T22" fmla="*/ 28 w 35"/>
                <a:gd name="T23" fmla="*/ 2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45">
                  <a:moveTo>
                    <a:pt x="28" y="21"/>
                  </a:moveTo>
                  <a:cubicBezTo>
                    <a:pt x="23" y="27"/>
                    <a:pt x="22" y="26"/>
                    <a:pt x="20" y="28"/>
                  </a:cubicBezTo>
                  <a:cubicBezTo>
                    <a:pt x="18" y="31"/>
                    <a:pt x="18" y="33"/>
                    <a:pt x="11" y="40"/>
                  </a:cubicBezTo>
                  <a:cubicBezTo>
                    <a:pt x="9" y="43"/>
                    <a:pt x="8" y="44"/>
                    <a:pt x="9" y="45"/>
                  </a:cubicBezTo>
                  <a:cubicBezTo>
                    <a:pt x="7" y="45"/>
                    <a:pt x="5" y="45"/>
                    <a:pt x="4" y="44"/>
                  </a:cubicBezTo>
                  <a:cubicBezTo>
                    <a:pt x="2" y="44"/>
                    <a:pt x="1" y="45"/>
                    <a:pt x="0" y="45"/>
                  </a:cubicBezTo>
                  <a:cubicBezTo>
                    <a:pt x="1" y="42"/>
                    <a:pt x="2" y="40"/>
                    <a:pt x="3" y="35"/>
                  </a:cubicBezTo>
                  <a:cubicBezTo>
                    <a:pt x="7" y="25"/>
                    <a:pt x="11" y="22"/>
                    <a:pt x="13" y="13"/>
                  </a:cubicBezTo>
                  <a:cubicBezTo>
                    <a:pt x="14" y="7"/>
                    <a:pt x="17" y="6"/>
                    <a:pt x="16" y="2"/>
                  </a:cubicBezTo>
                  <a:cubicBezTo>
                    <a:pt x="18" y="2"/>
                    <a:pt x="22" y="2"/>
                    <a:pt x="24" y="1"/>
                  </a:cubicBezTo>
                  <a:cubicBezTo>
                    <a:pt x="26" y="0"/>
                    <a:pt x="29" y="7"/>
                    <a:pt x="32" y="11"/>
                  </a:cubicBezTo>
                  <a:cubicBezTo>
                    <a:pt x="35" y="15"/>
                    <a:pt x="32" y="15"/>
                    <a:pt x="28" y="2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46" name="Freeform 1126">
              <a:extLst>
                <a:ext uri="{FF2B5EF4-FFF2-40B4-BE49-F238E27FC236}">
                  <a16:creationId xmlns:a16="http://schemas.microsoft.com/office/drawing/2014/main" id="{53954A37-6F89-ED4C-A52A-D983BC60B477}"/>
                </a:ext>
              </a:extLst>
            </p:cNvPr>
            <p:cNvSpPr>
              <a:spLocks/>
            </p:cNvSpPr>
            <p:nvPr/>
          </p:nvSpPr>
          <p:spPr bwMode="auto">
            <a:xfrm>
              <a:off x="4818078" y="1783219"/>
              <a:ext cx="30163" cy="96838"/>
            </a:xfrm>
            <a:custGeom>
              <a:avLst/>
              <a:gdLst>
                <a:gd name="T0" fmla="*/ 31 w 32"/>
                <a:gd name="T1" fmla="*/ 9 h 103"/>
                <a:gd name="T2" fmla="*/ 29 w 32"/>
                <a:gd name="T3" fmla="*/ 16 h 103"/>
                <a:gd name="T4" fmla="*/ 30 w 32"/>
                <a:gd name="T5" fmla="*/ 22 h 103"/>
                <a:gd name="T6" fmla="*/ 26 w 32"/>
                <a:gd name="T7" fmla="*/ 19 h 103"/>
                <a:gd name="T8" fmla="*/ 19 w 32"/>
                <a:gd name="T9" fmla="*/ 18 h 103"/>
                <a:gd name="T10" fmla="*/ 17 w 32"/>
                <a:gd name="T11" fmla="*/ 24 h 103"/>
                <a:gd name="T12" fmla="*/ 16 w 32"/>
                <a:gd name="T13" fmla="*/ 31 h 103"/>
                <a:gd name="T14" fmla="*/ 17 w 32"/>
                <a:gd name="T15" fmla="*/ 36 h 103"/>
                <a:gd name="T16" fmla="*/ 22 w 32"/>
                <a:gd name="T17" fmla="*/ 40 h 103"/>
                <a:gd name="T18" fmla="*/ 17 w 32"/>
                <a:gd name="T19" fmla="*/ 45 h 103"/>
                <a:gd name="T20" fmla="*/ 17 w 32"/>
                <a:gd name="T21" fmla="*/ 50 h 103"/>
                <a:gd name="T22" fmla="*/ 23 w 32"/>
                <a:gd name="T23" fmla="*/ 49 h 103"/>
                <a:gd name="T24" fmla="*/ 29 w 32"/>
                <a:gd name="T25" fmla="*/ 47 h 103"/>
                <a:gd name="T26" fmla="*/ 29 w 32"/>
                <a:gd name="T27" fmla="*/ 47 h 103"/>
                <a:gd name="T28" fmla="*/ 29 w 32"/>
                <a:gd name="T29" fmla="*/ 63 h 103"/>
                <a:gd name="T30" fmla="*/ 24 w 32"/>
                <a:gd name="T31" fmla="*/ 79 h 103"/>
                <a:gd name="T32" fmla="*/ 25 w 32"/>
                <a:gd name="T33" fmla="*/ 92 h 103"/>
                <a:gd name="T34" fmla="*/ 23 w 32"/>
                <a:gd name="T35" fmla="*/ 100 h 103"/>
                <a:gd name="T36" fmla="*/ 21 w 32"/>
                <a:gd name="T37" fmla="*/ 103 h 103"/>
                <a:gd name="T38" fmla="*/ 21 w 32"/>
                <a:gd name="T39" fmla="*/ 102 h 103"/>
                <a:gd name="T40" fmla="*/ 21 w 32"/>
                <a:gd name="T41" fmla="*/ 101 h 103"/>
                <a:gd name="T42" fmla="*/ 20 w 32"/>
                <a:gd name="T43" fmla="*/ 101 h 103"/>
                <a:gd name="T44" fmla="*/ 20 w 32"/>
                <a:gd name="T45" fmla="*/ 101 h 103"/>
                <a:gd name="T46" fmla="*/ 18 w 32"/>
                <a:gd name="T47" fmla="*/ 95 h 103"/>
                <a:gd name="T48" fmla="*/ 13 w 32"/>
                <a:gd name="T49" fmla="*/ 85 h 103"/>
                <a:gd name="T50" fmla="*/ 7 w 32"/>
                <a:gd name="T51" fmla="*/ 69 h 103"/>
                <a:gd name="T52" fmla="*/ 2 w 32"/>
                <a:gd name="T53" fmla="*/ 56 h 103"/>
                <a:gd name="T54" fmla="*/ 0 w 32"/>
                <a:gd name="T55" fmla="*/ 47 h 103"/>
                <a:gd name="T56" fmla="*/ 1 w 32"/>
                <a:gd name="T57" fmla="*/ 46 h 103"/>
                <a:gd name="T58" fmla="*/ 12 w 32"/>
                <a:gd name="T59" fmla="*/ 29 h 103"/>
                <a:gd name="T60" fmla="*/ 15 w 32"/>
                <a:gd name="T61" fmla="*/ 11 h 103"/>
                <a:gd name="T62" fmla="*/ 18 w 32"/>
                <a:gd name="T63" fmla="*/ 1 h 103"/>
                <a:gd name="T64" fmla="*/ 22 w 32"/>
                <a:gd name="T65" fmla="*/ 0 h 103"/>
                <a:gd name="T66" fmla="*/ 27 w 32"/>
                <a:gd name="T67" fmla="*/ 1 h 103"/>
                <a:gd name="T68" fmla="*/ 30 w 32"/>
                <a:gd name="T69" fmla="*/ 4 h 103"/>
                <a:gd name="T70" fmla="*/ 31 w 32"/>
                <a:gd name="T71" fmla="*/ 9 h 103"/>
                <a:gd name="T72" fmla="*/ 31 w 32"/>
                <a:gd name="T73" fmla="*/ 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103">
                  <a:moveTo>
                    <a:pt x="31" y="9"/>
                  </a:moveTo>
                  <a:cubicBezTo>
                    <a:pt x="30" y="11"/>
                    <a:pt x="29" y="14"/>
                    <a:pt x="29" y="16"/>
                  </a:cubicBezTo>
                  <a:cubicBezTo>
                    <a:pt x="29" y="17"/>
                    <a:pt x="29" y="20"/>
                    <a:pt x="30" y="22"/>
                  </a:cubicBezTo>
                  <a:cubicBezTo>
                    <a:pt x="28" y="21"/>
                    <a:pt x="29" y="21"/>
                    <a:pt x="26" y="19"/>
                  </a:cubicBezTo>
                  <a:cubicBezTo>
                    <a:pt x="22" y="17"/>
                    <a:pt x="20" y="15"/>
                    <a:pt x="19" y="18"/>
                  </a:cubicBezTo>
                  <a:cubicBezTo>
                    <a:pt x="18" y="20"/>
                    <a:pt x="17" y="21"/>
                    <a:pt x="17" y="24"/>
                  </a:cubicBezTo>
                  <a:cubicBezTo>
                    <a:pt x="17" y="27"/>
                    <a:pt x="15" y="27"/>
                    <a:pt x="16" y="31"/>
                  </a:cubicBezTo>
                  <a:cubicBezTo>
                    <a:pt x="17" y="35"/>
                    <a:pt x="14" y="34"/>
                    <a:pt x="17" y="36"/>
                  </a:cubicBezTo>
                  <a:cubicBezTo>
                    <a:pt x="20" y="38"/>
                    <a:pt x="24" y="37"/>
                    <a:pt x="22" y="40"/>
                  </a:cubicBezTo>
                  <a:cubicBezTo>
                    <a:pt x="20" y="42"/>
                    <a:pt x="18" y="44"/>
                    <a:pt x="17" y="45"/>
                  </a:cubicBezTo>
                  <a:cubicBezTo>
                    <a:pt x="17" y="46"/>
                    <a:pt x="16" y="49"/>
                    <a:pt x="17" y="50"/>
                  </a:cubicBezTo>
                  <a:cubicBezTo>
                    <a:pt x="19" y="51"/>
                    <a:pt x="20" y="51"/>
                    <a:pt x="23" y="49"/>
                  </a:cubicBezTo>
                  <a:cubicBezTo>
                    <a:pt x="26" y="48"/>
                    <a:pt x="28" y="47"/>
                    <a:pt x="29" y="47"/>
                  </a:cubicBezTo>
                  <a:cubicBezTo>
                    <a:pt x="29" y="47"/>
                    <a:pt x="29" y="47"/>
                    <a:pt x="29" y="47"/>
                  </a:cubicBezTo>
                  <a:cubicBezTo>
                    <a:pt x="29" y="53"/>
                    <a:pt x="32" y="59"/>
                    <a:pt x="29" y="63"/>
                  </a:cubicBezTo>
                  <a:cubicBezTo>
                    <a:pt x="26" y="67"/>
                    <a:pt x="23" y="74"/>
                    <a:pt x="24" y="79"/>
                  </a:cubicBezTo>
                  <a:cubicBezTo>
                    <a:pt x="25" y="83"/>
                    <a:pt x="25" y="89"/>
                    <a:pt x="25" y="92"/>
                  </a:cubicBezTo>
                  <a:cubicBezTo>
                    <a:pt x="25" y="96"/>
                    <a:pt x="23" y="99"/>
                    <a:pt x="23" y="100"/>
                  </a:cubicBezTo>
                  <a:cubicBezTo>
                    <a:pt x="23" y="100"/>
                    <a:pt x="22" y="102"/>
                    <a:pt x="21" y="103"/>
                  </a:cubicBezTo>
                  <a:cubicBezTo>
                    <a:pt x="21" y="103"/>
                    <a:pt x="21" y="103"/>
                    <a:pt x="21" y="102"/>
                  </a:cubicBezTo>
                  <a:cubicBezTo>
                    <a:pt x="21" y="101"/>
                    <a:pt x="21" y="101"/>
                    <a:pt x="21" y="101"/>
                  </a:cubicBezTo>
                  <a:cubicBezTo>
                    <a:pt x="21" y="101"/>
                    <a:pt x="21" y="101"/>
                    <a:pt x="20" y="101"/>
                  </a:cubicBezTo>
                  <a:cubicBezTo>
                    <a:pt x="20" y="101"/>
                    <a:pt x="20" y="101"/>
                    <a:pt x="20" y="101"/>
                  </a:cubicBezTo>
                  <a:cubicBezTo>
                    <a:pt x="19" y="99"/>
                    <a:pt x="19" y="97"/>
                    <a:pt x="18" y="95"/>
                  </a:cubicBezTo>
                  <a:cubicBezTo>
                    <a:pt x="18" y="93"/>
                    <a:pt x="15" y="89"/>
                    <a:pt x="13" y="85"/>
                  </a:cubicBezTo>
                  <a:cubicBezTo>
                    <a:pt x="11" y="81"/>
                    <a:pt x="10" y="77"/>
                    <a:pt x="7" y="69"/>
                  </a:cubicBezTo>
                  <a:cubicBezTo>
                    <a:pt x="4" y="62"/>
                    <a:pt x="4" y="61"/>
                    <a:pt x="2" y="56"/>
                  </a:cubicBezTo>
                  <a:cubicBezTo>
                    <a:pt x="2" y="53"/>
                    <a:pt x="1" y="49"/>
                    <a:pt x="0" y="47"/>
                  </a:cubicBezTo>
                  <a:cubicBezTo>
                    <a:pt x="0" y="47"/>
                    <a:pt x="1" y="47"/>
                    <a:pt x="1" y="46"/>
                  </a:cubicBezTo>
                  <a:cubicBezTo>
                    <a:pt x="7" y="40"/>
                    <a:pt x="11" y="38"/>
                    <a:pt x="12" y="29"/>
                  </a:cubicBezTo>
                  <a:cubicBezTo>
                    <a:pt x="13" y="20"/>
                    <a:pt x="11" y="20"/>
                    <a:pt x="15" y="11"/>
                  </a:cubicBezTo>
                  <a:cubicBezTo>
                    <a:pt x="17" y="7"/>
                    <a:pt x="18" y="4"/>
                    <a:pt x="18" y="1"/>
                  </a:cubicBezTo>
                  <a:cubicBezTo>
                    <a:pt x="19" y="1"/>
                    <a:pt x="20" y="0"/>
                    <a:pt x="22" y="0"/>
                  </a:cubicBezTo>
                  <a:cubicBezTo>
                    <a:pt x="23" y="1"/>
                    <a:pt x="25" y="1"/>
                    <a:pt x="27" y="1"/>
                  </a:cubicBezTo>
                  <a:cubicBezTo>
                    <a:pt x="28" y="2"/>
                    <a:pt x="30" y="2"/>
                    <a:pt x="30" y="4"/>
                  </a:cubicBezTo>
                  <a:cubicBezTo>
                    <a:pt x="30" y="5"/>
                    <a:pt x="31" y="7"/>
                    <a:pt x="31" y="9"/>
                  </a:cubicBezTo>
                  <a:cubicBezTo>
                    <a:pt x="31" y="9"/>
                    <a:pt x="31" y="9"/>
                    <a:pt x="31" y="9"/>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47" name="Freeform 1127">
              <a:extLst>
                <a:ext uri="{FF2B5EF4-FFF2-40B4-BE49-F238E27FC236}">
                  <a16:creationId xmlns:a16="http://schemas.microsoft.com/office/drawing/2014/main" id="{A641EA68-5057-E64D-B7DD-017ACEA71C6D}"/>
                </a:ext>
              </a:extLst>
            </p:cNvPr>
            <p:cNvSpPr>
              <a:spLocks/>
            </p:cNvSpPr>
            <p:nvPr/>
          </p:nvSpPr>
          <p:spPr bwMode="auto">
            <a:xfrm>
              <a:off x="4786328" y="1811794"/>
              <a:ext cx="50800" cy="26988"/>
            </a:xfrm>
            <a:custGeom>
              <a:avLst/>
              <a:gdLst>
                <a:gd name="T0" fmla="*/ 32 w 32"/>
                <a:gd name="T1" fmla="*/ 17 h 17"/>
                <a:gd name="T2" fmla="*/ 27 w 32"/>
                <a:gd name="T3" fmla="*/ 12 h 17"/>
                <a:gd name="T4" fmla="*/ 27 w 32"/>
                <a:gd name="T5" fmla="*/ 13 h 17"/>
                <a:gd name="T6" fmla="*/ 0 w 32"/>
                <a:gd name="T7" fmla="*/ 0 h 17"/>
                <a:gd name="T8" fmla="*/ 0 w 32"/>
                <a:gd name="T9" fmla="*/ 1 h 17"/>
                <a:gd name="T10" fmla="*/ 26 w 32"/>
                <a:gd name="T11" fmla="*/ 15 h 17"/>
                <a:gd name="T12" fmla="*/ 25 w 32"/>
                <a:gd name="T13" fmla="*/ 16 h 17"/>
                <a:gd name="T14" fmla="*/ 32 w 32"/>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7">
                  <a:moveTo>
                    <a:pt x="32" y="17"/>
                  </a:moveTo>
                  <a:lnTo>
                    <a:pt x="27" y="12"/>
                  </a:lnTo>
                  <a:lnTo>
                    <a:pt x="27" y="13"/>
                  </a:lnTo>
                  <a:lnTo>
                    <a:pt x="0" y="0"/>
                  </a:lnTo>
                  <a:lnTo>
                    <a:pt x="0" y="1"/>
                  </a:lnTo>
                  <a:lnTo>
                    <a:pt x="26" y="15"/>
                  </a:lnTo>
                  <a:lnTo>
                    <a:pt x="25" y="16"/>
                  </a:lnTo>
                  <a:lnTo>
                    <a:pt x="32" y="17"/>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48" name="Freeform 1128">
              <a:extLst>
                <a:ext uri="{FF2B5EF4-FFF2-40B4-BE49-F238E27FC236}">
                  <a16:creationId xmlns:a16="http://schemas.microsoft.com/office/drawing/2014/main" id="{77ECE459-0C02-A34D-B768-B80BAC1ADBCF}"/>
                </a:ext>
              </a:extLst>
            </p:cNvPr>
            <p:cNvSpPr>
              <a:spLocks/>
            </p:cNvSpPr>
            <p:nvPr/>
          </p:nvSpPr>
          <p:spPr bwMode="auto">
            <a:xfrm>
              <a:off x="5707081" y="2608720"/>
              <a:ext cx="17463" cy="39688"/>
            </a:xfrm>
            <a:custGeom>
              <a:avLst/>
              <a:gdLst>
                <a:gd name="T0" fmla="*/ 4 w 18"/>
                <a:gd name="T1" fmla="*/ 15 h 41"/>
                <a:gd name="T2" fmla="*/ 6 w 18"/>
                <a:gd name="T3" fmla="*/ 24 h 41"/>
                <a:gd name="T4" fmla="*/ 9 w 18"/>
                <a:gd name="T5" fmla="*/ 30 h 41"/>
                <a:gd name="T6" fmla="*/ 10 w 18"/>
                <a:gd name="T7" fmla="*/ 36 h 41"/>
                <a:gd name="T8" fmla="*/ 16 w 18"/>
                <a:gd name="T9" fmla="*/ 40 h 41"/>
                <a:gd name="T10" fmla="*/ 17 w 18"/>
                <a:gd name="T11" fmla="*/ 38 h 41"/>
                <a:gd name="T12" fmla="*/ 15 w 18"/>
                <a:gd name="T13" fmla="*/ 34 h 41"/>
                <a:gd name="T14" fmla="*/ 13 w 18"/>
                <a:gd name="T15" fmla="*/ 27 h 41"/>
                <a:gd name="T16" fmla="*/ 9 w 18"/>
                <a:gd name="T17" fmla="*/ 17 h 41"/>
                <a:gd name="T18" fmla="*/ 7 w 18"/>
                <a:gd name="T19" fmla="*/ 9 h 41"/>
                <a:gd name="T20" fmla="*/ 2 w 18"/>
                <a:gd name="T21" fmla="*/ 3 h 41"/>
                <a:gd name="T22" fmla="*/ 4 w 18"/>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1">
                  <a:moveTo>
                    <a:pt x="4" y="15"/>
                  </a:moveTo>
                  <a:cubicBezTo>
                    <a:pt x="4" y="19"/>
                    <a:pt x="5" y="23"/>
                    <a:pt x="6" y="24"/>
                  </a:cubicBezTo>
                  <a:cubicBezTo>
                    <a:pt x="7" y="26"/>
                    <a:pt x="8" y="28"/>
                    <a:pt x="9" y="30"/>
                  </a:cubicBezTo>
                  <a:cubicBezTo>
                    <a:pt x="9" y="32"/>
                    <a:pt x="7" y="32"/>
                    <a:pt x="10" y="36"/>
                  </a:cubicBezTo>
                  <a:cubicBezTo>
                    <a:pt x="13" y="39"/>
                    <a:pt x="14" y="40"/>
                    <a:pt x="16" y="40"/>
                  </a:cubicBezTo>
                  <a:cubicBezTo>
                    <a:pt x="17" y="40"/>
                    <a:pt x="18" y="41"/>
                    <a:pt x="17" y="38"/>
                  </a:cubicBezTo>
                  <a:cubicBezTo>
                    <a:pt x="16" y="36"/>
                    <a:pt x="17" y="37"/>
                    <a:pt x="15" y="34"/>
                  </a:cubicBezTo>
                  <a:cubicBezTo>
                    <a:pt x="14" y="30"/>
                    <a:pt x="14" y="32"/>
                    <a:pt x="13" y="27"/>
                  </a:cubicBezTo>
                  <a:cubicBezTo>
                    <a:pt x="12" y="22"/>
                    <a:pt x="11" y="21"/>
                    <a:pt x="9" y="17"/>
                  </a:cubicBezTo>
                  <a:cubicBezTo>
                    <a:pt x="7" y="13"/>
                    <a:pt x="7" y="13"/>
                    <a:pt x="7" y="9"/>
                  </a:cubicBezTo>
                  <a:cubicBezTo>
                    <a:pt x="5" y="2"/>
                    <a:pt x="0" y="0"/>
                    <a:pt x="2" y="3"/>
                  </a:cubicBezTo>
                  <a:cubicBezTo>
                    <a:pt x="4" y="7"/>
                    <a:pt x="4" y="15"/>
                    <a:pt x="4" y="1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49" name="Freeform 1129">
              <a:extLst>
                <a:ext uri="{FF2B5EF4-FFF2-40B4-BE49-F238E27FC236}">
                  <a16:creationId xmlns:a16="http://schemas.microsoft.com/office/drawing/2014/main" id="{41459C50-0DEA-A949-AF32-A5FED0E75CE3}"/>
                </a:ext>
              </a:extLst>
            </p:cNvPr>
            <p:cNvSpPr>
              <a:spLocks/>
            </p:cNvSpPr>
            <p:nvPr/>
          </p:nvSpPr>
          <p:spPr bwMode="auto">
            <a:xfrm>
              <a:off x="6743721" y="2530932"/>
              <a:ext cx="31750" cy="34925"/>
            </a:xfrm>
            <a:custGeom>
              <a:avLst/>
              <a:gdLst>
                <a:gd name="T0" fmla="*/ 27 w 34"/>
                <a:gd name="T1" fmla="*/ 21 h 37"/>
                <a:gd name="T2" fmla="*/ 23 w 34"/>
                <a:gd name="T3" fmla="*/ 9 h 37"/>
                <a:gd name="T4" fmla="*/ 17 w 34"/>
                <a:gd name="T5" fmla="*/ 11 h 37"/>
                <a:gd name="T6" fmla="*/ 18 w 34"/>
                <a:gd name="T7" fmla="*/ 29 h 37"/>
                <a:gd name="T8" fmla="*/ 5 w 34"/>
                <a:gd name="T9" fmla="*/ 23 h 37"/>
                <a:gd name="T10" fmla="*/ 0 w 34"/>
                <a:gd name="T11" fmla="*/ 14 h 37"/>
                <a:gd name="T12" fmla="*/ 11 w 34"/>
                <a:gd name="T13" fmla="*/ 9 h 37"/>
                <a:gd name="T14" fmla="*/ 20 w 34"/>
                <a:gd name="T15" fmla="*/ 2 h 37"/>
                <a:gd name="T16" fmla="*/ 25 w 34"/>
                <a:gd name="T17" fmla="*/ 4 h 37"/>
                <a:gd name="T18" fmla="*/ 28 w 34"/>
                <a:gd name="T19" fmla="*/ 5 h 37"/>
                <a:gd name="T20" fmla="*/ 28 w 34"/>
                <a:gd name="T21" fmla="*/ 7 h 37"/>
                <a:gd name="T22" fmla="*/ 32 w 34"/>
                <a:gd name="T23" fmla="*/ 17 h 37"/>
                <a:gd name="T24" fmla="*/ 27 w 34"/>
                <a:gd name="T25"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7">
                  <a:moveTo>
                    <a:pt x="27" y="21"/>
                  </a:moveTo>
                  <a:cubicBezTo>
                    <a:pt x="25" y="21"/>
                    <a:pt x="22" y="14"/>
                    <a:pt x="23" y="9"/>
                  </a:cubicBezTo>
                  <a:cubicBezTo>
                    <a:pt x="23" y="5"/>
                    <a:pt x="19" y="9"/>
                    <a:pt x="17" y="11"/>
                  </a:cubicBezTo>
                  <a:cubicBezTo>
                    <a:pt x="16" y="13"/>
                    <a:pt x="20" y="22"/>
                    <a:pt x="18" y="29"/>
                  </a:cubicBezTo>
                  <a:cubicBezTo>
                    <a:pt x="17" y="37"/>
                    <a:pt x="9" y="28"/>
                    <a:pt x="5" y="23"/>
                  </a:cubicBezTo>
                  <a:cubicBezTo>
                    <a:pt x="2" y="18"/>
                    <a:pt x="2" y="17"/>
                    <a:pt x="0" y="14"/>
                  </a:cubicBezTo>
                  <a:cubicBezTo>
                    <a:pt x="4" y="13"/>
                    <a:pt x="7" y="13"/>
                    <a:pt x="11" y="9"/>
                  </a:cubicBezTo>
                  <a:cubicBezTo>
                    <a:pt x="16" y="5"/>
                    <a:pt x="17" y="0"/>
                    <a:pt x="20" y="2"/>
                  </a:cubicBezTo>
                  <a:cubicBezTo>
                    <a:pt x="22" y="3"/>
                    <a:pt x="19" y="4"/>
                    <a:pt x="25" y="4"/>
                  </a:cubicBezTo>
                  <a:cubicBezTo>
                    <a:pt x="26" y="4"/>
                    <a:pt x="27" y="5"/>
                    <a:pt x="28" y="5"/>
                  </a:cubicBezTo>
                  <a:cubicBezTo>
                    <a:pt x="28" y="6"/>
                    <a:pt x="28" y="6"/>
                    <a:pt x="28" y="7"/>
                  </a:cubicBezTo>
                  <a:cubicBezTo>
                    <a:pt x="29" y="10"/>
                    <a:pt x="30" y="9"/>
                    <a:pt x="32" y="17"/>
                  </a:cubicBezTo>
                  <a:cubicBezTo>
                    <a:pt x="34" y="24"/>
                    <a:pt x="30" y="22"/>
                    <a:pt x="27" y="2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50" name="Freeform 1130">
              <a:extLst>
                <a:ext uri="{FF2B5EF4-FFF2-40B4-BE49-F238E27FC236}">
                  <a16:creationId xmlns:a16="http://schemas.microsoft.com/office/drawing/2014/main" id="{39267276-DA13-6A4C-994D-CE1793BA81FB}"/>
                </a:ext>
              </a:extLst>
            </p:cNvPr>
            <p:cNvSpPr>
              <a:spLocks/>
            </p:cNvSpPr>
            <p:nvPr/>
          </p:nvSpPr>
          <p:spPr bwMode="auto">
            <a:xfrm>
              <a:off x="6681809" y="2505532"/>
              <a:ext cx="63500" cy="28575"/>
            </a:xfrm>
            <a:custGeom>
              <a:avLst/>
              <a:gdLst>
                <a:gd name="T0" fmla="*/ 40 w 40"/>
                <a:gd name="T1" fmla="*/ 18 h 18"/>
                <a:gd name="T2" fmla="*/ 37 w 40"/>
                <a:gd name="T3" fmla="*/ 14 h 18"/>
                <a:gd name="T4" fmla="*/ 37 w 40"/>
                <a:gd name="T5" fmla="*/ 16 h 18"/>
                <a:gd name="T6" fmla="*/ 0 w 40"/>
                <a:gd name="T7" fmla="*/ 0 h 18"/>
                <a:gd name="T8" fmla="*/ 0 w 40"/>
                <a:gd name="T9" fmla="*/ 1 h 18"/>
                <a:gd name="T10" fmla="*/ 37 w 40"/>
                <a:gd name="T11" fmla="*/ 17 h 18"/>
                <a:gd name="T12" fmla="*/ 36 w 40"/>
                <a:gd name="T13" fmla="*/ 18 h 18"/>
                <a:gd name="T14" fmla="*/ 40 w 40"/>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8">
                  <a:moveTo>
                    <a:pt x="40" y="18"/>
                  </a:moveTo>
                  <a:lnTo>
                    <a:pt x="37" y="14"/>
                  </a:lnTo>
                  <a:lnTo>
                    <a:pt x="37" y="16"/>
                  </a:lnTo>
                  <a:lnTo>
                    <a:pt x="0" y="0"/>
                  </a:lnTo>
                  <a:lnTo>
                    <a:pt x="0" y="1"/>
                  </a:lnTo>
                  <a:lnTo>
                    <a:pt x="37" y="17"/>
                  </a:lnTo>
                  <a:lnTo>
                    <a:pt x="36" y="18"/>
                  </a:lnTo>
                  <a:lnTo>
                    <a:pt x="40" y="18"/>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51" name="Freeform 1131">
              <a:extLst>
                <a:ext uri="{FF2B5EF4-FFF2-40B4-BE49-F238E27FC236}">
                  <a16:creationId xmlns:a16="http://schemas.microsoft.com/office/drawing/2014/main" id="{F3F24817-161E-4847-9238-DF59CCEBC67E}"/>
                </a:ext>
              </a:extLst>
            </p:cNvPr>
            <p:cNvSpPr>
              <a:spLocks/>
            </p:cNvSpPr>
            <p:nvPr/>
          </p:nvSpPr>
          <p:spPr bwMode="auto">
            <a:xfrm>
              <a:off x="6488133" y="2634120"/>
              <a:ext cx="22225" cy="9525"/>
            </a:xfrm>
            <a:custGeom>
              <a:avLst/>
              <a:gdLst>
                <a:gd name="T0" fmla="*/ 12 w 23"/>
                <a:gd name="T1" fmla="*/ 2 h 10"/>
                <a:gd name="T2" fmla="*/ 8 w 23"/>
                <a:gd name="T3" fmla="*/ 1 h 10"/>
                <a:gd name="T4" fmla="*/ 4 w 23"/>
                <a:gd name="T5" fmla="*/ 1 h 10"/>
                <a:gd name="T6" fmla="*/ 1 w 23"/>
                <a:gd name="T7" fmla="*/ 3 h 10"/>
                <a:gd name="T8" fmla="*/ 5 w 23"/>
                <a:gd name="T9" fmla="*/ 7 h 10"/>
                <a:gd name="T10" fmla="*/ 15 w 23"/>
                <a:gd name="T11" fmla="*/ 10 h 10"/>
                <a:gd name="T12" fmla="*/ 20 w 23"/>
                <a:gd name="T13" fmla="*/ 8 h 10"/>
                <a:gd name="T14" fmla="*/ 19 w 23"/>
                <a:gd name="T15" fmla="*/ 3 h 10"/>
                <a:gd name="T16" fmla="*/ 21 w 23"/>
                <a:gd name="T17" fmla="*/ 0 h 10"/>
                <a:gd name="T18" fmla="*/ 12 w 2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10">
                  <a:moveTo>
                    <a:pt x="12" y="2"/>
                  </a:moveTo>
                  <a:cubicBezTo>
                    <a:pt x="10" y="2"/>
                    <a:pt x="9" y="1"/>
                    <a:pt x="8" y="1"/>
                  </a:cubicBezTo>
                  <a:cubicBezTo>
                    <a:pt x="7" y="1"/>
                    <a:pt x="5" y="0"/>
                    <a:pt x="4" y="1"/>
                  </a:cubicBezTo>
                  <a:cubicBezTo>
                    <a:pt x="3" y="1"/>
                    <a:pt x="0" y="1"/>
                    <a:pt x="1" y="3"/>
                  </a:cubicBezTo>
                  <a:cubicBezTo>
                    <a:pt x="1" y="4"/>
                    <a:pt x="1" y="6"/>
                    <a:pt x="5" y="7"/>
                  </a:cubicBezTo>
                  <a:cubicBezTo>
                    <a:pt x="8" y="9"/>
                    <a:pt x="11" y="10"/>
                    <a:pt x="15" y="10"/>
                  </a:cubicBezTo>
                  <a:cubicBezTo>
                    <a:pt x="18" y="10"/>
                    <a:pt x="21" y="10"/>
                    <a:pt x="20" y="8"/>
                  </a:cubicBezTo>
                  <a:cubicBezTo>
                    <a:pt x="20" y="6"/>
                    <a:pt x="18" y="4"/>
                    <a:pt x="19" y="3"/>
                  </a:cubicBezTo>
                  <a:cubicBezTo>
                    <a:pt x="20" y="2"/>
                    <a:pt x="23" y="1"/>
                    <a:pt x="21" y="0"/>
                  </a:cubicBezTo>
                  <a:cubicBezTo>
                    <a:pt x="19" y="0"/>
                    <a:pt x="15" y="0"/>
                    <a:pt x="12" y="2"/>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52" name="Freeform 1132">
              <a:extLst>
                <a:ext uri="{FF2B5EF4-FFF2-40B4-BE49-F238E27FC236}">
                  <a16:creationId xmlns:a16="http://schemas.microsoft.com/office/drawing/2014/main" id="{009A1ECF-88FD-5246-B212-16F11F46EDAD}"/>
                </a:ext>
              </a:extLst>
            </p:cNvPr>
            <p:cNvSpPr>
              <a:spLocks/>
            </p:cNvSpPr>
            <p:nvPr/>
          </p:nvSpPr>
          <p:spPr bwMode="auto">
            <a:xfrm>
              <a:off x="6511946" y="2619832"/>
              <a:ext cx="47625" cy="15875"/>
            </a:xfrm>
            <a:custGeom>
              <a:avLst/>
              <a:gdLst>
                <a:gd name="T0" fmla="*/ 30 w 30"/>
                <a:gd name="T1" fmla="*/ 1 h 10"/>
                <a:gd name="T2" fmla="*/ 29 w 30"/>
                <a:gd name="T3" fmla="*/ 0 h 10"/>
                <a:gd name="T4" fmla="*/ 3 w 30"/>
                <a:gd name="T5" fmla="*/ 9 h 10"/>
                <a:gd name="T6" fmla="*/ 3 w 30"/>
                <a:gd name="T7" fmla="*/ 7 h 10"/>
                <a:gd name="T8" fmla="*/ 0 w 30"/>
                <a:gd name="T9" fmla="*/ 10 h 10"/>
                <a:gd name="T10" fmla="*/ 5 w 30"/>
                <a:gd name="T11" fmla="*/ 10 h 10"/>
                <a:gd name="T12" fmla="*/ 3 w 30"/>
                <a:gd name="T13" fmla="*/ 10 h 10"/>
                <a:gd name="T14" fmla="*/ 30 w 30"/>
                <a:gd name="T15" fmla="*/ 1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0">
                  <a:moveTo>
                    <a:pt x="30" y="1"/>
                  </a:moveTo>
                  <a:lnTo>
                    <a:pt x="29" y="0"/>
                  </a:lnTo>
                  <a:lnTo>
                    <a:pt x="3" y="9"/>
                  </a:lnTo>
                  <a:lnTo>
                    <a:pt x="3" y="7"/>
                  </a:lnTo>
                  <a:lnTo>
                    <a:pt x="0" y="10"/>
                  </a:lnTo>
                  <a:lnTo>
                    <a:pt x="5" y="10"/>
                  </a:lnTo>
                  <a:lnTo>
                    <a:pt x="3" y="10"/>
                  </a:lnTo>
                  <a:lnTo>
                    <a:pt x="30" y="1"/>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53" name="Freeform 1652">
              <a:extLst>
                <a:ext uri="{FF2B5EF4-FFF2-40B4-BE49-F238E27FC236}">
                  <a16:creationId xmlns:a16="http://schemas.microsoft.com/office/drawing/2014/main" id="{547D47F6-C9B8-F54F-B440-E439A3544434}"/>
                </a:ext>
              </a:extLst>
            </p:cNvPr>
            <p:cNvSpPr>
              <a:spLocks/>
            </p:cNvSpPr>
            <p:nvPr/>
          </p:nvSpPr>
          <p:spPr bwMode="auto">
            <a:xfrm>
              <a:off x="6637123" y="2479622"/>
              <a:ext cx="232565" cy="164023"/>
            </a:xfrm>
            <a:custGeom>
              <a:avLst/>
              <a:gdLst>
                <a:gd name="connsiteX0" fmla="*/ 165788 w 232565"/>
                <a:gd name="connsiteY0" fmla="*/ 529 h 164023"/>
                <a:gd name="connsiteX1" fmla="*/ 169609 w 232565"/>
                <a:gd name="connsiteY1" fmla="*/ 10090 h 164023"/>
                <a:gd name="connsiteX2" fmla="*/ 169653 w 232565"/>
                <a:gd name="connsiteY2" fmla="*/ 9954 h 164023"/>
                <a:gd name="connsiteX3" fmla="*/ 169701 w 232565"/>
                <a:gd name="connsiteY3" fmla="*/ 10050 h 164023"/>
                <a:gd name="connsiteX4" fmla="*/ 171467 w 232565"/>
                <a:gd name="connsiteY4" fmla="*/ 4332 h 164023"/>
                <a:gd name="connsiteX5" fmla="*/ 172116 w 232565"/>
                <a:gd name="connsiteY5" fmla="*/ 2321 h 164023"/>
                <a:gd name="connsiteX6" fmla="*/ 175339 w 232565"/>
                <a:gd name="connsiteY6" fmla="*/ 2441 h 164023"/>
                <a:gd name="connsiteX7" fmla="*/ 180114 w 232565"/>
                <a:gd name="connsiteY7" fmla="*/ 9134 h 164023"/>
                <a:gd name="connsiteX8" fmla="*/ 187755 w 232565"/>
                <a:gd name="connsiteY8" fmla="*/ 12002 h 164023"/>
                <a:gd name="connsiteX9" fmla="*/ 192531 w 232565"/>
                <a:gd name="connsiteY9" fmla="*/ 16783 h 164023"/>
                <a:gd name="connsiteX10" fmla="*/ 187755 w 232565"/>
                <a:gd name="connsiteY10" fmla="*/ 27300 h 164023"/>
                <a:gd name="connsiteX11" fmla="*/ 195396 w 232565"/>
                <a:gd name="connsiteY11" fmla="*/ 25387 h 164023"/>
                <a:gd name="connsiteX12" fmla="*/ 199216 w 232565"/>
                <a:gd name="connsiteY12" fmla="*/ 33036 h 164023"/>
                <a:gd name="connsiteX13" fmla="*/ 209722 w 232565"/>
                <a:gd name="connsiteY13" fmla="*/ 33992 h 164023"/>
                <a:gd name="connsiteX14" fmla="*/ 218318 w 232565"/>
                <a:gd name="connsiteY14" fmla="*/ 40685 h 164023"/>
                <a:gd name="connsiteX15" fmla="*/ 229421 w 232565"/>
                <a:gd name="connsiteY15" fmla="*/ 42598 h 164023"/>
                <a:gd name="connsiteX16" fmla="*/ 232565 w 232565"/>
                <a:gd name="connsiteY16" fmla="*/ 44463 h 164023"/>
                <a:gd name="connsiteX17" fmla="*/ 229188 w 232565"/>
                <a:gd name="connsiteY17" fmla="*/ 48070 h 164023"/>
                <a:gd name="connsiteX18" fmla="*/ 225016 w 232565"/>
                <a:gd name="connsiteY18" fmla="*/ 51050 h 164023"/>
                <a:gd name="connsiteX19" fmla="*/ 212618 w 232565"/>
                <a:gd name="connsiteY19" fmla="*/ 55818 h 164023"/>
                <a:gd name="connsiteX20" fmla="*/ 202127 w 232565"/>
                <a:gd name="connsiteY20" fmla="*/ 55818 h 164023"/>
                <a:gd name="connsiteX21" fmla="*/ 202279 w 232565"/>
                <a:gd name="connsiteY21" fmla="*/ 55932 h 164023"/>
                <a:gd name="connsiteX22" fmla="*/ 202081 w 232565"/>
                <a:gd name="connsiteY22" fmla="*/ 55983 h 164023"/>
                <a:gd name="connsiteX23" fmla="*/ 210677 w 232565"/>
                <a:gd name="connsiteY23" fmla="*/ 62676 h 164023"/>
                <a:gd name="connsiteX24" fmla="*/ 214071 w 232565"/>
                <a:gd name="connsiteY24" fmla="*/ 67946 h 164023"/>
                <a:gd name="connsiteX25" fmla="*/ 212618 w 232565"/>
                <a:gd name="connsiteY25" fmla="*/ 71073 h 164023"/>
                <a:gd name="connsiteX26" fmla="*/ 202127 w 232565"/>
                <a:gd name="connsiteY26" fmla="*/ 73934 h 164023"/>
                <a:gd name="connsiteX27" fmla="*/ 190682 w 232565"/>
                <a:gd name="connsiteY27" fmla="*/ 73934 h 164023"/>
                <a:gd name="connsiteX28" fmla="*/ 187611 w 232565"/>
                <a:gd name="connsiteY28" fmla="*/ 75981 h 164023"/>
                <a:gd name="connsiteX29" fmla="*/ 179159 w 232565"/>
                <a:gd name="connsiteY29" fmla="*/ 71281 h 164023"/>
                <a:gd name="connsiteX30" fmla="*/ 160058 w 232565"/>
                <a:gd name="connsiteY30" fmla="*/ 70325 h 164023"/>
                <a:gd name="connsiteX31" fmla="*/ 145731 w 232565"/>
                <a:gd name="connsiteY31" fmla="*/ 74149 h 164023"/>
                <a:gd name="connsiteX32" fmla="*/ 141911 w 232565"/>
                <a:gd name="connsiteY32" fmla="*/ 95183 h 164023"/>
                <a:gd name="connsiteX33" fmla="*/ 131405 w 232565"/>
                <a:gd name="connsiteY33" fmla="*/ 107613 h 164023"/>
                <a:gd name="connsiteX34" fmla="*/ 133315 w 232565"/>
                <a:gd name="connsiteY34" fmla="*/ 115262 h 164023"/>
                <a:gd name="connsiteX35" fmla="*/ 130450 w 232565"/>
                <a:gd name="connsiteY35" fmla="*/ 124823 h 164023"/>
                <a:gd name="connsiteX36" fmla="*/ 124720 w 232565"/>
                <a:gd name="connsiteY36" fmla="*/ 132472 h 164023"/>
                <a:gd name="connsiteX37" fmla="*/ 120899 w 232565"/>
                <a:gd name="connsiteY37" fmla="*/ 143945 h 164023"/>
                <a:gd name="connsiteX38" fmla="*/ 111348 w 232565"/>
                <a:gd name="connsiteY38" fmla="*/ 148725 h 164023"/>
                <a:gd name="connsiteX39" fmla="*/ 99887 w 232565"/>
                <a:gd name="connsiteY39" fmla="*/ 152550 h 164023"/>
                <a:gd name="connsiteX40" fmla="*/ 84606 w 232565"/>
                <a:gd name="connsiteY40" fmla="*/ 148725 h 164023"/>
                <a:gd name="connsiteX41" fmla="*/ 72190 w 232565"/>
                <a:gd name="connsiteY41" fmla="*/ 145857 h 164023"/>
                <a:gd name="connsiteX42" fmla="*/ 59774 w 232565"/>
                <a:gd name="connsiteY42" fmla="*/ 156374 h 164023"/>
                <a:gd name="connsiteX43" fmla="*/ 43537 w 232565"/>
                <a:gd name="connsiteY43" fmla="*/ 161155 h 164023"/>
                <a:gd name="connsiteX44" fmla="*/ 26346 w 232565"/>
                <a:gd name="connsiteY44" fmla="*/ 164023 h 164023"/>
                <a:gd name="connsiteX45" fmla="*/ 9154 w 232565"/>
                <a:gd name="connsiteY45" fmla="*/ 152550 h 164023"/>
                <a:gd name="connsiteX46" fmla="*/ 1514 w 232565"/>
                <a:gd name="connsiteY46" fmla="*/ 142989 h 164023"/>
                <a:gd name="connsiteX47" fmla="*/ 1514 w 232565"/>
                <a:gd name="connsiteY47" fmla="*/ 137252 h 164023"/>
                <a:gd name="connsiteX48" fmla="*/ 7244 w 232565"/>
                <a:gd name="connsiteY48" fmla="*/ 140120 h 164023"/>
                <a:gd name="connsiteX49" fmla="*/ 18705 w 232565"/>
                <a:gd name="connsiteY49" fmla="*/ 142033 h 164023"/>
                <a:gd name="connsiteX50" fmla="*/ 29211 w 232565"/>
                <a:gd name="connsiteY50" fmla="*/ 145857 h 164023"/>
                <a:gd name="connsiteX51" fmla="*/ 35658 w 232565"/>
                <a:gd name="connsiteY51" fmla="*/ 146335 h 164023"/>
                <a:gd name="connsiteX52" fmla="*/ 35830 w 232565"/>
                <a:gd name="connsiteY52" fmla="*/ 145914 h 164023"/>
                <a:gd name="connsiteX53" fmla="*/ 35942 w 232565"/>
                <a:gd name="connsiteY53" fmla="*/ 145922 h 164023"/>
                <a:gd name="connsiteX54" fmla="*/ 38088 w 232565"/>
                <a:gd name="connsiteY54" fmla="*/ 140678 h 164023"/>
                <a:gd name="connsiteX55" fmla="*/ 40950 w 232565"/>
                <a:gd name="connsiteY55" fmla="*/ 125422 h 164023"/>
                <a:gd name="connsiteX56" fmla="*/ 41665 w 232565"/>
                <a:gd name="connsiteY56" fmla="*/ 117317 h 164023"/>
                <a:gd name="connsiteX57" fmla="*/ 43694 w 232565"/>
                <a:gd name="connsiteY57" fmla="*/ 112361 h 164023"/>
                <a:gd name="connsiteX58" fmla="*/ 66459 w 232565"/>
                <a:gd name="connsiteY58" fmla="*/ 107613 h 164023"/>
                <a:gd name="connsiteX59" fmla="*/ 80786 w 232565"/>
                <a:gd name="connsiteY59" fmla="*/ 101876 h 164023"/>
                <a:gd name="connsiteX60" fmla="*/ 80898 w 232565"/>
                <a:gd name="connsiteY60" fmla="*/ 101685 h 164023"/>
                <a:gd name="connsiteX61" fmla="*/ 81005 w 232565"/>
                <a:gd name="connsiteY61" fmla="*/ 101585 h 164023"/>
                <a:gd name="connsiteX62" fmla="*/ 84384 w 232565"/>
                <a:gd name="connsiteY62" fmla="*/ 95701 h 164023"/>
                <a:gd name="connsiteX63" fmla="*/ 84920 w 232565"/>
                <a:gd name="connsiteY63" fmla="*/ 94781 h 164023"/>
                <a:gd name="connsiteX64" fmla="*/ 87681 w 232565"/>
                <a:gd name="connsiteY64" fmla="*/ 90143 h 164023"/>
                <a:gd name="connsiteX65" fmla="*/ 92450 w 232565"/>
                <a:gd name="connsiteY65" fmla="*/ 82515 h 164023"/>
                <a:gd name="connsiteX66" fmla="*/ 100080 w 232565"/>
                <a:gd name="connsiteY66" fmla="*/ 72027 h 164023"/>
                <a:gd name="connsiteX67" fmla="*/ 100914 w 232565"/>
                <a:gd name="connsiteY67" fmla="*/ 66664 h 164023"/>
                <a:gd name="connsiteX68" fmla="*/ 103722 w 232565"/>
                <a:gd name="connsiteY68" fmla="*/ 63632 h 164023"/>
                <a:gd name="connsiteX69" fmla="*/ 105618 w 232565"/>
                <a:gd name="connsiteY69" fmla="*/ 63632 h 164023"/>
                <a:gd name="connsiteX70" fmla="*/ 110393 w 232565"/>
                <a:gd name="connsiteY70" fmla="*/ 72237 h 164023"/>
                <a:gd name="connsiteX71" fmla="*/ 122809 w 232565"/>
                <a:gd name="connsiteY71" fmla="*/ 77973 h 164023"/>
                <a:gd name="connsiteX72" fmla="*/ 121854 w 232565"/>
                <a:gd name="connsiteY72" fmla="*/ 60763 h 164023"/>
                <a:gd name="connsiteX73" fmla="*/ 127585 w 232565"/>
                <a:gd name="connsiteY73" fmla="*/ 58851 h 164023"/>
                <a:gd name="connsiteX74" fmla="*/ 131405 w 232565"/>
                <a:gd name="connsiteY74" fmla="*/ 70325 h 164023"/>
                <a:gd name="connsiteX75" fmla="*/ 136181 w 232565"/>
                <a:gd name="connsiteY75" fmla="*/ 66500 h 164023"/>
                <a:gd name="connsiteX76" fmla="*/ 132360 w 232565"/>
                <a:gd name="connsiteY76" fmla="*/ 56939 h 164023"/>
                <a:gd name="connsiteX77" fmla="*/ 132360 w 232565"/>
                <a:gd name="connsiteY77" fmla="*/ 55027 h 164023"/>
                <a:gd name="connsiteX78" fmla="*/ 133768 w 232565"/>
                <a:gd name="connsiteY78" fmla="*/ 54557 h 164023"/>
                <a:gd name="connsiteX79" fmla="*/ 135725 w 232565"/>
                <a:gd name="connsiteY79" fmla="*/ 54864 h 164023"/>
                <a:gd name="connsiteX80" fmla="*/ 137966 w 232565"/>
                <a:gd name="connsiteY80" fmla="*/ 53157 h 164023"/>
                <a:gd name="connsiteX81" fmla="*/ 138091 w 232565"/>
                <a:gd name="connsiteY81" fmla="*/ 53115 h 164023"/>
                <a:gd name="connsiteX82" fmla="*/ 138091 w 232565"/>
                <a:gd name="connsiteY82" fmla="*/ 53062 h 164023"/>
                <a:gd name="connsiteX83" fmla="*/ 138228 w 232565"/>
                <a:gd name="connsiteY83" fmla="*/ 52957 h 164023"/>
                <a:gd name="connsiteX84" fmla="*/ 138228 w 232565"/>
                <a:gd name="connsiteY84" fmla="*/ 47236 h 164023"/>
                <a:gd name="connsiteX85" fmla="*/ 136321 w 232565"/>
                <a:gd name="connsiteY85" fmla="*/ 43422 h 164023"/>
                <a:gd name="connsiteX86" fmla="*/ 137967 w 232565"/>
                <a:gd name="connsiteY86" fmla="*/ 39544 h 164023"/>
                <a:gd name="connsiteX87" fmla="*/ 140956 w 232565"/>
                <a:gd name="connsiteY87" fmla="*/ 37817 h 164023"/>
                <a:gd name="connsiteX88" fmla="*/ 144615 w 232565"/>
                <a:gd name="connsiteY88" fmla="*/ 34764 h 164023"/>
                <a:gd name="connsiteX89" fmla="*/ 146812 w 232565"/>
                <a:gd name="connsiteY89" fmla="*/ 32934 h 164023"/>
                <a:gd name="connsiteX90" fmla="*/ 154441 w 232565"/>
                <a:gd name="connsiteY90" fmla="*/ 22446 h 164023"/>
                <a:gd name="connsiteX91" fmla="*/ 161117 w 232565"/>
                <a:gd name="connsiteY91" fmla="*/ 11004 h 164023"/>
                <a:gd name="connsiteX92" fmla="*/ 162638 w 232565"/>
                <a:gd name="connsiteY92" fmla="*/ 5760 h 164023"/>
                <a:gd name="connsiteX93" fmla="*/ 163401 w 232565"/>
                <a:gd name="connsiteY93" fmla="*/ 3277 h 164023"/>
                <a:gd name="connsiteX94" fmla="*/ 165788 w 232565"/>
                <a:gd name="connsiteY94" fmla="*/ 529 h 164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232565" h="164023">
                  <a:moveTo>
                    <a:pt x="165788" y="529"/>
                  </a:moveTo>
                  <a:cubicBezTo>
                    <a:pt x="167698" y="3397"/>
                    <a:pt x="169609" y="13914"/>
                    <a:pt x="169609" y="10090"/>
                  </a:cubicBezTo>
                  <a:lnTo>
                    <a:pt x="169653" y="9954"/>
                  </a:lnTo>
                  <a:lnTo>
                    <a:pt x="169701" y="10050"/>
                  </a:lnTo>
                  <a:lnTo>
                    <a:pt x="171467" y="4332"/>
                  </a:lnTo>
                  <a:lnTo>
                    <a:pt x="172116" y="2321"/>
                  </a:lnTo>
                  <a:cubicBezTo>
                    <a:pt x="173429" y="51"/>
                    <a:pt x="174862" y="-905"/>
                    <a:pt x="175339" y="2441"/>
                  </a:cubicBezTo>
                  <a:cubicBezTo>
                    <a:pt x="176294" y="7221"/>
                    <a:pt x="176294" y="5309"/>
                    <a:pt x="180114" y="9134"/>
                  </a:cubicBezTo>
                  <a:cubicBezTo>
                    <a:pt x="182980" y="12002"/>
                    <a:pt x="185845" y="9134"/>
                    <a:pt x="187755" y="12002"/>
                  </a:cubicBezTo>
                  <a:cubicBezTo>
                    <a:pt x="189665" y="15826"/>
                    <a:pt x="195396" y="12002"/>
                    <a:pt x="192531" y="16783"/>
                  </a:cubicBezTo>
                  <a:cubicBezTo>
                    <a:pt x="189665" y="21563"/>
                    <a:pt x="184890" y="25387"/>
                    <a:pt x="187755" y="27300"/>
                  </a:cubicBezTo>
                  <a:cubicBezTo>
                    <a:pt x="190620" y="29212"/>
                    <a:pt x="195396" y="23475"/>
                    <a:pt x="195396" y="25387"/>
                  </a:cubicBezTo>
                  <a:cubicBezTo>
                    <a:pt x="196351" y="28256"/>
                    <a:pt x="193486" y="31124"/>
                    <a:pt x="199216" y="33036"/>
                  </a:cubicBezTo>
                  <a:cubicBezTo>
                    <a:pt x="204947" y="33992"/>
                    <a:pt x="204947" y="29212"/>
                    <a:pt x="209722" y="33992"/>
                  </a:cubicBezTo>
                  <a:cubicBezTo>
                    <a:pt x="214498" y="39729"/>
                    <a:pt x="207812" y="35905"/>
                    <a:pt x="218318" y="40685"/>
                  </a:cubicBezTo>
                  <a:cubicBezTo>
                    <a:pt x="223094" y="42598"/>
                    <a:pt x="226914" y="42598"/>
                    <a:pt x="229421" y="42598"/>
                  </a:cubicBezTo>
                  <a:lnTo>
                    <a:pt x="232565" y="44463"/>
                  </a:lnTo>
                  <a:lnTo>
                    <a:pt x="229188" y="48070"/>
                  </a:lnTo>
                  <a:cubicBezTo>
                    <a:pt x="227639" y="48666"/>
                    <a:pt x="225970" y="49143"/>
                    <a:pt x="225016" y="51050"/>
                  </a:cubicBezTo>
                  <a:cubicBezTo>
                    <a:pt x="222155" y="55818"/>
                    <a:pt x="216432" y="55818"/>
                    <a:pt x="212618" y="55818"/>
                  </a:cubicBezTo>
                  <a:cubicBezTo>
                    <a:pt x="208803" y="55818"/>
                    <a:pt x="203080" y="52957"/>
                    <a:pt x="202127" y="55818"/>
                  </a:cubicBezTo>
                  <a:lnTo>
                    <a:pt x="202279" y="55932"/>
                  </a:lnTo>
                  <a:lnTo>
                    <a:pt x="202081" y="55983"/>
                  </a:lnTo>
                  <a:cubicBezTo>
                    <a:pt x="202081" y="59807"/>
                    <a:pt x="206857" y="56939"/>
                    <a:pt x="210677" y="62676"/>
                  </a:cubicBezTo>
                  <a:lnTo>
                    <a:pt x="214071" y="67946"/>
                  </a:lnTo>
                  <a:lnTo>
                    <a:pt x="212618" y="71073"/>
                  </a:lnTo>
                  <a:cubicBezTo>
                    <a:pt x="209756" y="72980"/>
                    <a:pt x="207849" y="72980"/>
                    <a:pt x="202127" y="73934"/>
                  </a:cubicBezTo>
                  <a:cubicBezTo>
                    <a:pt x="196405" y="74887"/>
                    <a:pt x="193543" y="71073"/>
                    <a:pt x="190682" y="73934"/>
                  </a:cubicBezTo>
                  <a:lnTo>
                    <a:pt x="187611" y="75981"/>
                  </a:lnTo>
                  <a:lnTo>
                    <a:pt x="179159" y="71281"/>
                  </a:lnTo>
                  <a:cubicBezTo>
                    <a:pt x="175339" y="71281"/>
                    <a:pt x="164833" y="71281"/>
                    <a:pt x="160058" y="70325"/>
                  </a:cubicBezTo>
                  <a:cubicBezTo>
                    <a:pt x="155282" y="69368"/>
                    <a:pt x="149552" y="71281"/>
                    <a:pt x="145731" y="74149"/>
                  </a:cubicBezTo>
                  <a:cubicBezTo>
                    <a:pt x="141911" y="77973"/>
                    <a:pt x="145731" y="86578"/>
                    <a:pt x="141911" y="95183"/>
                  </a:cubicBezTo>
                  <a:cubicBezTo>
                    <a:pt x="138091" y="104744"/>
                    <a:pt x="136181" y="106657"/>
                    <a:pt x="131405" y="107613"/>
                  </a:cubicBezTo>
                  <a:cubicBezTo>
                    <a:pt x="127585" y="108569"/>
                    <a:pt x="131405" y="112393"/>
                    <a:pt x="133315" y="115262"/>
                  </a:cubicBezTo>
                  <a:cubicBezTo>
                    <a:pt x="134270" y="118130"/>
                    <a:pt x="134270" y="120998"/>
                    <a:pt x="130450" y="124823"/>
                  </a:cubicBezTo>
                  <a:cubicBezTo>
                    <a:pt x="126630" y="127691"/>
                    <a:pt x="124720" y="126735"/>
                    <a:pt x="124720" y="132472"/>
                  </a:cubicBezTo>
                  <a:cubicBezTo>
                    <a:pt x="124720" y="138208"/>
                    <a:pt x="123764" y="139164"/>
                    <a:pt x="120899" y="143945"/>
                  </a:cubicBezTo>
                  <a:cubicBezTo>
                    <a:pt x="118034" y="149682"/>
                    <a:pt x="118989" y="147769"/>
                    <a:pt x="111348" y="148725"/>
                  </a:cubicBezTo>
                  <a:cubicBezTo>
                    <a:pt x="102753" y="150638"/>
                    <a:pt x="105618" y="149682"/>
                    <a:pt x="99887" y="152550"/>
                  </a:cubicBezTo>
                  <a:cubicBezTo>
                    <a:pt x="94157" y="156374"/>
                    <a:pt x="90336" y="151594"/>
                    <a:pt x="84606" y="148725"/>
                  </a:cubicBezTo>
                  <a:cubicBezTo>
                    <a:pt x="78875" y="145857"/>
                    <a:pt x="77920" y="143945"/>
                    <a:pt x="72190" y="145857"/>
                  </a:cubicBezTo>
                  <a:cubicBezTo>
                    <a:pt x="66459" y="147769"/>
                    <a:pt x="61684" y="149682"/>
                    <a:pt x="59774" y="156374"/>
                  </a:cubicBezTo>
                  <a:cubicBezTo>
                    <a:pt x="56908" y="162111"/>
                    <a:pt x="52133" y="160199"/>
                    <a:pt x="43537" y="161155"/>
                  </a:cubicBezTo>
                  <a:cubicBezTo>
                    <a:pt x="35897" y="162111"/>
                    <a:pt x="33031" y="164023"/>
                    <a:pt x="26346" y="164023"/>
                  </a:cubicBezTo>
                  <a:cubicBezTo>
                    <a:pt x="18705" y="164023"/>
                    <a:pt x="13930" y="157330"/>
                    <a:pt x="9154" y="152550"/>
                  </a:cubicBezTo>
                  <a:cubicBezTo>
                    <a:pt x="4379" y="147769"/>
                    <a:pt x="4379" y="145857"/>
                    <a:pt x="1514" y="142989"/>
                  </a:cubicBezTo>
                  <a:cubicBezTo>
                    <a:pt x="-1352" y="140120"/>
                    <a:pt x="558" y="139164"/>
                    <a:pt x="1514" y="137252"/>
                  </a:cubicBezTo>
                  <a:cubicBezTo>
                    <a:pt x="2469" y="138208"/>
                    <a:pt x="3424" y="138208"/>
                    <a:pt x="7244" y="140120"/>
                  </a:cubicBezTo>
                  <a:cubicBezTo>
                    <a:pt x="15840" y="142033"/>
                    <a:pt x="12975" y="138208"/>
                    <a:pt x="18705" y="142033"/>
                  </a:cubicBezTo>
                  <a:cubicBezTo>
                    <a:pt x="24436" y="144901"/>
                    <a:pt x="22525" y="145857"/>
                    <a:pt x="29211" y="145857"/>
                  </a:cubicBezTo>
                  <a:cubicBezTo>
                    <a:pt x="32076" y="145857"/>
                    <a:pt x="34225" y="146574"/>
                    <a:pt x="35658" y="146335"/>
                  </a:cubicBezTo>
                  <a:lnTo>
                    <a:pt x="35830" y="145914"/>
                  </a:lnTo>
                  <a:lnTo>
                    <a:pt x="35942" y="145922"/>
                  </a:lnTo>
                  <a:cubicBezTo>
                    <a:pt x="37373" y="145683"/>
                    <a:pt x="38088" y="144492"/>
                    <a:pt x="38088" y="140678"/>
                  </a:cubicBezTo>
                  <a:cubicBezTo>
                    <a:pt x="38088" y="133050"/>
                    <a:pt x="39042" y="131143"/>
                    <a:pt x="40950" y="125422"/>
                  </a:cubicBezTo>
                  <a:cubicBezTo>
                    <a:pt x="41904" y="122562"/>
                    <a:pt x="41665" y="119701"/>
                    <a:pt x="41665" y="117317"/>
                  </a:cubicBezTo>
                  <a:lnTo>
                    <a:pt x="43694" y="112361"/>
                  </a:lnTo>
                  <a:lnTo>
                    <a:pt x="66459" y="107613"/>
                  </a:lnTo>
                  <a:cubicBezTo>
                    <a:pt x="76010" y="106657"/>
                    <a:pt x="76965" y="107613"/>
                    <a:pt x="80786" y="101876"/>
                  </a:cubicBezTo>
                  <a:lnTo>
                    <a:pt x="80898" y="101685"/>
                  </a:lnTo>
                  <a:lnTo>
                    <a:pt x="81005" y="101585"/>
                  </a:lnTo>
                  <a:lnTo>
                    <a:pt x="84384" y="95701"/>
                  </a:lnTo>
                  <a:lnTo>
                    <a:pt x="84920" y="94781"/>
                  </a:lnTo>
                  <a:lnTo>
                    <a:pt x="87681" y="90143"/>
                  </a:lnTo>
                  <a:cubicBezTo>
                    <a:pt x="89589" y="85376"/>
                    <a:pt x="88635" y="87282"/>
                    <a:pt x="92450" y="82515"/>
                  </a:cubicBezTo>
                  <a:cubicBezTo>
                    <a:pt x="96265" y="77748"/>
                    <a:pt x="97219" y="76794"/>
                    <a:pt x="100080" y="72027"/>
                  </a:cubicBezTo>
                  <a:cubicBezTo>
                    <a:pt x="101511" y="70120"/>
                    <a:pt x="101034" y="68213"/>
                    <a:pt x="100914" y="66664"/>
                  </a:cubicBezTo>
                  <a:lnTo>
                    <a:pt x="103722" y="63632"/>
                  </a:lnTo>
                  <a:lnTo>
                    <a:pt x="105618" y="63632"/>
                  </a:lnTo>
                  <a:cubicBezTo>
                    <a:pt x="107528" y="66500"/>
                    <a:pt x="107528" y="67456"/>
                    <a:pt x="110393" y="72237"/>
                  </a:cubicBezTo>
                  <a:cubicBezTo>
                    <a:pt x="114214" y="77017"/>
                    <a:pt x="121854" y="85622"/>
                    <a:pt x="122809" y="77973"/>
                  </a:cubicBezTo>
                  <a:cubicBezTo>
                    <a:pt x="124720" y="71281"/>
                    <a:pt x="120899" y="62676"/>
                    <a:pt x="121854" y="60763"/>
                  </a:cubicBezTo>
                  <a:cubicBezTo>
                    <a:pt x="123764" y="58851"/>
                    <a:pt x="127585" y="55027"/>
                    <a:pt x="127585" y="58851"/>
                  </a:cubicBezTo>
                  <a:cubicBezTo>
                    <a:pt x="126630" y="63632"/>
                    <a:pt x="129495" y="70325"/>
                    <a:pt x="131405" y="70325"/>
                  </a:cubicBezTo>
                  <a:cubicBezTo>
                    <a:pt x="134270" y="71281"/>
                    <a:pt x="138091" y="73193"/>
                    <a:pt x="136181" y="66500"/>
                  </a:cubicBezTo>
                  <a:cubicBezTo>
                    <a:pt x="134270" y="58851"/>
                    <a:pt x="133315" y="59807"/>
                    <a:pt x="132360" y="56939"/>
                  </a:cubicBezTo>
                  <a:cubicBezTo>
                    <a:pt x="132360" y="55983"/>
                    <a:pt x="132360" y="55983"/>
                    <a:pt x="132360" y="55027"/>
                  </a:cubicBezTo>
                  <a:lnTo>
                    <a:pt x="133768" y="54557"/>
                  </a:lnTo>
                  <a:lnTo>
                    <a:pt x="135725" y="54864"/>
                  </a:lnTo>
                  <a:lnTo>
                    <a:pt x="137966" y="53157"/>
                  </a:lnTo>
                  <a:lnTo>
                    <a:pt x="138091" y="53115"/>
                  </a:lnTo>
                  <a:lnTo>
                    <a:pt x="138091" y="53062"/>
                  </a:lnTo>
                  <a:lnTo>
                    <a:pt x="138228" y="52957"/>
                  </a:lnTo>
                  <a:cubicBezTo>
                    <a:pt x="138228" y="48190"/>
                    <a:pt x="140136" y="47236"/>
                    <a:pt x="138228" y="47236"/>
                  </a:cubicBezTo>
                  <a:cubicBezTo>
                    <a:pt x="137274" y="46283"/>
                    <a:pt x="133460" y="47236"/>
                    <a:pt x="136321" y="43422"/>
                  </a:cubicBezTo>
                  <a:lnTo>
                    <a:pt x="137967" y="39544"/>
                  </a:lnTo>
                  <a:lnTo>
                    <a:pt x="140956" y="37817"/>
                  </a:lnTo>
                  <a:lnTo>
                    <a:pt x="144615" y="34764"/>
                  </a:lnTo>
                  <a:lnTo>
                    <a:pt x="146812" y="32934"/>
                  </a:lnTo>
                  <a:cubicBezTo>
                    <a:pt x="146812" y="29120"/>
                    <a:pt x="149673" y="27213"/>
                    <a:pt x="154441" y="22446"/>
                  </a:cubicBezTo>
                  <a:cubicBezTo>
                    <a:pt x="158256" y="17678"/>
                    <a:pt x="159210" y="14818"/>
                    <a:pt x="161117" y="11004"/>
                  </a:cubicBezTo>
                  <a:lnTo>
                    <a:pt x="162638" y="5760"/>
                  </a:lnTo>
                  <a:lnTo>
                    <a:pt x="163401" y="3277"/>
                  </a:lnTo>
                  <a:cubicBezTo>
                    <a:pt x="164117" y="768"/>
                    <a:pt x="164833" y="-905"/>
                    <a:pt x="165788" y="52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54" name="Freeform 1653">
              <a:extLst>
                <a:ext uri="{FF2B5EF4-FFF2-40B4-BE49-F238E27FC236}">
                  <a16:creationId xmlns:a16="http://schemas.microsoft.com/office/drawing/2014/main" id="{8566600E-DC82-9D46-9F0B-9B777755C0EA}"/>
                </a:ext>
              </a:extLst>
            </p:cNvPr>
            <p:cNvSpPr>
              <a:spLocks/>
            </p:cNvSpPr>
            <p:nvPr/>
          </p:nvSpPr>
          <p:spPr bwMode="auto">
            <a:xfrm>
              <a:off x="6799761" y="2478696"/>
              <a:ext cx="7015" cy="11843"/>
            </a:xfrm>
            <a:custGeom>
              <a:avLst/>
              <a:gdLst>
                <a:gd name="connsiteX0" fmla="*/ 3248 w 7015"/>
                <a:gd name="connsiteY0" fmla="*/ 488 h 11843"/>
                <a:gd name="connsiteX1" fmla="*/ 5871 w 7015"/>
                <a:gd name="connsiteY1" fmla="*/ 8593 h 11843"/>
                <a:gd name="connsiteX2" fmla="*/ 7015 w 7015"/>
                <a:gd name="connsiteY2" fmla="*/ 10880 h 11843"/>
                <a:gd name="connsiteX3" fmla="*/ 6971 w 7015"/>
                <a:gd name="connsiteY3" fmla="*/ 11016 h 11843"/>
                <a:gd name="connsiteX4" fmla="*/ 3150 w 7015"/>
                <a:gd name="connsiteY4" fmla="*/ 1455 h 11843"/>
                <a:gd name="connsiteX5" fmla="*/ 763 w 7015"/>
                <a:gd name="connsiteY5" fmla="*/ 4203 h 11843"/>
                <a:gd name="connsiteX6" fmla="*/ 0 w 7015"/>
                <a:gd name="connsiteY6" fmla="*/ 6686 h 11843"/>
                <a:gd name="connsiteX7" fmla="*/ 864 w 7015"/>
                <a:gd name="connsiteY7" fmla="*/ 3706 h 11843"/>
                <a:gd name="connsiteX8" fmla="*/ 3248 w 7015"/>
                <a:gd name="connsiteY8" fmla="*/ 488 h 1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15" h="11843">
                  <a:moveTo>
                    <a:pt x="3248" y="488"/>
                  </a:moveTo>
                  <a:cubicBezTo>
                    <a:pt x="4202" y="2395"/>
                    <a:pt x="5155" y="5971"/>
                    <a:pt x="5871" y="8593"/>
                  </a:cubicBezTo>
                  <a:lnTo>
                    <a:pt x="7015" y="10880"/>
                  </a:lnTo>
                  <a:lnTo>
                    <a:pt x="6971" y="11016"/>
                  </a:lnTo>
                  <a:cubicBezTo>
                    <a:pt x="6971" y="14840"/>
                    <a:pt x="5060" y="4323"/>
                    <a:pt x="3150" y="1455"/>
                  </a:cubicBezTo>
                  <a:cubicBezTo>
                    <a:pt x="2195" y="21"/>
                    <a:pt x="1479" y="1694"/>
                    <a:pt x="763" y="4203"/>
                  </a:cubicBezTo>
                  <a:lnTo>
                    <a:pt x="0" y="6686"/>
                  </a:lnTo>
                  <a:lnTo>
                    <a:pt x="864" y="3706"/>
                  </a:lnTo>
                  <a:cubicBezTo>
                    <a:pt x="1579" y="965"/>
                    <a:pt x="2294" y="-942"/>
                    <a:pt x="3248" y="488"/>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55" name="Freeform 1654">
              <a:extLst>
                <a:ext uri="{FF2B5EF4-FFF2-40B4-BE49-F238E27FC236}">
                  <a16:creationId xmlns:a16="http://schemas.microsoft.com/office/drawing/2014/main" id="{8100B917-8311-BF4E-8F82-F4F3E9EBAA79}"/>
                </a:ext>
              </a:extLst>
            </p:cNvPr>
            <p:cNvSpPr>
              <a:spLocks/>
            </p:cNvSpPr>
            <p:nvPr/>
          </p:nvSpPr>
          <p:spPr bwMode="auto">
            <a:xfrm>
              <a:off x="6808590" y="2479749"/>
              <a:ext cx="61282" cy="44336"/>
            </a:xfrm>
            <a:custGeom>
              <a:avLst/>
              <a:gdLst>
                <a:gd name="connsiteX0" fmla="*/ 737 w 61282"/>
                <a:gd name="connsiteY0" fmla="*/ 1819 h 44336"/>
                <a:gd name="connsiteX1" fmla="*/ 3956 w 61282"/>
                <a:gd name="connsiteY1" fmla="*/ 2296 h 44336"/>
                <a:gd name="connsiteX2" fmla="*/ 8724 w 61282"/>
                <a:gd name="connsiteY2" fmla="*/ 8016 h 44336"/>
                <a:gd name="connsiteX3" fmla="*/ 16354 w 61282"/>
                <a:gd name="connsiteY3" fmla="*/ 11830 h 44336"/>
                <a:gd name="connsiteX4" fmla="*/ 21123 w 61282"/>
                <a:gd name="connsiteY4" fmla="*/ 16598 h 44336"/>
                <a:gd name="connsiteX5" fmla="*/ 16354 w 61282"/>
                <a:gd name="connsiteY5" fmla="*/ 27086 h 44336"/>
                <a:gd name="connsiteX6" fmla="*/ 23984 w 61282"/>
                <a:gd name="connsiteY6" fmla="*/ 25179 h 44336"/>
                <a:gd name="connsiteX7" fmla="*/ 27799 w 61282"/>
                <a:gd name="connsiteY7" fmla="*/ 32807 h 44336"/>
                <a:gd name="connsiteX8" fmla="*/ 38289 w 61282"/>
                <a:gd name="connsiteY8" fmla="*/ 33760 h 44336"/>
                <a:gd name="connsiteX9" fmla="*/ 46873 w 61282"/>
                <a:gd name="connsiteY9" fmla="*/ 40435 h 44336"/>
                <a:gd name="connsiteX10" fmla="*/ 61179 w 61282"/>
                <a:gd name="connsiteY10" fmla="*/ 44249 h 44336"/>
                <a:gd name="connsiteX11" fmla="*/ 61098 w 61282"/>
                <a:gd name="connsiteY11" fmla="*/ 44336 h 44336"/>
                <a:gd name="connsiteX12" fmla="*/ 57954 w 61282"/>
                <a:gd name="connsiteY12" fmla="*/ 42471 h 44336"/>
                <a:gd name="connsiteX13" fmla="*/ 46851 w 61282"/>
                <a:gd name="connsiteY13" fmla="*/ 40558 h 44336"/>
                <a:gd name="connsiteX14" fmla="*/ 38255 w 61282"/>
                <a:gd name="connsiteY14" fmla="*/ 33865 h 44336"/>
                <a:gd name="connsiteX15" fmla="*/ 27749 w 61282"/>
                <a:gd name="connsiteY15" fmla="*/ 32909 h 44336"/>
                <a:gd name="connsiteX16" fmla="*/ 23929 w 61282"/>
                <a:gd name="connsiteY16" fmla="*/ 25260 h 44336"/>
                <a:gd name="connsiteX17" fmla="*/ 16288 w 61282"/>
                <a:gd name="connsiteY17" fmla="*/ 27173 h 44336"/>
                <a:gd name="connsiteX18" fmla="*/ 21064 w 61282"/>
                <a:gd name="connsiteY18" fmla="*/ 16656 h 44336"/>
                <a:gd name="connsiteX19" fmla="*/ 16288 w 61282"/>
                <a:gd name="connsiteY19" fmla="*/ 11875 h 44336"/>
                <a:gd name="connsiteX20" fmla="*/ 8647 w 61282"/>
                <a:gd name="connsiteY20" fmla="*/ 9007 h 44336"/>
                <a:gd name="connsiteX21" fmla="*/ 3872 w 61282"/>
                <a:gd name="connsiteY21" fmla="*/ 2314 h 44336"/>
                <a:gd name="connsiteX22" fmla="*/ 649 w 61282"/>
                <a:gd name="connsiteY22" fmla="*/ 2194 h 44336"/>
                <a:gd name="connsiteX23" fmla="*/ 0 w 61282"/>
                <a:gd name="connsiteY23" fmla="*/ 4205 h 44336"/>
                <a:gd name="connsiteX24" fmla="*/ 737 w 61282"/>
                <a:gd name="connsiteY24" fmla="*/ 1819 h 4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282" h="44336">
                  <a:moveTo>
                    <a:pt x="737" y="1819"/>
                  </a:moveTo>
                  <a:cubicBezTo>
                    <a:pt x="2049" y="-326"/>
                    <a:pt x="3479" y="-1041"/>
                    <a:pt x="3956" y="2296"/>
                  </a:cubicBezTo>
                  <a:cubicBezTo>
                    <a:pt x="4910" y="7063"/>
                    <a:pt x="4910" y="5156"/>
                    <a:pt x="8724" y="8016"/>
                  </a:cubicBezTo>
                  <a:cubicBezTo>
                    <a:pt x="11586" y="11830"/>
                    <a:pt x="14447" y="8970"/>
                    <a:pt x="16354" y="11830"/>
                  </a:cubicBezTo>
                  <a:cubicBezTo>
                    <a:pt x="18262" y="14691"/>
                    <a:pt x="23984" y="11830"/>
                    <a:pt x="21123" y="16598"/>
                  </a:cubicBezTo>
                  <a:cubicBezTo>
                    <a:pt x="18262" y="21365"/>
                    <a:pt x="13493" y="25179"/>
                    <a:pt x="16354" y="27086"/>
                  </a:cubicBezTo>
                  <a:cubicBezTo>
                    <a:pt x="19215" y="28993"/>
                    <a:pt x="23984" y="23272"/>
                    <a:pt x="23984" y="25179"/>
                  </a:cubicBezTo>
                  <a:cubicBezTo>
                    <a:pt x="24938" y="28040"/>
                    <a:pt x="22076" y="30900"/>
                    <a:pt x="27799" y="32807"/>
                  </a:cubicBezTo>
                  <a:cubicBezTo>
                    <a:pt x="33521" y="33760"/>
                    <a:pt x="33521" y="28993"/>
                    <a:pt x="38289" y="33760"/>
                  </a:cubicBezTo>
                  <a:cubicBezTo>
                    <a:pt x="43058" y="38528"/>
                    <a:pt x="36382" y="35667"/>
                    <a:pt x="46873" y="40435"/>
                  </a:cubicBezTo>
                  <a:cubicBezTo>
                    <a:pt x="56410" y="44249"/>
                    <a:pt x="62132" y="40435"/>
                    <a:pt x="61179" y="44249"/>
                  </a:cubicBezTo>
                  <a:lnTo>
                    <a:pt x="61098" y="44336"/>
                  </a:lnTo>
                  <a:lnTo>
                    <a:pt x="57954" y="42471"/>
                  </a:lnTo>
                  <a:cubicBezTo>
                    <a:pt x="55447" y="42471"/>
                    <a:pt x="51627" y="42471"/>
                    <a:pt x="46851" y="40558"/>
                  </a:cubicBezTo>
                  <a:cubicBezTo>
                    <a:pt x="36345" y="35778"/>
                    <a:pt x="43031" y="39602"/>
                    <a:pt x="38255" y="33865"/>
                  </a:cubicBezTo>
                  <a:cubicBezTo>
                    <a:pt x="33480" y="29085"/>
                    <a:pt x="33480" y="33865"/>
                    <a:pt x="27749" y="32909"/>
                  </a:cubicBezTo>
                  <a:cubicBezTo>
                    <a:pt x="22019" y="30997"/>
                    <a:pt x="24884" y="28129"/>
                    <a:pt x="23929" y="25260"/>
                  </a:cubicBezTo>
                  <a:cubicBezTo>
                    <a:pt x="23929" y="23348"/>
                    <a:pt x="19153" y="29085"/>
                    <a:pt x="16288" y="27173"/>
                  </a:cubicBezTo>
                  <a:cubicBezTo>
                    <a:pt x="13423" y="25260"/>
                    <a:pt x="18198" y="21436"/>
                    <a:pt x="21064" y="16656"/>
                  </a:cubicBezTo>
                  <a:cubicBezTo>
                    <a:pt x="23929" y="11875"/>
                    <a:pt x="18198" y="15699"/>
                    <a:pt x="16288" y="11875"/>
                  </a:cubicBezTo>
                  <a:cubicBezTo>
                    <a:pt x="14378" y="9007"/>
                    <a:pt x="11513" y="11875"/>
                    <a:pt x="8647" y="9007"/>
                  </a:cubicBezTo>
                  <a:cubicBezTo>
                    <a:pt x="4827" y="5182"/>
                    <a:pt x="4827" y="7094"/>
                    <a:pt x="3872" y="2314"/>
                  </a:cubicBezTo>
                  <a:cubicBezTo>
                    <a:pt x="3395" y="-1032"/>
                    <a:pt x="1962" y="-76"/>
                    <a:pt x="649" y="2194"/>
                  </a:cubicBezTo>
                  <a:lnTo>
                    <a:pt x="0" y="4205"/>
                  </a:lnTo>
                  <a:lnTo>
                    <a:pt x="737" y="1819"/>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56" name="Freeform 1655">
              <a:extLst>
                <a:ext uri="{FF2B5EF4-FFF2-40B4-BE49-F238E27FC236}">
                  <a16:creationId xmlns:a16="http://schemas.microsoft.com/office/drawing/2014/main" id="{0B846C85-18BE-334E-95A0-691B444B6432}"/>
                </a:ext>
              </a:extLst>
            </p:cNvPr>
            <p:cNvSpPr>
              <a:spLocks/>
            </p:cNvSpPr>
            <p:nvPr/>
          </p:nvSpPr>
          <p:spPr bwMode="auto">
            <a:xfrm>
              <a:off x="6806776" y="2483954"/>
              <a:ext cx="1814" cy="5718"/>
            </a:xfrm>
            <a:custGeom>
              <a:avLst/>
              <a:gdLst>
                <a:gd name="connsiteX0" fmla="*/ 1814 w 1814"/>
                <a:gd name="connsiteY0" fmla="*/ 0 h 5718"/>
                <a:gd name="connsiteX1" fmla="*/ 48 w 1814"/>
                <a:gd name="connsiteY1" fmla="*/ 5718 h 5718"/>
                <a:gd name="connsiteX2" fmla="*/ 0 w 1814"/>
                <a:gd name="connsiteY2" fmla="*/ 5622 h 5718"/>
                <a:gd name="connsiteX3" fmla="*/ 1814 w 1814"/>
                <a:gd name="connsiteY3" fmla="*/ 0 h 5718"/>
              </a:gdLst>
              <a:ahLst/>
              <a:cxnLst>
                <a:cxn ang="0">
                  <a:pos x="connsiteX0" y="connsiteY0"/>
                </a:cxn>
                <a:cxn ang="0">
                  <a:pos x="connsiteX1" y="connsiteY1"/>
                </a:cxn>
                <a:cxn ang="0">
                  <a:pos x="connsiteX2" y="connsiteY2"/>
                </a:cxn>
                <a:cxn ang="0">
                  <a:pos x="connsiteX3" y="connsiteY3"/>
                </a:cxn>
              </a:cxnLst>
              <a:rect l="l" t="t" r="r" b="b"/>
              <a:pathLst>
                <a:path w="1814" h="5718">
                  <a:moveTo>
                    <a:pt x="1814" y="0"/>
                  </a:moveTo>
                  <a:lnTo>
                    <a:pt x="48" y="5718"/>
                  </a:lnTo>
                  <a:lnTo>
                    <a:pt x="0" y="5622"/>
                  </a:lnTo>
                  <a:lnTo>
                    <a:pt x="1814"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57" name="Freeform 1656">
              <a:extLst>
                <a:ext uri="{FF2B5EF4-FFF2-40B4-BE49-F238E27FC236}">
                  <a16:creationId xmlns:a16="http://schemas.microsoft.com/office/drawing/2014/main" id="{555BA638-B1FC-4243-AC9D-6059EF6318EE}"/>
                </a:ext>
              </a:extLst>
            </p:cNvPr>
            <p:cNvSpPr>
              <a:spLocks/>
            </p:cNvSpPr>
            <p:nvPr/>
          </p:nvSpPr>
          <p:spPr bwMode="auto">
            <a:xfrm>
              <a:off x="6781738" y="2485382"/>
              <a:ext cx="18023" cy="29004"/>
            </a:xfrm>
            <a:custGeom>
              <a:avLst/>
              <a:gdLst>
                <a:gd name="connsiteX0" fmla="*/ 18023 w 18023"/>
                <a:gd name="connsiteY0" fmla="*/ 0 h 29004"/>
                <a:gd name="connsiteX1" fmla="*/ 16502 w 18023"/>
                <a:gd name="connsiteY1" fmla="*/ 5244 h 29004"/>
                <a:gd name="connsiteX2" fmla="*/ 9826 w 18023"/>
                <a:gd name="connsiteY2" fmla="*/ 16686 h 29004"/>
                <a:gd name="connsiteX3" fmla="*/ 2197 w 18023"/>
                <a:gd name="connsiteY3" fmla="*/ 27174 h 29004"/>
                <a:gd name="connsiteX4" fmla="*/ 0 w 18023"/>
                <a:gd name="connsiteY4" fmla="*/ 29004 h 29004"/>
                <a:gd name="connsiteX5" fmla="*/ 2071 w 18023"/>
                <a:gd name="connsiteY5" fmla="*/ 27276 h 29004"/>
                <a:gd name="connsiteX6" fmla="*/ 9712 w 18023"/>
                <a:gd name="connsiteY6" fmla="*/ 16759 h 29004"/>
                <a:gd name="connsiteX7" fmla="*/ 16398 w 18023"/>
                <a:gd name="connsiteY7" fmla="*/ 5286 h 29004"/>
                <a:gd name="connsiteX8" fmla="*/ 18023 w 18023"/>
                <a:gd name="connsiteY8" fmla="*/ 0 h 2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23" h="29004">
                  <a:moveTo>
                    <a:pt x="18023" y="0"/>
                  </a:moveTo>
                  <a:lnTo>
                    <a:pt x="16502" y="5244"/>
                  </a:lnTo>
                  <a:cubicBezTo>
                    <a:pt x="14595" y="9058"/>
                    <a:pt x="13641" y="11918"/>
                    <a:pt x="9826" y="16686"/>
                  </a:cubicBezTo>
                  <a:cubicBezTo>
                    <a:pt x="5058" y="21453"/>
                    <a:pt x="2197" y="23360"/>
                    <a:pt x="2197" y="27174"/>
                  </a:cubicBezTo>
                  <a:lnTo>
                    <a:pt x="0" y="29004"/>
                  </a:lnTo>
                  <a:lnTo>
                    <a:pt x="2071" y="27276"/>
                  </a:lnTo>
                  <a:cubicBezTo>
                    <a:pt x="2071" y="23452"/>
                    <a:pt x="4937" y="21540"/>
                    <a:pt x="9712" y="16759"/>
                  </a:cubicBezTo>
                  <a:cubicBezTo>
                    <a:pt x="13532" y="11979"/>
                    <a:pt x="14488" y="9110"/>
                    <a:pt x="16398" y="5286"/>
                  </a:cubicBezTo>
                  <a:lnTo>
                    <a:pt x="18023"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58" name="Freeform 1657">
              <a:extLst>
                <a:ext uri="{FF2B5EF4-FFF2-40B4-BE49-F238E27FC236}">
                  <a16:creationId xmlns:a16="http://schemas.microsoft.com/office/drawing/2014/main" id="{B72E69C6-6AEB-3B46-AB1E-FFA8BF5F7C96}"/>
                </a:ext>
              </a:extLst>
            </p:cNvPr>
            <p:cNvSpPr>
              <a:spLocks/>
            </p:cNvSpPr>
            <p:nvPr/>
          </p:nvSpPr>
          <p:spPr bwMode="auto">
            <a:xfrm>
              <a:off x="6775090" y="2514386"/>
              <a:ext cx="6648" cy="4780"/>
            </a:xfrm>
            <a:custGeom>
              <a:avLst/>
              <a:gdLst>
                <a:gd name="connsiteX0" fmla="*/ 6648 w 6648"/>
                <a:gd name="connsiteY0" fmla="*/ 0 h 4780"/>
                <a:gd name="connsiteX1" fmla="*/ 2989 w 6648"/>
                <a:gd name="connsiteY1" fmla="*/ 3053 h 4780"/>
                <a:gd name="connsiteX2" fmla="*/ 0 w 6648"/>
                <a:gd name="connsiteY2" fmla="*/ 4780 h 4780"/>
                <a:gd name="connsiteX3" fmla="*/ 23 w 6648"/>
                <a:gd name="connsiteY3" fmla="*/ 4725 h 4780"/>
                <a:gd name="connsiteX4" fmla="*/ 3122 w 6648"/>
                <a:gd name="connsiteY4" fmla="*/ 2937 h 4780"/>
                <a:gd name="connsiteX5" fmla="*/ 6648 w 6648"/>
                <a:gd name="connsiteY5" fmla="*/ 0 h 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8" h="4780">
                  <a:moveTo>
                    <a:pt x="6648" y="0"/>
                  </a:moveTo>
                  <a:lnTo>
                    <a:pt x="2989" y="3053"/>
                  </a:lnTo>
                  <a:lnTo>
                    <a:pt x="0" y="4780"/>
                  </a:lnTo>
                  <a:lnTo>
                    <a:pt x="23" y="4725"/>
                  </a:lnTo>
                  <a:cubicBezTo>
                    <a:pt x="499" y="4129"/>
                    <a:pt x="1215" y="3891"/>
                    <a:pt x="3122" y="2937"/>
                  </a:cubicBezTo>
                  <a:lnTo>
                    <a:pt x="6648"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59" name="Freeform 1658">
              <a:extLst>
                <a:ext uri="{FF2B5EF4-FFF2-40B4-BE49-F238E27FC236}">
                  <a16:creationId xmlns:a16="http://schemas.microsoft.com/office/drawing/2014/main" id="{3D3B110A-87FE-5940-ACA1-1B33671578EB}"/>
                </a:ext>
              </a:extLst>
            </p:cNvPr>
            <p:cNvSpPr>
              <a:spLocks/>
            </p:cNvSpPr>
            <p:nvPr/>
          </p:nvSpPr>
          <p:spPr bwMode="auto">
            <a:xfrm>
              <a:off x="6772256" y="2519166"/>
              <a:ext cx="3943" cy="13518"/>
            </a:xfrm>
            <a:custGeom>
              <a:avLst/>
              <a:gdLst>
                <a:gd name="connsiteX0" fmla="*/ 2834 w 3943"/>
                <a:gd name="connsiteY0" fmla="*/ 0 h 13518"/>
                <a:gd name="connsiteX1" fmla="*/ 1188 w 3943"/>
                <a:gd name="connsiteY1" fmla="*/ 3878 h 13518"/>
                <a:gd name="connsiteX2" fmla="*/ 3095 w 3943"/>
                <a:gd name="connsiteY2" fmla="*/ 7692 h 13518"/>
                <a:gd name="connsiteX3" fmla="*/ 3095 w 3943"/>
                <a:gd name="connsiteY3" fmla="*/ 13413 h 13518"/>
                <a:gd name="connsiteX4" fmla="*/ 2958 w 3943"/>
                <a:gd name="connsiteY4" fmla="*/ 13518 h 13518"/>
                <a:gd name="connsiteX5" fmla="*/ 2958 w 3943"/>
                <a:gd name="connsiteY5" fmla="*/ 7834 h 13518"/>
                <a:gd name="connsiteX6" fmla="*/ 1048 w 3943"/>
                <a:gd name="connsiteY6" fmla="*/ 4010 h 13518"/>
                <a:gd name="connsiteX7" fmla="*/ 2719 w 3943"/>
                <a:gd name="connsiteY7" fmla="*/ 66 h 13518"/>
                <a:gd name="connsiteX8" fmla="*/ 2834 w 3943"/>
                <a:gd name="connsiteY8" fmla="*/ 0 h 1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43" h="13518">
                  <a:moveTo>
                    <a:pt x="2834" y="0"/>
                  </a:moveTo>
                  <a:lnTo>
                    <a:pt x="1188" y="3878"/>
                  </a:lnTo>
                  <a:cubicBezTo>
                    <a:pt x="-1673" y="7692"/>
                    <a:pt x="2141" y="6739"/>
                    <a:pt x="3095" y="7692"/>
                  </a:cubicBezTo>
                  <a:cubicBezTo>
                    <a:pt x="5003" y="7692"/>
                    <a:pt x="3095" y="8646"/>
                    <a:pt x="3095" y="13413"/>
                  </a:cubicBezTo>
                  <a:lnTo>
                    <a:pt x="2958" y="13518"/>
                  </a:lnTo>
                  <a:lnTo>
                    <a:pt x="2958" y="7834"/>
                  </a:lnTo>
                  <a:cubicBezTo>
                    <a:pt x="2003" y="6878"/>
                    <a:pt x="-1818" y="7834"/>
                    <a:pt x="1048" y="4010"/>
                  </a:cubicBezTo>
                  <a:cubicBezTo>
                    <a:pt x="2003" y="1620"/>
                    <a:pt x="2242" y="663"/>
                    <a:pt x="2719" y="66"/>
                  </a:cubicBezTo>
                  <a:lnTo>
                    <a:pt x="2834"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60" name="Freeform 1659">
              <a:extLst>
                <a:ext uri="{FF2B5EF4-FFF2-40B4-BE49-F238E27FC236}">
                  <a16:creationId xmlns:a16="http://schemas.microsoft.com/office/drawing/2014/main" id="{51302F36-F1A1-464E-974E-AC7C5BDC5857}"/>
                </a:ext>
              </a:extLst>
            </p:cNvPr>
            <p:cNvSpPr>
              <a:spLocks/>
            </p:cNvSpPr>
            <p:nvPr/>
          </p:nvSpPr>
          <p:spPr bwMode="auto">
            <a:xfrm>
              <a:off x="6839250" y="2524085"/>
              <a:ext cx="30517" cy="11520"/>
            </a:xfrm>
            <a:custGeom>
              <a:avLst/>
              <a:gdLst>
                <a:gd name="connsiteX0" fmla="*/ 30438 w 30517"/>
                <a:gd name="connsiteY0" fmla="*/ 0 h 11520"/>
                <a:gd name="connsiteX1" fmla="*/ 30517 w 30517"/>
                <a:gd name="connsiteY1" fmla="*/ 47 h 11520"/>
                <a:gd name="connsiteX2" fmla="*/ 22876 w 30517"/>
                <a:gd name="connsiteY2" fmla="*/ 7695 h 11520"/>
                <a:gd name="connsiteX3" fmla="*/ 10460 w 30517"/>
                <a:gd name="connsiteY3" fmla="*/ 11520 h 11520"/>
                <a:gd name="connsiteX4" fmla="*/ 4133 w 30517"/>
                <a:gd name="connsiteY4" fmla="*/ 10445 h 11520"/>
                <a:gd name="connsiteX5" fmla="*/ 152 w 30517"/>
                <a:gd name="connsiteY5" fmla="*/ 11469 h 11520"/>
                <a:gd name="connsiteX6" fmla="*/ 0 w 30517"/>
                <a:gd name="connsiteY6" fmla="*/ 11355 h 11520"/>
                <a:gd name="connsiteX7" fmla="*/ 10491 w 30517"/>
                <a:gd name="connsiteY7" fmla="*/ 11355 h 11520"/>
                <a:gd name="connsiteX8" fmla="*/ 22889 w 30517"/>
                <a:gd name="connsiteY8" fmla="*/ 6587 h 11520"/>
                <a:gd name="connsiteX9" fmla="*/ 27061 w 30517"/>
                <a:gd name="connsiteY9" fmla="*/ 3607 h 11520"/>
                <a:gd name="connsiteX10" fmla="*/ 30438 w 30517"/>
                <a:gd name="connsiteY10" fmla="*/ 0 h 1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17" h="11520">
                  <a:moveTo>
                    <a:pt x="30438" y="0"/>
                  </a:moveTo>
                  <a:lnTo>
                    <a:pt x="30517" y="47"/>
                  </a:lnTo>
                  <a:cubicBezTo>
                    <a:pt x="29562" y="4827"/>
                    <a:pt x="24787" y="2915"/>
                    <a:pt x="22876" y="7695"/>
                  </a:cubicBezTo>
                  <a:cubicBezTo>
                    <a:pt x="20011" y="11520"/>
                    <a:pt x="14281" y="11520"/>
                    <a:pt x="10460" y="11520"/>
                  </a:cubicBezTo>
                  <a:cubicBezTo>
                    <a:pt x="8550" y="11520"/>
                    <a:pt x="6163" y="10803"/>
                    <a:pt x="4133" y="10445"/>
                  </a:cubicBezTo>
                  <a:lnTo>
                    <a:pt x="152" y="11469"/>
                  </a:lnTo>
                  <a:lnTo>
                    <a:pt x="0" y="11355"/>
                  </a:lnTo>
                  <a:cubicBezTo>
                    <a:pt x="953" y="8494"/>
                    <a:pt x="6676" y="11355"/>
                    <a:pt x="10491" y="11355"/>
                  </a:cubicBezTo>
                  <a:cubicBezTo>
                    <a:pt x="14305" y="11355"/>
                    <a:pt x="20028" y="11355"/>
                    <a:pt x="22889" y="6587"/>
                  </a:cubicBezTo>
                  <a:cubicBezTo>
                    <a:pt x="23843" y="4680"/>
                    <a:pt x="25512" y="4203"/>
                    <a:pt x="27061" y="3607"/>
                  </a:cubicBezTo>
                  <a:lnTo>
                    <a:pt x="30438"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61" name="Freeform 1660">
              <a:extLst>
                <a:ext uri="{FF2B5EF4-FFF2-40B4-BE49-F238E27FC236}">
                  <a16:creationId xmlns:a16="http://schemas.microsoft.com/office/drawing/2014/main" id="{D785A459-6610-734C-B1E5-95884097C053}"/>
                </a:ext>
              </a:extLst>
            </p:cNvPr>
            <p:cNvSpPr>
              <a:spLocks/>
            </p:cNvSpPr>
            <p:nvPr/>
          </p:nvSpPr>
          <p:spPr bwMode="auto">
            <a:xfrm>
              <a:off x="6740845" y="2531191"/>
              <a:ext cx="32973" cy="29448"/>
            </a:xfrm>
            <a:custGeom>
              <a:avLst/>
              <a:gdLst>
                <a:gd name="connsiteX0" fmla="*/ 21154 w 32973"/>
                <a:gd name="connsiteY0" fmla="*/ 435 h 29448"/>
                <a:gd name="connsiteX1" fmla="*/ 25923 w 32973"/>
                <a:gd name="connsiteY1" fmla="*/ 2342 h 29448"/>
                <a:gd name="connsiteX2" fmla="*/ 30046 w 32973"/>
                <a:gd name="connsiteY2" fmla="*/ 2988 h 29448"/>
                <a:gd name="connsiteX3" fmla="*/ 28638 w 32973"/>
                <a:gd name="connsiteY3" fmla="*/ 3458 h 29448"/>
                <a:gd name="connsiteX4" fmla="*/ 28638 w 32973"/>
                <a:gd name="connsiteY4" fmla="*/ 5370 h 29448"/>
                <a:gd name="connsiteX5" fmla="*/ 32459 w 32973"/>
                <a:gd name="connsiteY5" fmla="*/ 14931 h 29448"/>
                <a:gd name="connsiteX6" fmla="*/ 27683 w 32973"/>
                <a:gd name="connsiteY6" fmla="*/ 18756 h 29448"/>
                <a:gd name="connsiteX7" fmla="*/ 23863 w 32973"/>
                <a:gd name="connsiteY7" fmla="*/ 7282 h 29448"/>
                <a:gd name="connsiteX8" fmla="*/ 18132 w 32973"/>
                <a:gd name="connsiteY8" fmla="*/ 9194 h 29448"/>
                <a:gd name="connsiteX9" fmla="*/ 19087 w 32973"/>
                <a:gd name="connsiteY9" fmla="*/ 26404 h 29448"/>
                <a:gd name="connsiteX10" fmla="*/ 6671 w 32973"/>
                <a:gd name="connsiteY10" fmla="*/ 20668 h 29448"/>
                <a:gd name="connsiteX11" fmla="*/ 1896 w 32973"/>
                <a:gd name="connsiteY11" fmla="*/ 12063 h 29448"/>
                <a:gd name="connsiteX12" fmla="*/ 0 w 32973"/>
                <a:gd name="connsiteY12" fmla="*/ 12063 h 29448"/>
                <a:gd name="connsiteX13" fmla="*/ 173 w 32973"/>
                <a:gd name="connsiteY13" fmla="*/ 11876 h 29448"/>
                <a:gd name="connsiteX14" fmla="*/ 12571 w 32973"/>
                <a:gd name="connsiteY14" fmla="*/ 7109 h 29448"/>
                <a:gd name="connsiteX15" fmla="*/ 21154 w 32973"/>
                <a:gd name="connsiteY15" fmla="*/ 435 h 2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973" h="29448">
                  <a:moveTo>
                    <a:pt x="21154" y="435"/>
                  </a:moveTo>
                  <a:cubicBezTo>
                    <a:pt x="23062" y="1388"/>
                    <a:pt x="20200" y="2342"/>
                    <a:pt x="25923" y="2342"/>
                  </a:cubicBezTo>
                  <a:lnTo>
                    <a:pt x="30046" y="2988"/>
                  </a:lnTo>
                  <a:lnTo>
                    <a:pt x="28638" y="3458"/>
                  </a:lnTo>
                  <a:cubicBezTo>
                    <a:pt x="28638" y="4414"/>
                    <a:pt x="28638" y="4414"/>
                    <a:pt x="28638" y="5370"/>
                  </a:cubicBezTo>
                  <a:cubicBezTo>
                    <a:pt x="29593" y="8238"/>
                    <a:pt x="30548" y="7282"/>
                    <a:pt x="32459" y="14931"/>
                  </a:cubicBezTo>
                  <a:cubicBezTo>
                    <a:pt x="34369" y="21624"/>
                    <a:pt x="30548" y="19712"/>
                    <a:pt x="27683" y="18756"/>
                  </a:cubicBezTo>
                  <a:cubicBezTo>
                    <a:pt x="25773" y="18756"/>
                    <a:pt x="22908" y="12063"/>
                    <a:pt x="23863" y="7282"/>
                  </a:cubicBezTo>
                  <a:cubicBezTo>
                    <a:pt x="23863" y="3458"/>
                    <a:pt x="20042" y="7282"/>
                    <a:pt x="18132" y="9194"/>
                  </a:cubicBezTo>
                  <a:cubicBezTo>
                    <a:pt x="17177" y="11107"/>
                    <a:pt x="20998" y="19712"/>
                    <a:pt x="19087" y="26404"/>
                  </a:cubicBezTo>
                  <a:cubicBezTo>
                    <a:pt x="18132" y="34053"/>
                    <a:pt x="10492" y="25448"/>
                    <a:pt x="6671" y="20668"/>
                  </a:cubicBezTo>
                  <a:cubicBezTo>
                    <a:pt x="3806" y="15887"/>
                    <a:pt x="3806" y="14931"/>
                    <a:pt x="1896" y="12063"/>
                  </a:cubicBezTo>
                  <a:lnTo>
                    <a:pt x="0" y="12063"/>
                  </a:lnTo>
                  <a:lnTo>
                    <a:pt x="173" y="11876"/>
                  </a:lnTo>
                  <a:cubicBezTo>
                    <a:pt x="4941" y="10923"/>
                    <a:pt x="7802" y="11876"/>
                    <a:pt x="12571" y="7109"/>
                  </a:cubicBezTo>
                  <a:cubicBezTo>
                    <a:pt x="17339" y="3295"/>
                    <a:pt x="18293" y="-1472"/>
                    <a:pt x="21154" y="43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62" name="Freeform 1661">
              <a:extLst>
                <a:ext uri="{FF2B5EF4-FFF2-40B4-BE49-F238E27FC236}">
                  <a16:creationId xmlns:a16="http://schemas.microsoft.com/office/drawing/2014/main" id="{22FC4B22-06F9-C94E-ABE5-283C0A6D7EAD}"/>
                </a:ext>
              </a:extLst>
            </p:cNvPr>
            <p:cNvSpPr>
              <a:spLocks/>
            </p:cNvSpPr>
            <p:nvPr/>
          </p:nvSpPr>
          <p:spPr bwMode="auto">
            <a:xfrm>
              <a:off x="6770891" y="2532779"/>
              <a:ext cx="4198" cy="1707"/>
            </a:xfrm>
            <a:custGeom>
              <a:avLst/>
              <a:gdLst>
                <a:gd name="connsiteX0" fmla="*/ 4198 w 4198"/>
                <a:gd name="connsiteY0" fmla="*/ 0 h 1707"/>
                <a:gd name="connsiteX1" fmla="*/ 1957 w 4198"/>
                <a:gd name="connsiteY1" fmla="*/ 1707 h 1707"/>
                <a:gd name="connsiteX2" fmla="*/ 0 w 4198"/>
                <a:gd name="connsiteY2" fmla="*/ 1400 h 1707"/>
                <a:gd name="connsiteX3" fmla="*/ 4198 w 4198"/>
                <a:gd name="connsiteY3" fmla="*/ 0 h 1707"/>
              </a:gdLst>
              <a:ahLst/>
              <a:cxnLst>
                <a:cxn ang="0">
                  <a:pos x="connsiteX0" y="connsiteY0"/>
                </a:cxn>
                <a:cxn ang="0">
                  <a:pos x="connsiteX1" y="connsiteY1"/>
                </a:cxn>
                <a:cxn ang="0">
                  <a:pos x="connsiteX2" y="connsiteY2"/>
                </a:cxn>
                <a:cxn ang="0">
                  <a:pos x="connsiteX3" y="connsiteY3"/>
                </a:cxn>
              </a:cxnLst>
              <a:rect l="l" t="t" r="r" b="b"/>
              <a:pathLst>
                <a:path w="4198" h="1707">
                  <a:moveTo>
                    <a:pt x="4198" y="0"/>
                  </a:moveTo>
                  <a:lnTo>
                    <a:pt x="1957" y="1707"/>
                  </a:lnTo>
                  <a:lnTo>
                    <a:pt x="0" y="1400"/>
                  </a:lnTo>
                  <a:lnTo>
                    <a:pt x="4198"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63" name="Freeform 1662">
              <a:extLst>
                <a:ext uri="{FF2B5EF4-FFF2-40B4-BE49-F238E27FC236}">
                  <a16:creationId xmlns:a16="http://schemas.microsoft.com/office/drawing/2014/main" id="{9D46FEC6-B7B4-B34C-8033-1BB0A2BE17EF}"/>
                </a:ext>
              </a:extLst>
            </p:cNvPr>
            <p:cNvSpPr>
              <a:spLocks/>
            </p:cNvSpPr>
            <p:nvPr/>
          </p:nvSpPr>
          <p:spPr bwMode="auto">
            <a:xfrm>
              <a:off x="6839204" y="2535554"/>
              <a:ext cx="12087" cy="12014"/>
            </a:xfrm>
            <a:custGeom>
              <a:avLst/>
              <a:gdLst>
                <a:gd name="connsiteX0" fmla="*/ 198 w 12087"/>
                <a:gd name="connsiteY0" fmla="*/ 0 h 12014"/>
                <a:gd name="connsiteX1" fmla="*/ 2907 w 12087"/>
                <a:gd name="connsiteY1" fmla="*/ 2031 h 12014"/>
                <a:gd name="connsiteX2" fmla="*/ 8629 w 12087"/>
                <a:gd name="connsiteY2" fmla="*/ 5606 h 12014"/>
                <a:gd name="connsiteX3" fmla="*/ 12087 w 12087"/>
                <a:gd name="connsiteY3" fmla="*/ 11804 h 12014"/>
                <a:gd name="connsiteX4" fmla="*/ 11990 w 12087"/>
                <a:gd name="connsiteY4" fmla="*/ 12014 h 12014"/>
                <a:gd name="connsiteX5" fmla="*/ 8596 w 12087"/>
                <a:gd name="connsiteY5" fmla="*/ 6744 h 12014"/>
                <a:gd name="connsiteX6" fmla="*/ 0 w 12087"/>
                <a:gd name="connsiteY6" fmla="*/ 51 h 12014"/>
                <a:gd name="connsiteX7" fmla="*/ 198 w 12087"/>
                <a:gd name="connsiteY7" fmla="*/ 0 h 1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87" h="12014">
                  <a:moveTo>
                    <a:pt x="198" y="0"/>
                  </a:moveTo>
                  <a:lnTo>
                    <a:pt x="2907" y="2031"/>
                  </a:lnTo>
                  <a:cubicBezTo>
                    <a:pt x="4576" y="2508"/>
                    <a:pt x="6722" y="3223"/>
                    <a:pt x="8629" y="5606"/>
                  </a:cubicBezTo>
                  <a:cubicBezTo>
                    <a:pt x="11014" y="8467"/>
                    <a:pt x="11967" y="10374"/>
                    <a:pt x="12087" y="11804"/>
                  </a:cubicBezTo>
                  <a:lnTo>
                    <a:pt x="11990" y="12014"/>
                  </a:lnTo>
                  <a:lnTo>
                    <a:pt x="8596" y="6744"/>
                  </a:lnTo>
                  <a:cubicBezTo>
                    <a:pt x="4776" y="1007"/>
                    <a:pt x="0" y="3875"/>
                    <a:pt x="0" y="51"/>
                  </a:cubicBezTo>
                  <a:lnTo>
                    <a:pt x="198"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64" name="Freeform 1663">
              <a:extLst>
                <a:ext uri="{FF2B5EF4-FFF2-40B4-BE49-F238E27FC236}">
                  <a16:creationId xmlns:a16="http://schemas.microsoft.com/office/drawing/2014/main" id="{9EA06F20-4F85-554F-BE2D-32CB7DE7DF89}"/>
                </a:ext>
              </a:extLst>
            </p:cNvPr>
            <p:cNvSpPr>
              <a:spLocks/>
            </p:cNvSpPr>
            <p:nvPr/>
          </p:nvSpPr>
          <p:spPr bwMode="auto">
            <a:xfrm>
              <a:off x="6722043" y="2543254"/>
              <a:ext cx="18802" cy="31149"/>
            </a:xfrm>
            <a:custGeom>
              <a:avLst/>
              <a:gdLst>
                <a:gd name="connsiteX0" fmla="*/ 18788 w 18802"/>
                <a:gd name="connsiteY0" fmla="*/ 0 h 31149"/>
                <a:gd name="connsiteX1" fmla="*/ 18802 w 18802"/>
                <a:gd name="connsiteY1" fmla="*/ 0 h 31149"/>
                <a:gd name="connsiteX2" fmla="*/ 15994 w 18802"/>
                <a:gd name="connsiteY2" fmla="*/ 3032 h 31149"/>
                <a:gd name="connsiteX3" fmla="*/ 15160 w 18802"/>
                <a:gd name="connsiteY3" fmla="*/ 8395 h 31149"/>
                <a:gd name="connsiteX4" fmla="*/ 7530 w 18802"/>
                <a:gd name="connsiteY4" fmla="*/ 18883 h 31149"/>
                <a:gd name="connsiteX5" fmla="*/ 2761 w 18802"/>
                <a:gd name="connsiteY5" fmla="*/ 26511 h 31149"/>
                <a:gd name="connsiteX6" fmla="*/ 0 w 18802"/>
                <a:gd name="connsiteY6" fmla="*/ 31149 h 31149"/>
                <a:gd name="connsiteX7" fmla="*/ 2551 w 18802"/>
                <a:gd name="connsiteY7" fmla="*/ 26771 h 31149"/>
                <a:gd name="connsiteX8" fmla="*/ 7327 w 18802"/>
                <a:gd name="connsiteY8" fmla="*/ 19122 h 31149"/>
                <a:gd name="connsiteX9" fmla="*/ 14967 w 18802"/>
                <a:gd name="connsiteY9" fmla="*/ 8605 h 31149"/>
                <a:gd name="connsiteX10" fmla="*/ 18788 w 18802"/>
                <a:gd name="connsiteY10" fmla="*/ 0 h 3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02" h="31149">
                  <a:moveTo>
                    <a:pt x="18788" y="0"/>
                  </a:moveTo>
                  <a:lnTo>
                    <a:pt x="18802" y="0"/>
                  </a:lnTo>
                  <a:lnTo>
                    <a:pt x="15994" y="3032"/>
                  </a:lnTo>
                  <a:cubicBezTo>
                    <a:pt x="16114" y="4581"/>
                    <a:pt x="16591" y="6488"/>
                    <a:pt x="15160" y="8395"/>
                  </a:cubicBezTo>
                  <a:cubicBezTo>
                    <a:pt x="12299" y="13162"/>
                    <a:pt x="11345" y="14116"/>
                    <a:pt x="7530" y="18883"/>
                  </a:cubicBezTo>
                  <a:cubicBezTo>
                    <a:pt x="3715" y="23650"/>
                    <a:pt x="4669" y="21744"/>
                    <a:pt x="2761" y="26511"/>
                  </a:cubicBezTo>
                  <a:lnTo>
                    <a:pt x="0" y="31149"/>
                  </a:lnTo>
                  <a:lnTo>
                    <a:pt x="2551" y="26771"/>
                  </a:lnTo>
                  <a:cubicBezTo>
                    <a:pt x="4461" y="21990"/>
                    <a:pt x="3506" y="23902"/>
                    <a:pt x="7327" y="19122"/>
                  </a:cubicBezTo>
                  <a:cubicBezTo>
                    <a:pt x="11147" y="14341"/>
                    <a:pt x="12102" y="13385"/>
                    <a:pt x="14967" y="8605"/>
                  </a:cubicBezTo>
                  <a:cubicBezTo>
                    <a:pt x="17833" y="4780"/>
                    <a:pt x="13057" y="956"/>
                    <a:pt x="18788" y="0"/>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65" name="Freeform 1664">
              <a:extLst>
                <a:ext uri="{FF2B5EF4-FFF2-40B4-BE49-F238E27FC236}">
                  <a16:creationId xmlns:a16="http://schemas.microsoft.com/office/drawing/2014/main" id="{9C9123EF-ECAC-B244-8606-249994144978}"/>
                </a:ext>
              </a:extLst>
            </p:cNvPr>
            <p:cNvSpPr>
              <a:spLocks/>
            </p:cNvSpPr>
            <p:nvPr/>
          </p:nvSpPr>
          <p:spPr bwMode="auto">
            <a:xfrm>
              <a:off x="6824734" y="2547568"/>
              <a:ext cx="26541" cy="8115"/>
            </a:xfrm>
            <a:custGeom>
              <a:avLst/>
              <a:gdLst>
                <a:gd name="connsiteX0" fmla="*/ 26460 w 26541"/>
                <a:gd name="connsiteY0" fmla="*/ 0 h 8115"/>
                <a:gd name="connsiteX1" fmla="*/ 26529 w 26541"/>
                <a:gd name="connsiteY1" fmla="*/ 108 h 8115"/>
                <a:gd name="connsiteX2" fmla="*/ 24976 w 26541"/>
                <a:gd name="connsiteY2" fmla="*/ 3335 h 8115"/>
                <a:gd name="connsiteX3" fmla="*/ 14470 w 26541"/>
                <a:gd name="connsiteY3" fmla="*/ 6203 h 8115"/>
                <a:gd name="connsiteX4" fmla="*/ 3009 w 26541"/>
                <a:gd name="connsiteY4" fmla="*/ 6203 h 8115"/>
                <a:gd name="connsiteX5" fmla="*/ 144 w 26541"/>
                <a:gd name="connsiteY5" fmla="*/ 8115 h 8115"/>
                <a:gd name="connsiteX6" fmla="*/ 0 w 26541"/>
                <a:gd name="connsiteY6" fmla="*/ 8035 h 8115"/>
                <a:gd name="connsiteX7" fmla="*/ 3071 w 26541"/>
                <a:gd name="connsiteY7" fmla="*/ 5988 h 8115"/>
                <a:gd name="connsiteX8" fmla="*/ 14516 w 26541"/>
                <a:gd name="connsiteY8" fmla="*/ 5988 h 8115"/>
                <a:gd name="connsiteX9" fmla="*/ 25007 w 26541"/>
                <a:gd name="connsiteY9" fmla="*/ 3127 h 8115"/>
                <a:gd name="connsiteX10" fmla="*/ 26460 w 26541"/>
                <a:gd name="connsiteY10" fmla="*/ 0 h 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41" h="8115">
                  <a:moveTo>
                    <a:pt x="26460" y="0"/>
                  </a:moveTo>
                  <a:lnTo>
                    <a:pt x="26529" y="108"/>
                  </a:lnTo>
                  <a:cubicBezTo>
                    <a:pt x="26648" y="1422"/>
                    <a:pt x="25932" y="2379"/>
                    <a:pt x="24976" y="3335"/>
                  </a:cubicBezTo>
                  <a:cubicBezTo>
                    <a:pt x="22111" y="5247"/>
                    <a:pt x="20201" y="5247"/>
                    <a:pt x="14470" y="6203"/>
                  </a:cubicBezTo>
                  <a:cubicBezTo>
                    <a:pt x="8740" y="7159"/>
                    <a:pt x="5875" y="3335"/>
                    <a:pt x="3009" y="6203"/>
                  </a:cubicBezTo>
                  <a:cubicBezTo>
                    <a:pt x="2054" y="7159"/>
                    <a:pt x="1099" y="7159"/>
                    <a:pt x="144" y="8115"/>
                  </a:cubicBezTo>
                  <a:lnTo>
                    <a:pt x="0" y="8035"/>
                  </a:lnTo>
                  <a:lnTo>
                    <a:pt x="3071" y="5988"/>
                  </a:lnTo>
                  <a:cubicBezTo>
                    <a:pt x="5932" y="3127"/>
                    <a:pt x="8794" y="6941"/>
                    <a:pt x="14516" y="5988"/>
                  </a:cubicBezTo>
                  <a:cubicBezTo>
                    <a:pt x="20238" y="5034"/>
                    <a:pt x="22145" y="5034"/>
                    <a:pt x="25007" y="3127"/>
                  </a:cubicBezTo>
                  <a:lnTo>
                    <a:pt x="26460"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66" name="Freeform 1665">
              <a:extLst>
                <a:ext uri="{FF2B5EF4-FFF2-40B4-BE49-F238E27FC236}">
                  <a16:creationId xmlns:a16="http://schemas.microsoft.com/office/drawing/2014/main" id="{50040374-58FC-CA4A-9E83-AA52152C5042}"/>
                </a:ext>
              </a:extLst>
            </p:cNvPr>
            <p:cNvSpPr>
              <a:spLocks/>
            </p:cNvSpPr>
            <p:nvPr/>
          </p:nvSpPr>
          <p:spPr bwMode="auto">
            <a:xfrm>
              <a:off x="6620660" y="2549697"/>
              <a:ext cx="242822" cy="230347"/>
            </a:xfrm>
            <a:custGeom>
              <a:avLst/>
              <a:gdLst>
                <a:gd name="connsiteX0" fmla="*/ 176520 w 242822"/>
                <a:gd name="connsiteY0" fmla="*/ 250 h 230347"/>
                <a:gd name="connsiteX1" fmla="*/ 195621 w 242822"/>
                <a:gd name="connsiteY1" fmla="*/ 1206 h 230347"/>
                <a:gd name="connsiteX2" fmla="*/ 204073 w 242822"/>
                <a:gd name="connsiteY2" fmla="*/ 5906 h 230347"/>
                <a:gd name="connsiteX3" fmla="*/ 202495 w 242822"/>
                <a:gd name="connsiteY3" fmla="*/ 6958 h 230347"/>
                <a:gd name="connsiteX4" fmla="*/ 204283 w 242822"/>
                <a:gd name="connsiteY4" fmla="*/ 11487 h 230347"/>
                <a:gd name="connsiteX5" fmla="*/ 199515 w 242822"/>
                <a:gd name="connsiteY5" fmla="*/ 22928 h 230347"/>
                <a:gd name="connsiteX6" fmla="*/ 202376 w 242822"/>
                <a:gd name="connsiteY6" fmla="*/ 32463 h 230347"/>
                <a:gd name="connsiteX7" fmla="*/ 215728 w 242822"/>
                <a:gd name="connsiteY7" fmla="*/ 43905 h 230347"/>
                <a:gd name="connsiteX8" fmla="*/ 219542 w 242822"/>
                <a:gd name="connsiteY8" fmla="*/ 52486 h 230347"/>
                <a:gd name="connsiteX9" fmla="*/ 215728 w 242822"/>
                <a:gd name="connsiteY9" fmla="*/ 62975 h 230347"/>
                <a:gd name="connsiteX10" fmla="*/ 220496 w 242822"/>
                <a:gd name="connsiteY10" fmla="*/ 72510 h 230347"/>
                <a:gd name="connsiteX11" fmla="*/ 237663 w 242822"/>
                <a:gd name="connsiteY11" fmla="*/ 84905 h 230347"/>
                <a:gd name="connsiteX12" fmla="*/ 241478 w 242822"/>
                <a:gd name="connsiteY12" fmla="*/ 93486 h 230347"/>
                <a:gd name="connsiteX13" fmla="*/ 228126 w 242822"/>
                <a:gd name="connsiteY13" fmla="*/ 95393 h 230347"/>
                <a:gd name="connsiteX14" fmla="*/ 211913 w 242822"/>
                <a:gd name="connsiteY14" fmla="*/ 98254 h 230347"/>
                <a:gd name="connsiteX15" fmla="*/ 206191 w 242822"/>
                <a:gd name="connsiteY15" fmla="*/ 116370 h 230347"/>
                <a:gd name="connsiteX16" fmla="*/ 206191 w 242822"/>
                <a:gd name="connsiteY16" fmla="*/ 129718 h 230347"/>
                <a:gd name="connsiteX17" fmla="*/ 207144 w 242822"/>
                <a:gd name="connsiteY17" fmla="*/ 137346 h 230347"/>
                <a:gd name="connsiteX18" fmla="*/ 197607 w 242822"/>
                <a:gd name="connsiteY18" fmla="*/ 145928 h 230347"/>
                <a:gd name="connsiteX19" fmla="*/ 186163 w 242822"/>
                <a:gd name="connsiteY19" fmla="*/ 150695 h 230347"/>
                <a:gd name="connsiteX20" fmla="*/ 178533 w 242822"/>
                <a:gd name="connsiteY20" fmla="*/ 164997 h 230347"/>
                <a:gd name="connsiteX21" fmla="*/ 178533 w 242822"/>
                <a:gd name="connsiteY21" fmla="*/ 169765 h 230347"/>
                <a:gd name="connsiteX22" fmla="*/ 178533 w 242822"/>
                <a:gd name="connsiteY22" fmla="*/ 175486 h 230347"/>
                <a:gd name="connsiteX23" fmla="*/ 182348 w 242822"/>
                <a:gd name="connsiteY23" fmla="*/ 183114 h 230347"/>
                <a:gd name="connsiteX24" fmla="*/ 174718 w 242822"/>
                <a:gd name="connsiteY24" fmla="*/ 196462 h 230347"/>
                <a:gd name="connsiteX25" fmla="*/ 176625 w 242822"/>
                <a:gd name="connsiteY25" fmla="*/ 205997 h 230347"/>
                <a:gd name="connsiteX26" fmla="*/ 174718 w 242822"/>
                <a:gd name="connsiteY26" fmla="*/ 212672 h 230347"/>
                <a:gd name="connsiteX27" fmla="*/ 163274 w 242822"/>
                <a:gd name="connsiteY27" fmla="*/ 215532 h 230347"/>
                <a:gd name="connsiteX28" fmla="*/ 144199 w 242822"/>
                <a:gd name="connsiteY28" fmla="*/ 224113 h 230347"/>
                <a:gd name="connsiteX29" fmla="*/ 137523 w 242822"/>
                <a:gd name="connsiteY29" fmla="*/ 227927 h 230347"/>
                <a:gd name="connsiteX30" fmla="*/ 132755 w 242822"/>
                <a:gd name="connsiteY30" fmla="*/ 215532 h 230347"/>
                <a:gd name="connsiteX31" fmla="*/ 130847 w 242822"/>
                <a:gd name="connsiteY31" fmla="*/ 208858 h 230347"/>
                <a:gd name="connsiteX32" fmla="*/ 120357 w 242822"/>
                <a:gd name="connsiteY32" fmla="*/ 207904 h 230347"/>
                <a:gd name="connsiteX33" fmla="*/ 111773 w 242822"/>
                <a:gd name="connsiteY33" fmla="*/ 209811 h 230347"/>
                <a:gd name="connsiteX34" fmla="*/ 107005 w 242822"/>
                <a:gd name="connsiteY34" fmla="*/ 202183 h 230347"/>
                <a:gd name="connsiteX35" fmla="*/ 98421 w 242822"/>
                <a:gd name="connsiteY35" fmla="*/ 199323 h 230347"/>
                <a:gd name="connsiteX36" fmla="*/ 88884 w 242822"/>
                <a:gd name="connsiteY36" fmla="*/ 208858 h 230347"/>
                <a:gd name="connsiteX37" fmla="*/ 78393 w 242822"/>
                <a:gd name="connsiteY37" fmla="*/ 205997 h 230347"/>
                <a:gd name="connsiteX38" fmla="*/ 71717 w 242822"/>
                <a:gd name="connsiteY38" fmla="*/ 211718 h 230347"/>
                <a:gd name="connsiteX39" fmla="*/ 67902 w 242822"/>
                <a:gd name="connsiteY39" fmla="*/ 205997 h 230347"/>
                <a:gd name="connsiteX40" fmla="*/ 66949 w 242822"/>
                <a:gd name="connsiteY40" fmla="*/ 194555 h 230347"/>
                <a:gd name="connsiteX41" fmla="*/ 55504 w 242822"/>
                <a:gd name="connsiteY41" fmla="*/ 196462 h 230347"/>
                <a:gd name="connsiteX42" fmla="*/ 48828 w 242822"/>
                <a:gd name="connsiteY42" fmla="*/ 196462 h 230347"/>
                <a:gd name="connsiteX43" fmla="*/ 36430 w 242822"/>
                <a:gd name="connsiteY43" fmla="*/ 194555 h 230347"/>
                <a:gd name="connsiteX44" fmla="*/ 29754 w 242822"/>
                <a:gd name="connsiteY44" fmla="*/ 192648 h 230347"/>
                <a:gd name="connsiteX45" fmla="*/ 27847 w 242822"/>
                <a:gd name="connsiteY45" fmla="*/ 173579 h 230347"/>
                <a:gd name="connsiteX46" fmla="*/ 24985 w 242822"/>
                <a:gd name="connsiteY46" fmla="*/ 164997 h 230347"/>
                <a:gd name="connsiteX47" fmla="*/ 27847 w 242822"/>
                <a:gd name="connsiteY47" fmla="*/ 152602 h 230347"/>
                <a:gd name="connsiteX48" fmla="*/ 19263 w 242822"/>
                <a:gd name="connsiteY48" fmla="*/ 148788 h 230347"/>
                <a:gd name="connsiteX49" fmla="*/ 12587 w 242822"/>
                <a:gd name="connsiteY49" fmla="*/ 145928 h 230347"/>
                <a:gd name="connsiteX50" fmla="*/ 14495 w 242822"/>
                <a:gd name="connsiteY50" fmla="*/ 139253 h 230347"/>
                <a:gd name="connsiteX51" fmla="*/ 7819 w 242822"/>
                <a:gd name="connsiteY51" fmla="*/ 134486 h 230347"/>
                <a:gd name="connsiteX52" fmla="*/ 5911 w 242822"/>
                <a:gd name="connsiteY52" fmla="*/ 125905 h 230347"/>
                <a:gd name="connsiteX53" fmla="*/ 5911 w 242822"/>
                <a:gd name="connsiteY53" fmla="*/ 117323 h 230347"/>
                <a:gd name="connsiteX54" fmla="*/ 189 w 242822"/>
                <a:gd name="connsiteY54" fmla="*/ 101114 h 230347"/>
                <a:gd name="connsiteX55" fmla="*/ 4004 w 242822"/>
                <a:gd name="connsiteY55" fmla="*/ 82044 h 230347"/>
                <a:gd name="connsiteX56" fmla="*/ 8772 w 242822"/>
                <a:gd name="connsiteY56" fmla="*/ 68696 h 230347"/>
                <a:gd name="connsiteX57" fmla="*/ 16402 w 242822"/>
                <a:gd name="connsiteY57" fmla="*/ 62021 h 230347"/>
                <a:gd name="connsiteX58" fmla="*/ 24032 w 242822"/>
                <a:gd name="connsiteY58" fmla="*/ 68696 h 230347"/>
                <a:gd name="connsiteX59" fmla="*/ 35476 w 242822"/>
                <a:gd name="connsiteY59" fmla="*/ 70603 h 230347"/>
                <a:gd name="connsiteX60" fmla="*/ 45967 w 242822"/>
                <a:gd name="connsiteY60" fmla="*/ 75370 h 230347"/>
                <a:gd name="connsiteX61" fmla="*/ 52292 w 242822"/>
                <a:gd name="connsiteY61" fmla="*/ 75839 h 230347"/>
                <a:gd name="connsiteX62" fmla="*/ 52120 w 242822"/>
                <a:gd name="connsiteY62" fmla="*/ 76260 h 230347"/>
                <a:gd name="connsiteX63" fmla="*/ 45673 w 242822"/>
                <a:gd name="connsiteY63" fmla="*/ 75782 h 230347"/>
                <a:gd name="connsiteX64" fmla="*/ 35167 w 242822"/>
                <a:gd name="connsiteY64" fmla="*/ 71958 h 230347"/>
                <a:gd name="connsiteX65" fmla="*/ 23706 w 242822"/>
                <a:gd name="connsiteY65" fmla="*/ 70045 h 230347"/>
                <a:gd name="connsiteX66" fmla="*/ 17976 w 242822"/>
                <a:gd name="connsiteY66" fmla="*/ 67177 h 230347"/>
                <a:gd name="connsiteX67" fmla="*/ 17976 w 242822"/>
                <a:gd name="connsiteY67" fmla="*/ 72914 h 230347"/>
                <a:gd name="connsiteX68" fmla="*/ 25616 w 242822"/>
                <a:gd name="connsiteY68" fmla="*/ 82475 h 230347"/>
                <a:gd name="connsiteX69" fmla="*/ 42808 w 242822"/>
                <a:gd name="connsiteY69" fmla="*/ 93948 h 230347"/>
                <a:gd name="connsiteX70" fmla="*/ 59999 w 242822"/>
                <a:gd name="connsiteY70" fmla="*/ 91080 h 230347"/>
                <a:gd name="connsiteX71" fmla="*/ 76236 w 242822"/>
                <a:gd name="connsiteY71" fmla="*/ 86299 h 230347"/>
                <a:gd name="connsiteX72" fmla="*/ 88652 w 242822"/>
                <a:gd name="connsiteY72" fmla="*/ 75782 h 230347"/>
                <a:gd name="connsiteX73" fmla="*/ 101068 w 242822"/>
                <a:gd name="connsiteY73" fmla="*/ 78650 h 230347"/>
                <a:gd name="connsiteX74" fmla="*/ 116349 w 242822"/>
                <a:gd name="connsiteY74" fmla="*/ 82475 h 230347"/>
                <a:gd name="connsiteX75" fmla="*/ 127810 w 242822"/>
                <a:gd name="connsiteY75" fmla="*/ 78650 h 230347"/>
                <a:gd name="connsiteX76" fmla="*/ 137361 w 242822"/>
                <a:gd name="connsiteY76" fmla="*/ 73870 h 230347"/>
                <a:gd name="connsiteX77" fmla="*/ 141182 w 242822"/>
                <a:gd name="connsiteY77" fmla="*/ 62397 h 230347"/>
                <a:gd name="connsiteX78" fmla="*/ 146912 w 242822"/>
                <a:gd name="connsiteY78" fmla="*/ 54748 h 230347"/>
                <a:gd name="connsiteX79" fmla="*/ 149777 w 242822"/>
                <a:gd name="connsiteY79" fmla="*/ 45187 h 230347"/>
                <a:gd name="connsiteX80" fmla="*/ 147867 w 242822"/>
                <a:gd name="connsiteY80" fmla="*/ 37538 h 230347"/>
                <a:gd name="connsiteX81" fmla="*/ 158373 w 242822"/>
                <a:gd name="connsiteY81" fmla="*/ 25108 h 230347"/>
                <a:gd name="connsiteX82" fmla="*/ 162193 w 242822"/>
                <a:gd name="connsiteY82" fmla="*/ 4074 h 230347"/>
                <a:gd name="connsiteX83" fmla="*/ 176520 w 242822"/>
                <a:gd name="connsiteY83" fmla="*/ 250 h 230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42822" h="230347">
                  <a:moveTo>
                    <a:pt x="176520" y="250"/>
                  </a:moveTo>
                  <a:cubicBezTo>
                    <a:pt x="181295" y="1206"/>
                    <a:pt x="191801" y="1206"/>
                    <a:pt x="195621" y="1206"/>
                  </a:cubicBezTo>
                  <a:lnTo>
                    <a:pt x="204073" y="5906"/>
                  </a:lnTo>
                  <a:lnTo>
                    <a:pt x="202495" y="6958"/>
                  </a:lnTo>
                  <a:cubicBezTo>
                    <a:pt x="201422" y="8150"/>
                    <a:pt x="201422" y="9580"/>
                    <a:pt x="204283" y="11487"/>
                  </a:cubicBezTo>
                  <a:cubicBezTo>
                    <a:pt x="210005" y="15301"/>
                    <a:pt x="204283" y="18161"/>
                    <a:pt x="199515" y="22928"/>
                  </a:cubicBezTo>
                  <a:cubicBezTo>
                    <a:pt x="193792" y="27696"/>
                    <a:pt x="194746" y="28649"/>
                    <a:pt x="202376" y="32463"/>
                  </a:cubicBezTo>
                  <a:cubicBezTo>
                    <a:pt x="210959" y="36277"/>
                    <a:pt x="211913" y="39138"/>
                    <a:pt x="215728" y="43905"/>
                  </a:cubicBezTo>
                  <a:cubicBezTo>
                    <a:pt x="218589" y="48672"/>
                    <a:pt x="219542" y="47719"/>
                    <a:pt x="219542" y="52486"/>
                  </a:cubicBezTo>
                  <a:cubicBezTo>
                    <a:pt x="218589" y="57254"/>
                    <a:pt x="211913" y="56300"/>
                    <a:pt x="215728" y="62975"/>
                  </a:cubicBezTo>
                  <a:cubicBezTo>
                    <a:pt x="220496" y="69649"/>
                    <a:pt x="215728" y="68696"/>
                    <a:pt x="220496" y="72510"/>
                  </a:cubicBezTo>
                  <a:cubicBezTo>
                    <a:pt x="226218" y="77277"/>
                    <a:pt x="231941" y="81091"/>
                    <a:pt x="237663" y="84905"/>
                  </a:cubicBezTo>
                  <a:cubicBezTo>
                    <a:pt x="242432" y="88719"/>
                    <a:pt x="244339" y="89672"/>
                    <a:pt x="241478" y="93486"/>
                  </a:cubicBezTo>
                  <a:cubicBezTo>
                    <a:pt x="237663" y="96347"/>
                    <a:pt x="234802" y="98254"/>
                    <a:pt x="228126" y="95393"/>
                  </a:cubicBezTo>
                  <a:cubicBezTo>
                    <a:pt x="220496" y="92533"/>
                    <a:pt x="212867" y="87765"/>
                    <a:pt x="211913" y="98254"/>
                  </a:cubicBezTo>
                  <a:cubicBezTo>
                    <a:pt x="210959" y="107788"/>
                    <a:pt x="206191" y="111602"/>
                    <a:pt x="206191" y="116370"/>
                  </a:cubicBezTo>
                  <a:cubicBezTo>
                    <a:pt x="206191" y="121137"/>
                    <a:pt x="203329" y="124951"/>
                    <a:pt x="206191" y="129718"/>
                  </a:cubicBezTo>
                  <a:cubicBezTo>
                    <a:pt x="208098" y="133532"/>
                    <a:pt x="210959" y="132579"/>
                    <a:pt x="207144" y="137346"/>
                  </a:cubicBezTo>
                  <a:cubicBezTo>
                    <a:pt x="203329" y="142114"/>
                    <a:pt x="199515" y="144021"/>
                    <a:pt x="197607" y="145928"/>
                  </a:cubicBezTo>
                  <a:cubicBezTo>
                    <a:pt x="195700" y="147835"/>
                    <a:pt x="188070" y="144021"/>
                    <a:pt x="186163" y="150695"/>
                  </a:cubicBezTo>
                  <a:cubicBezTo>
                    <a:pt x="184255" y="156416"/>
                    <a:pt x="178533" y="163090"/>
                    <a:pt x="178533" y="164997"/>
                  </a:cubicBezTo>
                  <a:cubicBezTo>
                    <a:pt x="178533" y="165951"/>
                    <a:pt x="179487" y="164997"/>
                    <a:pt x="178533" y="169765"/>
                  </a:cubicBezTo>
                  <a:cubicBezTo>
                    <a:pt x="177579" y="174532"/>
                    <a:pt x="174718" y="172625"/>
                    <a:pt x="178533" y="175486"/>
                  </a:cubicBezTo>
                  <a:cubicBezTo>
                    <a:pt x="182348" y="178346"/>
                    <a:pt x="184255" y="179300"/>
                    <a:pt x="182348" y="183114"/>
                  </a:cubicBezTo>
                  <a:cubicBezTo>
                    <a:pt x="180440" y="185974"/>
                    <a:pt x="174718" y="194555"/>
                    <a:pt x="174718" y="196462"/>
                  </a:cubicBezTo>
                  <a:cubicBezTo>
                    <a:pt x="173764" y="197416"/>
                    <a:pt x="175672" y="202183"/>
                    <a:pt x="176625" y="205997"/>
                  </a:cubicBezTo>
                  <a:cubicBezTo>
                    <a:pt x="176625" y="209811"/>
                    <a:pt x="181394" y="212672"/>
                    <a:pt x="174718" y="212672"/>
                  </a:cubicBezTo>
                  <a:cubicBezTo>
                    <a:pt x="167088" y="213625"/>
                    <a:pt x="168996" y="212672"/>
                    <a:pt x="163274" y="215532"/>
                  </a:cubicBezTo>
                  <a:cubicBezTo>
                    <a:pt x="158505" y="219346"/>
                    <a:pt x="151829" y="220299"/>
                    <a:pt x="144199" y="224113"/>
                  </a:cubicBezTo>
                  <a:cubicBezTo>
                    <a:pt x="137523" y="227927"/>
                    <a:pt x="141338" y="233648"/>
                    <a:pt x="137523" y="227927"/>
                  </a:cubicBezTo>
                  <a:cubicBezTo>
                    <a:pt x="134662" y="221253"/>
                    <a:pt x="132755" y="220299"/>
                    <a:pt x="132755" y="215532"/>
                  </a:cubicBezTo>
                  <a:cubicBezTo>
                    <a:pt x="131801" y="210765"/>
                    <a:pt x="134662" y="208858"/>
                    <a:pt x="130847" y="208858"/>
                  </a:cubicBezTo>
                  <a:cubicBezTo>
                    <a:pt x="127033" y="208858"/>
                    <a:pt x="125125" y="205997"/>
                    <a:pt x="120357" y="207904"/>
                  </a:cubicBezTo>
                  <a:cubicBezTo>
                    <a:pt x="116542" y="209811"/>
                    <a:pt x="115588" y="214578"/>
                    <a:pt x="111773" y="209811"/>
                  </a:cubicBezTo>
                  <a:cubicBezTo>
                    <a:pt x="108912" y="204090"/>
                    <a:pt x="113681" y="202183"/>
                    <a:pt x="107005" y="202183"/>
                  </a:cubicBezTo>
                  <a:cubicBezTo>
                    <a:pt x="100329" y="202183"/>
                    <a:pt x="101282" y="195509"/>
                    <a:pt x="98421" y="199323"/>
                  </a:cubicBezTo>
                  <a:cubicBezTo>
                    <a:pt x="94606" y="204090"/>
                    <a:pt x="90792" y="208858"/>
                    <a:pt x="88884" y="208858"/>
                  </a:cubicBezTo>
                  <a:cubicBezTo>
                    <a:pt x="86023" y="208858"/>
                    <a:pt x="82208" y="205044"/>
                    <a:pt x="78393" y="205997"/>
                  </a:cubicBezTo>
                  <a:cubicBezTo>
                    <a:pt x="74578" y="205997"/>
                    <a:pt x="73625" y="210765"/>
                    <a:pt x="71717" y="211718"/>
                  </a:cubicBezTo>
                  <a:cubicBezTo>
                    <a:pt x="69810" y="211718"/>
                    <a:pt x="67902" y="213625"/>
                    <a:pt x="67902" y="205997"/>
                  </a:cubicBezTo>
                  <a:cubicBezTo>
                    <a:pt x="67902" y="198369"/>
                    <a:pt x="73625" y="191695"/>
                    <a:pt x="66949" y="194555"/>
                  </a:cubicBezTo>
                  <a:cubicBezTo>
                    <a:pt x="61226" y="197416"/>
                    <a:pt x="59319" y="196462"/>
                    <a:pt x="55504" y="196462"/>
                  </a:cubicBezTo>
                  <a:cubicBezTo>
                    <a:pt x="51689" y="196462"/>
                    <a:pt x="52643" y="195509"/>
                    <a:pt x="48828" y="196462"/>
                  </a:cubicBezTo>
                  <a:cubicBezTo>
                    <a:pt x="45013" y="198369"/>
                    <a:pt x="41199" y="196462"/>
                    <a:pt x="36430" y="194555"/>
                  </a:cubicBezTo>
                  <a:cubicBezTo>
                    <a:pt x="31661" y="192648"/>
                    <a:pt x="31661" y="205044"/>
                    <a:pt x="29754" y="192648"/>
                  </a:cubicBezTo>
                  <a:cubicBezTo>
                    <a:pt x="28800" y="180253"/>
                    <a:pt x="27847" y="177393"/>
                    <a:pt x="27847" y="173579"/>
                  </a:cubicBezTo>
                  <a:cubicBezTo>
                    <a:pt x="27847" y="168811"/>
                    <a:pt x="24032" y="171672"/>
                    <a:pt x="24985" y="164997"/>
                  </a:cubicBezTo>
                  <a:cubicBezTo>
                    <a:pt x="26893" y="158323"/>
                    <a:pt x="27847" y="156416"/>
                    <a:pt x="27847" y="152602"/>
                  </a:cubicBezTo>
                  <a:cubicBezTo>
                    <a:pt x="27847" y="149742"/>
                    <a:pt x="27847" y="142114"/>
                    <a:pt x="19263" y="148788"/>
                  </a:cubicBezTo>
                  <a:cubicBezTo>
                    <a:pt x="10680" y="154509"/>
                    <a:pt x="9726" y="151649"/>
                    <a:pt x="12587" y="145928"/>
                  </a:cubicBezTo>
                  <a:cubicBezTo>
                    <a:pt x="15448" y="140207"/>
                    <a:pt x="20217" y="140207"/>
                    <a:pt x="14495" y="139253"/>
                  </a:cubicBezTo>
                  <a:cubicBezTo>
                    <a:pt x="9726" y="138300"/>
                    <a:pt x="5911" y="137346"/>
                    <a:pt x="7819" y="134486"/>
                  </a:cubicBezTo>
                  <a:cubicBezTo>
                    <a:pt x="9726" y="131625"/>
                    <a:pt x="5911" y="129718"/>
                    <a:pt x="5911" y="125905"/>
                  </a:cubicBezTo>
                  <a:cubicBezTo>
                    <a:pt x="5911" y="122091"/>
                    <a:pt x="8772" y="123044"/>
                    <a:pt x="5911" y="117323"/>
                  </a:cubicBezTo>
                  <a:cubicBezTo>
                    <a:pt x="3050" y="111602"/>
                    <a:pt x="1143" y="103974"/>
                    <a:pt x="189" y="101114"/>
                  </a:cubicBezTo>
                  <a:cubicBezTo>
                    <a:pt x="-765" y="98254"/>
                    <a:pt x="2096" y="89672"/>
                    <a:pt x="4004" y="82044"/>
                  </a:cubicBezTo>
                  <a:cubicBezTo>
                    <a:pt x="4958" y="75370"/>
                    <a:pt x="2096" y="72510"/>
                    <a:pt x="8772" y="68696"/>
                  </a:cubicBezTo>
                  <a:cubicBezTo>
                    <a:pt x="14495" y="63928"/>
                    <a:pt x="15448" y="56300"/>
                    <a:pt x="16402" y="62021"/>
                  </a:cubicBezTo>
                  <a:cubicBezTo>
                    <a:pt x="18309" y="66789"/>
                    <a:pt x="16402" y="66789"/>
                    <a:pt x="24032" y="68696"/>
                  </a:cubicBezTo>
                  <a:cubicBezTo>
                    <a:pt x="32615" y="71556"/>
                    <a:pt x="29754" y="67742"/>
                    <a:pt x="35476" y="70603"/>
                  </a:cubicBezTo>
                  <a:cubicBezTo>
                    <a:pt x="41199" y="74416"/>
                    <a:pt x="39291" y="75370"/>
                    <a:pt x="45967" y="75370"/>
                  </a:cubicBezTo>
                  <a:lnTo>
                    <a:pt x="52292" y="75839"/>
                  </a:lnTo>
                  <a:lnTo>
                    <a:pt x="52120" y="76260"/>
                  </a:lnTo>
                  <a:cubicBezTo>
                    <a:pt x="50687" y="76499"/>
                    <a:pt x="48538" y="75782"/>
                    <a:pt x="45673" y="75782"/>
                  </a:cubicBezTo>
                  <a:cubicBezTo>
                    <a:pt x="38987" y="75782"/>
                    <a:pt x="40898" y="74826"/>
                    <a:pt x="35167" y="71958"/>
                  </a:cubicBezTo>
                  <a:cubicBezTo>
                    <a:pt x="29437" y="68133"/>
                    <a:pt x="32302" y="71958"/>
                    <a:pt x="23706" y="70045"/>
                  </a:cubicBezTo>
                  <a:cubicBezTo>
                    <a:pt x="19886" y="68133"/>
                    <a:pt x="18931" y="68133"/>
                    <a:pt x="17976" y="67177"/>
                  </a:cubicBezTo>
                  <a:cubicBezTo>
                    <a:pt x="17020" y="69089"/>
                    <a:pt x="15110" y="70045"/>
                    <a:pt x="17976" y="72914"/>
                  </a:cubicBezTo>
                  <a:cubicBezTo>
                    <a:pt x="20841" y="75782"/>
                    <a:pt x="20841" y="77694"/>
                    <a:pt x="25616" y="82475"/>
                  </a:cubicBezTo>
                  <a:cubicBezTo>
                    <a:pt x="30392" y="87255"/>
                    <a:pt x="35167" y="93948"/>
                    <a:pt x="42808" y="93948"/>
                  </a:cubicBezTo>
                  <a:cubicBezTo>
                    <a:pt x="49493" y="93948"/>
                    <a:pt x="52359" y="92036"/>
                    <a:pt x="59999" y="91080"/>
                  </a:cubicBezTo>
                  <a:cubicBezTo>
                    <a:pt x="68595" y="90124"/>
                    <a:pt x="73370" y="92036"/>
                    <a:pt x="76236" y="86299"/>
                  </a:cubicBezTo>
                  <a:cubicBezTo>
                    <a:pt x="78146" y="79607"/>
                    <a:pt x="82921" y="77694"/>
                    <a:pt x="88652" y="75782"/>
                  </a:cubicBezTo>
                  <a:cubicBezTo>
                    <a:pt x="94382" y="73870"/>
                    <a:pt x="95337" y="75782"/>
                    <a:pt x="101068" y="78650"/>
                  </a:cubicBezTo>
                  <a:cubicBezTo>
                    <a:pt x="106798" y="81519"/>
                    <a:pt x="110619" y="86299"/>
                    <a:pt x="116349" y="82475"/>
                  </a:cubicBezTo>
                  <a:cubicBezTo>
                    <a:pt x="122080" y="79607"/>
                    <a:pt x="119215" y="80563"/>
                    <a:pt x="127810" y="78650"/>
                  </a:cubicBezTo>
                  <a:cubicBezTo>
                    <a:pt x="135451" y="77694"/>
                    <a:pt x="134496" y="79607"/>
                    <a:pt x="137361" y="73870"/>
                  </a:cubicBezTo>
                  <a:cubicBezTo>
                    <a:pt x="140226" y="69089"/>
                    <a:pt x="141182" y="68133"/>
                    <a:pt x="141182" y="62397"/>
                  </a:cubicBezTo>
                  <a:cubicBezTo>
                    <a:pt x="141182" y="56660"/>
                    <a:pt x="143092" y="57616"/>
                    <a:pt x="146912" y="54748"/>
                  </a:cubicBezTo>
                  <a:cubicBezTo>
                    <a:pt x="150732" y="50923"/>
                    <a:pt x="150732" y="48055"/>
                    <a:pt x="149777" y="45187"/>
                  </a:cubicBezTo>
                  <a:cubicBezTo>
                    <a:pt x="147867" y="42318"/>
                    <a:pt x="144047" y="38494"/>
                    <a:pt x="147867" y="37538"/>
                  </a:cubicBezTo>
                  <a:cubicBezTo>
                    <a:pt x="152643" y="36582"/>
                    <a:pt x="154553" y="34669"/>
                    <a:pt x="158373" y="25108"/>
                  </a:cubicBezTo>
                  <a:cubicBezTo>
                    <a:pt x="162193" y="16503"/>
                    <a:pt x="158373" y="7898"/>
                    <a:pt x="162193" y="4074"/>
                  </a:cubicBezTo>
                  <a:cubicBezTo>
                    <a:pt x="166014" y="1206"/>
                    <a:pt x="171744" y="-707"/>
                    <a:pt x="176520" y="250"/>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67" name="Freeform 1666">
              <a:extLst>
                <a:ext uri="{FF2B5EF4-FFF2-40B4-BE49-F238E27FC236}">
                  <a16:creationId xmlns:a16="http://schemas.microsoft.com/office/drawing/2014/main" id="{186D0734-6EEB-7647-9538-735C59CC42C1}"/>
                </a:ext>
              </a:extLst>
            </p:cNvPr>
            <p:cNvSpPr>
              <a:spLocks/>
            </p:cNvSpPr>
            <p:nvPr/>
          </p:nvSpPr>
          <p:spPr bwMode="auto">
            <a:xfrm>
              <a:off x="6721507" y="2574403"/>
              <a:ext cx="536" cy="920"/>
            </a:xfrm>
            <a:custGeom>
              <a:avLst/>
              <a:gdLst>
                <a:gd name="connsiteX0" fmla="*/ 536 w 536"/>
                <a:gd name="connsiteY0" fmla="*/ 0 h 920"/>
                <a:gd name="connsiteX1" fmla="*/ 0 w 536"/>
                <a:gd name="connsiteY1" fmla="*/ 920 h 920"/>
                <a:gd name="connsiteX2" fmla="*/ 317 w 536"/>
                <a:gd name="connsiteY2" fmla="*/ 368 h 920"/>
                <a:gd name="connsiteX3" fmla="*/ 536 w 536"/>
                <a:gd name="connsiteY3" fmla="*/ 0 h 920"/>
              </a:gdLst>
              <a:ahLst/>
              <a:cxnLst>
                <a:cxn ang="0">
                  <a:pos x="connsiteX0" y="connsiteY0"/>
                </a:cxn>
                <a:cxn ang="0">
                  <a:pos x="connsiteX1" y="connsiteY1"/>
                </a:cxn>
                <a:cxn ang="0">
                  <a:pos x="connsiteX2" y="connsiteY2"/>
                </a:cxn>
                <a:cxn ang="0">
                  <a:pos x="connsiteX3" y="connsiteY3"/>
                </a:cxn>
              </a:cxnLst>
              <a:rect l="l" t="t" r="r" b="b"/>
              <a:pathLst>
                <a:path w="536" h="920">
                  <a:moveTo>
                    <a:pt x="536" y="0"/>
                  </a:moveTo>
                  <a:lnTo>
                    <a:pt x="0" y="920"/>
                  </a:lnTo>
                  <a:lnTo>
                    <a:pt x="317" y="368"/>
                  </a:lnTo>
                  <a:lnTo>
                    <a:pt x="536"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68" name="Freeform 1667">
              <a:extLst>
                <a:ext uri="{FF2B5EF4-FFF2-40B4-BE49-F238E27FC236}">
                  <a16:creationId xmlns:a16="http://schemas.microsoft.com/office/drawing/2014/main" id="{6FF02B43-4858-E447-80C3-17FB12D872A5}"/>
                </a:ext>
              </a:extLst>
            </p:cNvPr>
            <p:cNvSpPr>
              <a:spLocks/>
            </p:cNvSpPr>
            <p:nvPr/>
          </p:nvSpPr>
          <p:spPr bwMode="auto">
            <a:xfrm>
              <a:off x="6718021" y="2575323"/>
              <a:ext cx="3486" cy="5984"/>
            </a:xfrm>
            <a:custGeom>
              <a:avLst/>
              <a:gdLst>
                <a:gd name="connsiteX0" fmla="*/ 3486 w 3486"/>
                <a:gd name="connsiteY0" fmla="*/ 0 h 5984"/>
                <a:gd name="connsiteX1" fmla="*/ 107 w 3486"/>
                <a:gd name="connsiteY1" fmla="*/ 5884 h 5984"/>
                <a:gd name="connsiteX2" fmla="*/ 0 w 3486"/>
                <a:gd name="connsiteY2" fmla="*/ 5984 h 5984"/>
                <a:gd name="connsiteX3" fmla="*/ 3486 w 3486"/>
                <a:gd name="connsiteY3" fmla="*/ 0 h 5984"/>
              </a:gdLst>
              <a:ahLst/>
              <a:cxnLst>
                <a:cxn ang="0">
                  <a:pos x="connsiteX0" y="connsiteY0"/>
                </a:cxn>
                <a:cxn ang="0">
                  <a:pos x="connsiteX1" y="connsiteY1"/>
                </a:cxn>
                <a:cxn ang="0">
                  <a:pos x="connsiteX2" y="connsiteY2"/>
                </a:cxn>
                <a:cxn ang="0">
                  <a:pos x="connsiteX3" y="connsiteY3"/>
                </a:cxn>
              </a:cxnLst>
              <a:rect l="l" t="t" r="r" b="b"/>
              <a:pathLst>
                <a:path w="3486" h="5984">
                  <a:moveTo>
                    <a:pt x="3486" y="0"/>
                  </a:moveTo>
                  <a:lnTo>
                    <a:pt x="107" y="5884"/>
                  </a:lnTo>
                  <a:lnTo>
                    <a:pt x="0" y="5984"/>
                  </a:lnTo>
                  <a:lnTo>
                    <a:pt x="3486"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69" name="Freeform 1668">
              <a:extLst>
                <a:ext uri="{FF2B5EF4-FFF2-40B4-BE49-F238E27FC236}">
                  <a16:creationId xmlns:a16="http://schemas.microsoft.com/office/drawing/2014/main" id="{8EB08D9C-A410-ED4A-ADD4-30B8380CD29E}"/>
                </a:ext>
              </a:extLst>
            </p:cNvPr>
            <p:cNvSpPr>
              <a:spLocks/>
            </p:cNvSpPr>
            <p:nvPr/>
          </p:nvSpPr>
          <p:spPr bwMode="auto">
            <a:xfrm>
              <a:off x="6680817" y="2581307"/>
              <a:ext cx="37204" cy="10676"/>
            </a:xfrm>
            <a:custGeom>
              <a:avLst/>
              <a:gdLst>
                <a:gd name="connsiteX0" fmla="*/ 37204 w 37204"/>
                <a:gd name="connsiteY0" fmla="*/ 0 h 10676"/>
                <a:gd name="connsiteX1" fmla="*/ 37092 w 37204"/>
                <a:gd name="connsiteY1" fmla="*/ 191 h 10676"/>
                <a:gd name="connsiteX2" fmla="*/ 22765 w 37204"/>
                <a:gd name="connsiteY2" fmla="*/ 5928 h 10676"/>
                <a:gd name="connsiteX3" fmla="*/ 0 w 37204"/>
                <a:gd name="connsiteY3" fmla="*/ 10676 h 10676"/>
                <a:gd name="connsiteX4" fmla="*/ 117 w 37204"/>
                <a:gd name="connsiteY4" fmla="*/ 10388 h 10676"/>
                <a:gd name="connsiteX5" fmla="*/ 23006 w 37204"/>
                <a:gd name="connsiteY5" fmla="*/ 5621 h 10676"/>
                <a:gd name="connsiteX6" fmla="*/ 32305 w 37204"/>
                <a:gd name="connsiteY6" fmla="*/ 4548 h 10676"/>
                <a:gd name="connsiteX7" fmla="*/ 37204 w 37204"/>
                <a:gd name="connsiteY7" fmla="*/ 0 h 10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04" h="10676">
                  <a:moveTo>
                    <a:pt x="37204" y="0"/>
                  </a:moveTo>
                  <a:lnTo>
                    <a:pt x="37092" y="191"/>
                  </a:lnTo>
                  <a:cubicBezTo>
                    <a:pt x="33271" y="5928"/>
                    <a:pt x="32316" y="4972"/>
                    <a:pt x="22765" y="5928"/>
                  </a:cubicBezTo>
                  <a:lnTo>
                    <a:pt x="0" y="10676"/>
                  </a:lnTo>
                  <a:lnTo>
                    <a:pt x="117" y="10388"/>
                  </a:lnTo>
                  <a:cubicBezTo>
                    <a:pt x="4885" y="8481"/>
                    <a:pt x="14422" y="5621"/>
                    <a:pt x="23006" y="5621"/>
                  </a:cubicBezTo>
                  <a:cubicBezTo>
                    <a:pt x="27775" y="5144"/>
                    <a:pt x="30397" y="5144"/>
                    <a:pt x="32305" y="4548"/>
                  </a:cubicBezTo>
                  <a:lnTo>
                    <a:pt x="37204"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70" name="Freeform 1669">
              <a:extLst>
                <a:ext uri="{FF2B5EF4-FFF2-40B4-BE49-F238E27FC236}">
                  <a16:creationId xmlns:a16="http://schemas.microsoft.com/office/drawing/2014/main" id="{6E3C688D-FB5A-B64F-AB30-5C5D0693A738}"/>
                </a:ext>
              </a:extLst>
            </p:cNvPr>
            <p:cNvSpPr>
              <a:spLocks/>
            </p:cNvSpPr>
            <p:nvPr/>
          </p:nvSpPr>
          <p:spPr bwMode="auto">
            <a:xfrm>
              <a:off x="6672953" y="2591983"/>
              <a:ext cx="7864" cy="33561"/>
            </a:xfrm>
            <a:custGeom>
              <a:avLst/>
              <a:gdLst>
                <a:gd name="connsiteX0" fmla="*/ 7864 w 7864"/>
                <a:gd name="connsiteY0" fmla="*/ 0 h 33561"/>
                <a:gd name="connsiteX1" fmla="*/ 5835 w 7864"/>
                <a:gd name="connsiteY1" fmla="*/ 4956 h 33561"/>
                <a:gd name="connsiteX2" fmla="*/ 5120 w 7864"/>
                <a:gd name="connsiteY2" fmla="*/ 13061 h 33561"/>
                <a:gd name="connsiteX3" fmla="*/ 2258 w 7864"/>
                <a:gd name="connsiteY3" fmla="*/ 28317 h 33561"/>
                <a:gd name="connsiteX4" fmla="*/ 112 w 7864"/>
                <a:gd name="connsiteY4" fmla="*/ 33561 h 33561"/>
                <a:gd name="connsiteX5" fmla="*/ 0 w 7864"/>
                <a:gd name="connsiteY5" fmla="*/ 33553 h 33561"/>
                <a:gd name="connsiteX6" fmla="*/ 1977 w 7864"/>
                <a:gd name="connsiteY6" fmla="*/ 28716 h 33561"/>
                <a:gd name="connsiteX7" fmla="*/ 4842 w 7864"/>
                <a:gd name="connsiteY7" fmla="*/ 13418 h 33561"/>
                <a:gd name="connsiteX8" fmla="*/ 7707 w 7864"/>
                <a:gd name="connsiteY8" fmla="*/ 32 h 33561"/>
                <a:gd name="connsiteX9" fmla="*/ 7864 w 7864"/>
                <a:gd name="connsiteY9" fmla="*/ 0 h 33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 h="33561">
                  <a:moveTo>
                    <a:pt x="7864" y="0"/>
                  </a:moveTo>
                  <a:lnTo>
                    <a:pt x="5835" y="4956"/>
                  </a:lnTo>
                  <a:cubicBezTo>
                    <a:pt x="5835" y="7340"/>
                    <a:pt x="6074" y="10201"/>
                    <a:pt x="5120" y="13061"/>
                  </a:cubicBezTo>
                  <a:cubicBezTo>
                    <a:pt x="3212" y="18782"/>
                    <a:pt x="2258" y="20689"/>
                    <a:pt x="2258" y="28317"/>
                  </a:cubicBezTo>
                  <a:cubicBezTo>
                    <a:pt x="2258" y="32131"/>
                    <a:pt x="1543" y="33322"/>
                    <a:pt x="112" y="33561"/>
                  </a:cubicBezTo>
                  <a:lnTo>
                    <a:pt x="0" y="33553"/>
                  </a:lnTo>
                  <a:lnTo>
                    <a:pt x="1977" y="28716"/>
                  </a:lnTo>
                  <a:cubicBezTo>
                    <a:pt x="1977" y="21067"/>
                    <a:pt x="2932" y="19154"/>
                    <a:pt x="4842" y="13418"/>
                  </a:cubicBezTo>
                  <a:cubicBezTo>
                    <a:pt x="6752" y="7681"/>
                    <a:pt x="3887" y="1945"/>
                    <a:pt x="7707" y="32"/>
                  </a:cubicBezTo>
                  <a:lnTo>
                    <a:pt x="7864" y="0"/>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71" name="Freeform 1135">
              <a:extLst>
                <a:ext uri="{FF2B5EF4-FFF2-40B4-BE49-F238E27FC236}">
                  <a16:creationId xmlns:a16="http://schemas.microsoft.com/office/drawing/2014/main" id="{077BFEF1-9A7C-1641-9747-10FD677BCF61}"/>
                </a:ext>
              </a:extLst>
            </p:cNvPr>
            <p:cNvSpPr>
              <a:spLocks/>
            </p:cNvSpPr>
            <p:nvPr/>
          </p:nvSpPr>
          <p:spPr bwMode="auto">
            <a:xfrm>
              <a:off x="6405583" y="2484895"/>
              <a:ext cx="106363" cy="149225"/>
            </a:xfrm>
            <a:custGeom>
              <a:avLst/>
              <a:gdLst>
                <a:gd name="T0" fmla="*/ 110 w 112"/>
                <a:gd name="T1" fmla="*/ 152 h 156"/>
                <a:gd name="T2" fmla="*/ 106 w 112"/>
                <a:gd name="T3" fmla="*/ 152 h 156"/>
                <a:gd name="T4" fmla="*/ 101 w 112"/>
                <a:gd name="T5" fmla="*/ 150 h 156"/>
                <a:gd name="T6" fmla="*/ 97 w 112"/>
                <a:gd name="T7" fmla="*/ 154 h 156"/>
                <a:gd name="T8" fmla="*/ 96 w 112"/>
                <a:gd name="T9" fmla="*/ 153 h 156"/>
                <a:gd name="T10" fmla="*/ 87 w 112"/>
                <a:gd name="T11" fmla="*/ 152 h 156"/>
                <a:gd name="T12" fmla="*/ 82 w 112"/>
                <a:gd name="T13" fmla="*/ 144 h 156"/>
                <a:gd name="T14" fmla="*/ 74 w 112"/>
                <a:gd name="T15" fmla="*/ 140 h 156"/>
                <a:gd name="T16" fmla="*/ 65 w 112"/>
                <a:gd name="T17" fmla="*/ 133 h 156"/>
                <a:gd name="T18" fmla="*/ 55 w 112"/>
                <a:gd name="T19" fmla="*/ 129 h 156"/>
                <a:gd name="T20" fmla="*/ 49 w 112"/>
                <a:gd name="T21" fmla="*/ 120 h 156"/>
                <a:gd name="T22" fmla="*/ 39 w 112"/>
                <a:gd name="T23" fmla="*/ 115 h 156"/>
                <a:gd name="T24" fmla="*/ 37 w 112"/>
                <a:gd name="T25" fmla="*/ 109 h 156"/>
                <a:gd name="T26" fmla="*/ 33 w 112"/>
                <a:gd name="T27" fmla="*/ 98 h 156"/>
                <a:gd name="T28" fmla="*/ 26 w 112"/>
                <a:gd name="T29" fmla="*/ 89 h 156"/>
                <a:gd name="T30" fmla="*/ 19 w 112"/>
                <a:gd name="T31" fmla="*/ 75 h 156"/>
                <a:gd name="T32" fmla="*/ 17 w 112"/>
                <a:gd name="T33" fmla="*/ 65 h 156"/>
                <a:gd name="T34" fmla="*/ 11 w 112"/>
                <a:gd name="T35" fmla="*/ 51 h 156"/>
                <a:gd name="T36" fmla="*/ 7 w 112"/>
                <a:gd name="T37" fmla="*/ 41 h 156"/>
                <a:gd name="T38" fmla="*/ 7 w 112"/>
                <a:gd name="T39" fmla="*/ 30 h 156"/>
                <a:gd name="T40" fmla="*/ 6 w 112"/>
                <a:gd name="T41" fmla="*/ 20 h 156"/>
                <a:gd name="T42" fmla="*/ 2 w 112"/>
                <a:gd name="T43" fmla="*/ 12 h 156"/>
                <a:gd name="T44" fmla="*/ 5 w 112"/>
                <a:gd name="T45" fmla="*/ 4 h 156"/>
                <a:gd name="T46" fmla="*/ 23 w 112"/>
                <a:gd name="T47" fmla="*/ 12 h 156"/>
                <a:gd name="T48" fmla="*/ 29 w 112"/>
                <a:gd name="T49" fmla="*/ 24 h 156"/>
                <a:gd name="T50" fmla="*/ 29 w 112"/>
                <a:gd name="T51" fmla="*/ 34 h 156"/>
                <a:gd name="T52" fmla="*/ 40 w 112"/>
                <a:gd name="T53" fmla="*/ 26 h 156"/>
                <a:gd name="T54" fmla="*/ 51 w 112"/>
                <a:gd name="T55" fmla="*/ 24 h 156"/>
                <a:gd name="T56" fmla="*/ 53 w 112"/>
                <a:gd name="T57" fmla="*/ 14 h 156"/>
                <a:gd name="T58" fmla="*/ 60 w 112"/>
                <a:gd name="T59" fmla="*/ 17 h 156"/>
                <a:gd name="T60" fmla="*/ 65 w 112"/>
                <a:gd name="T61" fmla="*/ 29 h 156"/>
                <a:gd name="T62" fmla="*/ 79 w 112"/>
                <a:gd name="T63" fmla="*/ 40 h 156"/>
                <a:gd name="T64" fmla="*/ 84 w 112"/>
                <a:gd name="T65" fmla="*/ 49 h 156"/>
                <a:gd name="T66" fmla="*/ 88 w 112"/>
                <a:gd name="T67" fmla="*/ 62 h 156"/>
                <a:gd name="T68" fmla="*/ 87 w 112"/>
                <a:gd name="T69" fmla="*/ 76 h 156"/>
                <a:gd name="T70" fmla="*/ 90 w 112"/>
                <a:gd name="T71" fmla="*/ 92 h 156"/>
                <a:gd name="T72" fmla="*/ 90 w 112"/>
                <a:gd name="T73" fmla="*/ 104 h 156"/>
                <a:gd name="T74" fmla="*/ 93 w 112"/>
                <a:gd name="T75" fmla="*/ 115 h 156"/>
                <a:gd name="T76" fmla="*/ 106 w 112"/>
                <a:gd name="T77" fmla="*/ 130 h 156"/>
                <a:gd name="T78" fmla="*/ 109 w 112"/>
                <a:gd name="T79" fmla="*/ 141 h 156"/>
                <a:gd name="T80" fmla="*/ 110 w 112"/>
                <a:gd name="T81" fmla="*/ 15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156">
                  <a:moveTo>
                    <a:pt x="110" y="152"/>
                  </a:moveTo>
                  <a:cubicBezTo>
                    <a:pt x="108" y="153"/>
                    <a:pt x="106" y="154"/>
                    <a:pt x="106" y="152"/>
                  </a:cubicBezTo>
                  <a:cubicBezTo>
                    <a:pt x="105" y="150"/>
                    <a:pt x="101" y="148"/>
                    <a:pt x="101" y="150"/>
                  </a:cubicBezTo>
                  <a:cubicBezTo>
                    <a:pt x="101" y="153"/>
                    <a:pt x="99" y="156"/>
                    <a:pt x="97" y="154"/>
                  </a:cubicBezTo>
                  <a:cubicBezTo>
                    <a:pt x="96" y="153"/>
                    <a:pt x="100" y="153"/>
                    <a:pt x="96" y="153"/>
                  </a:cubicBezTo>
                  <a:cubicBezTo>
                    <a:pt x="91" y="154"/>
                    <a:pt x="87" y="156"/>
                    <a:pt x="87" y="152"/>
                  </a:cubicBezTo>
                  <a:cubicBezTo>
                    <a:pt x="86" y="147"/>
                    <a:pt x="87" y="146"/>
                    <a:pt x="82" y="144"/>
                  </a:cubicBezTo>
                  <a:cubicBezTo>
                    <a:pt x="78" y="142"/>
                    <a:pt x="82" y="145"/>
                    <a:pt x="74" y="140"/>
                  </a:cubicBezTo>
                  <a:cubicBezTo>
                    <a:pt x="66" y="134"/>
                    <a:pt x="74" y="136"/>
                    <a:pt x="65" y="133"/>
                  </a:cubicBezTo>
                  <a:cubicBezTo>
                    <a:pt x="56" y="130"/>
                    <a:pt x="60" y="135"/>
                    <a:pt x="55" y="129"/>
                  </a:cubicBezTo>
                  <a:cubicBezTo>
                    <a:pt x="50" y="123"/>
                    <a:pt x="51" y="121"/>
                    <a:pt x="49" y="120"/>
                  </a:cubicBezTo>
                  <a:cubicBezTo>
                    <a:pt x="46" y="119"/>
                    <a:pt x="41" y="120"/>
                    <a:pt x="39" y="115"/>
                  </a:cubicBezTo>
                  <a:cubicBezTo>
                    <a:pt x="38" y="111"/>
                    <a:pt x="39" y="115"/>
                    <a:pt x="37" y="109"/>
                  </a:cubicBezTo>
                  <a:cubicBezTo>
                    <a:pt x="36" y="104"/>
                    <a:pt x="35" y="102"/>
                    <a:pt x="33" y="98"/>
                  </a:cubicBezTo>
                  <a:cubicBezTo>
                    <a:pt x="30" y="95"/>
                    <a:pt x="27" y="95"/>
                    <a:pt x="26" y="89"/>
                  </a:cubicBezTo>
                  <a:cubicBezTo>
                    <a:pt x="25" y="84"/>
                    <a:pt x="19" y="75"/>
                    <a:pt x="19" y="75"/>
                  </a:cubicBezTo>
                  <a:cubicBezTo>
                    <a:pt x="19" y="75"/>
                    <a:pt x="17" y="69"/>
                    <a:pt x="17" y="65"/>
                  </a:cubicBezTo>
                  <a:cubicBezTo>
                    <a:pt x="17" y="60"/>
                    <a:pt x="14" y="55"/>
                    <a:pt x="11" y="51"/>
                  </a:cubicBezTo>
                  <a:cubicBezTo>
                    <a:pt x="9" y="48"/>
                    <a:pt x="6" y="46"/>
                    <a:pt x="7" y="41"/>
                  </a:cubicBezTo>
                  <a:cubicBezTo>
                    <a:pt x="8" y="36"/>
                    <a:pt x="7" y="33"/>
                    <a:pt x="7" y="30"/>
                  </a:cubicBezTo>
                  <a:cubicBezTo>
                    <a:pt x="7" y="26"/>
                    <a:pt x="10" y="29"/>
                    <a:pt x="6" y="20"/>
                  </a:cubicBezTo>
                  <a:cubicBezTo>
                    <a:pt x="4" y="17"/>
                    <a:pt x="2" y="14"/>
                    <a:pt x="2" y="12"/>
                  </a:cubicBezTo>
                  <a:cubicBezTo>
                    <a:pt x="1" y="8"/>
                    <a:pt x="0" y="0"/>
                    <a:pt x="5" y="4"/>
                  </a:cubicBezTo>
                  <a:cubicBezTo>
                    <a:pt x="11" y="8"/>
                    <a:pt x="20" y="9"/>
                    <a:pt x="23" y="12"/>
                  </a:cubicBezTo>
                  <a:cubicBezTo>
                    <a:pt x="26" y="15"/>
                    <a:pt x="29" y="21"/>
                    <a:pt x="29" y="24"/>
                  </a:cubicBezTo>
                  <a:cubicBezTo>
                    <a:pt x="28" y="27"/>
                    <a:pt x="20" y="36"/>
                    <a:pt x="29" y="34"/>
                  </a:cubicBezTo>
                  <a:cubicBezTo>
                    <a:pt x="37" y="32"/>
                    <a:pt x="36" y="24"/>
                    <a:pt x="40" y="26"/>
                  </a:cubicBezTo>
                  <a:cubicBezTo>
                    <a:pt x="45" y="29"/>
                    <a:pt x="49" y="29"/>
                    <a:pt x="51" y="24"/>
                  </a:cubicBezTo>
                  <a:cubicBezTo>
                    <a:pt x="52" y="20"/>
                    <a:pt x="52" y="16"/>
                    <a:pt x="53" y="14"/>
                  </a:cubicBezTo>
                  <a:cubicBezTo>
                    <a:pt x="55" y="15"/>
                    <a:pt x="58" y="16"/>
                    <a:pt x="60" y="17"/>
                  </a:cubicBezTo>
                  <a:cubicBezTo>
                    <a:pt x="65" y="21"/>
                    <a:pt x="61" y="25"/>
                    <a:pt x="65" y="29"/>
                  </a:cubicBezTo>
                  <a:cubicBezTo>
                    <a:pt x="70" y="32"/>
                    <a:pt x="77" y="37"/>
                    <a:pt x="79" y="40"/>
                  </a:cubicBezTo>
                  <a:cubicBezTo>
                    <a:pt x="80" y="42"/>
                    <a:pt x="83" y="43"/>
                    <a:pt x="84" y="49"/>
                  </a:cubicBezTo>
                  <a:cubicBezTo>
                    <a:pt x="86" y="55"/>
                    <a:pt x="88" y="59"/>
                    <a:pt x="88" y="62"/>
                  </a:cubicBezTo>
                  <a:cubicBezTo>
                    <a:pt x="88" y="66"/>
                    <a:pt x="87" y="73"/>
                    <a:pt x="87" y="76"/>
                  </a:cubicBezTo>
                  <a:cubicBezTo>
                    <a:pt x="87" y="80"/>
                    <a:pt x="89" y="87"/>
                    <a:pt x="90" y="92"/>
                  </a:cubicBezTo>
                  <a:cubicBezTo>
                    <a:pt x="90" y="97"/>
                    <a:pt x="90" y="100"/>
                    <a:pt x="90" y="104"/>
                  </a:cubicBezTo>
                  <a:cubicBezTo>
                    <a:pt x="90" y="109"/>
                    <a:pt x="91" y="112"/>
                    <a:pt x="93" y="115"/>
                  </a:cubicBezTo>
                  <a:cubicBezTo>
                    <a:pt x="95" y="117"/>
                    <a:pt x="106" y="128"/>
                    <a:pt x="106" y="130"/>
                  </a:cubicBezTo>
                  <a:cubicBezTo>
                    <a:pt x="106" y="132"/>
                    <a:pt x="108" y="138"/>
                    <a:pt x="109" y="141"/>
                  </a:cubicBezTo>
                  <a:cubicBezTo>
                    <a:pt x="110" y="144"/>
                    <a:pt x="112" y="151"/>
                    <a:pt x="110" y="152"/>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72" name="Freeform 1136">
              <a:extLst>
                <a:ext uri="{FF2B5EF4-FFF2-40B4-BE49-F238E27FC236}">
                  <a16:creationId xmlns:a16="http://schemas.microsoft.com/office/drawing/2014/main" id="{2586D7B8-FF87-CC47-A11F-D5D27E26C9D1}"/>
                </a:ext>
              </a:extLst>
            </p:cNvPr>
            <p:cNvSpPr>
              <a:spLocks/>
            </p:cNvSpPr>
            <p:nvPr/>
          </p:nvSpPr>
          <p:spPr bwMode="auto">
            <a:xfrm>
              <a:off x="6988197" y="2888120"/>
              <a:ext cx="63500" cy="30163"/>
            </a:xfrm>
            <a:custGeom>
              <a:avLst/>
              <a:gdLst>
                <a:gd name="T0" fmla="*/ 65 w 67"/>
                <a:gd name="T1" fmla="*/ 7 h 31"/>
                <a:gd name="T2" fmla="*/ 56 w 67"/>
                <a:gd name="T3" fmla="*/ 11 h 31"/>
                <a:gd name="T4" fmla="*/ 41 w 67"/>
                <a:gd name="T5" fmla="*/ 20 h 31"/>
                <a:gd name="T6" fmla="*/ 24 w 67"/>
                <a:gd name="T7" fmla="*/ 26 h 31"/>
                <a:gd name="T8" fmla="*/ 10 w 67"/>
                <a:gd name="T9" fmla="*/ 30 h 31"/>
                <a:gd name="T10" fmla="*/ 10 w 67"/>
                <a:gd name="T11" fmla="*/ 31 h 31"/>
                <a:gd name="T12" fmla="*/ 7 w 67"/>
                <a:gd name="T13" fmla="*/ 29 h 31"/>
                <a:gd name="T14" fmla="*/ 7 w 67"/>
                <a:gd name="T15" fmla="*/ 23 h 31"/>
                <a:gd name="T16" fmla="*/ 3 w 67"/>
                <a:gd name="T17" fmla="*/ 23 h 31"/>
                <a:gd name="T18" fmla="*/ 1 w 67"/>
                <a:gd name="T19" fmla="*/ 22 h 31"/>
                <a:gd name="T20" fmla="*/ 3 w 67"/>
                <a:gd name="T21" fmla="*/ 19 h 31"/>
                <a:gd name="T22" fmla="*/ 8 w 67"/>
                <a:gd name="T23" fmla="*/ 11 h 31"/>
                <a:gd name="T24" fmla="*/ 19 w 67"/>
                <a:gd name="T25" fmla="*/ 7 h 31"/>
                <a:gd name="T26" fmla="*/ 32 w 67"/>
                <a:gd name="T27" fmla="*/ 5 h 31"/>
                <a:gd name="T28" fmla="*/ 49 w 67"/>
                <a:gd name="T29" fmla="*/ 4 h 31"/>
                <a:gd name="T30" fmla="*/ 60 w 67"/>
                <a:gd name="T31" fmla="*/ 1 h 31"/>
                <a:gd name="T32" fmla="*/ 65 w 67"/>
                <a:gd name="T33"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31">
                  <a:moveTo>
                    <a:pt x="65" y="7"/>
                  </a:moveTo>
                  <a:cubicBezTo>
                    <a:pt x="63" y="8"/>
                    <a:pt x="62" y="7"/>
                    <a:pt x="56" y="11"/>
                  </a:cubicBezTo>
                  <a:cubicBezTo>
                    <a:pt x="49" y="16"/>
                    <a:pt x="50" y="16"/>
                    <a:pt x="41" y="20"/>
                  </a:cubicBezTo>
                  <a:cubicBezTo>
                    <a:pt x="33" y="23"/>
                    <a:pt x="30" y="24"/>
                    <a:pt x="24" y="26"/>
                  </a:cubicBezTo>
                  <a:cubicBezTo>
                    <a:pt x="19" y="28"/>
                    <a:pt x="12" y="27"/>
                    <a:pt x="10" y="30"/>
                  </a:cubicBezTo>
                  <a:cubicBezTo>
                    <a:pt x="10" y="30"/>
                    <a:pt x="10" y="30"/>
                    <a:pt x="10" y="31"/>
                  </a:cubicBezTo>
                  <a:cubicBezTo>
                    <a:pt x="9" y="30"/>
                    <a:pt x="7" y="29"/>
                    <a:pt x="7" y="29"/>
                  </a:cubicBezTo>
                  <a:cubicBezTo>
                    <a:pt x="6" y="27"/>
                    <a:pt x="6" y="25"/>
                    <a:pt x="7" y="23"/>
                  </a:cubicBezTo>
                  <a:cubicBezTo>
                    <a:pt x="7" y="22"/>
                    <a:pt x="5" y="22"/>
                    <a:pt x="3" y="23"/>
                  </a:cubicBezTo>
                  <a:cubicBezTo>
                    <a:pt x="2" y="24"/>
                    <a:pt x="1" y="23"/>
                    <a:pt x="1" y="22"/>
                  </a:cubicBezTo>
                  <a:cubicBezTo>
                    <a:pt x="1" y="21"/>
                    <a:pt x="2" y="20"/>
                    <a:pt x="3" y="19"/>
                  </a:cubicBezTo>
                  <a:cubicBezTo>
                    <a:pt x="7" y="12"/>
                    <a:pt x="0" y="14"/>
                    <a:pt x="8" y="11"/>
                  </a:cubicBezTo>
                  <a:cubicBezTo>
                    <a:pt x="16" y="8"/>
                    <a:pt x="8" y="9"/>
                    <a:pt x="19" y="7"/>
                  </a:cubicBezTo>
                  <a:cubicBezTo>
                    <a:pt x="31" y="5"/>
                    <a:pt x="20" y="7"/>
                    <a:pt x="32" y="5"/>
                  </a:cubicBezTo>
                  <a:cubicBezTo>
                    <a:pt x="45" y="4"/>
                    <a:pt x="42" y="7"/>
                    <a:pt x="49" y="4"/>
                  </a:cubicBezTo>
                  <a:cubicBezTo>
                    <a:pt x="56" y="2"/>
                    <a:pt x="57" y="1"/>
                    <a:pt x="60" y="1"/>
                  </a:cubicBezTo>
                  <a:cubicBezTo>
                    <a:pt x="64" y="0"/>
                    <a:pt x="67" y="6"/>
                    <a:pt x="65" y="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73" name="Freeform 1137">
              <a:extLst>
                <a:ext uri="{FF2B5EF4-FFF2-40B4-BE49-F238E27FC236}">
                  <a16:creationId xmlns:a16="http://schemas.microsoft.com/office/drawing/2014/main" id="{4C538F25-EF2D-0245-9574-C8F8283B4921}"/>
                </a:ext>
              </a:extLst>
            </p:cNvPr>
            <p:cNvSpPr>
              <a:spLocks/>
            </p:cNvSpPr>
            <p:nvPr/>
          </p:nvSpPr>
          <p:spPr bwMode="auto">
            <a:xfrm>
              <a:off x="6962797" y="2915108"/>
              <a:ext cx="14288" cy="11113"/>
            </a:xfrm>
            <a:custGeom>
              <a:avLst/>
              <a:gdLst>
                <a:gd name="T0" fmla="*/ 14 w 15"/>
                <a:gd name="T1" fmla="*/ 3 h 12"/>
                <a:gd name="T2" fmla="*/ 14 w 15"/>
                <a:gd name="T3" fmla="*/ 4 h 12"/>
                <a:gd name="T4" fmla="*/ 9 w 15"/>
                <a:gd name="T5" fmla="*/ 9 h 12"/>
                <a:gd name="T6" fmla="*/ 2 w 15"/>
                <a:gd name="T7" fmla="*/ 12 h 12"/>
                <a:gd name="T8" fmla="*/ 0 w 15"/>
                <a:gd name="T9" fmla="*/ 10 h 12"/>
                <a:gd name="T10" fmla="*/ 3 w 15"/>
                <a:gd name="T11" fmla="*/ 7 h 12"/>
                <a:gd name="T12" fmla="*/ 9 w 15"/>
                <a:gd name="T13" fmla="*/ 0 h 12"/>
                <a:gd name="T14" fmla="*/ 14 w 15"/>
                <a:gd name="T15" fmla="*/ 3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2">
                  <a:moveTo>
                    <a:pt x="14" y="3"/>
                  </a:moveTo>
                  <a:cubicBezTo>
                    <a:pt x="14" y="3"/>
                    <a:pt x="14" y="4"/>
                    <a:pt x="14" y="4"/>
                  </a:cubicBezTo>
                  <a:cubicBezTo>
                    <a:pt x="14" y="5"/>
                    <a:pt x="12" y="8"/>
                    <a:pt x="9" y="9"/>
                  </a:cubicBezTo>
                  <a:cubicBezTo>
                    <a:pt x="6" y="11"/>
                    <a:pt x="5" y="12"/>
                    <a:pt x="2" y="12"/>
                  </a:cubicBezTo>
                  <a:cubicBezTo>
                    <a:pt x="1" y="11"/>
                    <a:pt x="0" y="10"/>
                    <a:pt x="0" y="10"/>
                  </a:cubicBezTo>
                  <a:cubicBezTo>
                    <a:pt x="0" y="9"/>
                    <a:pt x="1" y="8"/>
                    <a:pt x="3" y="7"/>
                  </a:cubicBezTo>
                  <a:cubicBezTo>
                    <a:pt x="7" y="1"/>
                    <a:pt x="2" y="0"/>
                    <a:pt x="9" y="0"/>
                  </a:cubicBezTo>
                  <a:cubicBezTo>
                    <a:pt x="15" y="0"/>
                    <a:pt x="11" y="2"/>
                    <a:pt x="14"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74" name="Freeform 1138">
              <a:extLst>
                <a:ext uri="{FF2B5EF4-FFF2-40B4-BE49-F238E27FC236}">
                  <a16:creationId xmlns:a16="http://schemas.microsoft.com/office/drawing/2014/main" id="{74DE8F64-6994-7F4E-95E8-AE8EC5A2945B}"/>
                </a:ext>
              </a:extLst>
            </p:cNvPr>
            <p:cNvSpPr>
              <a:spLocks/>
            </p:cNvSpPr>
            <p:nvPr/>
          </p:nvSpPr>
          <p:spPr bwMode="auto">
            <a:xfrm>
              <a:off x="7005660" y="2877008"/>
              <a:ext cx="4763" cy="11113"/>
            </a:xfrm>
            <a:custGeom>
              <a:avLst/>
              <a:gdLst>
                <a:gd name="T0" fmla="*/ 2 w 5"/>
                <a:gd name="T1" fmla="*/ 5 h 12"/>
                <a:gd name="T2" fmla="*/ 0 w 5"/>
                <a:gd name="T3" fmla="*/ 10 h 12"/>
                <a:gd name="T4" fmla="*/ 2 w 5"/>
                <a:gd name="T5" fmla="*/ 12 h 12"/>
                <a:gd name="T6" fmla="*/ 5 w 5"/>
                <a:gd name="T7" fmla="*/ 9 h 12"/>
                <a:gd name="T8" fmla="*/ 2 w 5"/>
                <a:gd name="T9" fmla="*/ 5 h 12"/>
              </a:gdLst>
              <a:ahLst/>
              <a:cxnLst>
                <a:cxn ang="0">
                  <a:pos x="T0" y="T1"/>
                </a:cxn>
                <a:cxn ang="0">
                  <a:pos x="T2" y="T3"/>
                </a:cxn>
                <a:cxn ang="0">
                  <a:pos x="T4" y="T5"/>
                </a:cxn>
                <a:cxn ang="0">
                  <a:pos x="T6" y="T7"/>
                </a:cxn>
                <a:cxn ang="0">
                  <a:pos x="T8" y="T9"/>
                </a:cxn>
              </a:cxnLst>
              <a:rect l="0" t="0" r="r" b="b"/>
              <a:pathLst>
                <a:path w="5" h="12">
                  <a:moveTo>
                    <a:pt x="2" y="5"/>
                  </a:moveTo>
                  <a:cubicBezTo>
                    <a:pt x="1" y="7"/>
                    <a:pt x="0" y="8"/>
                    <a:pt x="0" y="10"/>
                  </a:cubicBezTo>
                  <a:cubicBezTo>
                    <a:pt x="0" y="11"/>
                    <a:pt x="0" y="12"/>
                    <a:pt x="2" y="12"/>
                  </a:cubicBezTo>
                  <a:cubicBezTo>
                    <a:pt x="3" y="12"/>
                    <a:pt x="5" y="12"/>
                    <a:pt x="5" y="9"/>
                  </a:cubicBezTo>
                  <a:cubicBezTo>
                    <a:pt x="5" y="6"/>
                    <a:pt x="4" y="0"/>
                    <a:pt x="2"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75" name="Freeform 1139">
              <a:extLst>
                <a:ext uri="{FF2B5EF4-FFF2-40B4-BE49-F238E27FC236}">
                  <a16:creationId xmlns:a16="http://schemas.microsoft.com/office/drawing/2014/main" id="{8A4D8EF4-950A-414C-BDED-9193D51FB67E}"/>
                </a:ext>
              </a:extLst>
            </p:cNvPr>
            <p:cNvSpPr>
              <a:spLocks/>
            </p:cNvSpPr>
            <p:nvPr/>
          </p:nvSpPr>
          <p:spPr bwMode="auto">
            <a:xfrm>
              <a:off x="4841890" y="1672094"/>
              <a:ext cx="147638" cy="134938"/>
            </a:xfrm>
            <a:custGeom>
              <a:avLst/>
              <a:gdLst>
                <a:gd name="T0" fmla="*/ 154 w 154"/>
                <a:gd name="T1" fmla="*/ 3 h 142"/>
                <a:gd name="T2" fmla="*/ 152 w 154"/>
                <a:gd name="T3" fmla="*/ 7 h 142"/>
                <a:gd name="T4" fmla="*/ 140 w 154"/>
                <a:gd name="T5" fmla="*/ 17 h 142"/>
                <a:gd name="T6" fmla="*/ 129 w 154"/>
                <a:gd name="T7" fmla="*/ 27 h 142"/>
                <a:gd name="T8" fmla="*/ 134 w 154"/>
                <a:gd name="T9" fmla="*/ 49 h 142"/>
                <a:gd name="T10" fmla="*/ 130 w 154"/>
                <a:gd name="T11" fmla="*/ 76 h 142"/>
                <a:gd name="T12" fmla="*/ 111 w 154"/>
                <a:gd name="T13" fmla="*/ 89 h 142"/>
                <a:gd name="T14" fmla="*/ 97 w 154"/>
                <a:gd name="T15" fmla="*/ 99 h 142"/>
                <a:gd name="T16" fmla="*/ 80 w 154"/>
                <a:gd name="T17" fmla="*/ 109 h 142"/>
                <a:gd name="T18" fmla="*/ 76 w 154"/>
                <a:gd name="T19" fmla="*/ 111 h 142"/>
                <a:gd name="T20" fmla="*/ 63 w 154"/>
                <a:gd name="T21" fmla="*/ 120 h 142"/>
                <a:gd name="T22" fmla="*/ 45 w 154"/>
                <a:gd name="T23" fmla="*/ 134 h 142"/>
                <a:gd name="T24" fmla="*/ 29 w 154"/>
                <a:gd name="T25" fmla="*/ 139 h 142"/>
                <a:gd name="T26" fmla="*/ 18 w 154"/>
                <a:gd name="T27" fmla="*/ 133 h 142"/>
                <a:gd name="T28" fmla="*/ 7 w 154"/>
                <a:gd name="T29" fmla="*/ 129 h 142"/>
                <a:gd name="T30" fmla="*/ 5 w 154"/>
                <a:gd name="T31" fmla="*/ 125 h 142"/>
                <a:gd name="T32" fmla="*/ 5 w 154"/>
                <a:gd name="T33" fmla="*/ 125 h 142"/>
                <a:gd name="T34" fmla="*/ 4 w 154"/>
                <a:gd name="T35" fmla="*/ 120 h 142"/>
                <a:gd name="T36" fmla="*/ 1 w 154"/>
                <a:gd name="T37" fmla="*/ 117 h 142"/>
                <a:gd name="T38" fmla="*/ 3 w 154"/>
                <a:gd name="T39" fmla="*/ 112 h 142"/>
                <a:gd name="T40" fmla="*/ 12 w 154"/>
                <a:gd name="T41" fmla="*/ 100 h 142"/>
                <a:gd name="T42" fmla="*/ 20 w 154"/>
                <a:gd name="T43" fmla="*/ 93 h 142"/>
                <a:gd name="T44" fmla="*/ 24 w 154"/>
                <a:gd name="T45" fmla="*/ 83 h 142"/>
                <a:gd name="T46" fmla="*/ 16 w 154"/>
                <a:gd name="T47" fmla="*/ 73 h 142"/>
                <a:gd name="T48" fmla="*/ 8 w 154"/>
                <a:gd name="T49" fmla="*/ 74 h 142"/>
                <a:gd name="T50" fmla="*/ 7 w 154"/>
                <a:gd name="T51" fmla="*/ 69 h 142"/>
                <a:gd name="T52" fmla="*/ 4 w 154"/>
                <a:gd name="T53" fmla="*/ 51 h 142"/>
                <a:gd name="T54" fmla="*/ 4 w 154"/>
                <a:gd name="T55" fmla="*/ 40 h 142"/>
                <a:gd name="T56" fmla="*/ 4 w 154"/>
                <a:gd name="T57" fmla="*/ 39 h 142"/>
                <a:gd name="T58" fmla="*/ 11 w 154"/>
                <a:gd name="T59" fmla="*/ 40 h 142"/>
                <a:gd name="T60" fmla="*/ 16 w 154"/>
                <a:gd name="T61" fmla="*/ 30 h 142"/>
                <a:gd name="T62" fmla="*/ 21 w 154"/>
                <a:gd name="T63" fmla="*/ 26 h 142"/>
                <a:gd name="T64" fmla="*/ 19 w 154"/>
                <a:gd name="T65" fmla="*/ 19 h 142"/>
                <a:gd name="T66" fmla="*/ 25 w 154"/>
                <a:gd name="T67" fmla="*/ 12 h 142"/>
                <a:gd name="T68" fmla="*/ 36 w 154"/>
                <a:gd name="T69" fmla="*/ 19 h 142"/>
                <a:gd name="T70" fmla="*/ 45 w 154"/>
                <a:gd name="T71" fmla="*/ 14 h 142"/>
                <a:gd name="T72" fmla="*/ 63 w 154"/>
                <a:gd name="T73" fmla="*/ 13 h 142"/>
                <a:gd name="T74" fmla="*/ 82 w 154"/>
                <a:gd name="T75" fmla="*/ 16 h 142"/>
                <a:gd name="T76" fmla="*/ 97 w 154"/>
                <a:gd name="T77" fmla="*/ 11 h 142"/>
                <a:gd name="T78" fmla="*/ 109 w 154"/>
                <a:gd name="T79" fmla="*/ 8 h 142"/>
                <a:gd name="T80" fmla="*/ 127 w 154"/>
                <a:gd name="T81" fmla="*/ 6 h 142"/>
                <a:gd name="T82" fmla="*/ 141 w 154"/>
                <a:gd name="T83" fmla="*/ 4 h 142"/>
                <a:gd name="T84" fmla="*/ 154 w 154"/>
                <a:gd name="T85" fmla="*/ 2 h 142"/>
                <a:gd name="T86" fmla="*/ 154 w 154"/>
                <a:gd name="T87" fmla="*/ 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4" h="142">
                  <a:moveTo>
                    <a:pt x="154" y="3"/>
                  </a:moveTo>
                  <a:cubicBezTo>
                    <a:pt x="154" y="4"/>
                    <a:pt x="153" y="5"/>
                    <a:pt x="152" y="7"/>
                  </a:cubicBezTo>
                  <a:cubicBezTo>
                    <a:pt x="147" y="12"/>
                    <a:pt x="144" y="14"/>
                    <a:pt x="140" y="17"/>
                  </a:cubicBezTo>
                  <a:cubicBezTo>
                    <a:pt x="136" y="19"/>
                    <a:pt x="127" y="21"/>
                    <a:pt x="129" y="27"/>
                  </a:cubicBezTo>
                  <a:cubicBezTo>
                    <a:pt x="130" y="32"/>
                    <a:pt x="134" y="47"/>
                    <a:pt x="134" y="49"/>
                  </a:cubicBezTo>
                  <a:cubicBezTo>
                    <a:pt x="133" y="51"/>
                    <a:pt x="133" y="73"/>
                    <a:pt x="130" y="76"/>
                  </a:cubicBezTo>
                  <a:cubicBezTo>
                    <a:pt x="128" y="78"/>
                    <a:pt x="113" y="87"/>
                    <a:pt x="111" y="89"/>
                  </a:cubicBezTo>
                  <a:cubicBezTo>
                    <a:pt x="109" y="92"/>
                    <a:pt x="103" y="96"/>
                    <a:pt x="97" y="99"/>
                  </a:cubicBezTo>
                  <a:cubicBezTo>
                    <a:pt x="91" y="102"/>
                    <a:pt x="87" y="106"/>
                    <a:pt x="80" y="109"/>
                  </a:cubicBezTo>
                  <a:cubicBezTo>
                    <a:pt x="78" y="109"/>
                    <a:pt x="77" y="110"/>
                    <a:pt x="76" y="111"/>
                  </a:cubicBezTo>
                  <a:cubicBezTo>
                    <a:pt x="71" y="114"/>
                    <a:pt x="68" y="117"/>
                    <a:pt x="63" y="120"/>
                  </a:cubicBezTo>
                  <a:cubicBezTo>
                    <a:pt x="58" y="124"/>
                    <a:pt x="54" y="129"/>
                    <a:pt x="45" y="134"/>
                  </a:cubicBezTo>
                  <a:cubicBezTo>
                    <a:pt x="36" y="139"/>
                    <a:pt x="35" y="142"/>
                    <a:pt x="29" y="139"/>
                  </a:cubicBezTo>
                  <a:cubicBezTo>
                    <a:pt x="24" y="137"/>
                    <a:pt x="23" y="135"/>
                    <a:pt x="18" y="133"/>
                  </a:cubicBezTo>
                  <a:cubicBezTo>
                    <a:pt x="14" y="130"/>
                    <a:pt x="9" y="129"/>
                    <a:pt x="7" y="129"/>
                  </a:cubicBezTo>
                  <a:cubicBezTo>
                    <a:pt x="7" y="129"/>
                    <a:pt x="6" y="127"/>
                    <a:pt x="5" y="125"/>
                  </a:cubicBezTo>
                  <a:cubicBezTo>
                    <a:pt x="5" y="125"/>
                    <a:pt x="5" y="125"/>
                    <a:pt x="5" y="125"/>
                  </a:cubicBezTo>
                  <a:cubicBezTo>
                    <a:pt x="5" y="123"/>
                    <a:pt x="4" y="121"/>
                    <a:pt x="4" y="120"/>
                  </a:cubicBezTo>
                  <a:cubicBezTo>
                    <a:pt x="4" y="118"/>
                    <a:pt x="2" y="118"/>
                    <a:pt x="1" y="117"/>
                  </a:cubicBezTo>
                  <a:cubicBezTo>
                    <a:pt x="0" y="116"/>
                    <a:pt x="1" y="115"/>
                    <a:pt x="3" y="112"/>
                  </a:cubicBezTo>
                  <a:cubicBezTo>
                    <a:pt x="10" y="105"/>
                    <a:pt x="10" y="103"/>
                    <a:pt x="12" y="100"/>
                  </a:cubicBezTo>
                  <a:cubicBezTo>
                    <a:pt x="14" y="98"/>
                    <a:pt x="15" y="99"/>
                    <a:pt x="20" y="93"/>
                  </a:cubicBezTo>
                  <a:cubicBezTo>
                    <a:pt x="24" y="87"/>
                    <a:pt x="27" y="87"/>
                    <a:pt x="24" y="83"/>
                  </a:cubicBezTo>
                  <a:cubicBezTo>
                    <a:pt x="21" y="79"/>
                    <a:pt x="18" y="72"/>
                    <a:pt x="16" y="73"/>
                  </a:cubicBezTo>
                  <a:cubicBezTo>
                    <a:pt x="14" y="74"/>
                    <a:pt x="10" y="74"/>
                    <a:pt x="8" y="74"/>
                  </a:cubicBezTo>
                  <a:cubicBezTo>
                    <a:pt x="8" y="73"/>
                    <a:pt x="8" y="71"/>
                    <a:pt x="7" y="69"/>
                  </a:cubicBezTo>
                  <a:cubicBezTo>
                    <a:pt x="2" y="60"/>
                    <a:pt x="5" y="54"/>
                    <a:pt x="4" y="51"/>
                  </a:cubicBezTo>
                  <a:cubicBezTo>
                    <a:pt x="3" y="48"/>
                    <a:pt x="1" y="44"/>
                    <a:pt x="4" y="40"/>
                  </a:cubicBezTo>
                  <a:cubicBezTo>
                    <a:pt x="4" y="40"/>
                    <a:pt x="4" y="40"/>
                    <a:pt x="4" y="39"/>
                  </a:cubicBezTo>
                  <a:cubicBezTo>
                    <a:pt x="7" y="41"/>
                    <a:pt x="8" y="44"/>
                    <a:pt x="11" y="40"/>
                  </a:cubicBezTo>
                  <a:cubicBezTo>
                    <a:pt x="14" y="36"/>
                    <a:pt x="12" y="30"/>
                    <a:pt x="16" y="30"/>
                  </a:cubicBezTo>
                  <a:cubicBezTo>
                    <a:pt x="20" y="29"/>
                    <a:pt x="24" y="27"/>
                    <a:pt x="21" y="26"/>
                  </a:cubicBezTo>
                  <a:cubicBezTo>
                    <a:pt x="19" y="25"/>
                    <a:pt x="18" y="24"/>
                    <a:pt x="19" y="19"/>
                  </a:cubicBezTo>
                  <a:cubicBezTo>
                    <a:pt x="20" y="15"/>
                    <a:pt x="21" y="11"/>
                    <a:pt x="25" y="12"/>
                  </a:cubicBezTo>
                  <a:cubicBezTo>
                    <a:pt x="30" y="14"/>
                    <a:pt x="31" y="22"/>
                    <a:pt x="36" y="19"/>
                  </a:cubicBezTo>
                  <a:cubicBezTo>
                    <a:pt x="41" y="17"/>
                    <a:pt x="39" y="15"/>
                    <a:pt x="45" y="14"/>
                  </a:cubicBezTo>
                  <a:cubicBezTo>
                    <a:pt x="50" y="12"/>
                    <a:pt x="57" y="9"/>
                    <a:pt x="63" y="13"/>
                  </a:cubicBezTo>
                  <a:cubicBezTo>
                    <a:pt x="69" y="17"/>
                    <a:pt x="77" y="17"/>
                    <a:pt x="82" y="16"/>
                  </a:cubicBezTo>
                  <a:cubicBezTo>
                    <a:pt x="87" y="15"/>
                    <a:pt x="93" y="14"/>
                    <a:pt x="97" y="11"/>
                  </a:cubicBezTo>
                  <a:cubicBezTo>
                    <a:pt x="102" y="9"/>
                    <a:pt x="104" y="9"/>
                    <a:pt x="109" y="8"/>
                  </a:cubicBezTo>
                  <a:cubicBezTo>
                    <a:pt x="115" y="6"/>
                    <a:pt x="122" y="5"/>
                    <a:pt x="127" y="6"/>
                  </a:cubicBezTo>
                  <a:cubicBezTo>
                    <a:pt x="132" y="6"/>
                    <a:pt x="136" y="6"/>
                    <a:pt x="141" y="4"/>
                  </a:cubicBezTo>
                  <a:cubicBezTo>
                    <a:pt x="145" y="2"/>
                    <a:pt x="154" y="0"/>
                    <a:pt x="154" y="2"/>
                  </a:cubicBezTo>
                  <a:cubicBezTo>
                    <a:pt x="154" y="2"/>
                    <a:pt x="154" y="3"/>
                    <a:pt x="154"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76" name="Freeform 1140">
              <a:extLst>
                <a:ext uri="{FF2B5EF4-FFF2-40B4-BE49-F238E27FC236}">
                  <a16:creationId xmlns:a16="http://schemas.microsoft.com/office/drawing/2014/main" id="{84706F44-A251-384E-B44F-391FDEFC1648}"/>
                </a:ext>
              </a:extLst>
            </p:cNvPr>
            <p:cNvSpPr>
              <a:spLocks/>
            </p:cNvSpPr>
            <p:nvPr/>
          </p:nvSpPr>
          <p:spPr bwMode="auto">
            <a:xfrm>
              <a:off x="5665805" y="1248230"/>
              <a:ext cx="1228729" cy="884239"/>
            </a:xfrm>
            <a:custGeom>
              <a:avLst/>
              <a:gdLst>
                <a:gd name="T0" fmla="*/ 1261 w 1290"/>
                <a:gd name="T1" fmla="*/ 256 h 928"/>
                <a:gd name="T2" fmla="*/ 1243 w 1290"/>
                <a:gd name="T3" fmla="*/ 310 h 928"/>
                <a:gd name="T4" fmla="*/ 1187 w 1290"/>
                <a:gd name="T5" fmla="*/ 346 h 928"/>
                <a:gd name="T6" fmla="*/ 1127 w 1290"/>
                <a:gd name="T7" fmla="*/ 388 h 928"/>
                <a:gd name="T8" fmla="*/ 1100 w 1290"/>
                <a:gd name="T9" fmla="*/ 382 h 928"/>
                <a:gd name="T10" fmla="*/ 1061 w 1290"/>
                <a:gd name="T11" fmla="*/ 371 h 928"/>
                <a:gd name="T12" fmla="*/ 1040 w 1290"/>
                <a:gd name="T13" fmla="*/ 420 h 928"/>
                <a:gd name="T14" fmla="*/ 1119 w 1290"/>
                <a:gd name="T15" fmla="*/ 432 h 928"/>
                <a:gd name="T16" fmla="*/ 1146 w 1290"/>
                <a:gd name="T17" fmla="*/ 456 h 928"/>
                <a:gd name="T18" fmla="*/ 1106 w 1290"/>
                <a:gd name="T19" fmla="*/ 512 h 928"/>
                <a:gd name="T20" fmla="*/ 1171 w 1290"/>
                <a:gd name="T21" fmla="*/ 579 h 928"/>
                <a:gd name="T22" fmla="*/ 1202 w 1290"/>
                <a:gd name="T23" fmla="*/ 616 h 928"/>
                <a:gd name="T24" fmla="*/ 1211 w 1290"/>
                <a:gd name="T25" fmla="*/ 650 h 928"/>
                <a:gd name="T26" fmla="*/ 1222 w 1290"/>
                <a:gd name="T27" fmla="*/ 693 h 928"/>
                <a:gd name="T28" fmla="*/ 1200 w 1290"/>
                <a:gd name="T29" fmla="*/ 741 h 928"/>
                <a:gd name="T30" fmla="*/ 1177 w 1290"/>
                <a:gd name="T31" fmla="*/ 795 h 928"/>
                <a:gd name="T32" fmla="*/ 1135 w 1290"/>
                <a:gd name="T33" fmla="*/ 840 h 928"/>
                <a:gd name="T34" fmla="*/ 1090 w 1290"/>
                <a:gd name="T35" fmla="*/ 858 h 928"/>
                <a:gd name="T36" fmla="*/ 1061 w 1290"/>
                <a:gd name="T37" fmla="*/ 861 h 928"/>
                <a:gd name="T38" fmla="*/ 1006 w 1290"/>
                <a:gd name="T39" fmla="*/ 890 h 928"/>
                <a:gd name="T40" fmla="*/ 967 w 1290"/>
                <a:gd name="T41" fmla="*/ 886 h 928"/>
                <a:gd name="T42" fmla="*/ 894 w 1290"/>
                <a:gd name="T43" fmla="*/ 861 h 928"/>
                <a:gd name="T44" fmla="*/ 828 w 1290"/>
                <a:gd name="T45" fmla="*/ 858 h 928"/>
                <a:gd name="T46" fmla="*/ 776 w 1290"/>
                <a:gd name="T47" fmla="*/ 875 h 928"/>
                <a:gd name="T48" fmla="*/ 751 w 1290"/>
                <a:gd name="T49" fmla="*/ 888 h 928"/>
                <a:gd name="T50" fmla="*/ 696 w 1290"/>
                <a:gd name="T51" fmla="*/ 827 h 928"/>
                <a:gd name="T52" fmla="*/ 680 w 1290"/>
                <a:gd name="T53" fmla="*/ 747 h 928"/>
                <a:gd name="T54" fmla="*/ 638 w 1290"/>
                <a:gd name="T55" fmla="*/ 697 h 928"/>
                <a:gd name="T56" fmla="*/ 586 w 1290"/>
                <a:gd name="T57" fmla="*/ 675 h 928"/>
                <a:gd name="T58" fmla="*/ 512 w 1290"/>
                <a:gd name="T59" fmla="*/ 710 h 928"/>
                <a:gd name="T60" fmla="*/ 445 w 1290"/>
                <a:gd name="T61" fmla="*/ 712 h 928"/>
                <a:gd name="T62" fmla="*/ 416 w 1290"/>
                <a:gd name="T63" fmla="*/ 708 h 928"/>
                <a:gd name="T64" fmla="*/ 336 w 1290"/>
                <a:gd name="T65" fmla="*/ 688 h 928"/>
                <a:gd name="T66" fmla="*/ 235 w 1290"/>
                <a:gd name="T67" fmla="*/ 646 h 928"/>
                <a:gd name="T68" fmla="*/ 177 w 1290"/>
                <a:gd name="T69" fmla="*/ 580 h 928"/>
                <a:gd name="T70" fmla="*/ 179 w 1290"/>
                <a:gd name="T71" fmla="*/ 519 h 928"/>
                <a:gd name="T72" fmla="*/ 112 w 1290"/>
                <a:gd name="T73" fmla="*/ 496 h 928"/>
                <a:gd name="T74" fmla="*/ 37 w 1290"/>
                <a:gd name="T75" fmla="*/ 453 h 928"/>
                <a:gd name="T76" fmla="*/ 31 w 1290"/>
                <a:gd name="T77" fmla="*/ 410 h 928"/>
                <a:gd name="T78" fmla="*/ 11 w 1290"/>
                <a:gd name="T79" fmla="*/ 365 h 928"/>
                <a:gd name="T80" fmla="*/ 96 w 1290"/>
                <a:gd name="T81" fmla="*/ 330 h 928"/>
                <a:gd name="T82" fmla="*/ 129 w 1290"/>
                <a:gd name="T83" fmla="*/ 274 h 928"/>
                <a:gd name="T84" fmla="*/ 147 w 1290"/>
                <a:gd name="T85" fmla="*/ 217 h 928"/>
                <a:gd name="T86" fmla="*/ 208 w 1290"/>
                <a:gd name="T87" fmla="*/ 126 h 928"/>
                <a:gd name="T88" fmla="*/ 266 w 1290"/>
                <a:gd name="T89" fmla="*/ 148 h 928"/>
                <a:gd name="T90" fmla="*/ 345 w 1290"/>
                <a:gd name="T91" fmla="*/ 226 h 928"/>
                <a:gd name="T92" fmla="*/ 471 w 1290"/>
                <a:gd name="T93" fmla="*/ 272 h 928"/>
                <a:gd name="T94" fmla="*/ 593 w 1290"/>
                <a:gd name="T95" fmla="*/ 297 h 928"/>
                <a:gd name="T96" fmla="*/ 755 w 1290"/>
                <a:gd name="T97" fmla="*/ 303 h 928"/>
                <a:gd name="T98" fmla="*/ 819 w 1290"/>
                <a:gd name="T99" fmla="*/ 229 h 928"/>
                <a:gd name="T100" fmla="*/ 940 w 1290"/>
                <a:gd name="T101" fmla="*/ 184 h 928"/>
                <a:gd name="T102" fmla="*/ 880 w 1290"/>
                <a:gd name="T103" fmla="*/ 153 h 928"/>
                <a:gd name="T104" fmla="*/ 893 w 1290"/>
                <a:gd name="T105" fmla="*/ 96 h 928"/>
                <a:gd name="T106" fmla="*/ 885 w 1290"/>
                <a:gd name="T107" fmla="*/ 3 h 928"/>
                <a:gd name="T108" fmla="*/ 1082 w 1290"/>
                <a:gd name="T109" fmla="*/ 96 h 928"/>
                <a:gd name="T110" fmla="*/ 1215 w 1290"/>
                <a:gd name="T111" fmla="*/ 159 h 928"/>
                <a:gd name="T112" fmla="*/ 1287 w 1290"/>
                <a:gd name="T113" fmla="*/ 212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90" h="928">
                  <a:moveTo>
                    <a:pt x="1285" y="229"/>
                  </a:moveTo>
                  <a:cubicBezTo>
                    <a:pt x="1285" y="229"/>
                    <a:pt x="1285" y="229"/>
                    <a:pt x="1280" y="229"/>
                  </a:cubicBezTo>
                  <a:cubicBezTo>
                    <a:pt x="1275" y="229"/>
                    <a:pt x="1274" y="227"/>
                    <a:pt x="1270" y="227"/>
                  </a:cubicBezTo>
                  <a:cubicBezTo>
                    <a:pt x="1267" y="227"/>
                    <a:pt x="1255" y="219"/>
                    <a:pt x="1254" y="223"/>
                  </a:cubicBezTo>
                  <a:cubicBezTo>
                    <a:pt x="1253" y="228"/>
                    <a:pt x="1253" y="232"/>
                    <a:pt x="1250" y="233"/>
                  </a:cubicBezTo>
                  <a:cubicBezTo>
                    <a:pt x="1247" y="234"/>
                    <a:pt x="1239" y="233"/>
                    <a:pt x="1247" y="240"/>
                  </a:cubicBezTo>
                  <a:cubicBezTo>
                    <a:pt x="1255" y="246"/>
                    <a:pt x="1258" y="250"/>
                    <a:pt x="1261" y="256"/>
                  </a:cubicBezTo>
                  <a:cubicBezTo>
                    <a:pt x="1264" y="261"/>
                    <a:pt x="1267" y="263"/>
                    <a:pt x="1272" y="272"/>
                  </a:cubicBezTo>
                  <a:cubicBezTo>
                    <a:pt x="1276" y="281"/>
                    <a:pt x="1282" y="288"/>
                    <a:pt x="1277" y="289"/>
                  </a:cubicBezTo>
                  <a:cubicBezTo>
                    <a:pt x="1273" y="291"/>
                    <a:pt x="1266" y="292"/>
                    <a:pt x="1266" y="295"/>
                  </a:cubicBezTo>
                  <a:cubicBezTo>
                    <a:pt x="1263" y="294"/>
                    <a:pt x="1259" y="292"/>
                    <a:pt x="1258" y="291"/>
                  </a:cubicBezTo>
                  <a:cubicBezTo>
                    <a:pt x="1256" y="290"/>
                    <a:pt x="1250" y="283"/>
                    <a:pt x="1250" y="288"/>
                  </a:cubicBezTo>
                  <a:cubicBezTo>
                    <a:pt x="1251" y="293"/>
                    <a:pt x="1254" y="298"/>
                    <a:pt x="1250" y="301"/>
                  </a:cubicBezTo>
                  <a:cubicBezTo>
                    <a:pt x="1247" y="304"/>
                    <a:pt x="1246" y="306"/>
                    <a:pt x="1243" y="310"/>
                  </a:cubicBezTo>
                  <a:cubicBezTo>
                    <a:pt x="1239" y="314"/>
                    <a:pt x="1237" y="314"/>
                    <a:pt x="1234" y="314"/>
                  </a:cubicBezTo>
                  <a:cubicBezTo>
                    <a:pt x="1231" y="314"/>
                    <a:pt x="1221" y="314"/>
                    <a:pt x="1226" y="319"/>
                  </a:cubicBezTo>
                  <a:cubicBezTo>
                    <a:pt x="1231" y="324"/>
                    <a:pt x="1235" y="326"/>
                    <a:pt x="1234" y="328"/>
                  </a:cubicBezTo>
                  <a:cubicBezTo>
                    <a:pt x="1232" y="329"/>
                    <a:pt x="1231" y="332"/>
                    <a:pt x="1221" y="331"/>
                  </a:cubicBezTo>
                  <a:cubicBezTo>
                    <a:pt x="1212" y="330"/>
                    <a:pt x="1215" y="335"/>
                    <a:pt x="1208" y="328"/>
                  </a:cubicBezTo>
                  <a:cubicBezTo>
                    <a:pt x="1200" y="321"/>
                    <a:pt x="1200" y="317"/>
                    <a:pt x="1198" y="326"/>
                  </a:cubicBezTo>
                  <a:cubicBezTo>
                    <a:pt x="1196" y="336"/>
                    <a:pt x="1194" y="340"/>
                    <a:pt x="1187" y="346"/>
                  </a:cubicBezTo>
                  <a:cubicBezTo>
                    <a:pt x="1180" y="352"/>
                    <a:pt x="1173" y="354"/>
                    <a:pt x="1170" y="358"/>
                  </a:cubicBezTo>
                  <a:cubicBezTo>
                    <a:pt x="1167" y="362"/>
                    <a:pt x="1166" y="363"/>
                    <a:pt x="1166" y="367"/>
                  </a:cubicBezTo>
                  <a:cubicBezTo>
                    <a:pt x="1166" y="370"/>
                    <a:pt x="1165" y="372"/>
                    <a:pt x="1165" y="374"/>
                  </a:cubicBezTo>
                  <a:cubicBezTo>
                    <a:pt x="1164" y="374"/>
                    <a:pt x="1163" y="374"/>
                    <a:pt x="1162" y="374"/>
                  </a:cubicBezTo>
                  <a:cubicBezTo>
                    <a:pt x="1157" y="374"/>
                    <a:pt x="1155" y="370"/>
                    <a:pt x="1149" y="374"/>
                  </a:cubicBezTo>
                  <a:cubicBezTo>
                    <a:pt x="1144" y="378"/>
                    <a:pt x="1136" y="380"/>
                    <a:pt x="1133" y="382"/>
                  </a:cubicBezTo>
                  <a:cubicBezTo>
                    <a:pt x="1130" y="384"/>
                    <a:pt x="1128" y="383"/>
                    <a:pt x="1127" y="388"/>
                  </a:cubicBezTo>
                  <a:cubicBezTo>
                    <a:pt x="1125" y="393"/>
                    <a:pt x="1123" y="394"/>
                    <a:pt x="1122" y="397"/>
                  </a:cubicBezTo>
                  <a:cubicBezTo>
                    <a:pt x="1122" y="400"/>
                    <a:pt x="1118" y="400"/>
                    <a:pt x="1117" y="403"/>
                  </a:cubicBezTo>
                  <a:cubicBezTo>
                    <a:pt x="1116" y="406"/>
                    <a:pt x="1114" y="409"/>
                    <a:pt x="1109" y="407"/>
                  </a:cubicBezTo>
                  <a:cubicBezTo>
                    <a:pt x="1105" y="405"/>
                    <a:pt x="1101" y="404"/>
                    <a:pt x="1105" y="400"/>
                  </a:cubicBezTo>
                  <a:cubicBezTo>
                    <a:pt x="1108" y="395"/>
                    <a:pt x="1115" y="400"/>
                    <a:pt x="1115" y="394"/>
                  </a:cubicBezTo>
                  <a:cubicBezTo>
                    <a:pt x="1115" y="388"/>
                    <a:pt x="1119" y="387"/>
                    <a:pt x="1113" y="387"/>
                  </a:cubicBezTo>
                  <a:cubicBezTo>
                    <a:pt x="1107" y="387"/>
                    <a:pt x="1098" y="386"/>
                    <a:pt x="1100" y="382"/>
                  </a:cubicBezTo>
                  <a:cubicBezTo>
                    <a:pt x="1101" y="379"/>
                    <a:pt x="1102" y="380"/>
                    <a:pt x="1108" y="371"/>
                  </a:cubicBezTo>
                  <a:cubicBezTo>
                    <a:pt x="1114" y="363"/>
                    <a:pt x="1120" y="363"/>
                    <a:pt x="1112" y="359"/>
                  </a:cubicBezTo>
                  <a:cubicBezTo>
                    <a:pt x="1105" y="355"/>
                    <a:pt x="1114" y="347"/>
                    <a:pt x="1103" y="347"/>
                  </a:cubicBezTo>
                  <a:cubicBezTo>
                    <a:pt x="1092" y="348"/>
                    <a:pt x="1092" y="345"/>
                    <a:pt x="1087" y="347"/>
                  </a:cubicBezTo>
                  <a:cubicBezTo>
                    <a:pt x="1082" y="349"/>
                    <a:pt x="1077" y="343"/>
                    <a:pt x="1077" y="349"/>
                  </a:cubicBezTo>
                  <a:cubicBezTo>
                    <a:pt x="1076" y="356"/>
                    <a:pt x="1072" y="357"/>
                    <a:pt x="1071" y="362"/>
                  </a:cubicBezTo>
                  <a:cubicBezTo>
                    <a:pt x="1070" y="367"/>
                    <a:pt x="1063" y="369"/>
                    <a:pt x="1061" y="371"/>
                  </a:cubicBezTo>
                  <a:cubicBezTo>
                    <a:pt x="1059" y="374"/>
                    <a:pt x="1054" y="375"/>
                    <a:pt x="1054" y="377"/>
                  </a:cubicBezTo>
                  <a:cubicBezTo>
                    <a:pt x="1053" y="379"/>
                    <a:pt x="1055" y="385"/>
                    <a:pt x="1056" y="387"/>
                  </a:cubicBezTo>
                  <a:cubicBezTo>
                    <a:pt x="1056" y="390"/>
                    <a:pt x="1064" y="392"/>
                    <a:pt x="1054" y="393"/>
                  </a:cubicBezTo>
                  <a:cubicBezTo>
                    <a:pt x="1043" y="394"/>
                    <a:pt x="1040" y="397"/>
                    <a:pt x="1035" y="397"/>
                  </a:cubicBezTo>
                  <a:cubicBezTo>
                    <a:pt x="1030" y="397"/>
                    <a:pt x="1027" y="389"/>
                    <a:pt x="1026" y="395"/>
                  </a:cubicBezTo>
                  <a:cubicBezTo>
                    <a:pt x="1025" y="401"/>
                    <a:pt x="1027" y="413"/>
                    <a:pt x="1030" y="415"/>
                  </a:cubicBezTo>
                  <a:cubicBezTo>
                    <a:pt x="1034" y="416"/>
                    <a:pt x="1030" y="417"/>
                    <a:pt x="1040" y="420"/>
                  </a:cubicBezTo>
                  <a:cubicBezTo>
                    <a:pt x="1050" y="423"/>
                    <a:pt x="1053" y="427"/>
                    <a:pt x="1058" y="427"/>
                  </a:cubicBezTo>
                  <a:cubicBezTo>
                    <a:pt x="1064" y="427"/>
                    <a:pt x="1071" y="428"/>
                    <a:pt x="1072" y="429"/>
                  </a:cubicBezTo>
                  <a:cubicBezTo>
                    <a:pt x="1073" y="431"/>
                    <a:pt x="1068" y="434"/>
                    <a:pt x="1074" y="441"/>
                  </a:cubicBezTo>
                  <a:cubicBezTo>
                    <a:pt x="1080" y="447"/>
                    <a:pt x="1082" y="449"/>
                    <a:pt x="1088" y="449"/>
                  </a:cubicBezTo>
                  <a:cubicBezTo>
                    <a:pt x="1094" y="449"/>
                    <a:pt x="1092" y="446"/>
                    <a:pt x="1096" y="442"/>
                  </a:cubicBezTo>
                  <a:cubicBezTo>
                    <a:pt x="1101" y="438"/>
                    <a:pt x="1100" y="435"/>
                    <a:pt x="1105" y="434"/>
                  </a:cubicBezTo>
                  <a:cubicBezTo>
                    <a:pt x="1110" y="434"/>
                    <a:pt x="1115" y="425"/>
                    <a:pt x="1119" y="432"/>
                  </a:cubicBezTo>
                  <a:cubicBezTo>
                    <a:pt x="1123" y="439"/>
                    <a:pt x="1123" y="438"/>
                    <a:pt x="1131" y="440"/>
                  </a:cubicBezTo>
                  <a:cubicBezTo>
                    <a:pt x="1139" y="443"/>
                    <a:pt x="1137" y="442"/>
                    <a:pt x="1142" y="443"/>
                  </a:cubicBezTo>
                  <a:cubicBezTo>
                    <a:pt x="1146" y="445"/>
                    <a:pt x="1151" y="443"/>
                    <a:pt x="1153" y="443"/>
                  </a:cubicBezTo>
                  <a:cubicBezTo>
                    <a:pt x="1156" y="444"/>
                    <a:pt x="1158" y="439"/>
                    <a:pt x="1161" y="445"/>
                  </a:cubicBezTo>
                  <a:cubicBezTo>
                    <a:pt x="1163" y="452"/>
                    <a:pt x="1165" y="453"/>
                    <a:pt x="1163" y="456"/>
                  </a:cubicBezTo>
                  <a:cubicBezTo>
                    <a:pt x="1160" y="459"/>
                    <a:pt x="1163" y="460"/>
                    <a:pt x="1157" y="458"/>
                  </a:cubicBezTo>
                  <a:cubicBezTo>
                    <a:pt x="1151" y="455"/>
                    <a:pt x="1152" y="451"/>
                    <a:pt x="1146" y="456"/>
                  </a:cubicBezTo>
                  <a:cubicBezTo>
                    <a:pt x="1140" y="460"/>
                    <a:pt x="1136" y="459"/>
                    <a:pt x="1134" y="462"/>
                  </a:cubicBezTo>
                  <a:cubicBezTo>
                    <a:pt x="1132" y="466"/>
                    <a:pt x="1128" y="465"/>
                    <a:pt x="1128" y="468"/>
                  </a:cubicBezTo>
                  <a:cubicBezTo>
                    <a:pt x="1128" y="471"/>
                    <a:pt x="1124" y="473"/>
                    <a:pt x="1125" y="475"/>
                  </a:cubicBezTo>
                  <a:cubicBezTo>
                    <a:pt x="1125" y="477"/>
                    <a:pt x="1116" y="471"/>
                    <a:pt x="1115" y="475"/>
                  </a:cubicBezTo>
                  <a:cubicBezTo>
                    <a:pt x="1115" y="479"/>
                    <a:pt x="1116" y="485"/>
                    <a:pt x="1115" y="488"/>
                  </a:cubicBezTo>
                  <a:cubicBezTo>
                    <a:pt x="1115" y="491"/>
                    <a:pt x="1107" y="492"/>
                    <a:pt x="1108" y="499"/>
                  </a:cubicBezTo>
                  <a:cubicBezTo>
                    <a:pt x="1108" y="506"/>
                    <a:pt x="1101" y="508"/>
                    <a:pt x="1106" y="512"/>
                  </a:cubicBezTo>
                  <a:cubicBezTo>
                    <a:pt x="1110" y="515"/>
                    <a:pt x="1114" y="518"/>
                    <a:pt x="1117" y="519"/>
                  </a:cubicBezTo>
                  <a:cubicBezTo>
                    <a:pt x="1120" y="521"/>
                    <a:pt x="1128" y="523"/>
                    <a:pt x="1132" y="526"/>
                  </a:cubicBezTo>
                  <a:cubicBezTo>
                    <a:pt x="1136" y="529"/>
                    <a:pt x="1145" y="530"/>
                    <a:pt x="1145" y="533"/>
                  </a:cubicBezTo>
                  <a:cubicBezTo>
                    <a:pt x="1145" y="536"/>
                    <a:pt x="1147" y="540"/>
                    <a:pt x="1151" y="545"/>
                  </a:cubicBezTo>
                  <a:cubicBezTo>
                    <a:pt x="1155" y="550"/>
                    <a:pt x="1154" y="551"/>
                    <a:pt x="1158" y="556"/>
                  </a:cubicBezTo>
                  <a:cubicBezTo>
                    <a:pt x="1162" y="560"/>
                    <a:pt x="1163" y="562"/>
                    <a:pt x="1165" y="567"/>
                  </a:cubicBezTo>
                  <a:cubicBezTo>
                    <a:pt x="1168" y="572"/>
                    <a:pt x="1170" y="577"/>
                    <a:pt x="1171" y="579"/>
                  </a:cubicBezTo>
                  <a:cubicBezTo>
                    <a:pt x="1172" y="581"/>
                    <a:pt x="1174" y="580"/>
                    <a:pt x="1179" y="583"/>
                  </a:cubicBezTo>
                  <a:cubicBezTo>
                    <a:pt x="1183" y="586"/>
                    <a:pt x="1188" y="590"/>
                    <a:pt x="1192" y="592"/>
                  </a:cubicBezTo>
                  <a:cubicBezTo>
                    <a:pt x="1197" y="595"/>
                    <a:pt x="1201" y="597"/>
                    <a:pt x="1202" y="599"/>
                  </a:cubicBezTo>
                  <a:cubicBezTo>
                    <a:pt x="1202" y="601"/>
                    <a:pt x="1207" y="606"/>
                    <a:pt x="1203" y="606"/>
                  </a:cubicBezTo>
                  <a:cubicBezTo>
                    <a:pt x="1199" y="606"/>
                    <a:pt x="1202" y="611"/>
                    <a:pt x="1195" y="606"/>
                  </a:cubicBezTo>
                  <a:cubicBezTo>
                    <a:pt x="1188" y="602"/>
                    <a:pt x="1183" y="596"/>
                    <a:pt x="1184" y="600"/>
                  </a:cubicBezTo>
                  <a:cubicBezTo>
                    <a:pt x="1185" y="605"/>
                    <a:pt x="1200" y="614"/>
                    <a:pt x="1202" y="616"/>
                  </a:cubicBezTo>
                  <a:cubicBezTo>
                    <a:pt x="1204" y="619"/>
                    <a:pt x="1215" y="624"/>
                    <a:pt x="1208" y="625"/>
                  </a:cubicBezTo>
                  <a:cubicBezTo>
                    <a:pt x="1201" y="626"/>
                    <a:pt x="1201" y="624"/>
                    <a:pt x="1196" y="629"/>
                  </a:cubicBezTo>
                  <a:cubicBezTo>
                    <a:pt x="1191" y="633"/>
                    <a:pt x="1185" y="636"/>
                    <a:pt x="1185" y="636"/>
                  </a:cubicBezTo>
                  <a:cubicBezTo>
                    <a:pt x="1185" y="636"/>
                    <a:pt x="1182" y="642"/>
                    <a:pt x="1185" y="644"/>
                  </a:cubicBezTo>
                  <a:cubicBezTo>
                    <a:pt x="1187" y="646"/>
                    <a:pt x="1187" y="648"/>
                    <a:pt x="1192" y="646"/>
                  </a:cubicBezTo>
                  <a:cubicBezTo>
                    <a:pt x="1198" y="643"/>
                    <a:pt x="1199" y="642"/>
                    <a:pt x="1202" y="645"/>
                  </a:cubicBezTo>
                  <a:cubicBezTo>
                    <a:pt x="1206" y="648"/>
                    <a:pt x="1206" y="650"/>
                    <a:pt x="1211" y="650"/>
                  </a:cubicBezTo>
                  <a:cubicBezTo>
                    <a:pt x="1216" y="651"/>
                    <a:pt x="1226" y="653"/>
                    <a:pt x="1224" y="656"/>
                  </a:cubicBezTo>
                  <a:cubicBezTo>
                    <a:pt x="1221" y="659"/>
                    <a:pt x="1216" y="661"/>
                    <a:pt x="1214" y="662"/>
                  </a:cubicBezTo>
                  <a:cubicBezTo>
                    <a:pt x="1212" y="663"/>
                    <a:pt x="1211" y="665"/>
                    <a:pt x="1217" y="669"/>
                  </a:cubicBezTo>
                  <a:cubicBezTo>
                    <a:pt x="1222" y="673"/>
                    <a:pt x="1220" y="676"/>
                    <a:pt x="1219" y="676"/>
                  </a:cubicBezTo>
                  <a:cubicBezTo>
                    <a:pt x="1218" y="677"/>
                    <a:pt x="1220" y="683"/>
                    <a:pt x="1221" y="685"/>
                  </a:cubicBezTo>
                  <a:cubicBezTo>
                    <a:pt x="1222" y="686"/>
                    <a:pt x="1215" y="688"/>
                    <a:pt x="1214" y="688"/>
                  </a:cubicBezTo>
                  <a:cubicBezTo>
                    <a:pt x="1212" y="688"/>
                    <a:pt x="1222" y="688"/>
                    <a:pt x="1222" y="693"/>
                  </a:cubicBezTo>
                  <a:cubicBezTo>
                    <a:pt x="1222" y="698"/>
                    <a:pt x="1219" y="704"/>
                    <a:pt x="1215" y="701"/>
                  </a:cubicBezTo>
                  <a:cubicBezTo>
                    <a:pt x="1212" y="699"/>
                    <a:pt x="1208" y="696"/>
                    <a:pt x="1209" y="700"/>
                  </a:cubicBezTo>
                  <a:cubicBezTo>
                    <a:pt x="1211" y="705"/>
                    <a:pt x="1215" y="703"/>
                    <a:pt x="1209" y="705"/>
                  </a:cubicBezTo>
                  <a:cubicBezTo>
                    <a:pt x="1203" y="707"/>
                    <a:pt x="1202" y="712"/>
                    <a:pt x="1205" y="715"/>
                  </a:cubicBezTo>
                  <a:cubicBezTo>
                    <a:pt x="1208" y="717"/>
                    <a:pt x="1210" y="722"/>
                    <a:pt x="1206" y="726"/>
                  </a:cubicBezTo>
                  <a:cubicBezTo>
                    <a:pt x="1202" y="730"/>
                    <a:pt x="1199" y="729"/>
                    <a:pt x="1200" y="733"/>
                  </a:cubicBezTo>
                  <a:cubicBezTo>
                    <a:pt x="1202" y="736"/>
                    <a:pt x="1201" y="735"/>
                    <a:pt x="1200" y="741"/>
                  </a:cubicBezTo>
                  <a:cubicBezTo>
                    <a:pt x="1198" y="747"/>
                    <a:pt x="1183" y="739"/>
                    <a:pt x="1186" y="744"/>
                  </a:cubicBezTo>
                  <a:cubicBezTo>
                    <a:pt x="1188" y="750"/>
                    <a:pt x="1196" y="752"/>
                    <a:pt x="1193" y="756"/>
                  </a:cubicBezTo>
                  <a:cubicBezTo>
                    <a:pt x="1190" y="760"/>
                    <a:pt x="1181" y="757"/>
                    <a:pt x="1187" y="762"/>
                  </a:cubicBezTo>
                  <a:cubicBezTo>
                    <a:pt x="1193" y="768"/>
                    <a:pt x="1196" y="770"/>
                    <a:pt x="1193" y="774"/>
                  </a:cubicBezTo>
                  <a:cubicBezTo>
                    <a:pt x="1189" y="777"/>
                    <a:pt x="1183" y="773"/>
                    <a:pt x="1186" y="780"/>
                  </a:cubicBezTo>
                  <a:cubicBezTo>
                    <a:pt x="1189" y="786"/>
                    <a:pt x="1181" y="783"/>
                    <a:pt x="1182" y="787"/>
                  </a:cubicBezTo>
                  <a:cubicBezTo>
                    <a:pt x="1183" y="791"/>
                    <a:pt x="1177" y="790"/>
                    <a:pt x="1177" y="795"/>
                  </a:cubicBezTo>
                  <a:cubicBezTo>
                    <a:pt x="1176" y="800"/>
                    <a:pt x="1170" y="796"/>
                    <a:pt x="1170" y="802"/>
                  </a:cubicBezTo>
                  <a:cubicBezTo>
                    <a:pt x="1171" y="808"/>
                    <a:pt x="1159" y="802"/>
                    <a:pt x="1160" y="804"/>
                  </a:cubicBezTo>
                  <a:cubicBezTo>
                    <a:pt x="1161" y="807"/>
                    <a:pt x="1158" y="813"/>
                    <a:pt x="1158" y="817"/>
                  </a:cubicBezTo>
                  <a:cubicBezTo>
                    <a:pt x="1158" y="820"/>
                    <a:pt x="1155" y="819"/>
                    <a:pt x="1153" y="823"/>
                  </a:cubicBezTo>
                  <a:cubicBezTo>
                    <a:pt x="1152" y="826"/>
                    <a:pt x="1147" y="825"/>
                    <a:pt x="1146" y="828"/>
                  </a:cubicBezTo>
                  <a:cubicBezTo>
                    <a:pt x="1144" y="831"/>
                    <a:pt x="1141" y="828"/>
                    <a:pt x="1140" y="832"/>
                  </a:cubicBezTo>
                  <a:cubicBezTo>
                    <a:pt x="1138" y="837"/>
                    <a:pt x="1135" y="836"/>
                    <a:pt x="1135" y="840"/>
                  </a:cubicBezTo>
                  <a:cubicBezTo>
                    <a:pt x="1135" y="844"/>
                    <a:pt x="1130" y="846"/>
                    <a:pt x="1130" y="848"/>
                  </a:cubicBezTo>
                  <a:cubicBezTo>
                    <a:pt x="1129" y="851"/>
                    <a:pt x="1124" y="849"/>
                    <a:pt x="1121" y="852"/>
                  </a:cubicBezTo>
                  <a:cubicBezTo>
                    <a:pt x="1118" y="855"/>
                    <a:pt x="1116" y="853"/>
                    <a:pt x="1113" y="855"/>
                  </a:cubicBezTo>
                  <a:cubicBezTo>
                    <a:pt x="1110" y="856"/>
                    <a:pt x="1108" y="854"/>
                    <a:pt x="1106" y="855"/>
                  </a:cubicBezTo>
                  <a:cubicBezTo>
                    <a:pt x="1104" y="855"/>
                    <a:pt x="1097" y="853"/>
                    <a:pt x="1097" y="853"/>
                  </a:cubicBezTo>
                  <a:cubicBezTo>
                    <a:pt x="1097" y="853"/>
                    <a:pt x="1092" y="851"/>
                    <a:pt x="1093" y="855"/>
                  </a:cubicBezTo>
                  <a:cubicBezTo>
                    <a:pt x="1095" y="859"/>
                    <a:pt x="1090" y="854"/>
                    <a:pt x="1090" y="858"/>
                  </a:cubicBezTo>
                  <a:cubicBezTo>
                    <a:pt x="1089" y="863"/>
                    <a:pt x="1089" y="864"/>
                    <a:pt x="1085" y="867"/>
                  </a:cubicBezTo>
                  <a:cubicBezTo>
                    <a:pt x="1082" y="870"/>
                    <a:pt x="1078" y="872"/>
                    <a:pt x="1074" y="871"/>
                  </a:cubicBezTo>
                  <a:cubicBezTo>
                    <a:pt x="1070" y="870"/>
                    <a:pt x="1075" y="858"/>
                    <a:pt x="1073" y="861"/>
                  </a:cubicBezTo>
                  <a:cubicBezTo>
                    <a:pt x="1072" y="864"/>
                    <a:pt x="1068" y="856"/>
                    <a:pt x="1068" y="856"/>
                  </a:cubicBezTo>
                  <a:cubicBezTo>
                    <a:pt x="1067" y="856"/>
                    <a:pt x="1063" y="855"/>
                    <a:pt x="1063" y="854"/>
                  </a:cubicBezTo>
                  <a:cubicBezTo>
                    <a:pt x="1063" y="853"/>
                    <a:pt x="1059" y="845"/>
                    <a:pt x="1060" y="850"/>
                  </a:cubicBezTo>
                  <a:cubicBezTo>
                    <a:pt x="1060" y="854"/>
                    <a:pt x="1058" y="858"/>
                    <a:pt x="1061" y="861"/>
                  </a:cubicBezTo>
                  <a:cubicBezTo>
                    <a:pt x="1064" y="865"/>
                    <a:pt x="1064" y="866"/>
                    <a:pt x="1061" y="868"/>
                  </a:cubicBezTo>
                  <a:cubicBezTo>
                    <a:pt x="1058" y="871"/>
                    <a:pt x="1056" y="871"/>
                    <a:pt x="1054" y="873"/>
                  </a:cubicBezTo>
                  <a:cubicBezTo>
                    <a:pt x="1051" y="875"/>
                    <a:pt x="1050" y="873"/>
                    <a:pt x="1048" y="876"/>
                  </a:cubicBezTo>
                  <a:cubicBezTo>
                    <a:pt x="1046" y="880"/>
                    <a:pt x="1049" y="880"/>
                    <a:pt x="1040" y="881"/>
                  </a:cubicBezTo>
                  <a:cubicBezTo>
                    <a:pt x="1032" y="882"/>
                    <a:pt x="1027" y="880"/>
                    <a:pt x="1027" y="881"/>
                  </a:cubicBezTo>
                  <a:cubicBezTo>
                    <a:pt x="1027" y="883"/>
                    <a:pt x="1023" y="887"/>
                    <a:pt x="1022" y="888"/>
                  </a:cubicBezTo>
                  <a:cubicBezTo>
                    <a:pt x="1021" y="890"/>
                    <a:pt x="1019" y="884"/>
                    <a:pt x="1006" y="890"/>
                  </a:cubicBezTo>
                  <a:cubicBezTo>
                    <a:pt x="993" y="895"/>
                    <a:pt x="987" y="896"/>
                    <a:pt x="988" y="901"/>
                  </a:cubicBezTo>
                  <a:cubicBezTo>
                    <a:pt x="988" y="905"/>
                    <a:pt x="994" y="908"/>
                    <a:pt x="996" y="913"/>
                  </a:cubicBezTo>
                  <a:cubicBezTo>
                    <a:pt x="997" y="918"/>
                    <a:pt x="1007" y="921"/>
                    <a:pt x="995" y="922"/>
                  </a:cubicBezTo>
                  <a:cubicBezTo>
                    <a:pt x="982" y="922"/>
                    <a:pt x="981" y="928"/>
                    <a:pt x="981" y="922"/>
                  </a:cubicBezTo>
                  <a:cubicBezTo>
                    <a:pt x="981" y="915"/>
                    <a:pt x="975" y="915"/>
                    <a:pt x="975" y="910"/>
                  </a:cubicBezTo>
                  <a:cubicBezTo>
                    <a:pt x="975" y="904"/>
                    <a:pt x="973" y="906"/>
                    <a:pt x="975" y="899"/>
                  </a:cubicBezTo>
                  <a:cubicBezTo>
                    <a:pt x="977" y="891"/>
                    <a:pt x="974" y="883"/>
                    <a:pt x="967" y="886"/>
                  </a:cubicBezTo>
                  <a:cubicBezTo>
                    <a:pt x="960" y="889"/>
                    <a:pt x="961" y="896"/>
                    <a:pt x="956" y="890"/>
                  </a:cubicBezTo>
                  <a:cubicBezTo>
                    <a:pt x="951" y="883"/>
                    <a:pt x="951" y="880"/>
                    <a:pt x="945" y="881"/>
                  </a:cubicBezTo>
                  <a:cubicBezTo>
                    <a:pt x="940" y="882"/>
                    <a:pt x="934" y="879"/>
                    <a:pt x="933" y="883"/>
                  </a:cubicBezTo>
                  <a:cubicBezTo>
                    <a:pt x="932" y="884"/>
                    <a:pt x="931" y="885"/>
                    <a:pt x="930" y="885"/>
                  </a:cubicBezTo>
                  <a:cubicBezTo>
                    <a:pt x="929" y="884"/>
                    <a:pt x="929" y="883"/>
                    <a:pt x="928" y="883"/>
                  </a:cubicBezTo>
                  <a:cubicBezTo>
                    <a:pt x="926" y="883"/>
                    <a:pt x="910" y="878"/>
                    <a:pt x="906" y="877"/>
                  </a:cubicBezTo>
                  <a:cubicBezTo>
                    <a:pt x="902" y="877"/>
                    <a:pt x="896" y="869"/>
                    <a:pt x="894" y="861"/>
                  </a:cubicBezTo>
                  <a:cubicBezTo>
                    <a:pt x="892" y="854"/>
                    <a:pt x="895" y="854"/>
                    <a:pt x="894" y="850"/>
                  </a:cubicBezTo>
                  <a:cubicBezTo>
                    <a:pt x="893" y="846"/>
                    <a:pt x="889" y="847"/>
                    <a:pt x="880" y="848"/>
                  </a:cubicBezTo>
                  <a:cubicBezTo>
                    <a:pt x="870" y="848"/>
                    <a:pt x="868" y="845"/>
                    <a:pt x="864" y="841"/>
                  </a:cubicBezTo>
                  <a:cubicBezTo>
                    <a:pt x="860" y="837"/>
                    <a:pt x="856" y="838"/>
                    <a:pt x="851" y="839"/>
                  </a:cubicBezTo>
                  <a:cubicBezTo>
                    <a:pt x="846" y="841"/>
                    <a:pt x="849" y="843"/>
                    <a:pt x="849" y="846"/>
                  </a:cubicBezTo>
                  <a:cubicBezTo>
                    <a:pt x="849" y="849"/>
                    <a:pt x="846" y="855"/>
                    <a:pt x="839" y="853"/>
                  </a:cubicBezTo>
                  <a:cubicBezTo>
                    <a:pt x="833" y="852"/>
                    <a:pt x="828" y="854"/>
                    <a:pt x="828" y="858"/>
                  </a:cubicBezTo>
                  <a:cubicBezTo>
                    <a:pt x="828" y="861"/>
                    <a:pt x="822" y="857"/>
                    <a:pt x="821" y="856"/>
                  </a:cubicBezTo>
                  <a:cubicBezTo>
                    <a:pt x="820" y="856"/>
                    <a:pt x="813" y="854"/>
                    <a:pt x="808" y="858"/>
                  </a:cubicBezTo>
                  <a:cubicBezTo>
                    <a:pt x="804" y="862"/>
                    <a:pt x="802" y="858"/>
                    <a:pt x="798" y="856"/>
                  </a:cubicBezTo>
                  <a:cubicBezTo>
                    <a:pt x="794" y="853"/>
                    <a:pt x="789" y="851"/>
                    <a:pt x="786" y="857"/>
                  </a:cubicBezTo>
                  <a:cubicBezTo>
                    <a:pt x="784" y="862"/>
                    <a:pt x="784" y="860"/>
                    <a:pt x="784" y="862"/>
                  </a:cubicBezTo>
                  <a:cubicBezTo>
                    <a:pt x="780" y="861"/>
                    <a:pt x="775" y="861"/>
                    <a:pt x="772" y="863"/>
                  </a:cubicBezTo>
                  <a:cubicBezTo>
                    <a:pt x="769" y="865"/>
                    <a:pt x="773" y="870"/>
                    <a:pt x="776" y="875"/>
                  </a:cubicBezTo>
                  <a:cubicBezTo>
                    <a:pt x="779" y="881"/>
                    <a:pt x="777" y="877"/>
                    <a:pt x="777" y="884"/>
                  </a:cubicBezTo>
                  <a:cubicBezTo>
                    <a:pt x="776" y="890"/>
                    <a:pt x="780" y="892"/>
                    <a:pt x="781" y="895"/>
                  </a:cubicBezTo>
                  <a:cubicBezTo>
                    <a:pt x="782" y="899"/>
                    <a:pt x="781" y="899"/>
                    <a:pt x="772" y="896"/>
                  </a:cubicBezTo>
                  <a:cubicBezTo>
                    <a:pt x="763" y="894"/>
                    <a:pt x="768" y="898"/>
                    <a:pt x="765" y="894"/>
                  </a:cubicBezTo>
                  <a:cubicBezTo>
                    <a:pt x="764" y="891"/>
                    <a:pt x="763" y="890"/>
                    <a:pt x="762" y="889"/>
                  </a:cubicBezTo>
                  <a:cubicBezTo>
                    <a:pt x="763" y="886"/>
                    <a:pt x="762" y="884"/>
                    <a:pt x="762" y="882"/>
                  </a:cubicBezTo>
                  <a:cubicBezTo>
                    <a:pt x="760" y="878"/>
                    <a:pt x="757" y="884"/>
                    <a:pt x="751" y="888"/>
                  </a:cubicBezTo>
                  <a:cubicBezTo>
                    <a:pt x="746" y="892"/>
                    <a:pt x="747" y="893"/>
                    <a:pt x="743" y="892"/>
                  </a:cubicBezTo>
                  <a:cubicBezTo>
                    <a:pt x="740" y="891"/>
                    <a:pt x="735" y="882"/>
                    <a:pt x="735" y="876"/>
                  </a:cubicBezTo>
                  <a:cubicBezTo>
                    <a:pt x="735" y="870"/>
                    <a:pt x="727" y="872"/>
                    <a:pt x="716" y="872"/>
                  </a:cubicBezTo>
                  <a:cubicBezTo>
                    <a:pt x="705" y="873"/>
                    <a:pt x="715" y="865"/>
                    <a:pt x="715" y="863"/>
                  </a:cubicBezTo>
                  <a:cubicBezTo>
                    <a:pt x="715" y="862"/>
                    <a:pt x="719" y="853"/>
                    <a:pt x="718" y="848"/>
                  </a:cubicBezTo>
                  <a:cubicBezTo>
                    <a:pt x="718" y="843"/>
                    <a:pt x="707" y="846"/>
                    <a:pt x="704" y="839"/>
                  </a:cubicBezTo>
                  <a:cubicBezTo>
                    <a:pt x="702" y="832"/>
                    <a:pt x="699" y="832"/>
                    <a:pt x="696" y="827"/>
                  </a:cubicBezTo>
                  <a:cubicBezTo>
                    <a:pt x="692" y="822"/>
                    <a:pt x="695" y="818"/>
                    <a:pt x="692" y="816"/>
                  </a:cubicBezTo>
                  <a:cubicBezTo>
                    <a:pt x="690" y="814"/>
                    <a:pt x="681" y="814"/>
                    <a:pt x="677" y="816"/>
                  </a:cubicBezTo>
                  <a:cubicBezTo>
                    <a:pt x="674" y="818"/>
                    <a:pt x="669" y="822"/>
                    <a:pt x="666" y="818"/>
                  </a:cubicBezTo>
                  <a:cubicBezTo>
                    <a:pt x="663" y="814"/>
                    <a:pt x="665" y="809"/>
                    <a:pt x="663" y="802"/>
                  </a:cubicBezTo>
                  <a:cubicBezTo>
                    <a:pt x="661" y="794"/>
                    <a:pt x="665" y="791"/>
                    <a:pt x="667" y="784"/>
                  </a:cubicBezTo>
                  <a:cubicBezTo>
                    <a:pt x="669" y="777"/>
                    <a:pt x="677" y="772"/>
                    <a:pt x="683" y="767"/>
                  </a:cubicBezTo>
                  <a:cubicBezTo>
                    <a:pt x="688" y="762"/>
                    <a:pt x="684" y="756"/>
                    <a:pt x="680" y="747"/>
                  </a:cubicBezTo>
                  <a:cubicBezTo>
                    <a:pt x="675" y="738"/>
                    <a:pt x="679" y="730"/>
                    <a:pt x="677" y="723"/>
                  </a:cubicBezTo>
                  <a:cubicBezTo>
                    <a:pt x="676" y="716"/>
                    <a:pt x="671" y="718"/>
                    <a:pt x="666" y="720"/>
                  </a:cubicBezTo>
                  <a:cubicBezTo>
                    <a:pt x="661" y="722"/>
                    <a:pt x="664" y="714"/>
                    <a:pt x="664" y="710"/>
                  </a:cubicBezTo>
                  <a:cubicBezTo>
                    <a:pt x="664" y="706"/>
                    <a:pt x="654" y="698"/>
                    <a:pt x="652" y="695"/>
                  </a:cubicBezTo>
                  <a:cubicBezTo>
                    <a:pt x="650" y="692"/>
                    <a:pt x="643" y="690"/>
                    <a:pt x="642" y="692"/>
                  </a:cubicBezTo>
                  <a:cubicBezTo>
                    <a:pt x="641" y="694"/>
                    <a:pt x="640" y="695"/>
                    <a:pt x="639" y="697"/>
                  </a:cubicBezTo>
                  <a:cubicBezTo>
                    <a:pt x="638" y="697"/>
                    <a:pt x="638" y="697"/>
                    <a:pt x="638" y="697"/>
                  </a:cubicBezTo>
                  <a:cubicBezTo>
                    <a:pt x="630" y="694"/>
                    <a:pt x="629" y="692"/>
                    <a:pt x="623" y="692"/>
                  </a:cubicBezTo>
                  <a:cubicBezTo>
                    <a:pt x="618" y="693"/>
                    <a:pt x="611" y="697"/>
                    <a:pt x="612" y="691"/>
                  </a:cubicBezTo>
                  <a:cubicBezTo>
                    <a:pt x="613" y="685"/>
                    <a:pt x="615" y="677"/>
                    <a:pt x="613" y="678"/>
                  </a:cubicBezTo>
                  <a:cubicBezTo>
                    <a:pt x="610" y="678"/>
                    <a:pt x="604" y="682"/>
                    <a:pt x="606" y="676"/>
                  </a:cubicBezTo>
                  <a:cubicBezTo>
                    <a:pt x="607" y="670"/>
                    <a:pt x="612" y="669"/>
                    <a:pt x="606" y="667"/>
                  </a:cubicBezTo>
                  <a:cubicBezTo>
                    <a:pt x="600" y="666"/>
                    <a:pt x="596" y="662"/>
                    <a:pt x="593" y="667"/>
                  </a:cubicBezTo>
                  <a:cubicBezTo>
                    <a:pt x="590" y="673"/>
                    <a:pt x="593" y="678"/>
                    <a:pt x="586" y="675"/>
                  </a:cubicBezTo>
                  <a:cubicBezTo>
                    <a:pt x="579" y="672"/>
                    <a:pt x="581" y="672"/>
                    <a:pt x="574" y="670"/>
                  </a:cubicBezTo>
                  <a:cubicBezTo>
                    <a:pt x="567" y="668"/>
                    <a:pt x="561" y="669"/>
                    <a:pt x="559" y="672"/>
                  </a:cubicBezTo>
                  <a:cubicBezTo>
                    <a:pt x="558" y="675"/>
                    <a:pt x="556" y="679"/>
                    <a:pt x="553" y="682"/>
                  </a:cubicBezTo>
                  <a:cubicBezTo>
                    <a:pt x="549" y="685"/>
                    <a:pt x="547" y="681"/>
                    <a:pt x="542" y="686"/>
                  </a:cubicBezTo>
                  <a:cubicBezTo>
                    <a:pt x="536" y="692"/>
                    <a:pt x="533" y="695"/>
                    <a:pt x="531" y="698"/>
                  </a:cubicBezTo>
                  <a:cubicBezTo>
                    <a:pt x="528" y="702"/>
                    <a:pt x="529" y="704"/>
                    <a:pt x="525" y="708"/>
                  </a:cubicBezTo>
                  <a:cubicBezTo>
                    <a:pt x="522" y="711"/>
                    <a:pt x="519" y="709"/>
                    <a:pt x="512" y="710"/>
                  </a:cubicBezTo>
                  <a:cubicBezTo>
                    <a:pt x="510" y="710"/>
                    <a:pt x="508" y="711"/>
                    <a:pt x="507" y="711"/>
                  </a:cubicBezTo>
                  <a:cubicBezTo>
                    <a:pt x="505" y="710"/>
                    <a:pt x="502" y="706"/>
                    <a:pt x="501" y="705"/>
                  </a:cubicBezTo>
                  <a:cubicBezTo>
                    <a:pt x="499" y="704"/>
                    <a:pt x="490" y="706"/>
                    <a:pt x="483" y="705"/>
                  </a:cubicBezTo>
                  <a:cubicBezTo>
                    <a:pt x="476" y="704"/>
                    <a:pt x="476" y="704"/>
                    <a:pt x="471" y="702"/>
                  </a:cubicBezTo>
                  <a:cubicBezTo>
                    <a:pt x="467" y="700"/>
                    <a:pt x="465" y="698"/>
                    <a:pt x="463" y="696"/>
                  </a:cubicBezTo>
                  <a:cubicBezTo>
                    <a:pt x="460" y="694"/>
                    <a:pt x="456" y="700"/>
                    <a:pt x="451" y="703"/>
                  </a:cubicBezTo>
                  <a:cubicBezTo>
                    <a:pt x="446" y="707"/>
                    <a:pt x="448" y="707"/>
                    <a:pt x="445" y="712"/>
                  </a:cubicBezTo>
                  <a:cubicBezTo>
                    <a:pt x="441" y="716"/>
                    <a:pt x="442" y="714"/>
                    <a:pt x="439" y="721"/>
                  </a:cubicBezTo>
                  <a:cubicBezTo>
                    <a:pt x="437" y="726"/>
                    <a:pt x="437" y="725"/>
                    <a:pt x="437" y="726"/>
                  </a:cubicBezTo>
                  <a:cubicBezTo>
                    <a:pt x="437" y="725"/>
                    <a:pt x="437" y="724"/>
                    <a:pt x="436" y="724"/>
                  </a:cubicBezTo>
                  <a:cubicBezTo>
                    <a:pt x="433" y="717"/>
                    <a:pt x="436" y="716"/>
                    <a:pt x="435" y="710"/>
                  </a:cubicBezTo>
                  <a:cubicBezTo>
                    <a:pt x="434" y="704"/>
                    <a:pt x="431" y="702"/>
                    <a:pt x="427" y="704"/>
                  </a:cubicBezTo>
                  <a:cubicBezTo>
                    <a:pt x="424" y="705"/>
                    <a:pt x="421" y="707"/>
                    <a:pt x="419" y="708"/>
                  </a:cubicBezTo>
                  <a:cubicBezTo>
                    <a:pt x="418" y="708"/>
                    <a:pt x="417" y="708"/>
                    <a:pt x="416" y="708"/>
                  </a:cubicBezTo>
                  <a:cubicBezTo>
                    <a:pt x="406" y="710"/>
                    <a:pt x="393" y="711"/>
                    <a:pt x="390" y="708"/>
                  </a:cubicBezTo>
                  <a:cubicBezTo>
                    <a:pt x="388" y="704"/>
                    <a:pt x="386" y="699"/>
                    <a:pt x="381" y="703"/>
                  </a:cubicBezTo>
                  <a:cubicBezTo>
                    <a:pt x="376" y="706"/>
                    <a:pt x="376" y="711"/>
                    <a:pt x="372" y="707"/>
                  </a:cubicBezTo>
                  <a:cubicBezTo>
                    <a:pt x="368" y="703"/>
                    <a:pt x="370" y="704"/>
                    <a:pt x="366" y="705"/>
                  </a:cubicBezTo>
                  <a:cubicBezTo>
                    <a:pt x="362" y="706"/>
                    <a:pt x="360" y="705"/>
                    <a:pt x="357" y="701"/>
                  </a:cubicBezTo>
                  <a:cubicBezTo>
                    <a:pt x="354" y="696"/>
                    <a:pt x="340" y="701"/>
                    <a:pt x="340" y="695"/>
                  </a:cubicBezTo>
                  <a:cubicBezTo>
                    <a:pt x="340" y="690"/>
                    <a:pt x="345" y="689"/>
                    <a:pt x="336" y="688"/>
                  </a:cubicBezTo>
                  <a:cubicBezTo>
                    <a:pt x="328" y="687"/>
                    <a:pt x="328" y="692"/>
                    <a:pt x="324" y="683"/>
                  </a:cubicBezTo>
                  <a:cubicBezTo>
                    <a:pt x="319" y="674"/>
                    <a:pt x="317" y="670"/>
                    <a:pt x="310" y="670"/>
                  </a:cubicBezTo>
                  <a:cubicBezTo>
                    <a:pt x="303" y="670"/>
                    <a:pt x="301" y="675"/>
                    <a:pt x="295" y="666"/>
                  </a:cubicBezTo>
                  <a:cubicBezTo>
                    <a:pt x="290" y="656"/>
                    <a:pt x="280" y="657"/>
                    <a:pt x="273" y="651"/>
                  </a:cubicBezTo>
                  <a:cubicBezTo>
                    <a:pt x="265" y="645"/>
                    <a:pt x="256" y="637"/>
                    <a:pt x="251" y="638"/>
                  </a:cubicBezTo>
                  <a:cubicBezTo>
                    <a:pt x="246" y="639"/>
                    <a:pt x="243" y="644"/>
                    <a:pt x="240" y="646"/>
                  </a:cubicBezTo>
                  <a:cubicBezTo>
                    <a:pt x="239" y="647"/>
                    <a:pt x="237" y="647"/>
                    <a:pt x="235" y="646"/>
                  </a:cubicBezTo>
                  <a:cubicBezTo>
                    <a:pt x="237" y="644"/>
                    <a:pt x="228" y="639"/>
                    <a:pt x="226" y="638"/>
                  </a:cubicBezTo>
                  <a:cubicBezTo>
                    <a:pt x="223" y="637"/>
                    <a:pt x="216" y="635"/>
                    <a:pt x="208" y="628"/>
                  </a:cubicBezTo>
                  <a:cubicBezTo>
                    <a:pt x="201" y="620"/>
                    <a:pt x="197" y="628"/>
                    <a:pt x="192" y="621"/>
                  </a:cubicBezTo>
                  <a:cubicBezTo>
                    <a:pt x="187" y="615"/>
                    <a:pt x="184" y="609"/>
                    <a:pt x="179" y="613"/>
                  </a:cubicBezTo>
                  <a:cubicBezTo>
                    <a:pt x="173" y="617"/>
                    <a:pt x="173" y="615"/>
                    <a:pt x="170" y="601"/>
                  </a:cubicBezTo>
                  <a:cubicBezTo>
                    <a:pt x="167" y="586"/>
                    <a:pt x="161" y="591"/>
                    <a:pt x="159" y="581"/>
                  </a:cubicBezTo>
                  <a:cubicBezTo>
                    <a:pt x="158" y="571"/>
                    <a:pt x="172" y="582"/>
                    <a:pt x="177" y="580"/>
                  </a:cubicBezTo>
                  <a:cubicBezTo>
                    <a:pt x="182" y="579"/>
                    <a:pt x="182" y="574"/>
                    <a:pt x="181" y="571"/>
                  </a:cubicBezTo>
                  <a:cubicBezTo>
                    <a:pt x="180" y="568"/>
                    <a:pt x="178" y="562"/>
                    <a:pt x="170" y="557"/>
                  </a:cubicBezTo>
                  <a:cubicBezTo>
                    <a:pt x="162" y="552"/>
                    <a:pt x="167" y="551"/>
                    <a:pt x="159" y="541"/>
                  </a:cubicBezTo>
                  <a:cubicBezTo>
                    <a:pt x="159" y="540"/>
                    <a:pt x="158" y="540"/>
                    <a:pt x="158" y="539"/>
                  </a:cubicBezTo>
                  <a:cubicBezTo>
                    <a:pt x="160" y="537"/>
                    <a:pt x="163" y="536"/>
                    <a:pt x="168" y="537"/>
                  </a:cubicBezTo>
                  <a:cubicBezTo>
                    <a:pt x="175" y="540"/>
                    <a:pt x="173" y="536"/>
                    <a:pt x="173" y="532"/>
                  </a:cubicBezTo>
                  <a:cubicBezTo>
                    <a:pt x="173" y="528"/>
                    <a:pt x="178" y="522"/>
                    <a:pt x="179" y="519"/>
                  </a:cubicBezTo>
                  <a:cubicBezTo>
                    <a:pt x="181" y="517"/>
                    <a:pt x="185" y="513"/>
                    <a:pt x="186" y="505"/>
                  </a:cubicBezTo>
                  <a:cubicBezTo>
                    <a:pt x="187" y="497"/>
                    <a:pt x="185" y="498"/>
                    <a:pt x="181" y="496"/>
                  </a:cubicBezTo>
                  <a:cubicBezTo>
                    <a:pt x="176" y="494"/>
                    <a:pt x="168" y="488"/>
                    <a:pt x="163" y="485"/>
                  </a:cubicBezTo>
                  <a:cubicBezTo>
                    <a:pt x="158" y="482"/>
                    <a:pt x="146" y="484"/>
                    <a:pt x="138" y="488"/>
                  </a:cubicBezTo>
                  <a:cubicBezTo>
                    <a:pt x="133" y="491"/>
                    <a:pt x="132" y="494"/>
                    <a:pt x="131" y="496"/>
                  </a:cubicBezTo>
                  <a:cubicBezTo>
                    <a:pt x="130" y="496"/>
                    <a:pt x="129" y="496"/>
                    <a:pt x="128" y="496"/>
                  </a:cubicBezTo>
                  <a:cubicBezTo>
                    <a:pt x="125" y="495"/>
                    <a:pt x="116" y="496"/>
                    <a:pt x="112" y="496"/>
                  </a:cubicBezTo>
                  <a:cubicBezTo>
                    <a:pt x="107" y="496"/>
                    <a:pt x="103" y="491"/>
                    <a:pt x="95" y="486"/>
                  </a:cubicBezTo>
                  <a:cubicBezTo>
                    <a:pt x="86" y="481"/>
                    <a:pt x="91" y="486"/>
                    <a:pt x="85" y="485"/>
                  </a:cubicBezTo>
                  <a:cubicBezTo>
                    <a:pt x="78" y="485"/>
                    <a:pt x="82" y="483"/>
                    <a:pt x="80" y="481"/>
                  </a:cubicBezTo>
                  <a:cubicBezTo>
                    <a:pt x="78" y="478"/>
                    <a:pt x="78" y="474"/>
                    <a:pt x="78" y="471"/>
                  </a:cubicBezTo>
                  <a:cubicBezTo>
                    <a:pt x="77" y="468"/>
                    <a:pt x="73" y="465"/>
                    <a:pt x="69" y="463"/>
                  </a:cubicBezTo>
                  <a:cubicBezTo>
                    <a:pt x="65" y="461"/>
                    <a:pt x="57" y="456"/>
                    <a:pt x="54" y="453"/>
                  </a:cubicBezTo>
                  <a:cubicBezTo>
                    <a:pt x="51" y="449"/>
                    <a:pt x="42" y="451"/>
                    <a:pt x="37" y="453"/>
                  </a:cubicBezTo>
                  <a:cubicBezTo>
                    <a:pt x="37" y="453"/>
                    <a:pt x="36" y="453"/>
                    <a:pt x="36" y="453"/>
                  </a:cubicBezTo>
                  <a:cubicBezTo>
                    <a:pt x="37" y="451"/>
                    <a:pt x="37" y="447"/>
                    <a:pt x="38" y="445"/>
                  </a:cubicBezTo>
                  <a:cubicBezTo>
                    <a:pt x="38" y="444"/>
                    <a:pt x="40" y="444"/>
                    <a:pt x="42" y="445"/>
                  </a:cubicBezTo>
                  <a:cubicBezTo>
                    <a:pt x="44" y="445"/>
                    <a:pt x="46" y="446"/>
                    <a:pt x="49" y="446"/>
                  </a:cubicBezTo>
                  <a:cubicBezTo>
                    <a:pt x="53" y="446"/>
                    <a:pt x="50" y="441"/>
                    <a:pt x="46" y="434"/>
                  </a:cubicBezTo>
                  <a:cubicBezTo>
                    <a:pt x="43" y="427"/>
                    <a:pt x="38" y="427"/>
                    <a:pt x="36" y="420"/>
                  </a:cubicBezTo>
                  <a:cubicBezTo>
                    <a:pt x="34" y="414"/>
                    <a:pt x="34" y="414"/>
                    <a:pt x="31" y="410"/>
                  </a:cubicBezTo>
                  <a:cubicBezTo>
                    <a:pt x="28" y="407"/>
                    <a:pt x="24" y="407"/>
                    <a:pt x="19" y="409"/>
                  </a:cubicBezTo>
                  <a:cubicBezTo>
                    <a:pt x="14" y="410"/>
                    <a:pt x="13" y="409"/>
                    <a:pt x="9" y="406"/>
                  </a:cubicBezTo>
                  <a:cubicBezTo>
                    <a:pt x="4" y="404"/>
                    <a:pt x="4" y="397"/>
                    <a:pt x="2" y="392"/>
                  </a:cubicBezTo>
                  <a:cubicBezTo>
                    <a:pt x="0" y="388"/>
                    <a:pt x="2" y="387"/>
                    <a:pt x="5" y="385"/>
                  </a:cubicBezTo>
                  <a:cubicBezTo>
                    <a:pt x="5" y="385"/>
                    <a:pt x="5" y="385"/>
                    <a:pt x="5" y="384"/>
                  </a:cubicBezTo>
                  <a:cubicBezTo>
                    <a:pt x="7" y="382"/>
                    <a:pt x="5" y="380"/>
                    <a:pt x="4" y="376"/>
                  </a:cubicBezTo>
                  <a:cubicBezTo>
                    <a:pt x="4" y="372"/>
                    <a:pt x="6" y="368"/>
                    <a:pt x="11" y="365"/>
                  </a:cubicBezTo>
                  <a:cubicBezTo>
                    <a:pt x="16" y="362"/>
                    <a:pt x="20" y="360"/>
                    <a:pt x="22" y="358"/>
                  </a:cubicBezTo>
                  <a:cubicBezTo>
                    <a:pt x="24" y="356"/>
                    <a:pt x="30" y="357"/>
                    <a:pt x="34" y="354"/>
                  </a:cubicBezTo>
                  <a:cubicBezTo>
                    <a:pt x="37" y="352"/>
                    <a:pt x="39" y="352"/>
                    <a:pt x="41" y="360"/>
                  </a:cubicBezTo>
                  <a:cubicBezTo>
                    <a:pt x="43" y="369"/>
                    <a:pt x="48" y="362"/>
                    <a:pt x="57" y="360"/>
                  </a:cubicBezTo>
                  <a:cubicBezTo>
                    <a:pt x="65" y="359"/>
                    <a:pt x="62" y="352"/>
                    <a:pt x="63" y="343"/>
                  </a:cubicBezTo>
                  <a:cubicBezTo>
                    <a:pt x="64" y="334"/>
                    <a:pt x="79" y="342"/>
                    <a:pt x="89" y="339"/>
                  </a:cubicBezTo>
                  <a:cubicBezTo>
                    <a:pt x="100" y="337"/>
                    <a:pt x="95" y="336"/>
                    <a:pt x="96" y="330"/>
                  </a:cubicBezTo>
                  <a:cubicBezTo>
                    <a:pt x="97" y="323"/>
                    <a:pt x="104" y="324"/>
                    <a:pt x="112" y="321"/>
                  </a:cubicBezTo>
                  <a:cubicBezTo>
                    <a:pt x="119" y="318"/>
                    <a:pt x="122" y="317"/>
                    <a:pt x="126" y="314"/>
                  </a:cubicBezTo>
                  <a:cubicBezTo>
                    <a:pt x="130" y="312"/>
                    <a:pt x="133" y="310"/>
                    <a:pt x="129" y="306"/>
                  </a:cubicBezTo>
                  <a:cubicBezTo>
                    <a:pt x="128" y="305"/>
                    <a:pt x="128" y="304"/>
                    <a:pt x="127" y="303"/>
                  </a:cubicBezTo>
                  <a:cubicBezTo>
                    <a:pt x="120" y="297"/>
                    <a:pt x="127" y="291"/>
                    <a:pt x="127" y="291"/>
                  </a:cubicBezTo>
                  <a:cubicBezTo>
                    <a:pt x="127" y="291"/>
                    <a:pt x="126" y="286"/>
                    <a:pt x="129" y="285"/>
                  </a:cubicBezTo>
                  <a:cubicBezTo>
                    <a:pt x="133" y="283"/>
                    <a:pt x="132" y="279"/>
                    <a:pt x="129" y="274"/>
                  </a:cubicBezTo>
                  <a:cubicBezTo>
                    <a:pt x="126" y="268"/>
                    <a:pt x="134" y="272"/>
                    <a:pt x="122" y="260"/>
                  </a:cubicBezTo>
                  <a:cubicBezTo>
                    <a:pt x="110" y="248"/>
                    <a:pt x="113" y="248"/>
                    <a:pt x="112" y="241"/>
                  </a:cubicBezTo>
                  <a:cubicBezTo>
                    <a:pt x="112" y="234"/>
                    <a:pt x="103" y="238"/>
                    <a:pt x="99" y="232"/>
                  </a:cubicBezTo>
                  <a:cubicBezTo>
                    <a:pt x="95" y="226"/>
                    <a:pt x="116" y="228"/>
                    <a:pt x="120" y="226"/>
                  </a:cubicBezTo>
                  <a:cubicBezTo>
                    <a:pt x="125" y="224"/>
                    <a:pt x="130" y="222"/>
                    <a:pt x="132" y="222"/>
                  </a:cubicBezTo>
                  <a:cubicBezTo>
                    <a:pt x="135" y="223"/>
                    <a:pt x="145" y="228"/>
                    <a:pt x="155" y="228"/>
                  </a:cubicBezTo>
                  <a:cubicBezTo>
                    <a:pt x="164" y="228"/>
                    <a:pt x="147" y="217"/>
                    <a:pt x="147" y="217"/>
                  </a:cubicBezTo>
                  <a:cubicBezTo>
                    <a:pt x="147" y="217"/>
                    <a:pt x="144" y="186"/>
                    <a:pt x="144" y="179"/>
                  </a:cubicBezTo>
                  <a:cubicBezTo>
                    <a:pt x="144" y="172"/>
                    <a:pt x="152" y="172"/>
                    <a:pt x="160" y="174"/>
                  </a:cubicBezTo>
                  <a:cubicBezTo>
                    <a:pt x="168" y="177"/>
                    <a:pt x="168" y="176"/>
                    <a:pt x="178" y="177"/>
                  </a:cubicBezTo>
                  <a:cubicBezTo>
                    <a:pt x="188" y="178"/>
                    <a:pt x="192" y="179"/>
                    <a:pt x="200" y="173"/>
                  </a:cubicBezTo>
                  <a:cubicBezTo>
                    <a:pt x="209" y="167"/>
                    <a:pt x="195" y="160"/>
                    <a:pt x="191" y="149"/>
                  </a:cubicBezTo>
                  <a:cubicBezTo>
                    <a:pt x="187" y="137"/>
                    <a:pt x="200" y="138"/>
                    <a:pt x="208" y="137"/>
                  </a:cubicBezTo>
                  <a:cubicBezTo>
                    <a:pt x="215" y="136"/>
                    <a:pt x="210" y="131"/>
                    <a:pt x="208" y="126"/>
                  </a:cubicBezTo>
                  <a:cubicBezTo>
                    <a:pt x="206" y="122"/>
                    <a:pt x="212" y="120"/>
                    <a:pt x="217" y="118"/>
                  </a:cubicBezTo>
                  <a:cubicBezTo>
                    <a:pt x="219" y="119"/>
                    <a:pt x="220" y="121"/>
                    <a:pt x="224" y="119"/>
                  </a:cubicBezTo>
                  <a:cubicBezTo>
                    <a:pt x="225" y="119"/>
                    <a:pt x="226" y="118"/>
                    <a:pt x="227" y="117"/>
                  </a:cubicBezTo>
                  <a:cubicBezTo>
                    <a:pt x="229" y="118"/>
                    <a:pt x="232" y="118"/>
                    <a:pt x="232" y="121"/>
                  </a:cubicBezTo>
                  <a:cubicBezTo>
                    <a:pt x="232" y="124"/>
                    <a:pt x="237" y="129"/>
                    <a:pt x="241" y="131"/>
                  </a:cubicBezTo>
                  <a:cubicBezTo>
                    <a:pt x="245" y="133"/>
                    <a:pt x="243" y="136"/>
                    <a:pt x="251" y="139"/>
                  </a:cubicBezTo>
                  <a:cubicBezTo>
                    <a:pt x="258" y="142"/>
                    <a:pt x="259" y="146"/>
                    <a:pt x="266" y="148"/>
                  </a:cubicBezTo>
                  <a:cubicBezTo>
                    <a:pt x="273" y="150"/>
                    <a:pt x="275" y="151"/>
                    <a:pt x="284" y="153"/>
                  </a:cubicBezTo>
                  <a:cubicBezTo>
                    <a:pt x="294" y="155"/>
                    <a:pt x="295" y="152"/>
                    <a:pt x="300" y="157"/>
                  </a:cubicBezTo>
                  <a:cubicBezTo>
                    <a:pt x="305" y="163"/>
                    <a:pt x="309" y="168"/>
                    <a:pt x="314" y="171"/>
                  </a:cubicBezTo>
                  <a:cubicBezTo>
                    <a:pt x="318" y="174"/>
                    <a:pt x="327" y="182"/>
                    <a:pt x="328" y="188"/>
                  </a:cubicBezTo>
                  <a:cubicBezTo>
                    <a:pt x="330" y="195"/>
                    <a:pt x="336" y="198"/>
                    <a:pt x="334" y="202"/>
                  </a:cubicBezTo>
                  <a:cubicBezTo>
                    <a:pt x="332" y="206"/>
                    <a:pt x="327" y="207"/>
                    <a:pt x="333" y="214"/>
                  </a:cubicBezTo>
                  <a:cubicBezTo>
                    <a:pt x="338" y="221"/>
                    <a:pt x="338" y="224"/>
                    <a:pt x="345" y="226"/>
                  </a:cubicBezTo>
                  <a:cubicBezTo>
                    <a:pt x="352" y="228"/>
                    <a:pt x="359" y="229"/>
                    <a:pt x="363" y="230"/>
                  </a:cubicBezTo>
                  <a:cubicBezTo>
                    <a:pt x="367" y="230"/>
                    <a:pt x="373" y="228"/>
                    <a:pt x="388" y="231"/>
                  </a:cubicBezTo>
                  <a:cubicBezTo>
                    <a:pt x="403" y="234"/>
                    <a:pt x="398" y="231"/>
                    <a:pt x="408" y="236"/>
                  </a:cubicBezTo>
                  <a:cubicBezTo>
                    <a:pt x="419" y="240"/>
                    <a:pt x="417" y="241"/>
                    <a:pt x="425" y="244"/>
                  </a:cubicBezTo>
                  <a:cubicBezTo>
                    <a:pt x="433" y="247"/>
                    <a:pt x="431" y="247"/>
                    <a:pt x="441" y="250"/>
                  </a:cubicBezTo>
                  <a:cubicBezTo>
                    <a:pt x="450" y="253"/>
                    <a:pt x="454" y="253"/>
                    <a:pt x="455" y="256"/>
                  </a:cubicBezTo>
                  <a:cubicBezTo>
                    <a:pt x="456" y="258"/>
                    <a:pt x="464" y="264"/>
                    <a:pt x="471" y="272"/>
                  </a:cubicBezTo>
                  <a:cubicBezTo>
                    <a:pt x="478" y="279"/>
                    <a:pt x="475" y="279"/>
                    <a:pt x="482" y="285"/>
                  </a:cubicBezTo>
                  <a:cubicBezTo>
                    <a:pt x="488" y="291"/>
                    <a:pt x="485" y="290"/>
                    <a:pt x="492" y="293"/>
                  </a:cubicBezTo>
                  <a:cubicBezTo>
                    <a:pt x="499" y="296"/>
                    <a:pt x="498" y="294"/>
                    <a:pt x="505" y="293"/>
                  </a:cubicBezTo>
                  <a:cubicBezTo>
                    <a:pt x="512" y="293"/>
                    <a:pt x="518" y="293"/>
                    <a:pt x="526" y="294"/>
                  </a:cubicBezTo>
                  <a:cubicBezTo>
                    <a:pt x="534" y="296"/>
                    <a:pt x="544" y="298"/>
                    <a:pt x="546" y="298"/>
                  </a:cubicBezTo>
                  <a:cubicBezTo>
                    <a:pt x="548" y="298"/>
                    <a:pt x="560" y="300"/>
                    <a:pt x="570" y="298"/>
                  </a:cubicBezTo>
                  <a:cubicBezTo>
                    <a:pt x="579" y="296"/>
                    <a:pt x="583" y="295"/>
                    <a:pt x="593" y="297"/>
                  </a:cubicBezTo>
                  <a:cubicBezTo>
                    <a:pt x="603" y="299"/>
                    <a:pt x="609" y="298"/>
                    <a:pt x="616" y="301"/>
                  </a:cubicBezTo>
                  <a:cubicBezTo>
                    <a:pt x="623" y="305"/>
                    <a:pt x="632" y="311"/>
                    <a:pt x="637" y="312"/>
                  </a:cubicBezTo>
                  <a:cubicBezTo>
                    <a:pt x="642" y="312"/>
                    <a:pt x="657" y="314"/>
                    <a:pt x="668" y="317"/>
                  </a:cubicBezTo>
                  <a:cubicBezTo>
                    <a:pt x="679" y="320"/>
                    <a:pt x="681" y="316"/>
                    <a:pt x="690" y="320"/>
                  </a:cubicBezTo>
                  <a:cubicBezTo>
                    <a:pt x="698" y="324"/>
                    <a:pt x="703" y="325"/>
                    <a:pt x="704" y="324"/>
                  </a:cubicBezTo>
                  <a:cubicBezTo>
                    <a:pt x="706" y="322"/>
                    <a:pt x="717" y="311"/>
                    <a:pt x="723" y="310"/>
                  </a:cubicBezTo>
                  <a:cubicBezTo>
                    <a:pt x="729" y="309"/>
                    <a:pt x="744" y="305"/>
                    <a:pt x="755" y="303"/>
                  </a:cubicBezTo>
                  <a:cubicBezTo>
                    <a:pt x="765" y="301"/>
                    <a:pt x="774" y="302"/>
                    <a:pt x="783" y="301"/>
                  </a:cubicBezTo>
                  <a:cubicBezTo>
                    <a:pt x="792" y="299"/>
                    <a:pt x="792" y="303"/>
                    <a:pt x="801" y="298"/>
                  </a:cubicBezTo>
                  <a:cubicBezTo>
                    <a:pt x="809" y="293"/>
                    <a:pt x="814" y="292"/>
                    <a:pt x="815" y="285"/>
                  </a:cubicBezTo>
                  <a:cubicBezTo>
                    <a:pt x="816" y="279"/>
                    <a:pt x="819" y="277"/>
                    <a:pt x="821" y="275"/>
                  </a:cubicBezTo>
                  <a:cubicBezTo>
                    <a:pt x="823" y="273"/>
                    <a:pt x="839" y="268"/>
                    <a:pt x="832" y="262"/>
                  </a:cubicBezTo>
                  <a:cubicBezTo>
                    <a:pt x="824" y="256"/>
                    <a:pt x="811" y="245"/>
                    <a:pt x="813" y="238"/>
                  </a:cubicBezTo>
                  <a:cubicBezTo>
                    <a:pt x="814" y="231"/>
                    <a:pt x="812" y="229"/>
                    <a:pt x="819" y="229"/>
                  </a:cubicBezTo>
                  <a:cubicBezTo>
                    <a:pt x="826" y="228"/>
                    <a:pt x="826" y="228"/>
                    <a:pt x="838" y="232"/>
                  </a:cubicBezTo>
                  <a:cubicBezTo>
                    <a:pt x="850" y="237"/>
                    <a:pt x="863" y="235"/>
                    <a:pt x="865" y="230"/>
                  </a:cubicBezTo>
                  <a:cubicBezTo>
                    <a:pt x="867" y="225"/>
                    <a:pt x="877" y="219"/>
                    <a:pt x="885" y="220"/>
                  </a:cubicBezTo>
                  <a:cubicBezTo>
                    <a:pt x="893" y="220"/>
                    <a:pt x="905" y="215"/>
                    <a:pt x="902" y="208"/>
                  </a:cubicBezTo>
                  <a:cubicBezTo>
                    <a:pt x="900" y="202"/>
                    <a:pt x="900" y="197"/>
                    <a:pt x="904" y="195"/>
                  </a:cubicBezTo>
                  <a:cubicBezTo>
                    <a:pt x="909" y="192"/>
                    <a:pt x="916" y="190"/>
                    <a:pt x="920" y="189"/>
                  </a:cubicBezTo>
                  <a:cubicBezTo>
                    <a:pt x="923" y="187"/>
                    <a:pt x="931" y="184"/>
                    <a:pt x="940" y="184"/>
                  </a:cubicBezTo>
                  <a:cubicBezTo>
                    <a:pt x="949" y="184"/>
                    <a:pt x="964" y="185"/>
                    <a:pt x="966" y="185"/>
                  </a:cubicBezTo>
                  <a:cubicBezTo>
                    <a:pt x="968" y="185"/>
                    <a:pt x="969" y="182"/>
                    <a:pt x="961" y="177"/>
                  </a:cubicBezTo>
                  <a:cubicBezTo>
                    <a:pt x="954" y="171"/>
                    <a:pt x="946" y="165"/>
                    <a:pt x="940" y="161"/>
                  </a:cubicBezTo>
                  <a:cubicBezTo>
                    <a:pt x="934" y="158"/>
                    <a:pt x="935" y="157"/>
                    <a:pt x="924" y="153"/>
                  </a:cubicBezTo>
                  <a:cubicBezTo>
                    <a:pt x="913" y="149"/>
                    <a:pt x="908" y="146"/>
                    <a:pt x="904" y="149"/>
                  </a:cubicBezTo>
                  <a:cubicBezTo>
                    <a:pt x="901" y="152"/>
                    <a:pt x="903" y="156"/>
                    <a:pt x="895" y="155"/>
                  </a:cubicBezTo>
                  <a:cubicBezTo>
                    <a:pt x="887" y="154"/>
                    <a:pt x="886" y="153"/>
                    <a:pt x="880" y="153"/>
                  </a:cubicBezTo>
                  <a:cubicBezTo>
                    <a:pt x="875" y="153"/>
                    <a:pt x="871" y="152"/>
                    <a:pt x="866" y="154"/>
                  </a:cubicBezTo>
                  <a:cubicBezTo>
                    <a:pt x="862" y="155"/>
                    <a:pt x="862" y="159"/>
                    <a:pt x="858" y="153"/>
                  </a:cubicBezTo>
                  <a:cubicBezTo>
                    <a:pt x="853" y="147"/>
                    <a:pt x="848" y="148"/>
                    <a:pt x="851" y="143"/>
                  </a:cubicBezTo>
                  <a:cubicBezTo>
                    <a:pt x="853" y="137"/>
                    <a:pt x="852" y="136"/>
                    <a:pt x="850" y="131"/>
                  </a:cubicBezTo>
                  <a:cubicBezTo>
                    <a:pt x="849" y="128"/>
                    <a:pt x="850" y="107"/>
                    <a:pt x="850" y="100"/>
                  </a:cubicBezTo>
                  <a:cubicBezTo>
                    <a:pt x="865" y="102"/>
                    <a:pt x="865" y="108"/>
                    <a:pt x="875" y="106"/>
                  </a:cubicBezTo>
                  <a:cubicBezTo>
                    <a:pt x="884" y="104"/>
                    <a:pt x="885" y="96"/>
                    <a:pt x="893" y="96"/>
                  </a:cubicBezTo>
                  <a:cubicBezTo>
                    <a:pt x="900" y="96"/>
                    <a:pt x="906" y="88"/>
                    <a:pt x="900" y="87"/>
                  </a:cubicBezTo>
                  <a:cubicBezTo>
                    <a:pt x="894" y="86"/>
                    <a:pt x="891" y="88"/>
                    <a:pt x="892" y="77"/>
                  </a:cubicBezTo>
                  <a:cubicBezTo>
                    <a:pt x="894" y="65"/>
                    <a:pt x="889" y="59"/>
                    <a:pt x="892" y="51"/>
                  </a:cubicBezTo>
                  <a:cubicBezTo>
                    <a:pt x="895" y="44"/>
                    <a:pt x="902" y="38"/>
                    <a:pt x="896" y="35"/>
                  </a:cubicBezTo>
                  <a:cubicBezTo>
                    <a:pt x="891" y="31"/>
                    <a:pt x="879" y="28"/>
                    <a:pt x="876" y="24"/>
                  </a:cubicBezTo>
                  <a:cubicBezTo>
                    <a:pt x="872" y="21"/>
                    <a:pt x="867" y="25"/>
                    <a:pt x="873" y="16"/>
                  </a:cubicBezTo>
                  <a:cubicBezTo>
                    <a:pt x="879" y="7"/>
                    <a:pt x="871" y="3"/>
                    <a:pt x="885" y="3"/>
                  </a:cubicBezTo>
                  <a:cubicBezTo>
                    <a:pt x="899" y="4"/>
                    <a:pt x="902" y="1"/>
                    <a:pt x="916" y="1"/>
                  </a:cubicBezTo>
                  <a:cubicBezTo>
                    <a:pt x="931" y="1"/>
                    <a:pt x="936" y="0"/>
                    <a:pt x="948" y="6"/>
                  </a:cubicBezTo>
                  <a:cubicBezTo>
                    <a:pt x="959" y="12"/>
                    <a:pt x="975" y="7"/>
                    <a:pt x="981" y="12"/>
                  </a:cubicBezTo>
                  <a:cubicBezTo>
                    <a:pt x="987" y="17"/>
                    <a:pt x="1011" y="25"/>
                    <a:pt x="1016" y="31"/>
                  </a:cubicBezTo>
                  <a:cubicBezTo>
                    <a:pt x="1020" y="36"/>
                    <a:pt x="1017" y="39"/>
                    <a:pt x="1033" y="49"/>
                  </a:cubicBezTo>
                  <a:cubicBezTo>
                    <a:pt x="1048" y="60"/>
                    <a:pt x="1048" y="65"/>
                    <a:pt x="1058" y="75"/>
                  </a:cubicBezTo>
                  <a:cubicBezTo>
                    <a:pt x="1069" y="84"/>
                    <a:pt x="1070" y="91"/>
                    <a:pt x="1082" y="96"/>
                  </a:cubicBezTo>
                  <a:cubicBezTo>
                    <a:pt x="1094" y="102"/>
                    <a:pt x="1102" y="106"/>
                    <a:pt x="1110" y="107"/>
                  </a:cubicBezTo>
                  <a:cubicBezTo>
                    <a:pt x="1118" y="107"/>
                    <a:pt x="1120" y="112"/>
                    <a:pt x="1130" y="113"/>
                  </a:cubicBezTo>
                  <a:cubicBezTo>
                    <a:pt x="1139" y="114"/>
                    <a:pt x="1140" y="114"/>
                    <a:pt x="1149" y="118"/>
                  </a:cubicBezTo>
                  <a:cubicBezTo>
                    <a:pt x="1159" y="122"/>
                    <a:pt x="1162" y="119"/>
                    <a:pt x="1167" y="125"/>
                  </a:cubicBezTo>
                  <a:cubicBezTo>
                    <a:pt x="1173" y="131"/>
                    <a:pt x="1179" y="137"/>
                    <a:pt x="1183" y="141"/>
                  </a:cubicBezTo>
                  <a:cubicBezTo>
                    <a:pt x="1187" y="144"/>
                    <a:pt x="1188" y="158"/>
                    <a:pt x="1194" y="159"/>
                  </a:cubicBezTo>
                  <a:cubicBezTo>
                    <a:pt x="1199" y="161"/>
                    <a:pt x="1211" y="160"/>
                    <a:pt x="1215" y="159"/>
                  </a:cubicBezTo>
                  <a:cubicBezTo>
                    <a:pt x="1220" y="158"/>
                    <a:pt x="1227" y="161"/>
                    <a:pt x="1234" y="152"/>
                  </a:cubicBezTo>
                  <a:cubicBezTo>
                    <a:pt x="1241" y="144"/>
                    <a:pt x="1247" y="152"/>
                    <a:pt x="1252" y="143"/>
                  </a:cubicBezTo>
                  <a:cubicBezTo>
                    <a:pt x="1257" y="134"/>
                    <a:pt x="1269" y="142"/>
                    <a:pt x="1271" y="147"/>
                  </a:cubicBezTo>
                  <a:cubicBezTo>
                    <a:pt x="1274" y="151"/>
                    <a:pt x="1282" y="162"/>
                    <a:pt x="1281" y="164"/>
                  </a:cubicBezTo>
                  <a:cubicBezTo>
                    <a:pt x="1279" y="166"/>
                    <a:pt x="1270" y="169"/>
                    <a:pt x="1277" y="175"/>
                  </a:cubicBezTo>
                  <a:cubicBezTo>
                    <a:pt x="1284" y="182"/>
                    <a:pt x="1282" y="192"/>
                    <a:pt x="1284" y="197"/>
                  </a:cubicBezTo>
                  <a:cubicBezTo>
                    <a:pt x="1287" y="202"/>
                    <a:pt x="1285" y="206"/>
                    <a:pt x="1287" y="212"/>
                  </a:cubicBezTo>
                  <a:cubicBezTo>
                    <a:pt x="1290" y="217"/>
                    <a:pt x="1285" y="229"/>
                    <a:pt x="1285" y="229"/>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77" name="Freeform 1141">
              <a:extLst>
                <a:ext uri="{FF2B5EF4-FFF2-40B4-BE49-F238E27FC236}">
                  <a16:creationId xmlns:a16="http://schemas.microsoft.com/office/drawing/2014/main" id="{2419E624-496D-814E-98B8-1F8AC7582436}"/>
                </a:ext>
              </a:extLst>
            </p:cNvPr>
            <p:cNvSpPr>
              <a:spLocks/>
            </p:cNvSpPr>
            <p:nvPr/>
          </p:nvSpPr>
          <p:spPr bwMode="auto">
            <a:xfrm>
              <a:off x="6575446" y="2130882"/>
              <a:ext cx="55563" cy="49213"/>
            </a:xfrm>
            <a:custGeom>
              <a:avLst/>
              <a:gdLst>
                <a:gd name="T0" fmla="*/ 11 w 58"/>
                <a:gd name="T1" fmla="*/ 15 h 53"/>
                <a:gd name="T2" fmla="*/ 2 w 58"/>
                <a:gd name="T3" fmla="*/ 23 h 53"/>
                <a:gd name="T4" fmla="*/ 5 w 58"/>
                <a:gd name="T5" fmla="*/ 37 h 53"/>
                <a:gd name="T6" fmla="*/ 7 w 58"/>
                <a:gd name="T7" fmla="*/ 47 h 53"/>
                <a:gd name="T8" fmla="*/ 18 w 58"/>
                <a:gd name="T9" fmla="*/ 51 h 53"/>
                <a:gd name="T10" fmla="*/ 31 w 58"/>
                <a:gd name="T11" fmla="*/ 51 h 53"/>
                <a:gd name="T12" fmla="*/ 42 w 58"/>
                <a:gd name="T13" fmla="*/ 44 h 53"/>
                <a:gd name="T14" fmla="*/ 48 w 58"/>
                <a:gd name="T15" fmla="*/ 34 h 53"/>
                <a:gd name="T16" fmla="*/ 51 w 58"/>
                <a:gd name="T17" fmla="*/ 25 h 53"/>
                <a:gd name="T18" fmla="*/ 58 w 58"/>
                <a:gd name="T19" fmla="*/ 12 h 53"/>
                <a:gd name="T20" fmla="*/ 50 w 58"/>
                <a:gd name="T21" fmla="*/ 1 h 53"/>
                <a:gd name="T22" fmla="*/ 43 w 58"/>
                <a:gd name="T23" fmla="*/ 5 h 53"/>
                <a:gd name="T24" fmla="*/ 34 w 58"/>
                <a:gd name="T25" fmla="*/ 3 h 53"/>
                <a:gd name="T26" fmla="*/ 24 w 58"/>
                <a:gd name="T27" fmla="*/ 5 h 53"/>
                <a:gd name="T28" fmla="*/ 13 w 58"/>
                <a:gd name="T29" fmla="*/ 6 h 53"/>
                <a:gd name="T30" fmla="*/ 11 w 58"/>
                <a:gd name="T31"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53">
                  <a:moveTo>
                    <a:pt x="11" y="15"/>
                  </a:moveTo>
                  <a:cubicBezTo>
                    <a:pt x="5" y="16"/>
                    <a:pt x="3" y="17"/>
                    <a:pt x="2" y="23"/>
                  </a:cubicBezTo>
                  <a:cubicBezTo>
                    <a:pt x="0" y="29"/>
                    <a:pt x="6" y="33"/>
                    <a:pt x="5" y="37"/>
                  </a:cubicBezTo>
                  <a:cubicBezTo>
                    <a:pt x="5" y="41"/>
                    <a:pt x="4" y="45"/>
                    <a:pt x="7" y="47"/>
                  </a:cubicBezTo>
                  <a:cubicBezTo>
                    <a:pt x="10" y="48"/>
                    <a:pt x="9" y="49"/>
                    <a:pt x="18" y="51"/>
                  </a:cubicBezTo>
                  <a:cubicBezTo>
                    <a:pt x="26" y="53"/>
                    <a:pt x="26" y="53"/>
                    <a:pt x="31" y="51"/>
                  </a:cubicBezTo>
                  <a:cubicBezTo>
                    <a:pt x="37" y="49"/>
                    <a:pt x="36" y="51"/>
                    <a:pt x="42" y="44"/>
                  </a:cubicBezTo>
                  <a:cubicBezTo>
                    <a:pt x="47" y="38"/>
                    <a:pt x="48" y="40"/>
                    <a:pt x="48" y="34"/>
                  </a:cubicBezTo>
                  <a:cubicBezTo>
                    <a:pt x="49" y="29"/>
                    <a:pt x="48" y="29"/>
                    <a:pt x="51" y="25"/>
                  </a:cubicBezTo>
                  <a:cubicBezTo>
                    <a:pt x="54" y="20"/>
                    <a:pt x="57" y="19"/>
                    <a:pt x="58" y="12"/>
                  </a:cubicBezTo>
                  <a:cubicBezTo>
                    <a:pt x="58" y="5"/>
                    <a:pt x="55" y="0"/>
                    <a:pt x="50" y="1"/>
                  </a:cubicBezTo>
                  <a:cubicBezTo>
                    <a:pt x="46" y="2"/>
                    <a:pt x="46" y="6"/>
                    <a:pt x="43" y="5"/>
                  </a:cubicBezTo>
                  <a:cubicBezTo>
                    <a:pt x="41" y="3"/>
                    <a:pt x="36" y="1"/>
                    <a:pt x="34" y="3"/>
                  </a:cubicBezTo>
                  <a:cubicBezTo>
                    <a:pt x="32" y="6"/>
                    <a:pt x="29" y="5"/>
                    <a:pt x="24" y="5"/>
                  </a:cubicBezTo>
                  <a:cubicBezTo>
                    <a:pt x="20" y="5"/>
                    <a:pt x="13" y="4"/>
                    <a:pt x="13" y="6"/>
                  </a:cubicBezTo>
                  <a:cubicBezTo>
                    <a:pt x="13" y="8"/>
                    <a:pt x="7" y="12"/>
                    <a:pt x="11" y="1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78" name="Freeform 1142">
              <a:extLst>
                <a:ext uri="{FF2B5EF4-FFF2-40B4-BE49-F238E27FC236}">
                  <a16:creationId xmlns:a16="http://schemas.microsoft.com/office/drawing/2014/main" id="{CEC752B4-8BCC-B449-BDD9-0CF66BD89C1E}"/>
                </a:ext>
              </a:extLst>
            </p:cNvPr>
            <p:cNvSpPr>
              <a:spLocks/>
            </p:cNvSpPr>
            <p:nvPr/>
          </p:nvSpPr>
          <p:spPr bwMode="auto">
            <a:xfrm>
              <a:off x="3640149" y="929142"/>
              <a:ext cx="203201" cy="76200"/>
            </a:xfrm>
            <a:custGeom>
              <a:avLst/>
              <a:gdLst>
                <a:gd name="T0" fmla="*/ 49 w 213"/>
                <a:gd name="T1" fmla="*/ 4 h 81"/>
                <a:gd name="T2" fmla="*/ 66 w 213"/>
                <a:gd name="T3" fmla="*/ 17 h 81"/>
                <a:gd name="T4" fmla="*/ 71 w 213"/>
                <a:gd name="T5" fmla="*/ 30 h 81"/>
                <a:gd name="T6" fmla="*/ 85 w 213"/>
                <a:gd name="T7" fmla="*/ 24 h 81"/>
                <a:gd name="T8" fmla="*/ 94 w 213"/>
                <a:gd name="T9" fmla="*/ 13 h 81"/>
                <a:gd name="T10" fmla="*/ 103 w 213"/>
                <a:gd name="T11" fmla="*/ 18 h 81"/>
                <a:gd name="T12" fmla="*/ 111 w 213"/>
                <a:gd name="T13" fmla="*/ 13 h 81"/>
                <a:gd name="T14" fmla="*/ 121 w 213"/>
                <a:gd name="T15" fmla="*/ 12 h 81"/>
                <a:gd name="T16" fmla="*/ 133 w 213"/>
                <a:gd name="T17" fmla="*/ 12 h 81"/>
                <a:gd name="T18" fmla="*/ 149 w 213"/>
                <a:gd name="T19" fmla="*/ 10 h 81"/>
                <a:gd name="T20" fmla="*/ 161 w 213"/>
                <a:gd name="T21" fmla="*/ 4 h 81"/>
                <a:gd name="T22" fmla="*/ 177 w 213"/>
                <a:gd name="T23" fmla="*/ 9 h 81"/>
                <a:gd name="T24" fmla="*/ 194 w 213"/>
                <a:gd name="T25" fmla="*/ 6 h 81"/>
                <a:gd name="T26" fmla="*/ 194 w 213"/>
                <a:gd name="T27" fmla="*/ 17 h 81"/>
                <a:gd name="T28" fmla="*/ 206 w 213"/>
                <a:gd name="T29" fmla="*/ 26 h 81"/>
                <a:gd name="T30" fmla="*/ 206 w 213"/>
                <a:gd name="T31" fmla="*/ 40 h 81"/>
                <a:gd name="T32" fmla="*/ 191 w 213"/>
                <a:gd name="T33" fmla="*/ 50 h 81"/>
                <a:gd name="T34" fmla="*/ 172 w 213"/>
                <a:gd name="T35" fmla="*/ 57 h 81"/>
                <a:gd name="T36" fmla="*/ 152 w 213"/>
                <a:gd name="T37" fmla="*/ 66 h 81"/>
                <a:gd name="T38" fmla="*/ 124 w 213"/>
                <a:gd name="T39" fmla="*/ 74 h 81"/>
                <a:gd name="T40" fmla="*/ 106 w 213"/>
                <a:gd name="T41" fmla="*/ 78 h 81"/>
                <a:gd name="T42" fmla="*/ 84 w 213"/>
                <a:gd name="T43" fmla="*/ 76 h 81"/>
                <a:gd name="T44" fmla="*/ 66 w 213"/>
                <a:gd name="T45" fmla="*/ 70 h 81"/>
                <a:gd name="T46" fmla="*/ 35 w 213"/>
                <a:gd name="T47" fmla="*/ 69 h 81"/>
                <a:gd name="T48" fmla="*/ 32 w 213"/>
                <a:gd name="T49" fmla="*/ 63 h 81"/>
                <a:gd name="T50" fmla="*/ 48 w 213"/>
                <a:gd name="T51" fmla="*/ 54 h 81"/>
                <a:gd name="T52" fmla="*/ 36 w 213"/>
                <a:gd name="T53" fmla="*/ 44 h 81"/>
                <a:gd name="T54" fmla="*/ 14 w 213"/>
                <a:gd name="T55" fmla="*/ 48 h 81"/>
                <a:gd name="T56" fmla="*/ 29 w 213"/>
                <a:gd name="T57" fmla="*/ 38 h 81"/>
                <a:gd name="T58" fmla="*/ 50 w 213"/>
                <a:gd name="T59" fmla="*/ 41 h 81"/>
                <a:gd name="T60" fmla="*/ 41 w 213"/>
                <a:gd name="T61" fmla="*/ 34 h 81"/>
                <a:gd name="T62" fmla="*/ 48 w 213"/>
                <a:gd name="T63" fmla="*/ 29 h 81"/>
                <a:gd name="T64" fmla="*/ 40 w 213"/>
                <a:gd name="T65" fmla="*/ 25 h 81"/>
                <a:gd name="T66" fmla="*/ 14 w 213"/>
                <a:gd name="T67" fmla="*/ 31 h 81"/>
                <a:gd name="T68" fmla="*/ 15 w 213"/>
                <a:gd name="T69" fmla="*/ 24 h 81"/>
                <a:gd name="T70" fmla="*/ 30 w 213"/>
                <a:gd name="T71" fmla="*/ 21 h 81"/>
                <a:gd name="T72" fmla="*/ 28 w 213"/>
                <a:gd name="T73" fmla="*/ 12 h 81"/>
                <a:gd name="T74" fmla="*/ 38 w 213"/>
                <a:gd name="T75" fmla="*/ 15 h 81"/>
                <a:gd name="T76" fmla="*/ 46 w 213"/>
                <a:gd name="T77" fmla="*/ 15 h 81"/>
                <a:gd name="T78" fmla="*/ 39 w 213"/>
                <a:gd name="T79" fmla="*/ 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3" h="81">
                  <a:moveTo>
                    <a:pt x="38" y="4"/>
                  </a:moveTo>
                  <a:cubicBezTo>
                    <a:pt x="45" y="4"/>
                    <a:pt x="47" y="4"/>
                    <a:pt x="49" y="4"/>
                  </a:cubicBezTo>
                  <a:cubicBezTo>
                    <a:pt x="51" y="5"/>
                    <a:pt x="59" y="7"/>
                    <a:pt x="63" y="10"/>
                  </a:cubicBezTo>
                  <a:cubicBezTo>
                    <a:pt x="66" y="14"/>
                    <a:pt x="68" y="12"/>
                    <a:pt x="66" y="17"/>
                  </a:cubicBezTo>
                  <a:cubicBezTo>
                    <a:pt x="64" y="22"/>
                    <a:pt x="61" y="20"/>
                    <a:pt x="64" y="27"/>
                  </a:cubicBezTo>
                  <a:cubicBezTo>
                    <a:pt x="67" y="33"/>
                    <a:pt x="68" y="33"/>
                    <a:pt x="71" y="30"/>
                  </a:cubicBezTo>
                  <a:cubicBezTo>
                    <a:pt x="74" y="27"/>
                    <a:pt x="73" y="19"/>
                    <a:pt x="78" y="23"/>
                  </a:cubicBezTo>
                  <a:cubicBezTo>
                    <a:pt x="83" y="26"/>
                    <a:pt x="82" y="28"/>
                    <a:pt x="85" y="24"/>
                  </a:cubicBezTo>
                  <a:cubicBezTo>
                    <a:pt x="88" y="19"/>
                    <a:pt x="84" y="13"/>
                    <a:pt x="87" y="12"/>
                  </a:cubicBezTo>
                  <a:cubicBezTo>
                    <a:pt x="89" y="12"/>
                    <a:pt x="92" y="9"/>
                    <a:pt x="94" y="13"/>
                  </a:cubicBezTo>
                  <a:cubicBezTo>
                    <a:pt x="96" y="17"/>
                    <a:pt x="97" y="20"/>
                    <a:pt x="100" y="21"/>
                  </a:cubicBezTo>
                  <a:cubicBezTo>
                    <a:pt x="103" y="23"/>
                    <a:pt x="103" y="20"/>
                    <a:pt x="103" y="18"/>
                  </a:cubicBezTo>
                  <a:cubicBezTo>
                    <a:pt x="103" y="18"/>
                    <a:pt x="105" y="10"/>
                    <a:pt x="107" y="11"/>
                  </a:cubicBezTo>
                  <a:cubicBezTo>
                    <a:pt x="108" y="13"/>
                    <a:pt x="110" y="14"/>
                    <a:pt x="111" y="13"/>
                  </a:cubicBezTo>
                  <a:cubicBezTo>
                    <a:pt x="112" y="11"/>
                    <a:pt x="113" y="9"/>
                    <a:pt x="115" y="9"/>
                  </a:cubicBezTo>
                  <a:cubicBezTo>
                    <a:pt x="118" y="9"/>
                    <a:pt x="118" y="6"/>
                    <a:pt x="121" y="12"/>
                  </a:cubicBezTo>
                  <a:cubicBezTo>
                    <a:pt x="125" y="17"/>
                    <a:pt x="127" y="19"/>
                    <a:pt x="127" y="14"/>
                  </a:cubicBezTo>
                  <a:cubicBezTo>
                    <a:pt x="127" y="9"/>
                    <a:pt x="131" y="10"/>
                    <a:pt x="133" y="12"/>
                  </a:cubicBezTo>
                  <a:cubicBezTo>
                    <a:pt x="135" y="14"/>
                    <a:pt x="137" y="17"/>
                    <a:pt x="141" y="14"/>
                  </a:cubicBezTo>
                  <a:cubicBezTo>
                    <a:pt x="145" y="12"/>
                    <a:pt x="145" y="10"/>
                    <a:pt x="149" y="10"/>
                  </a:cubicBezTo>
                  <a:cubicBezTo>
                    <a:pt x="153" y="10"/>
                    <a:pt x="154" y="13"/>
                    <a:pt x="157" y="12"/>
                  </a:cubicBezTo>
                  <a:cubicBezTo>
                    <a:pt x="161" y="10"/>
                    <a:pt x="157" y="8"/>
                    <a:pt x="161" y="4"/>
                  </a:cubicBezTo>
                  <a:cubicBezTo>
                    <a:pt x="164" y="0"/>
                    <a:pt x="161" y="3"/>
                    <a:pt x="169" y="4"/>
                  </a:cubicBezTo>
                  <a:cubicBezTo>
                    <a:pt x="178" y="4"/>
                    <a:pt x="174" y="8"/>
                    <a:pt x="177" y="9"/>
                  </a:cubicBezTo>
                  <a:cubicBezTo>
                    <a:pt x="180" y="9"/>
                    <a:pt x="181" y="8"/>
                    <a:pt x="182" y="8"/>
                  </a:cubicBezTo>
                  <a:cubicBezTo>
                    <a:pt x="183" y="8"/>
                    <a:pt x="196" y="4"/>
                    <a:pt x="194" y="6"/>
                  </a:cubicBezTo>
                  <a:cubicBezTo>
                    <a:pt x="191" y="8"/>
                    <a:pt x="187" y="13"/>
                    <a:pt x="189" y="14"/>
                  </a:cubicBezTo>
                  <a:cubicBezTo>
                    <a:pt x="191" y="14"/>
                    <a:pt x="194" y="15"/>
                    <a:pt x="194" y="17"/>
                  </a:cubicBezTo>
                  <a:cubicBezTo>
                    <a:pt x="194" y="20"/>
                    <a:pt x="200" y="22"/>
                    <a:pt x="200" y="22"/>
                  </a:cubicBezTo>
                  <a:cubicBezTo>
                    <a:pt x="200" y="22"/>
                    <a:pt x="204" y="23"/>
                    <a:pt x="206" y="26"/>
                  </a:cubicBezTo>
                  <a:cubicBezTo>
                    <a:pt x="208" y="29"/>
                    <a:pt x="210" y="26"/>
                    <a:pt x="210" y="31"/>
                  </a:cubicBezTo>
                  <a:cubicBezTo>
                    <a:pt x="210" y="36"/>
                    <a:pt x="213" y="36"/>
                    <a:pt x="206" y="40"/>
                  </a:cubicBezTo>
                  <a:cubicBezTo>
                    <a:pt x="199" y="43"/>
                    <a:pt x="197" y="40"/>
                    <a:pt x="197" y="44"/>
                  </a:cubicBezTo>
                  <a:cubicBezTo>
                    <a:pt x="197" y="47"/>
                    <a:pt x="191" y="47"/>
                    <a:pt x="191" y="50"/>
                  </a:cubicBezTo>
                  <a:cubicBezTo>
                    <a:pt x="190" y="53"/>
                    <a:pt x="189" y="57"/>
                    <a:pt x="183" y="57"/>
                  </a:cubicBezTo>
                  <a:cubicBezTo>
                    <a:pt x="177" y="57"/>
                    <a:pt x="175" y="56"/>
                    <a:pt x="172" y="57"/>
                  </a:cubicBezTo>
                  <a:cubicBezTo>
                    <a:pt x="168" y="59"/>
                    <a:pt x="159" y="57"/>
                    <a:pt x="158" y="60"/>
                  </a:cubicBezTo>
                  <a:cubicBezTo>
                    <a:pt x="158" y="64"/>
                    <a:pt x="155" y="63"/>
                    <a:pt x="152" y="66"/>
                  </a:cubicBezTo>
                  <a:cubicBezTo>
                    <a:pt x="149" y="69"/>
                    <a:pt x="144" y="68"/>
                    <a:pt x="138" y="70"/>
                  </a:cubicBezTo>
                  <a:cubicBezTo>
                    <a:pt x="132" y="72"/>
                    <a:pt x="127" y="72"/>
                    <a:pt x="124" y="74"/>
                  </a:cubicBezTo>
                  <a:cubicBezTo>
                    <a:pt x="121" y="76"/>
                    <a:pt x="116" y="74"/>
                    <a:pt x="115" y="77"/>
                  </a:cubicBezTo>
                  <a:cubicBezTo>
                    <a:pt x="114" y="80"/>
                    <a:pt x="115" y="78"/>
                    <a:pt x="106" y="78"/>
                  </a:cubicBezTo>
                  <a:cubicBezTo>
                    <a:pt x="97" y="79"/>
                    <a:pt x="97" y="81"/>
                    <a:pt x="92" y="79"/>
                  </a:cubicBezTo>
                  <a:cubicBezTo>
                    <a:pt x="86" y="77"/>
                    <a:pt x="92" y="75"/>
                    <a:pt x="84" y="76"/>
                  </a:cubicBezTo>
                  <a:cubicBezTo>
                    <a:pt x="76" y="77"/>
                    <a:pt x="76" y="77"/>
                    <a:pt x="72" y="74"/>
                  </a:cubicBezTo>
                  <a:cubicBezTo>
                    <a:pt x="68" y="70"/>
                    <a:pt x="71" y="70"/>
                    <a:pt x="66" y="70"/>
                  </a:cubicBezTo>
                  <a:cubicBezTo>
                    <a:pt x="60" y="70"/>
                    <a:pt x="61" y="68"/>
                    <a:pt x="52" y="68"/>
                  </a:cubicBezTo>
                  <a:cubicBezTo>
                    <a:pt x="43" y="69"/>
                    <a:pt x="41" y="69"/>
                    <a:pt x="35" y="69"/>
                  </a:cubicBezTo>
                  <a:cubicBezTo>
                    <a:pt x="29" y="68"/>
                    <a:pt x="23" y="67"/>
                    <a:pt x="26" y="65"/>
                  </a:cubicBezTo>
                  <a:cubicBezTo>
                    <a:pt x="29" y="64"/>
                    <a:pt x="27" y="63"/>
                    <a:pt x="32" y="63"/>
                  </a:cubicBezTo>
                  <a:cubicBezTo>
                    <a:pt x="38" y="63"/>
                    <a:pt x="35" y="61"/>
                    <a:pt x="41" y="59"/>
                  </a:cubicBezTo>
                  <a:cubicBezTo>
                    <a:pt x="47" y="56"/>
                    <a:pt x="50" y="57"/>
                    <a:pt x="48" y="54"/>
                  </a:cubicBezTo>
                  <a:cubicBezTo>
                    <a:pt x="46" y="51"/>
                    <a:pt x="50" y="53"/>
                    <a:pt x="45" y="51"/>
                  </a:cubicBezTo>
                  <a:cubicBezTo>
                    <a:pt x="39" y="49"/>
                    <a:pt x="44" y="44"/>
                    <a:pt x="36" y="44"/>
                  </a:cubicBezTo>
                  <a:cubicBezTo>
                    <a:pt x="28" y="44"/>
                    <a:pt x="32" y="44"/>
                    <a:pt x="23" y="45"/>
                  </a:cubicBezTo>
                  <a:cubicBezTo>
                    <a:pt x="15" y="47"/>
                    <a:pt x="17" y="49"/>
                    <a:pt x="14" y="48"/>
                  </a:cubicBezTo>
                  <a:cubicBezTo>
                    <a:pt x="10" y="47"/>
                    <a:pt x="4" y="41"/>
                    <a:pt x="11" y="41"/>
                  </a:cubicBezTo>
                  <a:cubicBezTo>
                    <a:pt x="18" y="41"/>
                    <a:pt x="26" y="38"/>
                    <a:pt x="29" y="38"/>
                  </a:cubicBezTo>
                  <a:cubicBezTo>
                    <a:pt x="32" y="38"/>
                    <a:pt x="37" y="37"/>
                    <a:pt x="39" y="38"/>
                  </a:cubicBezTo>
                  <a:cubicBezTo>
                    <a:pt x="41" y="40"/>
                    <a:pt x="48" y="42"/>
                    <a:pt x="50" y="41"/>
                  </a:cubicBezTo>
                  <a:cubicBezTo>
                    <a:pt x="52" y="40"/>
                    <a:pt x="61" y="39"/>
                    <a:pt x="52" y="37"/>
                  </a:cubicBezTo>
                  <a:cubicBezTo>
                    <a:pt x="42" y="34"/>
                    <a:pt x="41" y="34"/>
                    <a:pt x="41" y="34"/>
                  </a:cubicBezTo>
                  <a:cubicBezTo>
                    <a:pt x="41" y="34"/>
                    <a:pt x="38" y="32"/>
                    <a:pt x="41" y="31"/>
                  </a:cubicBezTo>
                  <a:cubicBezTo>
                    <a:pt x="44" y="31"/>
                    <a:pt x="44" y="30"/>
                    <a:pt x="48" y="29"/>
                  </a:cubicBezTo>
                  <a:cubicBezTo>
                    <a:pt x="51" y="28"/>
                    <a:pt x="56" y="27"/>
                    <a:pt x="52" y="26"/>
                  </a:cubicBezTo>
                  <a:cubicBezTo>
                    <a:pt x="47" y="25"/>
                    <a:pt x="46" y="24"/>
                    <a:pt x="40" y="25"/>
                  </a:cubicBezTo>
                  <a:cubicBezTo>
                    <a:pt x="33" y="26"/>
                    <a:pt x="31" y="26"/>
                    <a:pt x="25" y="28"/>
                  </a:cubicBezTo>
                  <a:cubicBezTo>
                    <a:pt x="19" y="30"/>
                    <a:pt x="20" y="31"/>
                    <a:pt x="14" y="31"/>
                  </a:cubicBezTo>
                  <a:cubicBezTo>
                    <a:pt x="8" y="31"/>
                    <a:pt x="0" y="26"/>
                    <a:pt x="7" y="26"/>
                  </a:cubicBezTo>
                  <a:cubicBezTo>
                    <a:pt x="13" y="25"/>
                    <a:pt x="15" y="27"/>
                    <a:pt x="15" y="24"/>
                  </a:cubicBezTo>
                  <a:cubicBezTo>
                    <a:pt x="15" y="20"/>
                    <a:pt x="23" y="22"/>
                    <a:pt x="25" y="23"/>
                  </a:cubicBezTo>
                  <a:cubicBezTo>
                    <a:pt x="27" y="23"/>
                    <a:pt x="35" y="23"/>
                    <a:pt x="30" y="21"/>
                  </a:cubicBezTo>
                  <a:cubicBezTo>
                    <a:pt x="26" y="19"/>
                    <a:pt x="22" y="18"/>
                    <a:pt x="23" y="16"/>
                  </a:cubicBezTo>
                  <a:cubicBezTo>
                    <a:pt x="25" y="14"/>
                    <a:pt x="26" y="12"/>
                    <a:pt x="28" y="12"/>
                  </a:cubicBezTo>
                  <a:cubicBezTo>
                    <a:pt x="31" y="11"/>
                    <a:pt x="33" y="9"/>
                    <a:pt x="34" y="10"/>
                  </a:cubicBezTo>
                  <a:cubicBezTo>
                    <a:pt x="35" y="11"/>
                    <a:pt x="36" y="12"/>
                    <a:pt x="38" y="15"/>
                  </a:cubicBezTo>
                  <a:cubicBezTo>
                    <a:pt x="40" y="17"/>
                    <a:pt x="43" y="17"/>
                    <a:pt x="45" y="17"/>
                  </a:cubicBezTo>
                  <a:cubicBezTo>
                    <a:pt x="46" y="17"/>
                    <a:pt x="48" y="17"/>
                    <a:pt x="46" y="15"/>
                  </a:cubicBezTo>
                  <a:cubicBezTo>
                    <a:pt x="43" y="13"/>
                    <a:pt x="42" y="12"/>
                    <a:pt x="42" y="10"/>
                  </a:cubicBezTo>
                  <a:cubicBezTo>
                    <a:pt x="41" y="9"/>
                    <a:pt x="41" y="9"/>
                    <a:pt x="39" y="7"/>
                  </a:cubicBezTo>
                  <a:cubicBezTo>
                    <a:pt x="36" y="6"/>
                    <a:pt x="37" y="5"/>
                    <a:pt x="38"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79" name="Freeform 1144">
              <a:extLst>
                <a:ext uri="{FF2B5EF4-FFF2-40B4-BE49-F238E27FC236}">
                  <a16:creationId xmlns:a16="http://schemas.microsoft.com/office/drawing/2014/main" id="{A0136091-20CD-D247-B8D6-5756E72125C4}"/>
                </a:ext>
              </a:extLst>
            </p:cNvPr>
            <p:cNvSpPr>
              <a:spLocks/>
            </p:cNvSpPr>
            <p:nvPr/>
          </p:nvSpPr>
          <p:spPr bwMode="auto">
            <a:xfrm>
              <a:off x="4070363" y="1621293"/>
              <a:ext cx="14288" cy="15875"/>
            </a:xfrm>
            <a:custGeom>
              <a:avLst/>
              <a:gdLst>
                <a:gd name="T0" fmla="*/ 1 w 15"/>
                <a:gd name="T1" fmla="*/ 6 h 17"/>
                <a:gd name="T2" fmla="*/ 4 w 15"/>
                <a:gd name="T3" fmla="*/ 13 h 17"/>
                <a:gd name="T4" fmla="*/ 9 w 15"/>
                <a:gd name="T5" fmla="*/ 14 h 17"/>
                <a:gd name="T6" fmla="*/ 10 w 15"/>
                <a:gd name="T7" fmla="*/ 8 h 17"/>
                <a:gd name="T8" fmla="*/ 11 w 15"/>
                <a:gd name="T9" fmla="*/ 4 h 17"/>
                <a:gd name="T10" fmla="*/ 3 w 15"/>
                <a:gd name="T11" fmla="*/ 1 h 17"/>
                <a:gd name="T12" fmla="*/ 1 w 15"/>
                <a:gd name="T13" fmla="*/ 6 h 17"/>
              </a:gdLst>
              <a:ahLst/>
              <a:cxnLst>
                <a:cxn ang="0">
                  <a:pos x="T0" y="T1"/>
                </a:cxn>
                <a:cxn ang="0">
                  <a:pos x="T2" y="T3"/>
                </a:cxn>
                <a:cxn ang="0">
                  <a:pos x="T4" y="T5"/>
                </a:cxn>
                <a:cxn ang="0">
                  <a:pos x="T6" y="T7"/>
                </a:cxn>
                <a:cxn ang="0">
                  <a:pos x="T8" y="T9"/>
                </a:cxn>
                <a:cxn ang="0">
                  <a:pos x="T10" y="T11"/>
                </a:cxn>
                <a:cxn ang="0">
                  <a:pos x="T12" y="T13"/>
                </a:cxn>
              </a:cxnLst>
              <a:rect l="0" t="0" r="r" b="b"/>
              <a:pathLst>
                <a:path w="15" h="17">
                  <a:moveTo>
                    <a:pt x="1" y="6"/>
                  </a:moveTo>
                  <a:cubicBezTo>
                    <a:pt x="1" y="9"/>
                    <a:pt x="4" y="8"/>
                    <a:pt x="4" y="13"/>
                  </a:cubicBezTo>
                  <a:cubicBezTo>
                    <a:pt x="4" y="17"/>
                    <a:pt x="8" y="17"/>
                    <a:pt x="9" y="14"/>
                  </a:cubicBezTo>
                  <a:cubicBezTo>
                    <a:pt x="9" y="11"/>
                    <a:pt x="9" y="10"/>
                    <a:pt x="10" y="8"/>
                  </a:cubicBezTo>
                  <a:cubicBezTo>
                    <a:pt x="11" y="5"/>
                    <a:pt x="15" y="5"/>
                    <a:pt x="11" y="4"/>
                  </a:cubicBezTo>
                  <a:cubicBezTo>
                    <a:pt x="7" y="2"/>
                    <a:pt x="5" y="0"/>
                    <a:pt x="3" y="1"/>
                  </a:cubicBezTo>
                  <a:cubicBezTo>
                    <a:pt x="2" y="3"/>
                    <a:pt x="0" y="5"/>
                    <a:pt x="1" y="6"/>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80" name="Freeform 1145">
              <a:extLst>
                <a:ext uri="{FF2B5EF4-FFF2-40B4-BE49-F238E27FC236}">
                  <a16:creationId xmlns:a16="http://schemas.microsoft.com/office/drawing/2014/main" id="{F864CA91-CE04-7A47-94F9-0D5EF70E6403}"/>
                </a:ext>
              </a:extLst>
            </p:cNvPr>
            <p:cNvSpPr>
              <a:spLocks/>
            </p:cNvSpPr>
            <p:nvPr/>
          </p:nvSpPr>
          <p:spPr bwMode="auto">
            <a:xfrm>
              <a:off x="4127513" y="1597481"/>
              <a:ext cx="17463" cy="9525"/>
            </a:xfrm>
            <a:custGeom>
              <a:avLst/>
              <a:gdLst>
                <a:gd name="T0" fmla="*/ 4 w 18"/>
                <a:gd name="T1" fmla="*/ 1 h 9"/>
                <a:gd name="T2" fmla="*/ 12 w 18"/>
                <a:gd name="T3" fmla="*/ 2 h 9"/>
                <a:gd name="T4" fmla="*/ 17 w 18"/>
                <a:gd name="T5" fmla="*/ 4 h 9"/>
                <a:gd name="T6" fmla="*/ 15 w 18"/>
                <a:gd name="T7" fmla="*/ 8 h 9"/>
                <a:gd name="T8" fmla="*/ 10 w 18"/>
                <a:gd name="T9" fmla="*/ 8 h 9"/>
                <a:gd name="T10" fmla="*/ 0 w 18"/>
                <a:gd name="T11" fmla="*/ 5 h 9"/>
                <a:gd name="T12" fmla="*/ 4 w 18"/>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8" h="9">
                  <a:moveTo>
                    <a:pt x="4" y="1"/>
                  </a:moveTo>
                  <a:cubicBezTo>
                    <a:pt x="7" y="1"/>
                    <a:pt x="10" y="2"/>
                    <a:pt x="12" y="2"/>
                  </a:cubicBezTo>
                  <a:cubicBezTo>
                    <a:pt x="15" y="3"/>
                    <a:pt x="17" y="2"/>
                    <a:pt x="17" y="4"/>
                  </a:cubicBezTo>
                  <a:cubicBezTo>
                    <a:pt x="16" y="7"/>
                    <a:pt x="18" y="8"/>
                    <a:pt x="15" y="8"/>
                  </a:cubicBezTo>
                  <a:cubicBezTo>
                    <a:pt x="12" y="8"/>
                    <a:pt x="15" y="9"/>
                    <a:pt x="10" y="8"/>
                  </a:cubicBezTo>
                  <a:cubicBezTo>
                    <a:pt x="4" y="7"/>
                    <a:pt x="0" y="6"/>
                    <a:pt x="0" y="5"/>
                  </a:cubicBezTo>
                  <a:cubicBezTo>
                    <a:pt x="1" y="3"/>
                    <a:pt x="2" y="0"/>
                    <a:pt x="4" y="1"/>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81" name="Freeform 1146">
              <a:extLst>
                <a:ext uri="{FF2B5EF4-FFF2-40B4-BE49-F238E27FC236}">
                  <a16:creationId xmlns:a16="http://schemas.microsoft.com/office/drawing/2014/main" id="{3E8202DE-BC8C-3840-A9E2-978CB4346794}"/>
                </a:ext>
              </a:extLst>
            </p:cNvPr>
            <p:cNvSpPr>
              <a:spLocks/>
            </p:cNvSpPr>
            <p:nvPr/>
          </p:nvSpPr>
          <p:spPr bwMode="auto">
            <a:xfrm>
              <a:off x="3848112" y="1500643"/>
              <a:ext cx="274638" cy="206375"/>
            </a:xfrm>
            <a:custGeom>
              <a:avLst/>
              <a:gdLst>
                <a:gd name="T0" fmla="*/ 280 w 289"/>
                <a:gd name="T1" fmla="*/ 57 h 216"/>
                <a:gd name="T2" fmla="*/ 260 w 289"/>
                <a:gd name="T3" fmla="*/ 68 h 216"/>
                <a:gd name="T4" fmla="*/ 235 w 289"/>
                <a:gd name="T5" fmla="*/ 76 h 216"/>
                <a:gd name="T6" fmla="*/ 227 w 289"/>
                <a:gd name="T7" fmla="*/ 88 h 216"/>
                <a:gd name="T8" fmla="*/ 213 w 289"/>
                <a:gd name="T9" fmla="*/ 101 h 216"/>
                <a:gd name="T10" fmla="*/ 200 w 289"/>
                <a:gd name="T11" fmla="*/ 118 h 216"/>
                <a:gd name="T12" fmla="*/ 210 w 289"/>
                <a:gd name="T13" fmla="*/ 141 h 216"/>
                <a:gd name="T14" fmla="*/ 193 w 289"/>
                <a:gd name="T15" fmla="*/ 151 h 216"/>
                <a:gd name="T16" fmla="*/ 188 w 289"/>
                <a:gd name="T17" fmla="*/ 173 h 216"/>
                <a:gd name="T18" fmla="*/ 168 w 289"/>
                <a:gd name="T19" fmla="*/ 179 h 216"/>
                <a:gd name="T20" fmla="*/ 157 w 289"/>
                <a:gd name="T21" fmla="*/ 196 h 216"/>
                <a:gd name="T22" fmla="*/ 136 w 289"/>
                <a:gd name="T23" fmla="*/ 197 h 216"/>
                <a:gd name="T24" fmla="*/ 110 w 289"/>
                <a:gd name="T25" fmla="*/ 198 h 216"/>
                <a:gd name="T26" fmla="*/ 86 w 289"/>
                <a:gd name="T27" fmla="*/ 204 h 216"/>
                <a:gd name="T28" fmla="*/ 72 w 289"/>
                <a:gd name="T29" fmla="*/ 215 h 216"/>
                <a:gd name="T30" fmla="*/ 56 w 289"/>
                <a:gd name="T31" fmla="*/ 202 h 216"/>
                <a:gd name="T32" fmla="*/ 54 w 289"/>
                <a:gd name="T33" fmla="*/ 191 h 216"/>
                <a:gd name="T34" fmla="*/ 34 w 289"/>
                <a:gd name="T35" fmla="*/ 183 h 216"/>
                <a:gd name="T36" fmla="*/ 30 w 289"/>
                <a:gd name="T37" fmla="*/ 177 h 216"/>
                <a:gd name="T38" fmla="*/ 40 w 289"/>
                <a:gd name="T39" fmla="*/ 160 h 216"/>
                <a:gd name="T40" fmla="*/ 36 w 289"/>
                <a:gd name="T41" fmla="*/ 146 h 216"/>
                <a:gd name="T42" fmla="*/ 44 w 289"/>
                <a:gd name="T43" fmla="*/ 131 h 216"/>
                <a:gd name="T44" fmla="*/ 37 w 289"/>
                <a:gd name="T45" fmla="*/ 112 h 216"/>
                <a:gd name="T46" fmla="*/ 51 w 289"/>
                <a:gd name="T47" fmla="*/ 95 h 216"/>
                <a:gd name="T48" fmla="*/ 56 w 289"/>
                <a:gd name="T49" fmla="*/ 73 h 216"/>
                <a:gd name="T50" fmla="*/ 67 w 289"/>
                <a:gd name="T51" fmla="*/ 58 h 216"/>
                <a:gd name="T52" fmla="*/ 56 w 289"/>
                <a:gd name="T53" fmla="*/ 49 h 216"/>
                <a:gd name="T54" fmla="*/ 39 w 289"/>
                <a:gd name="T55" fmla="*/ 53 h 216"/>
                <a:gd name="T56" fmla="*/ 25 w 289"/>
                <a:gd name="T57" fmla="*/ 46 h 216"/>
                <a:gd name="T58" fmla="*/ 13 w 289"/>
                <a:gd name="T59" fmla="*/ 50 h 216"/>
                <a:gd name="T60" fmla="*/ 10 w 289"/>
                <a:gd name="T61" fmla="*/ 43 h 216"/>
                <a:gd name="T62" fmla="*/ 8 w 289"/>
                <a:gd name="T63" fmla="*/ 34 h 216"/>
                <a:gd name="T64" fmla="*/ 3 w 289"/>
                <a:gd name="T65" fmla="*/ 18 h 216"/>
                <a:gd name="T66" fmla="*/ 25 w 289"/>
                <a:gd name="T67" fmla="*/ 11 h 216"/>
                <a:gd name="T68" fmla="*/ 48 w 289"/>
                <a:gd name="T69" fmla="*/ 3 h 216"/>
                <a:gd name="T70" fmla="*/ 72 w 289"/>
                <a:gd name="T71" fmla="*/ 5 h 216"/>
                <a:gd name="T72" fmla="*/ 106 w 289"/>
                <a:gd name="T73" fmla="*/ 8 h 216"/>
                <a:gd name="T74" fmla="*/ 142 w 289"/>
                <a:gd name="T75" fmla="*/ 12 h 216"/>
                <a:gd name="T76" fmla="*/ 166 w 289"/>
                <a:gd name="T77" fmla="*/ 11 h 216"/>
                <a:gd name="T78" fmla="*/ 182 w 289"/>
                <a:gd name="T79" fmla="*/ 16 h 216"/>
                <a:gd name="T80" fmla="*/ 193 w 289"/>
                <a:gd name="T81" fmla="*/ 21 h 216"/>
                <a:gd name="T82" fmla="*/ 213 w 289"/>
                <a:gd name="T83" fmla="*/ 29 h 216"/>
                <a:gd name="T84" fmla="*/ 233 w 289"/>
                <a:gd name="T85" fmla="*/ 26 h 216"/>
                <a:gd name="T86" fmla="*/ 242 w 289"/>
                <a:gd name="T87" fmla="*/ 33 h 216"/>
                <a:gd name="T88" fmla="*/ 252 w 289"/>
                <a:gd name="T89" fmla="*/ 39 h 216"/>
                <a:gd name="T90" fmla="*/ 271 w 289"/>
                <a:gd name="T91" fmla="*/ 39 h 216"/>
                <a:gd name="T92" fmla="*/ 285 w 289"/>
                <a:gd name="T93" fmla="*/ 35 h 216"/>
                <a:gd name="T94" fmla="*/ 283 w 289"/>
                <a:gd name="T95" fmla="*/ 47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216">
                  <a:moveTo>
                    <a:pt x="283" y="47"/>
                  </a:moveTo>
                  <a:cubicBezTo>
                    <a:pt x="283" y="53"/>
                    <a:pt x="289" y="55"/>
                    <a:pt x="280" y="57"/>
                  </a:cubicBezTo>
                  <a:cubicBezTo>
                    <a:pt x="272" y="59"/>
                    <a:pt x="276" y="59"/>
                    <a:pt x="271" y="61"/>
                  </a:cubicBezTo>
                  <a:cubicBezTo>
                    <a:pt x="265" y="64"/>
                    <a:pt x="261" y="65"/>
                    <a:pt x="260" y="68"/>
                  </a:cubicBezTo>
                  <a:cubicBezTo>
                    <a:pt x="259" y="71"/>
                    <a:pt x="256" y="72"/>
                    <a:pt x="249" y="72"/>
                  </a:cubicBezTo>
                  <a:cubicBezTo>
                    <a:pt x="242" y="72"/>
                    <a:pt x="239" y="73"/>
                    <a:pt x="235" y="76"/>
                  </a:cubicBezTo>
                  <a:cubicBezTo>
                    <a:pt x="232" y="78"/>
                    <a:pt x="228" y="77"/>
                    <a:pt x="228" y="81"/>
                  </a:cubicBezTo>
                  <a:cubicBezTo>
                    <a:pt x="228" y="84"/>
                    <a:pt x="232" y="85"/>
                    <a:pt x="227" y="88"/>
                  </a:cubicBezTo>
                  <a:cubicBezTo>
                    <a:pt x="222" y="91"/>
                    <a:pt x="220" y="91"/>
                    <a:pt x="218" y="94"/>
                  </a:cubicBezTo>
                  <a:cubicBezTo>
                    <a:pt x="216" y="98"/>
                    <a:pt x="213" y="98"/>
                    <a:pt x="213" y="101"/>
                  </a:cubicBezTo>
                  <a:cubicBezTo>
                    <a:pt x="213" y="104"/>
                    <a:pt x="209" y="103"/>
                    <a:pt x="206" y="107"/>
                  </a:cubicBezTo>
                  <a:cubicBezTo>
                    <a:pt x="204" y="111"/>
                    <a:pt x="200" y="114"/>
                    <a:pt x="200" y="118"/>
                  </a:cubicBezTo>
                  <a:cubicBezTo>
                    <a:pt x="200" y="123"/>
                    <a:pt x="201" y="123"/>
                    <a:pt x="205" y="129"/>
                  </a:cubicBezTo>
                  <a:cubicBezTo>
                    <a:pt x="208" y="135"/>
                    <a:pt x="210" y="137"/>
                    <a:pt x="210" y="141"/>
                  </a:cubicBezTo>
                  <a:cubicBezTo>
                    <a:pt x="210" y="144"/>
                    <a:pt x="211" y="143"/>
                    <a:pt x="206" y="146"/>
                  </a:cubicBezTo>
                  <a:cubicBezTo>
                    <a:pt x="200" y="149"/>
                    <a:pt x="197" y="146"/>
                    <a:pt x="193" y="151"/>
                  </a:cubicBezTo>
                  <a:cubicBezTo>
                    <a:pt x="189" y="157"/>
                    <a:pt x="186" y="160"/>
                    <a:pt x="187" y="164"/>
                  </a:cubicBezTo>
                  <a:cubicBezTo>
                    <a:pt x="189" y="169"/>
                    <a:pt x="196" y="172"/>
                    <a:pt x="188" y="173"/>
                  </a:cubicBezTo>
                  <a:cubicBezTo>
                    <a:pt x="181" y="173"/>
                    <a:pt x="177" y="174"/>
                    <a:pt x="175" y="175"/>
                  </a:cubicBezTo>
                  <a:cubicBezTo>
                    <a:pt x="173" y="176"/>
                    <a:pt x="171" y="175"/>
                    <a:pt x="168" y="179"/>
                  </a:cubicBezTo>
                  <a:cubicBezTo>
                    <a:pt x="164" y="184"/>
                    <a:pt x="161" y="183"/>
                    <a:pt x="160" y="188"/>
                  </a:cubicBezTo>
                  <a:cubicBezTo>
                    <a:pt x="160" y="193"/>
                    <a:pt x="162" y="196"/>
                    <a:pt x="157" y="196"/>
                  </a:cubicBezTo>
                  <a:cubicBezTo>
                    <a:pt x="151" y="196"/>
                    <a:pt x="152" y="190"/>
                    <a:pt x="148" y="195"/>
                  </a:cubicBezTo>
                  <a:cubicBezTo>
                    <a:pt x="143" y="199"/>
                    <a:pt x="140" y="199"/>
                    <a:pt x="136" y="197"/>
                  </a:cubicBezTo>
                  <a:cubicBezTo>
                    <a:pt x="133" y="196"/>
                    <a:pt x="136" y="196"/>
                    <a:pt x="127" y="197"/>
                  </a:cubicBezTo>
                  <a:cubicBezTo>
                    <a:pt x="119" y="197"/>
                    <a:pt x="114" y="197"/>
                    <a:pt x="110" y="198"/>
                  </a:cubicBezTo>
                  <a:cubicBezTo>
                    <a:pt x="106" y="199"/>
                    <a:pt x="100" y="197"/>
                    <a:pt x="97" y="200"/>
                  </a:cubicBezTo>
                  <a:cubicBezTo>
                    <a:pt x="94" y="203"/>
                    <a:pt x="86" y="204"/>
                    <a:pt x="86" y="204"/>
                  </a:cubicBezTo>
                  <a:cubicBezTo>
                    <a:pt x="86" y="204"/>
                    <a:pt x="82" y="206"/>
                    <a:pt x="80" y="208"/>
                  </a:cubicBezTo>
                  <a:cubicBezTo>
                    <a:pt x="78" y="211"/>
                    <a:pt x="78" y="214"/>
                    <a:pt x="72" y="215"/>
                  </a:cubicBezTo>
                  <a:cubicBezTo>
                    <a:pt x="67" y="215"/>
                    <a:pt x="64" y="216"/>
                    <a:pt x="61" y="211"/>
                  </a:cubicBezTo>
                  <a:cubicBezTo>
                    <a:pt x="58" y="206"/>
                    <a:pt x="58" y="205"/>
                    <a:pt x="56" y="202"/>
                  </a:cubicBezTo>
                  <a:cubicBezTo>
                    <a:pt x="54" y="199"/>
                    <a:pt x="54" y="198"/>
                    <a:pt x="54" y="196"/>
                  </a:cubicBezTo>
                  <a:cubicBezTo>
                    <a:pt x="55" y="194"/>
                    <a:pt x="59" y="194"/>
                    <a:pt x="54" y="191"/>
                  </a:cubicBezTo>
                  <a:cubicBezTo>
                    <a:pt x="50" y="188"/>
                    <a:pt x="46" y="185"/>
                    <a:pt x="44" y="184"/>
                  </a:cubicBezTo>
                  <a:cubicBezTo>
                    <a:pt x="43" y="183"/>
                    <a:pt x="39" y="180"/>
                    <a:pt x="34" y="183"/>
                  </a:cubicBezTo>
                  <a:cubicBezTo>
                    <a:pt x="33" y="183"/>
                    <a:pt x="33" y="183"/>
                    <a:pt x="33" y="183"/>
                  </a:cubicBezTo>
                  <a:cubicBezTo>
                    <a:pt x="32" y="182"/>
                    <a:pt x="30" y="181"/>
                    <a:pt x="30" y="177"/>
                  </a:cubicBezTo>
                  <a:cubicBezTo>
                    <a:pt x="30" y="171"/>
                    <a:pt x="25" y="171"/>
                    <a:pt x="30" y="168"/>
                  </a:cubicBezTo>
                  <a:cubicBezTo>
                    <a:pt x="36" y="165"/>
                    <a:pt x="38" y="164"/>
                    <a:pt x="40" y="160"/>
                  </a:cubicBezTo>
                  <a:cubicBezTo>
                    <a:pt x="41" y="157"/>
                    <a:pt x="47" y="156"/>
                    <a:pt x="42" y="154"/>
                  </a:cubicBezTo>
                  <a:cubicBezTo>
                    <a:pt x="38" y="151"/>
                    <a:pt x="35" y="151"/>
                    <a:pt x="36" y="146"/>
                  </a:cubicBezTo>
                  <a:cubicBezTo>
                    <a:pt x="36" y="141"/>
                    <a:pt x="33" y="144"/>
                    <a:pt x="37" y="139"/>
                  </a:cubicBezTo>
                  <a:cubicBezTo>
                    <a:pt x="41" y="134"/>
                    <a:pt x="44" y="135"/>
                    <a:pt x="44" y="131"/>
                  </a:cubicBezTo>
                  <a:cubicBezTo>
                    <a:pt x="43" y="126"/>
                    <a:pt x="44" y="123"/>
                    <a:pt x="41" y="120"/>
                  </a:cubicBezTo>
                  <a:cubicBezTo>
                    <a:pt x="39" y="118"/>
                    <a:pt x="28" y="112"/>
                    <a:pt x="37" y="112"/>
                  </a:cubicBezTo>
                  <a:cubicBezTo>
                    <a:pt x="47" y="112"/>
                    <a:pt x="51" y="109"/>
                    <a:pt x="51" y="104"/>
                  </a:cubicBezTo>
                  <a:cubicBezTo>
                    <a:pt x="51" y="99"/>
                    <a:pt x="48" y="99"/>
                    <a:pt x="51" y="95"/>
                  </a:cubicBezTo>
                  <a:cubicBezTo>
                    <a:pt x="53" y="91"/>
                    <a:pt x="51" y="87"/>
                    <a:pt x="51" y="83"/>
                  </a:cubicBezTo>
                  <a:cubicBezTo>
                    <a:pt x="51" y="80"/>
                    <a:pt x="53" y="75"/>
                    <a:pt x="56" y="73"/>
                  </a:cubicBezTo>
                  <a:cubicBezTo>
                    <a:pt x="60" y="71"/>
                    <a:pt x="59" y="68"/>
                    <a:pt x="64" y="66"/>
                  </a:cubicBezTo>
                  <a:cubicBezTo>
                    <a:pt x="68" y="63"/>
                    <a:pt x="70" y="59"/>
                    <a:pt x="67" y="58"/>
                  </a:cubicBezTo>
                  <a:cubicBezTo>
                    <a:pt x="64" y="58"/>
                    <a:pt x="61" y="55"/>
                    <a:pt x="61" y="55"/>
                  </a:cubicBezTo>
                  <a:cubicBezTo>
                    <a:pt x="61" y="55"/>
                    <a:pt x="59" y="50"/>
                    <a:pt x="56" y="49"/>
                  </a:cubicBezTo>
                  <a:cubicBezTo>
                    <a:pt x="53" y="49"/>
                    <a:pt x="47" y="47"/>
                    <a:pt x="47" y="49"/>
                  </a:cubicBezTo>
                  <a:cubicBezTo>
                    <a:pt x="46" y="52"/>
                    <a:pt x="46" y="53"/>
                    <a:pt x="39" y="53"/>
                  </a:cubicBezTo>
                  <a:cubicBezTo>
                    <a:pt x="31" y="53"/>
                    <a:pt x="21" y="55"/>
                    <a:pt x="24" y="53"/>
                  </a:cubicBezTo>
                  <a:cubicBezTo>
                    <a:pt x="26" y="50"/>
                    <a:pt x="27" y="46"/>
                    <a:pt x="25" y="46"/>
                  </a:cubicBezTo>
                  <a:cubicBezTo>
                    <a:pt x="22" y="46"/>
                    <a:pt x="21" y="46"/>
                    <a:pt x="19" y="47"/>
                  </a:cubicBezTo>
                  <a:cubicBezTo>
                    <a:pt x="17" y="48"/>
                    <a:pt x="14" y="48"/>
                    <a:pt x="13" y="50"/>
                  </a:cubicBezTo>
                  <a:cubicBezTo>
                    <a:pt x="12" y="50"/>
                    <a:pt x="10" y="51"/>
                    <a:pt x="8" y="51"/>
                  </a:cubicBezTo>
                  <a:cubicBezTo>
                    <a:pt x="8" y="46"/>
                    <a:pt x="7" y="44"/>
                    <a:pt x="10" y="43"/>
                  </a:cubicBezTo>
                  <a:cubicBezTo>
                    <a:pt x="13" y="41"/>
                    <a:pt x="18" y="41"/>
                    <a:pt x="15" y="39"/>
                  </a:cubicBezTo>
                  <a:cubicBezTo>
                    <a:pt x="12" y="37"/>
                    <a:pt x="10" y="37"/>
                    <a:pt x="8" y="34"/>
                  </a:cubicBezTo>
                  <a:cubicBezTo>
                    <a:pt x="6" y="32"/>
                    <a:pt x="8" y="35"/>
                    <a:pt x="5" y="29"/>
                  </a:cubicBezTo>
                  <a:cubicBezTo>
                    <a:pt x="2" y="23"/>
                    <a:pt x="0" y="21"/>
                    <a:pt x="3" y="18"/>
                  </a:cubicBezTo>
                  <a:cubicBezTo>
                    <a:pt x="7" y="16"/>
                    <a:pt x="6" y="11"/>
                    <a:pt x="12" y="11"/>
                  </a:cubicBezTo>
                  <a:cubicBezTo>
                    <a:pt x="18" y="11"/>
                    <a:pt x="24" y="19"/>
                    <a:pt x="25" y="11"/>
                  </a:cubicBezTo>
                  <a:cubicBezTo>
                    <a:pt x="27" y="3"/>
                    <a:pt x="25" y="1"/>
                    <a:pt x="33" y="1"/>
                  </a:cubicBezTo>
                  <a:cubicBezTo>
                    <a:pt x="40" y="0"/>
                    <a:pt x="43" y="2"/>
                    <a:pt x="48" y="3"/>
                  </a:cubicBezTo>
                  <a:cubicBezTo>
                    <a:pt x="53" y="5"/>
                    <a:pt x="51" y="6"/>
                    <a:pt x="59" y="6"/>
                  </a:cubicBezTo>
                  <a:cubicBezTo>
                    <a:pt x="66" y="5"/>
                    <a:pt x="64" y="5"/>
                    <a:pt x="72" y="5"/>
                  </a:cubicBezTo>
                  <a:cubicBezTo>
                    <a:pt x="79" y="6"/>
                    <a:pt x="71" y="3"/>
                    <a:pt x="84" y="5"/>
                  </a:cubicBezTo>
                  <a:cubicBezTo>
                    <a:pt x="97" y="7"/>
                    <a:pt x="94" y="5"/>
                    <a:pt x="106" y="8"/>
                  </a:cubicBezTo>
                  <a:cubicBezTo>
                    <a:pt x="118" y="11"/>
                    <a:pt x="115" y="10"/>
                    <a:pt x="126" y="9"/>
                  </a:cubicBezTo>
                  <a:cubicBezTo>
                    <a:pt x="137" y="8"/>
                    <a:pt x="136" y="12"/>
                    <a:pt x="142" y="12"/>
                  </a:cubicBezTo>
                  <a:cubicBezTo>
                    <a:pt x="148" y="12"/>
                    <a:pt x="147" y="8"/>
                    <a:pt x="154" y="9"/>
                  </a:cubicBezTo>
                  <a:cubicBezTo>
                    <a:pt x="161" y="11"/>
                    <a:pt x="158" y="13"/>
                    <a:pt x="166" y="11"/>
                  </a:cubicBezTo>
                  <a:cubicBezTo>
                    <a:pt x="167" y="12"/>
                    <a:pt x="168" y="13"/>
                    <a:pt x="173" y="13"/>
                  </a:cubicBezTo>
                  <a:cubicBezTo>
                    <a:pt x="181" y="15"/>
                    <a:pt x="182" y="13"/>
                    <a:pt x="182" y="16"/>
                  </a:cubicBezTo>
                  <a:cubicBezTo>
                    <a:pt x="182" y="19"/>
                    <a:pt x="182" y="18"/>
                    <a:pt x="186" y="19"/>
                  </a:cubicBezTo>
                  <a:cubicBezTo>
                    <a:pt x="190" y="21"/>
                    <a:pt x="184" y="16"/>
                    <a:pt x="193" y="21"/>
                  </a:cubicBezTo>
                  <a:cubicBezTo>
                    <a:pt x="201" y="26"/>
                    <a:pt x="200" y="24"/>
                    <a:pt x="204" y="26"/>
                  </a:cubicBezTo>
                  <a:cubicBezTo>
                    <a:pt x="207" y="29"/>
                    <a:pt x="210" y="29"/>
                    <a:pt x="213" y="29"/>
                  </a:cubicBezTo>
                  <a:cubicBezTo>
                    <a:pt x="216" y="29"/>
                    <a:pt x="225" y="29"/>
                    <a:pt x="226" y="29"/>
                  </a:cubicBezTo>
                  <a:cubicBezTo>
                    <a:pt x="228" y="30"/>
                    <a:pt x="231" y="24"/>
                    <a:pt x="233" y="26"/>
                  </a:cubicBezTo>
                  <a:cubicBezTo>
                    <a:pt x="234" y="27"/>
                    <a:pt x="239" y="29"/>
                    <a:pt x="243" y="32"/>
                  </a:cubicBezTo>
                  <a:cubicBezTo>
                    <a:pt x="242" y="32"/>
                    <a:pt x="242" y="32"/>
                    <a:pt x="242" y="33"/>
                  </a:cubicBezTo>
                  <a:cubicBezTo>
                    <a:pt x="241" y="34"/>
                    <a:pt x="242" y="35"/>
                    <a:pt x="243" y="37"/>
                  </a:cubicBezTo>
                  <a:cubicBezTo>
                    <a:pt x="244" y="39"/>
                    <a:pt x="250" y="39"/>
                    <a:pt x="252" y="39"/>
                  </a:cubicBezTo>
                  <a:cubicBezTo>
                    <a:pt x="254" y="39"/>
                    <a:pt x="254" y="37"/>
                    <a:pt x="254" y="36"/>
                  </a:cubicBezTo>
                  <a:cubicBezTo>
                    <a:pt x="264" y="39"/>
                    <a:pt x="267" y="39"/>
                    <a:pt x="271" y="39"/>
                  </a:cubicBezTo>
                  <a:cubicBezTo>
                    <a:pt x="276" y="38"/>
                    <a:pt x="279" y="37"/>
                    <a:pt x="281" y="37"/>
                  </a:cubicBezTo>
                  <a:cubicBezTo>
                    <a:pt x="282" y="37"/>
                    <a:pt x="283" y="36"/>
                    <a:pt x="285" y="35"/>
                  </a:cubicBezTo>
                  <a:cubicBezTo>
                    <a:pt x="286" y="37"/>
                    <a:pt x="286" y="39"/>
                    <a:pt x="286" y="40"/>
                  </a:cubicBezTo>
                  <a:cubicBezTo>
                    <a:pt x="286" y="43"/>
                    <a:pt x="283" y="42"/>
                    <a:pt x="283" y="47"/>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82" name="Freeform 1147">
              <a:extLst>
                <a:ext uri="{FF2B5EF4-FFF2-40B4-BE49-F238E27FC236}">
                  <a16:creationId xmlns:a16="http://schemas.microsoft.com/office/drawing/2014/main" id="{6597F38A-BCC1-E842-98B9-528DF33B38AC}"/>
                </a:ext>
              </a:extLst>
            </p:cNvPr>
            <p:cNvSpPr>
              <a:spLocks/>
            </p:cNvSpPr>
            <p:nvPr/>
          </p:nvSpPr>
          <p:spPr bwMode="auto">
            <a:xfrm>
              <a:off x="3832237" y="1545093"/>
              <a:ext cx="82550" cy="138113"/>
            </a:xfrm>
            <a:custGeom>
              <a:avLst/>
              <a:gdLst>
                <a:gd name="T0" fmla="*/ 80 w 86"/>
                <a:gd name="T1" fmla="*/ 20 h 146"/>
                <a:gd name="T2" fmla="*/ 72 w 86"/>
                <a:gd name="T3" fmla="*/ 27 h 146"/>
                <a:gd name="T4" fmla="*/ 67 w 86"/>
                <a:gd name="T5" fmla="*/ 37 h 146"/>
                <a:gd name="T6" fmla="*/ 67 w 86"/>
                <a:gd name="T7" fmla="*/ 49 h 146"/>
                <a:gd name="T8" fmla="*/ 67 w 86"/>
                <a:gd name="T9" fmla="*/ 58 h 146"/>
                <a:gd name="T10" fmla="*/ 53 w 86"/>
                <a:gd name="T11" fmla="*/ 66 h 146"/>
                <a:gd name="T12" fmla="*/ 57 w 86"/>
                <a:gd name="T13" fmla="*/ 74 h 146"/>
                <a:gd name="T14" fmla="*/ 60 w 86"/>
                <a:gd name="T15" fmla="*/ 85 h 146"/>
                <a:gd name="T16" fmla="*/ 53 w 86"/>
                <a:gd name="T17" fmla="*/ 93 h 146"/>
                <a:gd name="T18" fmla="*/ 52 w 86"/>
                <a:gd name="T19" fmla="*/ 100 h 146"/>
                <a:gd name="T20" fmla="*/ 58 w 86"/>
                <a:gd name="T21" fmla="*/ 108 h 146"/>
                <a:gd name="T22" fmla="*/ 56 w 86"/>
                <a:gd name="T23" fmla="*/ 114 h 146"/>
                <a:gd name="T24" fmla="*/ 46 w 86"/>
                <a:gd name="T25" fmla="*/ 122 h 146"/>
                <a:gd name="T26" fmla="*/ 46 w 86"/>
                <a:gd name="T27" fmla="*/ 131 h 146"/>
                <a:gd name="T28" fmla="*/ 49 w 86"/>
                <a:gd name="T29" fmla="*/ 137 h 146"/>
                <a:gd name="T30" fmla="*/ 41 w 86"/>
                <a:gd name="T31" fmla="*/ 141 h 146"/>
                <a:gd name="T32" fmla="*/ 34 w 86"/>
                <a:gd name="T33" fmla="*/ 143 h 146"/>
                <a:gd name="T34" fmla="*/ 22 w 86"/>
                <a:gd name="T35" fmla="*/ 138 h 146"/>
                <a:gd name="T36" fmla="*/ 11 w 86"/>
                <a:gd name="T37" fmla="*/ 142 h 146"/>
                <a:gd name="T38" fmla="*/ 11 w 86"/>
                <a:gd name="T39" fmla="*/ 133 h 146"/>
                <a:gd name="T40" fmla="*/ 19 w 86"/>
                <a:gd name="T41" fmla="*/ 117 h 146"/>
                <a:gd name="T42" fmla="*/ 19 w 86"/>
                <a:gd name="T43" fmla="*/ 106 h 146"/>
                <a:gd name="T44" fmla="*/ 16 w 86"/>
                <a:gd name="T45" fmla="*/ 101 h 146"/>
                <a:gd name="T46" fmla="*/ 7 w 86"/>
                <a:gd name="T47" fmla="*/ 102 h 146"/>
                <a:gd name="T48" fmla="*/ 12 w 86"/>
                <a:gd name="T49" fmla="*/ 95 h 146"/>
                <a:gd name="T50" fmla="*/ 11 w 86"/>
                <a:gd name="T51" fmla="*/ 90 h 146"/>
                <a:gd name="T52" fmla="*/ 3 w 86"/>
                <a:gd name="T53" fmla="*/ 94 h 146"/>
                <a:gd name="T54" fmla="*/ 4 w 86"/>
                <a:gd name="T55" fmla="*/ 83 h 146"/>
                <a:gd name="T56" fmla="*/ 14 w 86"/>
                <a:gd name="T57" fmla="*/ 70 h 146"/>
                <a:gd name="T58" fmla="*/ 20 w 86"/>
                <a:gd name="T59" fmla="*/ 57 h 146"/>
                <a:gd name="T60" fmla="*/ 24 w 86"/>
                <a:gd name="T61" fmla="*/ 39 h 146"/>
                <a:gd name="T62" fmla="*/ 25 w 86"/>
                <a:gd name="T63" fmla="*/ 23 h 146"/>
                <a:gd name="T64" fmla="*/ 22 w 86"/>
                <a:gd name="T65" fmla="*/ 12 h 146"/>
                <a:gd name="T66" fmla="*/ 24 w 86"/>
                <a:gd name="T67" fmla="*/ 6 h 146"/>
                <a:gd name="T68" fmla="*/ 24 w 86"/>
                <a:gd name="T69" fmla="*/ 5 h 146"/>
                <a:gd name="T70" fmla="*/ 29 w 86"/>
                <a:gd name="T71" fmla="*/ 4 h 146"/>
                <a:gd name="T72" fmla="*/ 35 w 86"/>
                <a:gd name="T73" fmla="*/ 1 h 146"/>
                <a:gd name="T74" fmla="*/ 41 w 86"/>
                <a:gd name="T75" fmla="*/ 0 h 146"/>
                <a:gd name="T76" fmla="*/ 40 w 86"/>
                <a:gd name="T77" fmla="*/ 7 h 146"/>
                <a:gd name="T78" fmla="*/ 55 w 86"/>
                <a:gd name="T79" fmla="*/ 7 h 146"/>
                <a:gd name="T80" fmla="*/ 63 w 86"/>
                <a:gd name="T81" fmla="*/ 3 h 146"/>
                <a:gd name="T82" fmla="*/ 72 w 86"/>
                <a:gd name="T83" fmla="*/ 3 h 146"/>
                <a:gd name="T84" fmla="*/ 77 w 86"/>
                <a:gd name="T85" fmla="*/ 9 h 146"/>
                <a:gd name="T86" fmla="*/ 83 w 86"/>
                <a:gd name="T87" fmla="*/ 12 h 146"/>
                <a:gd name="T88" fmla="*/ 80 w 86"/>
                <a:gd name="T89"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146">
                  <a:moveTo>
                    <a:pt x="80" y="20"/>
                  </a:moveTo>
                  <a:cubicBezTo>
                    <a:pt x="75" y="22"/>
                    <a:pt x="76" y="25"/>
                    <a:pt x="72" y="27"/>
                  </a:cubicBezTo>
                  <a:cubicBezTo>
                    <a:pt x="69" y="29"/>
                    <a:pt x="67" y="34"/>
                    <a:pt x="67" y="37"/>
                  </a:cubicBezTo>
                  <a:cubicBezTo>
                    <a:pt x="67" y="41"/>
                    <a:pt x="69" y="45"/>
                    <a:pt x="67" y="49"/>
                  </a:cubicBezTo>
                  <a:cubicBezTo>
                    <a:pt x="64" y="53"/>
                    <a:pt x="67" y="53"/>
                    <a:pt x="67" y="58"/>
                  </a:cubicBezTo>
                  <a:cubicBezTo>
                    <a:pt x="67" y="63"/>
                    <a:pt x="63" y="66"/>
                    <a:pt x="53" y="66"/>
                  </a:cubicBezTo>
                  <a:cubicBezTo>
                    <a:pt x="44" y="66"/>
                    <a:pt x="55" y="72"/>
                    <a:pt x="57" y="74"/>
                  </a:cubicBezTo>
                  <a:cubicBezTo>
                    <a:pt x="60" y="77"/>
                    <a:pt x="59" y="80"/>
                    <a:pt x="60" y="85"/>
                  </a:cubicBezTo>
                  <a:cubicBezTo>
                    <a:pt x="60" y="89"/>
                    <a:pt x="57" y="88"/>
                    <a:pt x="53" y="93"/>
                  </a:cubicBezTo>
                  <a:cubicBezTo>
                    <a:pt x="49" y="98"/>
                    <a:pt x="52" y="95"/>
                    <a:pt x="52" y="100"/>
                  </a:cubicBezTo>
                  <a:cubicBezTo>
                    <a:pt x="51" y="105"/>
                    <a:pt x="54" y="105"/>
                    <a:pt x="58" y="108"/>
                  </a:cubicBezTo>
                  <a:cubicBezTo>
                    <a:pt x="63" y="110"/>
                    <a:pt x="57" y="111"/>
                    <a:pt x="56" y="114"/>
                  </a:cubicBezTo>
                  <a:cubicBezTo>
                    <a:pt x="54" y="118"/>
                    <a:pt x="52" y="119"/>
                    <a:pt x="46" y="122"/>
                  </a:cubicBezTo>
                  <a:cubicBezTo>
                    <a:pt x="41" y="125"/>
                    <a:pt x="46" y="125"/>
                    <a:pt x="46" y="131"/>
                  </a:cubicBezTo>
                  <a:cubicBezTo>
                    <a:pt x="46" y="135"/>
                    <a:pt x="48" y="136"/>
                    <a:pt x="49" y="137"/>
                  </a:cubicBezTo>
                  <a:cubicBezTo>
                    <a:pt x="45" y="140"/>
                    <a:pt x="54" y="144"/>
                    <a:pt x="41" y="141"/>
                  </a:cubicBezTo>
                  <a:cubicBezTo>
                    <a:pt x="28" y="139"/>
                    <a:pt x="39" y="143"/>
                    <a:pt x="34" y="143"/>
                  </a:cubicBezTo>
                  <a:cubicBezTo>
                    <a:pt x="28" y="142"/>
                    <a:pt x="27" y="138"/>
                    <a:pt x="22" y="138"/>
                  </a:cubicBezTo>
                  <a:cubicBezTo>
                    <a:pt x="16" y="138"/>
                    <a:pt x="12" y="146"/>
                    <a:pt x="11" y="142"/>
                  </a:cubicBezTo>
                  <a:cubicBezTo>
                    <a:pt x="10" y="139"/>
                    <a:pt x="8" y="140"/>
                    <a:pt x="11" y="133"/>
                  </a:cubicBezTo>
                  <a:cubicBezTo>
                    <a:pt x="14" y="126"/>
                    <a:pt x="21" y="124"/>
                    <a:pt x="19" y="117"/>
                  </a:cubicBezTo>
                  <a:cubicBezTo>
                    <a:pt x="17" y="111"/>
                    <a:pt x="17" y="109"/>
                    <a:pt x="19" y="106"/>
                  </a:cubicBezTo>
                  <a:cubicBezTo>
                    <a:pt x="20" y="103"/>
                    <a:pt x="20" y="98"/>
                    <a:pt x="16" y="101"/>
                  </a:cubicBezTo>
                  <a:cubicBezTo>
                    <a:pt x="12" y="104"/>
                    <a:pt x="7" y="105"/>
                    <a:pt x="7" y="102"/>
                  </a:cubicBezTo>
                  <a:cubicBezTo>
                    <a:pt x="7" y="100"/>
                    <a:pt x="8" y="97"/>
                    <a:pt x="12" y="95"/>
                  </a:cubicBezTo>
                  <a:cubicBezTo>
                    <a:pt x="16" y="93"/>
                    <a:pt x="15" y="88"/>
                    <a:pt x="11" y="90"/>
                  </a:cubicBezTo>
                  <a:cubicBezTo>
                    <a:pt x="8" y="93"/>
                    <a:pt x="5" y="100"/>
                    <a:pt x="3" y="94"/>
                  </a:cubicBezTo>
                  <a:cubicBezTo>
                    <a:pt x="1" y="89"/>
                    <a:pt x="0" y="88"/>
                    <a:pt x="4" y="83"/>
                  </a:cubicBezTo>
                  <a:cubicBezTo>
                    <a:pt x="8" y="78"/>
                    <a:pt x="11" y="75"/>
                    <a:pt x="14" y="70"/>
                  </a:cubicBezTo>
                  <a:cubicBezTo>
                    <a:pt x="16" y="65"/>
                    <a:pt x="14" y="66"/>
                    <a:pt x="20" y="57"/>
                  </a:cubicBezTo>
                  <a:cubicBezTo>
                    <a:pt x="26" y="47"/>
                    <a:pt x="22" y="44"/>
                    <a:pt x="24" y="39"/>
                  </a:cubicBezTo>
                  <a:cubicBezTo>
                    <a:pt x="26" y="33"/>
                    <a:pt x="26" y="29"/>
                    <a:pt x="25" y="23"/>
                  </a:cubicBezTo>
                  <a:cubicBezTo>
                    <a:pt x="24" y="17"/>
                    <a:pt x="22" y="16"/>
                    <a:pt x="22" y="12"/>
                  </a:cubicBezTo>
                  <a:cubicBezTo>
                    <a:pt x="22" y="12"/>
                    <a:pt x="23" y="6"/>
                    <a:pt x="24" y="6"/>
                  </a:cubicBezTo>
                  <a:cubicBezTo>
                    <a:pt x="24" y="5"/>
                    <a:pt x="24" y="5"/>
                    <a:pt x="24" y="5"/>
                  </a:cubicBezTo>
                  <a:cubicBezTo>
                    <a:pt x="26" y="5"/>
                    <a:pt x="28" y="4"/>
                    <a:pt x="29" y="4"/>
                  </a:cubicBezTo>
                  <a:cubicBezTo>
                    <a:pt x="30" y="2"/>
                    <a:pt x="33" y="2"/>
                    <a:pt x="35" y="1"/>
                  </a:cubicBezTo>
                  <a:cubicBezTo>
                    <a:pt x="37" y="0"/>
                    <a:pt x="38" y="0"/>
                    <a:pt x="41" y="0"/>
                  </a:cubicBezTo>
                  <a:cubicBezTo>
                    <a:pt x="43" y="0"/>
                    <a:pt x="42" y="4"/>
                    <a:pt x="40" y="7"/>
                  </a:cubicBezTo>
                  <a:cubicBezTo>
                    <a:pt x="37" y="9"/>
                    <a:pt x="47" y="7"/>
                    <a:pt x="55" y="7"/>
                  </a:cubicBezTo>
                  <a:cubicBezTo>
                    <a:pt x="62" y="7"/>
                    <a:pt x="62" y="6"/>
                    <a:pt x="63" y="3"/>
                  </a:cubicBezTo>
                  <a:cubicBezTo>
                    <a:pt x="63" y="1"/>
                    <a:pt x="69" y="3"/>
                    <a:pt x="72" y="3"/>
                  </a:cubicBezTo>
                  <a:cubicBezTo>
                    <a:pt x="75" y="4"/>
                    <a:pt x="77" y="9"/>
                    <a:pt x="77" y="9"/>
                  </a:cubicBezTo>
                  <a:cubicBezTo>
                    <a:pt x="77" y="9"/>
                    <a:pt x="80" y="12"/>
                    <a:pt x="83" y="12"/>
                  </a:cubicBezTo>
                  <a:cubicBezTo>
                    <a:pt x="86" y="13"/>
                    <a:pt x="84" y="17"/>
                    <a:pt x="80" y="20"/>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83" name="Freeform 1148">
              <a:extLst>
                <a:ext uri="{FF2B5EF4-FFF2-40B4-BE49-F238E27FC236}">
                  <a16:creationId xmlns:a16="http://schemas.microsoft.com/office/drawing/2014/main" id="{C020FBD8-BA2E-A34E-B9B6-D91E67995C82}"/>
                </a:ext>
              </a:extLst>
            </p:cNvPr>
            <p:cNvSpPr>
              <a:spLocks/>
            </p:cNvSpPr>
            <p:nvPr/>
          </p:nvSpPr>
          <p:spPr bwMode="auto">
            <a:xfrm>
              <a:off x="4179901" y="1213305"/>
              <a:ext cx="188913" cy="195263"/>
            </a:xfrm>
            <a:custGeom>
              <a:avLst/>
              <a:gdLst>
                <a:gd name="T0" fmla="*/ 196 w 198"/>
                <a:gd name="T1" fmla="*/ 107 h 206"/>
                <a:gd name="T2" fmla="*/ 182 w 198"/>
                <a:gd name="T3" fmla="*/ 105 h 206"/>
                <a:gd name="T4" fmla="*/ 171 w 198"/>
                <a:gd name="T5" fmla="*/ 110 h 206"/>
                <a:gd name="T6" fmla="*/ 148 w 198"/>
                <a:gd name="T7" fmla="*/ 121 h 206"/>
                <a:gd name="T8" fmla="*/ 142 w 198"/>
                <a:gd name="T9" fmla="*/ 131 h 206"/>
                <a:gd name="T10" fmla="*/ 147 w 198"/>
                <a:gd name="T11" fmla="*/ 142 h 206"/>
                <a:gd name="T12" fmla="*/ 160 w 198"/>
                <a:gd name="T13" fmla="*/ 155 h 206"/>
                <a:gd name="T14" fmla="*/ 173 w 198"/>
                <a:gd name="T15" fmla="*/ 166 h 206"/>
                <a:gd name="T16" fmla="*/ 161 w 198"/>
                <a:gd name="T17" fmla="*/ 176 h 206"/>
                <a:gd name="T18" fmla="*/ 154 w 198"/>
                <a:gd name="T19" fmla="*/ 188 h 206"/>
                <a:gd name="T20" fmla="*/ 154 w 198"/>
                <a:gd name="T21" fmla="*/ 199 h 206"/>
                <a:gd name="T22" fmla="*/ 140 w 198"/>
                <a:gd name="T23" fmla="*/ 197 h 206"/>
                <a:gd name="T24" fmla="*/ 118 w 198"/>
                <a:gd name="T25" fmla="*/ 203 h 206"/>
                <a:gd name="T26" fmla="*/ 104 w 198"/>
                <a:gd name="T27" fmla="*/ 198 h 206"/>
                <a:gd name="T28" fmla="*/ 93 w 198"/>
                <a:gd name="T29" fmla="*/ 202 h 206"/>
                <a:gd name="T30" fmla="*/ 82 w 198"/>
                <a:gd name="T31" fmla="*/ 198 h 206"/>
                <a:gd name="T32" fmla="*/ 63 w 198"/>
                <a:gd name="T33" fmla="*/ 193 h 206"/>
                <a:gd name="T34" fmla="*/ 50 w 198"/>
                <a:gd name="T35" fmla="*/ 198 h 206"/>
                <a:gd name="T36" fmla="*/ 37 w 198"/>
                <a:gd name="T37" fmla="*/ 195 h 206"/>
                <a:gd name="T38" fmla="*/ 45 w 198"/>
                <a:gd name="T39" fmla="*/ 167 h 206"/>
                <a:gd name="T40" fmla="*/ 37 w 198"/>
                <a:gd name="T41" fmla="*/ 156 h 206"/>
                <a:gd name="T42" fmla="*/ 13 w 198"/>
                <a:gd name="T43" fmla="*/ 148 h 206"/>
                <a:gd name="T44" fmla="*/ 13 w 198"/>
                <a:gd name="T45" fmla="*/ 143 h 206"/>
                <a:gd name="T46" fmla="*/ 9 w 198"/>
                <a:gd name="T47" fmla="*/ 136 h 206"/>
                <a:gd name="T48" fmla="*/ 6 w 198"/>
                <a:gd name="T49" fmla="*/ 126 h 206"/>
                <a:gd name="T50" fmla="*/ 10 w 198"/>
                <a:gd name="T51" fmla="*/ 118 h 206"/>
                <a:gd name="T52" fmla="*/ 2 w 198"/>
                <a:gd name="T53" fmla="*/ 102 h 206"/>
                <a:gd name="T54" fmla="*/ 6 w 198"/>
                <a:gd name="T55" fmla="*/ 95 h 206"/>
                <a:gd name="T56" fmla="*/ 4 w 198"/>
                <a:gd name="T57" fmla="*/ 82 h 206"/>
                <a:gd name="T58" fmla="*/ 24 w 198"/>
                <a:gd name="T59" fmla="*/ 73 h 206"/>
                <a:gd name="T60" fmla="*/ 21 w 198"/>
                <a:gd name="T61" fmla="*/ 63 h 206"/>
                <a:gd name="T62" fmla="*/ 28 w 198"/>
                <a:gd name="T63" fmla="*/ 56 h 206"/>
                <a:gd name="T64" fmla="*/ 31 w 198"/>
                <a:gd name="T65" fmla="*/ 47 h 206"/>
                <a:gd name="T66" fmla="*/ 28 w 198"/>
                <a:gd name="T67" fmla="*/ 40 h 206"/>
                <a:gd name="T68" fmla="*/ 36 w 198"/>
                <a:gd name="T69" fmla="*/ 32 h 206"/>
                <a:gd name="T70" fmla="*/ 60 w 198"/>
                <a:gd name="T71" fmla="*/ 32 h 206"/>
                <a:gd name="T72" fmla="*/ 64 w 198"/>
                <a:gd name="T73" fmla="*/ 17 h 206"/>
                <a:gd name="T74" fmla="*/ 65 w 198"/>
                <a:gd name="T75" fmla="*/ 7 h 206"/>
                <a:gd name="T76" fmla="*/ 61 w 198"/>
                <a:gd name="T77" fmla="*/ 0 h 206"/>
                <a:gd name="T78" fmla="*/ 73 w 198"/>
                <a:gd name="T79" fmla="*/ 2 h 206"/>
                <a:gd name="T80" fmla="*/ 84 w 198"/>
                <a:gd name="T81" fmla="*/ 1 h 206"/>
                <a:gd name="T82" fmla="*/ 92 w 198"/>
                <a:gd name="T83" fmla="*/ 1 h 206"/>
                <a:gd name="T84" fmla="*/ 97 w 198"/>
                <a:gd name="T85" fmla="*/ 13 h 206"/>
                <a:gd name="T86" fmla="*/ 115 w 198"/>
                <a:gd name="T87" fmla="*/ 25 h 206"/>
                <a:gd name="T88" fmla="*/ 144 w 198"/>
                <a:gd name="T89" fmla="*/ 14 h 206"/>
                <a:gd name="T90" fmla="*/ 168 w 198"/>
                <a:gd name="T91" fmla="*/ 12 h 206"/>
                <a:gd name="T92" fmla="*/ 179 w 198"/>
                <a:gd name="T93" fmla="*/ 26 h 206"/>
                <a:gd name="T94" fmla="*/ 182 w 198"/>
                <a:gd name="T95" fmla="*/ 36 h 206"/>
                <a:gd name="T96" fmla="*/ 178 w 198"/>
                <a:gd name="T97" fmla="*/ 53 h 206"/>
                <a:gd name="T98" fmla="*/ 189 w 198"/>
                <a:gd name="T99" fmla="*/ 66 h 206"/>
                <a:gd name="T100" fmla="*/ 190 w 198"/>
                <a:gd name="T101" fmla="*/ 82 h 206"/>
                <a:gd name="T102" fmla="*/ 197 w 198"/>
                <a:gd name="T103" fmla="*/ 95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8" h="206">
                  <a:moveTo>
                    <a:pt x="197" y="103"/>
                  </a:moveTo>
                  <a:cubicBezTo>
                    <a:pt x="196" y="104"/>
                    <a:pt x="196" y="106"/>
                    <a:pt x="196" y="107"/>
                  </a:cubicBezTo>
                  <a:cubicBezTo>
                    <a:pt x="196" y="110"/>
                    <a:pt x="190" y="107"/>
                    <a:pt x="189" y="106"/>
                  </a:cubicBezTo>
                  <a:cubicBezTo>
                    <a:pt x="188" y="104"/>
                    <a:pt x="185" y="103"/>
                    <a:pt x="182" y="105"/>
                  </a:cubicBezTo>
                  <a:cubicBezTo>
                    <a:pt x="179" y="107"/>
                    <a:pt x="182" y="111"/>
                    <a:pt x="177" y="111"/>
                  </a:cubicBezTo>
                  <a:cubicBezTo>
                    <a:pt x="172" y="111"/>
                    <a:pt x="171" y="110"/>
                    <a:pt x="171" y="110"/>
                  </a:cubicBezTo>
                  <a:cubicBezTo>
                    <a:pt x="170" y="110"/>
                    <a:pt x="162" y="116"/>
                    <a:pt x="159" y="118"/>
                  </a:cubicBezTo>
                  <a:cubicBezTo>
                    <a:pt x="156" y="120"/>
                    <a:pt x="154" y="121"/>
                    <a:pt x="148" y="121"/>
                  </a:cubicBezTo>
                  <a:cubicBezTo>
                    <a:pt x="141" y="121"/>
                    <a:pt x="142" y="124"/>
                    <a:pt x="139" y="126"/>
                  </a:cubicBezTo>
                  <a:cubicBezTo>
                    <a:pt x="135" y="127"/>
                    <a:pt x="139" y="129"/>
                    <a:pt x="142" y="131"/>
                  </a:cubicBezTo>
                  <a:cubicBezTo>
                    <a:pt x="145" y="133"/>
                    <a:pt x="142" y="131"/>
                    <a:pt x="143" y="135"/>
                  </a:cubicBezTo>
                  <a:cubicBezTo>
                    <a:pt x="145" y="138"/>
                    <a:pt x="145" y="138"/>
                    <a:pt x="147" y="142"/>
                  </a:cubicBezTo>
                  <a:cubicBezTo>
                    <a:pt x="149" y="146"/>
                    <a:pt x="149" y="146"/>
                    <a:pt x="151" y="148"/>
                  </a:cubicBezTo>
                  <a:cubicBezTo>
                    <a:pt x="153" y="150"/>
                    <a:pt x="155" y="151"/>
                    <a:pt x="160" y="155"/>
                  </a:cubicBezTo>
                  <a:cubicBezTo>
                    <a:pt x="164" y="158"/>
                    <a:pt x="164" y="158"/>
                    <a:pt x="168" y="161"/>
                  </a:cubicBezTo>
                  <a:cubicBezTo>
                    <a:pt x="171" y="163"/>
                    <a:pt x="173" y="161"/>
                    <a:pt x="173" y="166"/>
                  </a:cubicBezTo>
                  <a:cubicBezTo>
                    <a:pt x="173" y="170"/>
                    <a:pt x="170" y="171"/>
                    <a:pt x="167" y="171"/>
                  </a:cubicBezTo>
                  <a:cubicBezTo>
                    <a:pt x="165" y="171"/>
                    <a:pt x="166" y="174"/>
                    <a:pt x="161" y="176"/>
                  </a:cubicBezTo>
                  <a:cubicBezTo>
                    <a:pt x="156" y="178"/>
                    <a:pt x="158" y="178"/>
                    <a:pt x="153" y="180"/>
                  </a:cubicBezTo>
                  <a:cubicBezTo>
                    <a:pt x="149" y="182"/>
                    <a:pt x="154" y="182"/>
                    <a:pt x="154" y="188"/>
                  </a:cubicBezTo>
                  <a:cubicBezTo>
                    <a:pt x="154" y="193"/>
                    <a:pt x="156" y="192"/>
                    <a:pt x="157" y="193"/>
                  </a:cubicBezTo>
                  <a:cubicBezTo>
                    <a:pt x="159" y="195"/>
                    <a:pt x="158" y="200"/>
                    <a:pt x="154" y="199"/>
                  </a:cubicBezTo>
                  <a:cubicBezTo>
                    <a:pt x="150" y="198"/>
                    <a:pt x="148" y="195"/>
                    <a:pt x="147" y="194"/>
                  </a:cubicBezTo>
                  <a:cubicBezTo>
                    <a:pt x="145" y="193"/>
                    <a:pt x="141" y="196"/>
                    <a:pt x="140" y="197"/>
                  </a:cubicBezTo>
                  <a:cubicBezTo>
                    <a:pt x="138" y="197"/>
                    <a:pt x="132" y="196"/>
                    <a:pt x="128" y="197"/>
                  </a:cubicBezTo>
                  <a:cubicBezTo>
                    <a:pt x="124" y="197"/>
                    <a:pt x="122" y="201"/>
                    <a:pt x="118" y="203"/>
                  </a:cubicBezTo>
                  <a:cubicBezTo>
                    <a:pt x="114" y="205"/>
                    <a:pt x="113" y="203"/>
                    <a:pt x="111" y="201"/>
                  </a:cubicBezTo>
                  <a:cubicBezTo>
                    <a:pt x="109" y="199"/>
                    <a:pt x="107" y="198"/>
                    <a:pt x="104" y="198"/>
                  </a:cubicBezTo>
                  <a:cubicBezTo>
                    <a:pt x="101" y="198"/>
                    <a:pt x="100" y="200"/>
                    <a:pt x="100" y="203"/>
                  </a:cubicBezTo>
                  <a:cubicBezTo>
                    <a:pt x="99" y="206"/>
                    <a:pt x="97" y="204"/>
                    <a:pt x="93" y="202"/>
                  </a:cubicBezTo>
                  <a:cubicBezTo>
                    <a:pt x="90" y="200"/>
                    <a:pt x="90" y="199"/>
                    <a:pt x="87" y="197"/>
                  </a:cubicBezTo>
                  <a:cubicBezTo>
                    <a:pt x="85" y="196"/>
                    <a:pt x="83" y="197"/>
                    <a:pt x="82" y="198"/>
                  </a:cubicBezTo>
                  <a:cubicBezTo>
                    <a:pt x="81" y="195"/>
                    <a:pt x="78" y="196"/>
                    <a:pt x="76" y="196"/>
                  </a:cubicBezTo>
                  <a:cubicBezTo>
                    <a:pt x="75" y="196"/>
                    <a:pt x="66" y="195"/>
                    <a:pt x="63" y="193"/>
                  </a:cubicBezTo>
                  <a:cubicBezTo>
                    <a:pt x="60" y="191"/>
                    <a:pt x="60" y="193"/>
                    <a:pt x="57" y="195"/>
                  </a:cubicBezTo>
                  <a:cubicBezTo>
                    <a:pt x="54" y="198"/>
                    <a:pt x="52" y="197"/>
                    <a:pt x="50" y="198"/>
                  </a:cubicBezTo>
                  <a:cubicBezTo>
                    <a:pt x="47" y="198"/>
                    <a:pt x="40" y="198"/>
                    <a:pt x="36" y="197"/>
                  </a:cubicBezTo>
                  <a:cubicBezTo>
                    <a:pt x="36" y="196"/>
                    <a:pt x="36" y="196"/>
                    <a:pt x="37" y="195"/>
                  </a:cubicBezTo>
                  <a:cubicBezTo>
                    <a:pt x="37" y="191"/>
                    <a:pt x="37" y="184"/>
                    <a:pt x="38" y="180"/>
                  </a:cubicBezTo>
                  <a:cubicBezTo>
                    <a:pt x="40" y="176"/>
                    <a:pt x="43" y="169"/>
                    <a:pt x="45" y="167"/>
                  </a:cubicBezTo>
                  <a:cubicBezTo>
                    <a:pt x="47" y="164"/>
                    <a:pt x="55" y="159"/>
                    <a:pt x="50" y="159"/>
                  </a:cubicBezTo>
                  <a:cubicBezTo>
                    <a:pt x="45" y="159"/>
                    <a:pt x="42" y="156"/>
                    <a:pt x="37" y="156"/>
                  </a:cubicBezTo>
                  <a:cubicBezTo>
                    <a:pt x="33" y="155"/>
                    <a:pt x="23" y="154"/>
                    <a:pt x="20" y="154"/>
                  </a:cubicBezTo>
                  <a:cubicBezTo>
                    <a:pt x="18" y="154"/>
                    <a:pt x="17" y="150"/>
                    <a:pt x="13" y="148"/>
                  </a:cubicBezTo>
                  <a:cubicBezTo>
                    <a:pt x="12" y="148"/>
                    <a:pt x="11" y="147"/>
                    <a:pt x="10" y="147"/>
                  </a:cubicBezTo>
                  <a:cubicBezTo>
                    <a:pt x="11" y="145"/>
                    <a:pt x="12" y="144"/>
                    <a:pt x="13" y="143"/>
                  </a:cubicBezTo>
                  <a:cubicBezTo>
                    <a:pt x="14" y="140"/>
                    <a:pt x="14" y="141"/>
                    <a:pt x="14" y="139"/>
                  </a:cubicBezTo>
                  <a:cubicBezTo>
                    <a:pt x="14" y="136"/>
                    <a:pt x="12" y="136"/>
                    <a:pt x="9" y="136"/>
                  </a:cubicBezTo>
                  <a:cubicBezTo>
                    <a:pt x="7" y="136"/>
                    <a:pt x="7" y="132"/>
                    <a:pt x="7" y="129"/>
                  </a:cubicBezTo>
                  <a:cubicBezTo>
                    <a:pt x="7" y="127"/>
                    <a:pt x="6" y="127"/>
                    <a:pt x="6" y="126"/>
                  </a:cubicBezTo>
                  <a:cubicBezTo>
                    <a:pt x="7" y="125"/>
                    <a:pt x="8" y="124"/>
                    <a:pt x="9" y="123"/>
                  </a:cubicBezTo>
                  <a:cubicBezTo>
                    <a:pt x="11" y="122"/>
                    <a:pt x="14" y="120"/>
                    <a:pt x="10" y="118"/>
                  </a:cubicBezTo>
                  <a:cubicBezTo>
                    <a:pt x="7" y="115"/>
                    <a:pt x="6" y="113"/>
                    <a:pt x="5" y="108"/>
                  </a:cubicBezTo>
                  <a:cubicBezTo>
                    <a:pt x="4" y="104"/>
                    <a:pt x="6" y="105"/>
                    <a:pt x="2" y="102"/>
                  </a:cubicBezTo>
                  <a:cubicBezTo>
                    <a:pt x="2" y="102"/>
                    <a:pt x="1" y="102"/>
                    <a:pt x="1" y="101"/>
                  </a:cubicBezTo>
                  <a:cubicBezTo>
                    <a:pt x="4" y="99"/>
                    <a:pt x="6" y="95"/>
                    <a:pt x="6" y="95"/>
                  </a:cubicBezTo>
                  <a:cubicBezTo>
                    <a:pt x="6" y="95"/>
                    <a:pt x="12" y="93"/>
                    <a:pt x="10" y="91"/>
                  </a:cubicBezTo>
                  <a:cubicBezTo>
                    <a:pt x="7" y="88"/>
                    <a:pt x="0" y="82"/>
                    <a:pt x="4" y="82"/>
                  </a:cubicBezTo>
                  <a:cubicBezTo>
                    <a:pt x="9" y="82"/>
                    <a:pt x="17" y="81"/>
                    <a:pt x="19" y="79"/>
                  </a:cubicBezTo>
                  <a:cubicBezTo>
                    <a:pt x="20" y="78"/>
                    <a:pt x="21" y="76"/>
                    <a:pt x="24" y="73"/>
                  </a:cubicBezTo>
                  <a:cubicBezTo>
                    <a:pt x="26" y="70"/>
                    <a:pt x="30" y="69"/>
                    <a:pt x="27" y="66"/>
                  </a:cubicBezTo>
                  <a:cubicBezTo>
                    <a:pt x="24" y="64"/>
                    <a:pt x="21" y="66"/>
                    <a:pt x="21" y="63"/>
                  </a:cubicBezTo>
                  <a:cubicBezTo>
                    <a:pt x="21" y="59"/>
                    <a:pt x="16" y="60"/>
                    <a:pt x="21" y="59"/>
                  </a:cubicBezTo>
                  <a:cubicBezTo>
                    <a:pt x="26" y="59"/>
                    <a:pt x="28" y="57"/>
                    <a:pt x="28" y="56"/>
                  </a:cubicBezTo>
                  <a:cubicBezTo>
                    <a:pt x="28" y="55"/>
                    <a:pt x="28" y="53"/>
                    <a:pt x="29" y="52"/>
                  </a:cubicBezTo>
                  <a:cubicBezTo>
                    <a:pt x="30" y="51"/>
                    <a:pt x="31" y="49"/>
                    <a:pt x="31" y="47"/>
                  </a:cubicBezTo>
                  <a:cubicBezTo>
                    <a:pt x="31" y="45"/>
                    <a:pt x="34" y="43"/>
                    <a:pt x="33" y="42"/>
                  </a:cubicBezTo>
                  <a:cubicBezTo>
                    <a:pt x="32" y="41"/>
                    <a:pt x="30" y="40"/>
                    <a:pt x="28" y="40"/>
                  </a:cubicBezTo>
                  <a:cubicBezTo>
                    <a:pt x="28" y="40"/>
                    <a:pt x="28" y="39"/>
                    <a:pt x="29" y="39"/>
                  </a:cubicBezTo>
                  <a:cubicBezTo>
                    <a:pt x="30" y="32"/>
                    <a:pt x="32" y="32"/>
                    <a:pt x="36" y="32"/>
                  </a:cubicBezTo>
                  <a:cubicBezTo>
                    <a:pt x="41" y="32"/>
                    <a:pt x="45" y="34"/>
                    <a:pt x="50" y="35"/>
                  </a:cubicBezTo>
                  <a:cubicBezTo>
                    <a:pt x="56" y="35"/>
                    <a:pt x="60" y="38"/>
                    <a:pt x="60" y="32"/>
                  </a:cubicBezTo>
                  <a:cubicBezTo>
                    <a:pt x="60" y="25"/>
                    <a:pt x="70" y="23"/>
                    <a:pt x="69" y="22"/>
                  </a:cubicBezTo>
                  <a:cubicBezTo>
                    <a:pt x="68" y="20"/>
                    <a:pt x="66" y="18"/>
                    <a:pt x="64" y="17"/>
                  </a:cubicBezTo>
                  <a:cubicBezTo>
                    <a:pt x="62" y="16"/>
                    <a:pt x="61" y="15"/>
                    <a:pt x="65" y="13"/>
                  </a:cubicBezTo>
                  <a:cubicBezTo>
                    <a:pt x="69" y="11"/>
                    <a:pt x="68" y="9"/>
                    <a:pt x="65" y="7"/>
                  </a:cubicBezTo>
                  <a:cubicBezTo>
                    <a:pt x="62" y="5"/>
                    <a:pt x="59" y="6"/>
                    <a:pt x="58" y="3"/>
                  </a:cubicBezTo>
                  <a:cubicBezTo>
                    <a:pt x="58" y="1"/>
                    <a:pt x="59" y="1"/>
                    <a:pt x="61" y="0"/>
                  </a:cubicBezTo>
                  <a:cubicBezTo>
                    <a:pt x="62" y="1"/>
                    <a:pt x="64" y="0"/>
                    <a:pt x="66" y="0"/>
                  </a:cubicBezTo>
                  <a:cubicBezTo>
                    <a:pt x="68" y="0"/>
                    <a:pt x="72" y="0"/>
                    <a:pt x="73" y="2"/>
                  </a:cubicBezTo>
                  <a:cubicBezTo>
                    <a:pt x="75" y="4"/>
                    <a:pt x="76" y="3"/>
                    <a:pt x="78" y="3"/>
                  </a:cubicBezTo>
                  <a:cubicBezTo>
                    <a:pt x="80" y="3"/>
                    <a:pt x="82" y="0"/>
                    <a:pt x="84" y="1"/>
                  </a:cubicBezTo>
                  <a:cubicBezTo>
                    <a:pt x="86" y="3"/>
                    <a:pt x="86" y="4"/>
                    <a:pt x="89" y="3"/>
                  </a:cubicBezTo>
                  <a:cubicBezTo>
                    <a:pt x="91" y="2"/>
                    <a:pt x="92" y="1"/>
                    <a:pt x="92" y="1"/>
                  </a:cubicBezTo>
                  <a:cubicBezTo>
                    <a:pt x="92" y="1"/>
                    <a:pt x="92" y="1"/>
                    <a:pt x="92" y="2"/>
                  </a:cubicBezTo>
                  <a:cubicBezTo>
                    <a:pt x="92" y="9"/>
                    <a:pt x="84" y="10"/>
                    <a:pt x="97" y="13"/>
                  </a:cubicBezTo>
                  <a:cubicBezTo>
                    <a:pt x="109" y="16"/>
                    <a:pt x="114" y="13"/>
                    <a:pt x="116" y="15"/>
                  </a:cubicBezTo>
                  <a:cubicBezTo>
                    <a:pt x="118" y="18"/>
                    <a:pt x="107" y="25"/>
                    <a:pt x="115" y="25"/>
                  </a:cubicBezTo>
                  <a:cubicBezTo>
                    <a:pt x="123" y="25"/>
                    <a:pt x="127" y="23"/>
                    <a:pt x="131" y="19"/>
                  </a:cubicBezTo>
                  <a:cubicBezTo>
                    <a:pt x="134" y="16"/>
                    <a:pt x="137" y="16"/>
                    <a:pt x="144" y="14"/>
                  </a:cubicBezTo>
                  <a:cubicBezTo>
                    <a:pt x="150" y="12"/>
                    <a:pt x="153" y="19"/>
                    <a:pt x="158" y="13"/>
                  </a:cubicBezTo>
                  <a:cubicBezTo>
                    <a:pt x="163" y="8"/>
                    <a:pt x="167" y="8"/>
                    <a:pt x="168" y="12"/>
                  </a:cubicBezTo>
                  <a:cubicBezTo>
                    <a:pt x="170" y="16"/>
                    <a:pt x="154" y="15"/>
                    <a:pt x="165" y="20"/>
                  </a:cubicBezTo>
                  <a:cubicBezTo>
                    <a:pt x="175" y="25"/>
                    <a:pt x="175" y="24"/>
                    <a:pt x="179" y="26"/>
                  </a:cubicBezTo>
                  <a:cubicBezTo>
                    <a:pt x="182" y="27"/>
                    <a:pt x="182" y="31"/>
                    <a:pt x="183" y="32"/>
                  </a:cubicBezTo>
                  <a:cubicBezTo>
                    <a:pt x="182" y="34"/>
                    <a:pt x="182" y="36"/>
                    <a:pt x="182" y="36"/>
                  </a:cubicBezTo>
                  <a:cubicBezTo>
                    <a:pt x="183" y="38"/>
                    <a:pt x="182" y="41"/>
                    <a:pt x="182" y="45"/>
                  </a:cubicBezTo>
                  <a:cubicBezTo>
                    <a:pt x="182" y="50"/>
                    <a:pt x="180" y="52"/>
                    <a:pt x="178" y="53"/>
                  </a:cubicBezTo>
                  <a:cubicBezTo>
                    <a:pt x="175" y="53"/>
                    <a:pt x="186" y="60"/>
                    <a:pt x="188" y="61"/>
                  </a:cubicBezTo>
                  <a:cubicBezTo>
                    <a:pt x="190" y="62"/>
                    <a:pt x="192" y="63"/>
                    <a:pt x="189" y="66"/>
                  </a:cubicBezTo>
                  <a:cubicBezTo>
                    <a:pt x="186" y="68"/>
                    <a:pt x="191" y="73"/>
                    <a:pt x="192" y="74"/>
                  </a:cubicBezTo>
                  <a:cubicBezTo>
                    <a:pt x="192" y="74"/>
                    <a:pt x="191" y="81"/>
                    <a:pt x="190" y="82"/>
                  </a:cubicBezTo>
                  <a:cubicBezTo>
                    <a:pt x="190" y="84"/>
                    <a:pt x="191" y="90"/>
                    <a:pt x="194" y="92"/>
                  </a:cubicBezTo>
                  <a:cubicBezTo>
                    <a:pt x="198" y="93"/>
                    <a:pt x="196" y="94"/>
                    <a:pt x="197" y="95"/>
                  </a:cubicBezTo>
                  <a:cubicBezTo>
                    <a:pt x="198" y="96"/>
                    <a:pt x="197" y="100"/>
                    <a:pt x="197" y="103"/>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84" name="Freeform 1149">
              <a:extLst>
                <a:ext uri="{FF2B5EF4-FFF2-40B4-BE49-F238E27FC236}">
                  <a16:creationId xmlns:a16="http://schemas.microsoft.com/office/drawing/2014/main" id="{E8D59C5D-BB48-E745-8D44-193D892383E1}"/>
                </a:ext>
              </a:extLst>
            </p:cNvPr>
            <p:cNvSpPr>
              <a:spLocks/>
            </p:cNvSpPr>
            <p:nvPr/>
          </p:nvSpPr>
          <p:spPr bwMode="auto">
            <a:xfrm>
              <a:off x="3922725" y="1119643"/>
              <a:ext cx="36513" cy="41275"/>
            </a:xfrm>
            <a:custGeom>
              <a:avLst/>
              <a:gdLst>
                <a:gd name="T0" fmla="*/ 7 w 38"/>
                <a:gd name="T1" fmla="*/ 40 h 42"/>
                <a:gd name="T2" fmla="*/ 7 w 38"/>
                <a:gd name="T3" fmla="*/ 32 h 42"/>
                <a:gd name="T4" fmla="*/ 9 w 38"/>
                <a:gd name="T5" fmla="*/ 26 h 42"/>
                <a:gd name="T6" fmla="*/ 17 w 38"/>
                <a:gd name="T7" fmla="*/ 23 h 42"/>
                <a:gd name="T8" fmla="*/ 26 w 38"/>
                <a:gd name="T9" fmla="*/ 17 h 42"/>
                <a:gd name="T10" fmla="*/ 31 w 38"/>
                <a:gd name="T11" fmla="*/ 9 h 42"/>
                <a:gd name="T12" fmla="*/ 32 w 38"/>
                <a:gd name="T13" fmla="*/ 3 h 42"/>
                <a:gd name="T14" fmla="*/ 16 w 38"/>
                <a:gd name="T15" fmla="*/ 9 h 42"/>
                <a:gd name="T16" fmla="*/ 12 w 38"/>
                <a:gd name="T17" fmla="*/ 15 h 42"/>
                <a:gd name="T18" fmla="*/ 11 w 38"/>
                <a:gd name="T19" fmla="*/ 19 h 42"/>
                <a:gd name="T20" fmla="*/ 1 w 38"/>
                <a:gd name="T21" fmla="*/ 27 h 42"/>
                <a:gd name="T22" fmla="*/ 4 w 38"/>
                <a:gd name="T23" fmla="*/ 40 h 42"/>
                <a:gd name="T24" fmla="*/ 7 w 38"/>
                <a:gd name="T25"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42">
                  <a:moveTo>
                    <a:pt x="7" y="40"/>
                  </a:moveTo>
                  <a:cubicBezTo>
                    <a:pt x="9" y="35"/>
                    <a:pt x="7" y="36"/>
                    <a:pt x="7" y="32"/>
                  </a:cubicBezTo>
                  <a:cubicBezTo>
                    <a:pt x="8" y="28"/>
                    <a:pt x="6" y="26"/>
                    <a:pt x="9" y="26"/>
                  </a:cubicBezTo>
                  <a:cubicBezTo>
                    <a:pt x="13" y="25"/>
                    <a:pt x="14" y="24"/>
                    <a:pt x="17" y="23"/>
                  </a:cubicBezTo>
                  <a:cubicBezTo>
                    <a:pt x="21" y="22"/>
                    <a:pt x="23" y="21"/>
                    <a:pt x="26" y="17"/>
                  </a:cubicBezTo>
                  <a:cubicBezTo>
                    <a:pt x="29" y="12"/>
                    <a:pt x="30" y="13"/>
                    <a:pt x="31" y="9"/>
                  </a:cubicBezTo>
                  <a:cubicBezTo>
                    <a:pt x="33" y="5"/>
                    <a:pt x="38" y="0"/>
                    <a:pt x="32" y="3"/>
                  </a:cubicBezTo>
                  <a:cubicBezTo>
                    <a:pt x="26" y="6"/>
                    <a:pt x="19" y="7"/>
                    <a:pt x="16" y="9"/>
                  </a:cubicBezTo>
                  <a:cubicBezTo>
                    <a:pt x="14" y="12"/>
                    <a:pt x="10" y="13"/>
                    <a:pt x="12" y="15"/>
                  </a:cubicBezTo>
                  <a:cubicBezTo>
                    <a:pt x="14" y="18"/>
                    <a:pt x="15" y="17"/>
                    <a:pt x="11" y="19"/>
                  </a:cubicBezTo>
                  <a:cubicBezTo>
                    <a:pt x="6" y="22"/>
                    <a:pt x="2" y="24"/>
                    <a:pt x="1" y="27"/>
                  </a:cubicBezTo>
                  <a:cubicBezTo>
                    <a:pt x="0" y="30"/>
                    <a:pt x="3" y="39"/>
                    <a:pt x="4" y="40"/>
                  </a:cubicBezTo>
                  <a:cubicBezTo>
                    <a:pt x="4" y="41"/>
                    <a:pt x="2" y="42"/>
                    <a:pt x="7" y="40"/>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85" name="Freeform 1150">
              <a:extLst>
                <a:ext uri="{FF2B5EF4-FFF2-40B4-BE49-F238E27FC236}">
                  <a16:creationId xmlns:a16="http://schemas.microsoft.com/office/drawing/2014/main" id="{1CB1B1E0-75DA-634B-A652-192633438592}"/>
                </a:ext>
              </a:extLst>
            </p:cNvPr>
            <p:cNvSpPr>
              <a:spLocks/>
            </p:cNvSpPr>
            <p:nvPr/>
          </p:nvSpPr>
          <p:spPr bwMode="auto">
            <a:xfrm>
              <a:off x="4043375" y="1067255"/>
              <a:ext cx="20638" cy="19050"/>
            </a:xfrm>
            <a:custGeom>
              <a:avLst/>
              <a:gdLst>
                <a:gd name="T0" fmla="*/ 10 w 21"/>
                <a:gd name="T1" fmla="*/ 19 h 21"/>
                <a:gd name="T2" fmla="*/ 14 w 21"/>
                <a:gd name="T3" fmla="*/ 15 h 21"/>
                <a:gd name="T4" fmla="*/ 14 w 21"/>
                <a:gd name="T5" fmla="*/ 9 h 21"/>
                <a:gd name="T6" fmla="*/ 17 w 21"/>
                <a:gd name="T7" fmla="*/ 5 h 21"/>
                <a:gd name="T8" fmla="*/ 20 w 21"/>
                <a:gd name="T9" fmla="*/ 1 h 21"/>
                <a:gd name="T10" fmla="*/ 13 w 21"/>
                <a:gd name="T11" fmla="*/ 2 h 21"/>
                <a:gd name="T12" fmla="*/ 6 w 21"/>
                <a:gd name="T13" fmla="*/ 6 h 21"/>
                <a:gd name="T14" fmla="*/ 1 w 21"/>
                <a:gd name="T15" fmla="*/ 10 h 21"/>
                <a:gd name="T16" fmla="*/ 6 w 21"/>
                <a:gd name="T17" fmla="*/ 14 h 21"/>
                <a:gd name="T18" fmla="*/ 6 w 21"/>
                <a:gd name="T19" fmla="*/ 20 h 21"/>
                <a:gd name="T20" fmla="*/ 10 w 21"/>
                <a:gd name="T21"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1">
                  <a:moveTo>
                    <a:pt x="10" y="19"/>
                  </a:moveTo>
                  <a:cubicBezTo>
                    <a:pt x="12" y="17"/>
                    <a:pt x="13" y="18"/>
                    <a:pt x="14" y="15"/>
                  </a:cubicBezTo>
                  <a:cubicBezTo>
                    <a:pt x="14" y="12"/>
                    <a:pt x="10" y="11"/>
                    <a:pt x="14" y="9"/>
                  </a:cubicBezTo>
                  <a:cubicBezTo>
                    <a:pt x="17" y="7"/>
                    <a:pt x="15" y="3"/>
                    <a:pt x="17" y="5"/>
                  </a:cubicBezTo>
                  <a:cubicBezTo>
                    <a:pt x="19" y="6"/>
                    <a:pt x="21" y="2"/>
                    <a:pt x="20" y="1"/>
                  </a:cubicBezTo>
                  <a:cubicBezTo>
                    <a:pt x="19" y="0"/>
                    <a:pt x="14" y="1"/>
                    <a:pt x="13" y="2"/>
                  </a:cubicBezTo>
                  <a:cubicBezTo>
                    <a:pt x="11" y="3"/>
                    <a:pt x="7" y="3"/>
                    <a:pt x="6" y="6"/>
                  </a:cubicBezTo>
                  <a:cubicBezTo>
                    <a:pt x="6" y="8"/>
                    <a:pt x="0" y="7"/>
                    <a:pt x="1" y="10"/>
                  </a:cubicBezTo>
                  <a:cubicBezTo>
                    <a:pt x="3" y="13"/>
                    <a:pt x="7" y="11"/>
                    <a:pt x="6" y="14"/>
                  </a:cubicBezTo>
                  <a:cubicBezTo>
                    <a:pt x="5" y="17"/>
                    <a:pt x="4" y="19"/>
                    <a:pt x="6" y="20"/>
                  </a:cubicBezTo>
                  <a:cubicBezTo>
                    <a:pt x="8" y="21"/>
                    <a:pt x="9" y="19"/>
                    <a:pt x="10" y="1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86" name="Freeform 1151">
              <a:extLst>
                <a:ext uri="{FF2B5EF4-FFF2-40B4-BE49-F238E27FC236}">
                  <a16:creationId xmlns:a16="http://schemas.microsoft.com/office/drawing/2014/main" id="{EE5D05D0-97C6-704A-ACD1-8BB7A2A6C493}"/>
                </a:ext>
              </a:extLst>
            </p:cNvPr>
            <p:cNvSpPr>
              <a:spLocks/>
            </p:cNvSpPr>
            <p:nvPr/>
          </p:nvSpPr>
          <p:spPr bwMode="auto">
            <a:xfrm>
              <a:off x="3967175" y="1224418"/>
              <a:ext cx="15875" cy="9525"/>
            </a:xfrm>
            <a:custGeom>
              <a:avLst/>
              <a:gdLst>
                <a:gd name="T0" fmla="*/ 8 w 17"/>
                <a:gd name="T1" fmla="*/ 11 h 11"/>
                <a:gd name="T2" fmla="*/ 13 w 17"/>
                <a:gd name="T3" fmla="*/ 7 h 11"/>
                <a:gd name="T4" fmla="*/ 13 w 17"/>
                <a:gd name="T5" fmla="*/ 2 h 11"/>
                <a:gd name="T6" fmla="*/ 8 w 17"/>
                <a:gd name="T7" fmla="*/ 1 h 11"/>
                <a:gd name="T8" fmla="*/ 1 w 17"/>
                <a:gd name="T9" fmla="*/ 4 h 11"/>
                <a:gd name="T10" fmla="*/ 2 w 17"/>
                <a:gd name="T11" fmla="*/ 10 h 11"/>
                <a:gd name="T12" fmla="*/ 8 w 17"/>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7" h="11">
                  <a:moveTo>
                    <a:pt x="8" y="11"/>
                  </a:moveTo>
                  <a:cubicBezTo>
                    <a:pt x="11" y="9"/>
                    <a:pt x="12" y="11"/>
                    <a:pt x="13" y="7"/>
                  </a:cubicBezTo>
                  <a:cubicBezTo>
                    <a:pt x="14" y="3"/>
                    <a:pt x="17" y="3"/>
                    <a:pt x="13" y="2"/>
                  </a:cubicBezTo>
                  <a:cubicBezTo>
                    <a:pt x="9" y="1"/>
                    <a:pt x="12" y="0"/>
                    <a:pt x="8" y="1"/>
                  </a:cubicBezTo>
                  <a:cubicBezTo>
                    <a:pt x="3" y="2"/>
                    <a:pt x="2" y="1"/>
                    <a:pt x="1" y="4"/>
                  </a:cubicBezTo>
                  <a:cubicBezTo>
                    <a:pt x="0" y="7"/>
                    <a:pt x="0" y="8"/>
                    <a:pt x="2" y="10"/>
                  </a:cubicBezTo>
                  <a:cubicBezTo>
                    <a:pt x="4" y="11"/>
                    <a:pt x="6" y="10"/>
                    <a:pt x="8" y="1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87" name="Freeform 1152">
              <a:extLst>
                <a:ext uri="{FF2B5EF4-FFF2-40B4-BE49-F238E27FC236}">
                  <a16:creationId xmlns:a16="http://schemas.microsoft.com/office/drawing/2014/main" id="{EAE223E1-A95C-FA40-9A53-299CCF868FC9}"/>
                </a:ext>
              </a:extLst>
            </p:cNvPr>
            <p:cNvSpPr>
              <a:spLocks/>
            </p:cNvSpPr>
            <p:nvPr/>
          </p:nvSpPr>
          <p:spPr bwMode="auto">
            <a:xfrm>
              <a:off x="3937013" y="1105355"/>
              <a:ext cx="166688" cy="238125"/>
            </a:xfrm>
            <a:custGeom>
              <a:avLst/>
              <a:gdLst>
                <a:gd name="T0" fmla="*/ 165 w 174"/>
                <a:gd name="T1" fmla="*/ 189 h 250"/>
                <a:gd name="T2" fmla="*/ 142 w 174"/>
                <a:gd name="T3" fmla="*/ 205 h 250"/>
                <a:gd name="T4" fmla="*/ 153 w 174"/>
                <a:gd name="T5" fmla="*/ 218 h 250"/>
                <a:gd name="T6" fmla="*/ 114 w 174"/>
                <a:gd name="T7" fmla="*/ 224 h 250"/>
                <a:gd name="T8" fmla="*/ 107 w 174"/>
                <a:gd name="T9" fmla="*/ 229 h 250"/>
                <a:gd name="T10" fmla="*/ 84 w 174"/>
                <a:gd name="T11" fmla="*/ 229 h 250"/>
                <a:gd name="T12" fmla="*/ 64 w 174"/>
                <a:gd name="T13" fmla="*/ 226 h 250"/>
                <a:gd name="T14" fmla="*/ 43 w 174"/>
                <a:gd name="T15" fmla="*/ 237 h 250"/>
                <a:gd name="T16" fmla="*/ 19 w 174"/>
                <a:gd name="T17" fmla="*/ 245 h 250"/>
                <a:gd name="T18" fmla="*/ 9 w 174"/>
                <a:gd name="T19" fmla="*/ 238 h 250"/>
                <a:gd name="T20" fmla="*/ 22 w 174"/>
                <a:gd name="T21" fmla="*/ 229 h 250"/>
                <a:gd name="T22" fmla="*/ 36 w 174"/>
                <a:gd name="T23" fmla="*/ 218 h 250"/>
                <a:gd name="T24" fmla="*/ 62 w 174"/>
                <a:gd name="T25" fmla="*/ 213 h 250"/>
                <a:gd name="T26" fmla="*/ 67 w 174"/>
                <a:gd name="T27" fmla="*/ 205 h 250"/>
                <a:gd name="T28" fmla="*/ 45 w 174"/>
                <a:gd name="T29" fmla="*/ 205 h 250"/>
                <a:gd name="T30" fmla="*/ 29 w 174"/>
                <a:gd name="T31" fmla="*/ 201 h 250"/>
                <a:gd name="T32" fmla="*/ 27 w 174"/>
                <a:gd name="T33" fmla="*/ 188 h 250"/>
                <a:gd name="T34" fmla="*/ 46 w 174"/>
                <a:gd name="T35" fmla="*/ 177 h 250"/>
                <a:gd name="T36" fmla="*/ 38 w 174"/>
                <a:gd name="T37" fmla="*/ 162 h 250"/>
                <a:gd name="T38" fmla="*/ 46 w 174"/>
                <a:gd name="T39" fmla="*/ 157 h 250"/>
                <a:gd name="T40" fmla="*/ 62 w 174"/>
                <a:gd name="T41" fmla="*/ 155 h 250"/>
                <a:gd name="T42" fmla="*/ 73 w 174"/>
                <a:gd name="T43" fmla="*/ 138 h 250"/>
                <a:gd name="T44" fmla="*/ 59 w 174"/>
                <a:gd name="T45" fmla="*/ 122 h 250"/>
                <a:gd name="T46" fmla="*/ 63 w 174"/>
                <a:gd name="T47" fmla="*/ 111 h 250"/>
                <a:gd name="T48" fmla="*/ 39 w 174"/>
                <a:gd name="T49" fmla="*/ 116 h 250"/>
                <a:gd name="T50" fmla="*/ 29 w 174"/>
                <a:gd name="T51" fmla="*/ 111 h 250"/>
                <a:gd name="T52" fmla="*/ 38 w 174"/>
                <a:gd name="T53" fmla="*/ 91 h 250"/>
                <a:gd name="T54" fmla="*/ 26 w 174"/>
                <a:gd name="T55" fmla="*/ 93 h 250"/>
                <a:gd name="T56" fmla="*/ 20 w 174"/>
                <a:gd name="T57" fmla="*/ 95 h 250"/>
                <a:gd name="T58" fmla="*/ 14 w 174"/>
                <a:gd name="T59" fmla="*/ 95 h 250"/>
                <a:gd name="T60" fmla="*/ 2 w 174"/>
                <a:gd name="T61" fmla="*/ 92 h 250"/>
                <a:gd name="T62" fmla="*/ 14 w 174"/>
                <a:gd name="T63" fmla="*/ 82 h 250"/>
                <a:gd name="T64" fmla="*/ 29 w 174"/>
                <a:gd name="T65" fmla="*/ 73 h 250"/>
                <a:gd name="T66" fmla="*/ 19 w 174"/>
                <a:gd name="T67" fmla="*/ 75 h 250"/>
                <a:gd name="T68" fmla="*/ 10 w 174"/>
                <a:gd name="T69" fmla="*/ 66 h 250"/>
                <a:gd name="T70" fmla="*/ 20 w 174"/>
                <a:gd name="T71" fmla="*/ 58 h 250"/>
                <a:gd name="T72" fmla="*/ 5 w 174"/>
                <a:gd name="T73" fmla="*/ 46 h 250"/>
                <a:gd name="T74" fmla="*/ 16 w 174"/>
                <a:gd name="T75" fmla="*/ 51 h 250"/>
                <a:gd name="T76" fmla="*/ 24 w 174"/>
                <a:gd name="T77" fmla="*/ 41 h 250"/>
                <a:gd name="T78" fmla="*/ 34 w 174"/>
                <a:gd name="T79" fmla="*/ 28 h 250"/>
                <a:gd name="T80" fmla="*/ 46 w 174"/>
                <a:gd name="T81" fmla="*/ 16 h 250"/>
                <a:gd name="T82" fmla="*/ 67 w 174"/>
                <a:gd name="T83" fmla="*/ 16 h 250"/>
                <a:gd name="T84" fmla="*/ 75 w 174"/>
                <a:gd name="T85" fmla="*/ 13 h 250"/>
                <a:gd name="T86" fmla="*/ 82 w 174"/>
                <a:gd name="T87" fmla="*/ 2 h 250"/>
                <a:gd name="T88" fmla="*/ 88 w 174"/>
                <a:gd name="T89" fmla="*/ 9 h 250"/>
                <a:gd name="T90" fmla="*/ 83 w 174"/>
                <a:gd name="T91" fmla="*/ 16 h 250"/>
                <a:gd name="T92" fmla="*/ 73 w 174"/>
                <a:gd name="T93" fmla="*/ 27 h 250"/>
                <a:gd name="T94" fmla="*/ 62 w 174"/>
                <a:gd name="T95" fmla="*/ 38 h 250"/>
                <a:gd name="T96" fmla="*/ 63 w 174"/>
                <a:gd name="T97" fmla="*/ 43 h 250"/>
                <a:gd name="T98" fmla="*/ 100 w 174"/>
                <a:gd name="T99" fmla="*/ 40 h 250"/>
                <a:gd name="T100" fmla="*/ 98 w 174"/>
                <a:gd name="T101" fmla="*/ 55 h 250"/>
                <a:gd name="T102" fmla="*/ 80 w 174"/>
                <a:gd name="T103" fmla="*/ 72 h 250"/>
                <a:gd name="T104" fmla="*/ 69 w 174"/>
                <a:gd name="T105" fmla="*/ 82 h 250"/>
                <a:gd name="T106" fmla="*/ 85 w 174"/>
                <a:gd name="T107" fmla="*/ 84 h 250"/>
                <a:gd name="T108" fmla="*/ 108 w 174"/>
                <a:gd name="T109" fmla="*/ 116 h 250"/>
                <a:gd name="T110" fmla="*/ 126 w 174"/>
                <a:gd name="T111" fmla="*/ 130 h 250"/>
                <a:gd name="T112" fmla="*/ 138 w 174"/>
                <a:gd name="T113" fmla="*/ 151 h 250"/>
                <a:gd name="T114" fmla="*/ 138 w 174"/>
                <a:gd name="T115" fmla="*/ 170 h 250"/>
                <a:gd name="T116" fmla="*/ 155 w 174"/>
                <a:gd name="T117" fmla="*/ 163 h 250"/>
                <a:gd name="T118" fmla="*/ 168 w 174"/>
                <a:gd name="T119" fmla="*/ 17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4" h="250">
                  <a:moveTo>
                    <a:pt x="168" y="175"/>
                  </a:moveTo>
                  <a:cubicBezTo>
                    <a:pt x="167" y="181"/>
                    <a:pt x="170" y="184"/>
                    <a:pt x="165" y="189"/>
                  </a:cubicBezTo>
                  <a:cubicBezTo>
                    <a:pt x="159" y="193"/>
                    <a:pt x="163" y="194"/>
                    <a:pt x="154" y="197"/>
                  </a:cubicBezTo>
                  <a:cubicBezTo>
                    <a:pt x="145" y="200"/>
                    <a:pt x="146" y="203"/>
                    <a:pt x="142" y="205"/>
                  </a:cubicBezTo>
                  <a:cubicBezTo>
                    <a:pt x="138" y="206"/>
                    <a:pt x="156" y="208"/>
                    <a:pt x="161" y="211"/>
                  </a:cubicBezTo>
                  <a:cubicBezTo>
                    <a:pt x="166" y="213"/>
                    <a:pt x="161" y="216"/>
                    <a:pt x="153" y="218"/>
                  </a:cubicBezTo>
                  <a:cubicBezTo>
                    <a:pt x="146" y="220"/>
                    <a:pt x="146" y="222"/>
                    <a:pt x="138" y="222"/>
                  </a:cubicBezTo>
                  <a:cubicBezTo>
                    <a:pt x="130" y="222"/>
                    <a:pt x="123" y="225"/>
                    <a:pt x="114" y="224"/>
                  </a:cubicBezTo>
                  <a:cubicBezTo>
                    <a:pt x="106" y="223"/>
                    <a:pt x="104" y="221"/>
                    <a:pt x="102" y="220"/>
                  </a:cubicBezTo>
                  <a:cubicBezTo>
                    <a:pt x="99" y="219"/>
                    <a:pt x="104" y="225"/>
                    <a:pt x="107" y="229"/>
                  </a:cubicBezTo>
                  <a:cubicBezTo>
                    <a:pt x="110" y="233"/>
                    <a:pt x="98" y="227"/>
                    <a:pt x="96" y="225"/>
                  </a:cubicBezTo>
                  <a:cubicBezTo>
                    <a:pt x="94" y="224"/>
                    <a:pt x="87" y="227"/>
                    <a:pt x="84" y="229"/>
                  </a:cubicBezTo>
                  <a:cubicBezTo>
                    <a:pt x="82" y="232"/>
                    <a:pt x="78" y="229"/>
                    <a:pt x="77" y="227"/>
                  </a:cubicBezTo>
                  <a:cubicBezTo>
                    <a:pt x="76" y="225"/>
                    <a:pt x="69" y="226"/>
                    <a:pt x="64" y="226"/>
                  </a:cubicBezTo>
                  <a:cubicBezTo>
                    <a:pt x="58" y="226"/>
                    <a:pt x="54" y="229"/>
                    <a:pt x="54" y="233"/>
                  </a:cubicBezTo>
                  <a:cubicBezTo>
                    <a:pt x="53" y="237"/>
                    <a:pt x="46" y="238"/>
                    <a:pt x="43" y="237"/>
                  </a:cubicBezTo>
                  <a:cubicBezTo>
                    <a:pt x="40" y="236"/>
                    <a:pt x="38" y="237"/>
                    <a:pt x="32" y="237"/>
                  </a:cubicBezTo>
                  <a:cubicBezTo>
                    <a:pt x="27" y="237"/>
                    <a:pt x="23" y="240"/>
                    <a:pt x="19" y="245"/>
                  </a:cubicBezTo>
                  <a:cubicBezTo>
                    <a:pt x="15" y="250"/>
                    <a:pt x="11" y="245"/>
                    <a:pt x="7" y="245"/>
                  </a:cubicBezTo>
                  <a:cubicBezTo>
                    <a:pt x="3" y="244"/>
                    <a:pt x="5" y="240"/>
                    <a:pt x="9" y="238"/>
                  </a:cubicBezTo>
                  <a:cubicBezTo>
                    <a:pt x="13" y="236"/>
                    <a:pt x="12" y="236"/>
                    <a:pt x="17" y="234"/>
                  </a:cubicBezTo>
                  <a:cubicBezTo>
                    <a:pt x="22" y="231"/>
                    <a:pt x="17" y="231"/>
                    <a:pt x="22" y="229"/>
                  </a:cubicBezTo>
                  <a:cubicBezTo>
                    <a:pt x="26" y="228"/>
                    <a:pt x="26" y="230"/>
                    <a:pt x="27" y="227"/>
                  </a:cubicBezTo>
                  <a:cubicBezTo>
                    <a:pt x="28" y="224"/>
                    <a:pt x="27" y="220"/>
                    <a:pt x="36" y="218"/>
                  </a:cubicBezTo>
                  <a:cubicBezTo>
                    <a:pt x="46" y="215"/>
                    <a:pt x="37" y="211"/>
                    <a:pt x="47" y="211"/>
                  </a:cubicBezTo>
                  <a:cubicBezTo>
                    <a:pt x="56" y="211"/>
                    <a:pt x="54" y="213"/>
                    <a:pt x="62" y="213"/>
                  </a:cubicBezTo>
                  <a:cubicBezTo>
                    <a:pt x="70" y="213"/>
                    <a:pt x="72" y="205"/>
                    <a:pt x="76" y="200"/>
                  </a:cubicBezTo>
                  <a:cubicBezTo>
                    <a:pt x="80" y="196"/>
                    <a:pt x="72" y="202"/>
                    <a:pt x="67" y="205"/>
                  </a:cubicBezTo>
                  <a:cubicBezTo>
                    <a:pt x="62" y="207"/>
                    <a:pt x="57" y="208"/>
                    <a:pt x="52" y="207"/>
                  </a:cubicBezTo>
                  <a:cubicBezTo>
                    <a:pt x="48" y="206"/>
                    <a:pt x="47" y="202"/>
                    <a:pt x="45" y="205"/>
                  </a:cubicBezTo>
                  <a:cubicBezTo>
                    <a:pt x="42" y="207"/>
                    <a:pt x="41" y="202"/>
                    <a:pt x="40" y="200"/>
                  </a:cubicBezTo>
                  <a:cubicBezTo>
                    <a:pt x="40" y="199"/>
                    <a:pt x="35" y="199"/>
                    <a:pt x="29" y="201"/>
                  </a:cubicBezTo>
                  <a:cubicBezTo>
                    <a:pt x="23" y="204"/>
                    <a:pt x="21" y="198"/>
                    <a:pt x="18" y="195"/>
                  </a:cubicBezTo>
                  <a:cubicBezTo>
                    <a:pt x="16" y="193"/>
                    <a:pt x="22" y="190"/>
                    <a:pt x="27" y="188"/>
                  </a:cubicBezTo>
                  <a:cubicBezTo>
                    <a:pt x="32" y="186"/>
                    <a:pt x="33" y="187"/>
                    <a:pt x="38" y="184"/>
                  </a:cubicBezTo>
                  <a:cubicBezTo>
                    <a:pt x="44" y="181"/>
                    <a:pt x="44" y="180"/>
                    <a:pt x="46" y="177"/>
                  </a:cubicBezTo>
                  <a:cubicBezTo>
                    <a:pt x="49" y="175"/>
                    <a:pt x="41" y="171"/>
                    <a:pt x="35" y="171"/>
                  </a:cubicBezTo>
                  <a:cubicBezTo>
                    <a:pt x="29" y="170"/>
                    <a:pt x="39" y="163"/>
                    <a:pt x="38" y="162"/>
                  </a:cubicBezTo>
                  <a:cubicBezTo>
                    <a:pt x="37" y="161"/>
                    <a:pt x="34" y="157"/>
                    <a:pt x="37" y="153"/>
                  </a:cubicBezTo>
                  <a:cubicBezTo>
                    <a:pt x="40" y="149"/>
                    <a:pt x="45" y="153"/>
                    <a:pt x="46" y="157"/>
                  </a:cubicBezTo>
                  <a:cubicBezTo>
                    <a:pt x="48" y="162"/>
                    <a:pt x="48" y="157"/>
                    <a:pt x="52" y="155"/>
                  </a:cubicBezTo>
                  <a:cubicBezTo>
                    <a:pt x="57" y="154"/>
                    <a:pt x="58" y="155"/>
                    <a:pt x="62" y="155"/>
                  </a:cubicBezTo>
                  <a:cubicBezTo>
                    <a:pt x="65" y="155"/>
                    <a:pt x="70" y="152"/>
                    <a:pt x="69" y="146"/>
                  </a:cubicBezTo>
                  <a:cubicBezTo>
                    <a:pt x="68" y="141"/>
                    <a:pt x="70" y="141"/>
                    <a:pt x="73" y="138"/>
                  </a:cubicBezTo>
                  <a:cubicBezTo>
                    <a:pt x="76" y="135"/>
                    <a:pt x="68" y="132"/>
                    <a:pt x="64" y="131"/>
                  </a:cubicBezTo>
                  <a:cubicBezTo>
                    <a:pt x="61" y="130"/>
                    <a:pt x="61" y="126"/>
                    <a:pt x="59" y="122"/>
                  </a:cubicBezTo>
                  <a:cubicBezTo>
                    <a:pt x="57" y="117"/>
                    <a:pt x="63" y="117"/>
                    <a:pt x="69" y="115"/>
                  </a:cubicBezTo>
                  <a:cubicBezTo>
                    <a:pt x="75" y="113"/>
                    <a:pt x="68" y="111"/>
                    <a:pt x="63" y="111"/>
                  </a:cubicBezTo>
                  <a:cubicBezTo>
                    <a:pt x="58" y="111"/>
                    <a:pt x="54" y="114"/>
                    <a:pt x="50" y="114"/>
                  </a:cubicBezTo>
                  <a:cubicBezTo>
                    <a:pt x="46" y="115"/>
                    <a:pt x="42" y="117"/>
                    <a:pt x="39" y="116"/>
                  </a:cubicBezTo>
                  <a:cubicBezTo>
                    <a:pt x="36" y="114"/>
                    <a:pt x="36" y="122"/>
                    <a:pt x="34" y="122"/>
                  </a:cubicBezTo>
                  <a:cubicBezTo>
                    <a:pt x="32" y="121"/>
                    <a:pt x="29" y="113"/>
                    <a:pt x="29" y="111"/>
                  </a:cubicBezTo>
                  <a:cubicBezTo>
                    <a:pt x="29" y="110"/>
                    <a:pt x="32" y="102"/>
                    <a:pt x="34" y="101"/>
                  </a:cubicBezTo>
                  <a:cubicBezTo>
                    <a:pt x="37" y="100"/>
                    <a:pt x="39" y="94"/>
                    <a:pt x="38" y="91"/>
                  </a:cubicBezTo>
                  <a:cubicBezTo>
                    <a:pt x="37" y="89"/>
                    <a:pt x="32" y="92"/>
                    <a:pt x="31" y="89"/>
                  </a:cubicBezTo>
                  <a:cubicBezTo>
                    <a:pt x="30" y="86"/>
                    <a:pt x="26" y="89"/>
                    <a:pt x="26" y="93"/>
                  </a:cubicBezTo>
                  <a:cubicBezTo>
                    <a:pt x="27" y="96"/>
                    <a:pt x="21" y="103"/>
                    <a:pt x="18" y="103"/>
                  </a:cubicBezTo>
                  <a:cubicBezTo>
                    <a:pt x="15" y="103"/>
                    <a:pt x="18" y="98"/>
                    <a:pt x="20" y="95"/>
                  </a:cubicBezTo>
                  <a:cubicBezTo>
                    <a:pt x="21" y="91"/>
                    <a:pt x="21" y="91"/>
                    <a:pt x="19" y="88"/>
                  </a:cubicBezTo>
                  <a:cubicBezTo>
                    <a:pt x="16" y="86"/>
                    <a:pt x="16" y="91"/>
                    <a:pt x="14" y="95"/>
                  </a:cubicBezTo>
                  <a:cubicBezTo>
                    <a:pt x="12" y="99"/>
                    <a:pt x="8" y="95"/>
                    <a:pt x="7" y="94"/>
                  </a:cubicBezTo>
                  <a:cubicBezTo>
                    <a:pt x="7" y="93"/>
                    <a:pt x="3" y="93"/>
                    <a:pt x="2" y="92"/>
                  </a:cubicBezTo>
                  <a:cubicBezTo>
                    <a:pt x="0" y="91"/>
                    <a:pt x="3" y="89"/>
                    <a:pt x="5" y="86"/>
                  </a:cubicBezTo>
                  <a:cubicBezTo>
                    <a:pt x="7" y="84"/>
                    <a:pt x="11" y="85"/>
                    <a:pt x="14" y="82"/>
                  </a:cubicBezTo>
                  <a:cubicBezTo>
                    <a:pt x="17" y="80"/>
                    <a:pt x="18" y="81"/>
                    <a:pt x="22" y="79"/>
                  </a:cubicBezTo>
                  <a:cubicBezTo>
                    <a:pt x="25" y="76"/>
                    <a:pt x="24" y="77"/>
                    <a:pt x="29" y="73"/>
                  </a:cubicBezTo>
                  <a:cubicBezTo>
                    <a:pt x="34" y="70"/>
                    <a:pt x="29" y="69"/>
                    <a:pt x="27" y="69"/>
                  </a:cubicBezTo>
                  <a:cubicBezTo>
                    <a:pt x="26" y="69"/>
                    <a:pt x="25" y="72"/>
                    <a:pt x="19" y="75"/>
                  </a:cubicBezTo>
                  <a:cubicBezTo>
                    <a:pt x="13" y="79"/>
                    <a:pt x="13" y="78"/>
                    <a:pt x="11" y="76"/>
                  </a:cubicBezTo>
                  <a:cubicBezTo>
                    <a:pt x="8" y="75"/>
                    <a:pt x="9" y="73"/>
                    <a:pt x="10" y="66"/>
                  </a:cubicBezTo>
                  <a:cubicBezTo>
                    <a:pt x="11" y="60"/>
                    <a:pt x="14" y="65"/>
                    <a:pt x="19" y="63"/>
                  </a:cubicBezTo>
                  <a:cubicBezTo>
                    <a:pt x="25" y="62"/>
                    <a:pt x="21" y="61"/>
                    <a:pt x="20" y="58"/>
                  </a:cubicBezTo>
                  <a:cubicBezTo>
                    <a:pt x="20" y="56"/>
                    <a:pt x="11" y="56"/>
                    <a:pt x="9" y="55"/>
                  </a:cubicBezTo>
                  <a:cubicBezTo>
                    <a:pt x="6" y="53"/>
                    <a:pt x="5" y="48"/>
                    <a:pt x="5" y="46"/>
                  </a:cubicBezTo>
                  <a:cubicBezTo>
                    <a:pt x="5" y="43"/>
                    <a:pt x="9" y="42"/>
                    <a:pt x="14" y="42"/>
                  </a:cubicBezTo>
                  <a:cubicBezTo>
                    <a:pt x="19" y="42"/>
                    <a:pt x="16" y="46"/>
                    <a:pt x="16" y="51"/>
                  </a:cubicBezTo>
                  <a:cubicBezTo>
                    <a:pt x="16" y="56"/>
                    <a:pt x="17" y="52"/>
                    <a:pt x="22" y="50"/>
                  </a:cubicBezTo>
                  <a:cubicBezTo>
                    <a:pt x="27" y="47"/>
                    <a:pt x="24" y="44"/>
                    <a:pt x="24" y="41"/>
                  </a:cubicBezTo>
                  <a:cubicBezTo>
                    <a:pt x="25" y="38"/>
                    <a:pt x="25" y="34"/>
                    <a:pt x="30" y="34"/>
                  </a:cubicBezTo>
                  <a:cubicBezTo>
                    <a:pt x="36" y="34"/>
                    <a:pt x="34" y="31"/>
                    <a:pt x="34" y="28"/>
                  </a:cubicBezTo>
                  <a:cubicBezTo>
                    <a:pt x="34" y="24"/>
                    <a:pt x="38" y="21"/>
                    <a:pt x="38" y="17"/>
                  </a:cubicBezTo>
                  <a:cubicBezTo>
                    <a:pt x="38" y="13"/>
                    <a:pt x="44" y="15"/>
                    <a:pt x="46" y="16"/>
                  </a:cubicBezTo>
                  <a:cubicBezTo>
                    <a:pt x="47" y="17"/>
                    <a:pt x="48" y="18"/>
                    <a:pt x="54" y="18"/>
                  </a:cubicBezTo>
                  <a:cubicBezTo>
                    <a:pt x="61" y="18"/>
                    <a:pt x="61" y="19"/>
                    <a:pt x="67" y="16"/>
                  </a:cubicBezTo>
                  <a:cubicBezTo>
                    <a:pt x="73" y="12"/>
                    <a:pt x="71" y="15"/>
                    <a:pt x="75" y="14"/>
                  </a:cubicBezTo>
                  <a:cubicBezTo>
                    <a:pt x="75" y="14"/>
                    <a:pt x="75" y="14"/>
                    <a:pt x="75" y="13"/>
                  </a:cubicBezTo>
                  <a:cubicBezTo>
                    <a:pt x="76" y="11"/>
                    <a:pt x="74" y="8"/>
                    <a:pt x="73" y="4"/>
                  </a:cubicBezTo>
                  <a:cubicBezTo>
                    <a:pt x="73" y="0"/>
                    <a:pt x="78" y="0"/>
                    <a:pt x="82" y="2"/>
                  </a:cubicBezTo>
                  <a:cubicBezTo>
                    <a:pt x="85" y="5"/>
                    <a:pt x="84" y="4"/>
                    <a:pt x="89" y="5"/>
                  </a:cubicBezTo>
                  <a:cubicBezTo>
                    <a:pt x="94" y="7"/>
                    <a:pt x="89" y="7"/>
                    <a:pt x="88" y="9"/>
                  </a:cubicBezTo>
                  <a:cubicBezTo>
                    <a:pt x="87" y="10"/>
                    <a:pt x="85" y="12"/>
                    <a:pt x="81" y="12"/>
                  </a:cubicBezTo>
                  <a:cubicBezTo>
                    <a:pt x="77" y="12"/>
                    <a:pt x="81" y="14"/>
                    <a:pt x="83" y="16"/>
                  </a:cubicBezTo>
                  <a:cubicBezTo>
                    <a:pt x="84" y="17"/>
                    <a:pt x="83" y="17"/>
                    <a:pt x="80" y="20"/>
                  </a:cubicBezTo>
                  <a:cubicBezTo>
                    <a:pt x="78" y="23"/>
                    <a:pt x="77" y="26"/>
                    <a:pt x="73" y="27"/>
                  </a:cubicBezTo>
                  <a:cubicBezTo>
                    <a:pt x="70" y="29"/>
                    <a:pt x="66" y="31"/>
                    <a:pt x="62" y="32"/>
                  </a:cubicBezTo>
                  <a:cubicBezTo>
                    <a:pt x="57" y="33"/>
                    <a:pt x="60" y="38"/>
                    <a:pt x="62" y="38"/>
                  </a:cubicBezTo>
                  <a:cubicBezTo>
                    <a:pt x="64" y="39"/>
                    <a:pt x="55" y="41"/>
                    <a:pt x="54" y="44"/>
                  </a:cubicBezTo>
                  <a:cubicBezTo>
                    <a:pt x="54" y="47"/>
                    <a:pt x="61" y="44"/>
                    <a:pt x="63" y="43"/>
                  </a:cubicBezTo>
                  <a:cubicBezTo>
                    <a:pt x="65" y="42"/>
                    <a:pt x="68" y="40"/>
                    <a:pt x="68" y="40"/>
                  </a:cubicBezTo>
                  <a:cubicBezTo>
                    <a:pt x="68" y="40"/>
                    <a:pt x="97" y="40"/>
                    <a:pt x="100" y="40"/>
                  </a:cubicBezTo>
                  <a:cubicBezTo>
                    <a:pt x="103" y="40"/>
                    <a:pt x="103" y="41"/>
                    <a:pt x="103" y="44"/>
                  </a:cubicBezTo>
                  <a:cubicBezTo>
                    <a:pt x="104" y="47"/>
                    <a:pt x="101" y="51"/>
                    <a:pt x="98" y="55"/>
                  </a:cubicBezTo>
                  <a:cubicBezTo>
                    <a:pt x="96" y="59"/>
                    <a:pt x="93" y="63"/>
                    <a:pt x="90" y="65"/>
                  </a:cubicBezTo>
                  <a:cubicBezTo>
                    <a:pt x="88" y="67"/>
                    <a:pt x="80" y="70"/>
                    <a:pt x="80" y="72"/>
                  </a:cubicBezTo>
                  <a:cubicBezTo>
                    <a:pt x="81" y="74"/>
                    <a:pt x="84" y="76"/>
                    <a:pt x="84" y="78"/>
                  </a:cubicBezTo>
                  <a:cubicBezTo>
                    <a:pt x="83" y="79"/>
                    <a:pt x="71" y="81"/>
                    <a:pt x="69" y="82"/>
                  </a:cubicBezTo>
                  <a:cubicBezTo>
                    <a:pt x="67" y="83"/>
                    <a:pt x="67" y="85"/>
                    <a:pt x="73" y="84"/>
                  </a:cubicBezTo>
                  <a:cubicBezTo>
                    <a:pt x="79" y="84"/>
                    <a:pt x="79" y="84"/>
                    <a:pt x="85" y="84"/>
                  </a:cubicBezTo>
                  <a:cubicBezTo>
                    <a:pt x="90" y="84"/>
                    <a:pt x="96" y="87"/>
                    <a:pt x="103" y="97"/>
                  </a:cubicBezTo>
                  <a:cubicBezTo>
                    <a:pt x="109" y="107"/>
                    <a:pt x="107" y="105"/>
                    <a:pt x="108" y="116"/>
                  </a:cubicBezTo>
                  <a:cubicBezTo>
                    <a:pt x="110" y="126"/>
                    <a:pt x="112" y="119"/>
                    <a:pt x="123" y="122"/>
                  </a:cubicBezTo>
                  <a:cubicBezTo>
                    <a:pt x="134" y="125"/>
                    <a:pt x="123" y="128"/>
                    <a:pt x="126" y="130"/>
                  </a:cubicBezTo>
                  <a:cubicBezTo>
                    <a:pt x="128" y="133"/>
                    <a:pt x="131" y="139"/>
                    <a:pt x="132" y="144"/>
                  </a:cubicBezTo>
                  <a:cubicBezTo>
                    <a:pt x="132" y="149"/>
                    <a:pt x="132" y="144"/>
                    <a:pt x="138" y="151"/>
                  </a:cubicBezTo>
                  <a:cubicBezTo>
                    <a:pt x="145" y="157"/>
                    <a:pt x="139" y="157"/>
                    <a:pt x="138" y="160"/>
                  </a:cubicBezTo>
                  <a:cubicBezTo>
                    <a:pt x="138" y="162"/>
                    <a:pt x="134" y="166"/>
                    <a:pt x="138" y="170"/>
                  </a:cubicBezTo>
                  <a:cubicBezTo>
                    <a:pt x="143" y="173"/>
                    <a:pt x="143" y="169"/>
                    <a:pt x="144" y="166"/>
                  </a:cubicBezTo>
                  <a:cubicBezTo>
                    <a:pt x="146" y="164"/>
                    <a:pt x="150" y="163"/>
                    <a:pt x="155" y="163"/>
                  </a:cubicBezTo>
                  <a:cubicBezTo>
                    <a:pt x="159" y="163"/>
                    <a:pt x="160" y="165"/>
                    <a:pt x="167" y="167"/>
                  </a:cubicBezTo>
                  <a:cubicBezTo>
                    <a:pt x="174" y="168"/>
                    <a:pt x="169" y="168"/>
                    <a:pt x="168" y="175"/>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88" name="Freeform 1153">
              <a:extLst>
                <a:ext uri="{FF2B5EF4-FFF2-40B4-BE49-F238E27FC236}">
                  <a16:creationId xmlns:a16="http://schemas.microsoft.com/office/drawing/2014/main" id="{A7C75D7F-09F9-354F-B6DD-456B7E338498}"/>
                </a:ext>
              </a:extLst>
            </p:cNvPr>
            <p:cNvSpPr>
              <a:spLocks/>
            </p:cNvSpPr>
            <p:nvPr/>
          </p:nvSpPr>
          <p:spPr bwMode="auto">
            <a:xfrm>
              <a:off x="3903675" y="1200605"/>
              <a:ext cx="55563" cy="33338"/>
            </a:xfrm>
            <a:custGeom>
              <a:avLst/>
              <a:gdLst>
                <a:gd name="T0" fmla="*/ 56 w 59"/>
                <a:gd name="T1" fmla="*/ 26 h 36"/>
                <a:gd name="T2" fmla="*/ 48 w 59"/>
                <a:gd name="T3" fmla="*/ 32 h 36"/>
                <a:gd name="T4" fmla="*/ 36 w 59"/>
                <a:gd name="T5" fmla="*/ 36 h 36"/>
                <a:gd name="T6" fmla="*/ 35 w 59"/>
                <a:gd name="T7" fmla="*/ 36 h 36"/>
                <a:gd name="T8" fmla="*/ 35 w 59"/>
                <a:gd name="T9" fmla="*/ 36 h 36"/>
                <a:gd name="T10" fmla="*/ 30 w 59"/>
                <a:gd name="T11" fmla="*/ 32 h 36"/>
                <a:gd name="T12" fmla="*/ 23 w 59"/>
                <a:gd name="T13" fmla="*/ 26 h 36"/>
                <a:gd name="T14" fmla="*/ 20 w 59"/>
                <a:gd name="T15" fmla="*/ 31 h 36"/>
                <a:gd name="T16" fmla="*/ 15 w 59"/>
                <a:gd name="T17" fmla="*/ 34 h 36"/>
                <a:gd name="T18" fmla="*/ 5 w 59"/>
                <a:gd name="T19" fmla="*/ 30 h 36"/>
                <a:gd name="T20" fmla="*/ 2 w 59"/>
                <a:gd name="T21" fmla="*/ 27 h 36"/>
                <a:gd name="T22" fmla="*/ 6 w 59"/>
                <a:gd name="T23" fmla="*/ 22 h 36"/>
                <a:gd name="T24" fmla="*/ 12 w 59"/>
                <a:gd name="T25" fmla="*/ 17 h 36"/>
                <a:gd name="T26" fmla="*/ 18 w 59"/>
                <a:gd name="T27" fmla="*/ 12 h 36"/>
                <a:gd name="T28" fmla="*/ 15 w 59"/>
                <a:gd name="T29" fmla="*/ 6 h 36"/>
                <a:gd name="T30" fmla="*/ 14 w 59"/>
                <a:gd name="T31" fmla="*/ 3 h 36"/>
                <a:gd name="T32" fmla="*/ 14 w 59"/>
                <a:gd name="T33" fmla="*/ 3 h 36"/>
                <a:gd name="T34" fmla="*/ 15 w 59"/>
                <a:gd name="T35" fmla="*/ 2 h 36"/>
                <a:gd name="T36" fmla="*/ 21 w 59"/>
                <a:gd name="T37" fmla="*/ 2 h 36"/>
                <a:gd name="T38" fmla="*/ 25 w 59"/>
                <a:gd name="T39" fmla="*/ 7 h 36"/>
                <a:gd name="T40" fmla="*/ 32 w 59"/>
                <a:gd name="T41" fmla="*/ 6 h 36"/>
                <a:gd name="T42" fmla="*/ 41 w 59"/>
                <a:gd name="T43" fmla="*/ 3 h 36"/>
                <a:gd name="T44" fmla="*/ 49 w 59"/>
                <a:gd name="T45" fmla="*/ 9 h 36"/>
                <a:gd name="T46" fmla="*/ 55 w 59"/>
                <a:gd name="T47" fmla="*/ 17 h 36"/>
                <a:gd name="T48" fmla="*/ 56 w 59"/>
                <a:gd name="T4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6">
                  <a:moveTo>
                    <a:pt x="56" y="26"/>
                  </a:moveTo>
                  <a:cubicBezTo>
                    <a:pt x="55" y="30"/>
                    <a:pt x="55" y="30"/>
                    <a:pt x="48" y="32"/>
                  </a:cubicBezTo>
                  <a:cubicBezTo>
                    <a:pt x="42" y="35"/>
                    <a:pt x="43" y="36"/>
                    <a:pt x="36" y="36"/>
                  </a:cubicBezTo>
                  <a:cubicBezTo>
                    <a:pt x="36" y="36"/>
                    <a:pt x="35" y="36"/>
                    <a:pt x="35" y="36"/>
                  </a:cubicBezTo>
                  <a:cubicBezTo>
                    <a:pt x="35" y="36"/>
                    <a:pt x="35" y="36"/>
                    <a:pt x="35" y="36"/>
                  </a:cubicBezTo>
                  <a:cubicBezTo>
                    <a:pt x="33" y="35"/>
                    <a:pt x="31" y="33"/>
                    <a:pt x="30" y="32"/>
                  </a:cubicBezTo>
                  <a:cubicBezTo>
                    <a:pt x="27" y="29"/>
                    <a:pt x="27" y="30"/>
                    <a:pt x="23" y="26"/>
                  </a:cubicBezTo>
                  <a:cubicBezTo>
                    <a:pt x="20" y="22"/>
                    <a:pt x="20" y="28"/>
                    <a:pt x="20" y="31"/>
                  </a:cubicBezTo>
                  <a:cubicBezTo>
                    <a:pt x="20" y="34"/>
                    <a:pt x="17" y="33"/>
                    <a:pt x="15" y="34"/>
                  </a:cubicBezTo>
                  <a:cubicBezTo>
                    <a:pt x="13" y="35"/>
                    <a:pt x="10" y="33"/>
                    <a:pt x="5" y="30"/>
                  </a:cubicBezTo>
                  <a:cubicBezTo>
                    <a:pt x="0" y="26"/>
                    <a:pt x="2" y="28"/>
                    <a:pt x="2" y="27"/>
                  </a:cubicBezTo>
                  <a:cubicBezTo>
                    <a:pt x="1" y="25"/>
                    <a:pt x="4" y="23"/>
                    <a:pt x="6" y="22"/>
                  </a:cubicBezTo>
                  <a:cubicBezTo>
                    <a:pt x="9" y="20"/>
                    <a:pt x="8" y="20"/>
                    <a:pt x="12" y="17"/>
                  </a:cubicBezTo>
                  <a:cubicBezTo>
                    <a:pt x="16" y="14"/>
                    <a:pt x="15" y="15"/>
                    <a:pt x="18" y="12"/>
                  </a:cubicBezTo>
                  <a:cubicBezTo>
                    <a:pt x="20" y="9"/>
                    <a:pt x="17" y="9"/>
                    <a:pt x="15" y="6"/>
                  </a:cubicBezTo>
                  <a:cubicBezTo>
                    <a:pt x="14" y="5"/>
                    <a:pt x="14" y="4"/>
                    <a:pt x="14" y="3"/>
                  </a:cubicBezTo>
                  <a:cubicBezTo>
                    <a:pt x="14" y="3"/>
                    <a:pt x="14" y="3"/>
                    <a:pt x="14" y="3"/>
                  </a:cubicBezTo>
                  <a:cubicBezTo>
                    <a:pt x="14" y="3"/>
                    <a:pt x="15" y="2"/>
                    <a:pt x="15" y="2"/>
                  </a:cubicBezTo>
                  <a:cubicBezTo>
                    <a:pt x="18" y="0"/>
                    <a:pt x="19" y="2"/>
                    <a:pt x="21" y="2"/>
                  </a:cubicBezTo>
                  <a:cubicBezTo>
                    <a:pt x="24" y="2"/>
                    <a:pt x="25" y="4"/>
                    <a:pt x="25" y="7"/>
                  </a:cubicBezTo>
                  <a:cubicBezTo>
                    <a:pt x="25" y="10"/>
                    <a:pt x="27" y="7"/>
                    <a:pt x="32" y="6"/>
                  </a:cubicBezTo>
                  <a:cubicBezTo>
                    <a:pt x="37" y="4"/>
                    <a:pt x="38" y="4"/>
                    <a:pt x="41" y="3"/>
                  </a:cubicBezTo>
                  <a:cubicBezTo>
                    <a:pt x="45" y="1"/>
                    <a:pt x="46" y="4"/>
                    <a:pt x="49" y="9"/>
                  </a:cubicBezTo>
                  <a:cubicBezTo>
                    <a:pt x="52" y="13"/>
                    <a:pt x="50" y="12"/>
                    <a:pt x="55" y="17"/>
                  </a:cubicBezTo>
                  <a:cubicBezTo>
                    <a:pt x="59" y="22"/>
                    <a:pt x="58" y="21"/>
                    <a:pt x="56" y="26"/>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89" name="Freeform 1154">
              <a:extLst>
                <a:ext uri="{FF2B5EF4-FFF2-40B4-BE49-F238E27FC236}">
                  <a16:creationId xmlns:a16="http://schemas.microsoft.com/office/drawing/2014/main" id="{C98907D5-9689-8C4B-84E6-EA0D50458BDE}"/>
                </a:ext>
              </a:extLst>
            </p:cNvPr>
            <p:cNvSpPr>
              <a:spLocks/>
            </p:cNvSpPr>
            <p:nvPr/>
          </p:nvSpPr>
          <p:spPr bwMode="auto">
            <a:xfrm>
              <a:off x="3844937" y="1203780"/>
              <a:ext cx="100013" cy="96838"/>
            </a:xfrm>
            <a:custGeom>
              <a:avLst/>
              <a:gdLst>
                <a:gd name="T0" fmla="*/ 101 w 105"/>
                <a:gd name="T1" fmla="*/ 58 h 102"/>
                <a:gd name="T2" fmla="*/ 98 w 105"/>
                <a:gd name="T3" fmla="*/ 75 h 102"/>
                <a:gd name="T4" fmla="*/ 88 w 105"/>
                <a:gd name="T5" fmla="*/ 82 h 102"/>
                <a:gd name="T6" fmla="*/ 75 w 105"/>
                <a:gd name="T7" fmla="*/ 84 h 102"/>
                <a:gd name="T8" fmla="*/ 63 w 105"/>
                <a:gd name="T9" fmla="*/ 91 h 102"/>
                <a:gd name="T10" fmla="*/ 51 w 105"/>
                <a:gd name="T11" fmla="*/ 91 h 102"/>
                <a:gd name="T12" fmla="*/ 38 w 105"/>
                <a:gd name="T13" fmla="*/ 96 h 102"/>
                <a:gd name="T14" fmla="*/ 29 w 105"/>
                <a:gd name="T15" fmla="*/ 101 h 102"/>
                <a:gd name="T16" fmla="*/ 17 w 105"/>
                <a:gd name="T17" fmla="*/ 97 h 102"/>
                <a:gd name="T18" fmla="*/ 8 w 105"/>
                <a:gd name="T19" fmla="*/ 96 h 102"/>
                <a:gd name="T20" fmla="*/ 11 w 105"/>
                <a:gd name="T21" fmla="*/ 90 h 102"/>
                <a:gd name="T22" fmla="*/ 6 w 105"/>
                <a:gd name="T23" fmla="*/ 84 h 102"/>
                <a:gd name="T24" fmla="*/ 19 w 105"/>
                <a:gd name="T25" fmla="*/ 80 h 102"/>
                <a:gd name="T26" fmla="*/ 21 w 105"/>
                <a:gd name="T27" fmla="*/ 73 h 102"/>
                <a:gd name="T28" fmla="*/ 27 w 105"/>
                <a:gd name="T29" fmla="*/ 68 h 102"/>
                <a:gd name="T30" fmla="*/ 33 w 105"/>
                <a:gd name="T31" fmla="*/ 61 h 102"/>
                <a:gd name="T32" fmla="*/ 33 w 105"/>
                <a:gd name="T33" fmla="*/ 55 h 102"/>
                <a:gd name="T34" fmla="*/ 17 w 105"/>
                <a:gd name="T35" fmla="*/ 50 h 102"/>
                <a:gd name="T36" fmla="*/ 24 w 105"/>
                <a:gd name="T37" fmla="*/ 43 h 102"/>
                <a:gd name="T38" fmla="*/ 23 w 105"/>
                <a:gd name="T39" fmla="*/ 37 h 102"/>
                <a:gd name="T40" fmla="*/ 22 w 105"/>
                <a:gd name="T41" fmla="*/ 28 h 102"/>
                <a:gd name="T42" fmla="*/ 29 w 105"/>
                <a:gd name="T43" fmla="*/ 27 h 102"/>
                <a:gd name="T44" fmla="*/ 44 w 105"/>
                <a:gd name="T45" fmla="*/ 28 h 102"/>
                <a:gd name="T46" fmla="*/ 54 w 105"/>
                <a:gd name="T47" fmla="*/ 23 h 102"/>
                <a:gd name="T48" fmla="*/ 61 w 105"/>
                <a:gd name="T49" fmla="*/ 18 h 102"/>
                <a:gd name="T50" fmla="*/ 52 w 105"/>
                <a:gd name="T51" fmla="*/ 18 h 102"/>
                <a:gd name="T52" fmla="*/ 55 w 105"/>
                <a:gd name="T53" fmla="*/ 13 h 102"/>
                <a:gd name="T54" fmla="*/ 57 w 105"/>
                <a:gd name="T55" fmla="*/ 9 h 102"/>
                <a:gd name="T56" fmla="*/ 62 w 105"/>
                <a:gd name="T57" fmla="*/ 3 h 102"/>
                <a:gd name="T58" fmla="*/ 71 w 105"/>
                <a:gd name="T59" fmla="*/ 1 h 102"/>
                <a:gd name="T60" fmla="*/ 76 w 105"/>
                <a:gd name="T61" fmla="*/ 0 h 102"/>
                <a:gd name="T62" fmla="*/ 77 w 105"/>
                <a:gd name="T63" fmla="*/ 3 h 102"/>
                <a:gd name="T64" fmla="*/ 80 w 105"/>
                <a:gd name="T65" fmla="*/ 9 h 102"/>
                <a:gd name="T66" fmla="*/ 74 w 105"/>
                <a:gd name="T67" fmla="*/ 14 h 102"/>
                <a:gd name="T68" fmla="*/ 68 w 105"/>
                <a:gd name="T69" fmla="*/ 19 h 102"/>
                <a:gd name="T70" fmla="*/ 64 w 105"/>
                <a:gd name="T71" fmla="*/ 24 h 102"/>
                <a:gd name="T72" fmla="*/ 67 w 105"/>
                <a:gd name="T73" fmla="*/ 27 h 102"/>
                <a:gd name="T74" fmla="*/ 77 w 105"/>
                <a:gd name="T75" fmla="*/ 31 h 102"/>
                <a:gd name="T76" fmla="*/ 82 w 105"/>
                <a:gd name="T77" fmla="*/ 28 h 102"/>
                <a:gd name="T78" fmla="*/ 85 w 105"/>
                <a:gd name="T79" fmla="*/ 23 h 102"/>
                <a:gd name="T80" fmla="*/ 92 w 105"/>
                <a:gd name="T81" fmla="*/ 29 h 102"/>
                <a:gd name="T82" fmla="*/ 97 w 105"/>
                <a:gd name="T83" fmla="*/ 33 h 102"/>
                <a:gd name="T84" fmla="*/ 101 w 105"/>
                <a:gd name="T85" fmla="*/ 41 h 102"/>
                <a:gd name="T86" fmla="*/ 101 w 105"/>
                <a:gd name="T87" fmla="*/ 5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5" h="102">
                  <a:moveTo>
                    <a:pt x="101" y="58"/>
                  </a:moveTo>
                  <a:cubicBezTo>
                    <a:pt x="101" y="67"/>
                    <a:pt x="102" y="66"/>
                    <a:pt x="98" y="75"/>
                  </a:cubicBezTo>
                  <a:cubicBezTo>
                    <a:pt x="93" y="84"/>
                    <a:pt x="96" y="82"/>
                    <a:pt x="88" y="82"/>
                  </a:cubicBezTo>
                  <a:cubicBezTo>
                    <a:pt x="80" y="81"/>
                    <a:pt x="81" y="84"/>
                    <a:pt x="75" y="84"/>
                  </a:cubicBezTo>
                  <a:cubicBezTo>
                    <a:pt x="68" y="85"/>
                    <a:pt x="70" y="89"/>
                    <a:pt x="63" y="91"/>
                  </a:cubicBezTo>
                  <a:cubicBezTo>
                    <a:pt x="57" y="94"/>
                    <a:pt x="55" y="93"/>
                    <a:pt x="51" y="91"/>
                  </a:cubicBezTo>
                  <a:cubicBezTo>
                    <a:pt x="47" y="89"/>
                    <a:pt x="46" y="95"/>
                    <a:pt x="38" y="96"/>
                  </a:cubicBezTo>
                  <a:cubicBezTo>
                    <a:pt x="31" y="96"/>
                    <a:pt x="34" y="101"/>
                    <a:pt x="29" y="101"/>
                  </a:cubicBezTo>
                  <a:cubicBezTo>
                    <a:pt x="24" y="102"/>
                    <a:pt x="22" y="101"/>
                    <a:pt x="17" y="97"/>
                  </a:cubicBezTo>
                  <a:cubicBezTo>
                    <a:pt x="13" y="92"/>
                    <a:pt x="11" y="98"/>
                    <a:pt x="8" y="96"/>
                  </a:cubicBezTo>
                  <a:cubicBezTo>
                    <a:pt x="5" y="94"/>
                    <a:pt x="9" y="91"/>
                    <a:pt x="11" y="90"/>
                  </a:cubicBezTo>
                  <a:cubicBezTo>
                    <a:pt x="13" y="89"/>
                    <a:pt x="12" y="84"/>
                    <a:pt x="6" y="84"/>
                  </a:cubicBezTo>
                  <a:cubicBezTo>
                    <a:pt x="0" y="83"/>
                    <a:pt x="11" y="81"/>
                    <a:pt x="19" y="80"/>
                  </a:cubicBezTo>
                  <a:cubicBezTo>
                    <a:pt x="28" y="79"/>
                    <a:pt x="21" y="78"/>
                    <a:pt x="21" y="73"/>
                  </a:cubicBezTo>
                  <a:cubicBezTo>
                    <a:pt x="21" y="68"/>
                    <a:pt x="23" y="72"/>
                    <a:pt x="27" y="68"/>
                  </a:cubicBezTo>
                  <a:cubicBezTo>
                    <a:pt x="31" y="63"/>
                    <a:pt x="31" y="63"/>
                    <a:pt x="33" y="61"/>
                  </a:cubicBezTo>
                  <a:cubicBezTo>
                    <a:pt x="36" y="59"/>
                    <a:pt x="35" y="56"/>
                    <a:pt x="33" y="55"/>
                  </a:cubicBezTo>
                  <a:cubicBezTo>
                    <a:pt x="31" y="54"/>
                    <a:pt x="21" y="52"/>
                    <a:pt x="17" y="50"/>
                  </a:cubicBezTo>
                  <a:cubicBezTo>
                    <a:pt x="14" y="48"/>
                    <a:pt x="20" y="44"/>
                    <a:pt x="24" y="43"/>
                  </a:cubicBezTo>
                  <a:cubicBezTo>
                    <a:pt x="27" y="42"/>
                    <a:pt x="28" y="40"/>
                    <a:pt x="23" y="37"/>
                  </a:cubicBezTo>
                  <a:cubicBezTo>
                    <a:pt x="18" y="35"/>
                    <a:pt x="24" y="33"/>
                    <a:pt x="22" y="28"/>
                  </a:cubicBezTo>
                  <a:cubicBezTo>
                    <a:pt x="20" y="23"/>
                    <a:pt x="24" y="28"/>
                    <a:pt x="29" y="27"/>
                  </a:cubicBezTo>
                  <a:cubicBezTo>
                    <a:pt x="35" y="26"/>
                    <a:pt x="31" y="27"/>
                    <a:pt x="44" y="28"/>
                  </a:cubicBezTo>
                  <a:cubicBezTo>
                    <a:pt x="56" y="29"/>
                    <a:pt x="52" y="27"/>
                    <a:pt x="54" y="23"/>
                  </a:cubicBezTo>
                  <a:cubicBezTo>
                    <a:pt x="55" y="19"/>
                    <a:pt x="58" y="22"/>
                    <a:pt x="61" y="18"/>
                  </a:cubicBezTo>
                  <a:cubicBezTo>
                    <a:pt x="63" y="14"/>
                    <a:pt x="54" y="19"/>
                    <a:pt x="52" y="18"/>
                  </a:cubicBezTo>
                  <a:cubicBezTo>
                    <a:pt x="51" y="17"/>
                    <a:pt x="50" y="15"/>
                    <a:pt x="55" y="13"/>
                  </a:cubicBezTo>
                  <a:cubicBezTo>
                    <a:pt x="60" y="10"/>
                    <a:pt x="58" y="11"/>
                    <a:pt x="57" y="9"/>
                  </a:cubicBezTo>
                  <a:cubicBezTo>
                    <a:pt x="56" y="6"/>
                    <a:pt x="60" y="6"/>
                    <a:pt x="62" y="3"/>
                  </a:cubicBezTo>
                  <a:cubicBezTo>
                    <a:pt x="62" y="0"/>
                    <a:pt x="67" y="3"/>
                    <a:pt x="71" y="1"/>
                  </a:cubicBezTo>
                  <a:cubicBezTo>
                    <a:pt x="75" y="0"/>
                    <a:pt x="74" y="1"/>
                    <a:pt x="76" y="0"/>
                  </a:cubicBezTo>
                  <a:cubicBezTo>
                    <a:pt x="76" y="1"/>
                    <a:pt x="76" y="2"/>
                    <a:pt x="77" y="3"/>
                  </a:cubicBezTo>
                  <a:cubicBezTo>
                    <a:pt x="79" y="6"/>
                    <a:pt x="82" y="6"/>
                    <a:pt x="80" y="9"/>
                  </a:cubicBezTo>
                  <a:cubicBezTo>
                    <a:pt x="77" y="12"/>
                    <a:pt x="78" y="11"/>
                    <a:pt x="74" y="14"/>
                  </a:cubicBezTo>
                  <a:cubicBezTo>
                    <a:pt x="70" y="17"/>
                    <a:pt x="71" y="17"/>
                    <a:pt x="68" y="19"/>
                  </a:cubicBezTo>
                  <a:cubicBezTo>
                    <a:pt x="66" y="20"/>
                    <a:pt x="63" y="22"/>
                    <a:pt x="64" y="24"/>
                  </a:cubicBezTo>
                  <a:cubicBezTo>
                    <a:pt x="64" y="25"/>
                    <a:pt x="62" y="23"/>
                    <a:pt x="67" y="27"/>
                  </a:cubicBezTo>
                  <a:cubicBezTo>
                    <a:pt x="72" y="30"/>
                    <a:pt x="75" y="32"/>
                    <a:pt x="77" y="31"/>
                  </a:cubicBezTo>
                  <a:cubicBezTo>
                    <a:pt x="79" y="30"/>
                    <a:pt x="82" y="31"/>
                    <a:pt x="82" y="28"/>
                  </a:cubicBezTo>
                  <a:cubicBezTo>
                    <a:pt x="82" y="25"/>
                    <a:pt x="82" y="19"/>
                    <a:pt x="85" y="23"/>
                  </a:cubicBezTo>
                  <a:cubicBezTo>
                    <a:pt x="89" y="27"/>
                    <a:pt x="89" y="26"/>
                    <a:pt x="92" y="29"/>
                  </a:cubicBezTo>
                  <a:cubicBezTo>
                    <a:pt x="93" y="30"/>
                    <a:pt x="95" y="32"/>
                    <a:pt x="97" y="33"/>
                  </a:cubicBezTo>
                  <a:cubicBezTo>
                    <a:pt x="93" y="33"/>
                    <a:pt x="98" y="36"/>
                    <a:pt x="101" y="41"/>
                  </a:cubicBezTo>
                  <a:cubicBezTo>
                    <a:pt x="105" y="47"/>
                    <a:pt x="101" y="49"/>
                    <a:pt x="101" y="58"/>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90" name="Freeform 1155">
              <a:extLst>
                <a:ext uri="{FF2B5EF4-FFF2-40B4-BE49-F238E27FC236}">
                  <a16:creationId xmlns:a16="http://schemas.microsoft.com/office/drawing/2014/main" id="{7769084C-C43B-F948-87DC-0747B4E1C269}"/>
                </a:ext>
              </a:extLst>
            </p:cNvPr>
            <p:cNvSpPr>
              <a:spLocks/>
            </p:cNvSpPr>
            <p:nvPr/>
          </p:nvSpPr>
          <p:spPr bwMode="auto">
            <a:xfrm>
              <a:off x="4113226" y="1295856"/>
              <a:ext cx="80963" cy="55563"/>
            </a:xfrm>
            <a:custGeom>
              <a:avLst/>
              <a:gdLst>
                <a:gd name="T0" fmla="*/ 79 w 84"/>
                <a:gd name="T1" fmla="*/ 35 h 58"/>
                <a:gd name="T2" fmla="*/ 76 w 84"/>
                <a:gd name="T3" fmla="*/ 38 h 58"/>
                <a:gd name="T4" fmla="*/ 74 w 84"/>
                <a:gd name="T5" fmla="*/ 39 h 58"/>
                <a:gd name="T6" fmla="*/ 69 w 84"/>
                <a:gd name="T7" fmla="*/ 44 h 58"/>
                <a:gd name="T8" fmla="*/ 69 w 84"/>
                <a:gd name="T9" fmla="*/ 52 h 58"/>
                <a:gd name="T10" fmla="*/ 71 w 84"/>
                <a:gd name="T11" fmla="*/ 56 h 58"/>
                <a:gd name="T12" fmla="*/ 62 w 84"/>
                <a:gd name="T13" fmla="*/ 56 h 58"/>
                <a:gd name="T14" fmla="*/ 48 w 84"/>
                <a:gd name="T15" fmla="*/ 48 h 58"/>
                <a:gd name="T16" fmla="*/ 46 w 84"/>
                <a:gd name="T17" fmla="*/ 39 h 58"/>
                <a:gd name="T18" fmla="*/ 35 w 84"/>
                <a:gd name="T19" fmla="*/ 45 h 58"/>
                <a:gd name="T20" fmla="*/ 32 w 84"/>
                <a:gd name="T21" fmla="*/ 34 h 58"/>
                <a:gd name="T22" fmla="*/ 24 w 84"/>
                <a:gd name="T23" fmla="*/ 34 h 58"/>
                <a:gd name="T24" fmla="*/ 22 w 84"/>
                <a:gd name="T25" fmla="*/ 32 h 58"/>
                <a:gd name="T26" fmla="*/ 17 w 84"/>
                <a:gd name="T27" fmla="*/ 29 h 58"/>
                <a:gd name="T28" fmla="*/ 13 w 84"/>
                <a:gd name="T29" fmla="*/ 24 h 58"/>
                <a:gd name="T30" fmla="*/ 7 w 84"/>
                <a:gd name="T31" fmla="*/ 23 h 58"/>
                <a:gd name="T32" fmla="*/ 2 w 84"/>
                <a:gd name="T33" fmla="*/ 22 h 58"/>
                <a:gd name="T34" fmla="*/ 0 w 84"/>
                <a:gd name="T35" fmla="*/ 13 h 58"/>
                <a:gd name="T36" fmla="*/ 13 w 84"/>
                <a:gd name="T37" fmla="*/ 8 h 58"/>
                <a:gd name="T38" fmla="*/ 23 w 84"/>
                <a:gd name="T39" fmla="*/ 0 h 58"/>
                <a:gd name="T40" fmla="*/ 24 w 84"/>
                <a:gd name="T41" fmla="*/ 0 h 58"/>
                <a:gd name="T42" fmla="*/ 26 w 84"/>
                <a:gd name="T43" fmla="*/ 4 h 58"/>
                <a:gd name="T44" fmla="*/ 35 w 84"/>
                <a:gd name="T45" fmla="*/ 6 h 58"/>
                <a:gd name="T46" fmla="*/ 41 w 84"/>
                <a:gd name="T47" fmla="*/ 6 h 58"/>
                <a:gd name="T48" fmla="*/ 50 w 84"/>
                <a:gd name="T49" fmla="*/ 4 h 58"/>
                <a:gd name="T50" fmla="*/ 65 w 84"/>
                <a:gd name="T51" fmla="*/ 11 h 58"/>
                <a:gd name="T52" fmla="*/ 71 w 84"/>
                <a:gd name="T53" fmla="*/ 13 h 58"/>
                <a:gd name="T54" fmla="*/ 72 w 84"/>
                <a:gd name="T55" fmla="*/ 14 h 58"/>
                <a:gd name="T56" fmla="*/ 75 w 84"/>
                <a:gd name="T57" fmla="*/ 20 h 58"/>
                <a:gd name="T58" fmla="*/ 80 w 84"/>
                <a:gd name="T59" fmla="*/ 30 h 58"/>
                <a:gd name="T60" fmla="*/ 79 w 84"/>
                <a:gd name="T61" fmla="*/ 3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4" h="58">
                  <a:moveTo>
                    <a:pt x="79" y="35"/>
                  </a:moveTo>
                  <a:cubicBezTo>
                    <a:pt x="78" y="36"/>
                    <a:pt x="77" y="37"/>
                    <a:pt x="76" y="38"/>
                  </a:cubicBezTo>
                  <a:cubicBezTo>
                    <a:pt x="75" y="38"/>
                    <a:pt x="75" y="38"/>
                    <a:pt x="74" y="39"/>
                  </a:cubicBezTo>
                  <a:cubicBezTo>
                    <a:pt x="72" y="39"/>
                    <a:pt x="70" y="41"/>
                    <a:pt x="69" y="44"/>
                  </a:cubicBezTo>
                  <a:cubicBezTo>
                    <a:pt x="68" y="47"/>
                    <a:pt x="69" y="48"/>
                    <a:pt x="69" y="52"/>
                  </a:cubicBezTo>
                  <a:cubicBezTo>
                    <a:pt x="69" y="55"/>
                    <a:pt x="70" y="55"/>
                    <a:pt x="71" y="56"/>
                  </a:cubicBezTo>
                  <a:cubicBezTo>
                    <a:pt x="67" y="57"/>
                    <a:pt x="64" y="58"/>
                    <a:pt x="62" y="56"/>
                  </a:cubicBezTo>
                  <a:cubicBezTo>
                    <a:pt x="59" y="54"/>
                    <a:pt x="48" y="53"/>
                    <a:pt x="48" y="48"/>
                  </a:cubicBezTo>
                  <a:cubicBezTo>
                    <a:pt x="48" y="43"/>
                    <a:pt x="48" y="37"/>
                    <a:pt x="46" y="39"/>
                  </a:cubicBezTo>
                  <a:cubicBezTo>
                    <a:pt x="44" y="41"/>
                    <a:pt x="37" y="49"/>
                    <a:pt x="35" y="45"/>
                  </a:cubicBezTo>
                  <a:cubicBezTo>
                    <a:pt x="34" y="40"/>
                    <a:pt x="34" y="35"/>
                    <a:pt x="32" y="34"/>
                  </a:cubicBezTo>
                  <a:cubicBezTo>
                    <a:pt x="29" y="34"/>
                    <a:pt x="24" y="34"/>
                    <a:pt x="24" y="34"/>
                  </a:cubicBezTo>
                  <a:cubicBezTo>
                    <a:pt x="23" y="35"/>
                    <a:pt x="22" y="34"/>
                    <a:pt x="22" y="32"/>
                  </a:cubicBezTo>
                  <a:cubicBezTo>
                    <a:pt x="21" y="30"/>
                    <a:pt x="18" y="30"/>
                    <a:pt x="17" y="29"/>
                  </a:cubicBezTo>
                  <a:cubicBezTo>
                    <a:pt x="15" y="27"/>
                    <a:pt x="15" y="27"/>
                    <a:pt x="13" y="24"/>
                  </a:cubicBezTo>
                  <a:cubicBezTo>
                    <a:pt x="11" y="21"/>
                    <a:pt x="9" y="21"/>
                    <a:pt x="7" y="23"/>
                  </a:cubicBezTo>
                  <a:cubicBezTo>
                    <a:pt x="5" y="25"/>
                    <a:pt x="3" y="25"/>
                    <a:pt x="2" y="22"/>
                  </a:cubicBezTo>
                  <a:cubicBezTo>
                    <a:pt x="1" y="20"/>
                    <a:pt x="0" y="15"/>
                    <a:pt x="0" y="13"/>
                  </a:cubicBezTo>
                  <a:cubicBezTo>
                    <a:pt x="4" y="11"/>
                    <a:pt x="7" y="12"/>
                    <a:pt x="13" y="8"/>
                  </a:cubicBezTo>
                  <a:cubicBezTo>
                    <a:pt x="20" y="5"/>
                    <a:pt x="17" y="5"/>
                    <a:pt x="23" y="0"/>
                  </a:cubicBezTo>
                  <a:cubicBezTo>
                    <a:pt x="23" y="0"/>
                    <a:pt x="24" y="0"/>
                    <a:pt x="24" y="0"/>
                  </a:cubicBezTo>
                  <a:cubicBezTo>
                    <a:pt x="25" y="1"/>
                    <a:pt x="25" y="2"/>
                    <a:pt x="26" y="4"/>
                  </a:cubicBezTo>
                  <a:cubicBezTo>
                    <a:pt x="29" y="10"/>
                    <a:pt x="27" y="4"/>
                    <a:pt x="35" y="6"/>
                  </a:cubicBezTo>
                  <a:cubicBezTo>
                    <a:pt x="43" y="8"/>
                    <a:pt x="39" y="6"/>
                    <a:pt x="41" y="6"/>
                  </a:cubicBezTo>
                  <a:cubicBezTo>
                    <a:pt x="42" y="5"/>
                    <a:pt x="46" y="3"/>
                    <a:pt x="50" y="4"/>
                  </a:cubicBezTo>
                  <a:cubicBezTo>
                    <a:pt x="55" y="4"/>
                    <a:pt x="59" y="8"/>
                    <a:pt x="65" y="11"/>
                  </a:cubicBezTo>
                  <a:cubicBezTo>
                    <a:pt x="71" y="14"/>
                    <a:pt x="69" y="12"/>
                    <a:pt x="71" y="13"/>
                  </a:cubicBezTo>
                  <a:cubicBezTo>
                    <a:pt x="71" y="14"/>
                    <a:pt x="72" y="14"/>
                    <a:pt x="72" y="14"/>
                  </a:cubicBezTo>
                  <a:cubicBezTo>
                    <a:pt x="76" y="17"/>
                    <a:pt x="74" y="16"/>
                    <a:pt x="75" y="20"/>
                  </a:cubicBezTo>
                  <a:cubicBezTo>
                    <a:pt x="76" y="25"/>
                    <a:pt x="77" y="27"/>
                    <a:pt x="80" y="30"/>
                  </a:cubicBezTo>
                  <a:cubicBezTo>
                    <a:pt x="84" y="32"/>
                    <a:pt x="81" y="34"/>
                    <a:pt x="79" y="35"/>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91" name="Freeform 1156">
              <a:extLst>
                <a:ext uri="{FF2B5EF4-FFF2-40B4-BE49-F238E27FC236}">
                  <a16:creationId xmlns:a16="http://schemas.microsoft.com/office/drawing/2014/main" id="{9699304E-6D3B-C947-91D7-BE228FEB7C30}"/>
                </a:ext>
              </a:extLst>
            </p:cNvPr>
            <p:cNvSpPr>
              <a:spLocks/>
            </p:cNvSpPr>
            <p:nvPr/>
          </p:nvSpPr>
          <p:spPr bwMode="auto">
            <a:xfrm>
              <a:off x="4137038" y="1248230"/>
              <a:ext cx="76200" cy="61913"/>
            </a:xfrm>
            <a:custGeom>
              <a:avLst/>
              <a:gdLst>
                <a:gd name="T0" fmla="*/ 77 w 80"/>
                <a:gd name="T1" fmla="*/ 9 h 64"/>
                <a:gd name="T2" fmla="*/ 75 w 80"/>
                <a:gd name="T3" fmla="*/ 14 h 64"/>
                <a:gd name="T4" fmla="*/ 74 w 80"/>
                <a:gd name="T5" fmla="*/ 18 h 64"/>
                <a:gd name="T6" fmla="*/ 67 w 80"/>
                <a:gd name="T7" fmla="*/ 21 h 64"/>
                <a:gd name="T8" fmla="*/ 67 w 80"/>
                <a:gd name="T9" fmla="*/ 25 h 64"/>
                <a:gd name="T10" fmla="*/ 73 w 80"/>
                <a:gd name="T11" fmla="*/ 28 h 64"/>
                <a:gd name="T12" fmla="*/ 70 w 80"/>
                <a:gd name="T13" fmla="*/ 35 h 64"/>
                <a:gd name="T14" fmla="*/ 65 w 80"/>
                <a:gd name="T15" fmla="*/ 41 h 64"/>
                <a:gd name="T16" fmla="*/ 50 w 80"/>
                <a:gd name="T17" fmla="*/ 44 h 64"/>
                <a:gd name="T18" fmla="*/ 56 w 80"/>
                <a:gd name="T19" fmla="*/ 53 h 64"/>
                <a:gd name="T20" fmla="*/ 52 w 80"/>
                <a:gd name="T21" fmla="*/ 57 h 64"/>
                <a:gd name="T22" fmla="*/ 47 w 80"/>
                <a:gd name="T23" fmla="*/ 63 h 64"/>
                <a:gd name="T24" fmla="*/ 41 w 80"/>
                <a:gd name="T25" fmla="*/ 61 h 64"/>
                <a:gd name="T26" fmla="*/ 26 w 80"/>
                <a:gd name="T27" fmla="*/ 54 h 64"/>
                <a:gd name="T28" fmla="*/ 17 w 80"/>
                <a:gd name="T29" fmla="*/ 56 h 64"/>
                <a:gd name="T30" fmla="*/ 11 w 80"/>
                <a:gd name="T31" fmla="*/ 56 h 64"/>
                <a:gd name="T32" fmla="*/ 2 w 80"/>
                <a:gd name="T33" fmla="*/ 54 h 64"/>
                <a:gd name="T34" fmla="*/ 0 w 80"/>
                <a:gd name="T35" fmla="*/ 50 h 64"/>
                <a:gd name="T36" fmla="*/ 10 w 80"/>
                <a:gd name="T37" fmla="*/ 41 h 64"/>
                <a:gd name="T38" fmla="*/ 20 w 80"/>
                <a:gd name="T39" fmla="*/ 21 h 64"/>
                <a:gd name="T40" fmla="*/ 28 w 80"/>
                <a:gd name="T41" fmla="*/ 12 h 64"/>
                <a:gd name="T42" fmla="*/ 41 w 80"/>
                <a:gd name="T43" fmla="*/ 9 h 64"/>
                <a:gd name="T44" fmla="*/ 48 w 80"/>
                <a:gd name="T45" fmla="*/ 1 h 64"/>
                <a:gd name="T46" fmla="*/ 60 w 80"/>
                <a:gd name="T47" fmla="*/ 1 h 64"/>
                <a:gd name="T48" fmla="*/ 74 w 80"/>
                <a:gd name="T49" fmla="*/ 2 h 64"/>
                <a:gd name="T50" fmla="*/ 79 w 80"/>
                <a:gd name="T51" fmla="*/ 4 h 64"/>
                <a:gd name="T52" fmla="*/ 77 w 80"/>
                <a:gd name="T53"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 h="64">
                  <a:moveTo>
                    <a:pt x="77" y="9"/>
                  </a:moveTo>
                  <a:cubicBezTo>
                    <a:pt x="77" y="11"/>
                    <a:pt x="76" y="13"/>
                    <a:pt x="75" y="14"/>
                  </a:cubicBezTo>
                  <a:cubicBezTo>
                    <a:pt x="74" y="15"/>
                    <a:pt x="74" y="17"/>
                    <a:pt x="74" y="18"/>
                  </a:cubicBezTo>
                  <a:cubicBezTo>
                    <a:pt x="74" y="19"/>
                    <a:pt x="72" y="21"/>
                    <a:pt x="67" y="21"/>
                  </a:cubicBezTo>
                  <a:cubicBezTo>
                    <a:pt x="62" y="22"/>
                    <a:pt x="67" y="21"/>
                    <a:pt x="67" y="25"/>
                  </a:cubicBezTo>
                  <a:cubicBezTo>
                    <a:pt x="67" y="28"/>
                    <a:pt x="70" y="26"/>
                    <a:pt x="73" y="28"/>
                  </a:cubicBezTo>
                  <a:cubicBezTo>
                    <a:pt x="76" y="31"/>
                    <a:pt x="72" y="32"/>
                    <a:pt x="70" y="35"/>
                  </a:cubicBezTo>
                  <a:cubicBezTo>
                    <a:pt x="67" y="38"/>
                    <a:pt x="66" y="40"/>
                    <a:pt x="65" y="41"/>
                  </a:cubicBezTo>
                  <a:cubicBezTo>
                    <a:pt x="63" y="43"/>
                    <a:pt x="55" y="44"/>
                    <a:pt x="50" y="44"/>
                  </a:cubicBezTo>
                  <a:cubicBezTo>
                    <a:pt x="46" y="44"/>
                    <a:pt x="53" y="50"/>
                    <a:pt x="56" y="53"/>
                  </a:cubicBezTo>
                  <a:cubicBezTo>
                    <a:pt x="58" y="55"/>
                    <a:pt x="52" y="57"/>
                    <a:pt x="52" y="57"/>
                  </a:cubicBezTo>
                  <a:cubicBezTo>
                    <a:pt x="52" y="57"/>
                    <a:pt x="50" y="61"/>
                    <a:pt x="47" y="63"/>
                  </a:cubicBezTo>
                  <a:cubicBezTo>
                    <a:pt x="45" y="62"/>
                    <a:pt x="47" y="64"/>
                    <a:pt x="41" y="61"/>
                  </a:cubicBezTo>
                  <a:cubicBezTo>
                    <a:pt x="35" y="58"/>
                    <a:pt x="31" y="54"/>
                    <a:pt x="26" y="54"/>
                  </a:cubicBezTo>
                  <a:cubicBezTo>
                    <a:pt x="22" y="53"/>
                    <a:pt x="18" y="55"/>
                    <a:pt x="17" y="56"/>
                  </a:cubicBezTo>
                  <a:cubicBezTo>
                    <a:pt x="15" y="56"/>
                    <a:pt x="19" y="58"/>
                    <a:pt x="11" y="56"/>
                  </a:cubicBezTo>
                  <a:cubicBezTo>
                    <a:pt x="3" y="54"/>
                    <a:pt x="5" y="60"/>
                    <a:pt x="2" y="54"/>
                  </a:cubicBezTo>
                  <a:cubicBezTo>
                    <a:pt x="1" y="52"/>
                    <a:pt x="1" y="51"/>
                    <a:pt x="0" y="50"/>
                  </a:cubicBezTo>
                  <a:cubicBezTo>
                    <a:pt x="4" y="47"/>
                    <a:pt x="3" y="49"/>
                    <a:pt x="10" y="41"/>
                  </a:cubicBezTo>
                  <a:cubicBezTo>
                    <a:pt x="17" y="32"/>
                    <a:pt x="18" y="24"/>
                    <a:pt x="20" y="21"/>
                  </a:cubicBezTo>
                  <a:cubicBezTo>
                    <a:pt x="21" y="18"/>
                    <a:pt x="25" y="11"/>
                    <a:pt x="28" y="12"/>
                  </a:cubicBezTo>
                  <a:cubicBezTo>
                    <a:pt x="31" y="12"/>
                    <a:pt x="37" y="14"/>
                    <a:pt x="41" y="9"/>
                  </a:cubicBezTo>
                  <a:cubicBezTo>
                    <a:pt x="45" y="5"/>
                    <a:pt x="42" y="0"/>
                    <a:pt x="48" y="1"/>
                  </a:cubicBezTo>
                  <a:cubicBezTo>
                    <a:pt x="54" y="1"/>
                    <a:pt x="50" y="1"/>
                    <a:pt x="60" y="1"/>
                  </a:cubicBezTo>
                  <a:cubicBezTo>
                    <a:pt x="70" y="0"/>
                    <a:pt x="73" y="6"/>
                    <a:pt x="74" y="2"/>
                  </a:cubicBezTo>
                  <a:cubicBezTo>
                    <a:pt x="76" y="2"/>
                    <a:pt x="78" y="3"/>
                    <a:pt x="79" y="4"/>
                  </a:cubicBezTo>
                  <a:cubicBezTo>
                    <a:pt x="80" y="5"/>
                    <a:pt x="77" y="7"/>
                    <a:pt x="77" y="9"/>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92" name="Freeform 1159">
              <a:extLst>
                <a:ext uri="{FF2B5EF4-FFF2-40B4-BE49-F238E27FC236}">
                  <a16:creationId xmlns:a16="http://schemas.microsoft.com/office/drawing/2014/main" id="{51F8FDAC-2FAC-884D-92D7-469315A4CFCE}"/>
                </a:ext>
              </a:extLst>
            </p:cNvPr>
            <p:cNvSpPr>
              <a:spLocks/>
            </p:cNvSpPr>
            <p:nvPr/>
          </p:nvSpPr>
          <p:spPr bwMode="auto">
            <a:xfrm>
              <a:off x="4192601" y="1411743"/>
              <a:ext cx="261938" cy="244475"/>
            </a:xfrm>
            <a:custGeom>
              <a:avLst/>
              <a:gdLst>
                <a:gd name="T0" fmla="*/ 264 w 274"/>
                <a:gd name="T1" fmla="*/ 202 h 256"/>
                <a:gd name="T2" fmla="*/ 252 w 274"/>
                <a:gd name="T3" fmla="*/ 191 h 256"/>
                <a:gd name="T4" fmla="*/ 241 w 274"/>
                <a:gd name="T5" fmla="*/ 185 h 256"/>
                <a:gd name="T6" fmla="*/ 229 w 274"/>
                <a:gd name="T7" fmla="*/ 197 h 256"/>
                <a:gd name="T8" fmla="*/ 241 w 274"/>
                <a:gd name="T9" fmla="*/ 214 h 256"/>
                <a:gd name="T10" fmla="*/ 237 w 274"/>
                <a:gd name="T11" fmla="*/ 230 h 256"/>
                <a:gd name="T12" fmla="*/ 228 w 274"/>
                <a:gd name="T13" fmla="*/ 247 h 256"/>
                <a:gd name="T14" fmla="*/ 215 w 274"/>
                <a:gd name="T15" fmla="*/ 256 h 256"/>
                <a:gd name="T16" fmla="*/ 211 w 274"/>
                <a:gd name="T17" fmla="*/ 246 h 256"/>
                <a:gd name="T18" fmla="*/ 217 w 274"/>
                <a:gd name="T19" fmla="*/ 232 h 256"/>
                <a:gd name="T20" fmla="*/ 215 w 274"/>
                <a:gd name="T21" fmla="*/ 214 h 256"/>
                <a:gd name="T22" fmla="*/ 204 w 274"/>
                <a:gd name="T23" fmla="*/ 196 h 256"/>
                <a:gd name="T24" fmla="*/ 191 w 274"/>
                <a:gd name="T25" fmla="*/ 190 h 256"/>
                <a:gd name="T26" fmla="*/ 177 w 274"/>
                <a:gd name="T27" fmla="*/ 183 h 256"/>
                <a:gd name="T28" fmla="*/ 164 w 274"/>
                <a:gd name="T29" fmla="*/ 165 h 256"/>
                <a:gd name="T30" fmla="*/ 147 w 274"/>
                <a:gd name="T31" fmla="*/ 162 h 256"/>
                <a:gd name="T32" fmla="*/ 131 w 274"/>
                <a:gd name="T33" fmla="*/ 151 h 256"/>
                <a:gd name="T34" fmla="*/ 116 w 274"/>
                <a:gd name="T35" fmla="*/ 140 h 256"/>
                <a:gd name="T36" fmla="*/ 103 w 274"/>
                <a:gd name="T37" fmla="*/ 129 h 256"/>
                <a:gd name="T38" fmla="*/ 91 w 274"/>
                <a:gd name="T39" fmla="*/ 114 h 256"/>
                <a:gd name="T40" fmla="*/ 85 w 274"/>
                <a:gd name="T41" fmla="*/ 93 h 256"/>
                <a:gd name="T42" fmla="*/ 69 w 274"/>
                <a:gd name="T43" fmla="*/ 84 h 256"/>
                <a:gd name="T44" fmla="*/ 43 w 274"/>
                <a:gd name="T45" fmla="*/ 82 h 256"/>
                <a:gd name="T46" fmla="*/ 22 w 274"/>
                <a:gd name="T47" fmla="*/ 91 h 256"/>
                <a:gd name="T48" fmla="*/ 11 w 274"/>
                <a:gd name="T49" fmla="*/ 99 h 256"/>
                <a:gd name="T50" fmla="*/ 18 w 274"/>
                <a:gd name="T51" fmla="*/ 90 h 256"/>
                <a:gd name="T52" fmla="*/ 7 w 274"/>
                <a:gd name="T53" fmla="*/ 75 h 256"/>
                <a:gd name="T54" fmla="*/ 4 w 274"/>
                <a:gd name="T55" fmla="*/ 54 h 256"/>
                <a:gd name="T56" fmla="*/ 8 w 274"/>
                <a:gd name="T57" fmla="*/ 35 h 256"/>
                <a:gd name="T58" fmla="*/ 22 w 274"/>
                <a:gd name="T59" fmla="*/ 33 h 256"/>
                <a:gd name="T60" fmla="*/ 43 w 274"/>
                <a:gd name="T61" fmla="*/ 21 h 256"/>
                <a:gd name="T62" fmla="*/ 56 w 274"/>
                <a:gd name="T63" fmla="*/ 36 h 256"/>
                <a:gd name="T64" fmla="*/ 64 w 274"/>
                <a:gd name="T65" fmla="*/ 18 h 256"/>
                <a:gd name="T66" fmla="*/ 80 w 274"/>
                <a:gd name="T67" fmla="*/ 26 h 256"/>
                <a:gd name="T68" fmla="*/ 87 w 274"/>
                <a:gd name="T69" fmla="*/ 15 h 256"/>
                <a:gd name="T70" fmla="*/ 93 w 274"/>
                <a:gd name="T71" fmla="*/ 8 h 256"/>
                <a:gd name="T72" fmla="*/ 112 w 274"/>
                <a:gd name="T73" fmla="*/ 5 h 256"/>
                <a:gd name="T74" fmla="*/ 138 w 274"/>
                <a:gd name="T75" fmla="*/ 15 h 256"/>
                <a:gd name="T76" fmla="*/ 158 w 274"/>
                <a:gd name="T77" fmla="*/ 17 h 256"/>
                <a:gd name="T78" fmla="*/ 154 w 274"/>
                <a:gd name="T79" fmla="*/ 24 h 256"/>
                <a:gd name="T80" fmla="*/ 157 w 274"/>
                <a:gd name="T81" fmla="*/ 34 h 256"/>
                <a:gd name="T82" fmla="*/ 148 w 274"/>
                <a:gd name="T83" fmla="*/ 39 h 256"/>
                <a:gd name="T84" fmla="*/ 128 w 274"/>
                <a:gd name="T85" fmla="*/ 46 h 256"/>
                <a:gd name="T86" fmla="*/ 133 w 274"/>
                <a:gd name="T87" fmla="*/ 63 h 256"/>
                <a:gd name="T88" fmla="*/ 127 w 274"/>
                <a:gd name="T89" fmla="*/ 74 h 256"/>
                <a:gd name="T90" fmla="*/ 150 w 274"/>
                <a:gd name="T91" fmla="*/ 94 h 256"/>
                <a:gd name="T92" fmla="*/ 169 w 274"/>
                <a:gd name="T93" fmla="*/ 121 h 256"/>
                <a:gd name="T94" fmla="*/ 193 w 274"/>
                <a:gd name="T95" fmla="*/ 143 h 256"/>
                <a:gd name="T96" fmla="*/ 218 w 274"/>
                <a:gd name="T97" fmla="*/ 151 h 256"/>
                <a:gd name="T98" fmla="*/ 221 w 274"/>
                <a:gd name="T99" fmla="*/ 160 h 256"/>
                <a:gd name="T100" fmla="*/ 248 w 274"/>
                <a:gd name="T101" fmla="*/ 172 h 256"/>
                <a:gd name="T102" fmla="*/ 271 w 274"/>
                <a:gd name="T103" fmla="*/ 18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4" h="256">
                  <a:moveTo>
                    <a:pt x="272" y="200"/>
                  </a:moveTo>
                  <a:cubicBezTo>
                    <a:pt x="270" y="202"/>
                    <a:pt x="266" y="208"/>
                    <a:pt x="264" y="202"/>
                  </a:cubicBezTo>
                  <a:cubicBezTo>
                    <a:pt x="261" y="197"/>
                    <a:pt x="263" y="198"/>
                    <a:pt x="260" y="195"/>
                  </a:cubicBezTo>
                  <a:cubicBezTo>
                    <a:pt x="257" y="193"/>
                    <a:pt x="257" y="191"/>
                    <a:pt x="252" y="191"/>
                  </a:cubicBezTo>
                  <a:cubicBezTo>
                    <a:pt x="248" y="191"/>
                    <a:pt x="246" y="190"/>
                    <a:pt x="246" y="187"/>
                  </a:cubicBezTo>
                  <a:cubicBezTo>
                    <a:pt x="246" y="185"/>
                    <a:pt x="246" y="183"/>
                    <a:pt x="241" y="185"/>
                  </a:cubicBezTo>
                  <a:cubicBezTo>
                    <a:pt x="237" y="187"/>
                    <a:pt x="236" y="186"/>
                    <a:pt x="234" y="188"/>
                  </a:cubicBezTo>
                  <a:cubicBezTo>
                    <a:pt x="233" y="191"/>
                    <a:pt x="230" y="190"/>
                    <a:pt x="229" y="197"/>
                  </a:cubicBezTo>
                  <a:cubicBezTo>
                    <a:pt x="229" y="203"/>
                    <a:pt x="225" y="201"/>
                    <a:pt x="229" y="205"/>
                  </a:cubicBezTo>
                  <a:cubicBezTo>
                    <a:pt x="234" y="209"/>
                    <a:pt x="239" y="213"/>
                    <a:pt x="241" y="214"/>
                  </a:cubicBezTo>
                  <a:cubicBezTo>
                    <a:pt x="243" y="215"/>
                    <a:pt x="246" y="221"/>
                    <a:pt x="244" y="224"/>
                  </a:cubicBezTo>
                  <a:cubicBezTo>
                    <a:pt x="242" y="226"/>
                    <a:pt x="240" y="230"/>
                    <a:pt x="237" y="230"/>
                  </a:cubicBezTo>
                  <a:cubicBezTo>
                    <a:pt x="235" y="229"/>
                    <a:pt x="228" y="232"/>
                    <a:pt x="228" y="236"/>
                  </a:cubicBezTo>
                  <a:cubicBezTo>
                    <a:pt x="228" y="240"/>
                    <a:pt x="232" y="244"/>
                    <a:pt x="228" y="247"/>
                  </a:cubicBezTo>
                  <a:cubicBezTo>
                    <a:pt x="224" y="249"/>
                    <a:pt x="223" y="251"/>
                    <a:pt x="220" y="253"/>
                  </a:cubicBezTo>
                  <a:cubicBezTo>
                    <a:pt x="218" y="255"/>
                    <a:pt x="223" y="256"/>
                    <a:pt x="215" y="256"/>
                  </a:cubicBezTo>
                  <a:cubicBezTo>
                    <a:pt x="207" y="256"/>
                    <a:pt x="206" y="253"/>
                    <a:pt x="207" y="252"/>
                  </a:cubicBezTo>
                  <a:cubicBezTo>
                    <a:pt x="208" y="251"/>
                    <a:pt x="208" y="248"/>
                    <a:pt x="211" y="246"/>
                  </a:cubicBezTo>
                  <a:cubicBezTo>
                    <a:pt x="214" y="243"/>
                    <a:pt x="215" y="242"/>
                    <a:pt x="215" y="239"/>
                  </a:cubicBezTo>
                  <a:cubicBezTo>
                    <a:pt x="215" y="236"/>
                    <a:pt x="216" y="234"/>
                    <a:pt x="217" y="232"/>
                  </a:cubicBezTo>
                  <a:cubicBezTo>
                    <a:pt x="219" y="231"/>
                    <a:pt x="221" y="231"/>
                    <a:pt x="219" y="225"/>
                  </a:cubicBezTo>
                  <a:cubicBezTo>
                    <a:pt x="216" y="219"/>
                    <a:pt x="217" y="221"/>
                    <a:pt x="215" y="214"/>
                  </a:cubicBezTo>
                  <a:cubicBezTo>
                    <a:pt x="213" y="207"/>
                    <a:pt x="211" y="207"/>
                    <a:pt x="210" y="202"/>
                  </a:cubicBezTo>
                  <a:cubicBezTo>
                    <a:pt x="208" y="197"/>
                    <a:pt x="208" y="193"/>
                    <a:pt x="204" y="196"/>
                  </a:cubicBezTo>
                  <a:cubicBezTo>
                    <a:pt x="200" y="199"/>
                    <a:pt x="193" y="194"/>
                    <a:pt x="193" y="194"/>
                  </a:cubicBezTo>
                  <a:cubicBezTo>
                    <a:pt x="193" y="194"/>
                    <a:pt x="193" y="195"/>
                    <a:pt x="191" y="190"/>
                  </a:cubicBezTo>
                  <a:cubicBezTo>
                    <a:pt x="188" y="184"/>
                    <a:pt x="185" y="179"/>
                    <a:pt x="183" y="180"/>
                  </a:cubicBezTo>
                  <a:cubicBezTo>
                    <a:pt x="180" y="180"/>
                    <a:pt x="178" y="183"/>
                    <a:pt x="177" y="183"/>
                  </a:cubicBezTo>
                  <a:cubicBezTo>
                    <a:pt x="176" y="183"/>
                    <a:pt x="177" y="173"/>
                    <a:pt x="172" y="173"/>
                  </a:cubicBezTo>
                  <a:cubicBezTo>
                    <a:pt x="168" y="173"/>
                    <a:pt x="167" y="166"/>
                    <a:pt x="164" y="165"/>
                  </a:cubicBezTo>
                  <a:cubicBezTo>
                    <a:pt x="161" y="163"/>
                    <a:pt x="160" y="162"/>
                    <a:pt x="158" y="162"/>
                  </a:cubicBezTo>
                  <a:cubicBezTo>
                    <a:pt x="155" y="162"/>
                    <a:pt x="151" y="165"/>
                    <a:pt x="147" y="162"/>
                  </a:cubicBezTo>
                  <a:cubicBezTo>
                    <a:pt x="143" y="159"/>
                    <a:pt x="144" y="162"/>
                    <a:pt x="139" y="158"/>
                  </a:cubicBezTo>
                  <a:cubicBezTo>
                    <a:pt x="134" y="154"/>
                    <a:pt x="133" y="154"/>
                    <a:pt x="131" y="151"/>
                  </a:cubicBezTo>
                  <a:cubicBezTo>
                    <a:pt x="128" y="148"/>
                    <a:pt x="125" y="144"/>
                    <a:pt x="122" y="143"/>
                  </a:cubicBezTo>
                  <a:cubicBezTo>
                    <a:pt x="120" y="142"/>
                    <a:pt x="117" y="142"/>
                    <a:pt x="116" y="140"/>
                  </a:cubicBezTo>
                  <a:cubicBezTo>
                    <a:pt x="115" y="137"/>
                    <a:pt x="115" y="132"/>
                    <a:pt x="110" y="132"/>
                  </a:cubicBezTo>
                  <a:cubicBezTo>
                    <a:pt x="105" y="132"/>
                    <a:pt x="103" y="131"/>
                    <a:pt x="103" y="129"/>
                  </a:cubicBezTo>
                  <a:cubicBezTo>
                    <a:pt x="103" y="127"/>
                    <a:pt x="100" y="125"/>
                    <a:pt x="98" y="122"/>
                  </a:cubicBezTo>
                  <a:cubicBezTo>
                    <a:pt x="95" y="119"/>
                    <a:pt x="94" y="117"/>
                    <a:pt x="91" y="114"/>
                  </a:cubicBezTo>
                  <a:cubicBezTo>
                    <a:pt x="88" y="112"/>
                    <a:pt x="87" y="112"/>
                    <a:pt x="87" y="107"/>
                  </a:cubicBezTo>
                  <a:cubicBezTo>
                    <a:pt x="86" y="103"/>
                    <a:pt x="87" y="97"/>
                    <a:pt x="85" y="93"/>
                  </a:cubicBezTo>
                  <a:cubicBezTo>
                    <a:pt x="82" y="88"/>
                    <a:pt x="77" y="89"/>
                    <a:pt x="77" y="88"/>
                  </a:cubicBezTo>
                  <a:cubicBezTo>
                    <a:pt x="76" y="87"/>
                    <a:pt x="75" y="85"/>
                    <a:pt x="69" y="84"/>
                  </a:cubicBezTo>
                  <a:cubicBezTo>
                    <a:pt x="64" y="83"/>
                    <a:pt x="65" y="80"/>
                    <a:pt x="58" y="79"/>
                  </a:cubicBezTo>
                  <a:cubicBezTo>
                    <a:pt x="52" y="77"/>
                    <a:pt x="45" y="77"/>
                    <a:pt x="43" y="82"/>
                  </a:cubicBezTo>
                  <a:cubicBezTo>
                    <a:pt x="40" y="86"/>
                    <a:pt x="40" y="89"/>
                    <a:pt x="34" y="90"/>
                  </a:cubicBezTo>
                  <a:cubicBezTo>
                    <a:pt x="27" y="91"/>
                    <a:pt x="27" y="90"/>
                    <a:pt x="22" y="91"/>
                  </a:cubicBezTo>
                  <a:cubicBezTo>
                    <a:pt x="18" y="93"/>
                    <a:pt x="18" y="95"/>
                    <a:pt x="17" y="96"/>
                  </a:cubicBezTo>
                  <a:cubicBezTo>
                    <a:pt x="16" y="98"/>
                    <a:pt x="15" y="96"/>
                    <a:pt x="11" y="99"/>
                  </a:cubicBezTo>
                  <a:cubicBezTo>
                    <a:pt x="11" y="97"/>
                    <a:pt x="9" y="93"/>
                    <a:pt x="11" y="93"/>
                  </a:cubicBezTo>
                  <a:cubicBezTo>
                    <a:pt x="14" y="93"/>
                    <a:pt x="17" y="91"/>
                    <a:pt x="18" y="90"/>
                  </a:cubicBezTo>
                  <a:cubicBezTo>
                    <a:pt x="20" y="89"/>
                    <a:pt x="28" y="84"/>
                    <a:pt x="23" y="83"/>
                  </a:cubicBezTo>
                  <a:cubicBezTo>
                    <a:pt x="18" y="81"/>
                    <a:pt x="7" y="80"/>
                    <a:pt x="7" y="75"/>
                  </a:cubicBezTo>
                  <a:cubicBezTo>
                    <a:pt x="7" y="71"/>
                    <a:pt x="11" y="66"/>
                    <a:pt x="7" y="63"/>
                  </a:cubicBezTo>
                  <a:cubicBezTo>
                    <a:pt x="3" y="59"/>
                    <a:pt x="0" y="56"/>
                    <a:pt x="4" y="54"/>
                  </a:cubicBezTo>
                  <a:cubicBezTo>
                    <a:pt x="8" y="52"/>
                    <a:pt x="17" y="51"/>
                    <a:pt x="14" y="48"/>
                  </a:cubicBezTo>
                  <a:cubicBezTo>
                    <a:pt x="12" y="45"/>
                    <a:pt x="4" y="36"/>
                    <a:pt x="8" y="35"/>
                  </a:cubicBezTo>
                  <a:cubicBezTo>
                    <a:pt x="9" y="35"/>
                    <a:pt x="10" y="35"/>
                    <a:pt x="10" y="35"/>
                  </a:cubicBezTo>
                  <a:cubicBezTo>
                    <a:pt x="15" y="35"/>
                    <a:pt x="19" y="33"/>
                    <a:pt x="22" y="33"/>
                  </a:cubicBezTo>
                  <a:cubicBezTo>
                    <a:pt x="26" y="33"/>
                    <a:pt x="34" y="32"/>
                    <a:pt x="36" y="29"/>
                  </a:cubicBezTo>
                  <a:cubicBezTo>
                    <a:pt x="37" y="26"/>
                    <a:pt x="42" y="17"/>
                    <a:pt x="43" y="21"/>
                  </a:cubicBezTo>
                  <a:cubicBezTo>
                    <a:pt x="44" y="25"/>
                    <a:pt x="48" y="28"/>
                    <a:pt x="49" y="29"/>
                  </a:cubicBezTo>
                  <a:cubicBezTo>
                    <a:pt x="50" y="30"/>
                    <a:pt x="52" y="38"/>
                    <a:pt x="56" y="36"/>
                  </a:cubicBezTo>
                  <a:cubicBezTo>
                    <a:pt x="59" y="33"/>
                    <a:pt x="54" y="31"/>
                    <a:pt x="59" y="27"/>
                  </a:cubicBezTo>
                  <a:cubicBezTo>
                    <a:pt x="63" y="24"/>
                    <a:pt x="63" y="14"/>
                    <a:pt x="64" y="18"/>
                  </a:cubicBezTo>
                  <a:cubicBezTo>
                    <a:pt x="66" y="22"/>
                    <a:pt x="73" y="23"/>
                    <a:pt x="75" y="23"/>
                  </a:cubicBezTo>
                  <a:cubicBezTo>
                    <a:pt x="76" y="23"/>
                    <a:pt x="78" y="28"/>
                    <a:pt x="80" y="26"/>
                  </a:cubicBezTo>
                  <a:cubicBezTo>
                    <a:pt x="81" y="23"/>
                    <a:pt x="78" y="17"/>
                    <a:pt x="80" y="16"/>
                  </a:cubicBezTo>
                  <a:cubicBezTo>
                    <a:pt x="82" y="16"/>
                    <a:pt x="87" y="18"/>
                    <a:pt x="87" y="15"/>
                  </a:cubicBezTo>
                  <a:cubicBezTo>
                    <a:pt x="88" y="13"/>
                    <a:pt x="88" y="10"/>
                    <a:pt x="90" y="9"/>
                  </a:cubicBezTo>
                  <a:cubicBezTo>
                    <a:pt x="90" y="8"/>
                    <a:pt x="91" y="8"/>
                    <a:pt x="93" y="8"/>
                  </a:cubicBezTo>
                  <a:cubicBezTo>
                    <a:pt x="97" y="9"/>
                    <a:pt x="101" y="12"/>
                    <a:pt x="102" y="11"/>
                  </a:cubicBezTo>
                  <a:cubicBezTo>
                    <a:pt x="102" y="10"/>
                    <a:pt x="107" y="4"/>
                    <a:pt x="112" y="5"/>
                  </a:cubicBezTo>
                  <a:cubicBezTo>
                    <a:pt x="117" y="5"/>
                    <a:pt x="123" y="0"/>
                    <a:pt x="126" y="5"/>
                  </a:cubicBezTo>
                  <a:cubicBezTo>
                    <a:pt x="129" y="11"/>
                    <a:pt x="132" y="15"/>
                    <a:pt x="138" y="15"/>
                  </a:cubicBezTo>
                  <a:cubicBezTo>
                    <a:pt x="145" y="15"/>
                    <a:pt x="138" y="12"/>
                    <a:pt x="148" y="15"/>
                  </a:cubicBezTo>
                  <a:cubicBezTo>
                    <a:pt x="158" y="17"/>
                    <a:pt x="159" y="15"/>
                    <a:pt x="158" y="17"/>
                  </a:cubicBezTo>
                  <a:cubicBezTo>
                    <a:pt x="158" y="18"/>
                    <a:pt x="158" y="18"/>
                    <a:pt x="158" y="18"/>
                  </a:cubicBezTo>
                  <a:cubicBezTo>
                    <a:pt x="157" y="20"/>
                    <a:pt x="151" y="23"/>
                    <a:pt x="154" y="24"/>
                  </a:cubicBezTo>
                  <a:cubicBezTo>
                    <a:pt x="157" y="25"/>
                    <a:pt x="159" y="26"/>
                    <a:pt x="158" y="28"/>
                  </a:cubicBezTo>
                  <a:cubicBezTo>
                    <a:pt x="157" y="30"/>
                    <a:pt x="155" y="33"/>
                    <a:pt x="157" y="34"/>
                  </a:cubicBezTo>
                  <a:cubicBezTo>
                    <a:pt x="158" y="35"/>
                    <a:pt x="158" y="37"/>
                    <a:pt x="157" y="38"/>
                  </a:cubicBezTo>
                  <a:cubicBezTo>
                    <a:pt x="154" y="38"/>
                    <a:pt x="149" y="38"/>
                    <a:pt x="148" y="39"/>
                  </a:cubicBezTo>
                  <a:cubicBezTo>
                    <a:pt x="147" y="41"/>
                    <a:pt x="146" y="42"/>
                    <a:pt x="141" y="44"/>
                  </a:cubicBezTo>
                  <a:cubicBezTo>
                    <a:pt x="136" y="46"/>
                    <a:pt x="131" y="46"/>
                    <a:pt x="128" y="46"/>
                  </a:cubicBezTo>
                  <a:cubicBezTo>
                    <a:pt x="125" y="47"/>
                    <a:pt x="124" y="50"/>
                    <a:pt x="128" y="54"/>
                  </a:cubicBezTo>
                  <a:cubicBezTo>
                    <a:pt x="132" y="57"/>
                    <a:pt x="134" y="61"/>
                    <a:pt x="133" y="63"/>
                  </a:cubicBezTo>
                  <a:cubicBezTo>
                    <a:pt x="132" y="66"/>
                    <a:pt x="130" y="62"/>
                    <a:pt x="129" y="65"/>
                  </a:cubicBezTo>
                  <a:cubicBezTo>
                    <a:pt x="127" y="68"/>
                    <a:pt x="124" y="70"/>
                    <a:pt x="127" y="74"/>
                  </a:cubicBezTo>
                  <a:cubicBezTo>
                    <a:pt x="130" y="79"/>
                    <a:pt x="138" y="85"/>
                    <a:pt x="141" y="87"/>
                  </a:cubicBezTo>
                  <a:cubicBezTo>
                    <a:pt x="143" y="89"/>
                    <a:pt x="147" y="94"/>
                    <a:pt x="150" y="94"/>
                  </a:cubicBezTo>
                  <a:cubicBezTo>
                    <a:pt x="153" y="95"/>
                    <a:pt x="157" y="93"/>
                    <a:pt x="161" y="104"/>
                  </a:cubicBezTo>
                  <a:cubicBezTo>
                    <a:pt x="164" y="115"/>
                    <a:pt x="164" y="115"/>
                    <a:pt x="169" y="121"/>
                  </a:cubicBezTo>
                  <a:cubicBezTo>
                    <a:pt x="174" y="128"/>
                    <a:pt x="165" y="128"/>
                    <a:pt x="177" y="133"/>
                  </a:cubicBezTo>
                  <a:cubicBezTo>
                    <a:pt x="188" y="139"/>
                    <a:pt x="186" y="142"/>
                    <a:pt x="193" y="143"/>
                  </a:cubicBezTo>
                  <a:cubicBezTo>
                    <a:pt x="200" y="144"/>
                    <a:pt x="219" y="145"/>
                    <a:pt x="219" y="145"/>
                  </a:cubicBezTo>
                  <a:cubicBezTo>
                    <a:pt x="219" y="145"/>
                    <a:pt x="221" y="149"/>
                    <a:pt x="218" y="151"/>
                  </a:cubicBezTo>
                  <a:cubicBezTo>
                    <a:pt x="216" y="152"/>
                    <a:pt x="212" y="152"/>
                    <a:pt x="213" y="155"/>
                  </a:cubicBezTo>
                  <a:cubicBezTo>
                    <a:pt x="215" y="158"/>
                    <a:pt x="215" y="158"/>
                    <a:pt x="221" y="160"/>
                  </a:cubicBezTo>
                  <a:cubicBezTo>
                    <a:pt x="228" y="162"/>
                    <a:pt x="224" y="160"/>
                    <a:pt x="234" y="165"/>
                  </a:cubicBezTo>
                  <a:cubicBezTo>
                    <a:pt x="244" y="170"/>
                    <a:pt x="242" y="168"/>
                    <a:pt x="248" y="172"/>
                  </a:cubicBezTo>
                  <a:cubicBezTo>
                    <a:pt x="255" y="176"/>
                    <a:pt x="253" y="175"/>
                    <a:pt x="260" y="180"/>
                  </a:cubicBezTo>
                  <a:cubicBezTo>
                    <a:pt x="267" y="185"/>
                    <a:pt x="268" y="183"/>
                    <a:pt x="271" y="189"/>
                  </a:cubicBezTo>
                  <a:cubicBezTo>
                    <a:pt x="273" y="196"/>
                    <a:pt x="274" y="198"/>
                    <a:pt x="272" y="200"/>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93" name="Freeform 1160">
              <a:extLst>
                <a:ext uri="{FF2B5EF4-FFF2-40B4-BE49-F238E27FC236}">
                  <a16:creationId xmlns:a16="http://schemas.microsoft.com/office/drawing/2014/main" id="{E8FDCB1B-C442-664A-9672-682221846574}"/>
                </a:ext>
              </a:extLst>
            </p:cNvPr>
            <p:cNvSpPr>
              <a:spLocks/>
            </p:cNvSpPr>
            <p:nvPr/>
          </p:nvSpPr>
          <p:spPr bwMode="auto">
            <a:xfrm>
              <a:off x="4346589" y="1208543"/>
              <a:ext cx="214313" cy="153988"/>
            </a:xfrm>
            <a:custGeom>
              <a:avLst/>
              <a:gdLst>
                <a:gd name="T0" fmla="*/ 221 w 225"/>
                <a:gd name="T1" fmla="*/ 123 h 163"/>
                <a:gd name="T2" fmla="*/ 210 w 225"/>
                <a:gd name="T3" fmla="*/ 126 h 163"/>
                <a:gd name="T4" fmla="*/ 192 w 225"/>
                <a:gd name="T5" fmla="*/ 145 h 163"/>
                <a:gd name="T6" fmla="*/ 194 w 225"/>
                <a:gd name="T7" fmla="*/ 156 h 163"/>
                <a:gd name="T8" fmla="*/ 193 w 225"/>
                <a:gd name="T9" fmla="*/ 162 h 163"/>
                <a:gd name="T10" fmla="*/ 191 w 225"/>
                <a:gd name="T11" fmla="*/ 163 h 163"/>
                <a:gd name="T12" fmla="*/ 188 w 225"/>
                <a:gd name="T13" fmla="*/ 161 h 163"/>
                <a:gd name="T14" fmla="*/ 166 w 225"/>
                <a:gd name="T15" fmla="*/ 152 h 163"/>
                <a:gd name="T16" fmla="*/ 157 w 225"/>
                <a:gd name="T17" fmla="*/ 155 h 163"/>
                <a:gd name="T18" fmla="*/ 145 w 225"/>
                <a:gd name="T19" fmla="*/ 153 h 163"/>
                <a:gd name="T20" fmla="*/ 132 w 225"/>
                <a:gd name="T21" fmla="*/ 158 h 163"/>
                <a:gd name="T22" fmla="*/ 123 w 225"/>
                <a:gd name="T23" fmla="*/ 149 h 163"/>
                <a:gd name="T24" fmla="*/ 108 w 225"/>
                <a:gd name="T25" fmla="*/ 151 h 163"/>
                <a:gd name="T26" fmla="*/ 104 w 225"/>
                <a:gd name="T27" fmla="*/ 150 h 163"/>
                <a:gd name="T28" fmla="*/ 105 w 225"/>
                <a:gd name="T29" fmla="*/ 145 h 163"/>
                <a:gd name="T30" fmla="*/ 90 w 225"/>
                <a:gd name="T31" fmla="*/ 136 h 163"/>
                <a:gd name="T32" fmla="*/ 83 w 225"/>
                <a:gd name="T33" fmla="*/ 132 h 163"/>
                <a:gd name="T34" fmla="*/ 71 w 225"/>
                <a:gd name="T35" fmla="*/ 124 h 163"/>
                <a:gd name="T36" fmla="*/ 65 w 225"/>
                <a:gd name="T37" fmla="*/ 130 h 163"/>
                <a:gd name="T38" fmla="*/ 53 w 225"/>
                <a:gd name="T39" fmla="*/ 133 h 163"/>
                <a:gd name="T40" fmla="*/ 53 w 225"/>
                <a:gd name="T41" fmla="*/ 119 h 163"/>
                <a:gd name="T42" fmla="*/ 37 w 225"/>
                <a:gd name="T43" fmla="*/ 119 h 163"/>
                <a:gd name="T44" fmla="*/ 29 w 225"/>
                <a:gd name="T45" fmla="*/ 110 h 163"/>
                <a:gd name="T46" fmla="*/ 22 w 225"/>
                <a:gd name="T47" fmla="*/ 108 h 163"/>
                <a:gd name="T48" fmla="*/ 22 w 225"/>
                <a:gd name="T49" fmla="*/ 100 h 163"/>
                <a:gd name="T50" fmla="*/ 19 w 225"/>
                <a:gd name="T51" fmla="*/ 97 h 163"/>
                <a:gd name="T52" fmla="*/ 15 w 225"/>
                <a:gd name="T53" fmla="*/ 87 h 163"/>
                <a:gd name="T54" fmla="*/ 17 w 225"/>
                <a:gd name="T55" fmla="*/ 79 h 163"/>
                <a:gd name="T56" fmla="*/ 14 w 225"/>
                <a:gd name="T57" fmla="*/ 71 h 163"/>
                <a:gd name="T58" fmla="*/ 13 w 225"/>
                <a:gd name="T59" fmla="*/ 66 h 163"/>
                <a:gd name="T60" fmla="*/ 3 w 225"/>
                <a:gd name="T61" fmla="*/ 58 h 163"/>
                <a:gd name="T62" fmla="*/ 7 w 225"/>
                <a:gd name="T63" fmla="*/ 50 h 163"/>
                <a:gd name="T64" fmla="*/ 7 w 225"/>
                <a:gd name="T65" fmla="*/ 41 h 163"/>
                <a:gd name="T66" fmla="*/ 8 w 225"/>
                <a:gd name="T67" fmla="*/ 37 h 163"/>
                <a:gd name="T68" fmla="*/ 12 w 225"/>
                <a:gd name="T69" fmla="*/ 37 h 163"/>
                <a:gd name="T70" fmla="*/ 23 w 225"/>
                <a:gd name="T71" fmla="*/ 28 h 163"/>
                <a:gd name="T72" fmla="*/ 38 w 225"/>
                <a:gd name="T73" fmla="*/ 23 h 163"/>
                <a:gd name="T74" fmla="*/ 62 w 225"/>
                <a:gd name="T75" fmla="*/ 12 h 163"/>
                <a:gd name="T76" fmla="*/ 74 w 225"/>
                <a:gd name="T77" fmla="*/ 7 h 163"/>
                <a:gd name="T78" fmla="*/ 93 w 225"/>
                <a:gd name="T79" fmla="*/ 8 h 163"/>
                <a:gd name="T80" fmla="*/ 103 w 225"/>
                <a:gd name="T81" fmla="*/ 20 h 163"/>
                <a:gd name="T82" fmla="*/ 120 w 225"/>
                <a:gd name="T83" fmla="*/ 18 h 163"/>
                <a:gd name="T84" fmla="*/ 125 w 225"/>
                <a:gd name="T85" fmla="*/ 18 h 163"/>
                <a:gd name="T86" fmla="*/ 181 w 225"/>
                <a:gd name="T87" fmla="*/ 18 h 163"/>
                <a:gd name="T88" fmla="*/ 183 w 225"/>
                <a:gd name="T89" fmla="*/ 18 h 163"/>
                <a:gd name="T90" fmla="*/ 196 w 225"/>
                <a:gd name="T91" fmla="*/ 28 h 163"/>
                <a:gd name="T92" fmla="*/ 198 w 225"/>
                <a:gd name="T93" fmla="*/ 30 h 163"/>
                <a:gd name="T94" fmla="*/ 199 w 225"/>
                <a:gd name="T95" fmla="*/ 37 h 163"/>
                <a:gd name="T96" fmla="*/ 208 w 225"/>
                <a:gd name="T97" fmla="*/ 47 h 163"/>
                <a:gd name="T98" fmla="*/ 212 w 225"/>
                <a:gd name="T99" fmla="*/ 62 h 163"/>
                <a:gd name="T100" fmla="*/ 197 w 225"/>
                <a:gd name="T101" fmla="*/ 71 h 163"/>
                <a:gd name="T102" fmla="*/ 205 w 225"/>
                <a:gd name="T103" fmla="*/ 81 h 163"/>
                <a:gd name="T104" fmla="*/ 207 w 225"/>
                <a:gd name="T105" fmla="*/ 92 h 163"/>
                <a:gd name="T106" fmla="*/ 207 w 225"/>
                <a:gd name="T107" fmla="*/ 99 h 163"/>
                <a:gd name="T108" fmla="*/ 218 w 225"/>
                <a:gd name="T109" fmla="*/ 113 h 163"/>
                <a:gd name="T110" fmla="*/ 221 w 225"/>
                <a:gd name="T111" fmla="*/ 12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5" h="163">
                  <a:moveTo>
                    <a:pt x="221" y="123"/>
                  </a:moveTo>
                  <a:cubicBezTo>
                    <a:pt x="216" y="126"/>
                    <a:pt x="217" y="122"/>
                    <a:pt x="210" y="126"/>
                  </a:cubicBezTo>
                  <a:cubicBezTo>
                    <a:pt x="203" y="130"/>
                    <a:pt x="192" y="140"/>
                    <a:pt x="192" y="145"/>
                  </a:cubicBezTo>
                  <a:cubicBezTo>
                    <a:pt x="192" y="150"/>
                    <a:pt x="192" y="152"/>
                    <a:pt x="194" y="156"/>
                  </a:cubicBezTo>
                  <a:cubicBezTo>
                    <a:pt x="195" y="160"/>
                    <a:pt x="196" y="162"/>
                    <a:pt x="193" y="162"/>
                  </a:cubicBezTo>
                  <a:cubicBezTo>
                    <a:pt x="192" y="163"/>
                    <a:pt x="192" y="163"/>
                    <a:pt x="191" y="163"/>
                  </a:cubicBezTo>
                  <a:cubicBezTo>
                    <a:pt x="190" y="162"/>
                    <a:pt x="189" y="162"/>
                    <a:pt x="188" y="161"/>
                  </a:cubicBezTo>
                  <a:cubicBezTo>
                    <a:pt x="186" y="160"/>
                    <a:pt x="172" y="155"/>
                    <a:pt x="166" y="152"/>
                  </a:cubicBezTo>
                  <a:cubicBezTo>
                    <a:pt x="159" y="149"/>
                    <a:pt x="162" y="153"/>
                    <a:pt x="157" y="155"/>
                  </a:cubicBezTo>
                  <a:cubicBezTo>
                    <a:pt x="152" y="157"/>
                    <a:pt x="151" y="153"/>
                    <a:pt x="145" y="153"/>
                  </a:cubicBezTo>
                  <a:cubicBezTo>
                    <a:pt x="139" y="152"/>
                    <a:pt x="139" y="157"/>
                    <a:pt x="132" y="158"/>
                  </a:cubicBezTo>
                  <a:cubicBezTo>
                    <a:pt x="125" y="158"/>
                    <a:pt x="126" y="152"/>
                    <a:pt x="123" y="149"/>
                  </a:cubicBezTo>
                  <a:cubicBezTo>
                    <a:pt x="120" y="146"/>
                    <a:pt x="116" y="151"/>
                    <a:pt x="108" y="151"/>
                  </a:cubicBezTo>
                  <a:cubicBezTo>
                    <a:pt x="105" y="151"/>
                    <a:pt x="104" y="151"/>
                    <a:pt x="104" y="150"/>
                  </a:cubicBezTo>
                  <a:cubicBezTo>
                    <a:pt x="104" y="149"/>
                    <a:pt x="107" y="147"/>
                    <a:pt x="105" y="145"/>
                  </a:cubicBezTo>
                  <a:cubicBezTo>
                    <a:pt x="103" y="142"/>
                    <a:pt x="99" y="139"/>
                    <a:pt x="90" y="136"/>
                  </a:cubicBezTo>
                  <a:cubicBezTo>
                    <a:pt x="81" y="134"/>
                    <a:pt x="83" y="135"/>
                    <a:pt x="83" y="132"/>
                  </a:cubicBezTo>
                  <a:cubicBezTo>
                    <a:pt x="83" y="130"/>
                    <a:pt x="76" y="129"/>
                    <a:pt x="71" y="124"/>
                  </a:cubicBezTo>
                  <a:cubicBezTo>
                    <a:pt x="66" y="120"/>
                    <a:pt x="65" y="126"/>
                    <a:pt x="65" y="130"/>
                  </a:cubicBezTo>
                  <a:cubicBezTo>
                    <a:pt x="65" y="134"/>
                    <a:pt x="57" y="135"/>
                    <a:pt x="53" y="133"/>
                  </a:cubicBezTo>
                  <a:cubicBezTo>
                    <a:pt x="49" y="132"/>
                    <a:pt x="52" y="126"/>
                    <a:pt x="53" y="119"/>
                  </a:cubicBezTo>
                  <a:cubicBezTo>
                    <a:pt x="54" y="111"/>
                    <a:pt x="45" y="119"/>
                    <a:pt x="37" y="119"/>
                  </a:cubicBezTo>
                  <a:cubicBezTo>
                    <a:pt x="28" y="119"/>
                    <a:pt x="33" y="115"/>
                    <a:pt x="29" y="110"/>
                  </a:cubicBezTo>
                  <a:cubicBezTo>
                    <a:pt x="25" y="106"/>
                    <a:pt x="23" y="108"/>
                    <a:pt x="22" y="108"/>
                  </a:cubicBezTo>
                  <a:cubicBezTo>
                    <a:pt x="22" y="105"/>
                    <a:pt x="23" y="101"/>
                    <a:pt x="22" y="100"/>
                  </a:cubicBezTo>
                  <a:cubicBezTo>
                    <a:pt x="21" y="99"/>
                    <a:pt x="23" y="98"/>
                    <a:pt x="19" y="97"/>
                  </a:cubicBezTo>
                  <a:cubicBezTo>
                    <a:pt x="16" y="95"/>
                    <a:pt x="15" y="89"/>
                    <a:pt x="15" y="87"/>
                  </a:cubicBezTo>
                  <a:cubicBezTo>
                    <a:pt x="16" y="86"/>
                    <a:pt x="17" y="79"/>
                    <a:pt x="17" y="79"/>
                  </a:cubicBezTo>
                  <a:cubicBezTo>
                    <a:pt x="16" y="78"/>
                    <a:pt x="11" y="73"/>
                    <a:pt x="14" y="71"/>
                  </a:cubicBezTo>
                  <a:cubicBezTo>
                    <a:pt x="17" y="68"/>
                    <a:pt x="15" y="67"/>
                    <a:pt x="13" y="66"/>
                  </a:cubicBezTo>
                  <a:cubicBezTo>
                    <a:pt x="11" y="65"/>
                    <a:pt x="0" y="58"/>
                    <a:pt x="3" y="58"/>
                  </a:cubicBezTo>
                  <a:cubicBezTo>
                    <a:pt x="5" y="57"/>
                    <a:pt x="7" y="55"/>
                    <a:pt x="7" y="50"/>
                  </a:cubicBezTo>
                  <a:cubicBezTo>
                    <a:pt x="7" y="46"/>
                    <a:pt x="8" y="43"/>
                    <a:pt x="7" y="41"/>
                  </a:cubicBezTo>
                  <a:cubicBezTo>
                    <a:pt x="7" y="41"/>
                    <a:pt x="7" y="39"/>
                    <a:pt x="8" y="37"/>
                  </a:cubicBezTo>
                  <a:cubicBezTo>
                    <a:pt x="9" y="38"/>
                    <a:pt x="10" y="39"/>
                    <a:pt x="12" y="37"/>
                  </a:cubicBezTo>
                  <a:cubicBezTo>
                    <a:pt x="17" y="34"/>
                    <a:pt x="18" y="30"/>
                    <a:pt x="23" y="28"/>
                  </a:cubicBezTo>
                  <a:cubicBezTo>
                    <a:pt x="28" y="26"/>
                    <a:pt x="25" y="26"/>
                    <a:pt x="38" y="23"/>
                  </a:cubicBezTo>
                  <a:cubicBezTo>
                    <a:pt x="51" y="20"/>
                    <a:pt x="53" y="14"/>
                    <a:pt x="62" y="12"/>
                  </a:cubicBezTo>
                  <a:cubicBezTo>
                    <a:pt x="74" y="7"/>
                    <a:pt x="74" y="7"/>
                    <a:pt x="74" y="7"/>
                  </a:cubicBezTo>
                  <a:cubicBezTo>
                    <a:pt x="81" y="8"/>
                    <a:pt x="91" y="0"/>
                    <a:pt x="93" y="8"/>
                  </a:cubicBezTo>
                  <a:cubicBezTo>
                    <a:pt x="95" y="17"/>
                    <a:pt x="92" y="18"/>
                    <a:pt x="103" y="20"/>
                  </a:cubicBezTo>
                  <a:cubicBezTo>
                    <a:pt x="112" y="22"/>
                    <a:pt x="117" y="21"/>
                    <a:pt x="120" y="18"/>
                  </a:cubicBezTo>
                  <a:cubicBezTo>
                    <a:pt x="121" y="18"/>
                    <a:pt x="123" y="18"/>
                    <a:pt x="125" y="18"/>
                  </a:cubicBezTo>
                  <a:cubicBezTo>
                    <a:pt x="129" y="18"/>
                    <a:pt x="168" y="18"/>
                    <a:pt x="181" y="18"/>
                  </a:cubicBezTo>
                  <a:cubicBezTo>
                    <a:pt x="183" y="18"/>
                    <a:pt x="183" y="18"/>
                    <a:pt x="183" y="18"/>
                  </a:cubicBezTo>
                  <a:cubicBezTo>
                    <a:pt x="193" y="18"/>
                    <a:pt x="191" y="21"/>
                    <a:pt x="196" y="28"/>
                  </a:cubicBezTo>
                  <a:cubicBezTo>
                    <a:pt x="197" y="29"/>
                    <a:pt x="198" y="30"/>
                    <a:pt x="198" y="30"/>
                  </a:cubicBezTo>
                  <a:cubicBezTo>
                    <a:pt x="197" y="32"/>
                    <a:pt x="196" y="36"/>
                    <a:pt x="199" y="37"/>
                  </a:cubicBezTo>
                  <a:cubicBezTo>
                    <a:pt x="204" y="40"/>
                    <a:pt x="205" y="40"/>
                    <a:pt x="208" y="47"/>
                  </a:cubicBezTo>
                  <a:cubicBezTo>
                    <a:pt x="211" y="54"/>
                    <a:pt x="217" y="58"/>
                    <a:pt x="212" y="62"/>
                  </a:cubicBezTo>
                  <a:cubicBezTo>
                    <a:pt x="207" y="66"/>
                    <a:pt x="195" y="65"/>
                    <a:pt x="197" y="71"/>
                  </a:cubicBezTo>
                  <a:cubicBezTo>
                    <a:pt x="199" y="76"/>
                    <a:pt x="205" y="76"/>
                    <a:pt x="205" y="81"/>
                  </a:cubicBezTo>
                  <a:cubicBezTo>
                    <a:pt x="206" y="85"/>
                    <a:pt x="200" y="90"/>
                    <a:pt x="207" y="92"/>
                  </a:cubicBezTo>
                  <a:cubicBezTo>
                    <a:pt x="205" y="94"/>
                    <a:pt x="204" y="96"/>
                    <a:pt x="207" y="99"/>
                  </a:cubicBezTo>
                  <a:cubicBezTo>
                    <a:pt x="212" y="103"/>
                    <a:pt x="216" y="111"/>
                    <a:pt x="218" y="113"/>
                  </a:cubicBezTo>
                  <a:cubicBezTo>
                    <a:pt x="221" y="115"/>
                    <a:pt x="225" y="120"/>
                    <a:pt x="221" y="123"/>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94" name="Freeform 1161">
              <a:extLst>
                <a:ext uri="{FF2B5EF4-FFF2-40B4-BE49-F238E27FC236}">
                  <a16:creationId xmlns:a16="http://schemas.microsoft.com/office/drawing/2014/main" id="{56D5DA3B-5B04-5D42-AA80-15D61A66376E}"/>
                </a:ext>
              </a:extLst>
            </p:cNvPr>
            <p:cNvSpPr>
              <a:spLocks/>
            </p:cNvSpPr>
            <p:nvPr/>
          </p:nvSpPr>
          <p:spPr bwMode="auto">
            <a:xfrm>
              <a:off x="4516452" y="1276805"/>
              <a:ext cx="384176" cy="209550"/>
            </a:xfrm>
            <a:custGeom>
              <a:avLst/>
              <a:gdLst>
                <a:gd name="T0" fmla="*/ 368 w 403"/>
                <a:gd name="T1" fmla="*/ 122 h 220"/>
                <a:gd name="T2" fmla="*/ 362 w 403"/>
                <a:gd name="T3" fmla="*/ 143 h 220"/>
                <a:gd name="T4" fmla="*/ 348 w 403"/>
                <a:gd name="T5" fmla="*/ 146 h 220"/>
                <a:gd name="T6" fmla="*/ 327 w 403"/>
                <a:gd name="T7" fmla="*/ 156 h 220"/>
                <a:gd name="T8" fmla="*/ 307 w 403"/>
                <a:gd name="T9" fmla="*/ 156 h 220"/>
                <a:gd name="T10" fmla="*/ 295 w 403"/>
                <a:gd name="T11" fmla="*/ 171 h 220"/>
                <a:gd name="T12" fmla="*/ 296 w 403"/>
                <a:gd name="T13" fmla="*/ 180 h 220"/>
                <a:gd name="T14" fmla="*/ 309 w 403"/>
                <a:gd name="T15" fmla="*/ 192 h 220"/>
                <a:gd name="T16" fmla="*/ 329 w 403"/>
                <a:gd name="T17" fmla="*/ 195 h 220"/>
                <a:gd name="T18" fmla="*/ 316 w 403"/>
                <a:gd name="T19" fmla="*/ 200 h 220"/>
                <a:gd name="T20" fmla="*/ 296 w 403"/>
                <a:gd name="T21" fmla="*/ 209 h 220"/>
                <a:gd name="T22" fmla="*/ 274 w 403"/>
                <a:gd name="T23" fmla="*/ 218 h 220"/>
                <a:gd name="T24" fmla="*/ 262 w 403"/>
                <a:gd name="T25" fmla="*/ 207 h 220"/>
                <a:gd name="T26" fmla="*/ 256 w 403"/>
                <a:gd name="T27" fmla="*/ 193 h 220"/>
                <a:gd name="T28" fmla="*/ 242 w 403"/>
                <a:gd name="T29" fmla="*/ 185 h 220"/>
                <a:gd name="T30" fmla="*/ 263 w 403"/>
                <a:gd name="T31" fmla="*/ 176 h 220"/>
                <a:gd name="T32" fmla="*/ 244 w 403"/>
                <a:gd name="T33" fmla="*/ 173 h 220"/>
                <a:gd name="T34" fmla="*/ 223 w 403"/>
                <a:gd name="T35" fmla="*/ 159 h 220"/>
                <a:gd name="T36" fmla="*/ 208 w 403"/>
                <a:gd name="T37" fmla="*/ 157 h 220"/>
                <a:gd name="T38" fmla="*/ 193 w 403"/>
                <a:gd name="T39" fmla="*/ 173 h 220"/>
                <a:gd name="T40" fmla="*/ 176 w 403"/>
                <a:gd name="T41" fmla="*/ 187 h 220"/>
                <a:gd name="T42" fmla="*/ 170 w 403"/>
                <a:gd name="T43" fmla="*/ 189 h 220"/>
                <a:gd name="T44" fmla="*/ 147 w 403"/>
                <a:gd name="T45" fmla="*/ 193 h 220"/>
                <a:gd name="T46" fmla="*/ 149 w 403"/>
                <a:gd name="T47" fmla="*/ 187 h 220"/>
                <a:gd name="T48" fmla="*/ 156 w 403"/>
                <a:gd name="T49" fmla="*/ 174 h 220"/>
                <a:gd name="T50" fmla="*/ 163 w 403"/>
                <a:gd name="T51" fmla="*/ 159 h 220"/>
                <a:gd name="T52" fmla="*/ 176 w 403"/>
                <a:gd name="T53" fmla="*/ 163 h 220"/>
                <a:gd name="T54" fmla="*/ 185 w 403"/>
                <a:gd name="T55" fmla="*/ 163 h 220"/>
                <a:gd name="T56" fmla="*/ 174 w 403"/>
                <a:gd name="T57" fmla="*/ 149 h 220"/>
                <a:gd name="T58" fmla="*/ 161 w 403"/>
                <a:gd name="T59" fmla="*/ 135 h 220"/>
                <a:gd name="T60" fmla="*/ 151 w 403"/>
                <a:gd name="T61" fmla="*/ 115 h 220"/>
                <a:gd name="T62" fmla="*/ 127 w 403"/>
                <a:gd name="T63" fmla="*/ 106 h 220"/>
                <a:gd name="T64" fmla="*/ 104 w 403"/>
                <a:gd name="T65" fmla="*/ 110 h 220"/>
                <a:gd name="T66" fmla="*/ 92 w 403"/>
                <a:gd name="T67" fmla="*/ 119 h 220"/>
                <a:gd name="T68" fmla="*/ 70 w 403"/>
                <a:gd name="T69" fmla="*/ 124 h 220"/>
                <a:gd name="T70" fmla="*/ 45 w 403"/>
                <a:gd name="T71" fmla="*/ 121 h 220"/>
                <a:gd name="T72" fmla="*/ 19 w 403"/>
                <a:gd name="T73" fmla="*/ 118 h 220"/>
                <a:gd name="T74" fmla="*/ 5 w 403"/>
                <a:gd name="T75" fmla="*/ 109 h 220"/>
                <a:gd name="T76" fmla="*/ 9 w 403"/>
                <a:gd name="T77" fmla="*/ 96 h 220"/>
                <a:gd name="T78" fmla="*/ 15 w 403"/>
                <a:gd name="T79" fmla="*/ 90 h 220"/>
                <a:gd name="T80" fmla="*/ 14 w 403"/>
                <a:gd name="T81" fmla="*/ 73 h 220"/>
                <a:gd name="T82" fmla="*/ 43 w 403"/>
                <a:gd name="T83" fmla="*/ 51 h 220"/>
                <a:gd name="T84" fmla="*/ 29 w 403"/>
                <a:gd name="T85" fmla="*/ 27 h 220"/>
                <a:gd name="T86" fmla="*/ 29 w 403"/>
                <a:gd name="T87" fmla="*/ 20 h 220"/>
                <a:gd name="T88" fmla="*/ 56 w 403"/>
                <a:gd name="T89" fmla="*/ 14 h 220"/>
                <a:gd name="T90" fmla="*/ 103 w 403"/>
                <a:gd name="T91" fmla="*/ 18 h 220"/>
                <a:gd name="T92" fmla="*/ 137 w 403"/>
                <a:gd name="T93" fmla="*/ 25 h 220"/>
                <a:gd name="T94" fmla="*/ 151 w 403"/>
                <a:gd name="T95" fmla="*/ 23 h 220"/>
                <a:gd name="T96" fmla="*/ 173 w 403"/>
                <a:gd name="T97" fmla="*/ 26 h 220"/>
                <a:gd name="T98" fmla="*/ 180 w 403"/>
                <a:gd name="T99" fmla="*/ 18 h 220"/>
                <a:gd name="T100" fmla="*/ 196 w 403"/>
                <a:gd name="T101" fmla="*/ 8 h 220"/>
                <a:gd name="T102" fmla="*/ 202 w 403"/>
                <a:gd name="T103" fmla="*/ 7 h 220"/>
                <a:gd name="T104" fmla="*/ 218 w 403"/>
                <a:gd name="T105" fmla="*/ 1 h 220"/>
                <a:gd name="T106" fmla="*/ 245 w 403"/>
                <a:gd name="T107" fmla="*/ 3 h 220"/>
                <a:gd name="T108" fmla="*/ 258 w 403"/>
                <a:gd name="T109" fmla="*/ 19 h 220"/>
                <a:gd name="T110" fmla="*/ 272 w 403"/>
                <a:gd name="T111" fmla="*/ 33 h 220"/>
                <a:gd name="T112" fmla="*/ 287 w 403"/>
                <a:gd name="T113" fmla="*/ 44 h 220"/>
                <a:gd name="T114" fmla="*/ 311 w 403"/>
                <a:gd name="T115" fmla="*/ 56 h 220"/>
                <a:gd name="T116" fmla="*/ 345 w 403"/>
                <a:gd name="T117" fmla="*/ 68 h 220"/>
                <a:gd name="T118" fmla="*/ 385 w 403"/>
                <a:gd name="T119" fmla="*/ 74 h 220"/>
                <a:gd name="T120" fmla="*/ 389 w 403"/>
                <a:gd name="T121" fmla="*/ 96 h 220"/>
                <a:gd name="T122" fmla="*/ 393 w 403"/>
                <a:gd name="T123" fmla="*/ 11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3" h="220">
                  <a:moveTo>
                    <a:pt x="393" y="119"/>
                  </a:moveTo>
                  <a:cubicBezTo>
                    <a:pt x="384" y="125"/>
                    <a:pt x="374" y="115"/>
                    <a:pt x="368" y="122"/>
                  </a:cubicBezTo>
                  <a:cubicBezTo>
                    <a:pt x="362" y="129"/>
                    <a:pt x="363" y="129"/>
                    <a:pt x="362" y="136"/>
                  </a:cubicBezTo>
                  <a:cubicBezTo>
                    <a:pt x="362" y="139"/>
                    <a:pt x="362" y="141"/>
                    <a:pt x="362" y="143"/>
                  </a:cubicBezTo>
                  <a:cubicBezTo>
                    <a:pt x="361" y="142"/>
                    <a:pt x="359" y="142"/>
                    <a:pt x="358" y="143"/>
                  </a:cubicBezTo>
                  <a:cubicBezTo>
                    <a:pt x="354" y="144"/>
                    <a:pt x="352" y="143"/>
                    <a:pt x="348" y="146"/>
                  </a:cubicBezTo>
                  <a:cubicBezTo>
                    <a:pt x="343" y="148"/>
                    <a:pt x="340" y="149"/>
                    <a:pt x="337" y="152"/>
                  </a:cubicBezTo>
                  <a:cubicBezTo>
                    <a:pt x="333" y="155"/>
                    <a:pt x="331" y="155"/>
                    <a:pt x="327" y="156"/>
                  </a:cubicBezTo>
                  <a:cubicBezTo>
                    <a:pt x="322" y="156"/>
                    <a:pt x="321" y="154"/>
                    <a:pt x="317" y="155"/>
                  </a:cubicBezTo>
                  <a:cubicBezTo>
                    <a:pt x="313" y="155"/>
                    <a:pt x="309" y="154"/>
                    <a:pt x="307" y="156"/>
                  </a:cubicBezTo>
                  <a:cubicBezTo>
                    <a:pt x="305" y="158"/>
                    <a:pt x="300" y="164"/>
                    <a:pt x="300" y="166"/>
                  </a:cubicBezTo>
                  <a:cubicBezTo>
                    <a:pt x="299" y="169"/>
                    <a:pt x="298" y="171"/>
                    <a:pt x="295" y="171"/>
                  </a:cubicBezTo>
                  <a:cubicBezTo>
                    <a:pt x="293" y="172"/>
                    <a:pt x="289" y="168"/>
                    <a:pt x="289" y="172"/>
                  </a:cubicBezTo>
                  <a:cubicBezTo>
                    <a:pt x="289" y="175"/>
                    <a:pt x="294" y="178"/>
                    <a:pt x="296" y="180"/>
                  </a:cubicBezTo>
                  <a:cubicBezTo>
                    <a:pt x="298" y="182"/>
                    <a:pt x="295" y="182"/>
                    <a:pt x="299" y="187"/>
                  </a:cubicBezTo>
                  <a:cubicBezTo>
                    <a:pt x="303" y="191"/>
                    <a:pt x="302" y="192"/>
                    <a:pt x="309" y="192"/>
                  </a:cubicBezTo>
                  <a:cubicBezTo>
                    <a:pt x="316" y="192"/>
                    <a:pt x="324" y="190"/>
                    <a:pt x="325" y="190"/>
                  </a:cubicBezTo>
                  <a:cubicBezTo>
                    <a:pt x="327" y="190"/>
                    <a:pt x="329" y="192"/>
                    <a:pt x="329" y="195"/>
                  </a:cubicBezTo>
                  <a:cubicBezTo>
                    <a:pt x="329" y="197"/>
                    <a:pt x="329" y="201"/>
                    <a:pt x="324" y="202"/>
                  </a:cubicBezTo>
                  <a:cubicBezTo>
                    <a:pt x="319" y="202"/>
                    <a:pt x="321" y="204"/>
                    <a:pt x="316" y="200"/>
                  </a:cubicBezTo>
                  <a:cubicBezTo>
                    <a:pt x="310" y="197"/>
                    <a:pt x="313" y="193"/>
                    <a:pt x="308" y="198"/>
                  </a:cubicBezTo>
                  <a:cubicBezTo>
                    <a:pt x="302" y="203"/>
                    <a:pt x="298" y="208"/>
                    <a:pt x="296" y="209"/>
                  </a:cubicBezTo>
                  <a:cubicBezTo>
                    <a:pt x="293" y="209"/>
                    <a:pt x="286" y="210"/>
                    <a:pt x="285" y="211"/>
                  </a:cubicBezTo>
                  <a:cubicBezTo>
                    <a:pt x="284" y="211"/>
                    <a:pt x="276" y="216"/>
                    <a:pt x="274" y="218"/>
                  </a:cubicBezTo>
                  <a:cubicBezTo>
                    <a:pt x="272" y="220"/>
                    <a:pt x="265" y="217"/>
                    <a:pt x="264" y="215"/>
                  </a:cubicBezTo>
                  <a:cubicBezTo>
                    <a:pt x="263" y="213"/>
                    <a:pt x="260" y="209"/>
                    <a:pt x="262" y="207"/>
                  </a:cubicBezTo>
                  <a:cubicBezTo>
                    <a:pt x="264" y="204"/>
                    <a:pt x="266" y="201"/>
                    <a:pt x="264" y="199"/>
                  </a:cubicBezTo>
                  <a:cubicBezTo>
                    <a:pt x="262" y="198"/>
                    <a:pt x="259" y="194"/>
                    <a:pt x="256" y="193"/>
                  </a:cubicBezTo>
                  <a:cubicBezTo>
                    <a:pt x="253" y="193"/>
                    <a:pt x="249" y="191"/>
                    <a:pt x="246" y="191"/>
                  </a:cubicBezTo>
                  <a:cubicBezTo>
                    <a:pt x="242" y="190"/>
                    <a:pt x="237" y="187"/>
                    <a:pt x="242" y="185"/>
                  </a:cubicBezTo>
                  <a:cubicBezTo>
                    <a:pt x="246" y="184"/>
                    <a:pt x="247" y="187"/>
                    <a:pt x="254" y="182"/>
                  </a:cubicBezTo>
                  <a:cubicBezTo>
                    <a:pt x="262" y="177"/>
                    <a:pt x="263" y="180"/>
                    <a:pt x="263" y="176"/>
                  </a:cubicBezTo>
                  <a:cubicBezTo>
                    <a:pt x="262" y="171"/>
                    <a:pt x="258" y="171"/>
                    <a:pt x="253" y="172"/>
                  </a:cubicBezTo>
                  <a:cubicBezTo>
                    <a:pt x="249" y="173"/>
                    <a:pt x="250" y="173"/>
                    <a:pt x="244" y="173"/>
                  </a:cubicBezTo>
                  <a:cubicBezTo>
                    <a:pt x="237" y="172"/>
                    <a:pt x="225" y="172"/>
                    <a:pt x="224" y="166"/>
                  </a:cubicBezTo>
                  <a:cubicBezTo>
                    <a:pt x="223" y="161"/>
                    <a:pt x="220" y="159"/>
                    <a:pt x="223" y="159"/>
                  </a:cubicBezTo>
                  <a:cubicBezTo>
                    <a:pt x="227" y="159"/>
                    <a:pt x="234" y="154"/>
                    <a:pt x="226" y="154"/>
                  </a:cubicBezTo>
                  <a:cubicBezTo>
                    <a:pt x="218" y="155"/>
                    <a:pt x="212" y="157"/>
                    <a:pt x="208" y="157"/>
                  </a:cubicBezTo>
                  <a:cubicBezTo>
                    <a:pt x="205" y="157"/>
                    <a:pt x="201" y="152"/>
                    <a:pt x="199" y="157"/>
                  </a:cubicBezTo>
                  <a:cubicBezTo>
                    <a:pt x="198" y="163"/>
                    <a:pt x="196" y="169"/>
                    <a:pt x="193" y="173"/>
                  </a:cubicBezTo>
                  <a:cubicBezTo>
                    <a:pt x="191" y="176"/>
                    <a:pt x="191" y="176"/>
                    <a:pt x="184" y="179"/>
                  </a:cubicBezTo>
                  <a:cubicBezTo>
                    <a:pt x="176" y="182"/>
                    <a:pt x="174" y="181"/>
                    <a:pt x="176" y="187"/>
                  </a:cubicBezTo>
                  <a:cubicBezTo>
                    <a:pt x="176" y="188"/>
                    <a:pt x="176" y="189"/>
                    <a:pt x="177" y="190"/>
                  </a:cubicBezTo>
                  <a:cubicBezTo>
                    <a:pt x="176" y="190"/>
                    <a:pt x="174" y="189"/>
                    <a:pt x="170" y="189"/>
                  </a:cubicBezTo>
                  <a:cubicBezTo>
                    <a:pt x="165" y="190"/>
                    <a:pt x="164" y="192"/>
                    <a:pt x="158" y="194"/>
                  </a:cubicBezTo>
                  <a:cubicBezTo>
                    <a:pt x="152" y="196"/>
                    <a:pt x="152" y="194"/>
                    <a:pt x="147" y="193"/>
                  </a:cubicBezTo>
                  <a:cubicBezTo>
                    <a:pt x="142" y="192"/>
                    <a:pt x="144" y="190"/>
                    <a:pt x="143" y="188"/>
                  </a:cubicBezTo>
                  <a:cubicBezTo>
                    <a:pt x="146" y="188"/>
                    <a:pt x="148" y="188"/>
                    <a:pt x="149" y="187"/>
                  </a:cubicBezTo>
                  <a:cubicBezTo>
                    <a:pt x="150" y="185"/>
                    <a:pt x="149" y="186"/>
                    <a:pt x="152" y="181"/>
                  </a:cubicBezTo>
                  <a:cubicBezTo>
                    <a:pt x="156" y="177"/>
                    <a:pt x="153" y="178"/>
                    <a:pt x="156" y="174"/>
                  </a:cubicBezTo>
                  <a:cubicBezTo>
                    <a:pt x="160" y="171"/>
                    <a:pt x="161" y="169"/>
                    <a:pt x="160" y="164"/>
                  </a:cubicBezTo>
                  <a:cubicBezTo>
                    <a:pt x="159" y="158"/>
                    <a:pt x="161" y="157"/>
                    <a:pt x="163" y="159"/>
                  </a:cubicBezTo>
                  <a:cubicBezTo>
                    <a:pt x="166" y="161"/>
                    <a:pt x="163" y="165"/>
                    <a:pt x="168" y="163"/>
                  </a:cubicBezTo>
                  <a:cubicBezTo>
                    <a:pt x="173" y="161"/>
                    <a:pt x="174" y="162"/>
                    <a:pt x="176" y="163"/>
                  </a:cubicBezTo>
                  <a:cubicBezTo>
                    <a:pt x="178" y="164"/>
                    <a:pt x="181" y="165"/>
                    <a:pt x="183" y="164"/>
                  </a:cubicBezTo>
                  <a:cubicBezTo>
                    <a:pt x="184" y="164"/>
                    <a:pt x="184" y="163"/>
                    <a:pt x="185" y="163"/>
                  </a:cubicBezTo>
                  <a:cubicBezTo>
                    <a:pt x="182" y="161"/>
                    <a:pt x="181" y="158"/>
                    <a:pt x="181" y="155"/>
                  </a:cubicBezTo>
                  <a:cubicBezTo>
                    <a:pt x="180" y="152"/>
                    <a:pt x="176" y="150"/>
                    <a:pt x="174" y="149"/>
                  </a:cubicBezTo>
                  <a:cubicBezTo>
                    <a:pt x="173" y="149"/>
                    <a:pt x="170" y="144"/>
                    <a:pt x="170" y="139"/>
                  </a:cubicBezTo>
                  <a:cubicBezTo>
                    <a:pt x="170" y="134"/>
                    <a:pt x="164" y="135"/>
                    <a:pt x="161" y="135"/>
                  </a:cubicBezTo>
                  <a:cubicBezTo>
                    <a:pt x="159" y="134"/>
                    <a:pt x="160" y="131"/>
                    <a:pt x="161" y="126"/>
                  </a:cubicBezTo>
                  <a:cubicBezTo>
                    <a:pt x="162" y="120"/>
                    <a:pt x="157" y="119"/>
                    <a:pt x="151" y="115"/>
                  </a:cubicBezTo>
                  <a:cubicBezTo>
                    <a:pt x="145" y="112"/>
                    <a:pt x="142" y="116"/>
                    <a:pt x="138" y="113"/>
                  </a:cubicBezTo>
                  <a:cubicBezTo>
                    <a:pt x="134" y="111"/>
                    <a:pt x="132" y="110"/>
                    <a:pt x="127" y="106"/>
                  </a:cubicBezTo>
                  <a:cubicBezTo>
                    <a:pt x="122" y="103"/>
                    <a:pt x="121" y="106"/>
                    <a:pt x="117" y="106"/>
                  </a:cubicBezTo>
                  <a:cubicBezTo>
                    <a:pt x="114" y="107"/>
                    <a:pt x="108" y="109"/>
                    <a:pt x="104" y="110"/>
                  </a:cubicBezTo>
                  <a:cubicBezTo>
                    <a:pt x="104" y="110"/>
                    <a:pt x="103" y="111"/>
                    <a:pt x="103" y="111"/>
                  </a:cubicBezTo>
                  <a:cubicBezTo>
                    <a:pt x="101" y="111"/>
                    <a:pt x="96" y="114"/>
                    <a:pt x="92" y="119"/>
                  </a:cubicBezTo>
                  <a:cubicBezTo>
                    <a:pt x="88" y="123"/>
                    <a:pt x="87" y="120"/>
                    <a:pt x="78" y="119"/>
                  </a:cubicBezTo>
                  <a:cubicBezTo>
                    <a:pt x="68" y="119"/>
                    <a:pt x="73" y="121"/>
                    <a:pt x="70" y="124"/>
                  </a:cubicBezTo>
                  <a:cubicBezTo>
                    <a:pt x="68" y="128"/>
                    <a:pt x="64" y="125"/>
                    <a:pt x="60" y="121"/>
                  </a:cubicBezTo>
                  <a:cubicBezTo>
                    <a:pt x="56" y="118"/>
                    <a:pt x="54" y="122"/>
                    <a:pt x="45" y="121"/>
                  </a:cubicBezTo>
                  <a:cubicBezTo>
                    <a:pt x="36" y="121"/>
                    <a:pt x="34" y="119"/>
                    <a:pt x="30" y="116"/>
                  </a:cubicBezTo>
                  <a:cubicBezTo>
                    <a:pt x="26" y="114"/>
                    <a:pt x="25" y="118"/>
                    <a:pt x="19" y="118"/>
                  </a:cubicBezTo>
                  <a:cubicBezTo>
                    <a:pt x="19" y="118"/>
                    <a:pt x="19" y="118"/>
                    <a:pt x="19" y="118"/>
                  </a:cubicBezTo>
                  <a:cubicBezTo>
                    <a:pt x="18" y="114"/>
                    <a:pt x="11" y="111"/>
                    <a:pt x="5" y="109"/>
                  </a:cubicBezTo>
                  <a:cubicBezTo>
                    <a:pt x="5" y="109"/>
                    <a:pt x="4" y="109"/>
                    <a:pt x="4" y="109"/>
                  </a:cubicBezTo>
                  <a:cubicBezTo>
                    <a:pt x="0" y="107"/>
                    <a:pt x="7" y="102"/>
                    <a:pt x="9" y="96"/>
                  </a:cubicBezTo>
                  <a:cubicBezTo>
                    <a:pt x="10" y="92"/>
                    <a:pt x="11" y="91"/>
                    <a:pt x="13" y="91"/>
                  </a:cubicBezTo>
                  <a:cubicBezTo>
                    <a:pt x="14" y="91"/>
                    <a:pt x="14" y="91"/>
                    <a:pt x="15" y="90"/>
                  </a:cubicBezTo>
                  <a:cubicBezTo>
                    <a:pt x="18" y="90"/>
                    <a:pt x="17" y="88"/>
                    <a:pt x="16" y="84"/>
                  </a:cubicBezTo>
                  <a:cubicBezTo>
                    <a:pt x="14" y="80"/>
                    <a:pt x="14" y="78"/>
                    <a:pt x="14" y="73"/>
                  </a:cubicBezTo>
                  <a:cubicBezTo>
                    <a:pt x="14" y="68"/>
                    <a:pt x="25" y="58"/>
                    <a:pt x="32" y="54"/>
                  </a:cubicBezTo>
                  <a:cubicBezTo>
                    <a:pt x="39" y="50"/>
                    <a:pt x="38" y="54"/>
                    <a:pt x="43" y="51"/>
                  </a:cubicBezTo>
                  <a:cubicBezTo>
                    <a:pt x="47" y="48"/>
                    <a:pt x="43" y="43"/>
                    <a:pt x="40" y="41"/>
                  </a:cubicBezTo>
                  <a:cubicBezTo>
                    <a:pt x="38" y="39"/>
                    <a:pt x="34" y="31"/>
                    <a:pt x="29" y="27"/>
                  </a:cubicBezTo>
                  <a:cubicBezTo>
                    <a:pt x="26" y="24"/>
                    <a:pt x="27" y="22"/>
                    <a:pt x="29" y="20"/>
                  </a:cubicBezTo>
                  <a:cubicBezTo>
                    <a:pt x="29" y="20"/>
                    <a:pt x="29" y="20"/>
                    <a:pt x="29" y="20"/>
                  </a:cubicBezTo>
                  <a:cubicBezTo>
                    <a:pt x="36" y="22"/>
                    <a:pt x="40" y="21"/>
                    <a:pt x="43" y="18"/>
                  </a:cubicBezTo>
                  <a:cubicBezTo>
                    <a:pt x="46" y="16"/>
                    <a:pt x="50" y="14"/>
                    <a:pt x="56" y="14"/>
                  </a:cubicBezTo>
                  <a:cubicBezTo>
                    <a:pt x="62" y="14"/>
                    <a:pt x="79" y="16"/>
                    <a:pt x="86" y="16"/>
                  </a:cubicBezTo>
                  <a:cubicBezTo>
                    <a:pt x="92" y="17"/>
                    <a:pt x="96" y="15"/>
                    <a:pt x="103" y="18"/>
                  </a:cubicBezTo>
                  <a:cubicBezTo>
                    <a:pt x="109" y="21"/>
                    <a:pt x="107" y="26"/>
                    <a:pt x="118" y="24"/>
                  </a:cubicBezTo>
                  <a:cubicBezTo>
                    <a:pt x="130" y="21"/>
                    <a:pt x="135" y="24"/>
                    <a:pt x="137" y="25"/>
                  </a:cubicBezTo>
                  <a:cubicBezTo>
                    <a:pt x="140" y="25"/>
                    <a:pt x="142" y="26"/>
                    <a:pt x="145" y="25"/>
                  </a:cubicBezTo>
                  <a:cubicBezTo>
                    <a:pt x="147" y="23"/>
                    <a:pt x="148" y="19"/>
                    <a:pt x="151" y="23"/>
                  </a:cubicBezTo>
                  <a:cubicBezTo>
                    <a:pt x="154" y="26"/>
                    <a:pt x="157" y="28"/>
                    <a:pt x="160" y="27"/>
                  </a:cubicBezTo>
                  <a:cubicBezTo>
                    <a:pt x="163" y="26"/>
                    <a:pt x="168" y="23"/>
                    <a:pt x="173" y="26"/>
                  </a:cubicBezTo>
                  <a:cubicBezTo>
                    <a:pt x="177" y="29"/>
                    <a:pt x="180" y="34"/>
                    <a:pt x="181" y="29"/>
                  </a:cubicBezTo>
                  <a:cubicBezTo>
                    <a:pt x="182" y="25"/>
                    <a:pt x="178" y="24"/>
                    <a:pt x="180" y="18"/>
                  </a:cubicBezTo>
                  <a:cubicBezTo>
                    <a:pt x="182" y="11"/>
                    <a:pt x="178" y="11"/>
                    <a:pt x="186" y="10"/>
                  </a:cubicBezTo>
                  <a:cubicBezTo>
                    <a:pt x="193" y="9"/>
                    <a:pt x="194" y="8"/>
                    <a:pt x="196" y="8"/>
                  </a:cubicBezTo>
                  <a:cubicBezTo>
                    <a:pt x="197" y="8"/>
                    <a:pt x="198" y="7"/>
                    <a:pt x="200" y="6"/>
                  </a:cubicBezTo>
                  <a:cubicBezTo>
                    <a:pt x="200" y="7"/>
                    <a:pt x="201" y="7"/>
                    <a:pt x="202" y="7"/>
                  </a:cubicBezTo>
                  <a:cubicBezTo>
                    <a:pt x="207" y="8"/>
                    <a:pt x="212" y="15"/>
                    <a:pt x="212" y="7"/>
                  </a:cubicBezTo>
                  <a:cubicBezTo>
                    <a:pt x="212" y="0"/>
                    <a:pt x="212" y="0"/>
                    <a:pt x="218" y="1"/>
                  </a:cubicBezTo>
                  <a:cubicBezTo>
                    <a:pt x="225" y="3"/>
                    <a:pt x="224" y="3"/>
                    <a:pt x="231" y="3"/>
                  </a:cubicBezTo>
                  <a:cubicBezTo>
                    <a:pt x="238" y="2"/>
                    <a:pt x="237" y="0"/>
                    <a:pt x="245" y="3"/>
                  </a:cubicBezTo>
                  <a:cubicBezTo>
                    <a:pt x="253" y="6"/>
                    <a:pt x="257" y="10"/>
                    <a:pt x="258" y="14"/>
                  </a:cubicBezTo>
                  <a:cubicBezTo>
                    <a:pt x="259" y="17"/>
                    <a:pt x="261" y="14"/>
                    <a:pt x="258" y="19"/>
                  </a:cubicBezTo>
                  <a:cubicBezTo>
                    <a:pt x="256" y="24"/>
                    <a:pt x="254" y="25"/>
                    <a:pt x="260" y="29"/>
                  </a:cubicBezTo>
                  <a:cubicBezTo>
                    <a:pt x="265" y="33"/>
                    <a:pt x="266" y="33"/>
                    <a:pt x="272" y="33"/>
                  </a:cubicBezTo>
                  <a:cubicBezTo>
                    <a:pt x="277" y="33"/>
                    <a:pt x="272" y="29"/>
                    <a:pt x="277" y="33"/>
                  </a:cubicBezTo>
                  <a:cubicBezTo>
                    <a:pt x="283" y="38"/>
                    <a:pt x="285" y="38"/>
                    <a:pt x="287" y="44"/>
                  </a:cubicBezTo>
                  <a:cubicBezTo>
                    <a:pt x="289" y="50"/>
                    <a:pt x="278" y="52"/>
                    <a:pt x="291" y="54"/>
                  </a:cubicBezTo>
                  <a:cubicBezTo>
                    <a:pt x="304" y="56"/>
                    <a:pt x="302" y="53"/>
                    <a:pt x="311" y="56"/>
                  </a:cubicBezTo>
                  <a:cubicBezTo>
                    <a:pt x="320" y="59"/>
                    <a:pt x="319" y="48"/>
                    <a:pt x="327" y="52"/>
                  </a:cubicBezTo>
                  <a:cubicBezTo>
                    <a:pt x="335" y="56"/>
                    <a:pt x="338" y="68"/>
                    <a:pt x="345" y="68"/>
                  </a:cubicBezTo>
                  <a:cubicBezTo>
                    <a:pt x="351" y="68"/>
                    <a:pt x="349" y="63"/>
                    <a:pt x="362" y="68"/>
                  </a:cubicBezTo>
                  <a:cubicBezTo>
                    <a:pt x="375" y="73"/>
                    <a:pt x="376" y="70"/>
                    <a:pt x="385" y="74"/>
                  </a:cubicBezTo>
                  <a:cubicBezTo>
                    <a:pt x="394" y="78"/>
                    <a:pt x="396" y="81"/>
                    <a:pt x="395" y="85"/>
                  </a:cubicBezTo>
                  <a:cubicBezTo>
                    <a:pt x="394" y="89"/>
                    <a:pt x="386" y="93"/>
                    <a:pt x="389" y="96"/>
                  </a:cubicBezTo>
                  <a:cubicBezTo>
                    <a:pt x="392" y="100"/>
                    <a:pt x="388" y="101"/>
                    <a:pt x="391" y="108"/>
                  </a:cubicBezTo>
                  <a:cubicBezTo>
                    <a:pt x="393" y="115"/>
                    <a:pt x="403" y="113"/>
                    <a:pt x="393" y="119"/>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95" name="Freeform 1162">
              <a:extLst>
                <a:ext uri="{FF2B5EF4-FFF2-40B4-BE49-F238E27FC236}">
                  <a16:creationId xmlns:a16="http://schemas.microsoft.com/office/drawing/2014/main" id="{CD9D8BF1-ABC9-4848-92E9-5460EDE95A04}"/>
                </a:ext>
              </a:extLst>
            </p:cNvPr>
            <p:cNvSpPr>
              <a:spLocks/>
            </p:cNvSpPr>
            <p:nvPr/>
          </p:nvSpPr>
          <p:spPr bwMode="auto">
            <a:xfrm>
              <a:off x="4481527" y="1381581"/>
              <a:ext cx="207963" cy="122238"/>
            </a:xfrm>
            <a:custGeom>
              <a:avLst/>
              <a:gdLst>
                <a:gd name="T0" fmla="*/ 214 w 218"/>
                <a:gd name="T1" fmla="*/ 92 h 129"/>
                <a:gd name="T2" fmla="*/ 206 w 218"/>
                <a:gd name="T3" fmla="*/ 98 h 129"/>
                <a:gd name="T4" fmla="*/ 197 w 218"/>
                <a:gd name="T5" fmla="*/ 95 h 129"/>
                <a:gd name="T6" fmla="*/ 194 w 218"/>
                <a:gd name="T7" fmla="*/ 109 h 129"/>
                <a:gd name="T8" fmla="*/ 195 w 218"/>
                <a:gd name="T9" fmla="*/ 121 h 129"/>
                <a:gd name="T10" fmla="*/ 194 w 218"/>
                <a:gd name="T11" fmla="*/ 127 h 129"/>
                <a:gd name="T12" fmla="*/ 180 w 218"/>
                <a:gd name="T13" fmla="*/ 121 h 129"/>
                <a:gd name="T14" fmla="*/ 165 w 218"/>
                <a:gd name="T15" fmla="*/ 115 h 129"/>
                <a:gd name="T16" fmla="*/ 149 w 218"/>
                <a:gd name="T17" fmla="*/ 116 h 129"/>
                <a:gd name="T18" fmla="*/ 136 w 218"/>
                <a:gd name="T19" fmla="*/ 122 h 129"/>
                <a:gd name="T20" fmla="*/ 124 w 218"/>
                <a:gd name="T21" fmla="*/ 128 h 129"/>
                <a:gd name="T22" fmla="*/ 111 w 218"/>
                <a:gd name="T23" fmla="*/ 126 h 129"/>
                <a:gd name="T24" fmla="*/ 100 w 218"/>
                <a:gd name="T25" fmla="*/ 128 h 129"/>
                <a:gd name="T26" fmla="*/ 86 w 218"/>
                <a:gd name="T27" fmla="*/ 125 h 129"/>
                <a:gd name="T28" fmla="*/ 66 w 218"/>
                <a:gd name="T29" fmla="*/ 124 h 129"/>
                <a:gd name="T30" fmla="*/ 66 w 218"/>
                <a:gd name="T31" fmla="*/ 115 h 129"/>
                <a:gd name="T32" fmla="*/ 60 w 218"/>
                <a:gd name="T33" fmla="*/ 112 h 129"/>
                <a:gd name="T34" fmla="*/ 60 w 218"/>
                <a:gd name="T35" fmla="*/ 112 h 129"/>
                <a:gd name="T36" fmla="*/ 56 w 218"/>
                <a:gd name="T37" fmla="*/ 108 h 129"/>
                <a:gd name="T38" fmla="*/ 61 w 218"/>
                <a:gd name="T39" fmla="*/ 102 h 129"/>
                <a:gd name="T40" fmla="*/ 52 w 218"/>
                <a:gd name="T41" fmla="*/ 100 h 129"/>
                <a:gd name="T42" fmla="*/ 45 w 218"/>
                <a:gd name="T43" fmla="*/ 104 h 129"/>
                <a:gd name="T44" fmla="*/ 33 w 218"/>
                <a:gd name="T45" fmla="*/ 99 h 129"/>
                <a:gd name="T46" fmla="*/ 31 w 218"/>
                <a:gd name="T47" fmla="*/ 93 h 129"/>
                <a:gd name="T48" fmla="*/ 26 w 218"/>
                <a:gd name="T49" fmla="*/ 84 h 129"/>
                <a:gd name="T50" fmla="*/ 17 w 218"/>
                <a:gd name="T51" fmla="*/ 77 h 129"/>
                <a:gd name="T52" fmla="*/ 11 w 218"/>
                <a:gd name="T53" fmla="*/ 69 h 129"/>
                <a:gd name="T54" fmla="*/ 2 w 218"/>
                <a:gd name="T55" fmla="*/ 62 h 129"/>
                <a:gd name="T56" fmla="*/ 2 w 218"/>
                <a:gd name="T57" fmla="*/ 58 h 129"/>
                <a:gd name="T58" fmla="*/ 9 w 218"/>
                <a:gd name="T59" fmla="*/ 58 h 129"/>
                <a:gd name="T60" fmla="*/ 24 w 218"/>
                <a:gd name="T61" fmla="*/ 54 h 129"/>
                <a:gd name="T62" fmla="*/ 33 w 218"/>
                <a:gd name="T63" fmla="*/ 33 h 129"/>
                <a:gd name="T64" fmla="*/ 47 w 218"/>
                <a:gd name="T65" fmla="*/ 17 h 129"/>
                <a:gd name="T66" fmla="*/ 56 w 218"/>
                <a:gd name="T67" fmla="*/ 9 h 129"/>
                <a:gd name="T68" fmla="*/ 56 w 218"/>
                <a:gd name="T69" fmla="*/ 8 h 129"/>
                <a:gd name="T70" fmla="*/ 67 w 218"/>
                <a:gd name="T71" fmla="*/ 6 h 129"/>
                <a:gd name="T72" fmla="*/ 82 w 218"/>
                <a:gd name="T73" fmla="*/ 11 h 129"/>
                <a:gd name="T74" fmla="*/ 97 w 218"/>
                <a:gd name="T75" fmla="*/ 11 h 129"/>
                <a:gd name="T76" fmla="*/ 107 w 218"/>
                <a:gd name="T77" fmla="*/ 14 h 129"/>
                <a:gd name="T78" fmla="*/ 115 w 218"/>
                <a:gd name="T79" fmla="*/ 9 h 129"/>
                <a:gd name="T80" fmla="*/ 129 w 218"/>
                <a:gd name="T81" fmla="*/ 9 h 129"/>
                <a:gd name="T82" fmla="*/ 140 w 218"/>
                <a:gd name="T83" fmla="*/ 1 h 129"/>
                <a:gd name="T84" fmla="*/ 141 w 218"/>
                <a:gd name="T85" fmla="*/ 0 h 129"/>
                <a:gd name="T86" fmla="*/ 148 w 218"/>
                <a:gd name="T87" fmla="*/ 8 h 129"/>
                <a:gd name="T88" fmla="*/ 155 w 218"/>
                <a:gd name="T89" fmla="*/ 18 h 129"/>
                <a:gd name="T90" fmla="*/ 164 w 218"/>
                <a:gd name="T91" fmla="*/ 28 h 129"/>
                <a:gd name="T92" fmla="*/ 176 w 218"/>
                <a:gd name="T93" fmla="*/ 42 h 129"/>
                <a:gd name="T94" fmla="*/ 179 w 218"/>
                <a:gd name="T95" fmla="*/ 52 h 129"/>
                <a:gd name="T96" fmla="*/ 179 w 218"/>
                <a:gd name="T97" fmla="*/ 68 h 129"/>
                <a:gd name="T98" fmla="*/ 180 w 218"/>
                <a:gd name="T99" fmla="*/ 77 h 129"/>
                <a:gd name="T100" fmla="*/ 180 w 218"/>
                <a:gd name="T101" fmla="*/ 78 h 129"/>
                <a:gd name="T102" fmla="*/ 184 w 218"/>
                <a:gd name="T103" fmla="*/ 83 h 129"/>
                <a:gd name="T104" fmla="*/ 195 w 218"/>
                <a:gd name="T105" fmla="*/ 84 h 129"/>
                <a:gd name="T106" fmla="*/ 207 w 218"/>
                <a:gd name="T107" fmla="*/ 79 h 129"/>
                <a:gd name="T108" fmla="*/ 214 w 218"/>
                <a:gd name="T109" fmla="*/ 80 h 129"/>
                <a:gd name="T110" fmla="*/ 214 w 218"/>
                <a:gd name="T111" fmla="*/ 9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8" h="129">
                  <a:moveTo>
                    <a:pt x="214" y="92"/>
                  </a:moveTo>
                  <a:cubicBezTo>
                    <a:pt x="210" y="97"/>
                    <a:pt x="209" y="98"/>
                    <a:pt x="206" y="98"/>
                  </a:cubicBezTo>
                  <a:cubicBezTo>
                    <a:pt x="203" y="98"/>
                    <a:pt x="198" y="91"/>
                    <a:pt x="197" y="95"/>
                  </a:cubicBezTo>
                  <a:cubicBezTo>
                    <a:pt x="197" y="99"/>
                    <a:pt x="195" y="105"/>
                    <a:pt x="194" y="109"/>
                  </a:cubicBezTo>
                  <a:cubicBezTo>
                    <a:pt x="194" y="112"/>
                    <a:pt x="195" y="118"/>
                    <a:pt x="195" y="121"/>
                  </a:cubicBezTo>
                  <a:cubicBezTo>
                    <a:pt x="195" y="122"/>
                    <a:pt x="195" y="125"/>
                    <a:pt x="194" y="127"/>
                  </a:cubicBezTo>
                  <a:cubicBezTo>
                    <a:pt x="191" y="128"/>
                    <a:pt x="185" y="124"/>
                    <a:pt x="180" y="121"/>
                  </a:cubicBezTo>
                  <a:cubicBezTo>
                    <a:pt x="175" y="118"/>
                    <a:pt x="171" y="118"/>
                    <a:pt x="165" y="115"/>
                  </a:cubicBezTo>
                  <a:cubicBezTo>
                    <a:pt x="159" y="112"/>
                    <a:pt x="158" y="116"/>
                    <a:pt x="149" y="116"/>
                  </a:cubicBezTo>
                  <a:cubicBezTo>
                    <a:pt x="141" y="116"/>
                    <a:pt x="142" y="118"/>
                    <a:pt x="136" y="122"/>
                  </a:cubicBezTo>
                  <a:cubicBezTo>
                    <a:pt x="131" y="126"/>
                    <a:pt x="129" y="127"/>
                    <a:pt x="124" y="128"/>
                  </a:cubicBezTo>
                  <a:cubicBezTo>
                    <a:pt x="118" y="129"/>
                    <a:pt x="114" y="127"/>
                    <a:pt x="111" y="126"/>
                  </a:cubicBezTo>
                  <a:cubicBezTo>
                    <a:pt x="108" y="124"/>
                    <a:pt x="103" y="126"/>
                    <a:pt x="100" y="128"/>
                  </a:cubicBezTo>
                  <a:cubicBezTo>
                    <a:pt x="97" y="129"/>
                    <a:pt x="91" y="127"/>
                    <a:pt x="86" y="125"/>
                  </a:cubicBezTo>
                  <a:cubicBezTo>
                    <a:pt x="81" y="123"/>
                    <a:pt x="76" y="125"/>
                    <a:pt x="66" y="124"/>
                  </a:cubicBezTo>
                  <a:cubicBezTo>
                    <a:pt x="56" y="123"/>
                    <a:pt x="64" y="120"/>
                    <a:pt x="66" y="115"/>
                  </a:cubicBezTo>
                  <a:cubicBezTo>
                    <a:pt x="67" y="111"/>
                    <a:pt x="63" y="112"/>
                    <a:pt x="60" y="112"/>
                  </a:cubicBezTo>
                  <a:cubicBezTo>
                    <a:pt x="60" y="112"/>
                    <a:pt x="60" y="112"/>
                    <a:pt x="60" y="112"/>
                  </a:cubicBezTo>
                  <a:cubicBezTo>
                    <a:pt x="60" y="110"/>
                    <a:pt x="56" y="110"/>
                    <a:pt x="56" y="108"/>
                  </a:cubicBezTo>
                  <a:cubicBezTo>
                    <a:pt x="55" y="104"/>
                    <a:pt x="61" y="103"/>
                    <a:pt x="61" y="102"/>
                  </a:cubicBezTo>
                  <a:cubicBezTo>
                    <a:pt x="62" y="101"/>
                    <a:pt x="57" y="101"/>
                    <a:pt x="52" y="100"/>
                  </a:cubicBezTo>
                  <a:cubicBezTo>
                    <a:pt x="47" y="99"/>
                    <a:pt x="51" y="104"/>
                    <a:pt x="45" y="104"/>
                  </a:cubicBezTo>
                  <a:cubicBezTo>
                    <a:pt x="40" y="104"/>
                    <a:pt x="39" y="101"/>
                    <a:pt x="33" y="99"/>
                  </a:cubicBezTo>
                  <a:cubicBezTo>
                    <a:pt x="28" y="96"/>
                    <a:pt x="31" y="96"/>
                    <a:pt x="31" y="93"/>
                  </a:cubicBezTo>
                  <a:cubicBezTo>
                    <a:pt x="32" y="90"/>
                    <a:pt x="31" y="88"/>
                    <a:pt x="26" y="84"/>
                  </a:cubicBezTo>
                  <a:cubicBezTo>
                    <a:pt x="21" y="80"/>
                    <a:pt x="17" y="82"/>
                    <a:pt x="17" y="77"/>
                  </a:cubicBezTo>
                  <a:cubicBezTo>
                    <a:pt x="17" y="72"/>
                    <a:pt x="14" y="73"/>
                    <a:pt x="11" y="69"/>
                  </a:cubicBezTo>
                  <a:cubicBezTo>
                    <a:pt x="9" y="65"/>
                    <a:pt x="6" y="65"/>
                    <a:pt x="2" y="62"/>
                  </a:cubicBezTo>
                  <a:cubicBezTo>
                    <a:pt x="0" y="60"/>
                    <a:pt x="1" y="59"/>
                    <a:pt x="2" y="58"/>
                  </a:cubicBezTo>
                  <a:cubicBezTo>
                    <a:pt x="4" y="58"/>
                    <a:pt x="7" y="58"/>
                    <a:pt x="9" y="58"/>
                  </a:cubicBezTo>
                  <a:cubicBezTo>
                    <a:pt x="18" y="57"/>
                    <a:pt x="18" y="58"/>
                    <a:pt x="24" y="54"/>
                  </a:cubicBezTo>
                  <a:cubicBezTo>
                    <a:pt x="30" y="50"/>
                    <a:pt x="28" y="41"/>
                    <a:pt x="33" y="33"/>
                  </a:cubicBezTo>
                  <a:cubicBezTo>
                    <a:pt x="37" y="26"/>
                    <a:pt x="35" y="23"/>
                    <a:pt x="47" y="17"/>
                  </a:cubicBezTo>
                  <a:cubicBezTo>
                    <a:pt x="58" y="11"/>
                    <a:pt x="56" y="14"/>
                    <a:pt x="56" y="9"/>
                  </a:cubicBezTo>
                  <a:cubicBezTo>
                    <a:pt x="56" y="9"/>
                    <a:pt x="56" y="8"/>
                    <a:pt x="56" y="8"/>
                  </a:cubicBezTo>
                  <a:cubicBezTo>
                    <a:pt x="62" y="8"/>
                    <a:pt x="63" y="4"/>
                    <a:pt x="67" y="6"/>
                  </a:cubicBezTo>
                  <a:cubicBezTo>
                    <a:pt x="71" y="9"/>
                    <a:pt x="73" y="11"/>
                    <a:pt x="82" y="11"/>
                  </a:cubicBezTo>
                  <a:cubicBezTo>
                    <a:pt x="91" y="12"/>
                    <a:pt x="93" y="8"/>
                    <a:pt x="97" y="11"/>
                  </a:cubicBezTo>
                  <a:cubicBezTo>
                    <a:pt x="101" y="15"/>
                    <a:pt x="105" y="18"/>
                    <a:pt x="107" y="14"/>
                  </a:cubicBezTo>
                  <a:cubicBezTo>
                    <a:pt x="110" y="11"/>
                    <a:pt x="105" y="9"/>
                    <a:pt x="115" y="9"/>
                  </a:cubicBezTo>
                  <a:cubicBezTo>
                    <a:pt x="124" y="10"/>
                    <a:pt x="125" y="13"/>
                    <a:pt x="129" y="9"/>
                  </a:cubicBezTo>
                  <a:cubicBezTo>
                    <a:pt x="133" y="4"/>
                    <a:pt x="138" y="1"/>
                    <a:pt x="140" y="1"/>
                  </a:cubicBezTo>
                  <a:cubicBezTo>
                    <a:pt x="140" y="1"/>
                    <a:pt x="141" y="0"/>
                    <a:pt x="141" y="0"/>
                  </a:cubicBezTo>
                  <a:cubicBezTo>
                    <a:pt x="143" y="2"/>
                    <a:pt x="143" y="5"/>
                    <a:pt x="148" y="8"/>
                  </a:cubicBezTo>
                  <a:cubicBezTo>
                    <a:pt x="153" y="11"/>
                    <a:pt x="153" y="14"/>
                    <a:pt x="155" y="18"/>
                  </a:cubicBezTo>
                  <a:cubicBezTo>
                    <a:pt x="157" y="21"/>
                    <a:pt x="159" y="23"/>
                    <a:pt x="164" y="28"/>
                  </a:cubicBezTo>
                  <a:cubicBezTo>
                    <a:pt x="169" y="33"/>
                    <a:pt x="176" y="38"/>
                    <a:pt x="176" y="42"/>
                  </a:cubicBezTo>
                  <a:cubicBezTo>
                    <a:pt x="177" y="46"/>
                    <a:pt x="182" y="43"/>
                    <a:pt x="179" y="52"/>
                  </a:cubicBezTo>
                  <a:cubicBezTo>
                    <a:pt x="176" y="62"/>
                    <a:pt x="177" y="65"/>
                    <a:pt x="179" y="68"/>
                  </a:cubicBezTo>
                  <a:cubicBezTo>
                    <a:pt x="180" y="70"/>
                    <a:pt x="178" y="74"/>
                    <a:pt x="180" y="77"/>
                  </a:cubicBezTo>
                  <a:cubicBezTo>
                    <a:pt x="180" y="77"/>
                    <a:pt x="180" y="78"/>
                    <a:pt x="180" y="78"/>
                  </a:cubicBezTo>
                  <a:cubicBezTo>
                    <a:pt x="181" y="80"/>
                    <a:pt x="179" y="82"/>
                    <a:pt x="184" y="83"/>
                  </a:cubicBezTo>
                  <a:cubicBezTo>
                    <a:pt x="189" y="84"/>
                    <a:pt x="189" y="86"/>
                    <a:pt x="195" y="84"/>
                  </a:cubicBezTo>
                  <a:cubicBezTo>
                    <a:pt x="201" y="82"/>
                    <a:pt x="202" y="80"/>
                    <a:pt x="207" y="79"/>
                  </a:cubicBezTo>
                  <a:cubicBezTo>
                    <a:pt x="211" y="79"/>
                    <a:pt x="213" y="80"/>
                    <a:pt x="214" y="80"/>
                  </a:cubicBezTo>
                  <a:cubicBezTo>
                    <a:pt x="215" y="85"/>
                    <a:pt x="218" y="88"/>
                    <a:pt x="214" y="92"/>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96" name="Freeform 1163">
              <a:extLst>
                <a:ext uri="{FF2B5EF4-FFF2-40B4-BE49-F238E27FC236}">
                  <a16:creationId xmlns:a16="http://schemas.microsoft.com/office/drawing/2014/main" id="{B91ACC52-B5DE-3F4F-820A-C31190494102}"/>
                </a:ext>
              </a:extLst>
            </p:cNvPr>
            <p:cNvSpPr>
              <a:spLocks/>
            </p:cNvSpPr>
            <p:nvPr/>
          </p:nvSpPr>
          <p:spPr bwMode="auto">
            <a:xfrm>
              <a:off x="4529152" y="1487943"/>
              <a:ext cx="136525" cy="80963"/>
            </a:xfrm>
            <a:custGeom>
              <a:avLst/>
              <a:gdLst>
                <a:gd name="T0" fmla="*/ 144 w 144"/>
                <a:gd name="T1" fmla="*/ 15 h 85"/>
                <a:gd name="T2" fmla="*/ 143 w 144"/>
                <a:gd name="T3" fmla="*/ 20 h 85"/>
                <a:gd name="T4" fmla="*/ 137 w 144"/>
                <a:gd name="T5" fmla="*/ 26 h 85"/>
                <a:gd name="T6" fmla="*/ 128 w 144"/>
                <a:gd name="T7" fmla="*/ 38 h 85"/>
                <a:gd name="T8" fmla="*/ 126 w 144"/>
                <a:gd name="T9" fmla="*/ 49 h 85"/>
                <a:gd name="T10" fmla="*/ 134 w 144"/>
                <a:gd name="T11" fmla="*/ 62 h 85"/>
                <a:gd name="T12" fmla="*/ 134 w 144"/>
                <a:gd name="T13" fmla="*/ 63 h 85"/>
                <a:gd name="T14" fmla="*/ 131 w 144"/>
                <a:gd name="T15" fmla="*/ 63 h 85"/>
                <a:gd name="T16" fmla="*/ 124 w 144"/>
                <a:gd name="T17" fmla="*/ 63 h 85"/>
                <a:gd name="T18" fmla="*/ 116 w 144"/>
                <a:gd name="T19" fmla="*/ 60 h 85"/>
                <a:gd name="T20" fmla="*/ 105 w 144"/>
                <a:gd name="T21" fmla="*/ 64 h 85"/>
                <a:gd name="T22" fmla="*/ 97 w 144"/>
                <a:gd name="T23" fmla="*/ 69 h 85"/>
                <a:gd name="T24" fmla="*/ 95 w 144"/>
                <a:gd name="T25" fmla="*/ 70 h 85"/>
                <a:gd name="T26" fmla="*/ 95 w 144"/>
                <a:gd name="T27" fmla="*/ 76 h 85"/>
                <a:gd name="T28" fmla="*/ 86 w 144"/>
                <a:gd name="T29" fmla="*/ 83 h 85"/>
                <a:gd name="T30" fmla="*/ 75 w 144"/>
                <a:gd name="T31" fmla="*/ 83 h 85"/>
                <a:gd name="T32" fmla="*/ 64 w 144"/>
                <a:gd name="T33" fmla="*/ 80 h 85"/>
                <a:gd name="T34" fmla="*/ 54 w 144"/>
                <a:gd name="T35" fmla="*/ 73 h 85"/>
                <a:gd name="T36" fmla="*/ 42 w 144"/>
                <a:gd name="T37" fmla="*/ 77 h 85"/>
                <a:gd name="T38" fmla="*/ 30 w 144"/>
                <a:gd name="T39" fmla="*/ 79 h 85"/>
                <a:gd name="T40" fmla="*/ 20 w 144"/>
                <a:gd name="T41" fmla="*/ 79 h 85"/>
                <a:gd name="T42" fmla="*/ 22 w 144"/>
                <a:gd name="T43" fmla="*/ 73 h 85"/>
                <a:gd name="T44" fmla="*/ 19 w 144"/>
                <a:gd name="T45" fmla="*/ 66 h 85"/>
                <a:gd name="T46" fmla="*/ 15 w 144"/>
                <a:gd name="T47" fmla="*/ 61 h 85"/>
                <a:gd name="T48" fmla="*/ 7 w 144"/>
                <a:gd name="T49" fmla="*/ 54 h 85"/>
                <a:gd name="T50" fmla="*/ 6 w 144"/>
                <a:gd name="T51" fmla="*/ 51 h 85"/>
                <a:gd name="T52" fmla="*/ 8 w 144"/>
                <a:gd name="T53" fmla="*/ 51 h 85"/>
                <a:gd name="T54" fmla="*/ 7 w 144"/>
                <a:gd name="T55" fmla="*/ 43 h 85"/>
                <a:gd name="T56" fmla="*/ 12 w 144"/>
                <a:gd name="T57" fmla="*/ 37 h 85"/>
                <a:gd name="T58" fmla="*/ 18 w 144"/>
                <a:gd name="T59" fmla="*/ 32 h 85"/>
                <a:gd name="T60" fmla="*/ 11 w 144"/>
                <a:gd name="T61" fmla="*/ 23 h 85"/>
                <a:gd name="T62" fmla="*/ 4 w 144"/>
                <a:gd name="T63" fmla="*/ 12 h 85"/>
                <a:gd name="T64" fmla="*/ 9 w 144"/>
                <a:gd name="T65" fmla="*/ 3 h 85"/>
                <a:gd name="T66" fmla="*/ 10 w 144"/>
                <a:gd name="T67" fmla="*/ 0 h 85"/>
                <a:gd name="T68" fmla="*/ 16 w 144"/>
                <a:gd name="T69" fmla="*/ 3 h 85"/>
                <a:gd name="T70" fmla="*/ 16 w 144"/>
                <a:gd name="T71" fmla="*/ 12 h 85"/>
                <a:gd name="T72" fmla="*/ 36 w 144"/>
                <a:gd name="T73" fmla="*/ 13 h 85"/>
                <a:gd name="T74" fmla="*/ 50 w 144"/>
                <a:gd name="T75" fmla="*/ 16 h 85"/>
                <a:gd name="T76" fmla="*/ 61 w 144"/>
                <a:gd name="T77" fmla="*/ 14 h 85"/>
                <a:gd name="T78" fmla="*/ 74 w 144"/>
                <a:gd name="T79" fmla="*/ 16 h 85"/>
                <a:gd name="T80" fmla="*/ 86 w 144"/>
                <a:gd name="T81" fmla="*/ 10 h 85"/>
                <a:gd name="T82" fmla="*/ 99 w 144"/>
                <a:gd name="T83" fmla="*/ 4 h 85"/>
                <a:gd name="T84" fmla="*/ 115 w 144"/>
                <a:gd name="T85" fmla="*/ 3 h 85"/>
                <a:gd name="T86" fmla="*/ 130 w 144"/>
                <a:gd name="T87" fmla="*/ 9 h 85"/>
                <a:gd name="T88" fmla="*/ 144 w 144"/>
                <a:gd name="T89" fmla="*/ 1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4" h="85">
                  <a:moveTo>
                    <a:pt x="144" y="15"/>
                  </a:moveTo>
                  <a:cubicBezTo>
                    <a:pt x="144" y="17"/>
                    <a:pt x="143" y="18"/>
                    <a:pt x="143" y="20"/>
                  </a:cubicBezTo>
                  <a:cubicBezTo>
                    <a:pt x="143" y="23"/>
                    <a:pt x="140" y="22"/>
                    <a:pt x="137" y="26"/>
                  </a:cubicBezTo>
                  <a:cubicBezTo>
                    <a:pt x="134" y="30"/>
                    <a:pt x="128" y="35"/>
                    <a:pt x="128" y="38"/>
                  </a:cubicBezTo>
                  <a:cubicBezTo>
                    <a:pt x="128" y="41"/>
                    <a:pt x="124" y="46"/>
                    <a:pt x="126" y="49"/>
                  </a:cubicBezTo>
                  <a:cubicBezTo>
                    <a:pt x="128" y="53"/>
                    <a:pt x="134" y="61"/>
                    <a:pt x="134" y="62"/>
                  </a:cubicBezTo>
                  <a:cubicBezTo>
                    <a:pt x="134" y="62"/>
                    <a:pt x="134" y="62"/>
                    <a:pt x="134" y="63"/>
                  </a:cubicBezTo>
                  <a:cubicBezTo>
                    <a:pt x="133" y="63"/>
                    <a:pt x="132" y="63"/>
                    <a:pt x="131" y="63"/>
                  </a:cubicBezTo>
                  <a:cubicBezTo>
                    <a:pt x="129" y="64"/>
                    <a:pt x="127" y="64"/>
                    <a:pt x="124" y="63"/>
                  </a:cubicBezTo>
                  <a:cubicBezTo>
                    <a:pt x="122" y="62"/>
                    <a:pt x="119" y="61"/>
                    <a:pt x="116" y="60"/>
                  </a:cubicBezTo>
                  <a:cubicBezTo>
                    <a:pt x="113" y="60"/>
                    <a:pt x="109" y="62"/>
                    <a:pt x="105" y="64"/>
                  </a:cubicBezTo>
                  <a:cubicBezTo>
                    <a:pt x="101" y="66"/>
                    <a:pt x="100" y="67"/>
                    <a:pt x="97" y="69"/>
                  </a:cubicBezTo>
                  <a:cubicBezTo>
                    <a:pt x="96" y="69"/>
                    <a:pt x="95" y="69"/>
                    <a:pt x="95" y="70"/>
                  </a:cubicBezTo>
                  <a:cubicBezTo>
                    <a:pt x="89" y="72"/>
                    <a:pt x="94" y="73"/>
                    <a:pt x="95" y="76"/>
                  </a:cubicBezTo>
                  <a:cubicBezTo>
                    <a:pt x="95" y="80"/>
                    <a:pt x="91" y="80"/>
                    <a:pt x="86" y="83"/>
                  </a:cubicBezTo>
                  <a:cubicBezTo>
                    <a:pt x="80" y="85"/>
                    <a:pt x="78" y="83"/>
                    <a:pt x="75" y="83"/>
                  </a:cubicBezTo>
                  <a:cubicBezTo>
                    <a:pt x="72" y="83"/>
                    <a:pt x="68" y="81"/>
                    <a:pt x="64" y="80"/>
                  </a:cubicBezTo>
                  <a:cubicBezTo>
                    <a:pt x="59" y="79"/>
                    <a:pt x="58" y="76"/>
                    <a:pt x="54" y="73"/>
                  </a:cubicBezTo>
                  <a:cubicBezTo>
                    <a:pt x="51" y="71"/>
                    <a:pt x="49" y="76"/>
                    <a:pt x="42" y="77"/>
                  </a:cubicBezTo>
                  <a:cubicBezTo>
                    <a:pt x="35" y="79"/>
                    <a:pt x="37" y="78"/>
                    <a:pt x="30" y="79"/>
                  </a:cubicBezTo>
                  <a:cubicBezTo>
                    <a:pt x="26" y="80"/>
                    <a:pt x="23" y="80"/>
                    <a:pt x="20" y="79"/>
                  </a:cubicBezTo>
                  <a:cubicBezTo>
                    <a:pt x="21" y="78"/>
                    <a:pt x="23" y="76"/>
                    <a:pt x="22" y="73"/>
                  </a:cubicBezTo>
                  <a:cubicBezTo>
                    <a:pt x="20" y="70"/>
                    <a:pt x="22" y="70"/>
                    <a:pt x="19" y="66"/>
                  </a:cubicBezTo>
                  <a:cubicBezTo>
                    <a:pt x="16" y="62"/>
                    <a:pt x="17" y="61"/>
                    <a:pt x="15" y="61"/>
                  </a:cubicBezTo>
                  <a:cubicBezTo>
                    <a:pt x="12" y="60"/>
                    <a:pt x="9" y="57"/>
                    <a:pt x="7" y="54"/>
                  </a:cubicBezTo>
                  <a:cubicBezTo>
                    <a:pt x="6" y="53"/>
                    <a:pt x="6" y="52"/>
                    <a:pt x="6" y="51"/>
                  </a:cubicBezTo>
                  <a:cubicBezTo>
                    <a:pt x="7" y="51"/>
                    <a:pt x="7" y="51"/>
                    <a:pt x="8" y="51"/>
                  </a:cubicBezTo>
                  <a:cubicBezTo>
                    <a:pt x="14" y="50"/>
                    <a:pt x="7" y="47"/>
                    <a:pt x="7" y="43"/>
                  </a:cubicBezTo>
                  <a:cubicBezTo>
                    <a:pt x="7" y="39"/>
                    <a:pt x="8" y="38"/>
                    <a:pt x="12" y="37"/>
                  </a:cubicBezTo>
                  <a:cubicBezTo>
                    <a:pt x="16" y="36"/>
                    <a:pt x="16" y="34"/>
                    <a:pt x="18" y="32"/>
                  </a:cubicBezTo>
                  <a:cubicBezTo>
                    <a:pt x="20" y="29"/>
                    <a:pt x="14" y="27"/>
                    <a:pt x="11" y="23"/>
                  </a:cubicBezTo>
                  <a:cubicBezTo>
                    <a:pt x="8" y="19"/>
                    <a:pt x="7" y="17"/>
                    <a:pt x="4" y="12"/>
                  </a:cubicBezTo>
                  <a:cubicBezTo>
                    <a:pt x="0" y="8"/>
                    <a:pt x="5" y="7"/>
                    <a:pt x="9" y="3"/>
                  </a:cubicBezTo>
                  <a:cubicBezTo>
                    <a:pt x="9" y="2"/>
                    <a:pt x="10" y="1"/>
                    <a:pt x="10" y="0"/>
                  </a:cubicBezTo>
                  <a:cubicBezTo>
                    <a:pt x="13" y="0"/>
                    <a:pt x="17" y="0"/>
                    <a:pt x="16" y="3"/>
                  </a:cubicBezTo>
                  <a:cubicBezTo>
                    <a:pt x="14" y="8"/>
                    <a:pt x="6" y="11"/>
                    <a:pt x="16" y="12"/>
                  </a:cubicBezTo>
                  <a:cubicBezTo>
                    <a:pt x="26" y="13"/>
                    <a:pt x="31" y="11"/>
                    <a:pt x="36" y="13"/>
                  </a:cubicBezTo>
                  <a:cubicBezTo>
                    <a:pt x="41" y="15"/>
                    <a:pt x="47" y="17"/>
                    <a:pt x="50" y="16"/>
                  </a:cubicBezTo>
                  <a:cubicBezTo>
                    <a:pt x="53" y="14"/>
                    <a:pt x="58" y="12"/>
                    <a:pt x="61" y="14"/>
                  </a:cubicBezTo>
                  <a:cubicBezTo>
                    <a:pt x="64" y="15"/>
                    <a:pt x="68" y="17"/>
                    <a:pt x="74" y="16"/>
                  </a:cubicBezTo>
                  <a:cubicBezTo>
                    <a:pt x="79" y="15"/>
                    <a:pt x="81" y="14"/>
                    <a:pt x="86" y="10"/>
                  </a:cubicBezTo>
                  <a:cubicBezTo>
                    <a:pt x="92" y="6"/>
                    <a:pt x="91" y="4"/>
                    <a:pt x="99" y="4"/>
                  </a:cubicBezTo>
                  <a:cubicBezTo>
                    <a:pt x="108" y="4"/>
                    <a:pt x="109" y="0"/>
                    <a:pt x="115" y="3"/>
                  </a:cubicBezTo>
                  <a:cubicBezTo>
                    <a:pt x="121" y="6"/>
                    <a:pt x="125" y="6"/>
                    <a:pt x="130" y="9"/>
                  </a:cubicBezTo>
                  <a:cubicBezTo>
                    <a:pt x="135" y="12"/>
                    <a:pt x="141" y="16"/>
                    <a:pt x="144" y="15"/>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97" name="Freeform 1164">
              <a:extLst>
                <a:ext uri="{FF2B5EF4-FFF2-40B4-BE49-F238E27FC236}">
                  <a16:creationId xmlns:a16="http://schemas.microsoft.com/office/drawing/2014/main" id="{34A922F0-F847-6644-B650-938BBC56BC57}"/>
                </a:ext>
              </a:extLst>
            </p:cNvPr>
            <p:cNvSpPr>
              <a:spLocks/>
            </p:cNvSpPr>
            <p:nvPr/>
          </p:nvSpPr>
          <p:spPr bwMode="auto">
            <a:xfrm>
              <a:off x="4398976" y="1373643"/>
              <a:ext cx="138113" cy="76200"/>
            </a:xfrm>
            <a:custGeom>
              <a:avLst/>
              <a:gdLst>
                <a:gd name="T0" fmla="*/ 133 w 144"/>
                <a:gd name="T1" fmla="*/ 25 h 79"/>
                <a:gd name="T2" fmla="*/ 119 w 144"/>
                <a:gd name="T3" fmla="*/ 41 h 79"/>
                <a:gd name="T4" fmla="*/ 110 w 144"/>
                <a:gd name="T5" fmla="*/ 62 h 79"/>
                <a:gd name="T6" fmla="*/ 95 w 144"/>
                <a:gd name="T7" fmla="*/ 66 h 79"/>
                <a:gd name="T8" fmla="*/ 88 w 144"/>
                <a:gd name="T9" fmla="*/ 66 h 79"/>
                <a:gd name="T10" fmla="*/ 74 w 144"/>
                <a:gd name="T11" fmla="*/ 67 h 79"/>
                <a:gd name="T12" fmla="*/ 60 w 144"/>
                <a:gd name="T13" fmla="*/ 73 h 79"/>
                <a:gd name="T14" fmla="*/ 57 w 144"/>
                <a:gd name="T15" fmla="*/ 75 h 79"/>
                <a:gd name="T16" fmla="*/ 49 w 144"/>
                <a:gd name="T17" fmla="*/ 78 h 79"/>
                <a:gd name="T18" fmla="*/ 31 w 144"/>
                <a:gd name="T19" fmla="*/ 75 h 79"/>
                <a:gd name="T20" fmla="*/ 14 w 144"/>
                <a:gd name="T21" fmla="*/ 63 h 79"/>
                <a:gd name="T22" fmla="*/ 4 w 144"/>
                <a:gd name="T23" fmla="*/ 56 h 79"/>
                <a:gd name="T24" fmla="*/ 3 w 144"/>
                <a:gd name="T25" fmla="*/ 54 h 79"/>
                <a:gd name="T26" fmla="*/ 0 w 144"/>
                <a:gd name="T27" fmla="*/ 48 h 79"/>
                <a:gd name="T28" fmla="*/ 3 w 144"/>
                <a:gd name="T29" fmla="*/ 43 h 79"/>
                <a:gd name="T30" fmla="*/ 5 w 144"/>
                <a:gd name="T31" fmla="*/ 32 h 79"/>
                <a:gd name="T32" fmla="*/ 4 w 144"/>
                <a:gd name="T33" fmla="*/ 26 h 79"/>
                <a:gd name="T34" fmla="*/ 13 w 144"/>
                <a:gd name="T35" fmla="*/ 24 h 79"/>
                <a:gd name="T36" fmla="*/ 16 w 144"/>
                <a:gd name="T37" fmla="*/ 20 h 79"/>
                <a:gd name="T38" fmla="*/ 16 w 144"/>
                <a:gd name="T39" fmla="*/ 18 h 79"/>
                <a:gd name="T40" fmla="*/ 21 w 144"/>
                <a:gd name="T41" fmla="*/ 18 h 79"/>
                <a:gd name="T42" fmla="*/ 26 w 144"/>
                <a:gd name="T43" fmla="*/ 21 h 79"/>
                <a:gd name="T44" fmla="*/ 37 w 144"/>
                <a:gd name="T45" fmla="*/ 24 h 79"/>
                <a:gd name="T46" fmla="*/ 47 w 144"/>
                <a:gd name="T47" fmla="*/ 23 h 79"/>
                <a:gd name="T48" fmla="*/ 55 w 144"/>
                <a:gd name="T49" fmla="*/ 17 h 79"/>
                <a:gd name="T50" fmla="*/ 66 w 144"/>
                <a:gd name="T51" fmla="*/ 15 h 79"/>
                <a:gd name="T52" fmla="*/ 72 w 144"/>
                <a:gd name="T53" fmla="*/ 11 h 79"/>
                <a:gd name="T54" fmla="*/ 78 w 144"/>
                <a:gd name="T55" fmla="*/ 13 h 79"/>
                <a:gd name="T56" fmla="*/ 88 w 144"/>
                <a:gd name="T57" fmla="*/ 9 h 79"/>
                <a:gd name="T58" fmla="*/ 91 w 144"/>
                <a:gd name="T59" fmla="*/ 3 h 79"/>
                <a:gd name="T60" fmla="*/ 96 w 144"/>
                <a:gd name="T61" fmla="*/ 1 h 79"/>
                <a:gd name="T62" fmla="*/ 102 w 144"/>
                <a:gd name="T63" fmla="*/ 3 h 79"/>
                <a:gd name="T64" fmla="*/ 114 w 144"/>
                <a:gd name="T65" fmla="*/ 3 h 79"/>
                <a:gd name="T66" fmla="*/ 122 w 144"/>
                <a:gd name="T67" fmla="*/ 7 h 79"/>
                <a:gd name="T68" fmla="*/ 127 w 144"/>
                <a:gd name="T69" fmla="*/ 7 h 79"/>
                <a:gd name="T70" fmla="*/ 128 w 144"/>
                <a:gd name="T71" fmla="*/ 7 h 79"/>
                <a:gd name="T72" fmla="*/ 142 w 144"/>
                <a:gd name="T73" fmla="*/ 16 h 79"/>
                <a:gd name="T74" fmla="*/ 142 w 144"/>
                <a:gd name="T75" fmla="*/ 17 h 79"/>
                <a:gd name="T76" fmla="*/ 133 w 144"/>
                <a:gd name="T77" fmla="*/ 2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4" h="79">
                  <a:moveTo>
                    <a:pt x="133" y="25"/>
                  </a:moveTo>
                  <a:cubicBezTo>
                    <a:pt x="121" y="31"/>
                    <a:pt x="123" y="34"/>
                    <a:pt x="119" y="41"/>
                  </a:cubicBezTo>
                  <a:cubicBezTo>
                    <a:pt x="114" y="49"/>
                    <a:pt x="116" y="58"/>
                    <a:pt x="110" y="62"/>
                  </a:cubicBezTo>
                  <a:cubicBezTo>
                    <a:pt x="104" y="66"/>
                    <a:pt x="104" y="65"/>
                    <a:pt x="95" y="66"/>
                  </a:cubicBezTo>
                  <a:cubicBezTo>
                    <a:pt x="93" y="66"/>
                    <a:pt x="90" y="66"/>
                    <a:pt x="88" y="66"/>
                  </a:cubicBezTo>
                  <a:cubicBezTo>
                    <a:pt x="83" y="66"/>
                    <a:pt x="78" y="65"/>
                    <a:pt x="74" y="67"/>
                  </a:cubicBezTo>
                  <a:cubicBezTo>
                    <a:pt x="69" y="71"/>
                    <a:pt x="65" y="71"/>
                    <a:pt x="60" y="73"/>
                  </a:cubicBezTo>
                  <a:cubicBezTo>
                    <a:pt x="58" y="73"/>
                    <a:pt x="58" y="74"/>
                    <a:pt x="57" y="75"/>
                  </a:cubicBezTo>
                  <a:cubicBezTo>
                    <a:pt x="56" y="76"/>
                    <a:pt x="55" y="77"/>
                    <a:pt x="49" y="78"/>
                  </a:cubicBezTo>
                  <a:cubicBezTo>
                    <a:pt x="39" y="78"/>
                    <a:pt x="40" y="79"/>
                    <a:pt x="31" y="75"/>
                  </a:cubicBezTo>
                  <a:cubicBezTo>
                    <a:pt x="23" y="70"/>
                    <a:pt x="22" y="71"/>
                    <a:pt x="14" y="63"/>
                  </a:cubicBezTo>
                  <a:cubicBezTo>
                    <a:pt x="7" y="57"/>
                    <a:pt x="6" y="59"/>
                    <a:pt x="4" y="56"/>
                  </a:cubicBezTo>
                  <a:cubicBezTo>
                    <a:pt x="4" y="56"/>
                    <a:pt x="3" y="55"/>
                    <a:pt x="3" y="54"/>
                  </a:cubicBezTo>
                  <a:cubicBezTo>
                    <a:pt x="1" y="51"/>
                    <a:pt x="1" y="49"/>
                    <a:pt x="0" y="48"/>
                  </a:cubicBezTo>
                  <a:cubicBezTo>
                    <a:pt x="1" y="46"/>
                    <a:pt x="3" y="45"/>
                    <a:pt x="3" y="43"/>
                  </a:cubicBezTo>
                  <a:cubicBezTo>
                    <a:pt x="3" y="40"/>
                    <a:pt x="0" y="37"/>
                    <a:pt x="5" y="32"/>
                  </a:cubicBezTo>
                  <a:cubicBezTo>
                    <a:pt x="11" y="27"/>
                    <a:pt x="5" y="29"/>
                    <a:pt x="4" y="26"/>
                  </a:cubicBezTo>
                  <a:cubicBezTo>
                    <a:pt x="2" y="23"/>
                    <a:pt x="7" y="24"/>
                    <a:pt x="13" y="24"/>
                  </a:cubicBezTo>
                  <a:cubicBezTo>
                    <a:pt x="18" y="25"/>
                    <a:pt x="15" y="24"/>
                    <a:pt x="16" y="20"/>
                  </a:cubicBezTo>
                  <a:cubicBezTo>
                    <a:pt x="16" y="19"/>
                    <a:pt x="16" y="19"/>
                    <a:pt x="16" y="18"/>
                  </a:cubicBezTo>
                  <a:cubicBezTo>
                    <a:pt x="17" y="18"/>
                    <a:pt x="19" y="18"/>
                    <a:pt x="21" y="18"/>
                  </a:cubicBezTo>
                  <a:cubicBezTo>
                    <a:pt x="23" y="18"/>
                    <a:pt x="23" y="19"/>
                    <a:pt x="26" y="21"/>
                  </a:cubicBezTo>
                  <a:cubicBezTo>
                    <a:pt x="29" y="23"/>
                    <a:pt x="34" y="25"/>
                    <a:pt x="37" y="24"/>
                  </a:cubicBezTo>
                  <a:cubicBezTo>
                    <a:pt x="41" y="24"/>
                    <a:pt x="41" y="25"/>
                    <a:pt x="47" y="23"/>
                  </a:cubicBezTo>
                  <a:cubicBezTo>
                    <a:pt x="52" y="21"/>
                    <a:pt x="54" y="18"/>
                    <a:pt x="55" y="17"/>
                  </a:cubicBezTo>
                  <a:cubicBezTo>
                    <a:pt x="56" y="15"/>
                    <a:pt x="63" y="15"/>
                    <a:pt x="66" y="15"/>
                  </a:cubicBezTo>
                  <a:cubicBezTo>
                    <a:pt x="69" y="14"/>
                    <a:pt x="67" y="10"/>
                    <a:pt x="72" y="11"/>
                  </a:cubicBezTo>
                  <a:cubicBezTo>
                    <a:pt x="76" y="13"/>
                    <a:pt x="73" y="15"/>
                    <a:pt x="78" y="13"/>
                  </a:cubicBezTo>
                  <a:cubicBezTo>
                    <a:pt x="83" y="12"/>
                    <a:pt x="86" y="12"/>
                    <a:pt x="88" y="9"/>
                  </a:cubicBezTo>
                  <a:cubicBezTo>
                    <a:pt x="89" y="6"/>
                    <a:pt x="89" y="4"/>
                    <a:pt x="91" y="3"/>
                  </a:cubicBezTo>
                  <a:cubicBezTo>
                    <a:pt x="93" y="2"/>
                    <a:pt x="95" y="0"/>
                    <a:pt x="96" y="1"/>
                  </a:cubicBezTo>
                  <a:cubicBezTo>
                    <a:pt x="97" y="2"/>
                    <a:pt x="99" y="3"/>
                    <a:pt x="102" y="3"/>
                  </a:cubicBezTo>
                  <a:cubicBezTo>
                    <a:pt x="106" y="3"/>
                    <a:pt x="110" y="0"/>
                    <a:pt x="114" y="3"/>
                  </a:cubicBezTo>
                  <a:cubicBezTo>
                    <a:pt x="117" y="5"/>
                    <a:pt x="118" y="7"/>
                    <a:pt x="122" y="7"/>
                  </a:cubicBezTo>
                  <a:cubicBezTo>
                    <a:pt x="124" y="7"/>
                    <a:pt x="126" y="7"/>
                    <a:pt x="127" y="7"/>
                  </a:cubicBezTo>
                  <a:cubicBezTo>
                    <a:pt x="127" y="7"/>
                    <a:pt x="128" y="7"/>
                    <a:pt x="128" y="7"/>
                  </a:cubicBezTo>
                  <a:cubicBezTo>
                    <a:pt x="134" y="9"/>
                    <a:pt x="141" y="12"/>
                    <a:pt x="142" y="16"/>
                  </a:cubicBezTo>
                  <a:cubicBezTo>
                    <a:pt x="142" y="16"/>
                    <a:pt x="142" y="17"/>
                    <a:pt x="142" y="17"/>
                  </a:cubicBezTo>
                  <a:cubicBezTo>
                    <a:pt x="142" y="22"/>
                    <a:pt x="144" y="19"/>
                    <a:pt x="133" y="25"/>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98" name="Freeform 1165">
              <a:extLst>
                <a:ext uri="{FF2B5EF4-FFF2-40B4-BE49-F238E27FC236}">
                  <a16:creationId xmlns:a16="http://schemas.microsoft.com/office/drawing/2014/main" id="{26D0FF4C-B82E-E84E-B5C5-B33C8AC1CE8C}"/>
                </a:ext>
              </a:extLst>
            </p:cNvPr>
            <p:cNvSpPr>
              <a:spLocks/>
            </p:cNvSpPr>
            <p:nvPr/>
          </p:nvSpPr>
          <p:spPr bwMode="auto">
            <a:xfrm>
              <a:off x="4256101" y="1362531"/>
              <a:ext cx="160338" cy="73025"/>
            </a:xfrm>
            <a:custGeom>
              <a:avLst/>
              <a:gdLst>
                <a:gd name="T0" fmla="*/ 164 w 169"/>
                <a:gd name="T1" fmla="*/ 35 h 75"/>
                <a:gd name="T2" fmla="*/ 155 w 169"/>
                <a:gd name="T3" fmla="*/ 37 h 75"/>
                <a:gd name="T4" fmla="*/ 156 w 169"/>
                <a:gd name="T5" fmla="*/ 43 h 75"/>
                <a:gd name="T6" fmla="*/ 154 w 169"/>
                <a:gd name="T7" fmla="*/ 54 h 75"/>
                <a:gd name="T8" fmla="*/ 151 w 169"/>
                <a:gd name="T9" fmla="*/ 59 h 75"/>
                <a:gd name="T10" fmla="*/ 146 w 169"/>
                <a:gd name="T11" fmla="*/ 58 h 75"/>
                <a:gd name="T12" fmla="*/ 135 w 169"/>
                <a:gd name="T13" fmla="*/ 66 h 75"/>
                <a:gd name="T14" fmla="*/ 119 w 169"/>
                <a:gd name="T15" fmla="*/ 65 h 75"/>
                <a:gd name="T16" fmla="*/ 110 w 169"/>
                <a:gd name="T17" fmla="*/ 72 h 75"/>
                <a:gd name="T18" fmla="*/ 95 w 169"/>
                <a:gd name="T19" fmla="*/ 69 h 75"/>
                <a:gd name="T20" fmla="*/ 92 w 169"/>
                <a:gd name="T21" fmla="*/ 69 h 75"/>
                <a:gd name="T22" fmla="*/ 92 w 169"/>
                <a:gd name="T23" fmla="*/ 68 h 75"/>
                <a:gd name="T24" fmla="*/ 82 w 169"/>
                <a:gd name="T25" fmla="*/ 66 h 75"/>
                <a:gd name="T26" fmla="*/ 72 w 169"/>
                <a:gd name="T27" fmla="*/ 66 h 75"/>
                <a:gd name="T28" fmla="*/ 60 w 169"/>
                <a:gd name="T29" fmla="*/ 56 h 75"/>
                <a:gd name="T30" fmla="*/ 46 w 169"/>
                <a:gd name="T31" fmla="*/ 56 h 75"/>
                <a:gd name="T32" fmla="*/ 36 w 169"/>
                <a:gd name="T33" fmla="*/ 62 h 75"/>
                <a:gd name="T34" fmla="*/ 27 w 169"/>
                <a:gd name="T35" fmla="*/ 59 h 75"/>
                <a:gd name="T36" fmla="*/ 24 w 169"/>
                <a:gd name="T37" fmla="*/ 60 h 75"/>
                <a:gd name="T38" fmla="*/ 21 w 169"/>
                <a:gd name="T39" fmla="*/ 55 h 75"/>
                <a:gd name="T40" fmla="*/ 14 w 169"/>
                <a:gd name="T41" fmla="*/ 58 h 75"/>
                <a:gd name="T42" fmla="*/ 5 w 169"/>
                <a:gd name="T43" fmla="*/ 53 h 75"/>
                <a:gd name="T44" fmla="*/ 2 w 169"/>
                <a:gd name="T45" fmla="*/ 49 h 75"/>
                <a:gd name="T46" fmla="*/ 3 w 169"/>
                <a:gd name="T47" fmla="*/ 40 h 75"/>
                <a:gd name="T48" fmla="*/ 3 w 169"/>
                <a:gd name="T49" fmla="*/ 40 h 75"/>
                <a:gd name="T50" fmla="*/ 8 w 169"/>
                <a:gd name="T51" fmla="*/ 39 h 75"/>
                <a:gd name="T52" fmla="*/ 14 w 169"/>
                <a:gd name="T53" fmla="*/ 44 h 75"/>
                <a:gd name="T54" fmla="*/ 21 w 169"/>
                <a:gd name="T55" fmla="*/ 45 h 75"/>
                <a:gd name="T56" fmla="*/ 25 w 169"/>
                <a:gd name="T57" fmla="*/ 40 h 75"/>
                <a:gd name="T58" fmla="*/ 32 w 169"/>
                <a:gd name="T59" fmla="*/ 43 h 75"/>
                <a:gd name="T60" fmla="*/ 39 w 169"/>
                <a:gd name="T61" fmla="*/ 45 h 75"/>
                <a:gd name="T62" fmla="*/ 49 w 169"/>
                <a:gd name="T63" fmla="*/ 39 h 75"/>
                <a:gd name="T64" fmla="*/ 61 w 169"/>
                <a:gd name="T65" fmla="*/ 39 h 75"/>
                <a:gd name="T66" fmla="*/ 68 w 169"/>
                <a:gd name="T67" fmla="*/ 36 h 75"/>
                <a:gd name="T68" fmla="*/ 75 w 169"/>
                <a:gd name="T69" fmla="*/ 41 h 75"/>
                <a:gd name="T70" fmla="*/ 78 w 169"/>
                <a:gd name="T71" fmla="*/ 35 h 75"/>
                <a:gd name="T72" fmla="*/ 75 w 169"/>
                <a:gd name="T73" fmla="*/ 30 h 75"/>
                <a:gd name="T74" fmla="*/ 74 w 169"/>
                <a:gd name="T75" fmla="*/ 22 h 75"/>
                <a:gd name="T76" fmla="*/ 82 w 169"/>
                <a:gd name="T77" fmla="*/ 18 h 75"/>
                <a:gd name="T78" fmla="*/ 88 w 169"/>
                <a:gd name="T79" fmla="*/ 13 h 75"/>
                <a:gd name="T80" fmla="*/ 94 w 169"/>
                <a:gd name="T81" fmla="*/ 8 h 75"/>
                <a:gd name="T82" fmla="*/ 99 w 169"/>
                <a:gd name="T83" fmla="*/ 9 h 75"/>
                <a:gd name="T84" fmla="*/ 111 w 169"/>
                <a:gd name="T85" fmla="*/ 12 h 75"/>
                <a:gd name="T86" fmla="*/ 123 w 169"/>
                <a:gd name="T87" fmla="*/ 2 h 75"/>
                <a:gd name="T88" fmla="*/ 134 w 169"/>
                <a:gd name="T89" fmla="*/ 4 h 75"/>
                <a:gd name="T90" fmla="*/ 146 w 169"/>
                <a:gd name="T91" fmla="*/ 7 h 75"/>
                <a:gd name="T92" fmla="*/ 162 w 169"/>
                <a:gd name="T93" fmla="*/ 7 h 75"/>
                <a:gd name="T94" fmla="*/ 163 w 169"/>
                <a:gd name="T95" fmla="*/ 8 h 75"/>
                <a:gd name="T96" fmla="*/ 162 w 169"/>
                <a:gd name="T97" fmla="*/ 16 h 75"/>
                <a:gd name="T98" fmla="*/ 164 w 169"/>
                <a:gd name="T99" fmla="*/ 24 h 75"/>
                <a:gd name="T100" fmla="*/ 167 w 169"/>
                <a:gd name="T101" fmla="*/ 29 h 75"/>
                <a:gd name="T102" fmla="*/ 167 w 169"/>
                <a:gd name="T103" fmla="*/ 31 h 75"/>
                <a:gd name="T104" fmla="*/ 164 w 169"/>
                <a:gd name="T105" fmla="*/ 3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9" h="75">
                  <a:moveTo>
                    <a:pt x="164" y="35"/>
                  </a:moveTo>
                  <a:cubicBezTo>
                    <a:pt x="158" y="35"/>
                    <a:pt x="153" y="34"/>
                    <a:pt x="155" y="37"/>
                  </a:cubicBezTo>
                  <a:cubicBezTo>
                    <a:pt x="156" y="40"/>
                    <a:pt x="162" y="38"/>
                    <a:pt x="156" y="43"/>
                  </a:cubicBezTo>
                  <a:cubicBezTo>
                    <a:pt x="151" y="48"/>
                    <a:pt x="154" y="51"/>
                    <a:pt x="154" y="54"/>
                  </a:cubicBezTo>
                  <a:cubicBezTo>
                    <a:pt x="154" y="56"/>
                    <a:pt x="152" y="57"/>
                    <a:pt x="151" y="59"/>
                  </a:cubicBezTo>
                  <a:cubicBezTo>
                    <a:pt x="150" y="56"/>
                    <a:pt x="149" y="55"/>
                    <a:pt x="146" y="58"/>
                  </a:cubicBezTo>
                  <a:cubicBezTo>
                    <a:pt x="141" y="63"/>
                    <a:pt x="144" y="67"/>
                    <a:pt x="135" y="66"/>
                  </a:cubicBezTo>
                  <a:cubicBezTo>
                    <a:pt x="127" y="65"/>
                    <a:pt x="122" y="61"/>
                    <a:pt x="119" y="65"/>
                  </a:cubicBezTo>
                  <a:cubicBezTo>
                    <a:pt x="115" y="68"/>
                    <a:pt x="118" y="75"/>
                    <a:pt x="110" y="72"/>
                  </a:cubicBezTo>
                  <a:cubicBezTo>
                    <a:pt x="102" y="69"/>
                    <a:pt x="97" y="69"/>
                    <a:pt x="95" y="69"/>
                  </a:cubicBezTo>
                  <a:cubicBezTo>
                    <a:pt x="95" y="69"/>
                    <a:pt x="93" y="69"/>
                    <a:pt x="92" y="69"/>
                  </a:cubicBezTo>
                  <a:cubicBezTo>
                    <a:pt x="92" y="69"/>
                    <a:pt x="92" y="69"/>
                    <a:pt x="92" y="68"/>
                  </a:cubicBezTo>
                  <a:cubicBezTo>
                    <a:pt x="93" y="66"/>
                    <a:pt x="92" y="68"/>
                    <a:pt x="82" y="66"/>
                  </a:cubicBezTo>
                  <a:cubicBezTo>
                    <a:pt x="72" y="63"/>
                    <a:pt x="79" y="66"/>
                    <a:pt x="72" y="66"/>
                  </a:cubicBezTo>
                  <a:cubicBezTo>
                    <a:pt x="66" y="66"/>
                    <a:pt x="63" y="62"/>
                    <a:pt x="60" y="56"/>
                  </a:cubicBezTo>
                  <a:cubicBezTo>
                    <a:pt x="57" y="51"/>
                    <a:pt x="51" y="56"/>
                    <a:pt x="46" y="56"/>
                  </a:cubicBezTo>
                  <a:cubicBezTo>
                    <a:pt x="41" y="55"/>
                    <a:pt x="36" y="61"/>
                    <a:pt x="36" y="62"/>
                  </a:cubicBezTo>
                  <a:cubicBezTo>
                    <a:pt x="35" y="63"/>
                    <a:pt x="31" y="60"/>
                    <a:pt x="27" y="59"/>
                  </a:cubicBezTo>
                  <a:cubicBezTo>
                    <a:pt x="25" y="59"/>
                    <a:pt x="24" y="59"/>
                    <a:pt x="24" y="60"/>
                  </a:cubicBezTo>
                  <a:cubicBezTo>
                    <a:pt x="23" y="58"/>
                    <a:pt x="22" y="56"/>
                    <a:pt x="21" y="55"/>
                  </a:cubicBezTo>
                  <a:cubicBezTo>
                    <a:pt x="20" y="53"/>
                    <a:pt x="18" y="58"/>
                    <a:pt x="14" y="58"/>
                  </a:cubicBezTo>
                  <a:cubicBezTo>
                    <a:pt x="11" y="58"/>
                    <a:pt x="10" y="56"/>
                    <a:pt x="5" y="53"/>
                  </a:cubicBezTo>
                  <a:cubicBezTo>
                    <a:pt x="0" y="50"/>
                    <a:pt x="1" y="51"/>
                    <a:pt x="2" y="49"/>
                  </a:cubicBezTo>
                  <a:cubicBezTo>
                    <a:pt x="2" y="47"/>
                    <a:pt x="3" y="44"/>
                    <a:pt x="3" y="40"/>
                  </a:cubicBezTo>
                  <a:cubicBezTo>
                    <a:pt x="3" y="40"/>
                    <a:pt x="3" y="40"/>
                    <a:pt x="3" y="40"/>
                  </a:cubicBezTo>
                  <a:cubicBezTo>
                    <a:pt x="4" y="39"/>
                    <a:pt x="6" y="38"/>
                    <a:pt x="8" y="39"/>
                  </a:cubicBezTo>
                  <a:cubicBezTo>
                    <a:pt x="11" y="41"/>
                    <a:pt x="11" y="42"/>
                    <a:pt x="14" y="44"/>
                  </a:cubicBezTo>
                  <a:cubicBezTo>
                    <a:pt x="18" y="46"/>
                    <a:pt x="20" y="48"/>
                    <a:pt x="21" y="45"/>
                  </a:cubicBezTo>
                  <a:cubicBezTo>
                    <a:pt x="21" y="42"/>
                    <a:pt x="22" y="40"/>
                    <a:pt x="25" y="40"/>
                  </a:cubicBezTo>
                  <a:cubicBezTo>
                    <a:pt x="28" y="40"/>
                    <a:pt x="30" y="41"/>
                    <a:pt x="32" y="43"/>
                  </a:cubicBezTo>
                  <a:cubicBezTo>
                    <a:pt x="34" y="45"/>
                    <a:pt x="35" y="47"/>
                    <a:pt x="39" y="45"/>
                  </a:cubicBezTo>
                  <a:cubicBezTo>
                    <a:pt x="43" y="43"/>
                    <a:pt x="45" y="39"/>
                    <a:pt x="49" y="39"/>
                  </a:cubicBezTo>
                  <a:cubicBezTo>
                    <a:pt x="53" y="38"/>
                    <a:pt x="59" y="39"/>
                    <a:pt x="61" y="39"/>
                  </a:cubicBezTo>
                  <a:cubicBezTo>
                    <a:pt x="62" y="38"/>
                    <a:pt x="66" y="35"/>
                    <a:pt x="68" y="36"/>
                  </a:cubicBezTo>
                  <a:cubicBezTo>
                    <a:pt x="69" y="37"/>
                    <a:pt x="71" y="40"/>
                    <a:pt x="75" y="41"/>
                  </a:cubicBezTo>
                  <a:cubicBezTo>
                    <a:pt x="79" y="42"/>
                    <a:pt x="80" y="37"/>
                    <a:pt x="78" y="35"/>
                  </a:cubicBezTo>
                  <a:cubicBezTo>
                    <a:pt x="77" y="34"/>
                    <a:pt x="75" y="35"/>
                    <a:pt x="75" y="30"/>
                  </a:cubicBezTo>
                  <a:cubicBezTo>
                    <a:pt x="75" y="24"/>
                    <a:pt x="70" y="24"/>
                    <a:pt x="74" y="22"/>
                  </a:cubicBezTo>
                  <a:cubicBezTo>
                    <a:pt x="79" y="20"/>
                    <a:pt x="77" y="20"/>
                    <a:pt x="82" y="18"/>
                  </a:cubicBezTo>
                  <a:cubicBezTo>
                    <a:pt x="87" y="16"/>
                    <a:pt x="86" y="13"/>
                    <a:pt x="88" y="13"/>
                  </a:cubicBezTo>
                  <a:cubicBezTo>
                    <a:pt x="91" y="13"/>
                    <a:pt x="94" y="12"/>
                    <a:pt x="94" y="8"/>
                  </a:cubicBezTo>
                  <a:cubicBezTo>
                    <a:pt x="96" y="8"/>
                    <a:pt x="97" y="8"/>
                    <a:pt x="99" y="9"/>
                  </a:cubicBezTo>
                  <a:cubicBezTo>
                    <a:pt x="103" y="12"/>
                    <a:pt x="107" y="13"/>
                    <a:pt x="111" y="12"/>
                  </a:cubicBezTo>
                  <a:cubicBezTo>
                    <a:pt x="116" y="11"/>
                    <a:pt x="122" y="4"/>
                    <a:pt x="123" y="2"/>
                  </a:cubicBezTo>
                  <a:cubicBezTo>
                    <a:pt x="124" y="0"/>
                    <a:pt x="129" y="2"/>
                    <a:pt x="134" y="4"/>
                  </a:cubicBezTo>
                  <a:cubicBezTo>
                    <a:pt x="139" y="6"/>
                    <a:pt x="140" y="7"/>
                    <a:pt x="146" y="7"/>
                  </a:cubicBezTo>
                  <a:cubicBezTo>
                    <a:pt x="152" y="7"/>
                    <a:pt x="159" y="3"/>
                    <a:pt x="162" y="7"/>
                  </a:cubicBezTo>
                  <a:cubicBezTo>
                    <a:pt x="162" y="7"/>
                    <a:pt x="163" y="7"/>
                    <a:pt x="163" y="8"/>
                  </a:cubicBezTo>
                  <a:cubicBezTo>
                    <a:pt x="165" y="11"/>
                    <a:pt x="163" y="12"/>
                    <a:pt x="162" y="16"/>
                  </a:cubicBezTo>
                  <a:cubicBezTo>
                    <a:pt x="161" y="21"/>
                    <a:pt x="162" y="22"/>
                    <a:pt x="164" y="24"/>
                  </a:cubicBezTo>
                  <a:cubicBezTo>
                    <a:pt x="165" y="26"/>
                    <a:pt x="166" y="27"/>
                    <a:pt x="167" y="29"/>
                  </a:cubicBezTo>
                  <a:cubicBezTo>
                    <a:pt x="167" y="30"/>
                    <a:pt x="167" y="30"/>
                    <a:pt x="167" y="31"/>
                  </a:cubicBezTo>
                  <a:cubicBezTo>
                    <a:pt x="166" y="35"/>
                    <a:pt x="169" y="36"/>
                    <a:pt x="164" y="35"/>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699" name="Freeform 1166">
              <a:extLst>
                <a:ext uri="{FF2B5EF4-FFF2-40B4-BE49-F238E27FC236}">
                  <a16:creationId xmlns:a16="http://schemas.microsoft.com/office/drawing/2014/main" id="{37C5A064-E26A-984A-A9D2-ACA003487DBE}"/>
                </a:ext>
              </a:extLst>
            </p:cNvPr>
            <p:cNvSpPr>
              <a:spLocks/>
            </p:cNvSpPr>
            <p:nvPr/>
          </p:nvSpPr>
          <p:spPr bwMode="auto">
            <a:xfrm>
              <a:off x="4181488" y="1394281"/>
              <a:ext cx="96838" cy="53975"/>
            </a:xfrm>
            <a:custGeom>
              <a:avLst/>
              <a:gdLst>
                <a:gd name="T0" fmla="*/ 102 w 102"/>
                <a:gd name="T1" fmla="*/ 27 h 56"/>
                <a:gd name="T2" fmla="*/ 99 w 102"/>
                <a:gd name="T3" fmla="*/ 33 h 56"/>
                <a:gd name="T4" fmla="*/ 92 w 102"/>
                <a:gd name="T5" fmla="*/ 34 h 56"/>
                <a:gd name="T6" fmla="*/ 92 w 102"/>
                <a:gd name="T7" fmla="*/ 44 h 56"/>
                <a:gd name="T8" fmla="*/ 87 w 102"/>
                <a:gd name="T9" fmla="*/ 41 h 56"/>
                <a:gd name="T10" fmla="*/ 76 w 102"/>
                <a:gd name="T11" fmla="*/ 36 h 56"/>
                <a:gd name="T12" fmla="*/ 71 w 102"/>
                <a:gd name="T13" fmla="*/ 45 h 56"/>
                <a:gd name="T14" fmla="*/ 68 w 102"/>
                <a:gd name="T15" fmla="*/ 54 h 56"/>
                <a:gd name="T16" fmla="*/ 61 w 102"/>
                <a:gd name="T17" fmla="*/ 47 h 56"/>
                <a:gd name="T18" fmla="*/ 55 w 102"/>
                <a:gd name="T19" fmla="*/ 39 h 56"/>
                <a:gd name="T20" fmla="*/ 48 w 102"/>
                <a:gd name="T21" fmla="*/ 47 h 56"/>
                <a:gd name="T22" fmla="*/ 34 w 102"/>
                <a:gd name="T23" fmla="*/ 51 h 56"/>
                <a:gd name="T24" fmla="*/ 22 w 102"/>
                <a:gd name="T25" fmla="*/ 53 h 56"/>
                <a:gd name="T26" fmla="*/ 20 w 102"/>
                <a:gd name="T27" fmla="*/ 49 h 56"/>
                <a:gd name="T28" fmla="*/ 17 w 102"/>
                <a:gd name="T29" fmla="*/ 40 h 56"/>
                <a:gd name="T30" fmla="*/ 6 w 102"/>
                <a:gd name="T31" fmla="*/ 42 h 56"/>
                <a:gd name="T32" fmla="*/ 1 w 102"/>
                <a:gd name="T33" fmla="*/ 43 h 56"/>
                <a:gd name="T34" fmla="*/ 8 w 102"/>
                <a:gd name="T35" fmla="*/ 30 h 56"/>
                <a:gd name="T36" fmla="*/ 16 w 102"/>
                <a:gd name="T37" fmla="*/ 22 h 56"/>
                <a:gd name="T38" fmla="*/ 23 w 102"/>
                <a:gd name="T39" fmla="*/ 11 h 56"/>
                <a:gd name="T40" fmla="*/ 30 w 102"/>
                <a:gd name="T41" fmla="*/ 10 h 56"/>
                <a:gd name="T42" fmla="*/ 35 w 102"/>
                <a:gd name="T43" fmla="*/ 6 h 56"/>
                <a:gd name="T44" fmla="*/ 49 w 102"/>
                <a:gd name="T45" fmla="*/ 7 h 56"/>
                <a:gd name="T46" fmla="*/ 56 w 102"/>
                <a:gd name="T47" fmla="*/ 4 h 56"/>
                <a:gd name="T48" fmla="*/ 62 w 102"/>
                <a:gd name="T49" fmla="*/ 2 h 56"/>
                <a:gd name="T50" fmla="*/ 75 w 102"/>
                <a:gd name="T51" fmla="*/ 5 h 56"/>
                <a:gd name="T52" fmla="*/ 81 w 102"/>
                <a:gd name="T53" fmla="*/ 7 h 56"/>
                <a:gd name="T54" fmla="*/ 81 w 102"/>
                <a:gd name="T55" fmla="*/ 7 h 56"/>
                <a:gd name="T56" fmla="*/ 80 w 102"/>
                <a:gd name="T57" fmla="*/ 16 h 56"/>
                <a:gd name="T58" fmla="*/ 83 w 102"/>
                <a:gd name="T59" fmla="*/ 20 h 56"/>
                <a:gd name="T60" fmla="*/ 92 w 102"/>
                <a:gd name="T61" fmla="*/ 25 h 56"/>
                <a:gd name="T62" fmla="*/ 99 w 102"/>
                <a:gd name="T63" fmla="*/ 22 h 56"/>
                <a:gd name="T64" fmla="*/ 102 w 102"/>
                <a:gd name="T65" fmla="*/ 2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2" h="56">
                  <a:moveTo>
                    <a:pt x="102" y="27"/>
                  </a:moveTo>
                  <a:cubicBezTo>
                    <a:pt x="100" y="28"/>
                    <a:pt x="100" y="31"/>
                    <a:pt x="99" y="33"/>
                  </a:cubicBezTo>
                  <a:cubicBezTo>
                    <a:pt x="99" y="36"/>
                    <a:pt x="94" y="34"/>
                    <a:pt x="92" y="34"/>
                  </a:cubicBezTo>
                  <a:cubicBezTo>
                    <a:pt x="90" y="35"/>
                    <a:pt x="93" y="41"/>
                    <a:pt x="92" y="44"/>
                  </a:cubicBezTo>
                  <a:cubicBezTo>
                    <a:pt x="90" y="46"/>
                    <a:pt x="88" y="41"/>
                    <a:pt x="87" y="41"/>
                  </a:cubicBezTo>
                  <a:cubicBezTo>
                    <a:pt x="85" y="41"/>
                    <a:pt x="78" y="40"/>
                    <a:pt x="76" y="36"/>
                  </a:cubicBezTo>
                  <a:cubicBezTo>
                    <a:pt x="75" y="32"/>
                    <a:pt x="75" y="42"/>
                    <a:pt x="71" y="45"/>
                  </a:cubicBezTo>
                  <a:cubicBezTo>
                    <a:pt x="66" y="49"/>
                    <a:pt x="71" y="51"/>
                    <a:pt x="68" y="54"/>
                  </a:cubicBezTo>
                  <a:cubicBezTo>
                    <a:pt x="64" y="56"/>
                    <a:pt x="62" y="48"/>
                    <a:pt x="61" y="47"/>
                  </a:cubicBezTo>
                  <a:cubicBezTo>
                    <a:pt x="60" y="46"/>
                    <a:pt x="56" y="43"/>
                    <a:pt x="55" y="39"/>
                  </a:cubicBezTo>
                  <a:cubicBezTo>
                    <a:pt x="54" y="35"/>
                    <a:pt x="49" y="44"/>
                    <a:pt x="48" y="47"/>
                  </a:cubicBezTo>
                  <a:cubicBezTo>
                    <a:pt x="46" y="50"/>
                    <a:pt x="38" y="51"/>
                    <a:pt x="34" y="51"/>
                  </a:cubicBezTo>
                  <a:cubicBezTo>
                    <a:pt x="31" y="51"/>
                    <a:pt x="27" y="53"/>
                    <a:pt x="22" y="53"/>
                  </a:cubicBezTo>
                  <a:cubicBezTo>
                    <a:pt x="22" y="52"/>
                    <a:pt x="21" y="53"/>
                    <a:pt x="20" y="49"/>
                  </a:cubicBezTo>
                  <a:cubicBezTo>
                    <a:pt x="19" y="44"/>
                    <a:pt x="19" y="41"/>
                    <a:pt x="17" y="40"/>
                  </a:cubicBezTo>
                  <a:cubicBezTo>
                    <a:pt x="16" y="40"/>
                    <a:pt x="7" y="40"/>
                    <a:pt x="6" y="42"/>
                  </a:cubicBezTo>
                  <a:cubicBezTo>
                    <a:pt x="5" y="44"/>
                    <a:pt x="0" y="47"/>
                    <a:pt x="1" y="43"/>
                  </a:cubicBezTo>
                  <a:cubicBezTo>
                    <a:pt x="2" y="38"/>
                    <a:pt x="6" y="30"/>
                    <a:pt x="8" y="30"/>
                  </a:cubicBezTo>
                  <a:cubicBezTo>
                    <a:pt x="9" y="30"/>
                    <a:pt x="12" y="23"/>
                    <a:pt x="16" y="22"/>
                  </a:cubicBezTo>
                  <a:cubicBezTo>
                    <a:pt x="19" y="20"/>
                    <a:pt x="21" y="13"/>
                    <a:pt x="23" y="11"/>
                  </a:cubicBezTo>
                  <a:cubicBezTo>
                    <a:pt x="25" y="9"/>
                    <a:pt x="28" y="10"/>
                    <a:pt x="30" y="10"/>
                  </a:cubicBezTo>
                  <a:cubicBezTo>
                    <a:pt x="32" y="10"/>
                    <a:pt x="34" y="9"/>
                    <a:pt x="35" y="6"/>
                  </a:cubicBezTo>
                  <a:cubicBezTo>
                    <a:pt x="39" y="7"/>
                    <a:pt x="46" y="7"/>
                    <a:pt x="49" y="7"/>
                  </a:cubicBezTo>
                  <a:cubicBezTo>
                    <a:pt x="51" y="6"/>
                    <a:pt x="53" y="7"/>
                    <a:pt x="56" y="4"/>
                  </a:cubicBezTo>
                  <a:cubicBezTo>
                    <a:pt x="59" y="2"/>
                    <a:pt x="59" y="0"/>
                    <a:pt x="62" y="2"/>
                  </a:cubicBezTo>
                  <a:cubicBezTo>
                    <a:pt x="65" y="4"/>
                    <a:pt x="74" y="5"/>
                    <a:pt x="75" y="5"/>
                  </a:cubicBezTo>
                  <a:cubicBezTo>
                    <a:pt x="77" y="5"/>
                    <a:pt x="80" y="4"/>
                    <a:pt x="81" y="7"/>
                  </a:cubicBezTo>
                  <a:cubicBezTo>
                    <a:pt x="81" y="7"/>
                    <a:pt x="81" y="7"/>
                    <a:pt x="81" y="7"/>
                  </a:cubicBezTo>
                  <a:cubicBezTo>
                    <a:pt x="81" y="11"/>
                    <a:pt x="80" y="14"/>
                    <a:pt x="80" y="16"/>
                  </a:cubicBezTo>
                  <a:cubicBezTo>
                    <a:pt x="79" y="18"/>
                    <a:pt x="78" y="17"/>
                    <a:pt x="83" y="20"/>
                  </a:cubicBezTo>
                  <a:cubicBezTo>
                    <a:pt x="88" y="23"/>
                    <a:pt x="89" y="25"/>
                    <a:pt x="92" y="25"/>
                  </a:cubicBezTo>
                  <a:cubicBezTo>
                    <a:pt x="96" y="25"/>
                    <a:pt x="98" y="20"/>
                    <a:pt x="99" y="22"/>
                  </a:cubicBezTo>
                  <a:cubicBezTo>
                    <a:pt x="100" y="24"/>
                    <a:pt x="101" y="26"/>
                    <a:pt x="102" y="27"/>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00" name="Freeform 1168">
              <a:extLst>
                <a:ext uri="{FF2B5EF4-FFF2-40B4-BE49-F238E27FC236}">
                  <a16:creationId xmlns:a16="http://schemas.microsoft.com/office/drawing/2014/main" id="{D4B7C05C-FFE0-C14B-8FB9-1AD5F933BECB}"/>
                </a:ext>
              </a:extLst>
            </p:cNvPr>
            <p:cNvSpPr>
              <a:spLocks/>
            </p:cNvSpPr>
            <p:nvPr/>
          </p:nvSpPr>
          <p:spPr bwMode="auto">
            <a:xfrm>
              <a:off x="4660915" y="1694319"/>
              <a:ext cx="11113" cy="17463"/>
            </a:xfrm>
            <a:custGeom>
              <a:avLst/>
              <a:gdLst>
                <a:gd name="T0" fmla="*/ 4 w 13"/>
                <a:gd name="T1" fmla="*/ 4 h 18"/>
                <a:gd name="T2" fmla="*/ 1 w 13"/>
                <a:gd name="T3" fmla="*/ 10 h 18"/>
                <a:gd name="T4" fmla="*/ 3 w 13"/>
                <a:gd name="T5" fmla="*/ 16 h 18"/>
                <a:gd name="T6" fmla="*/ 9 w 13"/>
                <a:gd name="T7" fmla="*/ 16 h 18"/>
                <a:gd name="T8" fmla="*/ 10 w 13"/>
                <a:gd name="T9" fmla="*/ 11 h 18"/>
                <a:gd name="T10" fmla="*/ 13 w 13"/>
                <a:gd name="T11" fmla="*/ 6 h 18"/>
                <a:gd name="T12" fmla="*/ 12 w 13"/>
                <a:gd name="T13" fmla="*/ 1 h 18"/>
                <a:gd name="T14" fmla="*/ 7 w 13"/>
                <a:gd name="T15" fmla="*/ 3 h 18"/>
                <a:gd name="T16" fmla="*/ 4 w 13"/>
                <a:gd name="T1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4" y="4"/>
                  </a:moveTo>
                  <a:cubicBezTo>
                    <a:pt x="1" y="7"/>
                    <a:pt x="0" y="6"/>
                    <a:pt x="1" y="10"/>
                  </a:cubicBezTo>
                  <a:cubicBezTo>
                    <a:pt x="1" y="14"/>
                    <a:pt x="0" y="15"/>
                    <a:pt x="3" y="16"/>
                  </a:cubicBezTo>
                  <a:cubicBezTo>
                    <a:pt x="5" y="16"/>
                    <a:pt x="8" y="18"/>
                    <a:pt x="9" y="16"/>
                  </a:cubicBezTo>
                  <a:cubicBezTo>
                    <a:pt x="9" y="13"/>
                    <a:pt x="9" y="12"/>
                    <a:pt x="10" y="11"/>
                  </a:cubicBezTo>
                  <a:cubicBezTo>
                    <a:pt x="11" y="9"/>
                    <a:pt x="13" y="9"/>
                    <a:pt x="13" y="6"/>
                  </a:cubicBezTo>
                  <a:cubicBezTo>
                    <a:pt x="13" y="3"/>
                    <a:pt x="13" y="1"/>
                    <a:pt x="12" y="1"/>
                  </a:cubicBezTo>
                  <a:cubicBezTo>
                    <a:pt x="10" y="0"/>
                    <a:pt x="8" y="1"/>
                    <a:pt x="7" y="3"/>
                  </a:cubicBezTo>
                  <a:cubicBezTo>
                    <a:pt x="7" y="3"/>
                    <a:pt x="1" y="2"/>
                    <a:pt x="4"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01" name="Freeform 1169">
              <a:extLst>
                <a:ext uri="{FF2B5EF4-FFF2-40B4-BE49-F238E27FC236}">
                  <a16:creationId xmlns:a16="http://schemas.microsoft.com/office/drawing/2014/main" id="{198991E1-01BB-6545-9151-5583AE7D4D4B}"/>
                </a:ext>
              </a:extLst>
            </p:cNvPr>
            <p:cNvSpPr>
              <a:spLocks/>
            </p:cNvSpPr>
            <p:nvPr/>
          </p:nvSpPr>
          <p:spPr bwMode="auto">
            <a:xfrm>
              <a:off x="4613290" y="1618118"/>
              <a:ext cx="19050" cy="11113"/>
            </a:xfrm>
            <a:custGeom>
              <a:avLst/>
              <a:gdLst>
                <a:gd name="T0" fmla="*/ 2 w 19"/>
                <a:gd name="T1" fmla="*/ 3 h 12"/>
                <a:gd name="T2" fmla="*/ 5 w 19"/>
                <a:gd name="T3" fmla="*/ 6 h 12"/>
                <a:gd name="T4" fmla="*/ 8 w 19"/>
                <a:gd name="T5" fmla="*/ 8 h 12"/>
                <a:gd name="T6" fmla="*/ 11 w 19"/>
                <a:gd name="T7" fmla="*/ 11 h 12"/>
                <a:gd name="T8" fmla="*/ 17 w 19"/>
                <a:gd name="T9" fmla="*/ 11 h 12"/>
                <a:gd name="T10" fmla="*/ 18 w 19"/>
                <a:gd name="T11" fmla="*/ 7 h 12"/>
                <a:gd name="T12" fmla="*/ 13 w 19"/>
                <a:gd name="T13" fmla="*/ 3 h 12"/>
                <a:gd name="T14" fmla="*/ 4 w 19"/>
                <a:gd name="T15" fmla="*/ 1 h 12"/>
                <a:gd name="T16" fmla="*/ 2 w 19"/>
                <a:gd name="T17"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2">
                  <a:moveTo>
                    <a:pt x="2" y="3"/>
                  </a:moveTo>
                  <a:cubicBezTo>
                    <a:pt x="2" y="6"/>
                    <a:pt x="3" y="5"/>
                    <a:pt x="5" y="6"/>
                  </a:cubicBezTo>
                  <a:cubicBezTo>
                    <a:pt x="8" y="6"/>
                    <a:pt x="8" y="6"/>
                    <a:pt x="8" y="8"/>
                  </a:cubicBezTo>
                  <a:cubicBezTo>
                    <a:pt x="9" y="10"/>
                    <a:pt x="7" y="10"/>
                    <a:pt x="11" y="11"/>
                  </a:cubicBezTo>
                  <a:cubicBezTo>
                    <a:pt x="15" y="12"/>
                    <a:pt x="16" y="12"/>
                    <a:pt x="17" y="11"/>
                  </a:cubicBezTo>
                  <a:cubicBezTo>
                    <a:pt x="18" y="10"/>
                    <a:pt x="19" y="8"/>
                    <a:pt x="18" y="7"/>
                  </a:cubicBezTo>
                  <a:cubicBezTo>
                    <a:pt x="17" y="5"/>
                    <a:pt x="17" y="4"/>
                    <a:pt x="13" y="3"/>
                  </a:cubicBezTo>
                  <a:cubicBezTo>
                    <a:pt x="10" y="2"/>
                    <a:pt x="7" y="0"/>
                    <a:pt x="4" y="1"/>
                  </a:cubicBezTo>
                  <a:cubicBezTo>
                    <a:pt x="2" y="2"/>
                    <a:pt x="0" y="1"/>
                    <a:pt x="2"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02" name="Freeform 1170">
              <a:extLst>
                <a:ext uri="{FF2B5EF4-FFF2-40B4-BE49-F238E27FC236}">
                  <a16:creationId xmlns:a16="http://schemas.microsoft.com/office/drawing/2014/main" id="{3255542D-A8DE-9D4D-BF9A-69933CE7B3BC}"/>
                </a:ext>
              </a:extLst>
            </p:cNvPr>
            <p:cNvSpPr>
              <a:spLocks/>
            </p:cNvSpPr>
            <p:nvPr/>
          </p:nvSpPr>
          <p:spPr bwMode="auto">
            <a:xfrm>
              <a:off x="4476764" y="1607006"/>
              <a:ext cx="12700" cy="14288"/>
            </a:xfrm>
            <a:custGeom>
              <a:avLst/>
              <a:gdLst>
                <a:gd name="T0" fmla="*/ 1 w 13"/>
                <a:gd name="T1" fmla="*/ 2 h 14"/>
                <a:gd name="T2" fmla="*/ 3 w 13"/>
                <a:gd name="T3" fmla="*/ 9 h 14"/>
                <a:gd name="T4" fmla="*/ 8 w 13"/>
                <a:gd name="T5" fmla="*/ 13 h 14"/>
                <a:gd name="T6" fmla="*/ 10 w 13"/>
                <a:gd name="T7" fmla="*/ 9 h 14"/>
                <a:gd name="T8" fmla="*/ 5 w 13"/>
                <a:gd name="T9" fmla="*/ 2 h 14"/>
                <a:gd name="T10" fmla="*/ 1 w 13"/>
                <a:gd name="T11" fmla="*/ 2 h 14"/>
              </a:gdLst>
              <a:ahLst/>
              <a:cxnLst>
                <a:cxn ang="0">
                  <a:pos x="T0" y="T1"/>
                </a:cxn>
                <a:cxn ang="0">
                  <a:pos x="T2" y="T3"/>
                </a:cxn>
                <a:cxn ang="0">
                  <a:pos x="T4" y="T5"/>
                </a:cxn>
                <a:cxn ang="0">
                  <a:pos x="T6" y="T7"/>
                </a:cxn>
                <a:cxn ang="0">
                  <a:pos x="T8" y="T9"/>
                </a:cxn>
                <a:cxn ang="0">
                  <a:pos x="T10" y="T11"/>
                </a:cxn>
              </a:cxnLst>
              <a:rect l="0" t="0" r="r" b="b"/>
              <a:pathLst>
                <a:path w="13" h="14">
                  <a:moveTo>
                    <a:pt x="1" y="2"/>
                  </a:moveTo>
                  <a:cubicBezTo>
                    <a:pt x="1" y="5"/>
                    <a:pt x="2" y="5"/>
                    <a:pt x="3" y="9"/>
                  </a:cubicBezTo>
                  <a:cubicBezTo>
                    <a:pt x="4" y="12"/>
                    <a:pt x="7" y="14"/>
                    <a:pt x="8" y="13"/>
                  </a:cubicBezTo>
                  <a:cubicBezTo>
                    <a:pt x="10" y="12"/>
                    <a:pt x="13" y="12"/>
                    <a:pt x="10" y="9"/>
                  </a:cubicBezTo>
                  <a:cubicBezTo>
                    <a:pt x="7" y="5"/>
                    <a:pt x="7" y="4"/>
                    <a:pt x="5" y="2"/>
                  </a:cubicBezTo>
                  <a:cubicBezTo>
                    <a:pt x="2" y="1"/>
                    <a:pt x="0" y="0"/>
                    <a:pt x="1" y="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03" name="Freeform 1171">
              <a:extLst>
                <a:ext uri="{FF2B5EF4-FFF2-40B4-BE49-F238E27FC236}">
                  <a16:creationId xmlns:a16="http://schemas.microsoft.com/office/drawing/2014/main" id="{AB1A3537-E3F1-6B42-BE51-980547E8F18F}"/>
                </a:ext>
              </a:extLst>
            </p:cNvPr>
            <p:cNvSpPr>
              <a:spLocks/>
            </p:cNvSpPr>
            <p:nvPr/>
          </p:nvSpPr>
          <p:spPr bwMode="auto">
            <a:xfrm>
              <a:off x="4492639" y="1640343"/>
              <a:ext cx="14288" cy="12700"/>
            </a:xfrm>
            <a:custGeom>
              <a:avLst/>
              <a:gdLst>
                <a:gd name="T0" fmla="*/ 2 w 15"/>
                <a:gd name="T1" fmla="*/ 7 h 13"/>
                <a:gd name="T2" fmla="*/ 5 w 15"/>
                <a:gd name="T3" fmla="*/ 11 h 13"/>
                <a:gd name="T4" fmla="*/ 8 w 15"/>
                <a:gd name="T5" fmla="*/ 13 h 13"/>
                <a:gd name="T6" fmla="*/ 12 w 15"/>
                <a:gd name="T7" fmla="*/ 12 h 13"/>
                <a:gd name="T8" fmla="*/ 14 w 15"/>
                <a:gd name="T9" fmla="*/ 9 h 13"/>
                <a:gd name="T10" fmla="*/ 11 w 15"/>
                <a:gd name="T11" fmla="*/ 4 h 13"/>
                <a:gd name="T12" fmla="*/ 5 w 15"/>
                <a:gd name="T13" fmla="*/ 1 h 13"/>
                <a:gd name="T14" fmla="*/ 1 w 15"/>
                <a:gd name="T15" fmla="*/ 3 h 13"/>
                <a:gd name="T16" fmla="*/ 2 w 15"/>
                <a:gd name="T17"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3">
                  <a:moveTo>
                    <a:pt x="2" y="7"/>
                  </a:moveTo>
                  <a:cubicBezTo>
                    <a:pt x="3" y="9"/>
                    <a:pt x="3" y="10"/>
                    <a:pt x="5" y="11"/>
                  </a:cubicBezTo>
                  <a:cubicBezTo>
                    <a:pt x="7" y="12"/>
                    <a:pt x="6" y="12"/>
                    <a:pt x="8" y="13"/>
                  </a:cubicBezTo>
                  <a:cubicBezTo>
                    <a:pt x="10" y="13"/>
                    <a:pt x="10" y="13"/>
                    <a:pt x="12" y="12"/>
                  </a:cubicBezTo>
                  <a:cubicBezTo>
                    <a:pt x="14" y="11"/>
                    <a:pt x="15" y="11"/>
                    <a:pt x="14" y="9"/>
                  </a:cubicBezTo>
                  <a:cubicBezTo>
                    <a:pt x="13" y="7"/>
                    <a:pt x="12" y="6"/>
                    <a:pt x="11" y="4"/>
                  </a:cubicBezTo>
                  <a:cubicBezTo>
                    <a:pt x="10" y="2"/>
                    <a:pt x="9" y="0"/>
                    <a:pt x="5" y="1"/>
                  </a:cubicBezTo>
                  <a:cubicBezTo>
                    <a:pt x="2" y="2"/>
                    <a:pt x="0" y="0"/>
                    <a:pt x="1" y="3"/>
                  </a:cubicBezTo>
                  <a:cubicBezTo>
                    <a:pt x="1" y="5"/>
                    <a:pt x="1" y="5"/>
                    <a:pt x="2" y="7"/>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04" name="Freeform 1172">
              <a:extLst>
                <a:ext uri="{FF2B5EF4-FFF2-40B4-BE49-F238E27FC236}">
                  <a16:creationId xmlns:a16="http://schemas.microsoft.com/office/drawing/2014/main" id="{DD2263F5-88EB-984C-91A3-68F36AD70469}"/>
                </a:ext>
              </a:extLst>
            </p:cNvPr>
            <p:cNvSpPr>
              <a:spLocks/>
            </p:cNvSpPr>
            <p:nvPr/>
          </p:nvSpPr>
          <p:spPr bwMode="auto">
            <a:xfrm>
              <a:off x="4594240" y="1600656"/>
              <a:ext cx="14288" cy="6350"/>
            </a:xfrm>
            <a:custGeom>
              <a:avLst/>
              <a:gdLst>
                <a:gd name="T0" fmla="*/ 2 w 15"/>
                <a:gd name="T1" fmla="*/ 4 h 6"/>
                <a:gd name="T2" fmla="*/ 12 w 15"/>
                <a:gd name="T3" fmla="*/ 4 h 6"/>
                <a:gd name="T4" fmla="*/ 11 w 15"/>
                <a:gd name="T5" fmla="*/ 0 h 6"/>
                <a:gd name="T6" fmla="*/ 1 w 15"/>
                <a:gd name="T7" fmla="*/ 0 h 6"/>
                <a:gd name="T8" fmla="*/ 2 w 15"/>
                <a:gd name="T9" fmla="*/ 4 h 6"/>
              </a:gdLst>
              <a:ahLst/>
              <a:cxnLst>
                <a:cxn ang="0">
                  <a:pos x="T0" y="T1"/>
                </a:cxn>
                <a:cxn ang="0">
                  <a:pos x="T2" y="T3"/>
                </a:cxn>
                <a:cxn ang="0">
                  <a:pos x="T4" y="T5"/>
                </a:cxn>
                <a:cxn ang="0">
                  <a:pos x="T6" y="T7"/>
                </a:cxn>
                <a:cxn ang="0">
                  <a:pos x="T8" y="T9"/>
                </a:cxn>
              </a:cxnLst>
              <a:rect l="0" t="0" r="r" b="b"/>
              <a:pathLst>
                <a:path w="15" h="6">
                  <a:moveTo>
                    <a:pt x="2" y="4"/>
                  </a:moveTo>
                  <a:cubicBezTo>
                    <a:pt x="9" y="6"/>
                    <a:pt x="12" y="6"/>
                    <a:pt x="12" y="4"/>
                  </a:cubicBezTo>
                  <a:cubicBezTo>
                    <a:pt x="12" y="2"/>
                    <a:pt x="15" y="0"/>
                    <a:pt x="11" y="0"/>
                  </a:cubicBezTo>
                  <a:cubicBezTo>
                    <a:pt x="7" y="0"/>
                    <a:pt x="1" y="0"/>
                    <a:pt x="1" y="0"/>
                  </a:cubicBezTo>
                  <a:cubicBezTo>
                    <a:pt x="1" y="1"/>
                    <a:pt x="0" y="3"/>
                    <a:pt x="2"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05" name="Freeform 1173">
              <a:extLst>
                <a:ext uri="{FF2B5EF4-FFF2-40B4-BE49-F238E27FC236}">
                  <a16:creationId xmlns:a16="http://schemas.microsoft.com/office/drawing/2014/main" id="{82D3A7A2-EDFD-5B4B-96AA-5FF8549D84C1}"/>
                </a:ext>
              </a:extLst>
            </p:cNvPr>
            <p:cNvSpPr>
              <a:spLocks/>
            </p:cNvSpPr>
            <p:nvPr/>
          </p:nvSpPr>
          <p:spPr bwMode="auto">
            <a:xfrm>
              <a:off x="4581540" y="1626056"/>
              <a:ext cx="9525" cy="9525"/>
            </a:xfrm>
            <a:custGeom>
              <a:avLst/>
              <a:gdLst>
                <a:gd name="T0" fmla="*/ 3 w 11"/>
                <a:gd name="T1" fmla="*/ 4 h 10"/>
                <a:gd name="T2" fmla="*/ 5 w 11"/>
                <a:gd name="T3" fmla="*/ 7 h 10"/>
                <a:gd name="T4" fmla="*/ 11 w 11"/>
                <a:gd name="T5" fmla="*/ 7 h 10"/>
                <a:gd name="T6" fmla="*/ 7 w 11"/>
                <a:gd name="T7" fmla="*/ 1 h 10"/>
                <a:gd name="T8" fmla="*/ 3 w 11"/>
                <a:gd name="T9" fmla="*/ 4 h 10"/>
              </a:gdLst>
              <a:ahLst/>
              <a:cxnLst>
                <a:cxn ang="0">
                  <a:pos x="T0" y="T1"/>
                </a:cxn>
                <a:cxn ang="0">
                  <a:pos x="T2" y="T3"/>
                </a:cxn>
                <a:cxn ang="0">
                  <a:pos x="T4" y="T5"/>
                </a:cxn>
                <a:cxn ang="0">
                  <a:pos x="T6" y="T7"/>
                </a:cxn>
                <a:cxn ang="0">
                  <a:pos x="T8" y="T9"/>
                </a:cxn>
              </a:cxnLst>
              <a:rect l="0" t="0" r="r" b="b"/>
              <a:pathLst>
                <a:path w="11" h="10">
                  <a:moveTo>
                    <a:pt x="3" y="4"/>
                  </a:moveTo>
                  <a:cubicBezTo>
                    <a:pt x="3" y="4"/>
                    <a:pt x="4" y="5"/>
                    <a:pt x="5" y="7"/>
                  </a:cubicBezTo>
                  <a:cubicBezTo>
                    <a:pt x="7" y="10"/>
                    <a:pt x="11" y="9"/>
                    <a:pt x="11" y="7"/>
                  </a:cubicBezTo>
                  <a:cubicBezTo>
                    <a:pt x="11" y="6"/>
                    <a:pt x="9" y="1"/>
                    <a:pt x="7" y="1"/>
                  </a:cubicBezTo>
                  <a:cubicBezTo>
                    <a:pt x="5" y="1"/>
                    <a:pt x="0" y="0"/>
                    <a:pt x="3"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06" name="Freeform 1174">
              <a:extLst>
                <a:ext uri="{FF2B5EF4-FFF2-40B4-BE49-F238E27FC236}">
                  <a16:creationId xmlns:a16="http://schemas.microsoft.com/office/drawing/2014/main" id="{86928858-D384-7043-AADE-A04F3BA73BBB}"/>
                </a:ext>
              </a:extLst>
            </p:cNvPr>
            <p:cNvSpPr>
              <a:spLocks/>
            </p:cNvSpPr>
            <p:nvPr/>
          </p:nvSpPr>
          <p:spPr bwMode="auto">
            <a:xfrm>
              <a:off x="4591065" y="1653044"/>
              <a:ext cx="17463" cy="15875"/>
            </a:xfrm>
            <a:custGeom>
              <a:avLst/>
              <a:gdLst>
                <a:gd name="T0" fmla="*/ 6 w 19"/>
                <a:gd name="T1" fmla="*/ 8 h 16"/>
                <a:gd name="T2" fmla="*/ 9 w 19"/>
                <a:gd name="T3" fmla="*/ 13 h 16"/>
                <a:gd name="T4" fmla="*/ 17 w 19"/>
                <a:gd name="T5" fmla="*/ 15 h 16"/>
                <a:gd name="T6" fmla="*/ 17 w 19"/>
                <a:gd name="T7" fmla="*/ 10 h 16"/>
                <a:gd name="T8" fmla="*/ 10 w 19"/>
                <a:gd name="T9" fmla="*/ 6 h 16"/>
                <a:gd name="T10" fmla="*/ 6 w 19"/>
                <a:gd name="T11" fmla="*/ 8 h 16"/>
              </a:gdLst>
              <a:ahLst/>
              <a:cxnLst>
                <a:cxn ang="0">
                  <a:pos x="T0" y="T1"/>
                </a:cxn>
                <a:cxn ang="0">
                  <a:pos x="T2" y="T3"/>
                </a:cxn>
                <a:cxn ang="0">
                  <a:pos x="T4" y="T5"/>
                </a:cxn>
                <a:cxn ang="0">
                  <a:pos x="T6" y="T7"/>
                </a:cxn>
                <a:cxn ang="0">
                  <a:pos x="T8" y="T9"/>
                </a:cxn>
                <a:cxn ang="0">
                  <a:pos x="T10" y="T11"/>
                </a:cxn>
              </a:cxnLst>
              <a:rect l="0" t="0" r="r" b="b"/>
              <a:pathLst>
                <a:path w="19" h="16">
                  <a:moveTo>
                    <a:pt x="6" y="8"/>
                  </a:moveTo>
                  <a:cubicBezTo>
                    <a:pt x="7" y="10"/>
                    <a:pt x="5" y="12"/>
                    <a:pt x="9" y="13"/>
                  </a:cubicBezTo>
                  <a:cubicBezTo>
                    <a:pt x="14" y="15"/>
                    <a:pt x="14" y="15"/>
                    <a:pt x="17" y="15"/>
                  </a:cubicBezTo>
                  <a:cubicBezTo>
                    <a:pt x="19" y="16"/>
                    <a:pt x="19" y="11"/>
                    <a:pt x="17" y="10"/>
                  </a:cubicBezTo>
                  <a:cubicBezTo>
                    <a:pt x="14" y="9"/>
                    <a:pt x="14" y="8"/>
                    <a:pt x="10" y="6"/>
                  </a:cubicBezTo>
                  <a:cubicBezTo>
                    <a:pt x="7" y="4"/>
                    <a:pt x="0" y="0"/>
                    <a:pt x="6" y="8"/>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07" name="Freeform 1175">
              <a:extLst>
                <a:ext uri="{FF2B5EF4-FFF2-40B4-BE49-F238E27FC236}">
                  <a16:creationId xmlns:a16="http://schemas.microsoft.com/office/drawing/2014/main" id="{F04810EF-CB20-E64A-9F8A-F298F8A4CB11}"/>
                </a:ext>
              </a:extLst>
            </p:cNvPr>
            <p:cNvSpPr>
              <a:spLocks/>
            </p:cNvSpPr>
            <p:nvPr/>
          </p:nvSpPr>
          <p:spPr bwMode="auto">
            <a:xfrm>
              <a:off x="4616465" y="1633993"/>
              <a:ext cx="6350" cy="20638"/>
            </a:xfrm>
            <a:custGeom>
              <a:avLst/>
              <a:gdLst>
                <a:gd name="T0" fmla="*/ 0 w 7"/>
                <a:gd name="T1" fmla="*/ 12 h 22"/>
                <a:gd name="T2" fmla="*/ 5 w 7"/>
                <a:gd name="T3" fmla="*/ 20 h 22"/>
                <a:gd name="T4" fmla="*/ 5 w 7"/>
                <a:gd name="T5" fmla="*/ 8 h 22"/>
                <a:gd name="T6" fmla="*/ 0 w 7"/>
                <a:gd name="T7" fmla="*/ 12 h 22"/>
              </a:gdLst>
              <a:ahLst/>
              <a:cxnLst>
                <a:cxn ang="0">
                  <a:pos x="T0" y="T1"/>
                </a:cxn>
                <a:cxn ang="0">
                  <a:pos x="T2" y="T3"/>
                </a:cxn>
                <a:cxn ang="0">
                  <a:pos x="T4" y="T5"/>
                </a:cxn>
                <a:cxn ang="0">
                  <a:pos x="T6" y="T7"/>
                </a:cxn>
              </a:cxnLst>
              <a:rect l="0" t="0" r="r" b="b"/>
              <a:pathLst>
                <a:path w="7" h="22">
                  <a:moveTo>
                    <a:pt x="0" y="12"/>
                  </a:moveTo>
                  <a:cubicBezTo>
                    <a:pt x="2" y="21"/>
                    <a:pt x="5" y="22"/>
                    <a:pt x="5" y="20"/>
                  </a:cubicBezTo>
                  <a:cubicBezTo>
                    <a:pt x="5" y="18"/>
                    <a:pt x="7" y="9"/>
                    <a:pt x="5" y="8"/>
                  </a:cubicBezTo>
                  <a:cubicBezTo>
                    <a:pt x="3" y="6"/>
                    <a:pt x="0" y="0"/>
                    <a:pt x="0" y="12"/>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08" name="Freeform 1176">
              <a:extLst>
                <a:ext uri="{FF2B5EF4-FFF2-40B4-BE49-F238E27FC236}">
                  <a16:creationId xmlns:a16="http://schemas.microsoft.com/office/drawing/2014/main" id="{811F86EF-8CEB-5E4E-9C5B-86B778F857C1}"/>
                </a:ext>
              </a:extLst>
            </p:cNvPr>
            <p:cNvSpPr>
              <a:spLocks/>
            </p:cNvSpPr>
            <p:nvPr/>
          </p:nvSpPr>
          <p:spPr bwMode="auto">
            <a:xfrm>
              <a:off x="4618052" y="1660981"/>
              <a:ext cx="11113" cy="7938"/>
            </a:xfrm>
            <a:custGeom>
              <a:avLst/>
              <a:gdLst>
                <a:gd name="T0" fmla="*/ 3 w 11"/>
                <a:gd name="T1" fmla="*/ 5 h 8"/>
                <a:gd name="T2" fmla="*/ 10 w 11"/>
                <a:gd name="T3" fmla="*/ 5 h 8"/>
                <a:gd name="T4" fmla="*/ 9 w 11"/>
                <a:gd name="T5" fmla="*/ 0 h 8"/>
                <a:gd name="T6" fmla="*/ 3 w 11"/>
                <a:gd name="T7" fmla="*/ 5 h 8"/>
              </a:gdLst>
              <a:ahLst/>
              <a:cxnLst>
                <a:cxn ang="0">
                  <a:pos x="T0" y="T1"/>
                </a:cxn>
                <a:cxn ang="0">
                  <a:pos x="T2" y="T3"/>
                </a:cxn>
                <a:cxn ang="0">
                  <a:pos x="T4" y="T5"/>
                </a:cxn>
                <a:cxn ang="0">
                  <a:pos x="T6" y="T7"/>
                </a:cxn>
              </a:cxnLst>
              <a:rect l="0" t="0" r="r" b="b"/>
              <a:pathLst>
                <a:path w="11" h="8">
                  <a:moveTo>
                    <a:pt x="3" y="5"/>
                  </a:moveTo>
                  <a:cubicBezTo>
                    <a:pt x="4" y="6"/>
                    <a:pt x="9" y="8"/>
                    <a:pt x="10" y="5"/>
                  </a:cubicBezTo>
                  <a:cubicBezTo>
                    <a:pt x="10" y="3"/>
                    <a:pt x="11" y="0"/>
                    <a:pt x="9" y="0"/>
                  </a:cubicBezTo>
                  <a:cubicBezTo>
                    <a:pt x="6" y="0"/>
                    <a:pt x="0" y="3"/>
                    <a:pt x="3"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09" name="Freeform 1177">
              <a:extLst>
                <a:ext uri="{FF2B5EF4-FFF2-40B4-BE49-F238E27FC236}">
                  <a16:creationId xmlns:a16="http://schemas.microsoft.com/office/drawing/2014/main" id="{C6C6CCFA-E30F-FD49-95DB-EF4D629E687E}"/>
                </a:ext>
              </a:extLst>
            </p:cNvPr>
            <p:cNvSpPr>
              <a:spLocks/>
            </p:cNvSpPr>
            <p:nvPr/>
          </p:nvSpPr>
          <p:spPr bwMode="auto">
            <a:xfrm>
              <a:off x="4579952" y="1684794"/>
              <a:ext cx="11113" cy="6350"/>
            </a:xfrm>
            <a:custGeom>
              <a:avLst/>
              <a:gdLst>
                <a:gd name="T0" fmla="*/ 6 w 12"/>
                <a:gd name="T1" fmla="*/ 1 h 6"/>
                <a:gd name="T2" fmla="*/ 12 w 12"/>
                <a:gd name="T3" fmla="*/ 2 h 6"/>
                <a:gd name="T4" fmla="*/ 9 w 12"/>
                <a:gd name="T5" fmla="*/ 6 h 6"/>
                <a:gd name="T6" fmla="*/ 2 w 12"/>
                <a:gd name="T7" fmla="*/ 2 h 6"/>
                <a:gd name="T8" fmla="*/ 6 w 12"/>
                <a:gd name="T9" fmla="*/ 1 h 6"/>
              </a:gdLst>
              <a:ahLst/>
              <a:cxnLst>
                <a:cxn ang="0">
                  <a:pos x="T0" y="T1"/>
                </a:cxn>
                <a:cxn ang="0">
                  <a:pos x="T2" y="T3"/>
                </a:cxn>
                <a:cxn ang="0">
                  <a:pos x="T4" y="T5"/>
                </a:cxn>
                <a:cxn ang="0">
                  <a:pos x="T6" y="T7"/>
                </a:cxn>
                <a:cxn ang="0">
                  <a:pos x="T8" y="T9"/>
                </a:cxn>
              </a:cxnLst>
              <a:rect l="0" t="0" r="r" b="b"/>
              <a:pathLst>
                <a:path w="12" h="6">
                  <a:moveTo>
                    <a:pt x="6" y="1"/>
                  </a:moveTo>
                  <a:cubicBezTo>
                    <a:pt x="9" y="1"/>
                    <a:pt x="11" y="1"/>
                    <a:pt x="12" y="2"/>
                  </a:cubicBezTo>
                  <a:cubicBezTo>
                    <a:pt x="12" y="4"/>
                    <a:pt x="12" y="6"/>
                    <a:pt x="9" y="6"/>
                  </a:cubicBezTo>
                  <a:cubicBezTo>
                    <a:pt x="6" y="6"/>
                    <a:pt x="0" y="3"/>
                    <a:pt x="2" y="2"/>
                  </a:cubicBezTo>
                  <a:cubicBezTo>
                    <a:pt x="3" y="2"/>
                    <a:pt x="4" y="0"/>
                    <a:pt x="6" y="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10" name="Freeform 1178">
              <a:extLst>
                <a:ext uri="{FF2B5EF4-FFF2-40B4-BE49-F238E27FC236}">
                  <a16:creationId xmlns:a16="http://schemas.microsoft.com/office/drawing/2014/main" id="{F433FAC4-A685-8B4E-82D0-76DB3A9CB7EC}"/>
                </a:ext>
              </a:extLst>
            </p:cNvPr>
            <p:cNvSpPr>
              <a:spLocks/>
            </p:cNvSpPr>
            <p:nvPr/>
          </p:nvSpPr>
          <p:spPr bwMode="auto">
            <a:xfrm>
              <a:off x="4606940" y="1675269"/>
              <a:ext cx="6350" cy="9525"/>
            </a:xfrm>
            <a:custGeom>
              <a:avLst/>
              <a:gdLst>
                <a:gd name="T0" fmla="*/ 1 w 6"/>
                <a:gd name="T1" fmla="*/ 5 h 11"/>
                <a:gd name="T2" fmla="*/ 3 w 6"/>
                <a:gd name="T3" fmla="*/ 9 h 11"/>
                <a:gd name="T4" fmla="*/ 6 w 6"/>
                <a:gd name="T5" fmla="*/ 5 h 11"/>
                <a:gd name="T6" fmla="*/ 0 w 6"/>
                <a:gd name="T7" fmla="*/ 1 h 11"/>
                <a:gd name="T8" fmla="*/ 1 w 6"/>
                <a:gd name="T9" fmla="*/ 5 h 11"/>
              </a:gdLst>
              <a:ahLst/>
              <a:cxnLst>
                <a:cxn ang="0">
                  <a:pos x="T0" y="T1"/>
                </a:cxn>
                <a:cxn ang="0">
                  <a:pos x="T2" y="T3"/>
                </a:cxn>
                <a:cxn ang="0">
                  <a:pos x="T4" y="T5"/>
                </a:cxn>
                <a:cxn ang="0">
                  <a:pos x="T6" y="T7"/>
                </a:cxn>
                <a:cxn ang="0">
                  <a:pos x="T8" y="T9"/>
                </a:cxn>
              </a:cxnLst>
              <a:rect l="0" t="0" r="r" b="b"/>
              <a:pathLst>
                <a:path w="6" h="11">
                  <a:moveTo>
                    <a:pt x="1" y="5"/>
                  </a:moveTo>
                  <a:cubicBezTo>
                    <a:pt x="2" y="6"/>
                    <a:pt x="2" y="11"/>
                    <a:pt x="3" y="9"/>
                  </a:cubicBezTo>
                  <a:cubicBezTo>
                    <a:pt x="5" y="8"/>
                    <a:pt x="5" y="7"/>
                    <a:pt x="6" y="5"/>
                  </a:cubicBezTo>
                  <a:cubicBezTo>
                    <a:pt x="6" y="2"/>
                    <a:pt x="0" y="0"/>
                    <a:pt x="0" y="1"/>
                  </a:cubicBezTo>
                  <a:cubicBezTo>
                    <a:pt x="0" y="3"/>
                    <a:pt x="1" y="3"/>
                    <a:pt x="1"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11" name="Freeform 1179">
              <a:extLst>
                <a:ext uri="{FF2B5EF4-FFF2-40B4-BE49-F238E27FC236}">
                  <a16:creationId xmlns:a16="http://schemas.microsoft.com/office/drawing/2014/main" id="{4F53EAC7-0AC9-324B-81DC-8C8DA6AF781E}"/>
                </a:ext>
              </a:extLst>
            </p:cNvPr>
            <p:cNvSpPr>
              <a:spLocks/>
            </p:cNvSpPr>
            <p:nvPr/>
          </p:nvSpPr>
          <p:spPr bwMode="auto">
            <a:xfrm>
              <a:off x="4487877" y="1554618"/>
              <a:ext cx="141288" cy="141288"/>
            </a:xfrm>
            <a:custGeom>
              <a:avLst/>
              <a:gdLst>
                <a:gd name="T0" fmla="*/ 141 w 148"/>
                <a:gd name="T1" fmla="*/ 19 h 149"/>
                <a:gd name="T2" fmla="*/ 135 w 148"/>
                <a:gd name="T3" fmla="*/ 29 h 149"/>
                <a:gd name="T4" fmla="*/ 113 w 148"/>
                <a:gd name="T5" fmla="*/ 22 h 149"/>
                <a:gd name="T6" fmla="*/ 102 w 148"/>
                <a:gd name="T7" fmla="*/ 34 h 149"/>
                <a:gd name="T8" fmla="*/ 95 w 148"/>
                <a:gd name="T9" fmla="*/ 25 h 149"/>
                <a:gd name="T10" fmla="*/ 84 w 148"/>
                <a:gd name="T11" fmla="*/ 33 h 149"/>
                <a:gd name="T12" fmla="*/ 100 w 148"/>
                <a:gd name="T13" fmla="*/ 46 h 149"/>
                <a:gd name="T14" fmla="*/ 88 w 148"/>
                <a:gd name="T15" fmla="*/ 41 h 149"/>
                <a:gd name="T16" fmla="*/ 90 w 148"/>
                <a:gd name="T17" fmla="*/ 49 h 149"/>
                <a:gd name="T18" fmla="*/ 79 w 148"/>
                <a:gd name="T19" fmla="*/ 43 h 149"/>
                <a:gd name="T20" fmla="*/ 82 w 148"/>
                <a:gd name="T21" fmla="*/ 50 h 149"/>
                <a:gd name="T22" fmla="*/ 70 w 148"/>
                <a:gd name="T23" fmla="*/ 43 h 149"/>
                <a:gd name="T24" fmla="*/ 59 w 148"/>
                <a:gd name="T25" fmla="*/ 35 h 149"/>
                <a:gd name="T26" fmla="*/ 65 w 148"/>
                <a:gd name="T27" fmla="*/ 58 h 149"/>
                <a:gd name="T28" fmla="*/ 68 w 148"/>
                <a:gd name="T29" fmla="*/ 68 h 149"/>
                <a:gd name="T30" fmla="*/ 74 w 148"/>
                <a:gd name="T31" fmla="*/ 76 h 149"/>
                <a:gd name="T32" fmla="*/ 95 w 148"/>
                <a:gd name="T33" fmla="*/ 86 h 149"/>
                <a:gd name="T34" fmla="*/ 104 w 148"/>
                <a:gd name="T35" fmla="*/ 98 h 149"/>
                <a:gd name="T36" fmla="*/ 99 w 148"/>
                <a:gd name="T37" fmla="*/ 102 h 149"/>
                <a:gd name="T38" fmla="*/ 86 w 148"/>
                <a:gd name="T39" fmla="*/ 89 h 149"/>
                <a:gd name="T40" fmla="*/ 68 w 148"/>
                <a:gd name="T41" fmla="*/ 85 h 149"/>
                <a:gd name="T42" fmla="*/ 92 w 148"/>
                <a:gd name="T43" fmla="*/ 101 h 149"/>
                <a:gd name="T44" fmla="*/ 81 w 148"/>
                <a:gd name="T45" fmla="*/ 107 h 149"/>
                <a:gd name="T46" fmla="*/ 79 w 148"/>
                <a:gd name="T47" fmla="*/ 117 h 149"/>
                <a:gd name="T48" fmla="*/ 72 w 148"/>
                <a:gd name="T49" fmla="*/ 122 h 149"/>
                <a:gd name="T50" fmla="*/ 72 w 148"/>
                <a:gd name="T51" fmla="*/ 134 h 149"/>
                <a:gd name="T52" fmla="*/ 66 w 148"/>
                <a:gd name="T53" fmla="*/ 141 h 149"/>
                <a:gd name="T54" fmla="*/ 54 w 148"/>
                <a:gd name="T55" fmla="*/ 143 h 149"/>
                <a:gd name="T56" fmla="*/ 46 w 148"/>
                <a:gd name="T57" fmla="*/ 133 h 149"/>
                <a:gd name="T58" fmla="*/ 39 w 148"/>
                <a:gd name="T59" fmla="*/ 133 h 149"/>
                <a:gd name="T60" fmla="*/ 31 w 148"/>
                <a:gd name="T61" fmla="*/ 116 h 149"/>
                <a:gd name="T62" fmla="*/ 34 w 148"/>
                <a:gd name="T63" fmla="*/ 100 h 149"/>
                <a:gd name="T64" fmla="*/ 56 w 148"/>
                <a:gd name="T65" fmla="*/ 100 h 149"/>
                <a:gd name="T66" fmla="*/ 48 w 148"/>
                <a:gd name="T67" fmla="*/ 93 h 149"/>
                <a:gd name="T68" fmla="*/ 22 w 148"/>
                <a:gd name="T69" fmla="*/ 90 h 149"/>
                <a:gd name="T70" fmla="*/ 9 w 148"/>
                <a:gd name="T71" fmla="*/ 84 h 149"/>
                <a:gd name="T72" fmla="*/ 24 w 148"/>
                <a:gd name="T73" fmla="*/ 74 h 149"/>
                <a:gd name="T74" fmla="*/ 10 w 148"/>
                <a:gd name="T75" fmla="*/ 73 h 149"/>
                <a:gd name="T76" fmla="*/ 1 w 148"/>
                <a:gd name="T77" fmla="*/ 60 h 149"/>
                <a:gd name="T78" fmla="*/ 0 w 148"/>
                <a:gd name="T79" fmla="*/ 59 h 149"/>
                <a:gd name="T80" fmla="*/ 6 w 148"/>
                <a:gd name="T81" fmla="*/ 53 h 149"/>
                <a:gd name="T82" fmla="*/ 14 w 148"/>
                <a:gd name="T83" fmla="*/ 41 h 149"/>
                <a:gd name="T84" fmla="*/ 17 w 148"/>
                <a:gd name="T85" fmla="*/ 24 h 149"/>
                <a:gd name="T86" fmla="*/ 24 w 148"/>
                <a:gd name="T87" fmla="*/ 24 h 149"/>
                <a:gd name="T88" fmla="*/ 44 w 148"/>
                <a:gd name="T89" fmla="*/ 17 h 149"/>
                <a:gd name="T90" fmla="*/ 62 w 148"/>
                <a:gd name="T91" fmla="*/ 12 h 149"/>
                <a:gd name="T92" fmla="*/ 73 w 148"/>
                <a:gd name="T93" fmla="*/ 10 h 149"/>
                <a:gd name="T94" fmla="*/ 97 w 148"/>
                <a:gd name="T95" fmla="*/ 4 h 149"/>
                <a:gd name="T96" fmla="*/ 118 w 148"/>
                <a:gd name="T97" fmla="*/ 14 h 149"/>
                <a:gd name="T98" fmla="*/ 138 w 148"/>
                <a:gd name="T99" fmla="*/ 7 h 149"/>
                <a:gd name="T100" fmla="*/ 140 w 148"/>
                <a:gd name="T101" fmla="*/ 0 h 149"/>
                <a:gd name="T102" fmla="*/ 146 w 148"/>
                <a:gd name="T103" fmla="*/ 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49">
                  <a:moveTo>
                    <a:pt x="145" y="12"/>
                  </a:moveTo>
                  <a:cubicBezTo>
                    <a:pt x="142" y="15"/>
                    <a:pt x="142" y="16"/>
                    <a:pt x="141" y="19"/>
                  </a:cubicBezTo>
                  <a:cubicBezTo>
                    <a:pt x="141" y="23"/>
                    <a:pt x="140" y="24"/>
                    <a:pt x="138" y="26"/>
                  </a:cubicBezTo>
                  <a:cubicBezTo>
                    <a:pt x="137" y="27"/>
                    <a:pt x="136" y="28"/>
                    <a:pt x="135" y="29"/>
                  </a:cubicBezTo>
                  <a:cubicBezTo>
                    <a:pt x="134" y="28"/>
                    <a:pt x="132" y="28"/>
                    <a:pt x="130" y="27"/>
                  </a:cubicBezTo>
                  <a:cubicBezTo>
                    <a:pt x="116" y="22"/>
                    <a:pt x="115" y="19"/>
                    <a:pt x="113" y="22"/>
                  </a:cubicBezTo>
                  <a:cubicBezTo>
                    <a:pt x="111" y="26"/>
                    <a:pt x="106" y="26"/>
                    <a:pt x="106" y="30"/>
                  </a:cubicBezTo>
                  <a:cubicBezTo>
                    <a:pt x="107" y="34"/>
                    <a:pt x="103" y="37"/>
                    <a:pt x="102" y="34"/>
                  </a:cubicBezTo>
                  <a:cubicBezTo>
                    <a:pt x="101" y="30"/>
                    <a:pt x="100" y="26"/>
                    <a:pt x="101" y="25"/>
                  </a:cubicBezTo>
                  <a:cubicBezTo>
                    <a:pt x="102" y="23"/>
                    <a:pt x="98" y="22"/>
                    <a:pt x="95" y="25"/>
                  </a:cubicBezTo>
                  <a:cubicBezTo>
                    <a:pt x="91" y="28"/>
                    <a:pt x="94" y="29"/>
                    <a:pt x="89" y="29"/>
                  </a:cubicBezTo>
                  <a:cubicBezTo>
                    <a:pt x="83" y="30"/>
                    <a:pt x="83" y="31"/>
                    <a:pt x="84" y="33"/>
                  </a:cubicBezTo>
                  <a:cubicBezTo>
                    <a:pt x="85" y="34"/>
                    <a:pt x="88" y="35"/>
                    <a:pt x="92" y="37"/>
                  </a:cubicBezTo>
                  <a:cubicBezTo>
                    <a:pt x="96" y="39"/>
                    <a:pt x="101" y="44"/>
                    <a:pt x="100" y="46"/>
                  </a:cubicBezTo>
                  <a:cubicBezTo>
                    <a:pt x="99" y="48"/>
                    <a:pt x="98" y="46"/>
                    <a:pt x="94" y="44"/>
                  </a:cubicBezTo>
                  <a:cubicBezTo>
                    <a:pt x="90" y="42"/>
                    <a:pt x="88" y="41"/>
                    <a:pt x="88" y="41"/>
                  </a:cubicBezTo>
                  <a:cubicBezTo>
                    <a:pt x="88" y="41"/>
                    <a:pt x="85" y="41"/>
                    <a:pt x="86" y="42"/>
                  </a:cubicBezTo>
                  <a:cubicBezTo>
                    <a:pt x="86" y="43"/>
                    <a:pt x="92" y="49"/>
                    <a:pt x="90" y="49"/>
                  </a:cubicBezTo>
                  <a:cubicBezTo>
                    <a:pt x="87" y="49"/>
                    <a:pt x="86" y="50"/>
                    <a:pt x="84" y="47"/>
                  </a:cubicBezTo>
                  <a:cubicBezTo>
                    <a:pt x="82" y="44"/>
                    <a:pt x="80" y="43"/>
                    <a:pt x="79" y="43"/>
                  </a:cubicBezTo>
                  <a:cubicBezTo>
                    <a:pt x="78" y="43"/>
                    <a:pt x="76" y="45"/>
                    <a:pt x="78" y="47"/>
                  </a:cubicBezTo>
                  <a:cubicBezTo>
                    <a:pt x="80" y="48"/>
                    <a:pt x="82" y="49"/>
                    <a:pt x="82" y="50"/>
                  </a:cubicBezTo>
                  <a:cubicBezTo>
                    <a:pt x="81" y="51"/>
                    <a:pt x="75" y="52"/>
                    <a:pt x="74" y="51"/>
                  </a:cubicBezTo>
                  <a:cubicBezTo>
                    <a:pt x="73" y="51"/>
                    <a:pt x="75" y="47"/>
                    <a:pt x="70" y="43"/>
                  </a:cubicBezTo>
                  <a:cubicBezTo>
                    <a:pt x="66" y="38"/>
                    <a:pt x="64" y="38"/>
                    <a:pt x="64" y="37"/>
                  </a:cubicBezTo>
                  <a:cubicBezTo>
                    <a:pt x="63" y="35"/>
                    <a:pt x="62" y="29"/>
                    <a:pt x="59" y="35"/>
                  </a:cubicBezTo>
                  <a:cubicBezTo>
                    <a:pt x="55" y="41"/>
                    <a:pt x="56" y="41"/>
                    <a:pt x="58" y="47"/>
                  </a:cubicBezTo>
                  <a:cubicBezTo>
                    <a:pt x="60" y="52"/>
                    <a:pt x="61" y="56"/>
                    <a:pt x="65" y="58"/>
                  </a:cubicBezTo>
                  <a:cubicBezTo>
                    <a:pt x="69" y="61"/>
                    <a:pt x="74" y="65"/>
                    <a:pt x="73" y="68"/>
                  </a:cubicBezTo>
                  <a:cubicBezTo>
                    <a:pt x="72" y="70"/>
                    <a:pt x="70" y="69"/>
                    <a:pt x="68" y="68"/>
                  </a:cubicBezTo>
                  <a:cubicBezTo>
                    <a:pt x="67" y="67"/>
                    <a:pt x="61" y="69"/>
                    <a:pt x="63" y="73"/>
                  </a:cubicBezTo>
                  <a:cubicBezTo>
                    <a:pt x="66" y="76"/>
                    <a:pt x="63" y="72"/>
                    <a:pt x="74" y="76"/>
                  </a:cubicBezTo>
                  <a:cubicBezTo>
                    <a:pt x="85" y="81"/>
                    <a:pt x="83" y="82"/>
                    <a:pt x="85" y="83"/>
                  </a:cubicBezTo>
                  <a:cubicBezTo>
                    <a:pt x="88" y="84"/>
                    <a:pt x="94" y="85"/>
                    <a:pt x="95" y="86"/>
                  </a:cubicBezTo>
                  <a:cubicBezTo>
                    <a:pt x="96" y="88"/>
                    <a:pt x="98" y="91"/>
                    <a:pt x="98" y="93"/>
                  </a:cubicBezTo>
                  <a:cubicBezTo>
                    <a:pt x="98" y="94"/>
                    <a:pt x="100" y="95"/>
                    <a:pt x="104" y="98"/>
                  </a:cubicBezTo>
                  <a:cubicBezTo>
                    <a:pt x="108" y="101"/>
                    <a:pt x="108" y="107"/>
                    <a:pt x="104" y="105"/>
                  </a:cubicBezTo>
                  <a:cubicBezTo>
                    <a:pt x="100" y="103"/>
                    <a:pt x="102" y="106"/>
                    <a:pt x="99" y="102"/>
                  </a:cubicBezTo>
                  <a:cubicBezTo>
                    <a:pt x="96" y="98"/>
                    <a:pt x="98" y="99"/>
                    <a:pt x="93" y="95"/>
                  </a:cubicBezTo>
                  <a:cubicBezTo>
                    <a:pt x="88" y="90"/>
                    <a:pt x="94" y="92"/>
                    <a:pt x="86" y="89"/>
                  </a:cubicBezTo>
                  <a:cubicBezTo>
                    <a:pt x="78" y="86"/>
                    <a:pt x="83" y="87"/>
                    <a:pt x="75" y="84"/>
                  </a:cubicBezTo>
                  <a:cubicBezTo>
                    <a:pt x="67" y="81"/>
                    <a:pt x="68" y="85"/>
                    <a:pt x="68" y="85"/>
                  </a:cubicBezTo>
                  <a:cubicBezTo>
                    <a:pt x="68" y="85"/>
                    <a:pt x="74" y="89"/>
                    <a:pt x="79" y="92"/>
                  </a:cubicBezTo>
                  <a:cubicBezTo>
                    <a:pt x="84" y="94"/>
                    <a:pt x="92" y="99"/>
                    <a:pt x="92" y="101"/>
                  </a:cubicBezTo>
                  <a:cubicBezTo>
                    <a:pt x="92" y="104"/>
                    <a:pt x="98" y="115"/>
                    <a:pt x="92" y="113"/>
                  </a:cubicBezTo>
                  <a:cubicBezTo>
                    <a:pt x="86" y="110"/>
                    <a:pt x="86" y="107"/>
                    <a:pt x="81" y="107"/>
                  </a:cubicBezTo>
                  <a:cubicBezTo>
                    <a:pt x="77" y="107"/>
                    <a:pt x="71" y="104"/>
                    <a:pt x="73" y="108"/>
                  </a:cubicBezTo>
                  <a:cubicBezTo>
                    <a:pt x="74" y="113"/>
                    <a:pt x="79" y="117"/>
                    <a:pt x="79" y="117"/>
                  </a:cubicBezTo>
                  <a:cubicBezTo>
                    <a:pt x="79" y="117"/>
                    <a:pt x="86" y="121"/>
                    <a:pt x="80" y="122"/>
                  </a:cubicBezTo>
                  <a:cubicBezTo>
                    <a:pt x="74" y="122"/>
                    <a:pt x="76" y="124"/>
                    <a:pt x="72" y="122"/>
                  </a:cubicBezTo>
                  <a:cubicBezTo>
                    <a:pt x="68" y="120"/>
                    <a:pt x="63" y="118"/>
                    <a:pt x="65" y="121"/>
                  </a:cubicBezTo>
                  <a:cubicBezTo>
                    <a:pt x="68" y="125"/>
                    <a:pt x="70" y="128"/>
                    <a:pt x="72" y="134"/>
                  </a:cubicBezTo>
                  <a:cubicBezTo>
                    <a:pt x="74" y="139"/>
                    <a:pt x="76" y="147"/>
                    <a:pt x="74" y="148"/>
                  </a:cubicBezTo>
                  <a:cubicBezTo>
                    <a:pt x="72" y="149"/>
                    <a:pt x="68" y="142"/>
                    <a:pt x="66" y="141"/>
                  </a:cubicBezTo>
                  <a:cubicBezTo>
                    <a:pt x="64" y="140"/>
                    <a:pt x="60" y="143"/>
                    <a:pt x="60" y="145"/>
                  </a:cubicBezTo>
                  <a:cubicBezTo>
                    <a:pt x="60" y="147"/>
                    <a:pt x="54" y="147"/>
                    <a:pt x="54" y="143"/>
                  </a:cubicBezTo>
                  <a:cubicBezTo>
                    <a:pt x="54" y="139"/>
                    <a:pt x="53" y="139"/>
                    <a:pt x="52" y="136"/>
                  </a:cubicBezTo>
                  <a:cubicBezTo>
                    <a:pt x="51" y="132"/>
                    <a:pt x="46" y="130"/>
                    <a:pt x="46" y="133"/>
                  </a:cubicBezTo>
                  <a:cubicBezTo>
                    <a:pt x="46" y="137"/>
                    <a:pt x="46" y="139"/>
                    <a:pt x="44" y="139"/>
                  </a:cubicBezTo>
                  <a:cubicBezTo>
                    <a:pt x="43" y="139"/>
                    <a:pt x="39" y="139"/>
                    <a:pt x="39" y="133"/>
                  </a:cubicBezTo>
                  <a:cubicBezTo>
                    <a:pt x="39" y="128"/>
                    <a:pt x="40" y="121"/>
                    <a:pt x="39" y="121"/>
                  </a:cubicBezTo>
                  <a:cubicBezTo>
                    <a:pt x="38" y="121"/>
                    <a:pt x="33" y="119"/>
                    <a:pt x="31" y="116"/>
                  </a:cubicBezTo>
                  <a:cubicBezTo>
                    <a:pt x="29" y="113"/>
                    <a:pt x="23" y="109"/>
                    <a:pt x="27" y="105"/>
                  </a:cubicBezTo>
                  <a:cubicBezTo>
                    <a:pt x="30" y="101"/>
                    <a:pt x="31" y="101"/>
                    <a:pt x="34" y="100"/>
                  </a:cubicBezTo>
                  <a:cubicBezTo>
                    <a:pt x="37" y="99"/>
                    <a:pt x="38" y="96"/>
                    <a:pt x="43" y="96"/>
                  </a:cubicBezTo>
                  <a:cubicBezTo>
                    <a:pt x="49" y="97"/>
                    <a:pt x="50" y="98"/>
                    <a:pt x="56" y="100"/>
                  </a:cubicBezTo>
                  <a:cubicBezTo>
                    <a:pt x="62" y="103"/>
                    <a:pt x="73" y="99"/>
                    <a:pt x="67" y="98"/>
                  </a:cubicBezTo>
                  <a:cubicBezTo>
                    <a:pt x="62" y="97"/>
                    <a:pt x="53" y="93"/>
                    <a:pt x="48" y="93"/>
                  </a:cubicBezTo>
                  <a:cubicBezTo>
                    <a:pt x="43" y="93"/>
                    <a:pt x="36" y="93"/>
                    <a:pt x="32" y="93"/>
                  </a:cubicBezTo>
                  <a:cubicBezTo>
                    <a:pt x="28" y="93"/>
                    <a:pt x="25" y="93"/>
                    <a:pt x="22" y="90"/>
                  </a:cubicBezTo>
                  <a:cubicBezTo>
                    <a:pt x="20" y="87"/>
                    <a:pt x="18" y="82"/>
                    <a:pt x="16" y="85"/>
                  </a:cubicBezTo>
                  <a:cubicBezTo>
                    <a:pt x="13" y="87"/>
                    <a:pt x="8" y="86"/>
                    <a:pt x="9" y="84"/>
                  </a:cubicBezTo>
                  <a:cubicBezTo>
                    <a:pt x="9" y="82"/>
                    <a:pt x="9" y="82"/>
                    <a:pt x="14" y="80"/>
                  </a:cubicBezTo>
                  <a:cubicBezTo>
                    <a:pt x="19" y="77"/>
                    <a:pt x="28" y="76"/>
                    <a:pt x="24" y="74"/>
                  </a:cubicBezTo>
                  <a:cubicBezTo>
                    <a:pt x="21" y="73"/>
                    <a:pt x="21" y="73"/>
                    <a:pt x="17" y="74"/>
                  </a:cubicBezTo>
                  <a:cubicBezTo>
                    <a:pt x="13" y="74"/>
                    <a:pt x="12" y="77"/>
                    <a:pt x="10" y="73"/>
                  </a:cubicBezTo>
                  <a:cubicBezTo>
                    <a:pt x="7" y="69"/>
                    <a:pt x="6" y="71"/>
                    <a:pt x="4" y="67"/>
                  </a:cubicBezTo>
                  <a:cubicBezTo>
                    <a:pt x="2" y="62"/>
                    <a:pt x="4" y="63"/>
                    <a:pt x="1" y="60"/>
                  </a:cubicBezTo>
                  <a:cubicBezTo>
                    <a:pt x="1" y="60"/>
                    <a:pt x="1" y="60"/>
                    <a:pt x="1" y="60"/>
                  </a:cubicBezTo>
                  <a:cubicBezTo>
                    <a:pt x="1" y="60"/>
                    <a:pt x="1" y="60"/>
                    <a:pt x="0" y="59"/>
                  </a:cubicBezTo>
                  <a:cubicBezTo>
                    <a:pt x="1" y="59"/>
                    <a:pt x="2" y="59"/>
                    <a:pt x="3" y="58"/>
                  </a:cubicBezTo>
                  <a:cubicBezTo>
                    <a:pt x="5" y="56"/>
                    <a:pt x="5" y="57"/>
                    <a:pt x="6" y="53"/>
                  </a:cubicBezTo>
                  <a:cubicBezTo>
                    <a:pt x="6" y="49"/>
                    <a:pt x="4" y="48"/>
                    <a:pt x="8" y="47"/>
                  </a:cubicBezTo>
                  <a:cubicBezTo>
                    <a:pt x="12" y="46"/>
                    <a:pt x="13" y="46"/>
                    <a:pt x="14" y="41"/>
                  </a:cubicBezTo>
                  <a:cubicBezTo>
                    <a:pt x="15" y="36"/>
                    <a:pt x="18" y="34"/>
                    <a:pt x="20" y="32"/>
                  </a:cubicBezTo>
                  <a:cubicBezTo>
                    <a:pt x="21" y="30"/>
                    <a:pt x="20" y="26"/>
                    <a:pt x="17" y="24"/>
                  </a:cubicBezTo>
                  <a:cubicBezTo>
                    <a:pt x="17" y="24"/>
                    <a:pt x="17" y="24"/>
                    <a:pt x="17" y="24"/>
                  </a:cubicBezTo>
                  <a:cubicBezTo>
                    <a:pt x="18" y="24"/>
                    <a:pt x="20" y="24"/>
                    <a:pt x="24" y="24"/>
                  </a:cubicBezTo>
                  <a:cubicBezTo>
                    <a:pt x="29" y="24"/>
                    <a:pt x="34" y="24"/>
                    <a:pt x="36" y="22"/>
                  </a:cubicBezTo>
                  <a:cubicBezTo>
                    <a:pt x="38" y="19"/>
                    <a:pt x="40" y="18"/>
                    <a:pt x="44" y="17"/>
                  </a:cubicBezTo>
                  <a:cubicBezTo>
                    <a:pt x="48" y="16"/>
                    <a:pt x="51" y="18"/>
                    <a:pt x="55" y="16"/>
                  </a:cubicBezTo>
                  <a:cubicBezTo>
                    <a:pt x="59" y="14"/>
                    <a:pt x="61" y="13"/>
                    <a:pt x="62" y="12"/>
                  </a:cubicBezTo>
                  <a:cubicBezTo>
                    <a:pt x="62" y="11"/>
                    <a:pt x="63" y="11"/>
                    <a:pt x="63" y="10"/>
                  </a:cubicBezTo>
                  <a:cubicBezTo>
                    <a:pt x="66" y="11"/>
                    <a:pt x="69" y="11"/>
                    <a:pt x="73" y="10"/>
                  </a:cubicBezTo>
                  <a:cubicBezTo>
                    <a:pt x="80" y="9"/>
                    <a:pt x="78" y="10"/>
                    <a:pt x="85" y="8"/>
                  </a:cubicBezTo>
                  <a:cubicBezTo>
                    <a:pt x="92" y="7"/>
                    <a:pt x="94" y="2"/>
                    <a:pt x="97" y="4"/>
                  </a:cubicBezTo>
                  <a:cubicBezTo>
                    <a:pt x="101" y="7"/>
                    <a:pt x="102" y="10"/>
                    <a:pt x="107" y="11"/>
                  </a:cubicBezTo>
                  <a:cubicBezTo>
                    <a:pt x="111" y="12"/>
                    <a:pt x="115" y="14"/>
                    <a:pt x="118" y="14"/>
                  </a:cubicBezTo>
                  <a:cubicBezTo>
                    <a:pt x="121" y="14"/>
                    <a:pt x="123" y="16"/>
                    <a:pt x="129" y="14"/>
                  </a:cubicBezTo>
                  <a:cubicBezTo>
                    <a:pt x="134" y="11"/>
                    <a:pt x="138" y="11"/>
                    <a:pt x="138" y="7"/>
                  </a:cubicBezTo>
                  <a:cubicBezTo>
                    <a:pt x="137" y="4"/>
                    <a:pt x="132" y="3"/>
                    <a:pt x="138" y="1"/>
                  </a:cubicBezTo>
                  <a:cubicBezTo>
                    <a:pt x="138" y="0"/>
                    <a:pt x="139" y="0"/>
                    <a:pt x="140" y="0"/>
                  </a:cubicBezTo>
                  <a:cubicBezTo>
                    <a:pt x="140" y="1"/>
                    <a:pt x="141" y="2"/>
                    <a:pt x="143" y="2"/>
                  </a:cubicBezTo>
                  <a:cubicBezTo>
                    <a:pt x="146" y="3"/>
                    <a:pt x="147" y="0"/>
                    <a:pt x="146" y="5"/>
                  </a:cubicBezTo>
                  <a:cubicBezTo>
                    <a:pt x="146" y="10"/>
                    <a:pt x="148" y="8"/>
                    <a:pt x="145" y="12"/>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12" name="Freeform 1181">
              <a:extLst>
                <a:ext uri="{FF2B5EF4-FFF2-40B4-BE49-F238E27FC236}">
                  <a16:creationId xmlns:a16="http://schemas.microsoft.com/office/drawing/2014/main" id="{B9E66384-0AA3-BC45-B6B8-B2FF4E2E8DA0}"/>
                </a:ext>
              </a:extLst>
            </p:cNvPr>
            <p:cNvSpPr>
              <a:spLocks/>
            </p:cNvSpPr>
            <p:nvPr/>
          </p:nvSpPr>
          <p:spPr bwMode="auto">
            <a:xfrm>
              <a:off x="4456127" y="846592"/>
              <a:ext cx="212726" cy="246063"/>
            </a:xfrm>
            <a:custGeom>
              <a:avLst/>
              <a:gdLst>
                <a:gd name="T0" fmla="*/ 198 w 224"/>
                <a:gd name="T1" fmla="*/ 202 h 258"/>
                <a:gd name="T2" fmla="*/ 139 w 224"/>
                <a:gd name="T3" fmla="*/ 238 h 258"/>
                <a:gd name="T4" fmla="*/ 114 w 224"/>
                <a:gd name="T5" fmla="*/ 243 h 258"/>
                <a:gd name="T6" fmla="*/ 88 w 224"/>
                <a:gd name="T7" fmla="*/ 251 h 258"/>
                <a:gd name="T8" fmla="*/ 69 w 224"/>
                <a:gd name="T9" fmla="*/ 252 h 258"/>
                <a:gd name="T10" fmla="*/ 54 w 224"/>
                <a:gd name="T11" fmla="*/ 253 h 258"/>
                <a:gd name="T12" fmla="*/ 38 w 224"/>
                <a:gd name="T13" fmla="*/ 241 h 258"/>
                <a:gd name="T14" fmla="*/ 27 w 224"/>
                <a:gd name="T15" fmla="*/ 227 h 258"/>
                <a:gd name="T16" fmla="*/ 31 w 224"/>
                <a:gd name="T17" fmla="*/ 213 h 258"/>
                <a:gd name="T18" fmla="*/ 23 w 224"/>
                <a:gd name="T19" fmla="*/ 192 h 258"/>
                <a:gd name="T20" fmla="*/ 17 w 224"/>
                <a:gd name="T21" fmla="*/ 181 h 258"/>
                <a:gd name="T22" fmla="*/ 34 w 224"/>
                <a:gd name="T23" fmla="*/ 169 h 258"/>
                <a:gd name="T24" fmla="*/ 49 w 224"/>
                <a:gd name="T25" fmla="*/ 156 h 258"/>
                <a:gd name="T26" fmla="*/ 61 w 224"/>
                <a:gd name="T27" fmla="*/ 148 h 258"/>
                <a:gd name="T28" fmla="*/ 73 w 224"/>
                <a:gd name="T29" fmla="*/ 139 h 258"/>
                <a:gd name="T30" fmla="*/ 95 w 224"/>
                <a:gd name="T31" fmla="*/ 126 h 258"/>
                <a:gd name="T32" fmla="*/ 86 w 224"/>
                <a:gd name="T33" fmla="*/ 111 h 258"/>
                <a:gd name="T34" fmla="*/ 71 w 224"/>
                <a:gd name="T35" fmla="*/ 106 h 258"/>
                <a:gd name="T36" fmla="*/ 58 w 224"/>
                <a:gd name="T37" fmla="*/ 96 h 258"/>
                <a:gd name="T38" fmla="*/ 53 w 224"/>
                <a:gd name="T39" fmla="*/ 75 h 258"/>
                <a:gd name="T40" fmla="*/ 50 w 224"/>
                <a:gd name="T41" fmla="*/ 65 h 258"/>
                <a:gd name="T42" fmla="*/ 41 w 224"/>
                <a:gd name="T43" fmla="*/ 46 h 258"/>
                <a:gd name="T44" fmla="*/ 5 w 224"/>
                <a:gd name="T45" fmla="*/ 33 h 258"/>
                <a:gd name="T46" fmla="*/ 2 w 224"/>
                <a:gd name="T47" fmla="*/ 26 h 258"/>
                <a:gd name="T48" fmla="*/ 25 w 224"/>
                <a:gd name="T49" fmla="*/ 33 h 258"/>
                <a:gd name="T50" fmla="*/ 60 w 224"/>
                <a:gd name="T51" fmla="*/ 34 h 258"/>
                <a:gd name="T52" fmla="*/ 89 w 224"/>
                <a:gd name="T53" fmla="*/ 27 h 258"/>
                <a:gd name="T54" fmla="*/ 108 w 224"/>
                <a:gd name="T55" fmla="*/ 6 h 258"/>
                <a:gd name="T56" fmla="*/ 150 w 224"/>
                <a:gd name="T57" fmla="*/ 16 h 258"/>
                <a:gd name="T58" fmla="*/ 143 w 224"/>
                <a:gd name="T59" fmla="*/ 31 h 258"/>
                <a:gd name="T60" fmla="*/ 143 w 224"/>
                <a:gd name="T61" fmla="*/ 36 h 258"/>
                <a:gd name="T62" fmla="*/ 152 w 224"/>
                <a:gd name="T63" fmla="*/ 50 h 258"/>
                <a:gd name="T64" fmla="*/ 170 w 224"/>
                <a:gd name="T65" fmla="*/ 62 h 258"/>
                <a:gd name="T66" fmla="*/ 159 w 224"/>
                <a:gd name="T67" fmla="*/ 83 h 258"/>
                <a:gd name="T68" fmla="*/ 180 w 224"/>
                <a:gd name="T69" fmla="*/ 108 h 258"/>
                <a:gd name="T70" fmla="*/ 174 w 224"/>
                <a:gd name="T71" fmla="*/ 120 h 258"/>
                <a:gd name="T72" fmla="*/ 180 w 224"/>
                <a:gd name="T73" fmla="*/ 131 h 258"/>
                <a:gd name="T74" fmla="*/ 185 w 224"/>
                <a:gd name="T75" fmla="*/ 140 h 258"/>
                <a:gd name="T76" fmla="*/ 189 w 224"/>
                <a:gd name="T77" fmla="*/ 15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4" h="258">
                  <a:moveTo>
                    <a:pt x="219" y="180"/>
                  </a:moveTo>
                  <a:cubicBezTo>
                    <a:pt x="214" y="187"/>
                    <a:pt x="209" y="193"/>
                    <a:pt x="198" y="202"/>
                  </a:cubicBezTo>
                  <a:cubicBezTo>
                    <a:pt x="188" y="211"/>
                    <a:pt x="161" y="233"/>
                    <a:pt x="155" y="238"/>
                  </a:cubicBezTo>
                  <a:cubicBezTo>
                    <a:pt x="147" y="237"/>
                    <a:pt x="146" y="236"/>
                    <a:pt x="139" y="238"/>
                  </a:cubicBezTo>
                  <a:cubicBezTo>
                    <a:pt x="131" y="240"/>
                    <a:pt x="127" y="240"/>
                    <a:pt x="124" y="242"/>
                  </a:cubicBezTo>
                  <a:cubicBezTo>
                    <a:pt x="120" y="243"/>
                    <a:pt x="120" y="241"/>
                    <a:pt x="114" y="243"/>
                  </a:cubicBezTo>
                  <a:cubicBezTo>
                    <a:pt x="107" y="246"/>
                    <a:pt x="108" y="244"/>
                    <a:pt x="100" y="247"/>
                  </a:cubicBezTo>
                  <a:cubicBezTo>
                    <a:pt x="91" y="250"/>
                    <a:pt x="92" y="250"/>
                    <a:pt x="88" y="251"/>
                  </a:cubicBezTo>
                  <a:cubicBezTo>
                    <a:pt x="83" y="252"/>
                    <a:pt x="81" y="251"/>
                    <a:pt x="78" y="252"/>
                  </a:cubicBezTo>
                  <a:cubicBezTo>
                    <a:pt x="74" y="252"/>
                    <a:pt x="72" y="252"/>
                    <a:pt x="69" y="252"/>
                  </a:cubicBezTo>
                  <a:cubicBezTo>
                    <a:pt x="66" y="253"/>
                    <a:pt x="61" y="254"/>
                    <a:pt x="61" y="254"/>
                  </a:cubicBezTo>
                  <a:cubicBezTo>
                    <a:pt x="61" y="254"/>
                    <a:pt x="54" y="258"/>
                    <a:pt x="54" y="253"/>
                  </a:cubicBezTo>
                  <a:cubicBezTo>
                    <a:pt x="54" y="247"/>
                    <a:pt x="60" y="245"/>
                    <a:pt x="51" y="245"/>
                  </a:cubicBezTo>
                  <a:cubicBezTo>
                    <a:pt x="42" y="244"/>
                    <a:pt x="43" y="242"/>
                    <a:pt x="38" y="241"/>
                  </a:cubicBezTo>
                  <a:cubicBezTo>
                    <a:pt x="34" y="239"/>
                    <a:pt x="33" y="236"/>
                    <a:pt x="30" y="234"/>
                  </a:cubicBezTo>
                  <a:cubicBezTo>
                    <a:pt x="27" y="232"/>
                    <a:pt x="23" y="231"/>
                    <a:pt x="27" y="227"/>
                  </a:cubicBezTo>
                  <a:cubicBezTo>
                    <a:pt x="30" y="223"/>
                    <a:pt x="31" y="224"/>
                    <a:pt x="31" y="221"/>
                  </a:cubicBezTo>
                  <a:cubicBezTo>
                    <a:pt x="31" y="217"/>
                    <a:pt x="34" y="218"/>
                    <a:pt x="31" y="213"/>
                  </a:cubicBezTo>
                  <a:cubicBezTo>
                    <a:pt x="27" y="207"/>
                    <a:pt x="26" y="207"/>
                    <a:pt x="25" y="202"/>
                  </a:cubicBezTo>
                  <a:cubicBezTo>
                    <a:pt x="24" y="198"/>
                    <a:pt x="23" y="196"/>
                    <a:pt x="23" y="192"/>
                  </a:cubicBezTo>
                  <a:cubicBezTo>
                    <a:pt x="23" y="189"/>
                    <a:pt x="27" y="192"/>
                    <a:pt x="22" y="188"/>
                  </a:cubicBezTo>
                  <a:cubicBezTo>
                    <a:pt x="16" y="183"/>
                    <a:pt x="13" y="186"/>
                    <a:pt x="17" y="181"/>
                  </a:cubicBezTo>
                  <a:cubicBezTo>
                    <a:pt x="21" y="176"/>
                    <a:pt x="21" y="176"/>
                    <a:pt x="25" y="172"/>
                  </a:cubicBezTo>
                  <a:cubicBezTo>
                    <a:pt x="29" y="167"/>
                    <a:pt x="27" y="170"/>
                    <a:pt x="34" y="169"/>
                  </a:cubicBezTo>
                  <a:cubicBezTo>
                    <a:pt x="40" y="168"/>
                    <a:pt x="36" y="167"/>
                    <a:pt x="42" y="163"/>
                  </a:cubicBezTo>
                  <a:cubicBezTo>
                    <a:pt x="48" y="160"/>
                    <a:pt x="48" y="157"/>
                    <a:pt x="49" y="156"/>
                  </a:cubicBezTo>
                  <a:cubicBezTo>
                    <a:pt x="51" y="155"/>
                    <a:pt x="46" y="155"/>
                    <a:pt x="53" y="153"/>
                  </a:cubicBezTo>
                  <a:cubicBezTo>
                    <a:pt x="60" y="150"/>
                    <a:pt x="59" y="149"/>
                    <a:pt x="61" y="148"/>
                  </a:cubicBezTo>
                  <a:cubicBezTo>
                    <a:pt x="64" y="146"/>
                    <a:pt x="63" y="145"/>
                    <a:pt x="68" y="143"/>
                  </a:cubicBezTo>
                  <a:cubicBezTo>
                    <a:pt x="72" y="140"/>
                    <a:pt x="70" y="142"/>
                    <a:pt x="73" y="139"/>
                  </a:cubicBezTo>
                  <a:cubicBezTo>
                    <a:pt x="77" y="136"/>
                    <a:pt x="77" y="130"/>
                    <a:pt x="82" y="130"/>
                  </a:cubicBezTo>
                  <a:cubicBezTo>
                    <a:pt x="87" y="130"/>
                    <a:pt x="95" y="130"/>
                    <a:pt x="95" y="126"/>
                  </a:cubicBezTo>
                  <a:cubicBezTo>
                    <a:pt x="95" y="122"/>
                    <a:pt x="92" y="122"/>
                    <a:pt x="91" y="117"/>
                  </a:cubicBezTo>
                  <a:cubicBezTo>
                    <a:pt x="90" y="111"/>
                    <a:pt x="89" y="111"/>
                    <a:pt x="86" y="111"/>
                  </a:cubicBezTo>
                  <a:cubicBezTo>
                    <a:pt x="83" y="111"/>
                    <a:pt x="80" y="108"/>
                    <a:pt x="78" y="108"/>
                  </a:cubicBezTo>
                  <a:cubicBezTo>
                    <a:pt x="76" y="108"/>
                    <a:pt x="72" y="106"/>
                    <a:pt x="71" y="106"/>
                  </a:cubicBezTo>
                  <a:cubicBezTo>
                    <a:pt x="70" y="106"/>
                    <a:pt x="70" y="106"/>
                    <a:pt x="69" y="106"/>
                  </a:cubicBezTo>
                  <a:cubicBezTo>
                    <a:pt x="68" y="103"/>
                    <a:pt x="60" y="97"/>
                    <a:pt x="58" y="96"/>
                  </a:cubicBezTo>
                  <a:cubicBezTo>
                    <a:pt x="56" y="94"/>
                    <a:pt x="59" y="89"/>
                    <a:pt x="62" y="85"/>
                  </a:cubicBezTo>
                  <a:cubicBezTo>
                    <a:pt x="65" y="80"/>
                    <a:pt x="58" y="80"/>
                    <a:pt x="53" y="75"/>
                  </a:cubicBezTo>
                  <a:cubicBezTo>
                    <a:pt x="49" y="71"/>
                    <a:pt x="54" y="72"/>
                    <a:pt x="58" y="69"/>
                  </a:cubicBezTo>
                  <a:cubicBezTo>
                    <a:pt x="61" y="66"/>
                    <a:pt x="54" y="67"/>
                    <a:pt x="50" y="65"/>
                  </a:cubicBezTo>
                  <a:cubicBezTo>
                    <a:pt x="46" y="63"/>
                    <a:pt x="51" y="57"/>
                    <a:pt x="53" y="54"/>
                  </a:cubicBezTo>
                  <a:cubicBezTo>
                    <a:pt x="55" y="52"/>
                    <a:pt x="48" y="50"/>
                    <a:pt x="41" y="46"/>
                  </a:cubicBezTo>
                  <a:cubicBezTo>
                    <a:pt x="34" y="41"/>
                    <a:pt x="32" y="43"/>
                    <a:pt x="26" y="41"/>
                  </a:cubicBezTo>
                  <a:cubicBezTo>
                    <a:pt x="20" y="40"/>
                    <a:pt x="11" y="37"/>
                    <a:pt x="5" y="33"/>
                  </a:cubicBezTo>
                  <a:cubicBezTo>
                    <a:pt x="1" y="31"/>
                    <a:pt x="0" y="29"/>
                    <a:pt x="0" y="27"/>
                  </a:cubicBezTo>
                  <a:cubicBezTo>
                    <a:pt x="0" y="27"/>
                    <a:pt x="1" y="27"/>
                    <a:pt x="2" y="26"/>
                  </a:cubicBezTo>
                  <a:cubicBezTo>
                    <a:pt x="8" y="25"/>
                    <a:pt x="11" y="20"/>
                    <a:pt x="15" y="23"/>
                  </a:cubicBezTo>
                  <a:cubicBezTo>
                    <a:pt x="18" y="26"/>
                    <a:pt x="18" y="31"/>
                    <a:pt x="25" y="33"/>
                  </a:cubicBezTo>
                  <a:cubicBezTo>
                    <a:pt x="31" y="35"/>
                    <a:pt x="46" y="37"/>
                    <a:pt x="49" y="37"/>
                  </a:cubicBezTo>
                  <a:cubicBezTo>
                    <a:pt x="52" y="36"/>
                    <a:pt x="54" y="32"/>
                    <a:pt x="60" y="34"/>
                  </a:cubicBezTo>
                  <a:cubicBezTo>
                    <a:pt x="66" y="36"/>
                    <a:pt x="70" y="39"/>
                    <a:pt x="75" y="37"/>
                  </a:cubicBezTo>
                  <a:cubicBezTo>
                    <a:pt x="80" y="35"/>
                    <a:pt x="90" y="35"/>
                    <a:pt x="89" y="27"/>
                  </a:cubicBezTo>
                  <a:cubicBezTo>
                    <a:pt x="89" y="18"/>
                    <a:pt x="87" y="16"/>
                    <a:pt x="91" y="13"/>
                  </a:cubicBezTo>
                  <a:cubicBezTo>
                    <a:pt x="96" y="9"/>
                    <a:pt x="100" y="6"/>
                    <a:pt x="108" y="6"/>
                  </a:cubicBezTo>
                  <a:cubicBezTo>
                    <a:pt x="116" y="6"/>
                    <a:pt x="118" y="0"/>
                    <a:pt x="125" y="4"/>
                  </a:cubicBezTo>
                  <a:cubicBezTo>
                    <a:pt x="133" y="8"/>
                    <a:pt x="154" y="9"/>
                    <a:pt x="150" y="16"/>
                  </a:cubicBezTo>
                  <a:cubicBezTo>
                    <a:pt x="145" y="23"/>
                    <a:pt x="142" y="21"/>
                    <a:pt x="141" y="27"/>
                  </a:cubicBezTo>
                  <a:cubicBezTo>
                    <a:pt x="140" y="32"/>
                    <a:pt x="138" y="33"/>
                    <a:pt x="143" y="31"/>
                  </a:cubicBezTo>
                  <a:cubicBezTo>
                    <a:pt x="143" y="31"/>
                    <a:pt x="143" y="31"/>
                    <a:pt x="143" y="31"/>
                  </a:cubicBezTo>
                  <a:cubicBezTo>
                    <a:pt x="143" y="33"/>
                    <a:pt x="143" y="34"/>
                    <a:pt x="143" y="36"/>
                  </a:cubicBezTo>
                  <a:cubicBezTo>
                    <a:pt x="142" y="39"/>
                    <a:pt x="137" y="40"/>
                    <a:pt x="141" y="43"/>
                  </a:cubicBezTo>
                  <a:cubicBezTo>
                    <a:pt x="144" y="46"/>
                    <a:pt x="148" y="48"/>
                    <a:pt x="152" y="50"/>
                  </a:cubicBezTo>
                  <a:cubicBezTo>
                    <a:pt x="157" y="51"/>
                    <a:pt x="162" y="54"/>
                    <a:pt x="165" y="56"/>
                  </a:cubicBezTo>
                  <a:cubicBezTo>
                    <a:pt x="168" y="58"/>
                    <a:pt x="172" y="56"/>
                    <a:pt x="170" y="62"/>
                  </a:cubicBezTo>
                  <a:cubicBezTo>
                    <a:pt x="168" y="68"/>
                    <a:pt x="164" y="68"/>
                    <a:pt x="161" y="71"/>
                  </a:cubicBezTo>
                  <a:cubicBezTo>
                    <a:pt x="158" y="74"/>
                    <a:pt x="155" y="78"/>
                    <a:pt x="159" y="83"/>
                  </a:cubicBezTo>
                  <a:cubicBezTo>
                    <a:pt x="162" y="88"/>
                    <a:pt x="162" y="88"/>
                    <a:pt x="170" y="93"/>
                  </a:cubicBezTo>
                  <a:cubicBezTo>
                    <a:pt x="177" y="99"/>
                    <a:pt x="184" y="105"/>
                    <a:pt x="180" y="108"/>
                  </a:cubicBezTo>
                  <a:cubicBezTo>
                    <a:pt x="177" y="110"/>
                    <a:pt x="174" y="112"/>
                    <a:pt x="175" y="114"/>
                  </a:cubicBezTo>
                  <a:cubicBezTo>
                    <a:pt x="175" y="117"/>
                    <a:pt x="170" y="118"/>
                    <a:pt x="174" y="120"/>
                  </a:cubicBezTo>
                  <a:cubicBezTo>
                    <a:pt x="179" y="122"/>
                    <a:pt x="176" y="122"/>
                    <a:pt x="176" y="126"/>
                  </a:cubicBezTo>
                  <a:cubicBezTo>
                    <a:pt x="176" y="131"/>
                    <a:pt x="178" y="131"/>
                    <a:pt x="180" y="131"/>
                  </a:cubicBezTo>
                  <a:cubicBezTo>
                    <a:pt x="183" y="131"/>
                    <a:pt x="186" y="130"/>
                    <a:pt x="185" y="134"/>
                  </a:cubicBezTo>
                  <a:cubicBezTo>
                    <a:pt x="184" y="138"/>
                    <a:pt x="181" y="138"/>
                    <a:pt x="185" y="140"/>
                  </a:cubicBezTo>
                  <a:cubicBezTo>
                    <a:pt x="188" y="141"/>
                    <a:pt x="200" y="141"/>
                    <a:pt x="195" y="147"/>
                  </a:cubicBezTo>
                  <a:cubicBezTo>
                    <a:pt x="191" y="154"/>
                    <a:pt x="177" y="154"/>
                    <a:pt x="189" y="159"/>
                  </a:cubicBezTo>
                  <a:cubicBezTo>
                    <a:pt x="202" y="163"/>
                    <a:pt x="224" y="173"/>
                    <a:pt x="219" y="180"/>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13" name="Freeform 1182">
              <a:extLst>
                <a:ext uri="{FF2B5EF4-FFF2-40B4-BE49-F238E27FC236}">
                  <a16:creationId xmlns:a16="http://schemas.microsoft.com/office/drawing/2014/main" id="{0A6C5440-0895-BD48-B914-75177A0C99FA}"/>
                </a:ext>
              </a:extLst>
            </p:cNvPr>
            <p:cNvSpPr>
              <a:spLocks/>
            </p:cNvSpPr>
            <p:nvPr/>
          </p:nvSpPr>
          <p:spPr bwMode="auto">
            <a:xfrm>
              <a:off x="4284676" y="871992"/>
              <a:ext cx="236538" cy="334963"/>
            </a:xfrm>
            <a:custGeom>
              <a:avLst/>
              <a:gdLst>
                <a:gd name="T0" fmla="*/ 244 w 248"/>
                <a:gd name="T1" fmla="*/ 79 h 351"/>
                <a:gd name="T2" fmla="*/ 229 w 248"/>
                <a:gd name="T3" fmla="*/ 82 h 351"/>
                <a:gd name="T4" fmla="*/ 215 w 248"/>
                <a:gd name="T5" fmla="*/ 80 h 351"/>
                <a:gd name="T6" fmla="*/ 204 w 248"/>
                <a:gd name="T7" fmla="*/ 90 h 351"/>
                <a:gd name="T8" fmla="*/ 194 w 248"/>
                <a:gd name="T9" fmla="*/ 106 h 351"/>
                <a:gd name="T10" fmla="*/ 190 w 248"/>
                <a:gd name="T11" fmla="*/ 122 h 351"/>
                <a:gd name="T12" fmla="*/ 171 w 248"/>
                <a:gd name="T13" fmla="*/ 133 h 351"/>
                <a:gd name="T14" fmla="*/ 156 w 248"/>
                <a:gd name="T15" fmla="*/ 142 h 351"/>
                <a:gd name="T16" fmla="*/ 141 w 248"/>
                <a:gd name="T17" fmla="*/ 154 h 351"/>
                <a:gd name="T18" fmla="*/ 125 w 248"/>
                <a:gd name="T19" fmla="*/ 166 h 351"/>
                <a:gd name="T20" fmla="*/ 128 w 248"/>
                <a:gd name="T21" fmla="*/ 182 h 351"/>
                <a:gd name="T22" fmla="*/ 126 w 248"/>
                <a:gd name="T23" fmla="*/ 207 h 351"/>
                <a:gd name="T24" fmla="*/ 145 w 248"/>
                <a:gd name="T25" fmla="*/ 213 h 351"/>
                <a:gd name="T26" fmla="*/ 159 w 248"/>
                <a:gd name="T27" fmla="*/ 223 h 351"/>
                <a:gd name="T28" fmla="*/ 153 w 248"/>
                <a:gd name="T29" fmla="*/ 238 h 351"/>
                <a:gd name="T30" fmla="*/ 145 w 248"/>
                <a:gd name="T31" fmla="*/ 251 h 351"/>
                <a:gd name="T32" fmla="*/ 125 w 248"/>
                <a:gd name="T33" fmla="*/ 255 h 351"/>
                <a:gd name="T34" fmla="*/ 118 w 248"/>
                <a:gd name="T35" fmla="*/ 269 h 351"/>
                <a:gd name="T36" fmla="*/ 115 w 248"/>
                <a:gd name="T37" fmla="*/ 287 h 351"/>
                <a:gd name="T38" fmla="*/ 112 w 248"/>
                <a:gd name="T39" fmla="*/ 308 h 351"/>
                <a:gd name="T40" fmla="*/ 103 w 248"/>
                <a:gd name="T41" fmla="*/ 325 h 351"/>
                <a:gd name="T42" fmla="*/ 82 w 248"/>
                <a:gd name="T43" fmla="*/ 327 h 351"/>
                <a:gd name="T44" fmla="*/ 68 w 248"/>
                <a:gd name="T45" fmla="*/ 337 h 351"/>
                <a:gd name="T46" fmla="*/ 64 w 248"/>
                <a:gd name="T47" fmla="*/ 343 h 351"/>
                <a:gd name="T48" fmla="*/ 48 w 248"/>
                <a:gd name="T49" fmla="*/ 345 h 351"/>
                <a:gd name="T50" fmla="*/ 42 w 248"/>
                <a:gd name="T51" fmla="*/ 333 h 351"/>
                <a:gd name="T52" fmla="*/ 35 w 248"/>
                <a:gd name="T53" fmla="*/ 318 h 351"/>
                <a:gd name="T54" fmla="*/ 31 w 248"/>
                <a:gd name="T55" fmla="*/ 305 h 351"/>
                <a:gd name="T56" fmla="*/ 16 w 248"/>
                <a:gd name="T57" fmla="*/ 281 h 351"/>
                <a:gd name="T58" fmla="*/ 9 w 248"/>
                <a:gd name="T59" fmla="*/ 269 h 351"/>
                <a:gd name="T60" fmla="*/ 1 w 248"/>
                <a:gd name="T61" fmla="*/ 250 h 351"/>
                <a:gd name="T62" fmla="*/ 8 w 248"/>
                <a:gd name="T63" fmla="*/ 249 h 351"/>
                <a:gd name="T64" fmla="*/ 16 w 248"/>
                <a:gd name="T65" fmla="*/ 248 h 351"/>
                <a:gd name="T66" fmla="*/ 18 w 248"/>
                <a:gd name="T67" fmla="*/ 232 h 351"/>
                <a:gd name="T68" fmla="*/ 29 w 248"/>
                <a:gd name="T69" fmla="*/ 223 h 351"/>
                <a:gd name="T70" fmla="*/ 29 w 248"/>
                <a:gd name="T71" fmla="*/ 208 h 351"/>
                <a:gd name="T72" fmla="*/ 34 w 248"/>
                <a:gd name="T73" fmla="*/ 196 h 351"/>
                <a:gd name="T74" fmla="*/ 28 w 248"/>
                <a:gd name="T75" fmla="*/ 184 h 351"/>
                <a:gd name="T76" fmla="*/ 24 w 248"/>
                <a:gd name="T77" fmla="*/ 162 h 351"/>
                <a:gd name="T78" fmla="*/ 22 w 248"/>
                <a:gd name="T79" fmla="*/ 142 h 351"/>
                <a:gd name="T80" fmla="*/ 35 w 248"/>
                <a:gd name="T81" fmla="*/ 122 h 351"/>
                <a:gd name="T82" fmla="*/ 59 w 248"/>
                <a:gd name="T83" fmla="*/ 112 h 351"/>
                <a:gd name="T84" fmla="*/ 66 w 248"/>
                <a:gd name="T85" fmla="*/ 88 h 351"/>
                <a:gd name="T86" fmla="*/ 83 w 248"/>
                <a:gd name="T87" fmla="*/ 65 h 351"/>
                <a:gd name="T88" fmla="*/ 100 w 248"/>
                <a:gd name="T89" fmla="*/ 45 h 351"/>
                <a:gd name="T90" fmla="*/ 111 w 248"/>
                <a:gd name="T91" fmla="*/ 24 h 351"/>
                <a:gd name="T92" fmla="*/ 131 w 248"/>
                <a:gd name="T93" fmla="*/ 13 h 351"/>
                <a:gd name="T94" fmla="*/ 155 w 248"/>
                <a:gd name="T95" fmla="*/ 16 h 351"/>
                <a:gd name="T96" fmla="*/ 167 w 248"/>
                <a:gd name="T97" fmla="*/ 7 h 351"/>
                <a:gd name="T98" fmla="*/ 179 w 248"/>
                <a:gd name="T99" fmla="*/ 0 h 351"/>
                <a:gd name="T100" fmla="*/ 205 w 248"/>
                <a:gd name="T101" fmla="*/ 14 h 351"/>
                <a:gd name="T102" fmla="*/ 232 w 248"/>
                <a:gd name="T103" fmla="*/ 27 h 351"/>
                <a:gd name="T104" fmla="*/ 237 w 248"/>
                <a:gd name="T105" fmla="*/ 42 h 351"/>
                <a:gd name="T106" fmla="*/ 241 w 248"/>
                <a:gd name="T107" fmla="*/ 58 h 351"/>
                <a:gd name="T108" fmla="*/ 248 w 248"/>
                <a:gd name="T109" fmla="*/ 79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8" h="351">
                  <a:moveTo>
                    <a:pt x="248" y="79"/>
                  </a:moveTo>
                  <a:cubicBezTo>
                    <a:pt x="246" y="79"/>
                    <a:pt x="244" y="79"/>
                    <a:pt x="244" y="79"/>
                  </a:cubicBezTo>
                  <a:cubicBezTo>
                    <a:pt x="243" y="80"/>
                    <a:pt x="236" y="81"/>
                    <a:pt x="236" y="81"/>
                  </a:cubicBezTo>
                  <a:cubicBezTo>
                    <a:pt x="229" y="82"/>
                    <a:pt x="229" y="82"/>
                    <a:pt x="229" y="82"/>
                  </a:cubicBezTo>
                  <a:cubicBezTo>
                    <a:pt x="221" y="79"/>
                    <a:pt x="221" y="79"/>
                    <a:pt x="221" y="79"/>
                  </a:cubicBezTo>
                  <a:cubicBezTo>
                    <a:pt x="221" y="79"/>
                    <a:pt x="216" y="80"/>
                    <a:pt x="215" y="80"/>
                  </a:cubicBezTo>
                  <a:cubicBezTo>
                    <a:pt x="215" y="81"/>
                    <a:pt x="210" y="81"/>
                    <a:pt x="211" y="84"/>
                  </a:cubicBezTo>
                  <a:cubicBezTo>
                    <a:pt x="212" y="86"/>
                    <a:pt x="207" y="89"/>
                    <a:pt x="204" y="90"/>
                  </a:cubicBezTo>
                  <a:cubicBezTo>
                    <a:pt x="201" y="92"/>
                    <a:pt x="197" y="97"/>
                    <a:pt x="197" y="97"/>
                  </a:cubicBezTo>
                  <a:cubicBezTo>
                    <a:pt x="197" y="97"/>
                    <a:pt x="191" y="104"/>
                    <a:pt x="194" y="106"/>
                  </a:cubicBezTo>
                  <a:cubicBezTo>
                    <a:pt x="196" y="107"/>
                    <a:pt x="202" y="109"/>
                    <a:pt x="201" y="112"/>
                  </a:cubicBezTo>
                  <a:cubicBezTo>
                    <a:pt x="200" y="115"/>
                    <a:pt x="190" y="119"/>
                    <a:pt x="190" y="122"/>
                  </a:cubicBezTo>
                  <a:cubicBezTo>
                    <a:pt x="190" y="124"/>
                    <a:pt x="185" y="128"/>
                    <a:pt x="183" y="130"/>
                  </a:cubicBezTo>
                  <a:cubicBezTo>
                    <a:pt x="180" y="132"/>
                    <a:pt x="174" y="130"/>
                    <a:pt x="171" y="133"/>
                  </a:cubicBezTo>
                  <a:cubicBezTo>
                    <a:pt x="168" y="135"/>
                    <a:pt x="161" y="136"/>
                    <a:pt x="160" y="137"/>
                  </a:cubicBezTo>
                  <a:cubicBezTo>
                    <a:pt x="158" y="139"/>
                    <a:pt x="156" y="141"/>
                    <a:pt x="156" y="142"/>
                  </a:cubicBezTo>
                  <a:cubicBezTo>
                    <a:pt x="156" y="144"/>
                    <a:pt x="148" y="142"/>
                    <a:pt x="146" y="146"/>
                  </a:cubicBezTo>
                  <a:cubicBezTo>
                    <a:pt x="144" y="149"/>
                    <a:pt x="144" y="150"/>
                    <a:pt x="141" y="154"/>
                  </a:cubicBezTo>
                  <a:cubicBezTo>
                    <a:pt x="138" y="158"/>
                    <a:pt x="134" y="157"/>
                    <a:pt x="134" y="159"/>
                  </a:cubicBezTo>
                  <a:cubicBezTo>
                    <a:pt x="134" y="162"/>
                    <a:pt x="123" y="165"/>
                    <a:pt x="125" y="166"/>
                  </a:cubicBezTo>
                  <a:cubicBezTo>
                    <a:pt x="127" y="167"/>
                    <a:pt x="133" y="167"/>
                    <a:pt x="128" y="172"/>
                  </a:cubicBezTo>
                  <a:cubicBezTo>
                    <a:pt x="124" y="178"/>
                    <a:pt x="136" y="178"/>
                    <a:pt x="128" y="182"/>
                  </a:cubicBezTo>
                  <a:cubicBezTo>
                    <a:pt x="121" y="187"/>
                    <a:pt x="122" y="188"/>
                    <a:pt x="122" y="195"/>
                  </a:cubicBezTo>
                  <a:cubicBezTo>
                    <a:pt x="122" y="202"/>
                    <a:pt x="116" y="206"/>
                    <a:pt x="126" y="207"/>
                  </a:cubicBezTo>
                  <a:cubicBezTo>
                    <a:pt x="136" y="208"/>
                    <a:pt x="137" y="205"/>
                    <a:pt x="139" y="209"/>
                  </a:cubicBezTo>
                  <a:cubicBezTo>
                    <a:pt x="140" y="213"/>
                    <a:pt x="142" y="209"/>
                    <a:pt x="145" y="213"/>
                  </a:cubicBezTo>
                  <a:cubicBezTo>
                    <a:pt x="147" y="216"/>
                    <a:pt x="148" y="213"/>
                    <a:pt x="151" y="218"/>
                  </a:cubicBezTo>
                  <a:cubicBezTo>
                    <a:pt x="155" y="222"/>
                    <a:pt x="157" y="220"/>
                    <a:pt x="159" y="223"/>
                  </a:cubicBezTo>
                  <a:cubicBezTo>
                    <a:pt x="161" y="227"/>
                    <a:pt x="164" y="228"/>
                    <a:pt x="162" y="232"/>
                  </a:cubicBezTo>
                  <a:cubicBezTo>
                    <a:pt x="159" y="237"/>
                    <a:pt x="153" y="234"/>
                    <a:pt x="153" y="238"/>
                  </a:cubicBezTo>
                  <a:cubicBezTo>
                    <a:pt x="153" y="242"/>
                    <a:pt x="145" y="245"/>
                    <a:pt x="146" y="247"/>
                  </a:cubicBezTo>
                  <a:cubicBezTo>
                    <a:pt x="147" y="248"/>
                    <a:pt x="152" y="250"/>
                    <a:pt x="145" y="251"/>
                  </a:cubicBezTo>
                  <a:cubicBezTo>
                    <a:pt x="138" y="253"/>
                    <a:pt x="138" y="250"/>
                    <a:pt x="134" y="253"/>
                  </a:cubicBezTo>
                  <a:cubicBezTo>
                    <a:pt x="130" y="255"/>
                    <a:pt x="128" y="252"/>
                    <a:pt x="125" y="255"/>
                  </a:cubicBezTo>
                  <a:cubicBezTo>
                    <a:pt x="122" y="259"/>
                    <a:pt x="119" y="262"/>
                    <a:pt x="118" y="264"/>
                  </a:cubicBezTo>
                  <a:cubicBezTo>
                    <a:pt x="118" y="265"/>
                    <a:pt x="117" y="267"/>
                    <a:pt x="118" y="269"/>
                  </a:cubicBezTo>
                  <a:cubicBezTo>
                    <a:pt x="120" y="272"/>
                    <a:pt x="121" y="271"/>
                    <a:pt x="118" y="276"/>
                  </a:cubicBezTo>
                  <a:cubicBezTo>
                    <a:pt x="115" y="282"/>
                    <a:pt x="113" y="285"/>
                    <a:pt x="115" y="287"/>
                  </a:cubicBezTo>
                  <a:cubicBezTo>
                    <a:pt x="116" y="288"/>
                    <a:pt x="116" y="288"/>
                    <a:pt x="115" y="294"/>
                  </a:cubicBezTo>
                  <a:cubicBezTo>
                    <a:pt x="114" y="300"/>
                    <a:pt x="113" y="303"/>
                    <a:pt x="112" y="308"/>
                  </a:cubicBezTo>
                  <a:cubicBezTo>
                    <a:pt x="111" y="312"/>
                    <a:pt x="111" y="312"/>
                    <a:pt x="109" y="317"/>
                  </a:cubicBezTo>
                  <a:cubicBezTo>
                    <a:pt x="106" y="322"/>
                    <a:pt x="107" y="325"/>
                    <a:pt x="103" y="325"/>
                  </a:cubicBezTo>
                  <a:cubicBezTo>
                    <a:pt x="99" y="326"/>
                    <a:pt x="92" y="326"/>
                    <a:pt x="88" y="326"/>
                  </a:cubicBezTo>
                  <a:cubicBezTo>
                    <a:pt x="84" y="327"/>
                    <a:pt x="82" y="325"/>
                    <a:pt x="82" y="327"/>
                  </a:cubicBezTo>
                  <a:cubicBezTo>
                    <a:pt x="81" y="328"/>
                    <a:pt x="73" y="326"/>
                    <a:pt x="72" y="328"/>
                  </a:cubicBezTo>
                  <a:cubicBezTo>
                    <a:pt x="70" y="330"/>
                    <a:pt x="67" y="335"/>
                    <a:pt x="68" y="337"/>
                  </a:cubicBezTo>
                  <a:cubicBezTo>
                    <a:pt x="68" y="338"/>
                    <a:pt x="70" y="340"/>
                    <a:pt x="69" y="342"/>
                  </a:cubicBezTo>
                  <a:cubicBezTo>
                    <a:pt x="67" y="343"/>
                    <a:pt x="66" y="344"/>
                    <a:pt x="64" y="343"/>
                  </a:cubicBezTo>
                  <a:cubicBezTo>
                    <a:pt x="61" y="343"/>
                    <a:pt x="61" y="341"/>
                    <a:pt x="56" y="343"/>
                  </a:cubicBezTo>
                  <a:cubicBezTo>
                    <a:pt x="51" y="345"/>
                    <a:pt x="52" y="344"/>
                    <a:pt x="48" y="345"/>
                  </a:cubicBezTo>
                  <a:cubicBezTo>
                    <a:pt x="44" y="345"/>
                    <a:pt x="33" y="351"/>
                    <a:pt x="39" y="343"/>
                  </a:cubicBezTo>
                  <a:cubicBezTo>
                    <a:pt x="46" y="336"/>
                    <a:pt x="44" y="336"/>
                    <a:pt x="42" y="333"/>
                  </a:cubicBezTo>
                  <a:cubicBezTo>
                    <a:pt x="39" y="331"/>
                    <a:pt x="36" y="333"/>
                    <a:pt x="35" y="328"/>
                  </a:cubicBezTo>
                  <a:cubicBezTo>
                    <a:pt x="35" y="323"/>
                    <a:pt x="31" y="322"/>
                    <a:pt x="35" y="318"/>
                  </a:cubicBezTo>
                  <a:cubicBezTo>
                    <a:pt x="40" y="315"/>
                    <a:pt x="46" y="315"/>
                    <a:pt x="39" y="312"/>
                  </a:cubicBezTo>
                  <a:cubicBezTo>
                    <a:pt x="33" y="309"/>
                    <a:pt x="34" y="314"/>
                    <a:pt x="31" y="305"/>
                  </a:cubicBezTo>
                  <a:cubicBezTo>
                    <a:pt x="27" y="296"/>
                    <a:pt x="22" y="294"/>
                    <a:pt x="21" y="291"/>
                  </a:cubicBezTo>
                  <a:cubicBezTo>
                    <a:pt x="19" y="288"/>
                    <a:pt x="15" y="285"/>
                    <a:pt x="16" y="281"/>
                  </a:cubicBezTo>
                  <a:cubicBezTo>
                    <a:pt x="17" y="277"/>
                    <a:pt x="20" y="277"/>
                    <a:pt x="16" y="275"/>
                  </a:cubicBezTo>
                  <a:cubicBezTo>
                    <a:pt x="12" y="273"/>
                    <a:pt x="13" y="274"/>
                    <a:pt x="9" y="269"/>
                  </a:cubicBezTo>
                  <a:cubicBezTo>
                    <a:pt x="5" y="264"/>
                    <a:pt x="4" y="268"/>
                    <a:pt x="4" y="261"/>
                  </a:cubicBezTo>
                  <a:cubicBezTo>
                    <a:pt x="5" y="254"/>
                    <a:pt x="0" y="251"/>
                    <a:pt x="1" y="250"/>
                  </a:cubicBezTo>
                  <a:cubicBezTo>
                    <a:pt x="2" y="249"/>
                    <a:pt x="8" y="251"/>
                    <a:pt x="5" y="248"/>
                  </a:cubicBezTo>
                  <a:cubicBezTo>
                    <a:pt x="6" y="247"/>
                    <a:pt x="7" y="247"/>
                    <a:pt x="8" y="249"/>
                  </a:cubicBezTo>
                  <a:cubicBezTo>
                    <a:pt x="10" y="251"/>
                    <a:pt x="11" y="252"/>
                    <a:pt x="13" y="253"/>
                  </a:cubicBezTo>
                  <a:cubicBezTo>
                    <a:pt x="14" y="253"/>
                    <a:pt x="15" y="251"/>
                    <a:pt x="16" y="248"/>
                  </a:cubicBezTo>
                  <a:cubicBezTo>
                    <a:pt x="17" y="245"/>
                    <a:pt x="18" y="242"/>
                    <a:pt x="17" y="239"/>
                  </a:cubicBezTo>
                  <a:cubicBezTo>
                    <a:pt x="16" y="236"/>
                    <a:pt x="16" y="236"/>
                    <a:pt x="18" y="232"/>
                  </a:cubicBezTo>
                  <a:cubicBezTo>
                    <a:pt x="19" y="228"/>
                    <a:pt x="17" y="228"/>
                    <a:pt x="22" y="227"/>
                  </a:cubicBezTo>
                  <a:cubicBezTo>
                    <a:pt x="26" y="225"/>
                    <a:pt x="26" y="228"/>
                    <a:pt x="29" y="223"/>
                  </a:cubicBezTo>
                  <a:cubicBezTo>
                    <a:pt x="31" y="219"/>
                    <a:pt x="32" y="215"/>
                    <a:pt x="32" y="213"/>
                  </a:cubicBezTo>
                  <a:cubicBezTo>
                    <a:pt x="32" y="211"/>
                    <a:pt x="31" y="212"/>
                    <a:pt x="29" y="208"/>
                  </a:cubicBezTo>
                  <a:cubicBezTo>
                    <a:pt x="27" y="204"/>
                    <a:pt x="24" y="201"/>
                    <a:pt x="27" y="199"/>
                  </a:cubicBezTo>
                  <a:cubicBezTo>
                    <a:pt x="30" y="197"/>
                    <a:pt x="31" y="199"/>
                    <a:pt x="34" y="196"/>
                  </a:cubicBezTo>
                  <a:cubicBezTo>
                    <a:pt x="38" y="193"/>
                    <a:pt x="41" y="191"/>
                    <a:pt x="37" y="188"/>
                  </a:cubicBezTo>
                  <a:cubicBezTo>
                    <a:pt x="33" y="186"/>
                    <a:pt x="32" y="186"/>
                    <a:pt x="28" y="184"/>
                  </a:cubicBezTo>
                  <a:cubicBezTo>
                    <a:pt x="25" y="182"/>
                    <a:pt x="24" y="176"/>
                    <a:pt x="24" y="173"/>
                  </a:cubicBezTo>
                  <a:cubicBezTo>
                    <a:pt x="24" y="171"/>
                    <a:pt x="25" y="167"/>
                    <a:pt x="24" y="162"/>
                  </a:cubicBezTo>
                  <a:cubicBezTo>
                    <a:pt x="22" y="157"/>
                    <a:pt x="17" y="156"/>
                    <a:pt x="20" y="152"/>
                  </a:cubicBezTo>
                  <a:cubicBezTo>
                    <a:pt x="23" y="149"/>
                    <a:pt x="24" y="146"/>
                    <a:pt x="22" y="142"/>
                  </a:cubicBezTo>
                  <a:cubicBezTo>
                    <a:pt x="20" y="138"/>
                    <a:pt x="21" y="134"/>
                    <a:pt x="23" y="131"/>
                  </a:cubicBezTo>
                  <a:cubicBezTo>
                    <a:pt x="26" y="127"/>
                    <a:pt x="31" y="123"/>
                    <a:pt x="35" y="122"/>
                  </a:cubicBezTo>
                  <a:cubicBezTo>
                    <a:pt x="39" y="122"/>
                    <a:pt x="58" y="122"/>
                    <a:pt x="59" y="119"/>
                  </a:cubicBezTo>
                  <a:cubicBezTo>
                    <a:pt x="60" y="117"/>
                    <a:pt x="62" y="115"/>
                    <a:pt x="59" y="112"/>
                  </a:cubicBezTo>
                  <a:cubicBezTo>
                    <a:pt x="55" y="109"/>
                    <a:pt x="47" y="111"/>
                    <a:pt x="52" y="106"/>
                  </a:cubicBezTo>
                  <a:cubicBezTo>
                    <a:pt x="56" y="102"/>
                    <a:pt x="66" y="92"/>
                    <a:pt x="66" y="88"/>
                  </a:cubicBezTo>
                  <a:cubicBezTo>
                    <a:pt x="66" y="84"/>
                    <a:pt x="66" y="71"/>
                    <a:pt x="68" y="71"/>
                  </a:cubicBezTo>
                  <a:cubicBezTo>
                    <a:pt x="70" y="71"/>
                    <a:pt x="82" y="68"/>
                    <a:pt x="83" y="65"/>
                  </a:cubicBezTo>
                  <a:cubicBezTo>
                    <a:pt x="84" y="63"/>
                    <a:pt x="85" y="60"/>
                    <a:pt x="90" y="56"/>
                  </a:cubicBezTo>
                  <a:cubicBezTo>
                    <a:pt x="95" y="53"/>
                    <a:pt x="102" y="50"/>
                    <a:pt x="100" y="45"/>
                  </a:cubicBezTo>
                  <a:cubicBezTo>
                    <a:pt x="98" y="41"/>
                    <a:pt x="97" y="37"/>
                    <a:pt x="100" y="34"/>
                  </a:cubicBezTo>
                  <a:cubicBezTo>
                    <a:pt x="103" y="32"/>
                    <a:pt x="108" y="24"/>
                    <a:pt x="111" y="24"/>
                  </a:cubicBezTo>
                  <a:cubicBezTo>
                    <a:pt x="114" y="24"/>
                    <a:pt x="130" y="25"/>
                    <a:pt x="131" y="23"/>
                  </a:cubicBezTo>
                  <a:cubicBezTo>
                    <a:pt x="131" y="21"/>
                    <a:pt x="124" y="13"/>
                    <a:pt x="131" y="13"/>
                  </a:cubicBezTo>
                  <a:cubicBezTo>
                    <a:pt x="137" y="13"/>
                    <a:pt x="138" y="12"/>
                    <a:pt x="144" y="13"/>
                  </a:cubicBezTo>
                  <a:cubicBezTo>
                    <a:pt x="150" y="14"/>
                    <a:pt x="151" y="16"/>
                    <a:pt x="155" y="16"/>
                  </a:cubicBezTo>
                  <a:cubicBezTo>
                    <a:pt x="159" y="16"/>
                    <a:pt x="163" y="16"/>
                    <a:pt x="165" y="14"/>
                  </a:cubicBezTo>
                  <a:cubicBezTo>
                    <a:pt x="168" y="12"/>
                    <a:pt x="165" y="9"/>
                    <a:pt x="167" y="7"/>
                  </a:cubicBezTo>
                  <a:cubicBezTo>
                    <a:pt x="169" y="5"/>
                    <a:pt x="167" y="3"/>
                    <a:pt x="169" y="2"/>
                  </a:cubicBezTo>
                  <a:cubicBezTo>
                    <a:pt x="171" y="1"/>
                    <a:pt x="174" y="1"/>
                    <a:pt x="179" y="0"/>
                  </a:cubicBezTo>
                  <a:cubicBezTo>
                    <a:pt x="179" y="2"/>
                    <a:pt x="180" y="4"/>
                    <a:pt x="184" y="6"/>
                  </a:cubicBezTo>
                  <a:cubicBezTo>
                    <a:pt x="190" y="10"/>
                    <a:pt x="199" y="13"/>
                    <a:pt x="205" y="14"/>
                  </a:cubicBezTo>
                  <a:cubicBezTo>
                    <a:pt x="211" y="16"/>
                    <a:pt x="213" y="14"/>
                    <a:pt x="220" y="19"/>
                  </a:cubicBezTo>
                  <a:cubicBezTo>
                    <a:pt x="227" y="23"/>
                    <a:pt x="234" y="25"/>
                    <a:pt x="232" y="27"/>
                  </a:cubicBezTo>
                  <a:cubicBezTo>
                    <a:pt x="230" y="30"/>
                    <a:pt x="225" y="36"/>
                    <a:pt x="229" y="38"/>
                  </a:cubicBezTo>
                  <a:cubicBezTo>
                    <a:pt x="233" y="40"/>
                    <a:pt x="240" y="39"/>
                    <a:pt x="237" y="42"/>
                  </a:cubicBezTo>
                  <a:cubicBezTo>
                    <a:pt x="233" y="45"/>
                    <a:pt x="228" y="44"/>
                    <a:pt x="232" y="48"/>
                  </a:cubicBezTo>
                  <a:cubicBezTo>
                    <a:pt x="237" y="53"/>
                    <a:pt x="244" y="53"/>
                    <a:pt x="241" y="58"/>
                  </a:cubicBezTo>
                  <a:cubicBezTo>
                    <a:pt x="238" y="62"/>
                    <a:pt x="235" y="67"/>
                    <a:pt x="237" y="69"/>
                  </a:cubicBezTo>
                  <a:cubicBezTo>
                    <a:pt x="239" y="70"/>
                    <a:pt x="247" y="76"/>
                    <a:pt x="248" y="79"/>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14" name="Freeform 1183">
              <a:extLst>
                <a:ext uri="{FF2B5EF4-FFF2-40B4-BE49-F238E27FC236}">
                  <a16:creationId xmlns:a16="http://schemas.microsoft.com/office/drawing/2014/main" id="{314074E3-C444-6A4C-BE29-2E389D61AFAD}"/>
                </a:ext>
              </a:extLst>
            </p:cNvPr>
            <p:cNvSpPr>
              <a:spLocks/>
            </p:cNvSpPr>
            <p:nvPr/>
          </p:nvSpPr>
          <p:spPr bwMode="auto">
            <a:xfrm>
              <a:off x="4392626" y="1151393"/>
              <a:ext cx="11113" cy="30163"/>
            </a:xfrm>
            <a:custGeom>
              <a:avLst/>
              <a:gdLst>
                <a:gd name="T0" fmla="*/ 12 w 13"/>
                <a:gd name="T1" fmla="*/ 5 h 31"/>
                <a:gd name="T2" fmla="*/ 9 w 13"/>
                <a:gd name="T3" fmla="*/ 19 h 31"/>
                <a:gd name="T4" fmla="*/ 6 w 13"/>
                <a:gd name="T5" fmla="*/ 28 h 31"/>
                <a:gd name="T6" fmla="*/ 0 w 13"/>
                <a:gd name="T7" fmla="*/ 28 h 31"/>
                <a:gd name="T8" fmla="*/ 3 w 13"/>
                <a:gd name="T9" fmla="*/ 19 h 31"/>
                <a:gd name="T10" fmla="*/ 6 w 13"/>
                <a:gd name="T11" fmla="*/ 12 h 31"/>
                <a:gd name="T12" fmla="*/ 9 w 13"/>
                <a:gd name="T13" fmla="*/ 3 h 31"/>
                <a:gd name="T14" fmla="*/ 12 w 13"/>
                <a:gd name="T15" fmla="*/ 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31">
                  <a:moveTo>
                    <a:pt x="12" y="5"/>
                  </a:moveTo>
                  <a:cubicBezTo>
                    <a:pt x="11" y="8"/>
                    <a:pt x="11" y="14"/>
                    <a:pt x="9" y="19"/>
                  </a:cubicBezTo>
                  <a:cubicBezTo>
                    <a:pt x="7" y="24"/>
                    <a:pt x="11" y="26"/>
                    <a:pt x="6" y="28"/>
                  </a:cubicBezTo>
                  <a:cubicBezTo>
                    <a:pt x="2" y="30"/>
                    <a:pt x="0" y="31"/>
                    <a:pt x="0" y="28"/>
                  </a:cubicBezTo>
                  <a:cubicBezTo>
                    <a:pt x="0" y="25"/>
                    <a:pt x="2" y="23"/>
                    <a:pt x="3" y="19"/>
                  </a:cubicBezTo>
                  <a:cubicBezTo>
                    <a:pt x="4" y="15"/>
                    <a:pt x="5" y="15"/>
                    <a:pt x="6" y="12"/>
                  </a:cubicBezTo>
                  <a:cubicBezTo>
                    <a:pt x="7" y="8"/>
                    <a:pt x="7" y="6"/>
                    <a:pt x="9" y="3"/>
                  </a:cubicBezTo>
                  <a:cubicBezTo>
                    <a:pt x="10" y="0"/>
                    <a:pt x="13" y="0"/>
                    <a:pt x="12" y="5"/>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15" name="Freeform 1184">
              <a:extLst>
                <a:ext uri="{FF2B5EF4-FFF2-40B4-BE49-F238E27FC236}">
                  <a16:creationId xmlns:a16="http://schemas.microsoft.com/office/drawing/2014/main" id="{511700E9-0684-B443-A43A-5A585DFE6BDC}"/>
                </a:ext>
              </a:extLst>
            </p:cNvPr>
            <p:cNvSpPr>
              <a:spLocks/>
            </p:cNvSpPr>
            <p:nvPr/>
          </p:nvSpPr>
          <p:spPr bwMode="auto">
            <a:xfrm>
              <a:off x="4422789" y="1137105"/>
              <a:ext cx="22225" cy="25400"/>
            </a:xfrm>
            <a:custGeom>
              <a:avLst/>
              <a:gdLst>
                <a:gd name="T0" fmla="*/ 1 w 23"/>
                <a:gd name="T1" fmla="*/ 13 h 27"/>
                <a:gd name="T2" fmla="*/ 2 w 23"/>
                <a:gd name="T3" fmla="*/ 20 h 27"/>
                <a:gd name="T4" fmla="*/ 3 w 23"/>
                <a:gd name="T5" fmla="*/ 26 h 27"/>
                <a:gd name="T6" fmla="*/ 8 w 23"/>
                <a:gd name="T7" fmla="*/ 24 h 27"/>
                <a:gd name="T8" fmla="*/ 13 w 23"/>
                <a:gd name="T9" fmla="*/ 18 h 27"/>
                <a:gd name="T10" fmla="*/ 17 w 23"/>
                <a:gd name="T11" fmla="*/ 11 h 27"/>
                <a:gd name="T12" fmla="*/ 18 w 23"/>
                <a:gd name="T13" fmla="*/ 5 h 27"/>
                <a:gd name="T14" fmla="*/ 20 w 23"/>
                <a:gd name="T15" fmla="*/ 0 h 27"/>
                <a:gd name="T16" fmla="*/ 11 w 23"/>
                <a:gd name="T17" fmla="*/ 2 h 27"/>
                <a:gd name="T18" fmla="*/ 3 w 23"/>
                <a:gd name="T19" fmla="*/ 6 h 27"/>
                <a:gd name="T20" fmla="*/ 1 w 23"/>
                <a:gd name="T21" fmla="*/ 10 h 27"/>
                <a:gd name="T22" fmla="*/ 1 w 23"/>
                <a:gd name="T23"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27">
                  <a:moveTo>
                    <a:pt x="1" y="13"/>
                  </a:moveTo>
                  <a:cubicBezTo>
                    <a:pt x="1" y="17"/>
                    <a:pt x="0" y="18"/>
                    <a:pt x="2" y="20"/>
                  </a:cubicBezTo>
                  <a:cubicBezTo>
                    <a:pt x="3" y="23"/>
                    <a:pt x="2" y="25"/>
                    <a:pt x="3" y="26"/>
                  </a:cubicBezTo>
                  <a:cubicBezTo>
                    <a:pt x="5" y="27"/>
                    <a:pt x="7" y="25"/>
                    <a:pt x="8" y="24"/>
                  </a:cubicBezTo>
                  <a:cubicBezTo>
                    <a:pt x="10" y="22"/>
                    <a:pt x="12" y="19"/>
                    <a:pt x="13" y="18"/>
                  </a:cubicBezTo>
                  <a:cubicBezTo>
                    <a:pt x="13" y="17"/>
                    <a:pt x="20" y="13"/>
                    <a:pt x="17" y="11"/>
                  </a:cubicBezTo>
                  <a:cubicBezTo>
                    <a:pt x="15" y="9"/>
                    <a:pt x="16" y="6"/>
                    <a:pt x="18" y="5"/>
                  </a:cubicBezTo>
                  <a:cubicBezTo>
                    <a:pt x="20" y="3"/>
                    <a:pt x="23" y="0"/>
                    <a:pt x="20" y="0"/>
                  </a:cubicBezTo>
                  <a:cubicBezTo>
                    <a:pt x="17" y="0"/>
                    <a:pt x="13" y="1"/>
                    <a:pt x="11" y="2"/>
                  </a:cubicBezTo>
                  <a:cubicBezTo>
                    <a:pt x="8" y="4"/>
                    <a:pt x="3" y="3"/>
                    <a:pt x="3" y="6"/>
                  </a:cubicBezTo>
                  <a:cubicBezTo>
                    <a:pt x="2" y="8"/>
                    <a:pt x="1" y="10"/>
                    <a:pt x="1" y="10"/>
                  </a:cubicBezTo>
                  <a:cubicBezTo>
                    <a:pt x="1" y="10"/>
                    <a:pt x="0" y="11"/>
                    <a:pt x="1" y="1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16" name="Freeform 1185">
              <a:extLst>
                <a:ext uri="{FF2B5EF4-FFF2-40B4-BE49-F238E27FC236}">
                  <a16:creationId xmlns:a16="http://schemas.microsoft.com/office/drawing/2014/main" id="{94A60450-6CC4-384F-BAD1-351817B4B388}"/>
                </a:ext>
              </a:extLst>
            </p:cNvPr>
            <p:cNvSpPr>
              <a:spLocks/>
            </p:cNvSpPr>
            <p:nvPr/>
          </p:nvSpPr>
          <p:spPr bwMode="auto">
            <a:xfrm>
              <a:off x="4283089" y="1181555"/>
              <a:ext cx="34925" cy="39688"/>
            </a:xfrm>
            <a:custGeom>
              <a:avLst/>
              <a:gdLst>
                <a:gd name="T0" fmla="*/ 9 w 38"/>
                <a:gd name="T1" fmla="*/ 20 h 42"/>
                <a:gd name="T2" fmla="*/ 6 w 38"/>
                <a:gd name="T3" fmla="*/ 12 h 42"/>
                <a:gd name="T4" fmla="*/ 13 w 38"/>
                <a:gd name="T5" fmla="*/ 5 h 42"/>
                <a:gd name="T6" fmla="*/ 21 w 38"/>
                <a:gd name="T7" fmla="*/ 11 h 42"/>
                <a:gd name="T8" fmla="*/ 29 w 38"/>
                <a:gd name="T9" fmla="*/ 3 h 42"/>
                <a:gd name="T10" fmla="*/ 35 w 38"/>
                <a:gd name="T11" fmla="*/ 11 h 42"/>
                <a:gd name="T12" fmla="*/ 29 w 38"/>
                <a:gd name="T13" fmla="*/ 23 h 42"/>
                <a:gd name="T14" fmla="*/ 28 w 38"/>
                <a:gd name="T15" fmla="*/ 29 h 42"/>
                <a:gd name="T16" fmla="*/ 26 w 38"/>
                <a:gd name="T17" fmla="*/ 40 h 42"/>
                <a:gd name="T18" fmla="*/ 15 w 38"/>
                <a:gd name="T19" fmla="*/ 40 h 42"/>
                <a:gd name="T20" fmla="*/ 6 w 38"/>
                <a:gd name="T21" fmla="*/ 32 h 42"/>
                <a:gd name="T22" fmla="*/ 21 w 38"/>
                <a:gd name="T23" fmla="*/ 35 h 42"/>
                <a:gd name="T24" fmla="*/ 16 w 38"/>
                <a:gd name="T25" fmla="*/ 25 h 42"/>
                <a:gd name="T26" fmla="*/ 9 w 38"/>
                <a:gd name="T27"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42">
                  <a:moveTo>
                    <a:pt x="9" y="20"/>
                  </a:moveTo>
                  <a:cubicBezTo>
                    <a:pt x="5" y="15"/>
                    <a:pt x="2" y="14"/>
                    <a:pt x="6" y="12"/>
                  </a:cubicBezTo>
                  <a:cubicBezTo>
                    <a:pt x="9" y="10"/>
                    <a:pt x="10" y="3"/>
                    <a:pt x="13" y="5"/>
                  </a:cubicBezTo>
                  <a:cubicBezTo>
                    <a:pt x="17" y="8"/>
                    <a:pt x="17" y="16"/>
                    <a:pt x="21" y="11"/>
                  </a:cubicBezTo>
                  <a:cubicBezTo>
                    <a:pt x="24" y="6"/>
                    <a:pt x="28" y="0"/>
                    <a:pt x="29" y="3"/>
                  </a:cubicBezTo>
                  <a:cubicBezTo>
                    <a:pt x="30" y="7"/>
                    <a:pt x="38" y="7"/>
                    <a:pt x="35" y="11"/>
                  </a:cubicBezTo>
                  <a:cubicBezTo>
                    <a:pt x="32" y="15"/>
                    <a:pt x="29" y="21"/>
                    <a:pt x="29" y="23"/>
                  </a:cubicBezTo>
                  <a:cubicBezTo>
                    <a:pt x="30" y="25"/>
                    <a:pt x="29" y="27"/>
                    <a:pt x="28" y="29"/>
                  </a:cubicBezTo>
                  <a:cubicBezTo>
                    <a:pt x="26" y="31"/>
                    <a:pt x="29" y="39"/>
                    <a:pt x="26" y="40"/>
                  </a:cubicBezTo>
                  <a:cubicBezTo>
                    <a:pt x="24" y="41"/>
                    <a:pt x="21" y="42"/>
                    <a:pt x="15" y="40"/>
                  </a:cubicBezTo>
                  <a:cubicBezTo>
                    <a:pt x="10" y="38"/>
                    <a:pt x="0" y="31"/>
                    <a:pt x="6" y="32"/>
                  </a:cubicBezTo>
                  <a:cubicBezTo>
                    <a:pt x="12" y="32"/>
                    <a:pt x="18" y="42"/>
                    <a:pt x="21" y="35"/>
                  </a:cubicBezTo>
                  <a:cubicBezTo>
                    <a:pt x="24" y="28"/>
                    <a:pt x="20" y="25"/>
                    <a:pt x="16" y="25"/>
                  </a:cubicBezTo>
                  <a:cubicBezTo>
                    <a:pt x="12" y="25"/>
                    <a:pt x="6" y="20"/>
                    <a:pt x="9" y="20"/>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17" name="Freeform 1186">
              <a:extLst>
                <a:ext uri="{FF2B5EF4-FFF2-40B4-BE49-F238E27FC236}">
                  <a16:creationId xmlns:a16="http://schemas.microsoft.com/office/drawing/2014/main" id="{DF1300A1-07A8-A143-8A0B-440DB8BF21DB}"/>
                </a:ext>
              </a:extLst>
            </p:cNvPr>
            <p:cNvSpPr>
              <a:spLocks/>
            </p:cNvSpPr>
            <p:nvPr/>
          </p:nvSpPr>
          <p:spPr bwMode="auto">
            <a:xfrm>
              <a:off x="4264039" y="1195843"/>
              <a:ext cx="17463" cy="19050"/>
            </a:xfrm>
            <a:custGeom>
              <a:avLst/>
              <a:gdLst>
                <a:gd name="T0" fmla="*/ 12 w 18"/>
                <a:gd name="T1" fmla="*/ 0 h 21"/>
                <a:gd name="T2" fmla="*/ 17 w 18"/>
                <a:gd name="T3" fmla="*/ 5 h 21"/>
                <a:gd name="T4" fmla="*/ 18 w 18"/>
                <a:gd name="T5" fmla="*/ 11 h 21"/>
                <a:gd name="T6" fmla="*/ 15 w 18"/>
                <a:gd name="T7" fmla="*/ 17 h 21"/>
                <a:gd name="T8" fmla="*/ 10 w 18"/>
                <a:gd name="T9" fmla="*/ 13 h 21"/>
                <a:gd name="T10" fmla="*/ 4 w 18"/>
                <a:gd name="T11" fmla="*/ 12 h 21"/>
                <a:gd name="T12" fmla="*/ 0 w 18"/>
                <a:gd name="T13" fmla="*/ 8 h 21"/>
                <a:gd name="T14" fmla="*/ 3 w 18"/>
                <a:gd name="T15" fmla="*/ 2 h 21"/>
                <a:gd name="T16" fmla="*/ 7 w 18"/>
                <a:gd name="T17" fmla="*/ 0 h 21"/>
                <a:gd name="T18" fmla="*/ 12 w 18"/>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1">
                  <a:moveTo>
                    <a:pt x="12" y="0"/>
                  </a:moveTo>
                  <a:cubicBezTo>
                    <a:pt x="15" y="3"/>
                    <a:pt x="17" y="1"/>
                    <a:pt x="17" y="5"/>
                  </a:cubicBezTo>
                  <a:cubicBezTo>
                    <a:pt x="17" y="8"/>
                    <a:pt x="18" y="7"/>
                    <a:pt x="18" y="11"/>
                  </a:cubicBezTo>
                  <a:cubicBezTo>
                    <a:pt x="18" y="15"/>
                    <a:pt x="18" y="21"/>
                    <a:pt x="15" y="17"/>
                  </a:cubicBezTo>
                  <a:cubicBezTo>
                    <a:pt x="12" y="13"/>
                    <a:pt x="13" y="13"/>
                    <a:pt x="10" y="13"/>
                  </a:cubicBezTo>
                  <a:cubicBezTo>
                    <a:pt x="8" y="13"/>
                    <a:pt x="7" y="13"/>
                    <a:pt x="4" y="12"/>
                  </a:cubicBezTo>
                  <a:cubicBezTo>
                    <a:pt x="1" y="10"/>
                    <a:pt x="0" y="12"/>
                    <a:pt x="0" y="8"/>
                  </a:cubicBezTo>
                  <a:cubicBezTo>
                    <a:pt x="0" y="5"/>
                    <a:pt x="2" y="3"/>
                    <a:pt x="3" y="2"/>
                  </a:cubicBezTo>
                  <a:cubicBezTo>
                    <a:pt x="5" y="2"/>
                    <a:pt x="5" y="0"/>
                    <a:pt x="7" y="0"/>
                  </a:cubicBezTo>
                  <a:cubicBezTo>
                    <a:pt x="9" y="1"/>
                    <a:pt x="10" y="2"/>
                    <a:pt x="12" y="0"/>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18" name="Freeform 1187">
              <a:extLst>
                <a:ext uri="{FF2B5EF4-FFF2-40B4-BE49-F238E27FC236}">
                  <a16:creationId xmlns:a16="http://schemas.microsoft.com/office/drawing/2014/main" id="{2F51AF20-24C0-F64D-8BE1-12C6FCD06398}"/>
                </a:ext>
              </a:extLst>
            </p:cNvPr>
            <p:cNvSpPr>
              <a:spLocks/>
            </p:cNvSpPr>
            <p:nvPr/>
          </p:nvSpPr>
          <p:spPr bwMode="auto">
            <a:xfrm>
              <a:off x="4225938" y="1141868"/>
              <a:ext cx="58738" cy="74613"/>
            </a:xfrm>
            <a:custGeom>
              <a:avLst/>
              <a:gdLst>
                <a:gd name="T0" fmla="*/ 63 w 63"/>
                <a:gd name="T1" fmla="*/ 34 h 78"/>
                <a:gd name="T2" fmla="*/ 55 w 63"/>
                <a:gd name="T3" fmla="*/ 41 h 78"/>
                <a:gd name="T4" fmla="*/ 52 w 63"/>
                <a:gd name="T5" fmla="*/ 39 h 78"/>
                <a:gd name="T6" fmla="*/ 48 w 63"/>
                <a:gd name="T7" fmla="*/ 46 h 78"/>
                <a:gd name="T8" fmla="*/ 44 w 63"/>
                <a:gd name="T9" fmla="*/ 52 h 78"/>
                <a:gd name="T10" fmla="*/ 35 w 63"/>
                <a:gd name="T11" fmla="*/ 61 h 78"/>
                <a:gd name="T12" fmla="*/ 35 w 63"/>
                <a:gd name="T13" fmla="*/ 69 h 78"/>
                <a:gd name="T14" fmla="*/ 45 w 63"/>
                <a:gd name="T15" fmla="*/ 75 h 78"/>
                <a:gd name="T16" fmla="*/ 42 w 63"/>
                <a:gd name="T17" fmla="*/ 77 h 78"/>
                <a:gd name="T18" fmla="*/ 37 w 63"/>
                <a:gd name="T19" fmla="*/ 75 h 78"/>
                <a:gd name="T20" fmla="*/ 31 w 63"/>
                <a:gd name="T21" fmla="*/ 77 h 78"/>
                <a:gd name="T22" fmla="*/ 26 w 63"/>
                <a:gd name="T23" fmla="*/ 76 h 78"/>
                <a:gd name="T24" fmla="*/ 19 w 63"/>
                <a:gd name="T25" fmla="*/ 74 h 78"/>
                <a:gd name="T26" fmla="*/ 14 w 63"/>
                <a:gd name="T27" fmla="*/ 74 h 78"/>
                <a:gd name="T28" fmla="*/ 16 w 63"/>
                <a:gd name="T29" fmla="*/ 71 h 78"/>
                <a:gd name="T30" fmla="*/ 13 w 63"/>
                <a:gd name="T31" fmla="*/ 62 h 78"/>
                <a:gd name="T32" fmla="*/ 6 w 63"/>
                <a:gd name="T33" fmla="*/ 56 h 78"/>
                <a:gd name="T34" fmla="*/ 6 w 63"/>
                <a:gd name="T35" fmla="*/ 48 h 78"/>
                <a:gd name="T36" fmla="*/ 8 w 63"/>
                <a:gd name="T37" fmla="*/ 44 h 78"/>
                <a:gd name="T38" fmla="*/ 4 w 63"/>
                <a:gd name="T39" fmla="*/ 33 h 78"/>
                <a:gd name="T40" fmla="*/ 9 w 63"/>
                <a:gd name="T41" fmla="*/ 23 h 78"/>
                <a:gd name="T42" fmla="*/ 18 w 63"/>
                <a:gd name="T43" fmla="*/ 14 h 78"/>
                <a:gd name="T44" fmla="*/ 28 w 63"/>
                <a:gd name="T45" fmla="*/ 14 h 78"/>
                <a:gd name="T46" fmla="*/ 20 w 63"/>
                <a:gd name="T47" fmla="*/ 21 h 78"/>
                <a:gd name="T48" fmla="*/ 29 w 63"/>
                <a:gd name="T49" fmla="*/ 24 h 78"/>
                <a:gd name="T50" fmla="*/ 35 w 63"/>
                <a:gd name="T51" fmla="*/ 12 h 78"/>
                <a:gd name="T52" fmla="*/ 41 w 63"/>
                <a:gd name="T53" fmla="*/ 4 h 78"/>
                <a:gd name="T54" fmla="*/ 51 w 63"/>
                <a:gd name="T55" fmla="*/ 2 h 78"/>
                <a:gd name="T56" fmla="*/ 54 w 63"/>
                <a:gd name="T57" fmla="*/ 7 h 78"/>
                <a:gd name="T58" fmla="*/ 50 w 63"/>
                <a:gd name="T59" fmla="*/ 19 h 78"/>
                <a:gd name="T60" fmla="*/ 50 w 63"/>
                <a:gd name="T61" fmla="*/ 28 h 78"/>
                <a:gd name="T62" fmla="*/ 63 w 63"/>
                <a:gd name="T6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78">
                  <a:moveTo>
                    <a:pt x="63" y="34"/>
                  </a:moveTo>
                  <a:cubicBezTo>
                    <a:pt x="63" y="37"/>
                    <a:pt x="56" y="41"/>
                    <a:pt x="55" y="41"/>
                  </a:cubicBezTo>
                  <a:cubicBezTo>
                    <a:pt x="54" y="41"/>
                    <a:pt x="55" y="37"/>
                    <a:pt x="52" y="39"/>
                  </a:cubicBezTo>
                  <a:cubicBezTo>
                    <a:pt x="49" y="41"/>
                    <a:pt x="49" y="43"/>
                    <a:pt x="48" y="46"/>
                  </a:cubicBezTo>
                  <a:cubicBezTo>
                    <a:pt x="47" y="50"/>
                    <a:pt x="48" y="48"/>
                    <a:pt x="44" y="52"/>
                  </a:cubicBezTo>
                  <a:cubicBezTo>
                    <a:pt x="40" y="56"/>
                    <a:pt x="35" y="56"/>
                    <a:pt x="35" y="61"/>
                  </a:cubicBezTo>
                  <a:cubicBezTo>
                    <a:pt x="35" y="67"/>
                    <a:pt x="28" y="65"/>
                    <a:pt x="35" y="69"/>
                  </a:cubicBezTo>
                  <a:cubicBezTo>
                    <a:pt x="41" y="73"/>
                    <a:pt x="45" y="69"/>
                    <a:pt x="45" y="75"/>
                  </a:cubicBezTo>
                  <a:cubicBezTo>
                    <a:pt x="45" y="75"/>
                    <a:pt x="44" y="76"/>
                    <a:pt x="42" y="77"/>
                  </a:cubicBezTo>
                  <a:cubicBezTo>
                    <a:pt x="39" y="78"/>
                    <a:pt x="39" y="77"/>
                    <a:pt x="37" y="75"/>
                  </a:cubicBezTo>
                  <a:cubicBezTo>
                    <a:pt x="35" y="74"/>
                    <a:pt x="33" y="77"/>
                    <a:pt x="31" y="77"/>
                  </a:cubicBezTo>
                  <a:cubicBezTo>
                    <a:pt x="29" y="77"/>
                    <a:pt x="28" y="78"/>
                    <a:pt x="26" y="76"/>
                  </a:cubicBezTo>
                  <a:cubicBezTo>
                    <a:pt x="25" y="74"/>
                    <a:pt x="21" y="74"/>
                    <a:pt x="19" y="74"/>
                  </a:cubicBezTo>
                  <a:cubicBezTo>
                    <a:pt x="17" y="74"/>
                    <a:pt x="15" y="75"/>
                    <a:pt x="14" y="74"/>
                  </a:cubicBezTo>
                  <a:cubicBezTo>
                    <a:pt x="15" y="73"/>
                    <a:pt x="16" y="73"/>
                    <a:pt x="16" y="71"/>
                  </a:cubicBezTo>
                  <a:cubicBezTo>
                    <a:pt x="16" y="66"/>
                    <a:pt x="19" y="67"/>
                    <a:pt x="13" y="62"/>
                  </a:cubicBezTo>
                  <a:cubicBezTo>
                    <a:pt x="7" y="57"/>
                    <a:pt x="12" y="61"/>
                    <a:pt x="6" y="56"/>
                  </a:cubicBezTo>
                  <a:cubicBezTo>
                    <a:pt x="0" y="51"/>
                    <a:pt x="3" y="48"/>
                    <a:pt x="6" y="48"/>
                  </a:cubicBezTo>
                  <a:cubicBezTo>
                    <a:pt x="8" y="48"/>
                    <a:pt x="11" y="47"/>
                    <a:pt x="8" y="44"/>
                  </a:cubicBezTo>
                  <a:cubicBezTo>
                    <a:pt x="4" y="41"/>
                    <a:pt x="2" y="41"/>
                    <a:pt x="4" y="33"/>
                  </a:cubicBezTo>
                  <a:cubicBezTo>
                    <a:pt x="6" y="25"/>
                    <a:pt x="9" y="28"/>
                    <a:pt x="9" y="23"/>
                  </a:cubicBezTo>
                  <a:cubicBezTo>
                    <a:pt x="9" y="19"/>
                    <a:pt x="13" y="14"/>
                    <a:pt x="18" y="14"/>
                  </a:cubicBezTo>
                  <a:cubicBezTo>
                    <a:pt x="22" y="14"/>
                    <a:pt x="34" y="10"/>
                    <a:pt x="28" y="14"/>
                  </a:cubicBezTo>
                  <a:cubicBezTo>
                    <a:pt x="21" y="18"/>
                    <a:pt x="19" y="18"/>
                    <a:pt x="20" y="21"/>
                  </a:cubicBezTo>
                  <a:cubicBezTo>
                    <a:pt x="20" y="25"/>
                    <a:pt x="29" y="26"/>
                    <a:pt x="29" y="24"/>
                  </a:cubicBezTo>
                  <a:cubicBezTo>
                    <a:pt x="30" y="21"/>
                    <a:pt x="33" y="17"/>
                    <a:pt x="35" y="12"/>
                  </a:cubicBezTo>
                  <a:cubicBezTo>
                    <a:pt x="38" y="8"/>
                    <a:pt x="37" y="5"/>
                    <a:pt x="41" y="4"/>
                  </a:cubicBezTo>
                  <a:cubicBezTo>
                    <a:pt x="44" y="3"/>
                    <a:pt x="49" y="2"/>
                    <a:pt x="51" y="2"/>
                  </a:cubicBezTo>
                  <a:cubicBezTo>
                    <a:pt x="53" y="1"/>
                    <a:pt x="54" y="0"/>
                    <a:pt x="54" y="7"/>
                  </a:cubicBezTo>
                  <a:cubicBezTo>
                    <a:pt x="54" y="13"/>
                    <a:pt x="52" y="15"/>
                    <a:pt x="50" y="19"/>
                  </a:cubicBezTo>
                  <a:cubicBezTo>
                    <a:pt x="47" y="22"/>
                    <a:pt x="47" y="26"/>
                    <a:pt x="50" y="28"/>
                  </a:cubicBezTo>
                  <a:cubicBezTo>
                    <a:pt x="52" y="31"/>
                    <a:pt x="63" y="31"/>
                    <a:pt x="63" y="34"/>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19" name="Freeform 1188">
              <a:extLst>
                <a:ext uri="{FF2B5EF4-FFF2-40B4-BE49-F238E27FC236}">
                  <a16:creationId xmlns:a16="http://schemas.microsoft.com/office/drawing/2014/main" id="{4FDEC2A2-A2AE-C74A-A175-7030F6BC75E6}"/>
                </a:ext>
              </a:extLst>
            </p:cNvPr>
            <p:cNvSpPr>
              <a:spLocks/>
            </p:cNvSpPr>
            <p:nvPr/>
          </p:nvSpPr>
          <p:spPr bwMode="auto">
            <a:xfrm>
              <a:off x="4498989" y="1103768"/>
              <a:ext cx="19050" cy="14288"/>
            </a:xfrm>
            <a:custGeom>
              <a:avLst/>
              <a:gdLst>
                <a:gd name="T0" fmla="*/ 3 w 21"/>
                <a:gd name="T1" fmla="*/ 4 h 15"/>
                <a:gd name="T2" fmla="*/ 6 w 21"/>
                <a:gd name="T3" fmla="*/ 9 h 15"/>
                <a:gd name="T4" fmla="*/ 15 w 21"/>
                <a:gd name="T5" fmla="*/ 11 h 15"/>
                <a:gd name="T6" fmla="*/ 18 w 21"/>
                <a:gd name="T7" fmla="*/ 4 h 15"/>
                <a:gd name="T8" fmla="*/ 10 w 21"/>
                <a:gd name="T9" fmla="*/ 1 h 15"/>
                <a:gd name="T10" fmla="*/ 3 w 21"/>
                <a:gd name="T11" fmla="*/ 4 h 15"/>
              </a:gdLst>
              <a:ahLst/>
              <a:cxnLst>
                <a:cxn ang="0">
                  <a:pos x="T0" y="T1"/>
                </a:cxn>
                <a:cxn ang="0">
                  <a:pos x="T2" y="T3"/>
                </a:cxn>
                <a:cxn ang="0">
                  <a:pos x="T4" y="T5"/>
                </a:cxn>
                <a:cxn ang="0">
                  <a:pos x="T6" y="T7"/>
                </a:cxn>
                <a:cxn ang="0">
                  <a:pos x="T8" y="T9"/>
                </a:cxn>
                <a:cxn ang="0">
                  <a:pos x="T10" y="T11"/>
                </a:cxn>
              </a:cxnLst>
              <a:rect l="0" t="0" r="r" b="b"/>
              <a:pathLst>
                <a:path w="21" h="15">
                  <a:moveTo>
                    <a:pt x="3" y="4"/>
                  </a:moveTo>
                  <a:cubicBezTo>
                    <a:pt x="2" y="7"/>
                    <a:pt x="4" y="7"/>
                    <a:pt x="6" y="9"/>
                  </a:cubicBezTo>
                  <a:cubicBezTo>
                    <a:pt x="8" y="10"/>
                    <a:pt x="12" y="15"/>
                    <a:pt x="15" y="11"/>
                  </a:cubicBezTo>
                  <a:cubicBezTo>
                    <a:pt x="17" y="7"/>
                    <a:pt x="21" y="6"/>
                    <a:pt x="18" y="4"/>
                  </a:cubicBezTo>
                  <a:cubicBezTo>
                    <a:pt x="15" y="2"/>
                    <a:pt x="14" y="0"/>
                    <a:pt x="10" y="1"/>
                  </a:cubicBezTo>
                  <a:cubicBezTo>
                    <a:pt x="6" y="2"/>
                    <a:pt x="0" y="2"/>
                    <a:pt x="3"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20" name="Freeform 1189">
              <a:extLst>
                <a:ext uri="{FF2B5EF4-FFF2-40B4-BE49-F238E27FC236}">
                  <a16:creationId xmlns:a16="http://schemas.microsoft.com/office/drawing/2014/main" id="{171C2715-F05E-3A40-8382-51BE1160C6BE}"/>
                </a:ext>
              </a:extLst>
            </p:cNvPr>
            <p:cNvSpPr>
              <a:spLocks/>
            </p:cNvSpPr>
            <p:nvPr/>
          </p:nvSpPr>
          <p:spPr bwMode="auto">
            <a:xfrm>
              <a:off x="4495814" y="1119643"/>
              <a:ext cx="28575" cy="19050"/>
            </a:xfrm>
            <a:custGeom>
              <a:avLst/>
              <a:gdLst>
                <a:gd name="T0" fmla="*/ 5 w 31"/>
                <a:gd name="T1" fmla="*/ 4 h 21"/>
                <a:gd name="T2" fmla="*/ 1 w 31"/>
                <a:gd name="T3" fmla="*/ 7 h 21"/>
                <a:gd name="T4" fmla="*/ 3 w 31"/>
                <a:gd name="T5" fmla="*/ 12 h 21"/>
                <a:gd name="T6" fmla="*/ 5 w 31"/>
                <a:gd name="T7" fmla="*/ 19 h 21"/>
                <a:gd name="T8" fmla="*/ 10 w 31"/>
                <a:gd name="T9" fmla="*/ 12 h 21"/>
                <a:gd name="T10" fmla="*/ 16 w 31"/>
                <a:gd name="T11" fmla="*/ 10 h 21"/>
                <a:gd name="T12" fmla="*/ 24 w 31"/>
                <a:gd name="T13" fmla="*/ 7 h 21"/>
                <a:gd name="T14" fmla="*/ 27 w 31"/>
                <a:gd name="T15" fmla="*/ 4 h 21"/>
                <a:gd name="T16" fmla="*/ 20 w 31"/>
                <a:gd name="T17" fmla="*/ 1 h 21"/>
                <a:gd name="T18" fmla="*/ 11 w 31"/>
                <a:gd name="T19" fmla="*/ 1 h 21"/>
                <a:gd name="T20" fmla="*/ 5 w 31"/>
                <a:gd name="T21"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21">
                  <a:moveTo>
                    <a:pt x="5" y="4"/>
                  </a:moveTo>
                  <a:cubicBezTo>
                    <a:pt x="3" y="4"/>
                    <a:pt x="0" y="5"/>
                    <a:pt x="1" y="7"/>
                  </a:cubicBezTo>
                  <a:cubicBezTo>
                    <a:pt x="1" y="9"/>
                    <a:pt x="2" y="8"/>
                    <a:pt x="3" y="12"/>
                  </a:cubicBezTo>
                  <a:cubicBezTo>
                    <a:pt x="4" y="17"/>
                    <a:pt x="2" y="21"/>
                    <a:pt x="5" y="19"/>
                  </a:cubicBezTo>
                  <a:cubicBezTo>
                    <a:pt x="9" y="17"/>
                    <a:pt x="6" y="13"/>
                    <a:pt x="10" y="12"/>
                  </a:cubicBezTo>
                  <a:cubicBezTo>
                    <a:pt x="14" y="11"/>
                    <a:pt x="10" y="11"/>
                    <a:pt x="16" y="10"/>
                  </a:cubicBezTo>
                  <a:cubicBezTo>
                    <a:pt x="22" y="9"/>
                    <a:pt x="22" y="9"/>
                    <a:pt x="24" y="7"/>
                  </a:cubicBezTo>
                  <a:cubicBezTo>
                    <a:pt x="26" y="5"/>
                    <a:pt x="31" y="6"/>
                    <a:pt x="27" y="4"/>
                  </a:cubicBezTo>
                  <a:cubicBezTo>
                    <a:pt x="23" y="2"/>
                    <a:pt x="24" y="1"/>
                    <a:pt x="20" y="1"/>
                  </a:cubicBezTo>
                  <a:cubicBezTo>
                    <a:pt x="17" y="1"/>
                    <a:pt x="13" y="0"/>
                    <a:pt x="11" y="1"/>
                  </a:cubicBezTo>
                  <a:cubicBezTo>
                    <a:pt x="9" y="2"/>
                    <a:pt x="6" y="0"/>
                    <a:pt x="5" y="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21" name="Freeform 1190">
              <a:extLst>
                <a:ext uri="{FF2B5EF4-FFF2-40B4-BE49-F238E27FC236}">
                  <a16:creationId xmlns:a16="http://schemas.microsoft.com/office/drawing/2014/main" id="{DFBEBED2-9A42-7149-856E-CA137B6F1181}"/>
                </a:ext>
              </a:extLst>
            </p:cNvPr>
            <p:cNvSpPr>
              <a:spLocks/>
            </p:cNvSpPr>
            <p:nvPr/>
          </p:nvSpPr>
          <p:spPr bwMode="auto">
            <a:xfrm>
              <a:off x="4519627" y="1094243"/>
              <a:ext cx="93663" cy="52388"/>
            </a:xfrm>
            <a:custGeom>
              <a:avLst/>
              <a:gdLst>
                <a:gd name="T0" fmla="*/ 89 w 99"/>
                <a:gd name="T1" fmla="*/ 21 h 54"/>
                <a:gd name="T2" fmla="*/ 92 w 99"/>
                <a:gd name="T3" fmla="*/ 32 h 54"/>
                <a:gd name="T4" fmla="*/ 95 w 99"/>
                <a:gd name="T5" fmla="*/ 44 h 54"/>
                <a:gd name="T6" fmla="*/ 90 w 99"/>
                <a:gd name="T7" fmla="*/ 51 h 54"/>
                <a:gd name="T8" fmla="*/ 87 w 99"/>
                <a:gd name="T9" fmla="*/ 54 h 54"/>
                <a:gd name="T10" fmla="*/ 83 w 99"/>
                <a:gd name="T11" fmla="*/ 54 h 54"/>
                <a:gd name="T12" fmla="*/ 68 w 99"/>
                <a:gd name="T13" fmla="*/ 52 h 54"/>
                <a:gd name="T14" fmla="*/ 50 w 99"/>
                <a:gd name="T15" fmla="*/ 44 h 54"/>
                <a:gd name="T16" fmla="*/ 31 w 99"/>
                <a:gd name="T17" fmla="*/ 44 h 54"/>
                <a:gd name="T18" fmla="*/ 24 w 99"/>
                <a:gd name="T19" fmla="*/ 47 h 54"/>
                <a:gd name="T20" fmla="*/ 24 w 99"/>
                <a:gd name="T21" fmla="*/ 43 h 54"/>
                <a:gd name="T22" fmla="*/ 22 w 99"/>
                <a:gd name="T23" fmla="*/ 35 h 54"/>
                <a:gd name="T24" fmla="*/ 12 w 99"/>
                <a:gd name="T25" fmla="*/ 32 h 54"/>
                <a:gd name="T26" fmla="*/ 9 w 99"/>
                <a:gd name="T27" fmla="*/ 27 h 54"/>
                <a:gd name="T28" fmla="*/ 6 w 99"/>
                <a:gd name="T29" fmla="*/ 17 h 54"/>
                <a:gd name="T30" fmla="*/ 9 w 99"/>
                <a:gd name="T31" fmla="*/ 8 h 54"/>
                <a:gd name="T32" fmla="*/ 34 w 99"/>
                <a:gd name="T33" fmla="*/ 4 h 54"/>
                <a:gd name="T34" fmla="*/ 47 w 99"/>
                <a:gd name="T35" fmla="*/ 1 h 54"/>
                <a:gd name="T36" fmla="*/ 63 w 99"/>
                <a:gd name="T37" fmla="*/ 3 h 54"/>
                <a:gd name="T38" fmla="*/ 75 w 99"/>
                <a:gd name="T39" fmla="*/ 4 h 54"/>
                <a:gd name="T40" fmla="*/ 96 w 99"/>
                <a:gd name="T41" fmla="*/ 4 h 54"/>
                <a:gd name="T42" fmla="*/ 97 w 99"/>
                <a:gd name="T43" fmla="*/ 9 h 54"/>
                <a:gd name="T44" fmla="*/ 89 w 99"/>
                <a:gd name="T45"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 h="54">
                  <a:moveTo>
                    <a:pt x="89" y="21"/>
                  </a:moveTo>
                  <a:cubicBezTo>
                    <a:pt x="87" y="25"/>
                    <a:pt x="90" y="30"/>
                    <a:pt x="92" y="32"/>
                  </a:cubicBezTo>
                  <a:cubicBezTo>
                    <a:pt x="94" y="35"/>
                    <a:pt x="95" y="39"/>
                    <a:pt x="95" y="44"/>
                  </a:cubicBezTo>
                  <a:cubicBezTo>
                    <a:pt x="95" y="48"/>
                    <a:pt x="92" y="49"/>
                    <a:pt x="90" y="51"/>
                  </a:cubicBezTo>
                  <a:cubicBezTo>
                    <a:pt x="88" y="52"/>
                    <a:pt x="88" y="53"/>
                    <a:pt x="87" y="54"/>
                  </a:cubicBezTo>
                  <a:cubicBezTo>
                    <a:pt x="86" y="54"/>
                    <a:pt x="85" y="54"/>
                    <a:pt x="83" y="54"/>
                  </a:cubicBezTo>
                  <a:cubicBezTo>
                    <a:pt x="78" y="53"/>
                    <a:pt x="78" y="54"/>
                    <a:pt x="68" y="52"/>
                  </a:cubicBezTo>
                  <a:cubicBezTo>
                    <a:pt x="58" y="49"/>
                    <a:pt x="57" y="49"/>
                    <a:pt x="50" y="44"/>
                  </a:cubicBezTo>
                  <a:cubicBezTo>
                    <a:pt x="43" y="39"/>
                    <a:pt x="36" y="43"/>
                    <a:pt x="31" y="44"/>
                  </a:cubicBezTo>
                  <a:cubicBezTo>
                    <a:pt x="27" y="45"/>
                    <a:pt x="25" y="46"/>
                    <a:pt x="24" y="47"/>
                  </a:cubicBezTo>
                  <a:cubicBezTo>
                    <a:pt x="24" y="46"/>
                    <a:pt x="24" y="44"/>
                    <a:pt x="24" y="43"/>
                  </a:cubicBezTo>
                  <a:cubicBezTo>
                    <a:pt x="25" y="37"/>
                    <a:pt x="27" y="35"/>
                    <a:pt x="22" y="35"/>
                  </a:cubicBezTo>
                  <a:cubicBezTo>
                    <a:pt x="17" y="35"/>
                    <a:pt x="15" y="37"/>
                    <a:pt x="12" y="32"/>
                  </a:cubicBezTo>
                  <a:cubicBezTo>
                    <a:pt x="9" y="27"/>
                    <a:pt x="8" y="31"/>
                    <a:pt x="9" y="27"/>
                  </a:cubicBezTo>
                  <a:cubicBezTo>
                    <a:pt x="10" y="23"/>
                    <a:pt x="5" y="22"/>
                    <a:pt x="6" y="17"/>
                  </a:cubicBezTo>
                  <a:cubicBezTo>
                    <a:pt x="7" y="12"/>
                    <a:pt x="0" y="8"/>
                    <a:pt x="9" y="8"/>
                  </a:cubicBezTo>
                  <a:cubicBezTo>
                    <a:pt x="19" y="8"/>
                    <a:pt x="29" y="5"/>
                    <a:pt x="34" y="4"/>
                  </a:cubicBezTo>
                  <a:cubicBezTo>
                    <a:pt x="40" y="4"/>
                    <a:pt x="42" y="0"/>
                    <a:pt x="47" y="1"/>
                  </a:cubicBezTo>
                  <a:cubicBezTo>
                    <a:pt x="53" y="3"/>
                    <a:pt x="55" y="1"/>
                    <a:pt x="63" y="3"/>
                  </a:cubicBezTo>
                  <a:cubicBezTo>
                    <a:pt x="72" y="4"/>
                    <a:pt x="67" y="4"/>
                    <a:pt x="75" y="4"/>
                  </a:cubicBezTo>
                  <a:cubicBezTo>
                    <a:pt x="82" y="5"/>
                    <a:pt x="94" y="8"/>
                    <a:pt x="96" y="4"/>
                  </a:cubicBezTo>
                  <a:cubicBezTo>
                    <a:pt x="98" y="6"/>
                    <a:pt x="99" y="6"/>
                    <a:pt x="97" y="9"/>
                  </a:cubicBezTo>
                  <a:cubicBezTo>
                    <a:pt x="94" y="12"/>
                    <a:pt x="90" y="17"/>
                    <a:pt x="89" y="2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22" name="Freeform 1191">
              <a:extLst>
                <a:ext uri="{FF2B5EF4-FFF2-40B4-BE49-F238E27FC236}">
                  <a16:creationId xmlns:a16="http://schemas.microsoft.com/office/drawing/2014/main" id="{269F0AE1-3070-5E4F-A001-6A47E7682845}"/>
                </a:ext>
              </a:extLst>
            </p:cNvPr>
            <p:cNvSpPr>
              <a:spLocks/>
            </p:cNvSpPr>
            <p:nvPr/>
          </p:nvSpPr>
          <p:spPr bwMode="auto">
            <a:xfrm>
              <a:off x="4483114" y="1132343"/>
              <a:ext cx="141288" cy="60325"/>
            </a:xfrm>
            <a:custGeom>
              <a:avLst/>
              <a:gdLst>
                <a:gd name="T0" fmla="*/ 148 w 149"/>
                <a:gd name="T1" fmla="*/ 50 h 64"/>
                <a:gd name="T2" fmla="*/ 147 w 149"/>
                <a:gd name="T3" fmla="*/ 52 h 64"/>
                <a:gd name="T4" fmla="*/ 143 w 149"/>
                <a:gd name="T5" fmla="*/ 54 h 64"/>
                <a:gd name="T6" fmla="*/ 137 w 149"/>
                <a:gd name="T7" fmla="*/ 61 h 64"/>
                <a:gd name="T8" fmla="*/ 126 w 149"/>
                <a:gd name="T9" fmla="*/ 61 h 64"/>
                <a:gd name="T10" fmla="*/ 116 w 149"/>
                <a:gd name="T11" fmla="*/ 63 h 64"/>
                <a:gd name="T12" fmla="*/ 116 w 149"/>
                <a:gd name="T13" fmla="*/ 63 h 64"/>
                <a:gd name="T14" fmla="*/ 103 w 149"/>
                <a:gd name="T15" fmla="*/ 57 h 64"/>
                <a:gd name="T16" fmla="*/ 91 w 149"/>
                <a:gd name="T17" fmla="*/ 51 h 64"/>
                <a:gd name="T18" fmla="*/ 82 w 149"/>
                <a:gd name="T19" fmla="*/ 47 h 64"/>
                <a:gd name="T20" fmla="*/ 77 w 149"/>
                <a:gd name="T21" fmla="*/ 47 h 64"/>
                <a:gd name="T22" fmla="*/ 60 w 149"/>
                <a:gd name="T23" fmla="*/ 49 h 64"/>
                <a:gd name="T24" fmla="*/ 46 w 149"/>
                <a:gd name="T25" fmla="*/ 47 h 64"/>
                <a:gd name="T26" fmla="*/ 20 w 149"/>
                <a:gd name="T27" fmla="*/ 46 h 64"/>
                <a:gd name="T28" fmla="*/ 9 w 149"/>
                <a:gd name="T29" fmla="*/ 51 h 64"/>
                <a:gd name="T30" fmla="*/ 1 w 149"/>
                <a:gd name="T31" fmla="*/ 55 h 64"/>
                <a:gd name="T32" fmla="*/ 1 w 149"/>
                <a:gd name="T33" fmla="*/ 46 h 64"/>
                <a:gd name="T34" fmla="*/ 7 w 149"/>
                <a:gd name="T35" fmla="*/ 22 h 64"/>
                <a:gd name="T36" fmla="*/ 23 w 149"/>
                <a:gd name="T37" fmla="*/ 12 h 64"/>
                <a:gd name="T38" fmla="*/ 35 w 149"/>
                <a:gd name="T39" fmla="*/ 14 h 64"/>
                <a:gd name="T40" fmla="*/ 50 w 149"/>
                <a:gd name="T41" fmla="*/ 27 h 64"/>
                <a:gd name="T42" fmla="*/ 58 w 149"/>
                <a:gd name="T43" fmla="*/ 30 h 64"/>
                <a:gd name="T44" fmla="*/ 66 w 149"/>
                <a:gd name="T45" fmla="*/ 18 h 64"/>
                <a:gd name="T46" fmla="*/ 63 w 149"/>
                <a:gd name="T47" fmla="*/ 8 h 64"/>
                <a:gd name="T48" fmla="*/ 70 w 149"/>
                <a:gd name="T49" fmla="*/ 5 h 64"/>
                <a:gd name="T50" fmla="*/ 89 w 149"/>
                <a:gd name="T51" fmla="*/ 5 h 64"/>
                <a:gd name="T52" fmla="*/ 107 w 149"/>
                <a:gd name="T53" fmla="*/ 13 h 64"/>
                <a:gd name="T54" fmla="*/ 122 w 149"/>
                <a:gd name="T55" fmla="*/ 15 h 64"/>
                <a:gd name="T56" fmla="*/ 126 w 149"/>
                <a:gd name="T57" fmla="*/ 15 h 64"/>
                <a:gd name="T58" fmla="*/ 131 w 149"/>
                <a:gd name="T59" fmla="*/ 18 h 64"/>
                <a:gd name="T60" fmla="*/ 138 w 149"/>
                <a:gd name="T61" fmla="*/ 22 h 64"/>
                <a:gd name="T62" fmla="*/ 138 w 149"/>
                <a:gd name="T63" fmla="*/ 34 h 64"/>
                <a:gd name="T64" fmla="*/ 146 w 149"/>
                <a:gd name="T65" fmla="*/ 39 h 64"/>
                <a:gd name="T66" fmla="*/ 148 w 149"/>
                <a:gd name="T67" fmla="*/ 5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9" h="64">
                  <a:moveTo>
                    <a:pt x="148" y="50"/>
                  </a:moveTo>
                  <a:cubicBezTo>
                    <a:pt x="147" y="51"/>
                    <a:pt x="147" y="51"/>
                    <a:pt x="147" y="52"/>
                  </a:cubicBezTo>
                  <a:cubicBezTo>
                    <a:pt x="146" y="53"/>
                    <a:pt x="144" y="54"/>
                    <a:pt x="143" y="54"/>
                  </a:cubicBezTo>
                  <a:cubicBezTo>
                    <a:pt x="141" y="56"/>
                    <a:pt x="141" y="57"/>
                    <a:pt x="137" y="61"/>
                  </a:cubicBezTo>
                  <a:cubicBezTo>
                    <a:pt x="133" y="64"/>
                    <a:pt x="130" y="60"/>
                    <a:pt x="126" y="61"/>
                  </a:cubicBezTo>
                  <a:cubicBezTo>
                    <a:pt x="122" y="63"/>
                    <a:pt x="120" y="64"/>
                    <a:pt x="116" y="63"/>
                  </a:cubicBezTo>
                  <a:cubicBezTo>
                    <a:pt x="116" y="63"/>
                    <a:pt x="116" y="63"/>
                    <a:pt x="116" y="63"/>
                  </a:cubicBezTo>
                  <a:cubicBezTo>
                    <a:pt x="112" y="63"/>
                    <a:pt x="110" y="62"/>
                    <a:pt x="103" y="57"/>
                  </a:cubicBezTo>
                  <a:cubicBezTo>
                    <a:pt x="95" y="52"/>
                    <a:pt x="96" y="52"/>
                    <a:pt x="91" y="51"/>
                  </a:cubicBezTo>
                  <a:cubicBezTo>
                    <a:pt x="85" y="51"/>
                    <a:pt x="86" y="50"/>
                    <a:pt x="82" y="47"/>
                  </a:cubicBezTo>
                  <a:cubicBezTo>
                    <a:pt x="79" y="44"/>
                    <a:pt x="80" y="45"/>
                    <a:pt x="77" y="47"/>
                  </a:cubicBezTo>
                  <a:cubicBezTo>
                    <a:pt x="75" y="49"/>
                    <a:pt x="69" y="49"/>
                    <a:pt x="60" y="49"/>
                  </a:cubicBezTo>
                  <a:cubicBezTo>
                    <a:pt x="52" y="48"/>
                    <a:pt x="53" y="48"/>
                    <a:pt x="46" y="47"/>
                  </a:cubicBezTo>
                  <a:cubicBezTo>
                    <a:pt x="40" y="46"/>
                    <a:pt x="31" y="46"/>
                    <a:pt x="20" y="46"/>
                  </a:cubicBezTo>
                  <a:cubicBezTo>
                    <a:pt x="8" y="46"/>
                    <a:pt x="13" y="48"/>
                    <a:pt x="9" y="51"/>
                  </a:cubicBezTo>
                  <a:cubicBezTo>
                    <a:pt x="5" y="53"/>
                    <a:pt x="3" y="54"/>
                    <a:pt x="1" y="55"/>
                  </a:cubicBezTo>
                  <a:cubicBezTo>
                    <a:pt x="1" y="53"/>
                    <a:pt x="1" y="50"/>
                    <a:pt x="1" y="46"/>
                  </a:cubicBezTo>
                  <a:cubicBezTo>
                    <a:pt x="4" y="34"/>
                    <a:pt x="0" y="33"/>
                    <a:pt x="7" y="22"/>
                  </a:cubicBezTo>
                  <a:cubicBezTo>
                    <a:pt x="14" y="11"/>
                    <a:pt x="17" y="12"/>
                    <a:pt x="23" y="12"/>
                  </a:cubicBezTo>
                  <a:cubicBezTo>
                    <a:pt x="29" y="13"/>
                    <a:pt x="29" y="6"/>
                    <a:pt x="35" y="14"/>
                  </a:cubicBezTo>
                  <a:cubicBezTo>
                    <a:pt x="40" y="23"/>
                    <a:pt x="46" y="25"/>
                    <a:pt x="50" y="27"/>
                  </a:cubicBezTo>
                  <a:cubicBezTo>
                    <a:pt x="53" y="29"/>
                    <a:pt x="52" y="35"/>
                    <a:pt x="58" y="30"/>
                  </a:cubicBezTo>
                  <a:cubicBezTo>
                    <a:pt x="65" y="24"/>
                    <a:pt x="68" y="25"/>
                    <a:pt x="66" y="18"/>
                  </a:cubicBezTo>
                  <a:cubicBezTo>
                    <a:pt x="65" y="14"/>
                    <a:pt x="63" y="11"/>
                    <a:pt x="63" y="8"/>
                  </a:cubicBezTo>
                  <a:cubicBezTo>
                    <a:pt x="64" y="7"/>
                    <a:pt x="66" y="6"/>
                    <a:pt x="70" y="5"/>
                  </a:cubicBezTo>
                  <a:cubicBezTo>
                    <a:pt x="75" y="4"/>
                    <a:pt x="82" y="0"/>
                    <a:pt x="89" y="5"/>
                  </a:cubicBezTo>
                  <a:cubicBezTo>
                    <a:pt x="96" y="10"/>
                    <a:pt x="97" y="10"/>
                    <a:pt x="107" y="13"/>
                  </a:cubicBezTo>
                  <a:cubicBezTo>
                    <a:pt x="117" y="15"/>
                    <a:pt x="117" y="14"/>
                    <a:pt x="122" y="15"/>
                  </a:cubicBezTo>
                  <a:cubicBezTo>
                    <a:pt x="124" y="15"/>
                    <a:pt x="125" y="15"/>
                    <a:pt x="126" y="15"/>
                  </a:cubicBezTo>
                  <a:cubicBezTo>
                    <a:pt x="128" y="16"/>
                    <a:pt x="129" y="17"/>
                    <a:pt x="131" y="18"/>
                  </a:cubicBezTo>
                  <a:cubicBezTo>
                    <a:pt x="134" y="19"/>
                    <a:pt x="139" y="17"/>
                    <a:pt x="138" y="22"/>
                  </a:cubicBezTo>
                  <a:cubicBezTo>
                    <a:pt x="137" y="28"/>
                    <a:pt x="136" y="31"/>
                    <a:pt x="138" y="34"/>
                  </a:cubicBezTo>
                  <a:cubicBezTo>
                    <a:pt x="140" y="37"/>
                    <a:pt x="143" y="36"/>
                    <a:pt x="146" y="39"/>
                  </a:cubicBezTo>
                  <a:cubicBezTo>
                    <a:pt x="149" y="43"/>
                    <a:pt x="148" y="43"/>
                    <a:pt x="148" y="50"/>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23" name="Freeform 1192">
              <a:extLst>
                <a:ext uri="{FF2B5EF4-FFF2-40B4-BE49-F238E27FC236}">
                  <a16:creationId xmlns:a16="http://schemas.microsoft.com/office/drawing/2014/main" id="{79E3F07A-252B-0446-B0A1-9D8723EB53F1}"/>
                </a:ext>
              </a:extLst>
            </p:cNvPr>
            <p:cNvSpPr>
              <a:spLocks/>
            </p:cNvSpPr>
            <p:nvPr/>
          </p:nvSpPr>
          <p:spPr bwMode="auto">
            <a:xfrm>
              <a:off x="4483114" y="1173618"/>
              <a:ext cx="112713" cy="65088"/>
            </a:xfrm>
            <a:custGeom>
              <a:avLst/>
              <a:gdLst>
                <a:gd name="T0" fmla="*/ 113 w 119"/>
                <a:gd name="T1" fmla="*/ 34 h 69"/>
                <a:gd name="T2" fmla="*/ 101 w 119"/>
                <a:gd name="T3" fmla="*/ 45 h 69"/>
                <a:gd name="T4" fmla="*/ 100 w 119"/>
                <a:gd name="T5" fmla="*/ 57 h 69"/>
                <a:gd name="T6" fmla="*/ 83 w 119"/>
                <a:gd name="T7" fmla="*/ 64 h 69"/>
                <a:gd name="T8" fmla="*/ 61 w 119"/>
                <a:gd name="T9" fmla="*/ 66 h 69"/>
                <a:gd name="T10" fmla="*/ 55 w 119"/>
                <a:gd name="T11" fmla="*/ 66 h 69"/>
                <a:gd name="T12" fmla="*/ 53 w 119"/>
                <a:gd name="T13" fmla="*/ 64 h 69"/>
                <a:gd name="T14" fmla="*/ 40 w 119"/>
                <a:gd name="T15" fmla="*/ 54 h 69"/>
                <a:gd name="T16" fmla="*/ 38 w 119"/>
                <a:gd name="T17" fmla="*/ 54 h 69"/>
                <a:gd name="T18" fmla="*/ 38 w 119"/>
                <a:gd name="T19" fmla="*/ 51 h 69"/>
                <a:gd name="T20" fmla="*/ 40 w 119"/>
                <a:gd name="T21" fmla="*/ 45 h 69"/>
                <a:gd name="T22" fmla="*/ 36 w 119"/>
                <a:gd name="T23" fmla="*/ 38 h 69"/>
                <a:gd name="T24" fmla="*/ 21 w 119"/>
                <a:gd name="T25" fmla="*/ 35 h 69"/>
                <a:gd name="T26" fmla="*/ 12 w 119"/>
                <a:gd name="T27" fmla="*/ 31 h 69"/>
                <a:gd name="T28" fmla="*/ 5 w 119"/>
                <a:gd name="T29" fmla="*/ 30 h 69"/>
                <a:gd name="T30" fmla="*/ 5 w 119"/>
                <a:gd name="T31" fmla="*/ 21 h 69"/>
                <a:gd name="T32" fmla="*/ 0 w 119"/>
                <a:gd name="T33" fmla="*/ 11 h 69"/>
                <a:gd name="T34" fmla="*/ 8 w 119"/>
                <a:gd name="T35" fmla="*/ 7 h 69"/>
                <a:gd name="T36" fmla="*/ 19 w 119"/>
                <a:gd name="T37" fmla="*/ 2 h 69"/>
                <a:gd name="T38" fmla="*/ 45 w 119"/>
                <a:gd name="T39" fmla="*/ 3 h 69"/>
                <a:gd name="T40" fmla="*/ 59 w 119"/>
                <a:gd name="T41" fmla="*/ 5 h 69"/>
                <a:gd name="T42" fmla="*/ 76 w 119"/>
                <a:gd name="T43" fmla="*/ 3 h 69"/>
                <a:gd name="T44" fmla="*/ 81 w 119"/>
                <a:gd name="T45" fmla="*/ 3 h 69"/>
                <a:gd name="T46" fmla="*/ 90 w 119"/>
                <a:gd name="T47" fmla="*/ 7 h 69"/>
                <a:gd name="T48" fmla="*/ 102 w 119"/>
                <a:gd name="T49" fmla="*/ 13 h 69"/>
                <a:gd name="T50" fmla="*/ 115 w 119"/>
                <a:gd name="T51" fmla="*/ 19 h 69"/>
                <a:gd name="T52" fmla="*/ 115 w 119"/>
                <a:gd name="T53" fmla="*/ 24 h 69"/>
                <a:gd name="T54" fmla="*/ 113 w 119"/>
                <a:gd name="T55" fmla="*/ 3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9" h="69">
                  <a:moveTo>
                    <a:pt x="113" y="34"/>
                  </a:moveTo>
                  <a:cubicBezTo>
                    <a:pt x="108" y="36"/>
                    <a:pt x="101" y="38"/>
                    <a:pt x="101" y="45"/>
                  </a:cubicBezTo>
                  <a:cubicBezTo>
                    <a:pt x="101" y="52"/>
                    <a:pt x="107" y="54"/>
                    <a:pt x="100" y="57"/>
                  </a:cubicBezTo>
                  <a:cubicBezTo>
                    <a:pt x="93" y="60"/>
                    <a:pt x="88" y="59"/>
                    <a:pt x="83" y="64"/>
                  </a:cubicBezTo>
                  <a:cubicBezTo>
                    <a:pt x="79" y="69"/>
                    <a:pt x="66" y="66"/>
                    <a:pt x="61" y="66"/>
                  </a:cubicBezTo>
                  <a:cubicBezTo>
                    <a:pt x="57" y="66"/>
                    <a:pt x="57" y="69"/>
                    <a:pt x="55" y="66"/>
                  </a:cubicBezTo>
                  <a:cubicBezTo>
                    <a:pt x="55" y="66"/>
                    <a:pt x="54" y="65"/>
                    <a:pt x="53" y="64"/>
                  </a:cubicBezTo>
                  <a:cubicBezTo>
                    <a:pt x="48" y="57"/>
                    <a:pt x="50" y="54"/>
                    <a:pt x="40" y="54"/>
                  </a:cubicBezTo>
                  <a:cubicBezTo>
                    <a:pt x="38" y="54"/>
                    <a:pt x="38" y="54"/>
                    <a:pt x="38" y="54"/>
                  </a:cubicBezTo>
                  <a:cubicBezTo>
                    <a:pt x="38" y="53"/>
                    <a:pt x="38" y="52"/>
                    <a:pt x="38" y="51"/>
                  </a:cubicBezTo>
                  <a:cubicBezTo>
                    <a:pt x="38" y="50"/>
                    <a:pt x="38" y="48"/>
                    <a:pt x="40" y="45"/>
                  </a:cubicBezTo>
                  <a:cubicBezTo>
                    <a:pt x="43" y="42"/>
                    <a:pt x="40" y="41"/>
                    <a:pt x="36" y="38"/>
                  </a:cubicBezTo>
                  <a:cubicBezTo>
                    <a:pt x="31" y="34"/>
                    <a:pt x="28" y="35"/>
                    <a:pt x="21" y="35"/>
                  </a:cubicBezTo>
                  <a:cubicBezTo>
                    <a:pt x="14" y="35"/>
                    <a:pt x="16" y="33"/>
                    <a:pt x="12" y="31"/>
                  </a:cubicBezTo>
                  <a:cubicBezTo>
                    <a:pt x="8" y="29"/>
                    <a:pt x="11" y="30"/>
                    <a:pt x="5" y="30"/>
                  </a:cubicBezTo>
                  <a:cubicBezTo>
                    <a:pt x="6" y="27"/>
                    <a:pt x="6" y="24"/>
                    <a:pt x="5" y="21"/>
                  </a:cubicBezTo>
                  <a:cubicBezTo>
                    <a:pt x="3" y="18"/>
                    <a:pt x="0" y="16"/>
                    <a:pt x="0" y="11"/>
                  </a:cubicBezTo>
                  <a:cubicBezTo>
                    <a:pt x="2" y="9"/>
                    <a:pt x="4" y="10"/>
                    <a:pt x="8" y="7"/>
                  </a:cubicBezTo>
                  <a:cubicBezTo>
                    <a:pt x="12" y="4"/>
                    <a:pt x="7" y="2"/>
                    <a:pt x="19" y="2"/>
                  </a:cubicBezTo>
                  <a:cubicBezTo>
                    <a:pt x="30" y="2"/>
                    <a:pt x="39" y="2"/>
                    <a:pt x="45" y="3"/>
                  </a:cubicBezTo>
                  <a:cubicBezTo>
                    <a:pt x="52" y="4"/>
                    <a:pt x="51" y="4"/>
                    <a:pt x="59" y="5"/>
                  </a:cubicBezTo>
                  <a:cubicBezTo>
                    <a:pt x="68" y="5"/>
                    <a:pt x="74" y="5"/>
                    <a:pt x="76" y="3"/>
                  </a:cubicBezTo>
                  <a:cubicBezTo>
                    <a:pt x="79" y="1"/>
                    <a:pt x="78" y="0"/>
                    <a:pt x="81" y="3"/>
                  </a:cubicBezTo>
                  <a:cubicBezTo>
                    <a:pt x="85" y="6"/>
                    <a:pt x="84" y="7"/>
                    <a:pt x="90" y="7"/>
                  </a:cubicBezTo>
                  <a:cubicBezTo>
                    <a:pt x="95" y="8"/>
                    <a:pt x="94" y="8"/>
                    <a:pt x="102" y="13"/>
                  </a:cubicBezTo>
                  <a:cubicBezTo>
                    <a:pt x="109" y="18"/>
                    <a:pt x="111" y="19"/>
                    <a:pt x="115" y="19"/>
                  </a:cubicBezTo>
                  <a:cubicBezTo>
                    <a:pt x="113" y="20"/>
                    <a:pt x="112" y="21"/>
                    <a:pt x="115" y="24"/>
                  </a:cubicBezTo>
                  <a:cubicBezTo>
                    <a:pt x="119" y="29"/>
                    <a:pt x="118" y="32"/>
                    <a:pt x="113" y="34"/>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24" name="Freeform 1193">
              <a:extLst>
                <a:ext uri="{FF2B5EF4-FFF2-40B4-BE49-F238E27FC236}">
                  <a16:creationId xmlns:a16="http://schemas.microsoft.com/office/drawing/2014/main" id="{49F99500-6CEA-1645-828B-7DFFB2B5AC65}"/>
                </a:ext>
              </a:extLst>
            </p:cNvPr>
            <p:cNvSpPr>
              <a:spLocks/>
            </p:cNvSpPr>
            <p:nvPr/>
          </p:nvSpPr>
          <p:spPr bwMode="auto">
            <a:xfrm>
              <a:off x="4532327" y="1179968"/>
              <a:ext cx="196851" cy="128588"/>
            </a:xfrm>
            <a:custGeom>
              <a:avLst/>
              <a:gdLst>
                <a:gd name="T0" fmla="*/ 203 w 206"/>
                <a:gd name="T1" fmla="*/ 74 h 135"/>
                <a:gd name="T2" fmla="*/ 191 w 206"/>
                <a:gd name="T3" fmla="*/ 82 h 135"/>
                <a:gd name="T4" fmla="*/ 174 w 206"/>
                <a:gd name="T5" fmla="*/ 84 h 135"/>
                <a:gd name="T6" fmla="*/ 179 w 206"/>
                <a:gd name="T7" fmla="*/ 96 h 135"/>
                <a:gd name="T8" fmla="*/ 183 w 206"/>
                <a:gd name="T9" fmla="*/ 107 h 135"/>
                <a:gd name="T10" fmla="*/ 179 w 206"/>
                <a:gd name="T11" fmla="*/ 109 h 135"/>
                <a:gd name="T12" fmla="*/ 169 w 206"/>
                <a:gd name="T13" fmla="*/ 111 h 135"/>
                <a:gd name="T14" fmla="*/ 163 w 206"/>
                <a:gd name="T15" fmla="*/ 119 h 135"/>
                <a:gd name="T16" fmla="*/ 164 w 206"/>
                <a:gd name="T17" fmla="*/ 130 h 135"/>
                <a:gd name="T18" fmla="*/ 156 w 206"/>
                <a:gd name="T19" fmla="*/ 127 h 135"/>
                <a:gd name="T20" fmla="*/ 143 w 206"/>
                <a:gd name="T21" fmla="*/ 128 h 135"/>
                <a:gd name="T22" fmla="*/ 134 w 206"/>
                <a:gd name="T23" fmla="*/ 124 h 135"/>
                <a:gd name="T24" fmla="*/ 128 w 206"/>
                <a:gd name="T25" fmla="*/ 126 h 135"/>
                <a:gd name="T26" fmla="*/ 120 w 206"/>
                <a:gd name="T27" fmla="*/ 126 h 135"/>
                <a:gd name="T28" fmla="*/ 101 w 206"/>
                <a:gd name="T29" fmla="*/ 125 h 135"/>
                <a:gd name="T30" fmla="*/ 86 w 206"/>
                <a:gd name="T31" fmla="*/ 119 h 135"/>
                <a:gd name="T32" fmla="*/ 69 w 206"/>
                <a:gd name="T33" fmla="*/ 117 h 135"/>
                <a:gd name="T34" fmla="*/ 39 w 206"/>
                <a:gd name="T35" fmla="*/ 115 h 135"/>
                <a:gd name="T36" fmla="*/ 26 w 206"/>
                <a:gd name="T37" fmla="*/ 119 h 135"/>
                <a:gd name="T38" fmla="*/ 12 w 206"/>
                <a:gd name="T39" fmla="*/ 121 h 135"/>
                <a:gd name="T40" fmla="*/ 12 w 206"/>
                <a:gd name="T41" fmla="*/ 121 h 135"/>
                <a:gd name="T42" fmla="*/ 10 w 206"/>
                <a:gd name="T43" fmla="*/ 110 h 135"/>
                <a:gd name="T44" fmla="*/ 2 w 206"/>
                <a:gd name="T45" fmla="*/ 100 h 135"/>
                <a:gd name="T46" fmla="*/ 17 w 206"/>
                <a:gd name="T47" fmla="*/ 91 h 135"/>
                <a:gd name="T48" fmla="*/ 13 w 206"/>
                <a:gd name="T49" fmla="*/ 76 h 135"/>
                <a:gd name="T50" fmla="*/ 4 w 206"/>
                <a:gd name="T51" fmla="*/ 66 h 135"/>
                <a:gd name="T52" fmla="*/ 3 w 206"/>
                <a:gd name="T53" fmla="*/ 59 h 135"/>
                <a:gd name="T54" fmla="*/ 9 w 206"/>
                <a:gd name="T55" fmla="*/ 59 h 135"/>
                <a:gd name="T56" fmla="*/ 31 w 206"/>
                <a:gd name="T57" fmla="*/ 57 h 135"/>
                <a:gd name="T58" fmla="*/ 48 w 206"/>
                <a:gd name="T59" fmla="*/ 50 h 135"/>
                <a:gd name="T60" fmla="*/ 49 w 206"/>
                <a:gd name="T61" fmla="*/ 38 h 135"/>
                <a:gd name="T62" fmla="*/ 61 w 206"/>
                <a:gd name="T63" fmla="*/ 27 h 135"/>
                <a:gd name="T64" fmla="*/ 63 w 206"/>
                <a:gd name="T65" fmla="*/ 17 h 135"/>
                <a:gd name="T66" fmla="*/ 63 w 206"/>
                <a:gd name="T67" fmla="*/ 12 h 135"/>
                <a:gd name="T68" fmla="*/ 63 w 206"/>
                <a:gd name="T69" fmla="*/ 12 h 135"/>
                <a:gd name="T70" fmla="*/ 73 w 206"/>
                <a:gd name="T71" fmla="*/ 10 h 135"/>
                <a:gd name="T72" fmla="*/ 84 w 206"/>
                <a:gd name="T73" fmla="*/ 10 h 135"/>
                <a:gd name="T74" fmla="*/ 90 w 206"/>
                <a:gd name="T75" fmla="*/ 3 h 135"/>
                <a:gd name="T76" fmla="*/ 94 w 206"/>
                <a:gd name="T77" fmla="*/ 1 h 135"/>
                <a:gd name="T78" fmla="*/ 98 w 206"/>
                <a:gd name="T79" fmla="*/ 3 h 135"/>
                <a:gd name="T80" fmla="*/ 113 w 206"/>
                <a:gd name="T81" fmla="*/ 4 h 135"/>
                <a:gd name="T82" fmla="*/ 123 w 206"/>
                <a:gd name="T83" fmla="*/ 9 h 135"/>
                <a:gd name="T84" fmla="*/ 127 w 206"/>
                <a:gd name="T85" fmla="*/ 13 h 135"/>
                <a:gd name="T86" fmla="*/ 141 w 206"/>
                <a:gd name="T87" fmla="*/ 9 h 135"/>
                <a:gd name="T88" fmla="*/ 155 w 206"/>
                <a:gd name="T89" fmla="*/ 19 h 135"/>
                <a:gd name="T90" fmla="*/ 157 w 206"/>
                <a:gd name="T91" fmla="*/ 35 h 135"/>
                <a:gd name="T92" fmla="*/ 162 w 206"/>
                <a:gd name="T93" fmla="*/ 44 h 135"/>
                <a:gd name="T94" fmla="*/ 171 w 206"/>
                <a:gd name="T95" fmla="*/ 55 h 135"/>
                <a:gd name="T96" fmla="*/ 181 w 206"/>
                <a:gd name="T97" fmla="*/ 56 h 135"/>
                <a:gd name="T98" fmla="*/ 188 w 206"/>
                <a:gd name="T99" fmla="*/ 64 h 135"/>
                <a:gd name="T100" fmla="*/ 196 w 206"/>
                <a:gd name="T101" fmla="*/ 69 h 135"/>
                <a:gd name="T102" fmla="*/ 203 w 206"/>
                <a:gd name="T103" fmla="*/ 7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6" h="135">
                  <a:moveTo>
                    <a:pt x="203" y="74"/>
                  </a:moveTo>
                  <a:cubicBezTo>
                    <a:pt x="200" y="77"/>
                    <a:pt x="200" y="82"/>
                    <a:pt x="191" y="82"/>
                  </a:cubicBezTo>
                  <a:cubicBezTo>
                    <a:pt x="182" y="82"/>
                    <a:pt x="171" y="77"/>
                    <a:pt x="174" y="84"/>
                  </a:cubicBezTo>
                  <a:cubicBezTo>
                    <a:pt x="177" y="92"/>
                    <a:pt x="178" y="92"/>
                    <a:pt x="179" y="96"/>
                  </a:cubicBezTo>
                  <a:cubicBezTo>
                    <a:pt x="180" y="99"/>
                    <a:pt x="180" y="105"/>
                    <a:pt x="183" y="107"/>
                  </a:cubicBezTo>
                  <a:cubicBezTo>
                    <a:pt x="181" y="108"/>
                    <a:pt x="180" y="109"/>
                    <a:pt x="179" y="109"/>
                  </a:cubicBezTo>
                  <a:cubicBezTo>
                    <a:pt x="177" y="109"/>
                    <a:pt x="176" y="110"/>
                    <a:pt x="169" y="111"/>
                  </a:cubicBezTo>
                  <a:cubicBezTo>
                    <a:pt x="161" y="112"/>
                    <a:pt x="165" y="112"/>
                    <a:pt x="163" y="119"/>
                  </a:cubicBezTo>
                  <a:cubicBezTo>
                    <a:pt x="161" y="125"/>
                    <a:pt x="165" y="126"/>
                    <a:pt x="164" y="130"/>
                  </a:cubicBezTo>
                  <a:cubicBezTo>
                    <a:pt x="163" y="135"/>
                    <a:pt x="160" y="130"/>
                    <a:pt x="156" y="127"/>
                  </a:cubicBezTo>
                  <a:cubicBezTo>
                    <a:pt x="151" y="124"/>
                    <a:pt x="146" y="127"/>
                    <a:pt x="143" y="128"/>
                  </a:cubicBezTo>
                  <a:cubicBezTo>
                    <a:pt x="140" y="129"/>
                    <a:pt x="137" y="127"/>
                    <a:pt x="134" y="124"/>
                  </a:cubicBezTo>
                  <a:cubicBezTo>
                    <a:pt x="131" y="120"/>
                    <a:pt x="130" y="124"/>
                    <a:pt x="128" y="126"/>
                  </a:cubicBezTo>
                  <a:cubicBezTo>
                    <a:pt x="125" y="127"/>
                    <a:pt x="123" y="126"/>
                    <a:pt x="120" y="126"/>
                  </a:cubicBezTo>
                  <a:cubicBezTo>
                    <a:pt x="118" y="125"/>
                    <a:pt x="113" y="122"/>
                    <a:pt x="101" y="125"/>
                  </a:cubicBezTo>
                  <a:cubicBezTo>
                    <a:pt x="90" y="127"/>
                    <a:pt x="92" y="122"/>
                    <a:pt x="86" y="119"/>
                  </a:cubicBezTo>
                  <a:cubicBezTo>
                    <a:pt x="79" y="116"/>
                    <a:pt x="75" y="118"/>
                    <a:pt x="69" y="117"/>
                  </a:cubicBezTo>
                  <a:cubicBezTo>
                    <a:pt x="62" y="117"/>
                    <a:pt x="45" y="115"/>
                    <a:pt x="39" y="115"/>
                  </a:cubicBezTo>
                  <a:cubicBezTo>
                    <a:pt x="33" y="115"/>
                    <a:pt x="29" y="117"/>
                    <a:pt x="26" y="119"/>
                  </a:cubicBezTo>
                  <a:cubicBezTo>
                    <a:pt x="23" y="122"/>
                    <a:pt x="19" y="123"/>
                    <a:pt x="12" y="121"/>
                  </a:cubicBezTo>
                  <a:cubicBezTo>
                    <a:pt x="12" y="121"/>
                    <a:pt x="12" y="121"/>
                    <a:pt x="12" y="121"/>
                  </a:cubicBezTo>
                  <a:cubicBezTo>
                    <a:pt x="5" y="119"/>
                    <a:pt x="11" y="114"/>
                    <a:pt x="10" y="110"/>
                  </a:cubicBezTo>
                  <a:cubicBezTo>
                    <a:pt x="10" y="105"/>
                    <a:pt x="4" y="105"/>
                    <a:pt x="2" y="100"/>
                  </a:cubicBezTo>
                  <a:cubicBezTo>
                    <a:pt x="0" y="94"/>
                    <a:pt x="12" y="95"/>
                    <a:pt x="17" y="91"/>
                  </a:cubicBezTo>
                  <a:cubicBezTo>
                    <a:pt x="22" y="87"/>
                    <a:pt x="16" y="83"/>
                    <a:pt x="13" y="76"/>
                  </a:cubicBezTo>
                  <a:cubicBezTo>
                    <a:pt x="10" y="69"/>
                    <a:pt x="9" y="69"/>
                    <a:pt x="4" y="66"/>
                  </a:cubicBezTo>
                  <a:cubicBezTo>
                    <a:pt x="1" y="65"/>
                    <a:pt x="2" y="61"/>
                    <a:pt x="3" y="59"/>
                  </a:cubicBezTo>
                  <a:cubicBezTo>
                    <a:pt x="5" y="62"/>
                    <a:pt x="5" y="59"/>
                    <a:pt x="9" y="59"/>
                  </a:cubicBezTo>
                  <a:cubicBezTo>
                    <a:pt x="14" y="59"/>
                    <a:pt x="27" y="62"/>
                    <a:pt x="31" y="57"/>
                  </a:cubicBezTo>
                  <a:cubicBezTo>
                    <a:pt x="36" y="52"/>
                    <a:pt x="41" y="53"/>
                    <a:pt x="48" y="50"/>
                  </a:cubicBezTo>
                  <a:cubicBezTo>
                    <a:pt x="55" y="47"/>
                    <a:pt x="49" y="45"/>
                    <a:pt x="49" y="38"/>
                  </a:cubicBezTo>
                  <a:cubicBezTo>
                    <a:pt x="49" y="31"/>
                    <a:pt x="56" y="29"/>
                    <a:pt x="61" y="27"/>
                  </a:cubicBezTo>
                  <a:cubicBezTo>
                    <a:pt x="66" y="25"/>
                    <a:pt x="67" y="22"/>
                    <a:pt x="63" y="17"/>
                  </a:cubicBezTo>
                  <a:cubicBezTo>
                    <a:pt x="60" y="14"/>
                    <a:pt x="61" y="13"/>
                    <a:pt x="63" y="12"/>
                  </a:cubicBezTo>
                  <a:cubicBezTo>
                    <a:pt x="63" y="12"/>
                    <a:pt x="63" y="12"/>
                    <a:pt x="63" y="12"/>
                  </a:cubicBezTo>
                  <a:cubicBezTo>
                    <a:pt x="67" y="13"/>
                    <a:pt x="69" y="12"/>
                    <a:pt x="73" y="10"/>
                  </a:cubicBezTo>
                  <a:cubicBezTo>
                    <a:pt x="77" y="9"/>
                    <a:pt x="80" y="13"/>
                    <a:pt x="84" y="10"/>
                  </a:cubicBezTo>
                  <a:cubicBezTo>
                    <a:pt x="88" y="6"/>
                    <a:pt x="88" y="5"/>
                    <a:pt x="90" y="3"/>
                  </a:cubicBezTo>
                  <a:cubicBezTo>
                    <a:pt x="91" y="3"/>
                    <a:pt x="93" y="2"/>
                    <a:pt x="94" y="1"/>
                  </a:cubicBezTo>
                  <a:cubicBezTo>
                    <a:pt x="93" y="5"/>
                    <a:pt x="92" y="3"/>
                    <a:pt x="98" y="3"/>
                  </a:cubicBezTo>
                  <a:cubicBezTo>
                    <a:pt x="106" y="3"/>
                    <a:pt x="109" y="0"/>
                    <a:pt x="113" y="4"/>
                  </a:cubicBezTo>
                  <a:cubicBezTo>
                    <a:pt x="117" y="7"/>
                    <a:pt x="122" y="5"/>
                    <a:pt x="123" y="9"/>
                  </a:cubicBezTo>
                  <a:cubicBezTo>
                    <a:pt x="124" y="13"/>
                    <a:pt x="121" y="16"/>
                    <a:pt x="127" y="13"/>
                  </a:cubicBezTo>
                  <a:cubicBezTo>
                    <a:pt x="134" y="10"/>
                    <a:pt x="136" y="6"/>
                    <a:pt x="141" y="9"/>
                  </a:cubicBezTo>
                  <a:cubicBezTo>
                    <a:pt x="147" y="13"/>
                    <a:pt x="154" y="13"/>
                    <a:pt x="155" y="19"/>
                  </a:cubicBezTo>
                  <a:cubicBezTo>
                    <a:pt x="156" y="25"/>
                    <a:pt x="158" y="31"/>
                    <a:pt x="157" y="35"/>
                  </a:cubicBezTo>
                  <a:cubicBezTo>
                    <a:pt x="156" y="38"/>
                    <a:pt x="156" y="37"/>
                    <a:pt x="162" y="44"/>
                  </a:cubicBezTo>
                  <a:cubicBezTo>
                    <a:pt x="168" y="51"/>
                    <a:pt x="168" y="54"/>
                    <a:pt x="171" y="55"/>
                  </a:cubicBezTo>
                  <a:cubicBezTo>
                    <a:pt x="174" y="55"/>
                    <a:pt x="181" y="52"/>
                    <a:pt x="181" y="56"/>
                  </a:cubicBezTo>
                  <a:cubicBezTo>
                    <a:pt x="181" y="60"/>
                    <a:pt x="183" y="63"/>
                    <a:pt x="188" y="64"/>
                  </a:cubicBezTo>
                  <a:cubicBezTo>
                    <a:pt x="192" y="65"/>
                    <a:pt x="194" y="65"/>
                    <a:pt x="196" y="69"/>
                  </a:cubicBezTo>
                  <a:cubicBezTo>
                    <a:pt x="198" y="73"/>
                    <a:pt x="206" y="72"/>
                    <a:pt x="203" y="74"/>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25" name="Freeform 1194">
              <a:extLst>
                <a:ext uri="{FF2B5EF4-FFF2-40B4-BE49-F238E27FC236}">
                  <a16:creationId xmlns:a16="http://schemas.microsoft.com/office/drawing/2014/main" id="{3E7723C8-6A2A-F849-B3D8-A452121FC988}"/>
                </a:ext>
              </a:extLst>
            </p:cNvPr>
            <p:cNvSpPr>
              <a:spLocks/>
            </p:cNvSpPr>
            <p:nvPr/>
          </p:nvSpPr>
          <p:spPr bwMode="auto">
            <a:xfrm>
              <a:off x="4389451" y="1460956"/>
              <a:ext cx="84138" cy="77788"/>
            </a:xfrm>
            <a:custGeom>
              <a:avLst/>
              <a:gdLst>
                <a:gd name="T0" fmla="*/ 83 w 88"/>
                <a:gd name="T1" fmla="*/ 47 h 82"/>
                <a:gd name="T2" fmla="*/ 80 w 88"/>
                <a:gd name="T3" fmla="*/ 49 h 82"/>
                <a:gd name="T4" fmla="*/ 74 w 88"/>
                <a:gd name="T5" fmla="*/ 49 h 82"/>
                <a:gd name="T6" fmla="*/ 73 w 88"/>
                <a:gd name="T7" fmla="*/ 54 h 82"/>
                <a:gd name="T8" fmla="*/ 65 w 88"/>
                <a:gd name="T9" fmla="*/ 59 h 82"/>
                <a:gd name="T10" fmla="*/ 64 w 88"/>
                <a:gd name="T11" fmla="*/ 67 h 82"/>
                <a:gd name="T12" fmla="*/ 65 w 88"/>
                <a:gd name="T13" fmla="*/ 76 h 82"/>
                <a:gd name="T14" fmla="*/ 67 w 88"/>
                <a:gd name="T15" fmla="*/ 81 h 82"/>
                <a:gd name="T16" fmla="*/ 66 w 88"/>
                <a:gd name="T17" fmla="*/ 82 h 82"/>
                <a:gd name="T18" fmla="*/ 65 w 88"/>
                <a:gd name="T19" fmla="*/ 81 h 82"/>
                <a:gd name="T20" fmla="*/ 61 w 88"/>
                <a:gd name="T21" fmla="*/ 80 h 82"/>
                <a:gd name="T22" fmla="*/ 61 w 88"/>
                <a:gd name="T23" fmla="*/ 76 h 82"/>
                <a:gd name="T24" fmla="*/ 55 w 88"/>
                <a:gd name="T25" fmla="*/ 69 h 82"/>
                <a:gd name="T26" fmla="*/ 48 w 88"/>
                <a:gd name="T27" fmla="*/ 64 h 82"/>
                <a:gd name="T28" fmla="*/ 43 w 88"/>
                <a:gd name="T29" fmla="*/ 61 h 82"/>
                <a:gd name="T30" fmla="*/ 33 w 88"/>
                <a:gd name="T31" fmla="*/ 51 h 82"/>
                <a:gd name="T32" fmla="*/ 24 w 88"/>
                <a:gd name="T33" fmla="*/ 41 h 82"/>
                <a:gd name="T34" fmla="*/ 14 w 88"/>
                <a:gd name="T35" fmla="*/ 34 h 82"/>
                <a:gd name="T36" fmla="*/ 10 w 88"/>
                <a:gd name="T37" fmla="*/ 24 h 82"/>
                <a:gd name="T38" fmla="*/ 3 w 88"/>
                <a:gd name="T39" fmla="*/ 16 h 82"/>
                <a:gd name="T40" fmla="*/ 2 w 88"/>
                <a:gd name="T41" fmla="*/ 4 h 82"/>
                <a:gd name="T42" fmla="*/ 8 w 88"/>
                <a:gd name="T43" fmla="*/ 5 h 82"/>
                <a:gd name="T44" fmla="*/ 15 w 88"/>
                <a:gd name="T45" fmla="*/ 7 h 82"/>
                <a:gd name="T46" fmla="*/ 18 w 88"/>
                <a:gd name="T47" fmla="*/ 2 h 82"/>
                <a:gd name="T48" fmla="*/ 25 w 88"/>
                <a:gd name="T49" fmla="*/ 3 h 82"/>
                <a:gd name="T50" fmla="*/ 32 w 88"/>
                <a:gd name="T51" fmla="*/ 4 h 82"/>
                <a:gd name="T52" fmla="*/ 40 w 88"/>
                <a:gd name="T53" fmla="*/ 6 h 82"/>
                <a:gd name="T54" fmla="*/ 47 w 88"/>
                <a:gd name="T55" fmla="*/ 7 h 82"/>
                <a:gd name="T56" fmla="*/ 50 w 88"/>
                <a:gd name="T57" fmla="*/ 4 h 82"/>
                <a:gd name="T58" fmla="*/ 64 w 88"/>
                <a:gd name="T59" fmla="*/ 6 h 82"/>
                <a:gd name="T60" fmla="*/ 68 w 88"/>
                <a:gd name="T61" fmla="*/ 12 h 82"/>
                <a:gd name="T62" fmla="*/ 75 w 88"/>
                <a:gd name="T63" fmla="*/ 12 h 82"/>
                <a:gd name="T64" fmla="*/ 77 w 88"/>
                <a:gd name="T65" fmla="*/ 9 h 82"/>
                <a:gd name="T66" fmla="*/ 81 w 88"/>
                <a:gd name="T67" fmla="*/ 10 h 82"/>
                <a:gd name="T68" fmla="*/ 77 w 88"/>
                <a:gd name="T69" fmla="*/ 21 h 82"/>
                <a:gd name="T70" fmla="*/ 83 w 88"/>
                <a:gd name="T71" fmla="*/ 31 h 82"/>
                <a:gd name="T72" fmla="*/ 81 w 88"/>
                <a:gd name="T73" fmla="*/ 37 h 82"/>
                <a:gd name="T74" fmla="*/ 85 w 88"/>
                <a:gd name="T75" fmla="*/ 43 h 82"/>
                <a:gd name="T76" fmla="*/ 83 w 88"/>
                <a:gd name="T77"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 h="82">
                  <a:moveTo>
                    <a:pt x="83" y="47"/>
                  </a:moveTo>
                  <a:cubicBezTo>
                    <a:pt x="81" y="47"/>
                    <a:pt x="80" y="48"/>
                    <a:pt x="80" y="49"/>
                  </a:cubicBezTo>
                  <a:cubicBezTo>
                    <a:pt x="77" y="48"/>
                    <a:pt x="74" y="46"/>
                    <a:pt x="74" y="49"/>
                  </a:cubicBezTo>
                  <a:cubicBezTo>
                    <a:pt x="74" y="52"/>
                    <a:pt x="77" y="53"/>
                    <a:pt x="73" y="54"/>
                  </a:cubicBezTo>
                  <a:cubicBezTo>
                    <a:pt x="69" y="55"/>
                    <a:pt x="67" y="53"/>
                    <a:pt x="65" y="59"/>
                  </a:cubicBezTo>
                  <a:cubicBezTo>
                    <a:pt x="64" y="64"/>
                    <a:pt x="64" y="63"/>
                    <a:pt x="64" y="67"/>
                  </a:cubicBezTo>
                  <a:cubicBezTo>
                    <a:pt x="64" y="72"/>
                    <a:pt x="64" y="72"/>
                    <a:pt x="65" y="76"/>
                  </a:cubicBezTo>
                  <a:cubicBezTo>
                    <a:pt x="66" y="79"/>
                    <a:pt x="66" y="80"/>
                    <a:pt x="67" y="81"/>
                  </a:cubicBezTo>
                  <a:cubicBezTo>
                    <a:pt x="67" y="81"/>
                    <a:pt x="66" y="82"/>
                    <a:pt x="66" y="82"/>
                  </a:cubicBezTo>
                  <a:cubicBezTo>
                    <a:pt x="66" y="82"/>
                    <a:pt x="65" y="82"/>
                    <a:pt x="65" y="81"/>
                  </a:cubicBezTo>
                  <a:cubicBezTo>
                    <a:pt x="65" y="81"/>
                    <a:pt x="63" y="80"/>
                    <a:pt x="61" y="80"/>
                  </a:cubicBezTo>
                  <a:cubicBezTo>
                    <a:pt x="60" y="78"/>
                    <a:pt x="60" y="77"/>
                    <a:pt x="61" y="76"/>
                  </a:cubicBezTo>
                  <a:cubicBezTo>
                    <a:pt x="61" y="75"/>
                    <a:pt x="57" y="72"/>
                    <a:pt x="55" y="69"/>
                  </a:cubicBezTo>
                  <a:cubicBezTo>
                    <a:pt x="53" y="67"/>
                    <a:pt x="50" y="66"/>
                    <a:pt x="48" y="64"/>
                  </a:cubicBezTo>
                  <a:cubicBezTo>
                    <a:pt x="46" y="62"/>
                    <a:pt x="44" y="63"/>
                    <a:pt x="43" y="61"/>
                  </a:cubicBezTo>
                  <a:cubicBezTo>
                    <a:pt x="42" y="59"/>
                    <a:pt x="36" y="55"/>
                    <a:pt x="33" y="51"/>
                  </a:cubicBezTo>
                  <a:cubicBezTo>
                    <a:pt x="31" y="48"/>
                    <a:pt x="27" y="44"/>
                    <a:pt x="24" y="41"/>
                  </a:cubicBezTo>
                  <a:cubicBezTo>
                    <a:pt x="20" y="38"/>
                    <a:pt x="19" y="37"/>
                    <a:pt x="14" y="34"/>
                  </a:cubicBezTo>
                  <a:cubicBezTo>
                    <a:pt x="9" y="31"/>
                    <a:pt x="10" y="29"/>
                    <a:pt x="10" y="24"/>
                  </a:cubicBezTo>
                  <a:cubicBezTo>
                    <a:pt x="10" y="18"/>
                    <a:pt x="5" y="19"/>
                    <a:pt x="3" y="16"/>
                  </a:cubicBezTo>
                  <a:cubicBezTo>
                    <a:pt x="0" y="12"/>
                    <a:pt x="0" y="8"/>
                    <a:pt x="2" y="4"/>
                  </a:cubicBezTo>
                  <a:cubicBezTo>
                    <a:pt x="3" y="0"/>
                    <a:pt x="5" y="4"/>
                    <a:pt x="8" y="5"/>
                  </a:cubicBezTo>
                  <a:cubicBezTo>
                    <a:pt x="11" y="7"/>
                    <a:pt x="11" y="6"/>
                    <a:pt x="15" y="7"/>
                  </a:cubicBezTo>
                  <a:cubicBezTo>
                    <a:pt x="20" y="8"/>
                    <a:pt x="15" y="4"/>
                    <a:pt x="18" y="2"/>
                  </a:cubicBezTo>
                  <a:cubicBezTo>
                    <a:pt x="20" y="0"/>
                    <a:pt x="22" y="3"/>
                    <a:pt x="25" y="3"/>
                  </a:cubicBezTo>
                  <a:cubicBezTo>
                    <a:pt x="28" y="3"/>
                    <a:pt x="31" y="3"/>
                    <a:pt x="32" y="4"/>
                  </a:cubicBezTo>
                  <a:cubicBezTo>
                    <a:pt x="33" y="5"/>
                    <a:pt x="38" y="6"/>
                    <a:pt x="40" y="6"/>
                  </a:cubicBezTo>
                  <a:cubicBezTo>
                    <a:pt x="41" y="6"/>
                    <a:pt x="45" y="6"/>
                    <a:pt x="47" y="7"/>
                  </a:cubicBezTo>
                  <a:cubicBezTo>
                    <a:pt x="49" y="9"/>
                    <a:pt x="48" y="6"/>
                    <a:pt x="50" y="4"/>
                  </a:cubicBezTo>
                  <a:cubicBezTo>
                    <a:pt x="52" y="3"/>
                    <a:pt x="58" y="6"/>
                    <a:pt x="64" y="6"/>
                  </a:cubicBezTo>
                  <a:cubicBezTo>
                    <a:pt x="70" y="7"/>
                    <a:pt x="68" y="10"/>
                    <a:pt x="68" y="12"/>
                  </a:cubicBezTo>
                  <a:cubicBezTo>
                    <a:pt x="69" y="13"/>
                    <a:pt x="70" y="12"/>
                    <a:pt x="75" y="12"/>
                  </a:cubicBezTo>
                  <a:cubicBezTo>
                    <a:pt x="78" y="12"/>
                    <a:pt x="78" y="11"/>
                    <a:pt x="77" y="9"/>
                  </a:cubicBezTo>
                  <a:cubicBezTo>
                    <a:pt x="79" y="9"/>
                    <a:pt x="81" y="9"/>
                    <a:pt x="81" y="10"/>
                  </a:cubicBezTo>
                  <a:cubicBezTo>
                    <a:pt x="82" y="11"/>
                    <a:pt x="80" y="18"/>
                    <a:pt x="77" y="21"/>
                  </a:cubicBezTo>
                  <a:cubicBezTo>
                    <a:pt x="75" y="25"/>
                    <a:pt x="79" y="27"/>
                    <a:pt x="83" y="31"/>
                  </a:cubicBezTo>
                  <a:cubicBezTo>
                    <a:pt x="87" y="35"/>
                    <a:pt x="83" y="35"/>
                    <a:pt x="81" y="37"/>
                  </a:cubicBezTo>
                  <a:cubicBezTo>
                    <a:pt x="80" y="39"/>
                    <a:pt x="83" y="40"/>
                    <a:pt x="85" y="43"/>
                  </a:cubicBezTo>
                  <a:cubicBezTo>
                    <a:pt x="88" y="46"/>
                    <a:pt x="85" y="46"/>
                    <a:pt x="83" y="47"/>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26" name="Freeform 1195">
              <a:extLst>
                <a:ext uri="{FF2B5EF4-FFF2-40B4-BE49-F238E27FC236}">
                  <a16:creationId xmlns:a16="http://schemas.microsoft.com/office/drawing/2014/main" id="{1DD763EC-A724-0E48-8A16-665EA44D4352}"/>
                </a:ext>
              </a:extLst>
            </p:cNvPr>
            <p:cNvSpPr>
              <a:spLocks/>
            </p:cNvSpPr>
            <p:nvPr/>
          </p:nvSpPr>
          <p:spPr bwMode="auto">
            <a:xfrm>
              <a:off x="4454539" y="1435556"/>
              <a:ext cx="93663" cy="119063"/>
            </a:xfrm>
            <a:custGeom>
              <a:avLst/>
              <a:gdLst>
                <a:gd name="T0" fmla="*/ 97 w 99"/>
                <a:gd name="T1" fmla="*/ 87 h 124"/>
                <a:gd name="T2" fmla="*/ 91 w 99"/>
                <a:gd name="T3" fmla="*/ 92 h 124"/>
                <a:gd name="T4" fmla="*/ 86 w 99"/>
                <a:gd name="T5" fmla="*/ 98 h 124"/>
                <a:gd name="T6" fmla="*/ 87 w 99"/>
                <a:gd name="T7" fmla="*/ 106 h 124"/>
                <a:gd name="T8" fmla="*/ 85 w 99"/>
                <a:gd name="T9" fmla="*/ 106 h 124"/>
                <a:gd name="T10" fmla="*/ 77 w 99"/>
                <a:gd name="T11" fmla="*/ 107 h 124"/>
                <a:gd name="T12" fmla="*/ 67 w 99"/>
                <a:gd name="T13" fmla="*/ 110 h 124"/>
                <a:gd name="T14" fmla="*/ 62 w 99"/>
                <a:gd name="T15" fmla="*/ 111 h 124"/>
                <a:gd name="T16" fmla="*/ 56 w 99"/>
                <a:gd name="T17" fmla="*/ 113 h 124"/>
                <a:gd name="T18" fmla="*/ 50 w 99"/>
                <a:gd name="T19" fmla="*/ 117 h 124"/>
                <a:gd name="T20" fmla="*/ 45 w 99"/>
                <a:gd name="T21" fmla="*/ 122 h 124"/>
                <a:gd name="T22" fmla="*/ 44 w 99"/>
                <a:gd name="T23" fmla="*/ 121 h 124"/>
                <a:gd name="T24" fmla="*/ 43 w 99"/>
                <a:gd name="T25" fmla="*/ 113 h 124"/>
                <a:gd name="T26" fmla="*/ 32 w 99"/>
                <a:gd name="T27" fmla="*/ 103 h 124"/>
                <a:gd name="T28" fmla="*/ 32 w 99"/>
                <a:gd name="T29" fmla="*/ 103 h 124"/>
                <a:gd name="T30" fmla="*/ 34 w 99"/>
                <a:gd name="T31" fmla="*/ 98 h 124"/>
                <a:gd name="T32" fmla="*/ 39 w 99"/>
                <a:gd name="T33" fmla="*/ 93 h 124"/>
                <a:gd name="T34" fmla="*/ 32 w 99"/>
                <a:gd name="T35" fmla="*/ 88 h 124"/>
                <a:gd name="T36" fmla="*/ 20 w 99"/>
                <a:gd name="T37" fmla="*/ 82 h 124"/>
                <a:gd name="T38" fmla="*/ 11 w 99"/>
                <a:gd name="T39" fmla="*/ 76 h 124"/>
                <a:gd name="T40" fmla="*/ 12 w 99"/>
                <a:gd name="T41" fmla="*/ 75 h 124"/>
                <a:gd name="T42" fmla="*/ 15 w 99"/>
                <a:gd name="T43" fmla="*/ 73 h 124"/>
                <a:gd name="T44" fmla="*/ 17 w 99"/>
                <a:gd name="T45" fmla="*/ 69 h 124"/>
                <a:gd name="T46" fmla="*/ 13 w 99"/>
                <a:gd name="T47" fmla="*/ 63 h 124"/>
                <a:gd name="T48" fmla="*/ 15 w 99"/>
                <a:gd name="T49" fmla="*/ 57 h 124"/>
                <a:gd name="T50" fmla="*/ 9 w 99"/>
                <a:gd name="T51" fmla="*/ 47 h 124"/>
                <a:gd name="T52" fmla="*/ 13 w 99"/>
                <a:gd name="T53" fmla="*/ 36 h 124"/>
                <a:gd name="T54" fmla="*/ 9 w 99"/>
                <a:gd name="T55" fmla="*/ 35 h 124"/>
                <a:gd name="T56" fmla="*/ 7 w 99"/>
                <a:gd name="T57" fmla="*/ 33 h 124"/>
                <a:gd name="T58" fmla="*/ 10 w 99"/>
                <a:gd name="T59" fmla="*/ 28 h 124"/>
                <a:gd name="T60" fmla="*/ 4 w 99"/>
                <a:gd name="T61" fmla="*/ 22 h 124"/>
                <a:gd name="T62" fmla="*/ 2 w 99"/>
                <a:gd name="T63" fmla="*/ 13 h 124"/>
                <a:gd name="T64" fmla="*/ 0 w 99"/>
                <a:gd name="T65" fmla="*/ 10 h 124"/>
                <a:gd name="T66" fmla="*/ 3 w 99"/>
                <a:gd name="T67" fmla="*/ 8 h 124"/>
                <a:gd name="T68" fmla="*/ 17 w 99"/>
                <a:gd name="T69" fmla="*/ 2 h 124"/>
                <a:gd name="T70" fmla="*/ 31 w 99"/>
                <a:gd name="T71" fmla="*/ 1 h 124"/>
                <a:gd name="T72" fmla="*/ 31 w 99"/>
                <a:gd name="T73" fmla="*/ 5 h 124"/>
                <a:gd name="T74" fmla="*/ 40 w 99"/>
                <a:gd name="T75" fmla="*/ 12 h 124"/>
                <a:gd name="T76" fmla="*/ 46 w 99"/>
                <a:gd name="T77" fmla="*/ 20 h 124"/>
                <a:gd name="T78" fmla="*/ 55 w 99"/>
                <a:gd name="T79" fmla="*/ 27 h 124"/>
                <a:gd name="T80" fmla="*/ 60 w 99"/>
                <a:gd name="T81" fmla="*/ 36 h 124"/>
                <a:gd name="T82" fmla="*/ 62 w 99"/>
                <a:gd name="T83" fmla="*/ 42 h 124"/>
                <a:gd name="T84" fmla="*/ 74 w 99"/>
                <a:gd name="T85" fmla="*/ 47 h 124"/>
                <a:gd name="T86" fmla="*/ 81 w 99"/>
                <a:gd name="T87" fmla="*/ 43 h 124"/>
                <a:gd name="T88" fmla="*/ 90 w 99"/>
                <a:gd name="T89" fmla="*/ 45 h 124"/>
                <a:gd name="T90" fmla="*/ 85 w 99"/>
                <a:gd name="T91" fmla="*/ 51 h 124"/>
                <a:gd name="T92" fmla="*/ 89 w 99"/>
                <a:gd name="T93" fmla="*/ 55 h 124"/>
                <a:gd name="T94" fmla="*/ 88 w 99"/>
                <a:gd name="T95" fmla="*/ 58 h 124"/>
                <a:gd name="T96" fmla="*/ 83 w 99"/>
                <a:gd name="T97" fmla="*/ 67 h 124"/>
                <a:gd name="T98" fmla="*/ 90 w 99"/>
                <a:gd name="T99" fmla="*/ 78 h 124"/>
                <a:gd name="T100" fmla="*/ 97 w 99"/>
                <a:gd name="T101" fmla="*/ 8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9" h="124">
                  <a:moveTo>
                    <a:pt x="97" y="87"/>
                  </a:moveTo>
                  <a:cubicBezTo>
                    <a:pt x="95" y="89"/>
                    <a:pt x="95" y="91"/>
                    <a:pt x="91" y="92"/>
                  </a:cubicBezTo>
                  <a:cubicBezTo>
                    <a:pt x="87" y="93"/>
                    <a:pt x="86" y="94"/>
                    <a:pt x="86" y="98"/>
                  </a:cubicBezTo>
                  <a:cubicBezTo>
                    <a:pt x="86" y="102"/>
                    <a:pt x="93" y="105"/>
                    <a:pt x="87" y="106"/>
                  </a:cubicBezTo>
                  <a:cubicBezTo>
                    <a:pt x="86" y="106"/>
                    <a:pt x="86" y="106"/>
                    <a:pt x="85" y="106"/>
                  </a:cubicBezTo>
                  <a:cubicBezTo>
                    <a:pt x="82" y="107"/>
                    <a:pt x="84" y="105"/>
                    <a:pt x="77" y="107"/>
                  </a:cubicBezTo>
                  <a:cubicBezTo>
                    <a:pt x="69" y="109"/>
                    <a:pt x="68" y="109"/>
                    <a:pt x="67" y="110"/>
                  </a:cubicBezTo>
                  <a:cubicBezTo>
                    <a:pt x="66" y="111"/>
                    <a:pt x="64" y="110"/>
                    <a:pt x="62" y="111"/>
                  </a:cubicBezTo>
                  <a:cubicBezTo>
                    <a:pt x="60" y="112"/>
                    <a:pt x="59" y="111"/>
                    <a:pt x="56" y="113"/>
                  </a:cubicBezTo>
                  <a:cubicBezTo>
                    <a:pt x="53" y="114"/>
                    <a:pt x="54" y="113"/>
                    <a:pt x="50" y="117"/>
                  </a:cubicBezTo>
                  <a:cubicBezTo>
                    <a:pt x="47" y="121"/>
                    <a:pt x="46" y="124"/>
                    <a:pt x="45" y="122"/>
                  </a:cubicBezTo>
                  <a:cubicBezTo>
                    <a:pt x="45" y="122"/>
                    <a:pt x="45" y="122"/>
                    <a:pt x="44" y="121"/>
                  </a:cubicBezTo>
                  <a:cubicBezTo>
                    <a:pt x="44" y="118"/>
                    <a:pt x="47" y="117"/>
                    <a:pt x="43" y="113"/>
                  </a:cubicBezTo>
                  <a:cubicBezTo>
                    <a:pt x="39" y="109"/>
                    <a:pt x="34" y="106"/>
                    <a:pt x="32" y="103"/>
                  </a:cubicBezTo>
                  <a:cubicBezTo>
                    <a:pt x="32" y="103"/>
                    <a:pt x="32" y="103"/>
                    <a:pt x="32" y="103"/>
                  </a:cubicBezTo>
                  <a:cubicBezTo>
                    <a:pt x="31" y="99"/>
                    <a:pt x="33" y="101"/>
                    <a:pt x="34" y="98"/>
                  </a:cubicBezTo>
                  <a:cubicBezTo>
                    <a:pt x="34" y="95"/>
                    <a:pt x="37" y="95"/>
                    <a:pt x="39" y="93"/>
                  </a:cubicBezTo>
                  <a:cubicBezTo>
                    <a:pt x="40" y="91"/>
                    <a:pt x="37" y="91"/>
                    <a:pt x="32" y="88"/>
                  </a:cubicBezTo>
                  <a:cubicBezTo>
                    <a:pt x="26" y="86"/>
                    <a:pt x="24" y="84"/>
                    <a:pt x="20" y="82"/>
                  </a:cubicBezTo>
                  <a:cubicBezTo>
                    <a:pt x="16" y="80"/>
                    <a:pt x="11" y="79"/>
                    <a:pt x="11" y="76"/>
                  </a:cubicBezTo>
                  <a:cubicBezTo>
                    <a:pt x="11" y="76"/>
                    <a:pt x="11" y="75"/>
                    <a:pt x="12" y="75"/>
                  </a:cubicBezTo>
                  <a:cubicBezTo>
                    <a:pt x="12" y="74"/>
                    <a:pt x="13" y="73"/>
                    <a:pt x="15" y="73"/>
                  </a:cubicBezTo>
                  <a:cubicBezTo>
                    <a:pt x="17" y="72"/>
                    <a:pt x="20" y="72"/>
                    <a:pt x="17" y="69"/>
                  </a:cubicBezTo>
                  <a:cubicBezTo>
                    <a:pt x="15" y="66"/>
                    <a:pt x="12" y="65"/>
                    <a:pt x="13" y="63"/>
                  </a:cubicBezTo>
                  <a:cubicBezTo>
                    <a:pt x="15" y="61"/>
                    <a:pt x="19" y="61"/>
                    <a:pt x="15" y="57"/>
                  </a:cubicBezTo>
                  <a:cubicBezTo>
                    <a:pt x="11" y="53"/>
                    <a:pt x="7" y="51"/>
                    <a:pt x="9" y="47"/>
                  </a:cubicBezTo>
                  <a:cubicBezTo>
                    <a:pt x="12" y="44"/>
                    <a:pt x="14" y="37"/>
                    <a:pt x="13" y="36"/>
                  </a:cubicBezTo>
                  <a:cubicBezTo>
                    <a:pt x="13" y="35"/>
                    <a:pt x="11" y="35"/>
                    <a:pt x="9" y="35"/>
                  </a:cubicBezTo>
                  <a:cubicBezTo>
                    <a:pt x="8" y="35"/>
                    <a:pt x="7" y="35"/>
                    <a:pt x="7" y="33"/>
                  </a:cubicBezTo>
                  <a:cubicBezTo>
                    <a:pt x="7" y="31"/>
                    <a:pt x="11" y="29"/>
                    <a:pt x="10" y="28"/>
                  </a:cubicBezTo>
                  <a:cubicBezTo>
                    <a:pt x="8" y="26"/>
                    <a:pt x="7" y="26"/>
                    <a:pt x="4" y="22"/>
                  </a:cubicBezTo>
                  <a:cubicBezTo>
                    <a:pt x="2" y="18"/>
                    <a:pt x="3" y="15"/>
                    <a:pt x="2" y="13"/>
                  </a:cubicBezTo>
                  <a:cubicBezTo>
                    <a:pt x="2" y="12"/>
                    <a:pt x="1" y="11"/>
                    <a:pt x="0" y="10"/>
                  </a:cubicBezTo>
                  <a:cubicBezTo>
                    <a:pt x="1" y="9"/>
                    <a:pt x="1" y="8"/>
                    <a:pt x="3" y="8"/>
                  </a:cubicBezTo>
                  <a:cubicBezTo>
                    <a:pt x="8" y="6"/>
                    <a:pt x="12" y="6"/>
                    <a:pt x="17" y="2"/>
                  </a:cubicBezTo>
                  <a:cubicBezTo>
                    <a:pt x="21" y="0"/>
                    <a:pt x="26" y="1"/>
                    <a:pt x="31" y="1"/>
                  </a:cubicBezTo>
                  <a:cubicBezTo>
                    <a:pt x="30" y="2"/>
                    <a:pt x="29" y="3"/>
                    <a:pt x="31" y="5"/>
                  </a:cubicBezTo>
                  <a:cubicBezTo>
                    <a:pt x="35" y="8"/>
                    <a:pt x="38" y="8"/>
                    <a:pt x="40" y="12"/>
                  </a:cubicBezTo>
                  <a:cubicBezTo>
                    <a:pt x="43" y="16"/>
                    <a:pt x="46" y="15"/>
                    <a:pt x="46" y="20"/>
                  </a:cubicBezTo>
                  <a:cubicBezTo>
                    <a:pt x="46" y="25"/>
                    <a:pt x="50" y="23"/>
                    <a:pt x="55" y="27"/>
                  </a:cubicBezTo>
                  <a:cubicBezTo>
                    <a:pt x="60" y="31"/>
                    <a:pt x="61" y="33"/>
                    <a:pt x="60" y="36"/>
                  </a:cubicBezTo>
                  <a:cubicBezTo>
                    <a:pt x="60" y="39"/>
                    <a:pt x="57" y="39"/>
                    <a:pt x="62" y="42"/>
                  </a:cubicBezTo>
                  <a:cubicBezTo>
                    <a:pt x="68" y="44"/>
                    <a:pt x="69" y="47"/>
                    <a:pt x="74" y="47"/>
                  </a:cubicBezTo>
                  <a:cubicBezTo>
                    <a:pt x="80" y="47"/>
                    <a:pt x="76" y="42"/>
                    <a:pt x="81" y="43"/>
                  </a:cubicBezTo>
                  <a:cubicBezTo>
                    <a:pt x="86" y="44"/>
                    <a:pt x="91" y="44"/>
                    <a:pt x="90" y="45"/>
                  </a:cubicBezTo>
                  <a:cubicBezTo>
                    <a:pt x="90" y="46"/>
                    <a:pt x="84" y="47"/>
                    <a:pt x="85" y="51"/>
                  </a:cubicBezTo>
                  <a:cubicBezTo>
                    <a:pt x="85" y="53"/>
                    <a:pt x="89" y="53"/>
                    <a:pt x="89" y="55"/>
                  </a:cubicBezTo>
                  <a:cubicBezTo>
                    <a:pt x="89" y="56"/>
                    <a:pt x="88" y="57"/>
                    <a:pt x="88" y="58"/>
                  </a:cubicBezTo>
                  <a:cubicBezTo>
                    <a:pt x="84" y="62"/>
                    <a:pt x="79" y="63"/>
                    <a:pt x="83" y="67"/>
                  </a:cubicBezTo>
                  <a:cubicBezTo>
                    <a:pt x="86" y="72"/>
                    <a:pt x="87" y="74"/>
                    <a:pt x="90" y="78"/>
                  </a:cubicBezTo>
                  <a:cubicBezTo>
                    <a:pt x="93" y="82"/>
                    <a:pt x="99" y="84"/>
                    <a:pt x="97" y="87"/>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27" name="Freeform 1196">
              <a:extLst>
                <a:ext uri="{FF2B5EF4-FFF2-40B4-BE49-F238E27FC236}">
                  <a16:creationId xmlns:a16="http://schemas.microsoft.com/office/drawing/2014/main" id="{CD3163EA-9631-F141-8383-729B780DF48C}"/>
                </a:ext>
              </a:extLst>
            </p:cNvPr>
            <p:cNvSpPr>
              <a:spLocks/>
            </p:cNvSpPr>
            <p:nvPr/>
          </p:nvSpPr>
          <p:spPr bwMode="auto">
            <a:xfrm>
              <a:off x="4449777" y="1503818"/>
              <a:ext cx="42863" cy="46038"/>
            </a:xfrm>
            <a:custGeom>
              <a:avLst/>
              <a:gdLst>
                <a:gd name="T0" fmla="*/ 43 w 44"/>
                <a:gd name="T1" fmla="*/ 21 h 47"/>
                <a:gd name="T2" fmla="*/ 38 w 44"/>
                <a:gd name="T3" fmla="*/ 26 h 47"/>
                <a:gd name="T4" fmla="*/ 36 w 44"/>
                <a:gd name="T5" fmla="*/ 31 h 47"/>
                <a:gd name="T6" fmla="*/ 36 w 44"/>
                <a:gd name="T7" fmla="*/ 31 h 47"/>
                <a:gd name="T8" fmla="*/ 33 w 44"/>
                <a:gd name="T9" fmla="*/ 32 h 47"/>
                <a:gd name="T10" fmla="*/ 28 w 44"/>
                <a:gd name="T11" fmla="*/ 29 h 47"/>
                <a:gd name="T12" fmla="*/ 24 w 44"/>
                <a:gd name="T13" fmla="*/ 31 h 47"/>
                <a:gd name="T14" fmla="*/ 20 w 44"/>
                <a:gd name="T15" fmla="*/ 35 h 47"/>
                <a:gd name="T16" fmla="*/ 20 w 44"/>
                <a:gd name="T17" fmla="*/ 47 h 47"/>
                <a:gd name="T18" fmla="*/ 12 w 44"/>
                <a:gd name="T19" fmla="*/ 43 h 47"/>
                <a:gd name="T20" fmla="*/ 6 w 44"/>
                <a:gd name="T21" fmla="*/ 38 h 47"/>
                <a:gd name="T22" fmla="*/ 2 w 44"/>
                <a:gd name="T23" fmla="*/ 36 h 47"/>
                <a:gd name="T24" fmla="*/ 3 w 44"/>
                <a:gd name="T25" fmla="*/ 35 h 47"/>
                <a:gd name="T26" fmla="*/ 1 w 44"/>
                <a:gd name="T27" fmla="*/ 30 h 47"/>
                <a:gd name="T28" fmla="*/ 0 w 44"/>
                <a:gd name="T29" fmla="*/ 21 h 47"/>
                <a:gd name="T30" fmla="*/ 1 w 44"/>
                <a:gd name="T31" fmla="*/ 13 h 47"/>
                <a:gd name="T32" fmla="*/ 9 w 44"/>
                <a:gd name="T33" fmla="*/ 8 h 47"/>
                <a:gd name="T34" fmla="*/ 10 w 44"/>
                <a:gd name="T35" fmla="*/ 3 h 47"/>
                <a:gd name="T36" fmla="*/ 16 w 44"/>
                <a:gd name="T37" fmla="*/ 3 h 47"/>
                <a:gd name="T38" fmla="*/ 15 w 44"/>
                <a:gd name="T39" fmla="*/ 4 h 47"/>
                <a:gd name="T40" fmla="*/ 24 w 44"/>
                <a:gd name="T41" fmla="*/ 10 h 47"/>
                <a:gd name="T42" fmla="*/ 36 w 44"/>
                <a:gd name="T43" fmla="*/ 16 h 47"/>
                <a:gd name="T44" fmla="*/ 43 w 44"/>
                <a:gd name="T45"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47">
                  <a:moveTo>
                    <a:pt x="43" y="21"/>
                  </a:moveTo>
                  <a:cubicBezTo>
                    <a:pt x="41" y="23"/>
                    <a:pt x="38" y="23"/>
                    <a:pt x="38" y="26"/>
                  </a:cubicBezTo>
                  <a:cubicBezTo>
                    <a:pt x="37" y="29"/>
                    <a:pt x="35" y="27"/>
                    <a:pt x="36" y="31"/>
                  </a:cubicBezTo>
                  <a:cubicBezTo>
                    <a:pt x="36" y="31"/>
                    <a:pt x="36" y="31"/>
                    <a:pt x="36" y="31"/>
                  </a:cubicBezTo>
                  <a:cubicBezTo>
                    <a:pt x="35" y="31"/>
                    <a:pt x="34" y="32"/>
                    <a:pt x="33" y="32"/>
                  </a:cubicBezTo>
                  <a:cubicBezTo>
                    <a:pt x="30" y="32"/>
                    <a:pt x="32" y="32"/>
                    <a:pt x="28" y="29"/>
                  </a:cubicBezTo>
                  <a:cubicBezTo>
                    <a:pt x="24" y="26"/>
                    <a:pt x="25" y="29"/>
                    <a:pt x="24" y="31"/>
                  </a:cubicBezTo>
                  <a:cubicBezTo>
                    <a:pt x="23" y="33"/>
                    <a:pt x="21" y="34"/>
                    <a:pt x="20" y="35"/>
                  </a:cubicBezTo>
                  <a:cubicBezTo>
                    <a:pt x="19" y="35"/>
                    <a:pt x="20" y="44"/>
                    <a:pt x="20" y="47"/>
                  </a:cubicBezTo>
                  <a:cubicBezTo>
                    <a:pt x="16" y="46"/>
                    <a:pt x="12" y="46"/>
                    <a:pt x="12" y="43"/>
                  </a:cubicBezTo>
                  <a:cubicBezTo>
                    <a:pt x="12" y="41"/>
                    <a:pt x="6" y="40"/>
                    <a:pt x="6" y="38"/>
                  </a:cubicBezTo>
                  <a:cubicBezTo>
                    <a:pt x="6" y="36"/>
                    <a:pt x="4" y="36"/>
                    <a:pt x="2" y="36"/>
                  </a:cubicBezTo>
                  <a:cubicBezTo>
                    <a:pt x="2" y="36"/>
                    <a:pt x="3" y="35"/>
                    <a:pt x="3" y="35"/>
                  </a:cubicBezTo>
                  <a:cubicBezTo>
                    <a:pt x="2" y="34"/>
                    <a:pt x="2" y="33"/>
                    <a:pt x="1" y="30"/>
                  </a:cubicBezTo>
                  <a:cubicBezTo>
                    <a:pt x="0" y="26"/>
                    <a:pt x="0" y="26"/>
                    <a:pt x="0" y="21"/>
                  </a:cubicBezTo>
                  <a:cubicBezTo>
                    <a:pt x="0" y="17"/>
                    <a:pt x="0" y="18"/>
                    <a:pt x="1" y="13"/>
                  </a:cubicBezTo>
                  <a:cubicBezTo>
                    <a:pt x="3" y="7"/>
                    <a:pt x="5" y="9"/>
                    <a:pt x="9" y="8"/>
                  </a:cubicBezTo>
                  <a:cubicBezTo>
                    <a:pt x="13" y="7"/>
                    <a:pt x="10" y="6"/>
                    <a:pt x="10" y="3"/>
                  </a:cubicBezTo>
                  <a:cubicBezTo>
                    <a:pt x="10" y="0"/>
                    <a:pt x="13" y="2"/>
                    <a:pt x="16" y="3"/>
                  </a:cubicBezTo>
                  <a:cubicBezTo>
                    <a:pt x="15" y="3"/>
                    <a:pt x="15" y="4"/>
                    <a:pt x="15" y="4"/>
                  </a:cubicBezTo>
                  <a:cubicBezTo>
                    <a:pt x="15" y="7"/>
                    <a:pt x="20" y="8"/>
                    <a:pt x="24" y="10"/>
                  </a:cubicBezTo>
                  <a:cubicBezTo>
                    <a:pt x="28" y="12"/>
                    <a:pt x="30" y="14"/>
                    <a:pt x="36" y="16"/>
                  </a:cubicBezTo>
                  <a:cubicBezTo>
                    <a:pt x="41" y="19"/>
                    <a:pt x="44" y="19"/>
                    <a:pt x="43" y="2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28" name="Freeform 1197">
              <a:extLst>
                <a:ext uri="{FF2B5EF4-FFF2-40B4-BE49-F238E27FC236}">
                  <a16:creationId xmlns:a16="http://schemas.microsoft.com/office/drawing/2014/main" id="{26195BEC-F827-FB4E-AAC7-B7D959DB5E3A}"/>
                </a:ext>
              </a:extLst>
            </p:cNvPr>
            <p:cNvSpPr>
              <a:spLocks/>
            </p:cNvSpPr>
            <p:nvPr/>
          </p:nvSpPr>
          <p:spPr bwMode="auto">
            <a:xfrm>
              <a:off x="4492639" y="1535568"/>
              <a:ext cx="58738" cy="41275"/>
            </a:xfrm>
            <a:custGeom>
              <a:avLst/>
              <a:gdLst>
                <a:gd name="T0" fmla="*/ 58 w 61"/>
                <a:gd name="T1" fmla="*/ 29 h 43"/>
                <a:gd name="T2" fmla="*/ 57 w 61"/>
                <a:gd name="T3" fmla="*/ 31 h 43"/>
                <a:gd name="T4" fmla="*/ 50 w 61"/>
                <a:gd name="T5" fmla="*/ 35 h 43"/>
                <a:gd name="T6" fmla="*/ 39 w 61"/>
                <a:gd name="T7" fmla="*/ 36 h 43"/>
                <a:gd name="T8" fmla="*/ 31 w 61"/>
                <a:gd name="T9" fmla="*/ 41 h 43"/>
                <a:gd name="T10" fmla="*/ 19 w 61"/>
                <a:gd name="T11" fmla="*/ 43 h 43"/>
                <a:gd name="T12" fmla="*/ 12 w 61"/>
                <a:gd name="T13" fmla="*/ 43 h 43"/>
                <a:gd name="T14" fmla="*/ 5 w 61"/>
                <a:gd name="T15" fmla="*/ 39 h 43"/>
                <a:gd name="T16" fmla="*/ 2 w 61"/>
                <a:gd name="T17" fmla="*/ 29 h 43"/>
                <a:gd name="T18" fmla="*/ 1 w 61"/>
                <a:gd name="T19" fmla="*/ 24 h 43"/>
                <a:gd name="T20" fmla="*/ 2 w 61"/>
                <a:gd name="T21" fmla="*/ 21 h 43"/>
                <a:gd name="T22" fmla="*/ 4 w 61"/>
                <a:gd name="T23" fmla="*/ 17 h 43"/>
                <a:gd name="T24" fmla="*/ 9 w 61"/>
                <a:gd name="T25" fmla="*/ 12 h 43"/>
                <a:gd name="T26" fmla="*/ 15 w 61"/>
                <a:gd name="T27" fmla="*/ 8 h 43"/>
                <a:gd name="T28" fmla="*/ 21 w 61"/>
                <a:gd name="T29" fmla="*/ 6 h 43"/>
                <a:gd name="T30" fmla="*/ 25 w 61"/>
                <a:gd name="T31" fmla="*/ 5 h 43"/>
                <a:gd name="T32" fmla="*/ 26 w 61"/>
                <a:gd name="T33" fmla="*/ 5 h 43"/>
                <a:gd name="T34" fmla="*/ 36 w 61"/>
                <a:gd name="T35" fmla="*/ 2 h 43"/>
                <a:gd name="T36" fmla="*/ 44 w 61"/>
                <a:gd name="T37" fmla="*/ 1 h 43"/>
                <a:gd name="T38" fmla="*/ 45 w 61"/>
                <a:gd name="T39" fmla="*/ 4 h 43"/>
                <a:gd name="T40" fmla="*/ 53 w 61"/>
                <a:gd name="T41" fmla="*/ 11 h 43"/>
                <a:gd name="T42" fmla="*/ 57 w 61"/>
                <a:gd name="T43" fmla="*/ 16 h 43"/>
                <a:gd name="T44" fmla="*/ 60 w 61"/>
                <a:gd name="T45" fmla="*/ 23 h 43"/>
                <a:gd name="T46" fmla="*/ 58 w 61"/>
                <a:gd name="T4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1" h="43">
                  <a:moveTo>
                    <a:pt x="58" y="29"/>
                  </a:moveTo>
                  <a:cubicBezTo>
                    <a:pt x="58" y="30"/>
                    <a:pt x="57" y="30"/>
                    <a:pt x="57" y="31"/>
                  </a:cubicBezTo>
                  <a:cubicBezTo>
                    <a:pt x="56" y="32"/>
                    <a:pt x="54" y="33"/>
                    <a:pt x="50" y="35"/>
                  </a:cubicBezTo>
                  <a:cubicBezTo>
                    <a:pt x="46" y="37"/>
                    <a:pt x="43" y="35"/>
                    <a:pt x="39" y="36"/>
                  </a:cubicBezTo>
                  <a:cubicBezTo>
                    <a:pt x="35" y="37"/>
                    <a:pt x="33" y="38"/>
                    <a:pt x="31" y="41"/>
                  </a:cubicBezTo>
                  <a:cubicBezTo>
                    <a:pt x="29" y="43"/>
                    <a:pt x="24" y="43"/>
                    <a:pt x="19" y="43"/>
                  </a:cubicBezTo>
                  <a:cubicBezTo>
                    <a:pt x="15" y="43"/>
                    <a:pt x="13" y="43"/>
                    <a:pt x="12" y="43"/>
                  </a:cubicBezTo>
                  <a:cubicBezTo>
                    <a:pt x="10" y="42"/>
                    <a:pt x="8" y="42"/>
                    <a:pt x="5" y="39"/>
                  </a:cubicBezTo>
                  <a:cubicBezTo>
                    <a:pt x="3" y="35"/>
                    <a:pt x="2" y="31"/>
                    <a:pt x="2" y="29"/>
                  </a:cubicBezTo>
                  <a:cubicBezTo>
                    <a:pt x="2" y="27"/>
                    <a:pt x="1" y="25"/>
                    <a:pt x="1" y="24"/>
                  </a:cubicBezTo>
                  <a:cubicBezTo>
                    <a:pt x="0" y="23"/>
                    <a:pt x="0" y="23"/>
                    <a:pt x="2" y="21"/>
                  </a:cubicBezTo>
                  <a:cubicBezTo>
                    <a:pt x="2" y="20"/>
                    <a:pt x="3" y="18"/>
                    <a:pt x="4" y="17"/>
                  </a:cubicBezTo>
                  <a:cubicBezTo>
                    <a:pt x="5" y="19"/>
                    <a:pt x="6" y="16"/>
                    <a:pt x="9" y="12"/>
                  </a:cubicBezTo>
                  <a:cubicBezTo>
                    <a:pt x="13" y="8"/>
                    <a:pt x="12" y="9"/>
                    <a:pt x="15" y="8"/>
                  </a:cubicBezTo>
                  <a:cubicBezTo>
                    <a:pt x="18" y="6"/>
                    <a:pt x="19" y="7"/>
                    <a:pt x="21" y="6"/>
                  </a:cubicBezTo>
                  <a:cubicBezTo>
                    <a:pt x="23" y="5"/>
                    <a:pt x="24" y="6"/>
                    <a:pt x="25" y="5"/>
                  </a:cubicBezTo>
                  <a:cubicBezTo>
                    <a:pt x="25" y="5"/>
                    <a:pt x="26" y="5"/>
                    <a:pt x="26" y="5"/>
                  </a:cubicBezTo>
                  <a:cubicBezTo>
                    <a:pt x="27" y="4"/>
                    <a:pt x="28" y="4"/>
                    <a:pt x="36" y="2"/>
                  </a:cubicBezTo>
                  <a:cubicBezTo>
                    <a:pt x="43" y="0"/>
                    <a:pt x="41" y="2"/>
                    <a:pt x="44" y="1"/>
                  </a:cubicBezTo>
                  <a:cubicBezTo>
                    <a:pt x="44" y="2"/>
                    <a:pt x="44" y="3"/>
                    <a:pt x="45" y="4"/>
                  </a:cubicBezTo>
                  <a:cubicBezTo>
                    <a:pt x="47" y="7"/>
                    <a:pt x="50" y="10"/>
                    <a:pt x="53" y="11"/>
                  </a:cubicBezTo>
                  <a:cubicBezTo>
                    <a:pt x="55" y="11"/>
                    <a:pt x="54" y="12"/>
                    <a:pt x="57" y="16"/>
                  </a:cubicBezTo>
                  <a:cubicBezTo>
                    <a:pt x="60" y="20"/>
                    <a:pt x="58" y="20"/>
                    <a:pt x="60" y="23"/>
                  </a:cubicBezTo>
                  <a:cubicBezTo>
                    <a:pt x="61" y="26"/>
                    <a:pt x="59" y="28"/>
                    <a:pt x="58" y="29"/>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29" name="Freeform 1198">
              <a:extLst>
                <a:ext uri="{FF2B5EF4-FFF2-40B4-BE49-F238E27FC236}">
                  <a16:creationId xmlns:a16="http://schemas.microsoft.com/office/drawing/2014/main" id="{C215ACB8-73BF-2D4B-A60B-0AABEEE4BFE0}"/>
                </a:ext>
              </a:extLst>
            </p:cNvPr>
            <p:cNvSpPr>
              <a:spLocks/>
            </p:cNvSpPr>
            <p:nvPr/>
          </p:nvSpPr>
          <p:spPr bwMode="auto">
            <a:xfrm>
              <a:off x="4340239" y="1427618"/>
              <a:ext cx="123825" cy="109538"/>
            </a:xfrm>
            <a:custGeom>
              <a:avLst/>
              <a:gdLst>
                <a:gd name="T0" fmla="*/ 126 w 130"/>
                <a:gd name="T1" fmla="*/ 47 h 115"/>
                <a:gd name="T2" fmla="*/ 115 w 130"/>
                <a:gd name="T3" fmla="*/ 41 h 115"/>
                <a:gd name="T4" fmla="*/ 98 w 130"/>
                <a:gd name="T5" fmla="*/ 42 h 115"/>
                <a:gd name="T6" fmla="*/ 83 w 130"/>
                <a:gd name="T7" fmla="*/ 39 h 115"/>
                <a:gd name="T8" fmla="*/ 69 w 130"/>
                <a:gd name="T9" fmla="*/ 37 h 115"/>
                <a:gd name="T10" fmla="*/ 59 w 130"/>
                <a:gd name="T11" fmla="*/ 40 h 115"/>
                <a:gd name="T12" fmla="*/ 54 w 130"/>
                <a:gd name="T13" fmla="*/ 51 h 115"/>
                <a:gd name="T14" fmla="*/ 65 w 130"/>
                <a:gd name="T15" fmla="*/ 69 h 115"/>
                <a:gd name="T16" fmla="*/ 84 w 130"/>
                <a:gd name="T17" fmla="*/ 86 h 115"/>
                <a:gd name="T18" fmla="*/ 99 w 130"/>
                <a:gd name="T19" fmla="*/ 99 h 115"/>
                <a:gd name="T20" fmla="*/ 112 w 130"/>
                <a:gd name="T21" fmla="*/ 111 h 115"/>
                <a:gd name="T22" fmla="*/ 108 w 130"/>
                <a:gd name="T23" fmla="*/ 113 h 115"/>
                <a:gd name="T24" fmla="*/ 97 w 130"/>
                <a:gd name="T25" fmla="*/ 104 h 115"/>
                <a:gd name="T26" fmla="*/ 88 w 130"/>
                <a:gd name="T27" fmla="*/ 99 h 115"/>
                <a:gd name="T28" fmla="*/ 78 w 130"/>
                <a:gd name="T29" fmla="*/ 90 h 115"/>
                <a:gd name="T30" fmla="*/ 69 w 130"/>
                <a:gd name="T31" fmla="*/ 83 h 115"/>
                <a:gd name="T32" fmla="*/ 55 w 130"/>
                <a:gd name="T33" fmla="*/ 82 h 115"/>
                <a:gd name="T34" fmla="*/ 46 w 130"/>
                <a:gd name="T35" fmla="*/ 75 h 115"/>
                <a:gd name="T36" fmla="*/ 36 w 130"/>
                <a:gd name="T37" fmla="*/ 72 h 115"/>
                <a:gd name="T38" fmla="*/ 38 w 130"/>
                <a:gd name="T39" fmla="*/ 62 h 115"/>
                <a:gd name="T40" fmla="*/ 30 w 130"/>
                <a:gd name="T41" fmla="*/ 52 h 115"/>
                <a:gd name="T42" fmla="*/ 31 w 130"/>
                <a:gd name="T43" fmla="*/ 44 h 115"/>
                <a:gd name="T44" fmla="*/ 21 w 130"/>
                <a:gd name="T45" fmla="*/ 46 h 115"/>
                <a:gd name="T46" fmla="*/ 25 w 130"/>
                <a:gd name="T47" fmla="*/ 38 h 115"/>
                <a:gd name="T48" fmla="*/ 11 w 130"/>
                <a:gd name="T49" fmla="*/ 45 h 115"/>
                <a:gd name="T50" fmla="*/ 4 w 130"/>
                <a:gd name="T51" fmla="*/ 42 h 115"/>
                <a:gd name="T52" fmla="*/ 4 w 130"/>
                <a:gd name="T53" fmla="*/ 29 h 115"/>
                <a:gd name="T54" fmla="*/ 15 w 130"/>
                <a:gd name="T55" fmla="*/ 30 h 115"/>
                <a:gd name="T56" fmla="*/ 40 w 130"/>
                <a:gd name="T57" fmla="*/ 31 h 115"/>
                <a:gd name="T58" fmla="*/ 47 w 130"/>
                <a:gd name="T59" fmla="*/ 18 h 115"/>
                <a:gd name="T60" fmla="*/ 59 w 130"/>
                <a:gd name="T61" fmla="*/ 4 h 115"/>
                <a:gd name="T62" fmla="*/ 76 w 130"/>
                <a:gd name="T63" fmla="*/ 7 h 115"/>
                <a:gd name="T64" fmla="*/ 111 w 130"/>
                <a:gd name="T65" fmla="*/ 22 h 115"/>
                <a:gd name="T66" fmla="*/ 121 w 130"/>
                <a:gd name="T67" fmla="*/ 22 h 115"/>
                <a:gd name="T68" fmla="*/ 129 w 130"/>
                <a:gd name="T69" fmla="*/ 37 h 115"/>
                <a:gd name="T70" fmla="*/ 128 w 130"/>
                <a:gd name="T71" fmla="*/ 4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0" h="115">
                  <a:moveTo>
                    <a:pt x="128" y="44"/>
                  </a:moveTo>
                  <a:cubicBezTo>
                    <a:pt x="129" y="46"/>
                    <a:pt x="129" y="47"/>
                    <a:pt x="126" y="47"/>
                  </a:cubicBezTo>
                  <a:cubicBezTo>
                    <a:pt x="121" y="47"/>
                    <a:pt x="120" y="48"/>
                    <a:pt x="119" y="47"/>
                  </a:cubicBezTo>
                  <a:cubicBezTo>
                    <a:pt x="119" y="45"/>
                    <a:pt x="121" y="42"/>
                    <a:pt x="115" y="41"/>
                  </a:cubicBezTo>
                  <a:cubicBezTo>
                    <a:pt x="109" y="41"/>
                    <a:pt x="103" y="38"/>
                    <a:pt x="101" y="39"/>
                  </a:cubicBezTo>
                  <a:cubicBezTo>
                    <a:pt x="99" y="41"/>
                    <a:pt x="100" y="44"/>
                    <a:pt x="98" y="42"/>
                  </a:cubicBezTo>
                  <a:cubicBezTo>
                    <a:pt x="96" y="41"/>
                    <a:pt x="92" y="41"/>
                    <a:pt x="91" y="41"/>
                  </a:cubicBezTo>
                  <a:cubicBezTo>
                    <a:pt x="89" y="41"/>
                    <a:pt x="84" y="40"/>
                    <a:pt x="83" y="39"/>
                  </a:cubicBezTo>
                  <a:cubicBezTo>
                    <a:pt x="82" y="38"/>
                    <a:pt x="79" y="38"/>
                    <a:pt x="76" y="38"/>
                  </a:cubicBezTo>
                  <a:cubicBezTo>
                    <a:pt x="73" y="38"/>
                    <a:pt x="71" y="35"/>
                    <a:pt x="69" y="37"/>
                  </a:cubicBezTo>
                  <a:cubicBezTo>
                    <a:pt x="66" y="39"/>
                    <a:pt x="71" y="43"/>
                    <a:pt x="66" y="42"/>
                  </a:cubicBezTo>
                  <a:cubicBezTo>
                    <a:pt x="62" y="41"/>
                    <a:pt x="62" y="42"/>
                    <a:pt x="59" y="40"/>
                  </a:cubicBezTo>
                  <a:cubicBezTo>
                    <a:pt x="56" y="39"/>
                    <a:pt x="54" y="35"/>
                    <a:pt x="53" y="39"/>
                  </a:cubicBezTo>
                  <a:cubicBezTo>
                    <a:pt x="51" y="43"/>
                    <a:pt x="51" y="47"/>
                    <a:pt x="54" y="51"/>
                  </a:cubicBezTo>
                  <a:cubicBezTo>
                    <a:pt x="56" y="54"/>
                    <a:pt x="61" y="53"/>
                    <a:pt x="61" y="59"/>
                  </a:cubicBezTo>
                  <a:cubicBezTo>
                    <a:pt x="61" y="64"/>
                    <a:pt x="60" y="66"/>
                    <a:pt x="65" y="69"/>
                  </a:cubicBezTo>
                  <a:cubicBezTo>
                    <a:pt x="70" y="72"/>
                    <a:pt x="71" y="73"/>
                    <a:pt x="75" y="76"/>
                  </a:cubicBezTo>
                  <a:cubicBezTo>
                    <a:pt x="78" y="79"/>
                    <a:pt x="82" y="83"/>
                    <a:pt x="84" y="86"/>
                  </a:cubicBezTo>
                  <a:cubicBezTo>
                    <a:pt x="87" y="90"/>
                    <a:pt x="93" y="94"/>
                    <a:pt x="94" y="96"/>
                  </a:cubicBezTo>
                  <a:cubicBezTo>
                    <a:pt x="95" y="98"/>
                    <a:pt x="97" y="97"/>
                    <a:pt x="99" y="99"/>
                  </a:cubicBezTo>
                  <a:cubicBezTo>
                    <a:pt x="101" y="101"/>
                    <a:pt x="104" y="102"/>
                    <a:pt x="106" y="104"/>
                  </a:cubicBezTo>
                  <a:cubicBezTo>
                    <a:pt x="108" y="107"/>
                    <a:pt x="112" y="110"/>
                    <a:pt x="112" y="111"/>
                  </a:cubicBezTo>
                  <a:cubicBezTo>
                    <a:pt x="111" y="112"/>
                    <a:pt x="111" y="113"/>
                    <a:pt x="112" y="115"/>
                  </a:cubicBezTo>
                  <a:cubicBezTo>
                    <a:pt x="109" y="114"/>
                    <a:pt x="107" y="113"/>
                    <a:pt x="108" y="113"/>
                  </a:cubicBezTo>
                  <a:cubicBezTo>
                    <a:pt x="109" y="111"/>
                    <a:pt x="103" y="110"/>
                    <a:pt x="103" y="109"/>
                  </a:cubicBezTo>
                  <a:cubicBezTo>
                    <a:pt x="103" y="107"/>
                    <a:pt x="98" y="101"/>
                    <a:pt x="97" y="104"/>
                  </a:cubicBezTo>
                  <a:cubicBezTo>
                    <a:pt x="96" y="107"/>
                    <a:pt x="92" y="106"/>
                    <a:pt x="92" y="105"/>
                  </a:cubicBezTo>
                  <a:cubicBezTo>
                    <a:pt x="92" y="104"/>
                    <a:pt x="90" y="99"/>
                    <a:pt x="88" y="99"/>
                  </a:cubicBezTo>
                  <a:cubicBezTo>
                    <a:pt x="85" y="99"/>
                    <a:pt x="79" y="97"/>
                    <a:pt x="79" y="95"/>
                  </a:cubicBezTo>
                  <a:cubicBezTo>
                    <a:pt x="80" y="93"/>
                    <a:pt x="82" y="90"/>
                    <a:pt x="78" y="90"/>
                  </a:cubicBezTo>
                  <a:cubicBezTo>
                    <a:pt x="73" y="90"/>
                    <a:pt x="69" y="89"/>
                    <a:pt x="72" y="86"/>
                  </a:cubicBezTo>
                  <a:cubicBezTo>
                    <a:pt x="76" y="82"/>
                    <a:pt x="72" y="83"/>
                    <a:pt x="69" y="83"/>
                  </a:cubicBezTo>
                  <a:cubicBezTo>
                    <a:pt x="67" y="83"/>
                    <a:pt x="68" y="83"/>
                    <a:pt x="63" y="84"/>
                  </a:cubicBezTo>
                  <a:cubicBezTo>
                    <a:pt x="59" y="85"/>
                    <a:pt x="55" y="82"/>
                    <a:pt x="55" y="82"/>
                  </a:cubicBezTo>
                  <a:cubicBezTo>
                    <a:pt x="55" y="82"/>
                    <a:pt x="57" y="81"/>
                    <a:pt x="52" y="80"/>
                  </a:cubicBezTo>
                  <a:cubicBezTo>
                    <a:pt x="47" y="78"/>
                    <a:pt x="48" y="78"/>
                    <a:pt x="46" y="75"/>
                  </a:cubicBezTo>
                  <a:cubicBezTo>
                    <a:pt x="44" y="72"/>
                    <a:pt x="41" y="68"/>
                    <a:pt x="40" y="71"/>
                  </a:cubicBezTo>
                  <a:cubicBezTo>
                    <a:pt x="40" y="74"/>
                    <a:pt x="38" y="74"/>
                    <a:pt x="36" y="72"/>
                  </a:cubicBezTo>
                  <a:cubicBezTo>
                    <a:pt x="34" y="69"/>
                    <a:pt x="30" y="64"/>
                    <a:pt x="34" y="66"/>
                  </a:cubicBezTo>
                  <a:cubicBezTo>
                    <a:pt x="38" y="67"/>
                    <a:pt x="38" y="63"/>
                    <a:pt x="38" y="62"/>
                  </a:cubicBezTo>
                  <a:cubicBezTo>
                    <a:pt x="38" y="60"/>
                    <a:pt x="33" y="59"/>
                    <a:pt x="33" y="57"/>
                  </a:cubicBezTo>
                  <a:cubicBezTo>
                    <a:pt x="33" y="56"/>
                    <a:pt x="31" y="52"/>
                    <a:pt x="30" y="52"/>
                  </a:cubicBezTo>
                  <a:cubicBezTo>
                    <a:pt x="29" y="51"/>
                    <a:pt x="31" y="48"/>
                    <a:pt x="32" y="48"/>
                  </a:cubicBezTo>
                  <a:cubicBezTo>
                    <a:pt x="34" y="47"/>
                    <a:pt x="34" y="44"/>
                    <a:pt x="31" y="44"/>
                  </a:cubicBezTo>
                  <a:cubicBezTo>
                    <a:pt x="29" y="44"/>
                    <a:pt x="25" y="43"/>
                    <a:pt x="25" y="43"/>
                  </a:cubicBezTo>
                  <a:cubicBezTo>
                    <a:pt x="25" y="43"/>
                    <a:pt x="21" y="45"/>
                    <a:pt x="21" y="46"/>
                  </a:cubicBezTo>
                  <a:cubicBezTo>
                    <a:pt x="21" y="47"/>
                    <a:pt x="14" y="43"/>
                    <a:pt x="18" y="42"/>
                  </a:cubicBezTo>
                  <a:cubicBezTo>
                    <a:pt x="21" y="40"/>
                    <a:pt x="25" y="40"/>
                    <a:pt x="25" y="38"/>
                  </a:cubicBezTo>
                  <a:cubicBezTo>
                    <a:pt x="25" y="35"/>
                    <a:pt x="18" y="33"/>
                    <a:pt x="16" y="36"/>
                  </a:cubicBezTo>
                  <a:cubicBezTo>
                    <a:pt x="14" y="39"/>
                    <a:pt x="12" y="43"/>
                    <a:pt x="11" y="45"/>
                  </a:cubicBezTo>
                  <a:cubicBezTo>
                    <a:pt x="11" y="46"/>
                    <a:pt x="8" y="50"/>
                    <a:pt x="6" y="49"/>
                  </a:cubicBezTo>
                  <a:cubicBezTo>
                    <a:pt x="4" y="48"/>
                    <a:pt x="5" y="46"/>
                    <a:pt x="4" y="42"/>
                  </a:cubicBezTo>
                  <a:cubicBezTo>
                    <a:pt x="2" y="38"/>
                    <a:pt x="0" y="36"/>
                    <a:pt x="0" y="34"/>
                  </a:cubicBezTo>
                  <a:cubicBezTo>
                    <a:pt x="1" y="32"/>
                    <a:pt x="3" y="30"/>
                    <a:pt x="4" y="29"/>
                  </a:cubicBezTo>
                  <a:cubicBezTo>
                    <a:pt x="6" y="30"/>
                    <a:pt x="8" y="31"/>
                    <a:pt x="8" y="31"/>
                  </a:cubicBezTo>
                  <a:cubicBezTo>
                    <a:pt x="9" y="31"/>
                    <a:pt x="11" y="31"/>
                    <a:pt x="15" y="30"/>
                  </a:cubicBezTo>
                  <a:cubicBezTo>
                    <a:pt x="18" y="29"/>
                    <a:pt x="21" y="26"/>
                    <a:pt x="24" y="25"/>
                  </a:cubicBezTo>
                  <a:cubicBezTo>
                    <a:pt x="27" y="24"/>
                    <a:pt x="31" y="27"/>
                    <a:pt x="40" y="31"/>
                  </a:cubicBezTo>
                  <a:cubicBezTo>
                    <a:pt x="49" y="35"/>
                    <a:pt x="41" y="29"/>
                    <a:pt x="40" y="22"/>
                  </a:cubicBezTo>
                  <a:cubicBezTo>
                    <a:pt x="39" y="15"/>
                    <a:pt x="48" y="21"/>
                    <a:pt x="47" y="18"/>
                  </a:cubicBezTo>
                  <a:cubicBezTo>
                    <a:pt x="46" y="16"/>
                    <a:pt x="47" y="14"/>
                    <a:pt x="50" y="10"/>
                  </a:cubicBezTo>
                  <a:cubicBezTo>
                    <a:pt x="53" y="7"/>
                    <a:pt x="59" y="8"/>
                    <a:pt x="59" y="4"/>
                  </a:cubicBezTo>
                  <a:cubicBezTo>
                    <a:pt x="59" y="1"/>
                    <a:pt x="63" y="1"/>
                    <a:pt x="66" y="0"/>
                  </a:cubicBezTo>
                  <a:cubicBezTo>
                    <a:pt x="68" y="3"/>
                    <a:pt x="69" y="1"/>
                    <a:pt x="76" y="7"/>
                  </a:cubicBezTo>
                  <a:cubicBezTo>
                    <a:pt x="84" y="15"/>
                    <a:pt x="85" y="14"/>
                    <a:pt x="93" y="19"/>
                  </a:cubicBezTo>
                  <a:cubicBezTo>
                    <a:pt x="102" y="23"/>
                    <a:pt x="101" y="22"/>
                    <a:pt x="111" y="22"/>
                  </a:cubicBezTo>
                  <a:cubicBezTo>
                    <a:pt x="117" y="21"/>
                    <a:pt x="118" y="20"/>
                    <a:pt x="119" y="19"/>
                  </a:cubicBezTo>
                  <a:cubicBezTo>
                    <a:pt x="120" y="20"/>
                    <a:pt x="121" y="21"/>
                    <a:pt x="121" y="22"/>
                  </a:cubicBezTo>
                  <a:cubicBezTo>
                    <a:pt x="122" y="24"/>
                    <a:pt x="121" y="27"/>
                    <a:pt x="123" y="31"/>
                  </a:cubicBezTo>
                  <a:cubicBezTo>
                    <a:pt x="126" y="35"/>
                    <a:pt x="127" y="35"/>
                    <a:pt x="129" y="37"/>
                  </a:cubicBezTo>
                  <a:cubicBezTo>
                    <a:pt x="130" y="38"/>
                    <a:pt x="126" y="40"/>
                    <a:pt x="126" y="42"/>
                  </a:cubicBezTo>
                  <a:cubicBezTo>
                    <a:pt x="126" y="44"/>
                    <a:pt x="127" y="44"/>
                    <a:pt x="128" y="44"/>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30" name="Freeform 1199">
              <a:extLst>
                <a:ext uri="{FF2B5EF4-FFF2-40B4-BE49-F238E27FC236}">
                  <a16:creationId xmlns:a16="http://schemas.microsoft.com/office/drawing/2014/main" id="{F129D088-34E5-FD4D-8745-D927510DAD8E}"/>
                </a:ext>
              </a:extLst>
            </p:cNvPr>
            <p:cNvSpPr>
              <a:spLocks/>
            </p:cNvSpPr>
            <p:nvPr/>
          </p:nvSpPr>
          <p:spPr bwMode="auto">
            <a:xfrm>
              <a:off x="4337064" y="1414918"/>
              <a:ext cx="66675" cy="46038"/>
            </a:xfrm>
            <a:custGeom>
              <a:avLst/>
              <a:gdLst>
                <a:gd name="T0" fmla="*/ 70 w 70"/>
                <a:gd name="T1" fmla="*/ 12 h 47"/>
                <a:gd name="T2" fmla="*/ 63 w 70"/>
                <a:gd name="T3" fmla="*/ 16 h 47"/>
                <a:gd name="T4" fmla="*/ 54 w 70"/>
                <a:gd name="T5" fmla="*/ 22 h 47"/>
                <a:gd name="T6" fmla="*/ 51 w 70"/>
                <a:gd name="T7" fmla="*/ 30 h 47"/>
                <a:gd name="T8" fmla="*/ 44 w 70"/>
                <a:gd name="T9" fmla="*/ 34 h 47"/>
                <a:gd name="T10" fmla="*/ 44 w 70"/>
                <a:gd name="T11" fmla="*/ 43 h 47"/>
                <a:gd name="T12" fmla="*/ 28 w 70"/>
                <a:gd name="T13" fmla="*/ 37 h 47"/>
                <a:gd name="T14" fmla="*/ 19 w 70"/>
                <a:gd name="T15" fmla="*/ 42 h 47"/>
                <a:gd name="T16" fmla="*/ 12 w 70"/>
                <a:gd name="T17" fmla="*/ 43 h 47"/>
                <a:gd name="T18" fmla="*/ 8 w 70"/>
                <a:gd name="T19" fmla="*/ 41 h 47"/>
                <a:gd name="T20" fmla="*/ 10 w 70"/>
                <a:gd name="T21" fmla="*/ 40 h 47"/>
                <a:gd name="T22" fmla="*/ 9 w 70"/>
                <a:gd name="T23" fmla="*/ 35 h 47"/>
                <a:gd name="T24" fmla="*/ 6 w 70"/>
                <a:gd name="T25" fmla="*/ 34 h 47"/>
                <a:gd name="T26" fmla="*/ 6 w 70"/>
                <a:gd name="T27" fmla="*/ 30 h 47"/>
                <a:gd name="T28" fmla="*/ 7 w 70"/>
                <a:gd name="T29" fmla="*/ 24 h 47"/>
                <a:gd name="T30" fmla="*/ 3 w 70"/>
                <a:gd name="T31" fmla="*/ 20 h 47"/>
                <a:gd name="T32" fmla="*/ 7 w 70"/>
                <a:gd name="T33" fmla="*/ 14 h 47"/>
                <a:gd name="T34" fmla="*/ 10 w 70"/>
                <a:gd name="T35" fmla="*/ 14 h 47"/>
                <a:gd name="T36" fmla="*/ 25 w 70"/>
                <a:gd name="T37" fmla="*/ 17 h 47"/>
                <a:gd name="T38" fmla="*/ 34 w 70"/>
                <a:gd name="T39" fmla="*/ 10 h 47"/>
                <a:gd name="T40" fmla="*/ 50 w 70"/>
                <a:gd name="T41" fmla="*/ 11 h 47"/>
                <a:gd name="T42" fmla="*/ 61 w 70"/>
                <a:gd name="T43" fmla="*/ 3 h 47"/>
                <a:gd name="T44" fmla="*/ 66 w 70"/>
                <a:gd name="T45" fmla="*/ 4 h 47"/>
                <a:gd name="T46" fmla="*/ 69 w 70"/>
                <a:gd name="T47" fmla="*/ 10 h 47"/>
                <a:gd name="T48" fmla="*/ 70 w 70"/>
                <a:gd name="T49"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0" h="47">
                  <a:moveTo>
                    <a:pt x="70" y="12"/>
                  </a:moveTo>
                  <a:cubicBezTo>
                    <a:pt x="67" y="13"/>
                    <a:pt x="63" y="13"/>
                    <a:pt x="63" y="16"/>
                  </a:cubicBezTo>
                  <a:cubicBezTo>
                    <a:pt x="63" y="20"/>
                    <a:pt x="57" y="19"/>
                    <a:pt x="54" y="22"/>
                  </a:cubicBezTo>
                  <a:cubicBezTo>
                    <a:pt x="51" y="26"/>
                    <a:pt x="50" y="28"/>
                    <a:pt x="51" y="30"/>
                  </a:cubicBezTo>
                  <a:cubicBezTo>
                    <a:pt x="52" y="33"/>
                    <a:pt x="43" y="27"/>
                    <a:pt x="44" y="34"/>
                  </a:cubicBezTo>
                  <a:cubicBezTo>
                    <a:pt x="45" y="41"/>
                    <a:pt x="53" y="47"/>
                    <a:pt x="44" y="43"/>
                  </a:cubicBezTo>
                  <a:cubicBezTo>
                    <a:pt x="35" y="39"/>
                    <a:pt x="31" y="36"/>
                    <a:pt x="28" y="37"/>
                  </a:cubicBezTo>
                  <a:cubicBezTo>
                    <a:pt x="25" y="38"/>
                    <a:pt x="22" y="41"/>
                    <a:pt x="19" y="42"/>
                  </a:cubicBezTo>
                  <a:cubicBezTo>
                    <a:pt x="15" y="43"/>
                    <a:pt x="13" y="43"/>
                    <a:pt x="12" y="43"/>
                  </a:cubicBezTo>
                  <a:cubicBezTo>
                    <a:pt x="12" y="43"/>
                    <a:pt x="10" y="42"/>
                    <a:pt x="8" y="41"/>
                  </a:cubicBezTo>
                  <a:cubicBezTo>
                    <a:pt x="9" y="40"/>
                    <a:pt x="10" y="40"/>
                    <a:pt x="10" y="40"/>
                  </a:cubicBezTo>
                  <a:cubicBezTo>
                    <a:pt x="12" y="39"/>
                    <a:pt x="12" y="35"/>
                    <a:pt x="9" y="35"/>
                  </a:cubicBezTo>
                  <a:cubicBezTo>
                    <a:pt x="8" y="35"/>
                    <a:pt x="7" y="35"/>
                    <a:pt x="6" y="34"/>
                  </a:cubicBezTo>
                  <a:cubicBezTo>
                    <a:pt x="7" y="33"/>
                    <a:pt x="7" y="31"/>
                    <a:pt x="6" y="30"/>
                  </a:cubicBezTo>
                  <a:cubicBezTo>
                    <a:pt x="4" y="29"/>
                    <a:pt x="6" y="26"/>
                    <a:pt x="7" y="24"/>
                  </a:cubicBezTo>
                  <a:cubicBezTo>
                    <a:pt x="8" y="22"/>
                    <a:pt x="6" y="21"/>
                    <a:pt x="3" y="20"/>
                  </a:cubicBezTo>
                  <a:cubicBezTo>
                    <a:pt x="0" y="19"/>
                    <a:pt x="6" y="16"/>
                    <a:pt x="7" y="14"/>
                  </a:cubicBezTo>
                  <a:cubicBezTo>
                    <a:pt x="8" y="14"/>
                    <a:pt x="10" y="14"/>
                    <a:pt x="10" y="14"/>
                  </a:cubicBezTo>
                  <a:cubicBezTo>
                    <a:pt x="12" y="14"/>
                    <a:pt x="17" y="14"/>
                    <a:pt x="25" y="17"/>
                  </a:cubicBezTo>
                  <a:cubicBezTo>
                    <a:pt x="33" y="20"/>
                    <a:pt x="30" y="13"/>
                    <a:pt x="34" y="10"/>
                  </a:cubicBezTo>
                  <a:cubicBezTo>
                    <a:pt x="37" y="6"/>
                    <a:pt x="42" y="10"/>
                    <a:pt x="50" y="11"/>
                  </a:cubicBezTo>
                  <a:cubicBezTo>
                    <a:pt x="59" y="12"/>
                    <a:pt x="56" y="8"/>
                    <a:pt x="61" y="3"/>
                  </a:cubicBezTo>
                  <a:cubicBezTo>
                    <a:pt x="64" y="0"/>
                    <a:pt x="65" y="1"/>
                    <a:pt x="66" y="4"/>
                  </a:cubicBezTo>
                  <a:cubicBezTo>
                    <a:pt x="67" y="5"/>
                    <a:pt x="67" y="7"/>
                    <a:pt x="69" y="10"/>
                  </a:cubicBezTo>
                  <a:cubicBezTo>
                    <a:pt x="69" y="11"/>
                    <a:pt x="70" y="12"/>
                    <a:pt x="70" y="12"/>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31" name="Freeform 1200">
              <a:extLst>
                <a:ext uri="{FF2B5EF4-FFF2-40B4-BE49-F238E27FC236}">
                  <a16:creationId xmlns:a16="http://schemas.microsoft.com/office/drawing/2014/main" id="{7F025331-4A3A-D04B-9363-53699F5118DE}"/>
                </a:ext>
              </a:extLst>
            </p:cNvPr>
            <p:cNvSpPr>
              <a:spLocks/>
            </p:cNvSpPr>
            <p:nvPr/>
          </p:nvSpPr>
          <p:spPr bwMode="auto">
            <a:xfrm>
              <a:off x="4468827" y="1529218"/>
              <a:ext cx="39688" cy="80963"/>
            </a:xfrm>
            <a:custGeom>
              <a:avLst/>
              <a:gdLst>
                <a:gd name="T0" fmla="*/ 41 w 42"/>
                <a:gd name="T1" fmla="*/ 58 h 85"/>
                <a:gd name="T2" fmla="*/ 35 w 42"/>
                <a:gd name="T3" fmla="*/ 67 h 85"/>
                <a:gd name="T4" fmla="*/ 29 w 42"/>
                <a:gd name="T5" fmla="*/ 73 h 85"/>
                <a:gd name="T6" fmla="*/ 27 w 42"/>
                <a:gd name="T7" fmla="*/ 79 h 85"/>
                <a:gd name="T8" fmla="*/ 24 w 42"/>
                <a:gd name="T9" fmla="*/ 84 h 85"/>
                <a:gd name="T10" fmla="*/ 21 w 42"/>
                <a:gd name="T11" fmla="*/ 85 h 85"/>
                <a:gd name="T12" fmla="*/ 18 w 42"/>
                <a:gd name="T13" fmla="*/ 82 h 85"/>
                <a:gd name="T14" fmla="*/ 9 w 42"/>
                <a:gd name="T15" fmla="*/ 71 h 85"/>
                <a:gd name="T16" fmla="*/ 2 w 42"/>
                <a:gd name="T17" fmla="*/ 61 h 85"/>
                <a:gd name="T18" fmla="*/ 3 w 42"/>
                <a:gd name="T19" fmla="*/ 52 h 85"/>
                <a:gd name="T20" fmla="*/ 4 w 42"/>
                <a:gd name="T21" fmla="*/ 43 h 85"/>
                <a:gd name="T22" fmla="*/ 4 w 42"/>
                <a:gd name="T23" fmla="*/ 31 h 85"/>
                <a:gd name="T24" fmla="*/ 2 w 42"/>
                <a:gd name="T25" fmla="*/ 22 h 85"/>
                <a:gd name="T26" fmla="*/ 1 w 42"/>
                <a:gd name="T27" fmla="*/ 21 h 85"/>
                <a:gd name="T28" fmla="*/ 1 w 42"/>
                <a:gd name="T29" fmla="*/ 9 h 85"/>
                <a:gd name="T30" fmla="*/ 5 w 42"/>
                <a:gd name="T31" fmla="*/ 5 h 85"/>
                <a:gd name="T32" fmla="*/ 9 w 42"/>
                <a:gd name="T33" fmla="*/ 3 h 85"/>
                <a:gd name="T34" fmla="*/ 14 w 42"/>
                <a:gd name="T35" fmla="*/ 6 h 85"/>
                <a:gd name="T36" fmla="*/ 17 w 42"/>
                <a:gd name="T37" fmla="*/ 5 h 85"/>
                <a:gd name="T38" fmla="*/ 28 w 42"/>
                <a:gd name="T39" fmla="*/ 15 h 85"/>
                <a:gd name="T40" fmla="*/ 29 w 42"/>
                <a:gd name="T41" fmla="*/ 23 h 85"/>
                <a:gd name="T42" fmla="*/ 30 w 42"/>
                <a:gd name="T43" fmla="*/ 24 h 85"/>
                <a:gd name="T44" fmla="*/ 30 w 42"/>
                <a:gd name="T45" fmla="*/ 24 h 85"/>
                <a:gd name="T46" fmla="*/ 28 w 42"/>
                <a:gd name="T47" fmla="*/ 28 h 85"/>
                <a:gd name="T48" fmla="*/ 27 w 42"/>
                <a:gd name="T49" fmla="*/ 31 h 85"/>
                <a:gd name="T50" fmla="*/ 28 w 42"/>
                <a:gd name="T51" fmla="*/ 36 h 85"/>
                <a:gd name="T52" fmla="*/ 31 w 42"/>
                <a:gd name="T53" fmla="*/ 46 h 85"/>
                <a:gd name="T54" fmla="*/ 38 w 42"/>
                <a:gd name="T55" fmla="*/ 50 h 85"/>
                <a:gd name="T56" fmla="*/ 38 w 42"/>
                <a:gd name="T57" fmla="*/ 50 h 85"/>
                <a:gd name="T58" fmla="*/ 41 w 42"/>
                <a:gd name="T59" fmla="*/ 5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85">
                  <a:moveTo>
                    <a:pt x="41" y="58"/>
                  </a:moveTo>
                  <a:cubicBezTo>
                    <a:pt x="39" y="60"/>
                    <a:pt x="36" y="62"/>
                    <a:pt x="35" y="67"/>
                  </a:cubicBezTo>
                  <a:cubicBezTo>
                    <a:pt x="34" y="72"/>
                    <a:pt x="33" y="72"/>
                    <a:pt x="29" y="73"/>
                  </a:cubicBezTo>
                  <a:cubicBezTo>
                    <a:pt x="25" y="74"/>
                    <a:pt x="27" y="75"/>
                    <a:pt x="27" y="79"/>
                  </a:cubicBezTo>
                  <a:cubicBezTo>
                    <a:pt x="26" y="83"/>
                    <a:pt x="26" y="82"/>
                    <a:pt x="24" y="84"/>
                  </a:cubicBezTo>
                  <a:cubicBezTo>
                    <a:pt x="23" y="85"/>
                    <a:pt x="22" y="85"/>
                    <a:pt x="21" y="85"/>
                  </a:cubicBezTo>
                  <a:cubicBezTo>
                    <a:pt x="21" y="85"/>
                    <a:pt x="20" y="84"/>
                    <a:pt x="18" y="82"/>
                  </a:cubicBezTo>
                  <a:cubicBezTo>
                    <a:pt x="10" y="74"/>
                    <a:pt x="11" y="75"/>
                    <a:pt x="9" y="71"/>
                  </a:cubicBezTo>
                  <a:cubicBezTo>
                    <a:pt x="7" y="68"/>
                    <a:pt x="2" y="64"/>
                    <a:pt x="2" y="61"/>
                  </a:cubicBezTo>
                  <a:cubicBezTo>
                    <a:pt x="3" y="58"/>
                    <a:pt x="2" y="54"/>
                    <a:pt x="3" y="52"/>
                  </a:cubicBezTo>
                  <a:cubicBezTo>
                    <a:pt x="4" y="49"/>
                    <a:pt x="4" y="46"/>
                    <a:pt x="4" y="43"/>
                  </a:cubicBezTo>
                  <a:cubicBezTo>
                    <a:pt x="5" y="40"/>
                    <a:pt x="3" y="35"/>
                    <a:pt x="4" y="31"/>
                  </a:cubicBezTo>
                  <a:cubicBezTo>
                    <a:pt x="5" y="28"/>
                    <a:pt x="7" y="24"/>
                    <a:pt x="2" y="22"/>
                  </a:cubicBezTo>
                  <a:cubicBezTo>
                    <a:pt x="2" y="22"/>
                    <a:pt x="1" y="21"/>
                    <a:pt x="1" y="21"/>
                  </a:cubicBezTo>
                  <a:cubicBezTo>
                    <a:pt x="1" y="18"/>
                    <a:pt x="0" y="9"/>
                    <a:pt x="1" y="9"/>
                  </a:cubicBezTo>
                  <a:cubicBezTo>
                    <a:pt x="2" y="8"/>
                    <a:pt x="4" y="7"/>
                    <a:pt x="5" y="5"/>
                  </a:cubicBezTo>
                  <a:cubicBezTo>
                    <a:pt x="6" y="3"/>
                    <a:pt x="5" y="0"/>
                    <a:pt x="9" y="3"/>
                  </a:cubicBezTo>
                  <a:cubicBezTo>
                    <a:pt x="13" y="6"/>
                    <a:pt x="11" y="6"/>
                    <a:pt x="14" y="6"/>
                  </a:cubicBezTo>
                  <a:cubicBezTo>
                    <a:pt x="15" y="6"/>
                    <a:pt x="16" y="5"/>
                    <a:pt x="17" y="5"/>
                  </a:cubicBezTo>
                  <a:cubicBezTo>
                    <a:pt x="19" y="8"/>
                    <a:pt x="24" y="11"/>
                    <a:pt x="28" y="15"/>
                  </a:cubicBezTo>
                  <a:cubicBezTo>
                    <a:pt x="32" y="19"/>
                    <a:pt x="29" y="20"/>
                    <a:pt x="29" y="23"/>
                  </a:cubicBezTo>
                  <a:cubicBezTo>
                    <a:pt x="30" y="24"/>
                    <a:pt x="30" y="24"/>
                    <a:pt x="30" y="24"/>
                  </a:cubicBezTo>
                  <a:cubicBezTo>
                    <a:pt x="30" y="24"/>
                    <a:pt x="30" y="24"/>
                    <a:pt x="30" y="24"/>
                  </a:cubicBezTo>
                  <a:cubicBezTo>
                    <a:pt x="29" y="25"/>
                    <a:pt x="28" y="27"/>
                    <a:pt x="28" y="28"/>
                  </a:cubicBezTo>
                  <a:cubicBezTo>
                    <a:pt x="26" y="30"/>
                    <a:pt x="26" y="30"/>
                    <a:pt x="27" y="31"/>
                  </a:cubicBezTo>
                  <a:cubicBezTo>
                    <a:pt x="27" y="32"/>
                    <a:pt x="28" y="34"/>
                    <a:pt x="28" y="36"/>
                  </a:cubicBezTo>
                  <a:cubicBezTo>
                    <a:pt x="28" y="38"/>
                    <a:pt x="29" y="42"/>
                    <a:pt x="31" y="46"/>
                  </a:cubicBezTo>
                  <a:cubicBezTo>
                    <a:pt x="34" y="49"/>
                    <a:pt x="36" y="49"/>
                    <a:pt x="38" y="50"/>
                  </a:cubicBezTo>
                  <a:cubicBezTo>
                    <a:pt x="38" y="50"/>
                    <a:pt x="38" y="50"/>
                    <a:pt x="38" y="50"/>
                  </a:cubicBezTo>
                  <a:cubicBezTo>
                    <a:pt x="41" y="52"/>
                    <a:pt x="42" y="56"/>
                    <a:pt x="41" y="58"/>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32" name="Freeform 1201">
              <a:extLst>
                <a:ext uri="{FF2B5EF4-FFF2-40B4-BE49-F238E27FC236}">
                  <a16:creationId xmlns:a16="http://schemas.microsoft.com/office/drawing/2014/main" id="{0E72A338-632A-A948-A130-6BEEEB52D024}"/>
                </a:ext>
              </a:extLst>
            </p:cNvPr>
            <p:cNvSpPr>
              <a:spLocks/>
            </p:cNvSpPr>
            <p:nvPr/>
          </p:nvSpPr>
          <p:spPr bwMode="auto">
            <a:xfrm>
              <a:off x="4408502" y="1346656"/>
              <a:ext cx="120650" cy="50800"/>
            </a:xfrm>
            <a:custGeom>
              <a:avLst/>
              <a:gdLst>
                <a:gd name="T0" fmla="*/ 126 w 126"/>
                <a:gd name="T1" fmla="*/ 17 h 53"/>
                <a:gd name="T2" fmla="*/ 122 w 126"/>
                <a:gd name="T3" fmla="*/ 22 h 53"/>
                <a:gd name="T4" fmla="*/ 117 w 126"/>
                <a:gd name="T5" fmla="*/ 35 h 53"/>
                <a:gd name="T6" fmla="*/ 112 w 126"/>
                <a:gd name="T7" fmla="*/ 35 h 53"/>
                <a:gd name="T8" fmla="*/ 104 w 126"/>
                <a:gd name="T9" fmla="*/ 31 h 53"/>
                <a:gd name="T10" fmla="*/ 92 w 126"/>
                <a:gd name="T11" fmla="*/ 31 h 53"/>
                <a:gd name="T12" fmla="*/ 86 w 126"/>
                <a:gd name="T13" fmla="*/ 29 h 53"/>
                <a:gd name="T14" fmla="*/ 81 w 126"/>
                <a:gd name="T15" fmla="*/ 31 h 53"/>
                <a:gd name="T16" fmla="*/ 78 w 126"/>
                <a:gd name="T17" fmla="*/ 37 h 53"/>
                <a:gd name="T18" fmla="*/ 68 w 126"/>
                <a:gd name="T19" fmla="*/ 41 h 53"/>
                <a:gd name="T20" fmla="*/ 62 w 126"/>
                <a:gd name="T21" fmla="*/ 39 h 53"/>
                <a:gd name="T22" fmla="*/ 56 w 126"/>
                <a:gd name="T23" fmla="*/ 43 h 53"/>
                <a:gd name="T24" fmla="*/ 45 w 126"/>
                <a:gd name="T25" fmla="*/ 45 h 53"/>
                <a:gd name="T26" fmla="*/ 37 w 126"/>
                <a:gd name="T27" fmla="*/ 51 h 53"/>
                <a:gd name="T28" fmla="*/ 27 w 126"/>
                <a:gd name="T29" fmla="*/ 52 h 53"/>
                <a:gd name="T30" fmla="*/ 16 w 126"/>
                <a:gd name="T31" fmla="*/ 49 h 53"/>
                <a:gd name="T32" fmla="*/ 11 w 126"/>
                <a:gd name="T33" fmla="*/ 46 h 53"/>
                <a:gd name="T34" fmla="*/ 6 w 126"/>
                <a:gd name="T35" fmla="*/ 46 h 53"/>
                <a:gd name="T36" fmla="*/ 3 w 126"/>
                <a:gd name="T37" fmla="*/ 41 h 53"/>
                <a:gd name="T38" fmla="*/ 1 w 126"/>
                <a:gd name="T39" fmla="*/ 33 h 53"/>
                <a:gd name="T40" fmla="*/ 2 w 126"/>
                <a:gd name="T41" fmla="*/ 25 h 53"/>
                <a:gd name="T42" fmla="*/ 8 w 126"/>
                <a:gd name="T43" fmla="*/ 23 h 53"/>
                <a:gd name="T44" fmla="*/ 18 w 126"/>
                <a:gd name="T45" fmla="*/ 22 h 53"/>
                <a:gd name="T46" fmla="*/ 26 w 126"/>
                <a:gd name="T47" fmla="*/ 17 h 53"/>
                <a:gd name="T48" fmla="*/ 31 w 126"/>
                <a:gd name="T49" fmla="*/ 8 h 53"/>
                <a:gd name="T50" fmla="*/ 36 w 126"/>
                <a:gd name="T51" fmla="*/ 6 h 53"/>
                <a:gd name="T52" fmla="*/ 39 w 126"/>
                <a:gd name="T53" fmla="*/ 4 h 53"/>
                <a:gd name="T54" fmla="*/ 43 w 126"/>
                <a:gd name="T55" fmla="*/ 5 h 53"/>
                <a:gd name="T56" fmla="*/ 58 w 126"/>
                <a:gd name="T57" fmla="*/ 3 h 53"/>
                <a:gd name="T58" fmla="*/ 67 w 126"/>
                <a:gd name="T59" fmla="*/ 12 h 53"/>
                <a:gd name="T60" fmla="*/ 80 w 126"/>
                <a:gd name="T61" fmla="*/ 7 h 53"/>
                <a:gd name="T62" fmla="*/ 92 w 126"/>
                <a:gd name="T63" fmla="*/ 9 h 53"/>
                <a:gd name="T64" fmla="*/ 101 w 126"/>
                <a:gd name="T65" fmla="*/ 6 h 53"/>
                <a:gd name="T66" fmla="*/ 123 w 126"/>
                <a:gd name="T67" fmla="*/ 15 h 53"/>
                <a:gd name="T68" fmla="*/ 126 w 126"/>
                <a:gd name="T69" fmla="*/ 1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53">
                  <a:moveTo>
                    <a:pt x="126" y="17"/>
                  </a:moveTo>
                  <a:cubicBezTo>
                    <a:pt x="124" y="17"/>
                    <a:pt x="123" y="18"/>
                    <a:pt x="122" y="22"/>
                  </a:cubicBezTo>
                  <a:cubicBezTo>
                    <a:pt x="120" y="28"/>
                    <a:pt x="113" y="33"/>
                    <a:pt x="117" y="35"/>
                  </a:cubicBezTo>
                  <a:cubicBezTo>
                    <a:pt x="116" y="35"/>
                    <a:pt x="114" y="35"/>
                    <a:pt x="112" y="35"/>
                  </a:cubicBezTo>
                  <a:cubicBezTo>
                    <a:pt x="108" y="35"/>
                    <a:pt x="107" y="33"/>
                    <a:pt x="104" y="31"/>
                  </a:cubicBezTo>
                  <a:cubicBezTo>
                    <a:pt x="100" y="28"/>
                    <a:pt x="96" y="31"/>
                    <a:pt x="92" y="31"/>
                  </a:cubicBezTo>
                  <a:cubicBezTo>
                    <a:pt x="89" y="31"/>
                    <a:pt x="87" y="30"/>
                    <a:pt x="86" y="29"/>
                  </a:cubicBezTo>
                  <a:cubicBezTo>
                    <a:pt x="85" y="28"/>
                    <a:pt x="83" y="30"/>
                    <a:pt x="81" y="31"/>
                  </a:cubicBezTo>
                  <a:cubicBezTo>
                    <a:pt x="79" y="32"/>
                    <a:pt x="79" y="34"/>
                    <a:pt x="78" y="37"/>
                  </a:cubicBezTo>
                  <a:cubicBezTo>
                    <a:pt x="76" y="40"/>
                    <a:pt x="73" y="40"/>
                    <a:pt x="68" y="41"/>
                  </a:cubicBezTo>
                  <a:cubicBezTo>
                    <a:pt x="63" y="43"/>
                    <a:pt x="66" y="41"/>
                    <a:pt x="62" y="39"/>
                  </a:cubicBezTo>
                  <a:cubicBezTo>
                    <a:pt x="57" y="38"/>
                    <a:pt x="59" y="42"/>
                    <a:pt x="56" y="43"/>
                  </a:cubicBezTo>
                  <a:cubicBezTo>
                    <a:pt x="53" y="43"/>
                    <a:pt x="46" y="43"/>
                    <a:pt x="45" y="45"/>
                  </a:cubicBezTo>
                  <a:cubicBezTo>
                    <a:pt x="44" y="46"/>
                    <a:pt x="42" y="49"/>
                    <a:pt x="37" y="51"/>
                  </a:cubicBezTo>
                  <a:cubicBezTo>
                    <a:pt x="31" y="53"/>
                    <a:pt x="31" y="52"/>
                    <a:pt x="27" y="52"/>
                  </a:cubicBezTo>
                  <a:cubicBezTo>
                    <a:pt x="24" y="53"/>
                    <a:pt x="19" y="51"/>
                    <a:pt x="16" y="49"/>
                  </a:cubicBezTo>
                  <a:cubicBezTo>
                    <a:pt x="13" y="47"/>
                    <a:pt x="13" y="46"/>
                    <a:pt x="11" y="46"/>
                  </a:cubicBezTo>
                  <a:cubicBezTo>
                    <a:pt x="9" y="46"/>
                    <a:pt x="7" y="46"/>
                    <a:pt x="6" y="46"/>
                  </a:cubicBezTo>
                  <a:cubicBezTo>
                    <a:pt x="5" y="44"/>
                    <a:pt x="4" y="43"/>
                    <a:pt x="3" y="41"/>
                  </a:cubicBezTo>
                  <a:cubicBezTo>
                    <a:pt x="1" y="39"/>
                    <a:pt x="0" y="38"/>
                    <a:pt x="1" y="33"/>
                  </a:cubicBezTo>
                  <a:cubicBezTo>
                    <a:pt x="2" y="29"/>
                    <a:pt x="4" y="28"/>
                    <a:pt x="2" y="25"/>
                  </a:cubicBezTo>
                  <a:cubicBezTo>
                    <a:pt x="3" y="25"/>
                    <a:pt x="5" y="24"/>
                    <a:pt x="8" y="23"/>
                  </a:cubicBezTo>
                  <a:cubicBezTo>
                    <a:pt x="12" y="22"/>
                    <a:pt x="14" y="24"/>
                    <a:pt x="18" y="22"/>
                  </a:cubicBezTo>
                  <a:cubicBezTo>
                    <a:pt x="21" y="20"/>
                    <a:pt x="22" y="22"/>
                    <a:pt x="26" y="17"/>
                  </a:cubicBezTo>
                  <a:cubicBezTo>
                    <a:pt x="29" y="12"/>
                    <a:pt x="30" y="10"/>
                    <a:pt x="31" y="8"/>
                  </a:cubicBezTo>
                  <a:cubicBezTo>
                    <a:pt x="33" y="7"/>
                    <a:pt x="36" y="7"/>
                    <a:pt x="36" y="6"/>
                  </a:cubicBezTo>
                  <a:cubicBezTo>
                    <a:pt x="36" y="6"/>
                    <a:pt x="38" y="5"/>
                    <a:pt x="39" y="4"/>
                  </a:cubicBezTo>
                  <a:cubicBezTo>
                    <a:pt x="39" y="5"/>
                    <a:pt x="40" y="5"/>
                    <a:pt x="43" y="5"/>
                  </a:cubicBezTo>
                  <a:cubicBezTo>
                    <a:pt x="51" y="5"/>
                    <a:pt x="55" y="0"/>
                    <a:pt x="58" y="3"/>
                  </a:cubicBezTo>
                  <a:cubicBezTo>
                    <a:pt x="61" y="6"/>
                    <a:pt x="60" y="12"/>
                    <a:pt x="67" y="12"/>
                  </a:cubicBezTo>
                  <a:cubicBezTo>
                    <a:pt x="74" y="11"/>
                    <a:pt x="74" y="6"/>
                    <a:pt x="80" y="7"/>
                  </a:cubicBezTo>
                  <a:cubicBezTo>
                    <a:pt x="86" y="7"/>
                    <a:pt x="87" y="11"/>
                    <a:pt x="92" y="9"/>
                  </a:cubicBezTo>
                  <a:cubicBezTo>
                    <a:pt x="97" y="7"/>
                    <a:pt x="94" y="3"/>
                    <a:pt x="101" y="6"/>
                  </a:cubicBezTo>
                  <a:cubicBezTo>
                    <a:pt x="107" y="9"/>
                    <a:pt x="121" y="14"/>
                    <a:pt x="123" y="15"/>
                  </a:cubicBezTo>
                  <a:cubicBezTo>
                    <a:pt x="124" y="16"/>
                    <a:pt x="125" y="16"/>
                    <a:pt x="126" y="17"/>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33" name="Freeform 1202">
              <a:extLst>
                <a:ext uri="{FF2B5EF4-FFF2-40B4-BE49-F238E27FC236}">
                  <a16:creationId xmlns:a16="http://schemas.microsoft.com/office/drawing/2014/main" id="{B5C68F29-969D-E04A-A6F4-606DE5402A29}"/>
                </a:ext>
              </a:extLst>
            </p:cNvPr>
            <p:cNvSpPr>
              <a:spLocks/>
            </p:cNvSpPr>
            <p:nvPr/>
          </p:nvSpPr>
          <p:spPr bwMode="auto">
            <a:xfrm>
              <a:off x="4308489" y="1308556"/>
              <a:ext cx="141288" cy="66675"/>
            </a:xfrm>
            <a:custGeom>
              <a:avLst/>
              <a:gdLst>
                <a:gd name="T0" fmla="*/ 144 w 147"/>
                <a:gd name="T1" fmla="*/ 44 h 70"/>
                <a:gd name="T2" fmla="*/ 141 w 147"/>
                <a:gd name="T3" fmla="*/ 46 h 70"/>
                <a:gd name="T4" fmla="*/ 136 w 147"/>
                <a:gd name="T5" fmla="*/ 48 h 70"/>
                <a:gd name="T6" fmla="*/ 131 w 147"/>
                <a:gd name="T7" fmla="*/ 57 h 70"/>
                <a:gd name="T8" fmla="*/ 123 w 147"/>
                <a:gd name="T9" fmla="*/ 62 h 70"/>
                <a:gd name="T10" fmla="*/ 113 w 147"/>
                <a:gd name="T11" fmla="*/ 63 h 70"/>
                <a:gd name="T12" fmla="*/ 107 w 147"/>
                <a:gd name="T13" fmla="*/ 65 h 70"/>
                <a:gd name="T14" fmla="*/ 106 w 147"/>
                <a:gd name="T15" fmla="*/ 64 h 70"/>
                <a:gd name="T16" fmla="*/ 90 w 147"/>
                <a:gd name="T17" fmla="*/ 64 h 70"/>
                <a:gd name="T18" fmla="*/ 78 w 147"/>
                <a:gd name="T19" fmla="*/ 61 h 70"/>
                <a:gd name="T20" fmla="*/ 67 w 147"/>
                <a:gd name="T21" fmla="*/ 59 h 70"/>
                <a:gd name="T22" fmla="*/ 55 w 147"/>
                <a:gd name="T23" fmla="*/ 69 h 70"/>
                <a:gd name="T24" fmla="*/ 43 w 147"/>
                <a:gd name="T25" fmla="*/ 66 h 70"/>
                <a:gd name="T26" fmla="*/ 38 w 147"/>
                <a:gd name="T27" fmla="*/ 65 h 70"/>
                <a:gd name="T28" fmla="*/ 33 w 147"/>
                <a:gd name="T29" fmla="*/ 60 h 70"/>
                <a:gd name="T30" fmla="*/ 25 w 147"/>
                <a:gd name="T31" fmla="*/ 54 h 70"/>
                <a:gd name="T32" fmla="*/ 16 w 147"/>
                <a:gd name="T33" fmla="*/ 47 h 70"/>
                <a:gd name="T34" fmla="*/ 12 w 147"/>
                <a:gd name="T35" fmla="*/ 41 h 70"/>
                <a:gd name="T36" fmla="*/ 8 w 147"/>
                <a:gd name="T37" fmla="*/ 34 h 70"/>
                <a:gd name="T38" fmla="*/ 7 w 147"/>
                <a:gd name="T39" fmla="*/ 30 h 70"/>
                <a:gd name="T40" fmla="*/ 4 w 147"/>
                <a:gd name="T41" fmla="*/ 25 h 70"/>
                <a:gd name="T42" fmla="*/ 13 w 147"/>
                <a:gd name="T43" fmla="*/ 20 h 70"/>
                <a:gd name="T44" fmla="*/ 24 w 147"/>
                <a:gd name="T45" fmla="*/ 17 h 70"/>
                <a:gd name="T46" fmla="*/ 36 w 147"/>
                <a:gd name="T47" fmla="*/ 9 h 70"/>
                <a:gd name="T48" fmla="*/ 42 w 147"/>
                <a:gd name="T49" fmla="*/ 10 h 70"/>
                <a:gd name="T50" fmla="*/ 47 w 147"/>
                <a:gd name="T51" fmla="*/ 4 h 70"/>
                <a:gd name="T52" fmla="*/ 54 w 147"/>
                <a:gd name="T53" fmla="*/ 5 h 70"/>
                <a:gd name="T54" fmla="*/ 61 w 147"/>
                <a:gd name="T55" fmla="*/ 6 h 70"/>
                <a:gd name="T56" fmla="*/ 62 w 147"/>
                <a:gd name="T57" fmla="*/ 2 h 70"/>
                <a:gd name="T58" fmla="*/ 69 w 147"/>
                <a:gd name="T59" fmla="*/ 4 h 70"/>
                <a:gd name="T60" fmla="*/ 77 w 147"/>
                <a:gd name="T61" fmla="*/ 13 h 70"/>
                <a:gd name="T62" fmla="*/ 93 w 147"/>
                <a:gd name="T63" fmla="*/ 13 h 70"/>
                <a:gd name="T64" fmla="*/ 93 w 147"/>
                <a:gd name="T65" fmla="*/ 27 h 70"/>
                <a:gd name="T66" fmla="*/ 105 w 147"/>
                <a:gd name="T67" fmla="*/ 24 h 70"/>
                <a:gd name="T68" fmla="*/ 111 w 147"/>
                <a:gd name="T69" fmla="*/ 18 h 70"/>
                <a:gd name="T70" fmla="*/ 123 w 147"/>
                <a:gd name="T71" fmla="*/ 26 h 70"/>
                <a:gd name="T72" fmla="*/ 130 w 147"/>
                <a:gd name="T73" fmla="*/ 30 h 70"/>
                <a:gd name="T74" fmla="*/ 145 w 147"/>
                <a:gd name="T75" fmla="*/ 39 h 70"/>
                <a:gd name="T76" fmla="*/ 144 w 147"/>
                <a:gd name="T77"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7" h="70">
                  <a:moveTo>
                    <a:pt x="144" y="44"/>
                  </a:moveTo>
                  <a:cubicBezTo>
                    <a:pt x="143" y="44"/>
                    <a:pt x="141" y="46"/>
                    <a:pt x="141" y="46"/>
                  </a:cubicBezTo>
                  <a:cubicBezTo>
                    <a:pt x="141" y="47"/>
                    <a:pt x="138" y="47"/>
                    <a:pt x="136" y="48"/>
                  </a:cubicBezTo>
                  <a:cubicBezTo>
                    <a:pt x="135" y="50"/>
                    <a:pt x="134" y="52"/>
                    <a:pt x="131" y="57"/>
                  </a:cubicBezTo>
                  <a:cubicBezTo>
                    <a:pt x="127" y="62"/>
                    <a:pt x="126" y="60"/>
                    <a:pt x="123" y="62"/>
                  </a:cubicBezTo>
                  <a:cubicBezTo>
                    <a:pt x="119" y="64"/>
                    <a:pt x="117" y="62"/>
                    <a:pt x="113" y="63"/>
                  </a:cubicBezTo>
                  <a:cubicBezTo>
                    <a:pt x="110" y="64"/>
                    <a:pt x="108" y="65"/>
                    <a:pt x="107" y="65"/>
                  </a:cubicBezTo>
                  <a:cubicBezTo>
                    <a:pt x="107" y="65"/>
                    <a:pt x="106" y="64"/>
                    <a:pt x="106" y="64"/>
                  </a:cubicBezTo>
                  <a:cubicBezTo>
                    <a:pt x="103" y="60"/>
                    <a:pt x="96" y="64"/>
                    <a:pt x="90" y="64"/>
                  </a:cubicBezTo>
                  <a:cubicBezTo>
                    <a:pt x="84" y="64"/>
                    <a:pt x="83" y="63"/>
                    <a:pt x="78" y="61"/>
                  </a:cubicBezTo>
                  <a:cubicBezTo>
                    <a:pt x="73" y="59"/>
                    <a:pt x="68" y="57"/>
                    <a:pt x="67" y="59"/>
                  </a:cubicBezTo>
                  <a:cubicBezTo>
                    <a:pt x="66" y="61"/>
                    <a:pt x="60" y="68"/>
                    <a:pt x="55" y="69"/>
                  </a:cubicBezTo>
                  <a:cubicBezTo>
                    <a:pt x="51" y="70"/>
                    <a:pt x="47" y="69"/>
                    <a:pt x="43" y="66"/>
                  </a:cubicBezTo>
                  <a:cubicBezTo>
                    <a:pt x="40" y="65"/>
                    <a:pt x="40" y="65"/>
                    <a:pt x="38" y="65"/>
                  </a:cubicBezTo>
                  <a:cubicBezTo>
                    <a:pt x="38" y="60"/>
                    <a:pt x="36" y="62"/>
                    <a:pt x="33" y="60"/>
                  </a:cubicBezTo>
                  <a:cubicBezTo>
                    <a:pt x="29" y="57"/>
                    <a:pt x="29" y="57"/>
                    <a:pt x="25" y="54"/>
                  </a:cubicBezTo>
                  <a:cubicBezTo>
                    <a:pt x="20" y="50"/>
                    <a:pt x="18" y="49"/>
                    <a:pt x="16" y="47"/>
                  </a:cubicBezTo>
                  <a:cubicBezTo>
                    <a:pt x="14" y="45"/>
                    <a:pt x="14" y="45"/>
                    <a:pt x="12" y="41"/>
                  </a:cubicBezTo>
                  <a:cubicBezTo>
                    <a:pt x="10" y="37"/>
                    <a:pt x="10" y="37"/>
                    <a:pt x="8" y="34"/>
                  </a:cubicBezTo>
                  <a:cubicBezTo>
                    <a:pt x="7" y="30"/>
                    <a:pt x="10" y="32"/>
                    <a:pt x="7" y="30"/>
                  </a:cubicBezTo>
                  <a:cubicBezTo>
                    <a:pt x="4" y="28"/>
                    <a:pt x="0" y="26"/>
                    <a:pt x="4" y="25"/>
                  </a:cubicBezTo>
                  <a:cubicBezTo>
                    <a:pt x="7" y="23"/>
                    <a:pt x="6" y="20"/>
                    <a:pt x="13" y="20"/>
                  </a:cubicBezTo>
                  <a:cubicBezTo>
                    <a:pt x="19" y="20"/>
                    <a:pt x="21" y="19"/>
                    <a:pt x="24" y="17"/>
                  </a:cubicBezTo>
                  <a:cubicBezTo>
                    <a:pt x="27" y="15"/>
                    <a:pt x="35" y="9"/>
                    <a:pt x="36" y="9"/>
                  </a:cubicBezTo>
                  <a:cubicBezTo>
                    <a:pt x="36" y="9"/>
                    <a:pt x="37" y="10"/>
                    <a:pt x="42" y="10"/>
                  </a:cubicBezTo>
                  <a:cubicBezTo>
                    <a:pt x="47" y="10"/>
                    <a:pt x="44" y="6"/>
                    <a:pt x="47" y="4"/>
                  </a:cubicBezTo>
                  <a:cubicBezTo>
                    <a:pt x="50" y="2"/>
                    <a:pt x="53" y="3"/>
                    <a:pt x="54" y="5"/>
                  </a:cubicBezTo>
                  <a:cubicBezTo>
                    <a:pt x="55" y="6"/>
                    <a:pt x="61" y="9"/>
                    <a:pt x="61" y="6"/>
                  </a:cubicBezTo>
                  <a:cubicBezTo>
                    <a:pt x="61" y="5"/>
                    <a:pt x="61" y="3"/>
                    <a:pt x="62" y="2"/>
                  </a:cubicBezTo>
                  <a:cubicBezTo>
                    <a:pt x="63" y="2"/>
                    <a:pt x="65" y="0"/>
                    <a:pt x="69" y="4"/>
                  </a:cubicBezTo>
                  <a:cubicBezTo>
                    <a:pt x="73" y="9"/>
                    <a:pt x="68" y="13"/>
                    <a:pt x="77" y="13"/>
                  </a:cubicBezTo>
                  <a:cubicBezTo>
                    <a:pt x="85" y="13"/>
                    <a:pt x="94" y="5"/>
                    <a:pt x="93" y="13"/>
                  </a:cubicBezTo>
                  <a:cubicBezTo>
                    <a:pt x="92" y="20"/>
                    <a:pt x="89" y="26"/>
                    <a:pt x="93" y="27"/>
                  </a:cubicBezTo>
                  <a:cubicBezTo>
                    <a:pt x="97" y="29"/>
                    <a:pt x="105" y="28"/>
                    <a:pt x="105" y="24"/>
                  </a:cubicBezTo>
                  <a:cubicBezTo>
                    <a:pt x="105" y="20"/>
                    <a:pt x="106" y="14"/>
                    <a:pt x="111" y="18"/>
                  </a:cubicBezTo>
                  <a:cubicBezTo>
                    <a:pt x="116" y="23"/>
                    <a:pt x="123" y="24"/>
                    <a:pt x="123" y="26"/>
                  </a:cubicBezTo>
                  <a:cubicBezTo>
                    <a:pt x="123" y="29"/>
                    <a:pt x="121" y="28"/>
                    <a:pt x="130" y="30"/>
                  </a:cubicBezTo>
                  <a:cubicBezTo>
                    <a:pt x="139" y="33"/>
                    <a:pt x="143" y="36"/>
                    <a:pt x="145" y="39"/>
                  </a:cubicBezTo>
                  <a:cubicBezTo>
                    <a:pt x="147" y="41"/>
                    <a:pt x="144" y="43"/>
                    <a:pt x="144" y="44"/>
                  </a:cubicBezTo>
                  <a:close/>
                </a:path>
              </a:pathLst>
            </a:custGeom>
            <a:solidFill>
              <a:schemeClr val="bg2">
                <a:alpha val="25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34" name="Freeform 1203">
              <a:extLst>
                <a:ext uri="{FF2B5EF4-FFF2-40B4-BE49-F238E27FC236}">
                  <a16:creationId xmlns:a16="http://schemas.microsoft.com/office/drawing/2014/main" id="{E9D6B2DF-4DED-9A4D-8BE7-2910FAD736F7}"/>
                </a:ext>
              </a:extLst>
            </p:cNvPr>
            <p:cNvSpPr>
              <a:spLocks/>
            </p:cNvSpPr>
            <p:nvPr/>
          </p:nvSpPr>
          <p:spPr bwMode="auto">
            <a:xfrm>
              <a:off x="4616465" y="1375231"/>
              <a:ext cx="76200" cy="80963"/>
            </a:xfrm>
            <a:custGeom>
              <a:avLst/>
              <a:gdLst>
                <a:gd name="T0" fmla="*/ 80 w 80"/>
                <a:gd name="T1" fmla="*/ 60 h 85"/>
                <a:gd name="T2" fmla="*/ 78 w 80"/>
                <a:gd name="T3" fmla="*/ 61 h 85"/>
                <a:gd name="T4" fmla="*/ 71 w 80"/>
                <a:gd name="T5" fmla="*/ 60 h 85"/>
                <a:gd name="T6" fmla="*/ 63 w 80"/>
                <a:gd name="T7" fmla="*/ 60 h 85"/>
                <a:gd name="T8" fmla="*/ 58 w 80"/>
                <a:gd name="T9" fmla="*/ 56 h 85"/>
                <a:gd name="T10" fmla="*/ 55 w 80"/>
                <a:gd name="T11" fmla="*/ 61 h 85"/>
                <a:gd name="T12" fmla="*/ 51 w 80"/>
                <a:gd name="T13" fmla="*/ 71 h 85"/>
                <a:gd name="T14" fmla="*/ 47 w 80"/>
                <a:gd name="T15" fmla="*/ 78 h 85"/>
                <a:gd name="T16" fmla="*/ 44 w 80"/>
                <a:gd name="T17" fmla="*/ 84 h 85"/>
                <a:gd name="T18" fmla="*/ 38 w 80"/>
                <a:gd name="T19" fmla="*/ 85 h 85"/>
                <a:gd name="T20" fmla="*/ 38 w 80"/>
                <a:gd name="T21" fmla="*/ 84 h 85"/>
                <a:gd name="T22" fmla="*/ 37 w 80"/>
                <a:gd name="T23" fmla="*/ 75 h 85"/>
                <a:gd name="T24" fmla="*/ 37 w 80"/>
                <a:gd name="T25" fmla="*/ 59 h 85"/>
                <a:gd name="T26" fmla="*/ 34 w 80"/>
                <a:gd name="T27" fmla="*/ 49 h 85"/>
                <a:gd name="T28" fmla="*/ 22 w 80"/>
                <a:gd name="T29" fmla="*/ 35 h 85"/>
                <a:gd name="T30" fmla="*/ 13 w 80"/>
                <a:gd name="T31" fmla="*/ 25 h 85"/>
                <a:gd name="T32" fmla="*/ 6 w 80"/>
                <a:gd name="T33" fmla="*/ 15 h 85"/>
                <a:gd name="T34" fmla="*/ 0 w 80"/>
                <a:gd name="T35" fmla="*/ 7 h 85"/>
                <a:gd name="T36" fmla="*/ 12 w 80"/>
                <a:gd name="T37" fmla="*/ 3 h 85"/>
                <a:gd name="T38" fmla="*/ 22 w 80"/>
                <a:gd name="T39" fmla="*/ 3 h 85"/>
                <a:gd name="T40" fmla="*/ 33 w 80"/>
                <a:gd name="T41" fmla="*/ 10 h 85"/>
                <a:gd name="T42" fmla="*/ 46 w 80"/>
                <a:gd name="T43" fmla="*/ 12 h 85"/>
                <a:gd name="T44" fmla="*/ 56 w 80"/>
                <a:gd name="T45" fmla="*/ 23 h 85"/>
                <a:gd name="T46" fmla="*/ 56 w 80"/>
                <a:gd name="T47" fmla="*/ 32 h 85"/>
                <a:gd name="T48" fmla="*/ 65 w 80"/>
                <a:gd name="T49" fmla="*/ 36 h 85"/>
                <a:gd name="T50" fmla="*/ 69 w 80"/>
                <a:gd name="T51" fmla="*/ 46 h 85"/>
                <a:gd name="T52" fmla="*/ 76 w 80"/>
                <a:gd name="T53" fmla="*/ 52 h 85"/>
                <a:gd name="T54" fmla="*/ 80 w 80"/>
                <a:gd name="T55" fmla="*/ 6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85">
                  <a:moveTo>
                    <a:pt x="80" y="60"/>
                  </a:moveTo>
                  <a:cubicBezTo>
                    <a:pt x="79" y="60"/>
                    <a:pt x="79" y="61"/>
                    <a:pt x="78" y="61"/>
                  </a:cubicBezTo>
                  <a:cubicBezTo>
                    <a:pt x="76" y="62"/>
                    <a:pt x="73" y="61"/>
                    <a:pt x="71" y="60"/>
                  </a:cubicBezTo>
                  <a:cubicBezTo>
                    <a:pt x="69" y="59"/>
                    <a:pt x="68" y="58"/>
                    <a:pt x="63" y="60"/>
                  </a:cubicBezTo>
                  <a:cubicBezTo>
                    <a:pt x="58" y="62"/>
                    <a:pt x="61" y="58"/>
                    <a:pt x="58" y="56"/>
                  </a:cubicBezTo>
                  <a:cubicBezTo>
                    <a:pt x="56" y="54"/>
                    <a:pt x="54" y="55"/>
                    <a:pt x="55" y="61"/>
                  </a:cubicBezTo>
                  <a:cubicBezTo>
                    <a:pt x="56" y="66"/>
                    <a:pt x="55" y="68"/>
                    <a:pt x="51" y="71"/>
                  </a:cubicBezTo>
                  <a:cubicBezTo>
                    <a:pt x="48" y="75"/>
                    <a:pt x="51" y="74"/>
                    <a:pt x="47" y="78"/>
                  </a:cubicBezTo>
                  <a:cubicBezTo>
                    <a:pt x="44" y="83"/>
                    <a:pt x="45" y="82"/>
                    <a:pt x="44" y="84"/>
                  </a:cubicBezTo>
                  <a:cubicBezTo>
                    <a:pt x="43" y="85"/>
                    <a:pt x="41" y="85"/>
                    <a:pt x="38" y="85"/>
                  </a:cubicBezTo>
                  <a:cubicBezTo>
                    <a:pt x="38" y="85"/>
                    <a:pt x="38" y="84"/>
                    <a:pt x="38" y="84"/>
                  </a:cubicBezTo>
                  <a:cubicBezTo>
                    <a:pt x="36" y="81"/>
                    <a:pt x="38" y="77"/>
                    <a:pt x="37" y="75"/>
                  </a:cubicBezTo>
                  <a:cubicBezTo>
                    <a:pt x="35" y="72"/>
                    <a:pt x="34" y="69"/>
                    <a:pt x="37" y="59"/>
                  </a:cubicBezTo>
                  <a:cubicBezTo>
                    <a:pt x="40" y="50"/>
                    <a:pt x="35" y="53"/>
                    <a:pt x="34" y="49"/>
                  </a:cubicBezTo>
                  <a:cubicBezTo>
                    <a:pt x="34" y="45"/>
                    <a:pt x="27" y="40"/>
                    <a:pt x="22" y="35"/>
                  </a:cubicBezTo>
                  <a:cubicBezTo>
                    <a:pt x="17" y="30"/>
                    <a:pt x="15" y="28"/>
                    <a:pt x="13" y="25"/>
                  </a:cubicBezTo>
                  <a:cubicBezTo>
                    <a:pt x="11" y="21"/>
                    <a:pt x="11" y="18"/>
                    <a:pt x="6" y="15"/>
                  </a:cubicBezTo>
                  <a:cubicBezTo>
                    <a:pt x="2" y="12"/>
                    <a:pt x="1" y="9"/>
                    <a:pt x="0" y="7"/>
                  </a:cubicBezTo>
                  <a:cubicBezTo>
                    <a:pt x="3" y="6"/>
                    <a:pt x="9" y="4"/>
                    <a:pt x="12" y="3"/>
                  </a:cubicBezTo>
                  <a:cubicBezTo>
                    <a:pt x="16" y="3"/>
                    <a:pt x="17" y="0"/>
                    <a:pt x="22" y="3"/>
                  </a:cubicBezTo>
                  <a:cubicBezTo>
                    <a:pt x="27" y="7"/>
                    <a:pt x="29" y="8"/>
                    <a:pt x="33" y="10"/>
                  </a:cubicBezTo>
                  <a:cubicBezTo>
                    <a:pt x="37" y="13"/>
                    <a:pt x="40" y="9"/>
                    <a:pt x="46" y="12"/>
                  </a:cubicBezTo>
                  <a:cubicBezTo>
                    <a:pt x="52" y="16"/>
                    <a:pt x="57" y="17"/>
                    <a:pt x="56" y="23"/>
                  </a:cubicBezTo>
                  <a:cubicBezTo>
                    <a:pt x="55" y="28"/>
                    <a:pt x="54" y="31"/>
                    <a:pt x="56" y="32"/>
                  </a:cubicBezTo>
                  <a:cubicBezTo>
                    <a:pt x="59" y="32"/>
                    <a:pt x="65" y="31"/>
                    <a:pt x="65" y="36"/>
                  </a:cubicBezTo>
                  <a:cubicBezTo>
                    <a:pt x="65" y="41"/>
                    <a:pt x="68" y="46"/>
                    <a:pt x="69" y="46"/>
                  </a:cubicBezTo>
                  <a:cubicBezTo>
                    <a:pt x="71" y="47"/>
                    <a:pt x="75" y="49"/>
                    <a:pt x="76" y="52"/>
                  </a:cubicBezTo>
                  <a:cubicBezTo>
                    <a:pt x="76" y="55"/>
                    <a:pt x="77" y="58"/>
                    <a:pt x="80" y="60"/>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35" name="Freeform 1204">
              <a:extLst>
                <a:ext uri="{FF2B5EF4-FFF2-40B4-BE49-F238E27FC236}">
                  <a16:creationId xmlns:a16="http://schemas.microsoft.com/office/drawing/2014/main" id="{D93ADFA4-59AC-3A40-85BA-0768398B8D8F}"/>
                </a:ext>
              </a:extLst>
            </p:cNvPr>
            <p:cNvSpPr>
              <a:spLocks/>
            </p:cNvSpPr>
            <p:nvPr/>
          </p:nvSpPr>
          <p:spPr bwMode="auto">
            <a:xfrm>
              <a:off x="4913328" y="1506993"/>
              <a:ext cx="155575" cy="65088"/>
            </a:xfrm>
            <a:custGeom>
              <a:avLst/>
              <a:gdLst>
                <a:gd name="T0" fmla="*/ 163 w 164"/>
                <a:gd name="T1" fmla="*/ 66 h 69"/>
                <a:gd name="T2" fmla="*/ 156 w 164"/>
                <a:gd name="T3" fmla="*/ 68 h 69"/>
                <a:gd name="T4" fmla="*/ 145 w 164"/>
                <a:gd name="T5" fmla="*/ 65 h 69"/>
                <a:gd name="T6" fmla="*/ 138 w 164"/>
                <a:gd name="T7" fmla="*/ 62 h 69"/>
                <a:gd name="T8" fmla="*/ 129 w 164"/>
                <a:gd name="T9" fmla="*/ 59 h 69"/>
                <a:gd name="T10" fmla="*/ 124 w 164"/>
                <a:gd name="T11" fmla="*/ 62 h 69"/>
                <a:gd name="T12" fmla="*/ 124 w 164"/>
                <a:gd name="T13" fmla="*/ 63 h 69"/>
                <a:gd name="T14" fmla="*/ 115 w 164"/>
                <a:gd name="T15" fmla="*/ 65 h 69"/>
                <a:gd name="T16" fmla="*/ 104 w 164"/>
                <a:gd name="T17" fmla="*/ 66 h 69"/>
                <a:gd name="T18" fmla="*/ 91 w 164"/>
                <a:gd name="T19" fmla="*/ 67 h 69"/>
                <a:gd name="T20" fmla="*/ 88 w 164"/>
                <a:gd name="T21" fmla="*/ 67 h 69"/>
                <a:gd name="T22" fmla="*/ 82 w 164"/>
                <a:gd name="T23" fmla="*/ 63 h 69"/>
                <a:gd name="T24" fmla="*/ 73 w 164"/>
                <a:gd name="T25" fmla="*/ 55 h 69"/>
                <a:gd name="T26" fmla="*/ 64 w 164"/>
                <a:gd name="T27" fmla="*/ 57 h 69"/>
                <a:gd name="T28" fmla="*/ 53 w 164"/>
                <a:gd name="T29" fmla="*/ 59 h 69"/>
                <a:gd name="T30" fmla="*/ 43 w 164"/>
                <a:gd name="T31" fmla="*/ 56 h 69"/>
                <a:gd name="T32" fmla="*/ 46 w 164"/>
                <a:gd name="T33" fmla="*/ 48 h 69"/>
                <a:gd name="T34" fmla="*/ 42 w 164"/>
                <a:gd name="T35" fmla="*/ 35 h 69"/>
                <a:gd name="T36" fmla="*/ 37 w 164"/>
                <a:gd name="T37" fmla="*/ 26 h 69"/>
                <a:gd name="T38" fmla="*/ 8 w 164"/>
                <a:gd name="T39" fmla="*/ 12 h 69"/>
                <a:gd name="T40" fmla="*/ 0 w 164"/>
                <a:gd name="T41" fmla="*/ 6 h 69"/>
                <a:gd name="T42" fmla="*/ 1 w 164"/>
                <a:gd name="T43" fmla="*/ 3 h 69"/>
                <a:gd name="T44" fmla="*/ 7 w 164"/>
                <a:gd name="T45" fmla="*/ 0 h 69"/>
                <a:gd name="T46" fmla="*/ 16 w 164"/>
                <a:gd name="T47" fmla="*/ 1 h 69"/>
                <a:gd name="T48" fmla="*/ 24 w 164"/>
                <a:gd name="T49" fmla="*/ 3 h 69"/>
                <a:gd name="T50" fmla="*/ 32 w 164"/>
                <a:gd name="T51" fmla="*/ 7 h 69"/>
                <a:gd name="T52" fmla="*/ 45 w 164"/>
                <a:gd name="T53" fmla="*/ 10 h 69"/>
                <a:gd name="T54" fmla="*/ 59 w 164"/>
                <a:gd name="T55" fmla="*/ 11 h 69"/>
                <a:gd name="T56" fmla="*/ 69 w 164"/>
                <a:gd name="T57" fmla="*/ 12 h 69"/>
                <a:gd name="T58" fmla="*/ 82 w 164"/>
                <a:gd name="T59" fmla="*/ 21 h 69"/>
                <a:gd name="T60" fmla="*/ 95 w 164"/>
                <a:gd name="T61" fmla="*/ 26 h 69"/>
                <a:gd name="T62" fmla="*/ 117 w 164"/>
                <a:gd name="T63" fmla="*/ 25 h 69"/>
                <a:gd name="T64" fmla="*/ 131 w 164"/>
                <a:gd name="T65" fmla="*/ 29 h 69"/>
                <a:gd name="T66" fmla="*/ 134 w 164"/>
                <a:gd name="T67" fmla="*/ 34 h 69"/>
                <a:gd name="T68" fmla="*/ 138 w 164"/>
                <a:gd name="T69" fmla="*/ 41 h 69"/>
                <a:gd name="T70" fmla="*/ 153 w 164"/>
                <a:gd name="T71" fmla="*/ 45 h 69"/>
                <a:gd name="T72" fmla="*/ 154 w 164"/>
                <a:gd name="T73" fmla="*/ 46 h 69"/>
                <a:gd name="T74" fmla="*/ 149 w 164"/>
                <a:gd name="T75" fmla="*/ 52 h 69"/>
                <a:gd name="T76" fmla="*/ 158 w 164"/>
                <a:gd name="T77" fmla="*/ 60 h 69"/>
                <a:gd name="T78" fmla="*/ 163 w 164"/>
                <a:gd name="T79" fmla="*/ 6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4" h="69">
                  <a:moveTo>
                    <a:pt x="163" y="66"/>
                  </a:moveTo>
                  <a:cubicBezTo>
                    <a:pt x="163" y="69"/>
                    <a:pt x="160" y="68"/>
                    <a:pt x="156" y="68"/>
                  </a:cubicBezTo>
                  <a:cubicBezTo>
                    <a:pt x="153" y="67"/>
                    <a:pt x="147" y="65"/>
                    <a:pt x="145" y="65"/>
                  </a:cubicBezTo>
                  <a:cubicBezTo>
                    <a:pt x="142" y="64"/>
                    <a:pt x="139" y="64"/>
                    <a:pt x="138" y="62"/>
                  </a:cubicBezTo>
                  <a:cubicBezTo>
                    <a:pt x="137" y="61"/>
                    <a:pt x="133" y="61"/>
                    <a:pt x="129" y="59"/>
                  </a:cubicBezTo>
                  <a:cubicBezTo>
                    <a:pt x="126" y="58"/>
                    <a:pt x="127" y="60"/>
                    <a:pt x="124" y="62"/>
                  </a:cubicBezTo>
                  <a:cubicBezTo>
                    <a:pt x="124" y="62"/>
                    <a:pt x="124" y="63"/>
                    <a:pt x="124" y="63"/>
                  </a:cubicBezTo>
                  <a:cubicBezTo>
                    <a:pt x="120" y="65"/>
                    <a:pt x="119" y="64"/>
                    <a:pt x="115" y="65"/>
                  </a:cubicBezTo>
                  <a:cubicBezTo>
                    <a:pt x="112" y="65"/>
                    <a:pt x="108" y="65"/>
                    <a:pt x="104" y="66"/>
                  </a:cubicBezTo>
                  <a:cubicBezTo>
                    <a:pt x="101" y="66"/>
                    <a:pt x="96" y="67"/>
                    <a:pt x="91" y="67"/>
                  </a:cubicBezTo>
                  <a:cubicBezTo>
                    <a:pt x="90" y="67"/>
                    <a:pt x="89" y="67"/>
                    <a:pt x="88" y="67"/>
                  </a:cubicBezTo>
                  <a:cubicBezTo>
                    <a:pt x="85" y="66"/>
                    <a:pt x="84" y="65"/>
                    <a:pt x="82" y="63"/>
                  </a:cubicBezTo>
                  <a:cubicBezTo>
                    <a:pt x="78" y="61"/>
                    <a:pt x="74" y="57"/>
                    <a:pt x="73" y="55"/>
                  </a:cubicBezTo>
                  <a:cubicBezTo>
                    <a:pt x="71" y="54"/>
                    <a:pt x="68" y="55"/>
                    <a:pt x="64" y="57"/>
                  </a:cubicBezTo>
                  <a:cubicBezTo>
                    <a:pt x="59" y="59"/>
                    <a:pt x="59" y="59"/>
                    <a:pt x="53" y="59"/>
                  </a:cubicBezTo>
                  <a:cubicBezTo>
                    <a:pt x="49" y="60"/>
                    <a:pt x="45" y="58"/>
                    <a:pt x="43" y="56"/>
                  </a:cubicBezTo>
                  <a:cubicBezTo>
                    <a:pt x="47" y="53"/>
                    <a:pt x="49" y="51"/>
                    <a:pt x="46" y="48"/>
                  </a:cubicBezTo>
                  <a:cubicBezTo>
                    <a:pt x="43" y="44"/>
                    <a:pt x="45" y="38"/>
                    <a:pt x="42" y="35"/>
                  </a:cubicBezTo>
                  <a:cubicBezTo>
                    <a:pt x="40" y="31"/>
                    <a:pt x="47" y="31"/>
                    <a:pt x="37" y="26"/>
                  </a:cubicBezTo>
                  <a:cubicBezTo>
                    <a:pt x="27" y="21"/>
                    <a:pt x="9" y="12"/>
                    <a:pt x="8" y="12"/>
                  </a:cubicBezTo>
                  <a:cubicBezTo>
                    <a:pt x="6" y="12"/>
                    <a:pt x="7" y="10"/>
                    <a:pt x="0" y="6"/>
                  </a:cubicBezTo>
                  <a:cubicBezTo>
                    <a:pt x="0" y="5"/>
                    <a:pt x="1" y="4"/>
                    <a:pt x="1" y="3"/>
                  </a:cubicBezTo>
                  <a:cubicBezTo>
                    <a:pt x="2" y="1"/>
                    <a:pt x="3" y="0"/>
                    <a:pt x="7" y="0"/>
                  </a:cubicBezTo>
                  <a:cubicBezTo>
                    <a:pt x="10" y="0"/>
                    <a:pt x="13" y="0"/>
                    <a:pt x="16" y="1"/>
                  </a:cubicBezTo>
                  <a:cubicBezTo>
                    <a:pt x="19" y="3"/>
                    <a:pt x="20" y="1"/>
                    <a:pt x="24" y="3"/>
                  </a:cubicBezTo>
                  <a:cubicBezTo>
                    <a:pt x="27" y="5"/>
                    <a:pt x="28" y="5"/>
                    <a:pt x="32" y="7"/>
                  </a:cubicBezTo>
                  <a:cubicBezTo>
                    <a:pt x="36" y="8"/>
                    <a:pt x="38" y="9"/>
                    <a:pt x="45" y="10"/>
                  </a:cubicBezTo>
                  <a:cubicBezTo>
                    <a:pt x="51" y="10"/>
                    <a:pt x="54" y="9"/>
                    <a:pt x="59" y="11"/>
                  </a:cubicBezTo>
                  <a:cubicBezTo>
                    <a:pt x="64" y="12"/>
                    <a:pt x="65" y="9"/>
                    <a:pt x="69" y="12"/>
                  </a:cubicBezTo>
                  <a:cubicBezTo>
                    <a:pt x="72" y="15"/>
                    <a:pt x="78" y="15"/>
                    <a:pt x="82" y="21"/>
                  </a:cubicBezTo>
                  <a:cubicBezTo>
                    <a:pt x="87" y="26"/>
                    <a:pt x="89" y="27"/>
                    <a:pt x="95" y="26"/>
                  </a:cubicBezTo>
                  <a:cubicBezTo>
                    <a:pt x="101" y="25"/>
                    <a:pt x="108" y="21"/>
                    <a:pt x="117" y="25"/>
                  </a:cubicBezTo>
                  <a:cubicBezTo>
                    <a:pt x="126" y="28"/>
                    <a:pt x="129" y="28"/>
                    <a:pt x="131" y="29"/>
                  </a:cubicBezTo>
                  <a:cubicBezTo>
                    <a:pt x="132" y="29"/>
                    <a:pt x="133" y="31"/>
                    <a:pt x="134" y="34"/>
                  </a:cubicBezTo>
                  <a:cubicBezTo>
                    <a:pt x="134" y="37"/>
                    <a:pt x="136" y="39"/>
                    <a:pt x="138" y="41"/>
                  </a:cubicBezTo>
                  <a:cubicBezTo>
                    <a:pt x="141" y="43"/>
                    <a:pt x="146" y="43"/>
                    <a:pt x="153" y="45"/>
                  </a:cubicBezTo>
                  <a:cubicBezTo>
                    <a:pt x="153" y="46"/>
                    <a:pt x="153" y="46"/>
                    <a:pt x="154" y="46"/>
                  </a:cubicBezTo>
                  <a:cubicBezTo>
                    <a:pt x="153" y="47"/>
                    <a:pt x="151" y="50"/>
                    <a:pt x="149" y="52"/>
                  </a:cubicBezTo>
                  <a:cubicBezTo>
                    <a:pt x="147" y="55"/>
                    <a:pt x="153" y="56"/>
                    <a:pt x="158" y="60"/>
                  </a:cubicBezTo>
                  <a:cubicBezTo>
                    <a:pt x="163" y="63"/>
                    <a:pt x="164" y="63"/>
                    <a:pt x="163" y="66"/>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36" name="Freeform 1205">
              <a:extLst>
                <a:ext uri="{FF2B5EF4-FFF2-40B4-BE49-F238E27FC236}">
                  <a16:creationId xmlns:a16="http://schemas.microsoft.com/office/drawing/2014/main" id="{1A0712F6-8311-B843-9F61-9030FD3E74F7}"/>
                </a:ext>
              </a:extLst>
            </p:cNvPr>
            <p:cNvSpPr>
              <a:spLocks/>
            </p:cNvSpPr>
            <p:nvPr/>
          </p:nvSpPr>
          <p:spPr bwMode="auto">
            <a:xfrm>
              <a:off x="5030803" y="1549856"/>
              <a:ext cx="123825" cy="92075"/>
            </a:xfrm>
            <a:custGeom>
              <a:avLst/>
              <a:gdLst>
                <a:gd name="T0" fmla="*/ 124 w 130"/>
                <a:gd name="T1" fmla="*/ 44 h 98"/>
                <a:gd name="T2" fmla="*/ 107 w 130"/>
                <a:gd name="T3" fmla="*/ 53 h 98"/>
                <a:gd name="T4" fmla="*/ 105 w 130"/>
                <a:gd name="T5" fmla="*/ 72 h 98"/>
                <a:gd name="T6" fmla="*/ 99 w 130"/>
                <a:gd name="T7" fmla="*/ 87 h 98"/>
                <a:gd name="T8" fmla="*/ 101 w 130"/>
                <a:gd name="T9" fmla="*/ 97 h 98"/>
                <a:gd name="T10" fmla="*/ 96 w 130"/>
                <a:gd name="T11" fmla="*/ 97 h 98"/>
                <a:gd name="T12" fmla="*/ 80 w 130"/>
                <a:gd name="T13" fmla="*/ 87 h 98"/>
                <a:gd name="T14" fmla="*/ 83 w 130"/>
                <a:gd name="T15" fmla="*/ 83 h 98"/>
                <a:gd name="T16" fmla="*/ 82 w 130"/>
                <a:gd name="T17" fmla="*/ 78 h 98"/>
                <a:gd name="T18" fmla="*/ 84 w 130"/>
                <a:gd name="T19" fmla="*/ 72 h 98"/>
                <a:gd name="T20" fmla="*/ 79 w 130"/>
                <a:gd name="T21" fmla="*/ 65 h 98"/>
                <a:gd name="T22" fmla="*/ 68 w 130"/>
                <a:gd name="T23" fmla="*/ 63 h 98"/>
                <a:gd name="T24" fmla="*/ 58 w 130"/>
                <a:gd name="T25" fmla="*/ 72 h 98"/>
                <a:gd name="T26" fmla="*/ 50 w 130"/>
                <a:gd name="T27" fmla="*/ 79 h 98"/>
                <a:gd name="T28" fmla="*/ 43 w 130"/>
                <a:gd name="T29" fmla="*/ 85 h 98"/>
                <a:gd name="T30" fmla="*/ 42 w 130"/>
                <a:gd name="T31" fmla="*/ 77 h 98"/>
                <a:gd name="T32" fmla="*/ 39 w 130"/>
                <a:gd name="T33" fmla="*/ 66 h 98"/>
                <a:gd name="T34" fmla="*/ 23 w 130"/>
                <a:gd name="T35" fmla="*/ 57 h 98"/>
                <a:gd name="T36" fmla="*/ 19 w 130"/>
                <a:gd name="T37" fmla="*/ 51 h 98"/>
                <a:gd name="T38" fmla="*/ 25 w 130"/>
                <a:gd name="T39" fmla="*/ 46 h 98"/>
                <a:gd name="T40" fmla="*/ 13 w 130"/>
                <a:gd name="T41" fmla="*/ 40 h 98"/>
                <a:gd name="T42" fmla="*/ 13 w 130"/>
                <a:gd name="T43" fmla="*/ 31 h 98"/>
                <a:gd name="T44" fmla="*/ 9 w 130"/>
                <a:gd name="T45" fmla="*/ 26 h 98"/>
                <a:gd name="T46" fmla="*/ 0 w 130"/>
                <a:gd name="T47" fmla="*/ 17 h 98"/>
                <a:gd name="T48" fmla="*/ 5 w 130"/>
                <a:gd name="T49" fmla="*/ 14 h 98"/>
                <a:gd name="T50" fmla="*/ 14 w 130"/>
                <a:gd name="T51" fmla="*/ 17 h 98"/>
                <a:gd name="T52" fmla="*/ 21 w 130"/>
                <a:gd name="T53" fmla="*/ 20 h 98"/>
                <a:gd name="T54" fmla="*/ 32 w 130"/>
                <a:gd name="T55" fmla="*/ 23 h 98"/>
                <a:gd name="T56" fmla="*/ 39 w 130"/>
                <a:gd name="T57" fmla="*/ 21 h 98"/>
                <a:gd name="T58" fmla="*/ 34 w 130"/>
                <a:gd name="T59" fmla="*/ 15 h 98"/>
                <a:gd name="T60" fmla="*/ 25 w 130"/>
                <a:gd name="T61" fmla="*/ 7 h 98"/>
                <a:gd name="T62" fmla="*/ 30 w 130"/>
                <a:gd name="T63" fmla="*/ 1 h 98"/>
                <a:gd name="T64" fmla="*/ 41 w 130"/>
                <a:gd name="T65" fmla="*/ 4 h 98"/>
                <a:gd name="T66" fmla="*/ 52 w 130"/>
                <a:gd name="T67" fmla="*/ 15 h 98"/>
                <a:gd name="T68" fmla="*/ 59 w 130"/>
                <a:gd name="T69" fmla="*/ 19 h 98"/>
                <a:gd name="T70" fmla="*/ 67 w 130"/>
                <a:gd name="T71" fmla="*/ 15 h 98"/>
                <a:gd name="T72" fmla="*/ 77 w 130"/>
                <a:gd name="T73" fmla="*/ 5 h 98"/>
                <a:gd name="T74" fmla="*/ 79 w 130"/>
                <a:gd name="T75" fmla="*/ 3 h 98"/>
                <a:gd name="T76" fmla="*/ 85 w 130"/>
                <a:gd name="T77" fmla="*/ 11 h 98"/>
                <a:gd name="T78" fmla="*/ 97 w 130"/>
                <a:gd name="T79" fmla="*/ 27 h 98"/>
                <a:gd name="T80" fmla="*/ 115 w 130"/>
                <a:gd name="T81" fmla="*/ 38 h 98"/>
                <a:gd name="T82" fmla="*/ 124 w 130"/>
                <a:gd name="T83" fmla="*/ 4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0" h="98">
                  <a:moveTo>
                    <a:pt x="124" y="44"/>
                  </a:moveTo>
                  <a:cubicBezTo>
                    <a:pt x="118" y="46"/>
                    <a:pt x="109" y="45"/>
                    <a:pt x="107" y="53"/>
                  </a:cubicBezTo>
                  <a:cubicBezTo>
                    <a:pt x="105" y="60"/>
                    <a:pt x="109" y="64"/>
                    <a:pt x="105" y="72"/>
                  </a:cubicBezTo>
                  <a:cubicBezTo>
                    <a:pt x="100" y="80"/>
                    <a:pt x="96" y="75"/>
                    <a:pt x="99" y="87"/>
                  </a:cubicBezTo>
                  <a:cubicBezTo>
                    <a:pt x="100" y="91"/>
                    <a:pt x="100" y="94"/>
                    <a:pt x="101" y="97"/>
                  </a:cubicBezTo>
                  <a:cubicBezTo>
                    <a:pt x="100" y="97"/>
                    <a:pt x="98" y="98"/>
                    <a:pt x="96" y="97"/>
                  </a:cubicBezTo>
                  <a:cubicBezTo>
                    <a:pt x="92" y="97"/>
                    <a:pt x="85" y="91"/>
                    <a:pt x="80" y="87"/>
                  </a:cubicBezTo>
                  <a:cubicBezTo>
                    <a:pt x="76" y="84"/>
                    <a:pt x="83" y="84"/>
                    <a:pt x="83" y="83"/>
                  </a:cubicBezTo>
                  <a:cubicBezTo>
                    <a:pt x="84" y="83"/>
                    <a:pt x="83" y="80"/>
                    <a:pt x="82" y="78"/>
                  </a:cubicBezTo>
                  <a:cubicBezTo>
                    <a:pt x="81" y="77"/>
                    <a:pt x="82" y="74"/>
                    <a:pt x="84" y="72"/>
                  </a:cubicBezTo>
                  <a:cubicBezTo>
                    <a:pt x="86" y="70"/>
                    <a:pt x="81" y="68"/>
                    <a:pt x="79" y="65"/>
                  </a:cubicBezTo>
                  <a:cubicBezTo>
                    <a:pt x="76" y="62"/>
                    <a:pt x="70" y="63"/>
                    <a:pt x="68" y="63"/>
                  </a:cubicBezTo>
                  <a:cubicBezTo>
                    <a:pt x="66" y="64"/>
                    <a:pt x="63" y="68"/>
                    <a:pt x="58" y="72"/>
                  </a:cubicBezTo>
                  <a:cubicBezTo>
                    <a:pt x="53" y="75"/>
                    <a:pt x="52" y="75"/>
                    <a:pt x="50" y="79"/>
                  </a:cubicBezTo>
                  <a:cubicBezTo>
                    <a:pt x="48" y="82"/>
                    <a:pt x="46" y="84"/>
                    <a:pt x="43" y="85"/>
                  </a:cubicBezTo>
                  <a:cubicBezTo>
                    <a:pt x="43" y="83"/>
                    <a:pt x="42" y="79"/>
                    <a:pt x="42" y="77"/>
                  </a:cubicBezTo>
                  <a:cubicBezTo>
                    <a:pt x="42" y="73"/>
                    <a:pt x="44" y="70"/>
                    <a:pt x="39" y="66"/>
                  </a:cubicBezTo>
                  <a:cubicBezTo>
                    <a:pt x="35" y="62"/>
                    <a:pt x="27" y="62"/>
                    <a:pt x="23" y="57"/>
                  </a:cubicBezTo>
                  <a:cubicBezTo>
                    <a:pt x="19" y="53"/>
                    <a:pt x="16" y="52"/>
                    <a:pt x="19" y="51"/>
                  </a:cubicBezTo>
                  <a:cubicBezTo>
                    <a:pt x="22" y="51"/>
                    <a:pt x="28" y="48"/>
                    <a:pt x="25" y="46"/>
                  </a:cubicBezTo>
                  <a:cubicBezTo>
                    <a:pt x="22" y="44"/>
                    <a:pt x="15" y="43"/>
                    <a:pt x="13" y="40"/>
                  </a:cubicBezTo>
                  <a:cubicBezTo>
                    <a:pt x="11" y="36"/>
                    <a:pt x="12" y="33"/>
                    <a:pt x="13" y="31"/>
                  </a:cubicBezTo>
                  <a:cubicBezTo>
                    <a:pt x="14" y="30"/>
                    <a:pt x="13" y="29"/>
                    <a:pt x="9" y="26"/>
                  </a:cubicBezTo>
                  <a:cubicBezTo>
                    <a:pt x="6" y="24"/>
                    <a:pt x="2" y="20"/>
                    <a:pt x="0" y="17"/>
                  </a:cubicBezTo>
                  <a:cubicBezTo>
                    <a:pt x="3" y="15"/>
                    <a:pt x="2" y="13"/>
                    <a:pt x="5" y="14"/>
                  </a:cubicBezTo>
                  <a:cubicBezTo>
                    <a:pt x="9" y="16"/>
                    <a:pt x="13" y="16"/>
                    <a:pt x="14" y="17"/>
                  </a:cubicBezTo>
                  <a:cubicBezTo>
                    <a:pt x="15" y="19"/>
                    <a:pt x="18" y="19"/>
                    <a:pt x="21" y="20"/>
                  </a:cubicBezTo>
                  <a:cubicBezTo>
                    <a:pt x="23" y="20"/>
                    <a:pt x="29" y="22"/>
                    <a:pt x="32" y="23"/>
                  </a:cubicBezTo>
                  <a:cubicBezTo>
                    <a:pt x="36" y="23"/>
                    <a:pt x="39" y="24"/>
                    <a:pt x="39" y="21"/>
                  </a:cubicBezTo>
                  <a:cubicBezTo>
                    <a:pt x="40" y="18"/>
                    <a:pt x="39" y="18"/>
                    <a:pt x="34" y="15"/>
                  </a:cubicBezTo>
                  <a:cubicBezTo>
                    <a:pt x="29" y="11"/>
                    <a:pt x="23" y="10"/>
                    <a:pt x="25" y="7"/>
                  </a:cubicBezTo>
                  <a:cubicBezTo>
                    <a:pt x="27" y="5"/>
                    <a:pt x="29" y="2"/>
                    <a:pt x="30" y="1"/>
                  </a:cubicBezTo>
                  <a:cubicBezTo>
                    <a:pt x="36" y="2"/>
                    <a:pt x="38" y="0"/>
                    <a:pt x="41" y="4"/>
                  </a:cubicBezTo>
                  <a:cubicBezTo>
                    <a:pt x="44" y="9"/>
                    <a:pt x="48" y="11"/>
                    <a:pt x="52" y="15"/>
                  </a:cubicBezTo>
                  <a:cubicBezTo>
                    <a:pt x="55" y="19"/>
                    <a:pt x="53" y="20"/>
                    <a:pt x="59" y="19"/>
                  </a:cubicBezTo>
                  <a:cubicBezTo>
                    <a:pt x="65" y="19"/>
                    <a:pt x="67" y="19"/>
                    <a:pt x="67" y="15"/>
                  </a:cubicBezTo>
                  <a:cubicBezTo>
                    <a:pt x="67" y="11"/>
                    <a:pt x="75" y="7"/>
                    <a:pt x="77" y="5"/>
                  </a:cubicBezTo>
                  <a:cubicBezTo>
                    <a:pt x="78" y="4"/>
                    <a:pt x="78" y="4"/>
                    <a:pt x="79" y="3"/>
                  </a:cubicBezTo>
                  <a:cubicBezTo>
                    <a:pt x="81" y="5"/>
                    <a:pt x="82" y="7"/>
                    <a:pt x="85" y="11"/>
                  </a:cubicBezTo>
                  <a:cubicBezTo>
                    <a:pt x="90" y="18"/>
                    <a:pt x="88" y="18"/>
                    <a:pt x="97" y="27"/>
                  </a:cubicBezTo>
                  <a:cubicBezTo>
                    <a:pt x="105" y="36"/>
                    <a:pt x="110" y="36"/>
                    <a:pt x="115" y="38"/>
                  </a:cubicBezTo>
                  <a:cubicBezTo>
                    <a:pt x="121" y="39"/>
                    <a:pt x="130" y="42"/>
                    <a:pt x="124" y="44"/>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37" name="Freeform 1206">
              <a:extLst>
                <a:ext uri="{FF2B5EF4-FFF2-40B4-BE49-F238E27FC236}">
                  <a16:creationId xmlns:a16="http://schemas.microsoft.com/office/drawing/2014/main" id="{A1F8ADB7-1435-754B-A3D4-55526DE95753}"/>
                </a:ext>
              </a:extLst>
            </p:cNvPr>
            <p:cNvSpPr>
              <a:spLocks/>
            </p:cNvSpPr>
            <p:nvPr/>
          </p:nvSpPr>
          <p:spPr bwMode="auto">
            <a:xfrm>
              <a:off x="5029216" y="1607006"/>
              <a:ext cx="36513" cy="25400"/>
            </a:xfrm>
            <a:custGeom>
              <a:avLst/>
              <a:gdLst>
                <a:gd name="T0" fmla="*/ 38 w 38"/>
                <a:gd name="T1" fmla="*/ 24 h 26"/>
                <a:gd name="T2" fmla="*/ 34 w 38"/>
                <a:gd name="T3" fmla="*/ 25 h 26"/>
                <a:gd name="T4" fmla="*/ 23 w 38"/>
                <a:gd name="T5" fmla="*/ 21 h 26"/>
                <a:gd name="T6" fmla="*/ 10 w 38"/>
                <a:gd name="T7" fmla="*/ 10 h 26"/>
                <a:gd name="T8" fmla="*/ 4 w 38"/>
                <a:gd name="T9" fmla="*/ 4 h 26"/>
                <a:gd name="T10" fmla="*/ 0 w 38"/>
                <a:gd name="T11" fmla="*/ 0 h 26"/>
                <a:gd name="T12" fmla="*/ 11 w 38"/>
                <a:gd name="T13" fmla="*/ 3 h 26"/>
                <a:gd name="T14" fmla="*/ 25 w 38"/>
                <a:gd name="T15" fmla="*/ 5 h 26"/>
                <a:gd name="T16" fmla="*/ 28 w 38"/>
                <a:gd name="T17" fmla="*/ 10 h 26"/>
                <a:gd name="T18" fmla="*/ 35 w 38"/>
                <a:gd name="T19" fmla="*/ 18 h 26"/>
                <a:gd name="T20" fmla="*/ 37 w 38"/>
                <a:gd name="T21" fmla="*/ 24 h 26"/>
                <a:gd name="T22" fmla="*/ 38 w 38"/>
                <a:gd name="T23"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26">
                  <a:moveTo>
                    <a:pt x="38" y="24"/>
                  </a:moveTo>
                  <a:cubicBezTo>
                    <a:pt x="37" y="25"/>
                    <a:pt x="36" y="26"/>
                    <a:pt x="34" y="25"/>
                  </a:cubicBezTo>
                  <a:cubicBezTo>
                    <a:pt x="31" y="25"/>
                    <a:pt x="27" y="24"/>
                    <a:pt x="23" y="21"/>
                  </a:cubicBezTo>
                  <a:cubicBezTo>
                    <a:pt x="19" y="18"/>
                    <a:pt x="15" y="15"/>
                    <a:pt x="10" y="10"/>
                  </a:cubicBezTo>
                  <a:cubicBezTo>
                    <a:pt x="5" y="6"/>
                    <a:pt x="7" y="6"/>
                    <a:pt x="4" y="4"/>
                  </a:cubicBezTo>
                  <a:cubicBezTo>
                    <a:pt x="3" y="2"/>
                    <a:pt x="1" y="1"/>
                    <a:pt x="0" y="0"/>
                  </a:cubicBezTo>
                  <a:cubicBezTo>
                    <a:pt x="3" y="0"/>
                    <a:pt x="7" y="0"/>
                    <a:pt x="11" y="3"/>
                  </a:cubicBezTo>
                  <a:cubicBezTo>
                    <a:pt x="16" y="7"/>
                    <a:pt x="23" y="6"/>
                    <a:pt x="25" y="5"/>
                  </a:cubicBezTo>
                  <a:cubicBezTo>
                    <a:pt x="26" y="5"/>
                    <a:pt x="27" y="7"/>
                    <a:pt x="28" y="10"/>
                  </a:cubicBezTo>
                  <a:cubicBezTo>
                    <a:pt x="30" y="12"/>
                    <a:pt x="34" y="16"/>
                    <a:pt x="35" y="18"/>
                  </a:cubicBezTo>
                  <a:cubicBezTo>
                    <a:pt x="36" y="21"/>
                    <a:pt x="37" y="22"/>
                    <a:pt x="37" y="24"/>
                  </a:cubicBezTo>
                  <a:cubicBezTo>
                    <a:pt x="38" y="24"/>
                    <a:pt x="38" y="24"/>
                    <a:pt x="38" y="24"/>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38" name="Freeform 1207">
              <a:extLst>
                <a:ext uri="{FF2B5EF4-FFF2-40B4-BE49-F238E27FC236}">
                  <a16:creationId xmlns:a16="http://schemas.microsoft.com/office/drawing/2014/main" id="{43CA87A7-6E7E-3C48-8CDC-EC428862629E}"/>
                </a:ext>
              </a:extLst>
            </p:cNvPr>
            <p:cNvSpPr>
              <a:spLocks/>
            </p:cNvSpPr>
            <p:nvPr/>
          </p:nvSpPr>
          <p:spPr bwMode="auto">
            <a:xfrm>
              <a:off x="4619640" y="1541918"/>
              <a:ext cx="420689" cy="171450"/>
            </a:xfrm>
            <a:custGeom>
              <a:avLst/>
              <a:gdLst>
                <a:gd name="T0" fmla="*/ 432 w 441"/>
                <a:gd name="T1" fmla="*/ 146 h 180"/>
                <a:gd name="T2" fmla="*/ 420 w 441"/>
                <a:gd name="T3" fmla="*/ 138 h 180"/>
                <a:gd name="T4" fmla="*/ 398 w 441"/>
                <a:gd name="T5" fmla="*/ 135 h 180"/>
                <a:gd name="T6" fmla="*/ 387 w 441"/>
                <a:gd name="T7" fmla="*/ 139 h 180"/>
                <a:gd name="T8" fmla="*/ 374 w 441"/>
                <a:gd name="T9" fmla="*/ 140 h 180"/>
                <a:gd name="T10" fmla="*/ 342 w 441"/>
                <a:gd name="T11" fmla="*/ 144 h 180"/>
                <a:gd name="T12" fmla="*/ 315 w 441"/>
                <a:gd name="T13" fmla="*/ 152 h 180"/>
                <a:gd name="T14" fmla="*/ 278 w 441"/>
                <a:gd name="T15" fmla="*/ 150 h 180"/>
                <a:gd name="T16" fmla="*/ 258 w 441"/>
                <a:gd name="T17" fmla="*/ 148 h 180"/>
                <a:gd name="T18" fmla="*/ 254 w 441"/>
                <a:gd name="T19" fmla="*/ 162 h 180"/>
                <a:gd name="T20" fmla="*/ 244 w 441"/>
                <a:gd name="T21" fmla="*/ 176 h 180"/>
                <a:gd name="T22" fmla="*/ 233 w 441"/>
                <a:gd name="T23" fmla="*/ 165 h 180"/>
                <a:gd name="T24" fmla="*/ 235 w 441"/>
                <a:gd name="T25" fmla="*/ 148 h 180"/>
                <a:gd name="T26" fmla="*/ 204 w 441"/>
                <a:gd name="T27" fmla="*/ 150 h 180"/>
                <a:gd name="T28" fmla="*/ 175 w 441"/>
                <a:gd name="T29" fmla="*/ 168 h 180"/>
                <a:gd name="T30" fmla="*/ 152 w 441"/>
                <a:gd name="T31" fmla="*/ 166 h 180"/>
                <a:gd name="T32" fmla="*/ 114 w 441"/>
                <a:gd name="T33" fmla="*/ 149 h 180"/>
                <a:gd name="T34" fmla="*/ 107 w 441"/>
                <a:gd name="T35" fmla="*/ 166 h 180"/>
                <a:gd name="T36" fmla="*/ 79 w 441"/>
                <a:gd name="T37" fmla="*/ 165 h 180"/>
                <a:gd name="T38" fmla="*/ 59 w 441"/>
                <a:gd name="T39" fmla="*/ 152 h 180"/>
                <a:gd name="T40" fmla="*/ 45 w 441"/>
                <a:gd name="T41" fmla="*/ 142 h 180"/>
                <a:gd name="T42" fmla="*/ 30 w 441"/>
                <a:gd name="T43" fmla="*/ 142 h 180"/>
                <a:gd name="T44" fmla="*/ 27 w 441"/>
                <a:gd name="T45" fmla="*/ 127 h 180"/>
                <a:gd name="T46" fmla="*/ 27 w 441"/>
                <a:gd name="T47" fmla="*/ 117 h 180"/>
                <a:gd name="T48" fmla="*/ 6 w 441"/>
                <a:gd name="T49" fmla="*/ 102 h 180"/>
                <a:gd name="T50" fmla="*/ 23 w 441"/>
                <a:gd name="T51" fmla="*/ 106 h 180"/>
                <a:gd name="T52" fmla="*/ 19 w 441"/>
                <a:gd name="T53" fmla="*/ 92 h 180"/>
                <a:gd name="T54" fmla="*/ 14 w 441"/>
                <a:gd name="T55" fmla="*/ 79 h 180"/>
                <a:gd name="T56" fmla="*/ 7 w 441"/>
                <a:gd name="T57" fmla="*/ 76 h 180"/>
                <a:gd name="T58" fmla="*/ 2 w 441"/>
                <a:gd name="T59" fmla="*/ 60 h 180"/>
                <a:gd name="T60" fmla="*/ 11 w 441"/>
                <a:gd name="T61" fmla="*/ 49 h 180"/>
                <a:gd name="T62" fmla="*/ 35 w 441"/>
                <a:gd name="T63" fmla="*/ 51 h 180"/>
                <a:gd name="T64" fmla="*/ 53 w 441"/>
                <a:gd name="T65" fmla="*/ 51 h 180"/>
                <a:gd name="T66" fmla="*/ 65 w 441"/>
                <a:gd name="T67" fmla="*/ 44 h 180"/>
                <a:gd name="T68" fmla="*/ 68 w 441"/>
                <a:gd name="T69" fmla="*/ 36 h 180"/>
                <a:gd name="T70" fmla="*/ 75 w 441"/>
                <a:gd name="T71" fmla="*/ 28 h 180"/>
                <a:gd name="T72" fmla="*/ 108 w 441"/>
                <a:gd name="T73" fmla="*/ 30 h 180"/>
                <a:gd name="T74" fmla="*/ 133 w 441"/>
                <a:gd name="T75" fmla="*/ 19 h 180"/>
                <a:gd name="T76" fmla="*/ 163 w 441"/>
                <a:gd name="T77" fmla="*/ 6 h 180"/>
                <a:gd name="T78" fmla="*/ 194 w 441"/>
                <a:gd name="T79" fmla="*/ 6 h 180"/>
                <a:gd name="T80" fmla="*/ 210 w 441"/>
                <a:gd name="T81" fmla="*/ 15 h 180"/>
                <a:gd name="T82" fmla="*/ 228 w 441"/>
                <a:gd name="T83" fmla="*/ 21 h 180"/>
                <a:gd name="T84" fmla="*/ 247 w 441"/>
                <a:gd name="T85" fmla="*/ 27 h 180"/>
                <a:gd name="T86" fmla="*/ 282 w 441"/>
                <a:gd name="T87" fmla="*/ 34 h 180"/>
                <a:gd name="T88" fmla="*/ 313 w 441"/>
                <a:gd name="T89" fmla="*/ 35 h 180"/>
                <a:gd name="T90" fmla="*/ 344 w 441"/>
                <a:gd name="T91" fmla="*/ 22 h 180"/>
                <a:gd name="T92" fmla="*/ 360 w 441"/>
                <a:gd name="T93" fmla="*/ 21 h 180"/>
                <a:gd name="T94" fmla="*/ 380 w 441"/>
                <a:gd name="T95" fmla="*/ 17 h 180"/>
                <a:gd name="T96" fmla="*/ 395 w 441"/>
                <a:gd name="T97" fmla="*/ 29 h 180"/>
                <a:gd name="T98" fmla="*/ 402 w 441"/>
                <a:gd name="T99" fmla="*/ 40 h 180"/>
                <a:gd name="T100" fmla="*/ 408 w 441"/>
                <a:gd name="T101" fmla="*/ 59 h 180"/>
                <a:gd name="T102" fmla="*/ 426 w 441"/>
                <a:gd name="T103" fmla="*/ 66 h 180"/>
                <a:gd name="T104" fmla="*/ 424 w 441"/>
                <a:gd name="T105" fmla="*/ 70 h 180"/>
                <a:gd name="T106" fmla="*/ 416 w 441"/>
                <a:gd name="T107" fmla="*/ 81 h 180"/>
                <a:gd name="T108" fmla="*/ 427 w 441"/>
                <a:gd name="T109" fmla="*/ 108 h 180"/>
                <a:gd name="T110" fmla="*/ 430 w 441"/>
                <a:gd name="T111" fmla="*/ 122 h 180"/>
                <a:gd name="T112" fmla="*/ 440 w 441"/>
                <a:gd name="T113" fmla="*/ 13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1" h="180">
                  <a:moveTo>
                    <a:pt x="441" y="139"/>
                  </a:moveTo>
                  <a:cubicBezTo>
                    <a:pt x="439" y="141"/>
                    <a:pt x="435" y="144"/>
                    <a:pt x="432" y="146"/>
                  </a:cubicBezTo>
                  <a:cubicBezTo>
                    <a:pt x="428" y="149"/>
                    <a:pt x="428" y="144"/>
                    <a:pt x="427" y="140"/>
                  </a:cubicBezTo>
                  <a:cubicBezTo>
                    <a:pt x="426" y="136"/>
                    <a:pt x="425" y="136"/>
                    <a:pt x="420" y="138"/>
                  </a:cubicBezTo>
                  <a:cubicBezTo>
                    <a:pt x="416" y="139"/>
                    <a:pt x="415" y="139"/>
                    <a:pt x="412" y="137"/>
                  </a:cubicBezTo>
                  <a:cubicBezTo>
                    <a:pt x="409" y="136"/>
                    <a:pt x="404" y="135"/>
                    <a:pt x="398" y="135"/>
                  </a:cubicBezTo>
                  <a:cubicBezTo>
                    <a:pt x="391" y="135"/>
                    <a:pt x="393" y="137"/>
                    <a:pt x="391" y="139"/>
                  </a:cubicBezTo>
                  <a:cubicBezTo>
                    <a:pt x="389" y="140"/>
                    <a:pt x="388" y="140"/>
                    <a:pt x="387" y="139"/>
                  </a:cubicBezTo>
                  <a:cubicBezTo>
                    <a:pt x="387" y="139"/>
                    <a:pt x="387" y="138"/>
                    <a:pt x="387" y="138"/>
                  </a:cubicBezTo>
                  <a:cubicBezTo>
                    <a:pt x="387" y="136"/>
                    <a:pt x="378" y="138"/>
                    <a:pt x="374" y="140"/>
                  </a:cubicBezTo>
                  <a:cubicBezTo>
                    <a:pt x="369" y="142"/>
                    <a:pt x="365" y="142"/>
                    <a:pt x="360" y="142"/>
                  </a:cubicBezTo>
                  <a:cubicBezTo>
                    <a:pt x="355" y="141"/>
                    <a:pt x="348" y="142"/>
                    <a:pt x="342" y="144"/>
                  </a:cubicBezTo>
                  <a:cubicBezTo>
                    <a:pt x="337" y="145"/>
                    <a:pt x="335" y="145"/>
                    <a:pt x="330" y="147"/>
                  </a:cubicBezTo>
                  <a:cubicBezTo>
                    <a:pt x="326" y="150"/>
                    <a:pt x="320" y="151"/>
                    <a:pt x="315" y="152"/>
                  </a:cubicBezTo>
                  <a:cubicBezTo>
                    <a:pt x="310" y="153"/>
                    <a:pt x="302" y="153"/>
                    <a:pt x="296" y="149"/>
                  </a:cubicBezTo>
                  <a:cubicBezTo>
                    <a:pt x="290" y="145"/>
                    <a:pt x="283" y="148"/>
                    <a:pt x="278" y="150"/>
                  </a:cubicBezTo>
                  <a:cubicBezTo>
                    <a:pt x="272" y="151"/>
                    <a:pt x="274" y="153"/>
                    <a:pt x="269" y="155"/>
                  </a:cubicBezTo>
                  <a:cubicBezTo>
                    <a:pt x="264" y="158"/>
                    <a:pt x="263" y="150"/>
                    <a:pt x="258" y="148"/>
                  </a:cubicBezTo>
                  <a:cubicBezTo>
                    <a:pt x="254" y="147"/>
                    <a:pt x="253" y="151"/>
                    <a:pt x="252" y="155"/>
                  </a:cubicBezTo>
                  <a:cubicBezTo>
                    <a:pt x="251" y="160"/>
                    <a:pt x="252" y="161"/>
                    <a:pt x="254" y="162"/>
                  </a:cubicBezTo>
                  <a:cubicBezTo>
                    <a:pt x="257" y="163"/>
                    <a:pt x="253" y="165"/>
                    <a:pt x="249" y="166"/>
                  </a:cubicBezTo>
                  <a:cubicBezTo>
                    <a:pt x="245" y="166"/>
                    <a:pt x="247" y="172"/>
                    <a:pt x="244" y="176"/>
                  </a:cubicBezTo>
                  <a:cubicBezTo>
                    <a:pt x="241" y="180"/>
                    <a:pt x="240" y="177"/>
                    <a:pt x="237" y="175"/>
                  </a:cubicBezTo>
                  <a:cubicBezTo>
                    <a:pt x="241" y="172"/>
                    <a:pt x="231" y="169"/>
                    <a:pt x="233" y="165"/>
                  </a:cubicBezTo>
                  <a:cubicBezTo>
                    <a:pt x="234" y="161"/>
                    <a:pt x="240" y="159"/>
                    <a:pt x="240" y="154"/>
                  </a:cubicBezTo>
                  <a:cubicBezTo>
                    <a:pt x="241" y="150"/>
                    <a:pt x="238" y="143"/>
                    <a:pt x="235" y="148"/>
                  </a:cubicBezTo>
                  <a:cubicBezTo>
                    <a:pt x="232" y="152"/>
                    <a:pt x="224" y="159"/>
                    <a:pt x="222" y="157"/>
                  </a:cubicBezTo>
                  <a:cubicBezTo>
                    <a:pt x="219" y="154"/>
                    <a:pt x="210" y="146"/>
                    <a:pt x="204" y="150"/>
                  </a:cubicBezTo>
                  <a:cubicBezTo>
                    <a:pt x="197" y="153"/>
                    <a:pt x="196" y="158"/>
                    <a:pt x="194" y="161"/>
                  </a:cubicBezTo>
                  <a:cubicBezTo>
                    <a:pt x="192" y="165"/>
                    <a:pt x="180" y="167"/>
                    <a:pt x="175" y="168"/>
                  </a:cubicBezTo>
                  <a:cubicBezTo>
                    <a:pt x="169" y="170"/>
                    <a:pt x="169" y="171"/>
                    <a:pt x="162" y="171"/>
                  </a:cubicBezTo>
                  <a:cubicBezTo>
                    <a:pt x="155" y="170"/>
                    <a:pt x="160" y="171"/>
                    <a:pt x="152" y="166"/>
                  </a:cubicBezTo>
                  <a:cubicBezTo>
                    <a:pt x="143" y="161"/>
                    <a:pt x="136" y="153"/>
                    <a:pt x="130" y="152"/>
                  </a:cubicBezTo>
                  <a:cubicBezTo>
                    <a:pt x="123" y="152"/>
                    <a:pt x="119" y="149"/>
                    <a:pt x="114" y="149"/>
                  </a:cubicBezTo>
                  <a:cubicBezTo>
                    <a:pt x="110" y="149"/>
                    <a:pt x="108" y="153"/>
                    <a:pt x="108" y="159"/>
                  </a:cubicBezTo>
                  <a:cubicBezTo>
                    <a:pt x="108" y="164"/>
                    <a:pt x="110" y="166"/>
                    <a:pt x="107" y="166"/>
                  </a:cubicBezTo>
                  <a:cubicBezTo>
                    <a:pt x="105" y="166"/>
                    <a:pt x="99" y="165"/>
                    <a:pt x="95" y="167"/>
                  </a:cubicBezTo>
                  <a:cubicBezTo>
                    <a:pt x="91" y="169"/>
                    <a:pt x="83" y="167"/>
                    <a:pt x="79" y="165"/>
                  </a:cubicBezTo>
                  <a:cubicBezTo>
                    <a:pt x="74" y="162"/>
                    <a:pt x="81" y="158"/>
                    <a:pt x="74" y="156"/>
                  </a:cubicBezTo>
                  <a:cubicBezTo>
                    <a:pt x="67" y="154"/>
                    <a:pt x="63" y="148"/>
                    <a:pt x="59" y="152"/>
                  </a:cubicBezTo>
                  <a:cubicBezTo>
                    <a:pt x="56" y="155"/>
                    <a:pt x="47" y="154"/>
                    <a:pt x="49" y="151"/>
                  </a:cubicBezTo>
                  <a:cubicBezTo>
                    <a:pt x="50" y="149"/>
                    <a:pt x="48" y="142"/>
                    <a:pt x="45" y="142"/>
                  </a:cubicBezTo>
                  <a:cubicBezTo>
                    <a:pt x="42" y="142"/>
                    <a:pt x="43" y="141"/>
                    <a:pt x="38" y="143"/>
                  </a:cubicBezTo>
                  <a:cubicBezTo>
                    <a:pt x="33" y="145"/>
                    <a:pt x="28" y="143"/>
                    <a:pt x="30" y="142"/>
                  </a:cubicBezTo>
                  <a:cubicBezTo>
                    <a:pt x="32" y="140"/>
                    <a:pt x="38" y="137"/>
                    <a:pt x="34" y="135"/>
                  </a:cubicBezTo>
                  <a:cubicBezTo>
                    <a:pt x="31" y="133"/>
                    <a:pt x="27" y="129"/>
                    <a:pt x="27" y="127"/>
                  </a:cubicBezTo>
                  <a:cubicBezTo>
                    <a:pt x="27" y="125"/>
                    <a:pt x="13" y="123"/>
                    <a:pt x="18" y="122"/>
                  </a:cubicBezTo>
                  <a:cubicBezTo>
                    <a:pt x="22" y="121"/>
                    <a:pt x="33" y="118"/>
                    <a:pt x="27" y="117"/>
                  </a:cubicBezTo>
                  <a:cubicBezTo>
                    <a:pt x="22" y="116"/>
                    <a:pt x="18" y="110"/>
                    <a:pt x="14" y="110"/>
                  </a:cubicBezTo>
                  <a:cubicBezTo>
                    <a:pt x="10" y="110"/>
                    <a:pt x="4" y="107"/>
                    <a:pt x="6" y="102"/>
                  </a:cubicBezTo>
                  <a:cubicBezTo>
                    <a:pt x="9" y="96"/>
                    <a:pt x="10" y="93"/>
                    <a:pt x="12" y="97"/>
                  </a:cubicBezTo>
                  <a:cubicBezTo>
                    <a:pt x="14" y="102"/>
                    <a:pt x="21" y="106"/>
                    <a:pt x="23" y="106"/>
                  </a:cubicBezTo>
                  <a:cubicBezTo>
                    <a:pt x="25" y="105"/>
                    <a:pt x="21" y="103"/>
                    <a:pt x="20" y="100"/>
                  </a:cubicBezTo>
                  <a:cubicBezTo>
                    <a:pt x="19" y="96"/>
                    <a:pt x="20" y="96"/>
                    <a:pt x="19" y="92"/>
                  </a:cubicBezTo>
                  <a:cubicBezTo>
                    <a:pt x="19" y="88"/>
                    <a:pt x="19" y="87"/>
                    <a:pt x="18" y="85"/>
                  </a:cubicBezTo>
                  <a:cubicBezTo>
                    <a:pt x="16" y="83"/>
                    <a:pt x="9" y="82"/>
                    <a:pt x="14" y="79"/>
                  </a:cubicBezTo>
                  <a:cubicBezTo>
                    <a:pt x="20" y="76"/>
                    <a:pt x="17" y="72"/>
                    <a:pt x="14" y="73"/>
                  </a:cubicBezTo>
                  <a:cubicBezTo>
                    <a:pt x="12" y="74"/>
                    <a:pt x="8" y="76"/>
                    <a:pt x="7" y="76"/>
                  </a:cubicBezTo>
                  <a:cubicBezTo>
                    <a:pt x="6" y="76"/>
                    <a:pt x="1" y="78"/>
                    <a:pt x="1" y="75"/>
                  </a:cubicBezTo>
                  <a:cubicBezTo>
                    <a:pt x="1" y="71"/>
                    <a:pt x="2" y="63"/>
                    <a:pt x="2" y="60"/>
                  </a:cubicBezTo>
                  <a:cubicBezTo>
                    <a:pt x="2" y="57"/>
                    <a:pt x="0" y="49"/>
                    <a:pt x="3" y="48"/>
                  </a:cubicBezTo>
                  <a:cubicBezTo>
                    <a:pt x="6" y="47"/>
                    <a:pt x="9" y="47"/>
                    <a:pt x="11" y="49"/>
                  </a:cubicBezTo>
                  <a:cubicBezTo>
                    <a:pt x="14" y="50"/>
                    <a:pt x="23" y="49"/>
                    <a:pt x="25" y="50"/>
                  </a:cubicBezTo>
                  <a:cubicBezTo>
                    <a:pt x="28" y="51"/>
                    <a:pt x="33" y="54"/>
                    <a:pt x="35" y="51"/>
                  </a:cubicBezTo>
                  <a:cubicBezTo>
                    <a:pt x="38" y="49"/>
                    <a:pt x="35" y="46"/>
                    <a:pt x="39" y="46"/>
                  </a:cubicBezTo>
                  <a:cubicBezTo>
                    <a:pt x="42" y="47"/>
                    <a:pt x="45" y="51"/>
                    <a:pt x="53" y="51"/>
                  </a:cubicBezTo>
                  <a:cubicBezTo>
                    <a:pt x="62" y="51"/>
                    <a:pt x="72" y="53"/>
                    <a:pt x="69" y="50"/>
                  </a:cubicBezTo>
                  <a:cubicBezTo>
                    <a:pt x="67" y="47"/>
                    <a:pt x="57" y="45"/>
                    <a:pt x="65" y="44"/>
                  </a:cubicBezTo>
                  <a:cubicBezTo>
                    <a:pt x="72" y="42"/>
                    <a:pt x="88" y="44"/>
                    <a:pt x="82" y="41"/>
                  </a:cubicBezTo>
                  <a:cubicBezTo>
                    <a:pt x="75" y="38"/>
                    <a:pt x="68" y="39"/>
                    <a:pt x="68" y="36"/>
                  </a:cubicBezTo>
                  <a:cubicBezTo>
                    <a:pt x="67" y="32"/>
                    <a:pt x="65" y="31"/>
                    <a:pt x="67" y="29"/>
                  </a:cubicBezTo>
                  <a:cubicBezTo>
                    <a:pt x="68" y="28"/>
                    <a:pt x="70" y="26"/>
                    <a:pt x="75" y="28"/>
                  </a:cubicBezTo>
                  <a:cubicBezTo>
                    <a:pt x="81" y="29"/>
                    <a:pt x="85" y="30"/>
                    <a:pt x="93" y="30"/>
                  </a:cubicBezTo>
                  <a:cubicBezTo>
                    <a:pt x="100" y="30"/>
                    <a:pt x="104" y="30"/>
                    <a:pt x="108" y="30"/>
                  </a:cubicBezTo>
                  <a:cubicBezTo>
                    <a:pt x="113" y="30"/>
                    <a:pt x="114" y="29"/>
                    <a:pt x="118" y="26"/>
                  </a:cubicBezTo>
                  <a:cubicBezTo>
                    <a:pt x="122" y="23"/>
                    <a:pt x="124" y="25"/>
                    <a:pt x="133" y="19"/>
                  </a:cubicBezTo>
                  <a:cubicBezTo>
                    <a:pt x="142" y="13"/>
                    <a:pt x="136" y="12"/>
                    <a:pt x="147" y="10"/>
                  </a:cubicBezTo>
                  <a:cubicBezTo>
                    <a:pt x="158" y="7"/>
                    <a:pt x="154" y="6"/>
                    <a:pt x="163" y="6"/>
                  </a:cubicBezTo>
                  <a:cubicBezTo>
                    <a:pt x="172" y="6"/>
                    <a:pt x="180" y="4"/>
                    <a:pt x="182" y="5"/>
                  </a:cubicBezTo>
                  <a:cubicBezTo>
                    <a:pt x="184" y="6"/>
                    <a:pt x="193" y="7"/>
                    <a:pt x="194" y="6"/>
                  </a:cubicBezTo>
                  <a:cubicBezTo>
                    <a:pt x="195" y="4"/>
                    <a:pt x="203" y="0"/>
                    <a:pt x="203" y="3"/>
                  </a:cubicBezTo>
                  <a:cubicBezTo>
                    <a:pt x="203" y="6"/>
                    <a:pt x="206" y="14"/>
                    <a:pt x="210" y="15"/>
                  </a:cubicBezTo>
                  <a:cubicBezTo>
                    <a:pt x="214" y="15"/>
                    <a:pt x="217" y="15"/>
                    <a:pt x="221" y="13"/>
                  </a:cubicBezTo>
                  <a:cubicBezTo>
                    <a:pt x="225" y="11"/>
                    <a:pt x="227" y="18"/>
                    <a:pt x="228" y="21"/>
                  </a:cubicBezTo>
                  <a:cubicBezTo>
                    <a:pt x="228" y="24"/>
                    <a:pt x="238" y="25"/>
                    <a:pt x="241" y="24"/>
                  </a:cubicBezTo>
                  <a:cubicBezTo>
                    <a:pt x="243" y="23"/>
                    <a:pt x="241" y="24"/>
                    <a:pt x="247" y="27"/>
                  </a:cubicBezTo>
                  <a:cubicBezTo>
                    <a:pt x="254" y="30"/>
                    <a:pt x="260" y="30"/>
                    <a:pt x="268" y="31"/>
                  </a:cubicBezTo>
                  <a:cubicBezTo>
                    <a:pt x="277" y="33"/>
                    <a:pt x="273" y="31"/>
                    <a:pt x="282" y="34"/>
                  </a:cubicBezTo>
                  <a:cubicBezTo>
                    <a:pt x="291" y="36"/>
                    <a:pt x="293" y="28"/>
                    <a:pt x="295" y="29"/>
                  </a:cubicBezTo>
                  <a:cubicBezTo>
                    <a:pt x="298" y="30"/>
                    <a:pt x="308" y="35"/>
                    <a:pt x="313" y="35"/>
                  </a:cubicBezTo>
                  <a:cubicBezTo>
                    <a:pt x="318" y="36"/>
                    <a:pt x="327" y="32"/>
                    <a:pt x="332" y="30"/>
                  </a:cubicBezTo>
                  <a:cubicBezTo>
                    <a:pt x="337" y="27"/>
                    <a:pt x="337" y="27"/>
                    <a:pt x="344" y="22"/>
                  </a:cubicBezTo>
                  <a:cubicBezTo>
                    <a:pt x="346" y="21"/>
                    <a:pt x="348" y="19"/>
                    <a:pt x="350" y="18"/>
                  </a:cubicBezTo>
                  <a:cubicBezTo>
                    <a:pt x="352" y="20"/>
                    <a:pt x="356" y="22"/>
                    <a:pt x="360" y="21"/>
                  </a:cubicBezTo>
                  <a:cubicBezTo>
                    <a:pt x="366" y="21"/>
                    <a:pt x="366" y="21"/>
                    <a:pt x="371" y="19"/>
                  </a:cubicBezTo>
                  <a:cubicBezTo>
                    <a:pt x="375" y="17"/>
                    <a:pt x="378" y="16"/>
                    <a:pt x="380" y="17"/>
                  </a:cubicBezTo>
                  <a:cubicBezTo>
                    <a:pt x="381" y="19"/>
                    <a:pt x="385" y="23"/>
                    <a:pt x="389" y="25"/>
                  </a:cubicBezTo>
                  <a:cubicBezTo>
                    <a:pt x="391" y="27"/>
                    <a:pt x="392" y="28"/>
                    <a:pt x="395" y="29"/>
                  </a:cubicBezTo>
                  <a:cubicBezTo>
                    <a:pt x="395" y="31"/>
                    <a:pt x="395" y="32"/>
                    <a:pt x="398" y="34"/>
                  </a:cubicBezTo>
                  <a:cubicBezTo>
                    <a:pt x="401" y="36"/>
                    <a:pt x="402" y="36"/>
                    <a:pt x="402" y="40"/>
                  </a:cubicBezTo>
                  <a:cubicBezTo>
                    <a:pt x="402" y="43"/>
                    <a:pt x="399" y="47"/>
                    <a:pt x="401" y="50"/>
                  </a:cubicBezTo>
                  <a:cubicBezTo>
                    <a:pt x="402" y="54"/>
                    <a:pt x="402" y="58"/>
                    <a:pt x="408" y="59"/>
                  </a:cubicBezTo>
                  <a:cubicBezTo>
                    <a:pt x="414" y="60"/>
                    <a:pt x="420" y="59"/>
                    <a:pt x="422" y="61"/>
                  </a:cubicBezTo>
                  <a:cubicBezTo>
                    <a:pt x="424" y="62"/>
                    <a:pt x="424" y="64"/>
                    <a:pt x="426" y="66"/>
                  </a:cubicBezTo>
                  <a:cubicBezTo>
                    <a:pt x="427" y="67"/>
                    <a:pt x="427" y="67"/>
                    <a:pt x="427" y="67"/>
                  </a:cubicBezTo>
                  <a:cubicBezTo>
                    <a:pt x="425" y="68"/>
                    <a:pt x="424" y="69"/>
                    <a:pt x="424" y="70"/>
                  </a:cubicBezTo>
                  <a:cubicBezTo>
                    <a:pt x="425" y="72"/>
                    <a:pt x="426" y="76"/>
                    <a:pt x="422" y="77"/>
                  </a:cubicBezTo>
                  <a:cubicBezTo>
                    <a:pt x="418" y="79"/>
                    <a:pt x="415" y="77"/>
                    <a:pt x="416" y="81"/>
                  </a:cubicBezTo>
                  <a:cubicBezTo>
                    <a:pt x="417" y="85"/>
                    <a:pt x="422" y="90"/>
                    <a:pt x="423" y="95"/>
                  </a:cubicBezTo>
                  <a:cubicBezTo>
                    <a:pt x="424" y="99"/>
                    <a:pt x="426" y="107"/>
                    <a:pt x="427" y="108"/>
                  </a:cubicBezTo>
                  <a:cubicBezTo>
                    <a:pt x="428" y="110"/>
                    <a:pt x="429" y="112"/>
                    <a:pt x="428" y="115"/>
                  </a:cubicBezTo>
                  <a:cubicBezTo>
                    <a:pt x="426" y="117"/>
                    <a:pt x="426" y="120"/>
                    <a:pt x="430" y="122"/>
                  </a:cubicBezTo>
                  <a:cubicBezTo>
                    <a:pt x="433" y="124"/>
                    <a:pt x="435" y="129"/>
                    <a:pt x="435" y="131"/>
                  </a:cubicBezTo>
                  <a:cubicBezTo>
                    <a:pt x="436" y="133"/>
                    <a:pt x="439" y="136"/>
                    <a:pt x="440" y="137"/>
                  </a:cubicBezTo>
                  <a:cubicBezTo>
                    <a:pt x="441" y="137"/>
                    <a:pt x="441" y="137"/>
                    <a:pt x="441" y="139"/>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39" name="Freeform 1208">
              <a:extLst>
                <a:ext uri="{FF2B5EF4-FFF2-40B4-BE49-F238E27FC236}">
                  <a16:creationId xmlns:a16="http://schemas.microsoft.com/office/drawing/2014/main" id="{7F8A7560-3385-4C45-86F1-521E7E7F865B}"/>
                </a:ext>
              </a:extLst>
            </p:cNvPr>
            <p:cNvSpPr>
              <a:spLocks/>
            </p:cNvSpPr>
            <p:nvPr/>
          </p:nvSpPr>
          <p:spPr bwMode="auto">
            <a:xfrm>
              <a:off x="4616465" y="1545093"/>
              <a:ext cx="65088" cy="42863"/>
            </a:xfrm>
            <a:custGeom>
              <a:avLst/>
              <a:gdLst>
                <a:gd name="T0" fmla="*/ 67 w 68"/>
                <a:gd name="T1" fmla="*/ 27 h 45"/>
                <a:gd name="T2" fmla="*/ 61 w 68"/>
                <a:gd name="T3" fmla="*/ 31 h 45"/>
                <a:gd name="T4" fmla="*/ 53 w 68"/>
                <a:gd name="T5" fmla="*/ 29 h 45"/>
                <a:gd name="T6" fmla="*/ 44 w 68"/>
                <a:gd name="T7" fmla="*/ 30 h 45"/>
                <a:gd name="T8" fmla="*/ 37 w 68"/>
                <a:gd name="T9" fmla="*/ 30 h 45"/>
                <a:gd name="T10" fmla="*/ 30 w 68"/>
                <a:gd name="T11" fmla="*/ 34 h 45"/>
                <a:gd name="T12" fmla="*/ 26 w 68"/>
                <a:gd name="T13" fmla="*/ 40 h 45"/>
                <a:gd name="T14" fmla="*/ 18 w 68"/>
                <a:gd name="T15" fmla="*/ 42 h 45"/>
                <a:gd name="T16" fmla="*/ 12 w 68"/>
                <a:gd name="T17" fmla="*/ 40 h 45"/>
                <a:gd name="T18" fmla="*/ 4 w 68"/>
                <a:gd name="T19" fmla="*/ 41 h 45"/>
                <a:gd name="T20" fmla="*/ 0 w 68"/>
                <a:gd name="T21" fmla="*/ 39 h 45"/>
                <a:gd name="T22" fmla="*/ 0 w 68"/>
                <a:gd name="T23" fmla="*/ 38 h 45"/>
                <a:gd name="T24" fmla="*/ 0 w 68"/>
                <a:gd name="T25" fmla="*/ 38 h 45"/>
                <a:gd name="T26" fmla="*/ 3 w 68"/>
                <a:gd name="T27" fmla="*/ 35 h 45"/>
                <a:gd name="T28" fmla="*/ 6 w 68"/>
                <a:gd name="T29" fmla="*/ 28 h 45"/>
                <a:gd name="T30" fmla="*/ 10 w 68"/>
                <a:gd name="T31" fmla="*/ 21 h 45"/>
                <a:gd name="T32" fmla="*/ 11 w 68"/>
                <a:gd name="T33" fmla="*/ 14 h 45"/>
                <a:gd name="T34" fmla="*/ 8 w 68"/>
                <a:gd name="T35" fmla="*/ 11 h 45"/>
                <a:gd name="T36" fmla="*/ 5 w 68"/>
                <a:gd name="T37" fmla="*/ 9 h 45"/>
                <a:gd name="T38" fmla="*/ 13 w 68"/>
                <a:gd name="T39" fmla="*/ 4 h 45"/>
                <a:gd name="T40" fmla="*/ 24 w 68"/>
                <a:gd name="T41" fmla="*/ 0 h 45"/>
                <a:gd name="T42" fmla="*/ 32 w 68"/>
                <a:gd name="T43" fmla="*/ 3 h 45"/>
                <a:gd name="T44" fmla="*/ 39 w 68"/>
                <a:gd name="T45" fmla="*/ 3 h 45"/>
                <a:gd name="T46" fmla="*/ 42 w 68"/>
                <a:gd name="T47" fmla="*/ 3 h 45"/>
                <a:gd name="T48" fmla="*/ 47 w 68"/>
                <a:gd name="T49" fmla="*/ 11 h 45"/>
                <a:gd name="T50" fmla="*/ 56 w 68"/>
                <a:gd name="T51" fmla="*/ 18 h 45"/>
                <a:gd name="T52" fmla="*/ 65 w 68"/>
                <a:gd name="T53" fmla="*/ 22 h 45"/>
                <a:gd name="T54" fmla="*/ 67 w 68"/>
                <a:gd name="T55"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45">
                  <a:moveTo>
                    <a:pt x="67" y="27"/>
                  </a:moveTo>
                  <a:cubicBezTo>
                    <a:pt x="67" y="29"/>
                    <a:pt x="65" y="31"/>
                    <a:pt x="61" y="31"/>
                  </a:cubicBezTo>
                  <a:cubicBezTo>
                    <a:pt x="58" y="31"/>
                    <a:pt x="60" y="33"/>
                    <a:pt x="53" y="29"/>
                  </a:cubicBezTo>
                  <a:cubicBezTo>
                    <a:pt x="47" y="26"/>
                    <a:pt x="45" y="29"/>
                    <a:pt x="44" y="30"/>
                  </a:cubicBezTo>
                  <a:cubicBezTo>
                    <a:pt x="42" y="32"/>
                    <a:pt x="37" y="30"/>
                    <a:pt x="37" y="30"/>
                  </a:cubicBezTo>
                  <a:cubicBezTo>
                    <a:pt x="37" y="30"/>
                    <a:pt x="32" y="31"/>
                    <a:pt x="30" y="34"/>
                  </a:cubicBezTo>
                  <a:cubicBezTo>
                    <a:pt x="28" y="36"/>
                    <a:pt x="27" y="39"/>
                    <a:pt x="26" y="40"/>
                  </a:cubicBezTo>
                  <a:cubicBezTo>
                    <a:pt x="25" y="41"/>
                    <a:pt x="20" y="45"/>
                    <a:pt x="18" y="42"/>
                  </a:cubicBezTo>
                  <a:cubicBezTo>
                    <a:pt x="16" y="38"/>
                    <a:pt x="14" y="39"/>
                    <a:pt x="12" y="40"/>
                  </a:cubicBezTo>
                  <a:cubicBezTo>
                    <a:pt x="11" y="41"/>
                    <a:pt x="7" y="41"/>
                    <a:pt x="4" y="41"/>
                  </a:cubicBezTo>
                  <a:cubicBezTo>
                    <a:pt x="2" y="42"/>
                    <a:pt x="0" y="41"/>
                    <a:pt x="0" y="39"/>
                  </a:cubicBezTo>
                  <a:cubicBezTo>
                    <a:pt x="0" y="39"/>
                    <a:pt x="0" y="38"/>
                    <a:pt x="0" y="38"/>
                  </a:cubicBezTo>
                  <a:cubicBezTo>
                    <a:pt x="0" y="38"/>
                    <a:pt x="0" y="38"/>
                    <a:pt x="0" y="38"/>
                  </a:cubicBezTo>
                  <a:cubicBezTo>
                    <a:pt x="1" y="37"/>
                    <a:pt x="2" y="36"/>
                    <a:pt x="3" y="35"/>
                  </a:cubicBezTo>
                  <a:cubicBezTo>
                    <a:pt x="5" y="33"/>
                    <a:pt x="6" y="32"/>
                    <a:pt x="6" y="28"/>
                  </a:cubicBezTo>
                  <a:cubicBezTo>
                    <a:pt x="7" y="25"/>
                    <a:pt x="7" y="24"/>
                    <a:pt x="10" y="21"/>
                  </a:cubicBezTo>
                  <a:cubicBezTo>
                    <a:pt x="13" y="17"/>
                    <a:pt x="11" y="19"/>
                    <a:pt x="11" y="14"/>
                  </a:cubicBezTo>
                  <a:cubicBezTo>
                    <a:pt x="12" y="9"/>
                    <a:pt x="11" y="12"/>
                    <a:pt x="8" y="11"/>
                  </a:cubicBezTo>
                  <a:cubicBezTo>
                    <a:pt x="6" y="11"/>
                    <a:pt x="5" y="10"/>
                    <a:pt x="5" y="9"/>
                  </a:cubicBezTo>
                  <a:cubicBezTo>
                    <a:pt x="8" y="7"/>
                    <a:pt x="9" y="6"/>
                    <a:pt x="13" y="4"/>
                  </a:cubicBezTo>
                  <a:cubicBezTo>
                    <a:pt x="17" y="2"/>
                    <a:pt x="21" y="0"/>
                    <a:pt x="24" y="0"/>
                  </a:cubicBezTo>
                  <a:cubicBezTo>
                    <a:pt x="27" y="1"/>
                    <a:pt x="30" y="2"/>
                    <a:pt x="32" y="3"/>
                  </a:cubicBezTo>
                  <a:cubicBezTo>
                    <a:pt x="35" y="4"/>
                    <a:pt x="37" y="4"/>
                    <a:pt x="39" y="3"/>
                  </a:cubicBezTo>
                  <a:cubicBezTo>
                    <a:pt x="40" y="3"/>
                    <a:pt x="41" y="3"/>
                    <a:pt x="42" y="3"/>
                  </a:cubicBezTo>
                  <a:cubicBezTo>
                    <a:pt x="42" y="4"/>
                    <a:pt x="41" y="6"/>
                    <a:pt x="47" y="11"/>
                  </a:cubicBezTo>
                  <a:cubicBezTo>
                    <a:pt x="55" y="16"/>
                    <a:pt x="52" y="17"/>
                    <a:pt x="56" y="18"/>
                  </a:cubicBezTo>
                  <a:cubicBezTo>
                    <a:pt x="60" y="20"/>
                    <a:pt x="65" y="22"/>
                    <a:pt x="65" y="22"/>
                  </a:cubicBezTo>
                  <a:cubicBezTo>
                    <a:pt x="65" y="22"/>
                    <a:pt x="68" y="24"/>
                    <a:pt x="67" y="27"/>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40" name="Freeform 1209">
              <a:extLst>
                <a:ext uri="{FF2B5EF4-FFF2-40B4-BE49-F238E27FC236}">
                  <a16:creationId xmlns:a16="http://schemas.microsoft.com/office/drawing/2014/main" id="{667E4DD2-6AF4-5847-8B62-A0E83C04DC0A}"/>
                </a:ext>
              </a:extLst>
            </p:cNvPr>
            <p:cNvSpPr>
              <a:spLocks/>
            </p:cNvSpPr>
            <p:nvPr/>
          </p:nvSpPr>
          <p:spPr bwMode="auto">
            <a:xfrm>
              <a:off x="4995878" y="1565731"/>
              <a:ext cx="76200" cy="66675"/>
            </a:xfrm>
            <a:custGeom>
              <a:avLst/>
              <a:gdLst>
                <a:gd name="T0" fmla="*/ 79 w 80"/>
                <a:gd name="T1" fmla="*/ 68 h 70"/>
                <a:gd name="T2" fmla="*/ 78 w 80"/>
                <a:gd name="T3" fmla="*/ 68 h 70"/>
                <a:gd name="T4" fmla="*/ 72 w 80"/>
                <a:gd name="T5" fmla="*/ 68 h 70"/>
                <a:gd name="T6" fmla="*/ 71 w 80"/>
                <a:gd name="T7" fmla="*/ 68 h 70"/>
                <a:gd name="T8" fmla="*/ 69 w 80"/>
                <a:gd name="T9" fmla="*/ 62 h 70"/>
                <a:gd name="T10" fmla="*/ 62 w 80"/>
                <a:gd name="T11" fmla="*/ 54 h 70"/>
                <a:gd name="T12" fmla="*/ 59 w 80"/>
                <a:gd name="T13" fmla="*/ 49 h 70"/>
                <a:gd name="T14" fmla="*/ 45 w 80"/>
                <a:gd name="T15" fmla="*/ 47 h 70"/>
                <a:gd name="T16" fmla="*/ 34 w 80"/>
                <a:gd name="T17" fmla="*/ 44 h 70"/>
                <a:gd name="T18" fmla="*/ 33 w 80"/>
                <a:gd name="T19" fmla="*/ 44 h 70"/>
                <a:gd name="T20" fmla="*/ 32 w 80"/>
                <a:gd name="T21" fmla="*/ 43 h 70"/>
                <a:gd name="T22" fmla="*/ 31 w 80"/>
                <a:gd name="T23" fmla="*/ 42 h 70"/>
                <a:gd name="T24" fmla="*/ 27 w 80"/>
                <a:gd name="T25" fmla="*/ 37 h 70"/>
                <a:gd name="T26" fmla="*/ 13 w 80"/>
                <a:gd name="T27" fmla="*/ 35 h 70"/>
                <a:gd name="T28" fmla="*/ 6 w 80"/>
                <a:gd name="T29" fmla="*/ 26 h 70"/>
                <a:gd name="T30" fmla="*/ 7 w 80"/>
                <a:gd name="T31" fmla="*/ 16 h 70"/>
                <a:gd name="T32" fmla="*/ 3 w 80"/>
                <a:gd name="T33" fmla="*/ 10 h 70"/>
                <a:gd name="T34" fmla="*/ 0 w 80"/>
                <a:gd name="T35" fmla="*/ 5 h 70"/>
                <a:gd name="T36" fmla="*/ 3 w 80"/>
                <a:gd name="T37" fmla="*/ 5 h 70"/>
                <a:gd name="T38" fmla="*/ 16 w 80"/>
                <a:gd name="T39" fmla="*/ 4 h 70"/>
                <a:gd name="T40" fmla="*/ 27 w 80"/>
                <a:gd name="T41" fmla="*/ 3 h 70"/>
                <a:gd name="T42" fmla="*/ 36 w 80"/>
                <a:gd name="T43" fmla="*/ 1 h 70"/>
                <a:gd name="T44" fmla="*/ 36 w 80"/>
                <a:gd name="T45" fmla="*/ 0 h 70"/>
                <a:gd name="T46" fmla="*/ 45 w 80"/>
                <a:gd name="T47" fmla="*/ 9 h 70"/>
                <a:gd name="T48" fmla="*/ 49 w 80"/>
                <a:gd name="T49" fmla="*/ 14 h 70"/>
                <a:gd name="T50" fmla="*/ 49 w 80"/>
                <a:gd name="T51" fmla="*/ 23 h 70"/>
                <a:gd name="T52" fmla="*/ 61 w 80"/>
                <a:gd name="T53" fmla="*/ 29 h 70"/>
                <a:gd name="T54" fmla="*/ 55 w 80"/>
                <a:gd name="T55" fmla="*/ 34 h 70"/>
                <a:gd name="T56" fmla="*/ 59 w 80"/>
                <a:gd name="T57" fmla="*/ 40 h 70"/>
                <a:gd name="T58" fmla="*/ 75 w 80"/>
                <a:gd name="T59" fmla="*/ 49 h 70"/>
                <a:gd name="T60" fmla="*/ 78 w 80"/>
                <a:gd name="T61" fmla="*/ 60 h 70"/>
                <a:gd name="T62" fmla="*/ 79 w 80"/>
                <a:gd name="T63"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0" h="70">
                  <a:moveTo>
                    <a:pt x="79" y="68"/>
                  </a:moveTo>
                  <a:cubicBezTo>
                    <a:pt x="79" y="68"/>
                    <a:pt x="78" y="68"/>
                    <a:pt x="78" y="68"/>
                  </a:cubicBezTo>
                  <a:cubicBezTo>
                    <a:pt x="76" y="69"/>
                    <a:pt x="73" y="70"/>
                    <a:pt x="72" y="68"/>
                  </a:cubicBezTo>
                  <a:cubicBezTo>
                    <a:pt x="72" y="68"/>
                    <a:pt x="72" y="68"/>
                    <a:pt x="71" y="68"/>
                  </a:cubicBezTo>
                  <a:cubicBezTo>
                    <a:pt x="71" y="66"/>
                    <a:pt x="70" y="65"/>
                    <a:pt x="69" y="62"/>
                  </a:cubicBezTo>
                  <a:cubicBezTo>
                    <a:pt x="68" y="60"/>
                    <a:pt x="64" y="56"/>
                    <a:pt x="62" y="54"/>
                  </a:cubicBezTo>
                  <a:cubicBezTo>
                    <a:pt x="61" y="51"/>
                    <a:pt x="60" y="49"/>
                    <a:pt x="59" y="49"/>
                  </a:cubicBezTo>
                  <a:cubicBezTo>
                    <a:pt x="57" y="50"/>
                    <a:pt x="50" y="51"/>
                    <a:pt x="45" y="47"/>
                  </a:cubicBezTo>
                  <a:cubicBezTo>
                    <a:pt x="41" y="44"/>
                    <a:pt x="37" y="44"/>
                    <a:pt x="34" y="44"/>
                  </a:cubicBezTo>
                  <a:cubicBezTo>
                    <a:pt x="34" y="43"/>
                    <a:pt x="34" y="44"/>
                    <a:pt x="33" y="44"/>
                  </a:cubicBezTo>
                  <a:cubicBezTo>
                    <a:pt x="33" y="44"/>
                    <a:pt x="33" y="43"/>
                    <a:pt x="32" y="43"/>
                  </a:cubicBezTo>
                  <a:cubicBezTo>
                    <a:pt x="32" y="43"/>
                    <a:pt x="32" y="43"/>
                    <a:pt x="31" y="42"/>
                  </a:cubicBezTo>
                  <a:cubicBezTo>
                    <a:pt x="29" y="40"/>
                    <a:pt x="29" y="38"/>
                    <a:pt x="27" y="37"/>
                  </a:cubicBezTo>
                  <a:cubicBezTo>
                    <a:pt x="25" y="35"/>
                    <a:pt x="19" y="36"/>
                    <a:pt x="13" y="35"/>
                  </a:cubicBezTo>
                  <a:cubicBezTo>
                    <a:pt x="7" y="34"/>
                    <a:pt x="7" y="30"/>
                    <a:pt x="6" y="26"/>
                  </a:cubicBezTo>
                  <a:cubicBezTo>
                    <a:pt x="4" y="23"/>
                    <a:pt x="7" y="19"/>
                    <a:pt x="7" y="16"/>
                  </a:cubicBezTo>
                  <a:cubicBezTo>
                    <a:pt x="7" y="12"/>
                    <a:pt x="6" y="12"/>
                    <a:pt x="3" y="10"/>
                  </a:cubicBezTo>
                  <a:cubicBezTo>
                    <a:pt x="0" y="8"/>
                    <a:pt x="0" y="7"/>
                    <a:pt x="0" y="5"/>
                  </a:cubicBezTo>
                  <a:cubicBezTo>
                    <a:pt x="1" y="5"/>
                    <a:pt x="2" y="5"/>
                    <a:pt x="3" y="5"/>
                  </a:cubicBezTo>
                  <a:cubicBezTo>
                    <a:pt x="8" y="5"/>
                    <a:pt x="13" y="4"/>
                    <a:pt x="16" y="4"/>
                  </a:cubicBezTo>
                  <a:cubicBezTo>
                    <a:pt x="20" y="3"/>
                    <a:pt x="24" y="3"/>
                    <a:pt x="27" y="3"/>
                  </a:cubicBezTo>
                  <a:cubicBezTo>
                    <a:pt x="31" y="2"/>
                    <a:pt x="32" y="3"/>
                    <a:pt x="36" y="1"/>
                  </a:cubicBezTo>
                  <a:cubicBezTo>
                    <a:pt x="36" y="1"/>
                    <a:pt x="36" y="0"/>
                    <a:pt x="36" y="0"/>
                  </a:cubicBezTo>
                  <a:cubicBezTo>
                    <a:pt x="38" y="3"/>
                    <a:pt x="42" y="7"/>
                    <a:pt x="45" y="9"/>
                  </a:cubicBezTo>
                  <a:cubicBezTo>
                    <a:pt x="49" y="12"/>
                    <a:pt x="50" y="13"/>
                    <a:pt x="49" y="14"/>
                  </a:cubicBezTo>
                  <a:cubicBezTo>
                    <a:pt x="48" y="16"/>
                    <a:pt x="47" y="19"/>
                    <a:pt x="49" y="23"/>
                  </a:cubicBezTo>
                  <a:cubicBezTo>
                    <a:pt x="51" y="26"/>
                    <a:pt x="58" y="27"/>
                    <a:pt x="61" y="29"/>
                  </a:cubicBezTo>
                  <a:cubicBezTo>
                    <a:pt x="64" y="31"/>
                    <a:pt x="58" y="34"/>
                    <a:pt x="55" y="34"/>
                  </a:cubicBezTo>
                  <a:cubicBezTo>
                    <a:pt x="52" y="35"/>
                    <a:pt x="55" y="36"/>
                    <a:pt x="59" y="40"/>
                  </a:cubicBezTo>
                  <a:cubicBezTo>
                    <a:pt x="63" y="45"/>
                    <a:pt x="71" y="45"/>
                    <a:pt x="75" y="49"/>
                  </a:cubicBezTo>
                  <a:cubicBezTo>
                    <a:pt x="80" y="53"/>
                    <a:pt x="78" y="56"/>
                    <a:pt x="78" y="60"/>
                  </a:cubicBezTo>
                  <a:cubicBezTo>
                    <a:pt x="78" y="62"/>
                    <a:pt x="79" y="66"/>
                    <a:pt x="79" y="68"/>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41" name="Freeform 1210">
              <a:extLst>
                <a:ext uri="{FF2B5EF4-FFF2-40B4-BE49-F238E27FC236}">
                  <a16:creationId xmlns:a16="http://schemas.microsoft.com/office/drawing/2014/main" id="{2783A674-E09B-064D-8311-9586ED96EFB3}"/>
                </a:ext>
              </a:extLst>
            </p:cNvPr>
            <p:cNvSpPr>
              <a:spLocks/>
            </p:cNvSpPr>
            <p:nvPr/>
          </p:nvSpPr>
          <p:spPr bwMode="auto">
            <a:xfrm>
              <a:off x="4360876" y="1702256"/>
              <a:ext cx="12700" cy="14288"/>
            </a:xfrm>
            <a:custGeom>
              <a:avLst/>
              <a:gdLst>
                <a:gd name="T0" fmla="*/ 1 w 12"/>
                <a:gd name="T1" fmla="*/ 7 h 15"/>
                <a:gd name="T2" fmla="*/ 2 w 12"/>
                <a:gd name="T3" fmla="*/ 13 h 15"/>
                <a:gd name="T4" fmla="*/ 6 w 12"/>
                <a:gd name="T5" fmla="*/ 14 h 15"/>
                <a:gd name="T6" fmla="*/ 11 w 12"/>
                <a:gd name="T7" fmla="*/ 9 h 15"/>
                <a:gd name="T8" fmla="*/ 7 w 12"/>
                <a:gd name="T9" fmla="*/ 4 h 15"/>
                <a:gd name="T10" fmla="*/ 0 w 12"/>
                <a:gd name="T11" fmla="*/ 2 h 15"/>
                <a:gd name="T12" fmla="*/ 1 w 12"/>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12" h="15">
                  <a:moveTo>
                    <a:pt x="1" y="7"/>
                  </a:moveTo>
                  <a:cubicBezTo>
                    <a:pt x="1" y="9"/>
                    <a:pt x="1" y="11"/>
                    <a:pt x="2" y="13"/>
                  </a:cubicBezTo>
                  <a:cubicBezTo>
                    <a:pt x="3" y="14"/>
                    <a:pt x="3" y="15"/>
                    <a:pt x="6" y="14"/>
                  </a:cubicBezTo>
                  <a:cubicBezTo>
                    <a:pt x="10" y="12"/>
                    <a:pt x="12" y="13"/>
                    <a:pt x="11" y="9"/>
                  </a:cubicBezTo>
                  <a:cubicBezTo>
                    <a:pt x="10" y="6"/>
                    <a:pt x="11" y="5"/>
                    <a:pt x="7" y="4"/>
                  </a:cubicBezTo>
                  <a:cubicBezTo>
                    <a:pt x="4" y="2"/>
                    <a:pt x="1" y="0"/>
                    <a:pt x="0" y="2"/>
                  </a:cubicBezTo>
                  <a:cubicBezTo>
                    <a:pt x="0" y="5"/>
                    <a:pt x="0" y="6"/>
                    <a:pt x="1" y="7"/>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42" name="Freeform 1211">
              <a:extLst>
                <a:ext uri="{FF2B5EF4-FFF2-40B4-BE49-F238E27FC236}">
                  <a16:creationId xmlns:a16="http://schemas.microsoft.com/office/drawing/2014/main" id="{A96BA4CE-6E74-D245-95BB-6A39BC04B534}"/>
                </a:ext>
              </a:extLst>
            </p:cNvPr>
            <p:cNvSpPr>
              <a:spLocks/>
            </p:cNvSpPr>
            <p:nvPr/>
          </p:nvSpPr>
          <p:spPr bwMode="auto">
            <a:xfrm>
              <a:off x="4178313" y="1332368"/>
              <a:ext cx="15875" cy="20638"/>
            </a:xfrm>
            <a:custGeom>
              <a:avLst/>
              <a:gdLst>
                <a:gd name="T0" fmla="*/ 16 w 16"/>
                <a:gd name="T1" fmla="*/ 13 h 21"/>
                <a:gd name="T2" fmla="*/ 15 w 16"/>
                <a:gd name="T3" fmla="*/ 17 h 21"/>
                <a:gd name="T4" fmla="*/ 12 w 16"/>
                <a:gd name="T5" fmla="*/ 21 h 21"/>
                <a:gd name="T6" fmla="*/ 5 w 16"/>
                <a:gd name="T7" fmla="*/ 18 h 21"/>
                <a:gd name="T8" fmla="*/ 3 w 16"/>
                <a:gd name="T9" fmla="*/ 18 h 21"/>
                <a:gd name="T10" fmla="*/ 1 w 16"/>
                <a:gd name="T11" fmla="*/ 14 h 21"/>
                <a:gd name="T12" fmla="*/ 1 w 16"/>
                <a:gd name="T13" fmla="*/ 6 h 21"/>
                <a:gd name="T14" fmla="*/ 6 w 16"/>
                <a:gd name="T15" fmla="*/ 1 h 21"/>
                <a:gd name="T16" fmla="*/ 8 w 16"/>
                <a:gd name="T17" fmla="*/ 0 h 21"/>
                <a:gd name="T18" fmla="*/ 9 w 16"/>
                <a:gd name="T19" fmla="*/ 3 h 21"/>
                <a:gd name="T20" fmla="*/ 11 w 16"/>
                <a:gd name="T21" fmla="*/ 10 h 21"/>
                <a:gd name="T22" fmla="*/ 16 w 16"/>
                <a:gd name="T23"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21">
                  <a:moveTo>
                    <a:pt x="16" y="13"/>
                  </a:moveTo>
                  <a:cubicBezTo>
                    <a:pt x="16" y="15"/>
                    <a:pt x="16" y="14"/>
                    <a:pt x="15" y="17"/>
                  </a:cubicBezTo>
                  <a:cubicBezTo>
                    <a:pt x="14" y="18"/>
                    <a:pt x="13" y="19"/>
                    <a:pt x="12" y="21"/>
                  </a:cubicBezTo>
                  <a:cubicBezTo>
                    <a:pt x="10" y="19"/>
                    <a:pt x="8" y="18"/>
                    <a:pt x="5" y="18"/>
                  </a:cubicBezTo>
                  <a:cubicBezTo>
                    <a:pt x="4" y="18"/>
                    <a:pt x="3" y="18"/>
                    <a:pt x="3" y="18"/>
                  </a:cubicBezTo>
                  <a:cubicBezTo>
                    <a:pt x="2" y="17"/>
                    <a:pt x="1" y="17"/>
                    <a:pt x="1" y="14"/>
                  </a:cubicBezTo>
                  <a:cubicBezTo>
                    <a:pt x="1" y="10"/>
                    <a:pt x="0" y="9"/>
                    <a:pt x="1" y="6"/>
                  </a:cubicBezTo>
                  <a:cubicBezTo>
                    <a:pt x="2" y="3"/>
                    <a:pt x="4" y="1"/>
                    <a:pt x="6" y="1"/>
                  </a:cubicBezTo>
                  <a:cubicBezTo>
                    <a:pt x="7" y="0"/>
                    <a:pt x="7" y="0"/>
                    <a:pt x="8" y="0"/>
                  </a:cubicBezTo>
                  <a:cubicBezTo>
                    <a:pt x="8" y="1"/>
                    <a:pt x="9" y="1"/>
                    <a:pt x="9" y="3"/>
                  </a:cubicBezTo>
                  <a:cubicBezTo>
                    <a:pt x="9" y="6"/>
                    <a:pt x="9" y="10"/>
                    <a:pt x="11" y="10"/>
                  </a:cubicBezTo>
                  <a:cubicBezTo>
                    <a:pt x="14" y="10"/>
                    <a:pt x="16" y="10"/>
                    <a:pt x="16" y="13"/>
                  </a:cubicBezTo>
                  <a:close/>
                </a:path>
              </a:pathLst>
            </a:custGeom>
            <a:solidFill>
              <a:schemeClr val="bg2">
                <a:alpha val="10000"/>
              </a:schemeClr>
            </a:solidFill>
            <a:ln w="0" cap="flat">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43" name="Oval 1212">
              <a:extLst>
                <a:ext uri="{FF2B5EF4-FFF2-40B4-BE49-F238E27FC236}">
                  <a16:creationId xmlns:a16="http://schemas.microsoft.com/office/drawing/2014/main" id="{BBDD8C93-4E41-344F-BCF2-876E227E94FE}"/>
                </a:ext>
              </a:extLst>
            </p:cNvPr>
            <p:cNvSpPr>
              <a:spLocks noChangeArrowheads="1"/>
            </p:cNvSpPr>
            <p:nvPr/>
          </p:nvSpPr>
          <p:spPr bwMode="auto">
            <a:xfrm>
              <a:off x="4259276" y="1405393"/>
              <a:ext cx="4763" cy="7938"/>
            </a:xfrm>
            <a:prstGeom prst="ellipse">
              <a:avLst/>
            </a:prstGeom>
            <a:solidFill>
              <a:schemeClr val="bg2">
                <a:alpha val="10000"/>
              </a:schemeClr>
            </a:solidFill>
            <a:ln w="0">
              <a:solidFill>
                <a:schemeClr val="tx2"/>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44" name="Freeform 1213">
              <a:extLst>
                <a:ext uri="{FF2B5EF4-FFF2-40B4-BE49-F238E27FC236}">
                  <a16:creationId xmlns:a16="http://schemas.microsoft.com/office/drawing/2014/main" id="{4B0A50CB-2083-7144-A2CE-C5E1391B4FC4}"/>
                </a:ext>
              </a:extLst>
            </p:cNvPr>
            <p:cNvSpPr>
              <a:spLocks/>
            </p:cNvSpPr>
            <p:nvPr/>
          </p:nvSpPr>
          <p:spPr bwMode="auto">
            <a:xfrm>
              <a:off x="7583511" y="3910472"/>
              <a:ext cx="20638" cy="17463"/>
            </a:xfrm>
            <a:custGeom>
              <a:avLst/>
              <a:gdLst>
                <a:gd name="T0" fmla="*/ 14 w 22"/>
                <a:gd name="T1" fmla="*/ 2 h 18"/>
                <a:gd name="T2" fmla="*/ 13 w 22"/>
                <a:gd name="T3" fmla="*/ 5 h 18"/>
                <a:gd name="T4" fmla="*/ 10 w 22"/>
                <a:gd name="T5" fmla="*/ 8 h 18"/>
                <a:gd name="T6" fmla="*/ 8 w 22"/>
                <a:gd name="T7" fmla="*/ 10 h 18"/>
                <a:gd name="T8" fmla="*/ 4 w 22"/>
                <a:gd name="T9" fmla="*/ 12 h 18"/>
                <a:gd name="T10" fmla="*/ 0 w 22"/>
                <a:gd name="T11" fmla="*/ 15 h 18"/>
                <a:gd name="T12" fmla="*/ 5 w 22"/>
                <a:gd name="T13" fmla="*/ 17 h 18"/>
                <a:gd name="T14" fmla="*/ 11 w 22"/>
                <a:gd name="T15" fmla="*/ 14 h 18"/>
                <a:gd name="T16" fmla="*/ 18 w 22"/>
                <a:gd name="T17" fmla="*/ 12 h 18"/>
                <a:gd name="T18" fmla="*/ 20 w 22"/>
                <a:gd name="T19" fmla="*/ 10 h 18"/>
                <a:gd name="T20" fmla="*/ 17 w 22"/>
                <a:gd name="T21" fmla="*/ 7 h 18"/>
                <a:gd name="T22" fmla="*/ 21 w 22"/>
                <a:gd name="T23" fmla="*/ 4 h 18"/>
                <a:gd name="T24" fmla="*/ 19 w 22"/>
                <a:gd name="T25" fmla="*/ 0 h 18"/>
                <a:gd name="T26" fmla="*/ 14 w 22"/>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18">
                  <a:moveTo>
                    <a:pt x="14" y="2"/>
                  </a:moveTo>
                  <a:cubicBezTo>
                    <a:pt x="14" y="4"/>
                    <a:pt x="15" y="4"/>
                    <a:pt x="13" y="5"/>
                  </a:cubicBezTo>
                  <a:cubicBezTo>
                    <a:pt x="12" y="6"/>
                    <a:pt x="10" y="7"/>
                    <a:pt x="10" y="8"/>
                  </a:cubicBezTo>
                  <a:cubicBezTo>
                    <a:pt x="9" y="8"/>
                    <a:pt x="9" y="9"/>
                    <a:pt x="8" y="10"/>
                  </a:cubicBezTo>
                  <a:cubicBezTo>
                    <a:pt x="7" y="11"/>
                    <a:pt x="5" y="10"/>
                    <a:pt x="4" y="12"/>
                  </a:cubicBezTo>
                  <a:cubicBezTo>
                    <a:pt x="3" y="13"/>
                    <a:pt x="0" y="14"/>
                    <a:pt x="0" y="15"/>
                  </a:cubicBezTo>
                  <a:cubicBezTo>
                    <a:pt x="0" y="16"/>
                    <a:pt x="2" y="18"/>
                    <a:pt x="5" y="17"/>
                  </a:cubicBezTo>
                  <a:cubicBezTo>
                    <a:pt x="7" y="16"/>
                    <a:pt x="8" y="14"/>
                    <a:pt x="11" y="14"/>
                  </a:cubicBezTo>
                  <a:cubicBezTo>
                    <a:pt x="14" y="14"/>
                    <a:pt x="17" y="13"/>
                    <a:pt x="18" y="12"/>
                  </a:cubicBezTo>
                  <a:cubicBezTo>
                    <a:pt x="19" y="11"/>
                    <a:pt x="22" y="11"/>
                    <a:pt x="20" y="10"/>
                  </a:cubicBezTo>
                  <a:cubicBezTo>
                    <a:pt x="19" y="8"/>
                    <a:pt x="14" y="8"/>
                    <a:pt x="17" y="7"/>
                  </a:cubicBezTo>
                  <a:cubicBezTo>
                    <a:pt x="20" y="6"/>
                    <a:pt x="21" y="6"/>
                    <a:pt x="21" y="4"/>
                  </a:cubicBezTo>
                  <a:cubicBezTo>
                    <a:pt x="21" y="1"/>
                    <a:pt x="21" y="1"/>
                    <a:pt x="19" y="0"/>
                  </a:cubicBezTo>
                  <a:cubicBezTo>
                    <a:pt x="17" y="0"/>
                    <a:pt x="14" y="0"/>
                    <a:pt x="14" y="2"/>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45" name="Freeform 1214">
              <a:extLst>
                <a:ext uri="{FF2B5EF4-FFF2-40B4-BE49-F238E27FC236}">
                  <a16:creationId xmlns:a16="http://schemas.microsoft.com/office/drawing/2014/main" id="{EE2102FB-9805-084D-86A1-A7A095730AE5}"/>
                </a:ext>
              </a:extLst>
            </p:cNvPr>
            <p:cNvSpPr>
              <a:spLocks/>
            </p:cNvSpPr>
            <p:nvPr/>
          </p:nvSpPr>
          <p:spPr bwMode="auto">
            <a:xfrm>
              <a:off x="7793062" y="2515057"/>
              <a:ext cx="38100" cy="36513"/>
            </a:xfrm>
            <a:custGeom>
              <a:avLst/>
              <a:gdLst>
                <a:gd name="T0" fmla="*/ 9 w 40"/>
                <a:gd name="T1" fmla="*/ 9 h 38"/>
                <a:gd name="T2" fmla="*/ 9 w 40"/>
                <a:gd name="T3" fmla="*/ 15 h 38"/>
                <a:gd name="T4" fmla="*/ 4 w 40"/>
                <a:gd name="T5" fmla="*/ 19 h 38"/>
                <a:gd name="T6" fmla="*/ 7 w 40"/>
                <a:gd name="T7" fmla="*/ 26 h 38"/>
                <a:gd name="T8" fmla="*/ 8 w 40"/>
                <a:gd name="T9" fmla="*/ 32 h 38"/>
                <a:gd name="T10" fmla="*/ 19 w 40"/>
                <a:gd name="T11" fmla="*/ 33 h 38"/>
                <a:gd name="T12" fmla="*/ 29 w 40"/>
                <a:gd name="T13" fmla="*/ 30 h 38"/>
                <a:gd name="T14" fmla="*/ 31 w 40"/>
                <a:gd name="T15" fmla="*/ 21 h 38"/>
                <a:gd name="T16" fmla="*/ 33 w 40"/>
                <a:gd name="T17" fmla="*/ 11 h 38"/>
                <a:gd name="T18" fmla="*/ 28 w 40"/>
                <a:gd name="T19" fmla="*/ 2 h 38"/>
                <a:gd name="T20" fmla="*/ 8 w 40"/>
                <a:gd name="T21" fmla="*/ 0 h 38"/>
                <a:gd name="T22" fmla="*/ 9 w 40"/>
                <a:gd name="T23"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38">
                  <a:moveTo>
                    <a:pt x="9" y="9"/>
                  </a:moveTo>
                  <a:cubicBezTo>
                    <a:pt x="14" y="12"/>
                    <a:pt x="12" y="15"/>
                    <a:pt x="9" y="15"/>
                  </a:cubicBezTo>
                  <a:cubicBezTo>
                    <a:pt x="6" y="15"/>
                    <a:pt x="0" y="16"/>
                    <a:pt x="4" y="19"/>
                  </a:cubicBezTo>
                  <a:cubicBezTo>
                    <a:pt x="8" y="23"/>
                    <a:pt x="8" y="19"/>
                    <a:pt x="7" y="26"/>
                  </a:cubicBezTo>
                  <a:cubicBezTo>
                    <a:pt x="7" y="29"/>
                    <a:pt x="4" y="32"/>
                    <a:pt x="8" y="32"/>
                  </a:cubicBezTo>
                  <a:cubicBezTo>
                    <a:pt x="11" y="31"/>
                    <a:pt x="9" y="30"/>
                    <a:pt x="19" y="33"/>
                  </a:cubicBezTo>
                  <a:cubicBezTo>
                    <a:pt x="32" y="38"/>
                    <a:pt x="29" y="35"/>
                    <a:pt x="29" y="30"/>
                  </a:cubicBezTo>
                  <a:cubicBezTo>
                    <a:pt x="29" y="25"/>
                    <a:pt x="27" y="25"/>
                    <a:pt x="31" y="21"/>
                  </a:cubicBezTo>
                  <a:cubicBezTo>
                    <a:pt x="35" y="17"/>
                    <a:pt x="36" y="18"/>
                    <a:pt x="33" y="11"/>
                  </a:cubicBezTo>
                  <a:cubicBezTo>
                    <a:pt x="30" y="4"/>
                    <a:pt x="40" y="2"/>
                    <a:pt x="28" y="2"/>
                  </a:cubicBezTo>
                  <a:cubicBezTo>
                    <a:pt x="16" y="3"/>
                    <a:pt x="8" y="0"/>
                    <a:pt x="8" y="0"/>
                  </a:cubicBezTo>
                  <a:lnTo>
                    <a:pt x="9" y="9"/>
                  </a:ln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46" name="Freeform 1215">
              <a:extLst>
                <a:ext uri="{FF2B5EF4-FFF2-40B4-BE49-F238E27FC236}">
                  <a16:creationId xmlns:a16="http://schemas.microsoft.com/office/drawing/2014/main" id="{23F26F39-6C9B-B546-A6CC-80FF09EF7E49}"/>
                </a:ext>
              </a:extLst>
            </p:cNvPr>
            <p:cNvSpPr>
              <a:spLocks/>
            </p:cNvSpPr>
            <p:nvPr/>
          </p:nvSpPr>
          <p:spPr bwMode="auto">
            <a:xfrm>
              <a:off x="8045475" y="2942095"/>
              <a:ext cx="17463" cy="12700"/>
            </a:xfrm>
            <a:custGeom>
              <a:avLst/>
              <a:gdLst>
                <a:gd name="T0" fmla="*/ 6 w 19"/>
                <a:gd name="T1" fmla="*/ 6 h 13"/>
                <a:gd name="T2" fmla="*/ 13 w 19"/>
                <a:gd name="T3" fmla="*/ 12 h 13"/>
                <a:gd name="T4" fmla="*/ 16 w 19"/>
                <a:gd name="T5" fmla="*/ 2 h 13"/>
                <a:gd name="T6" fmla="*/ 6 w 19"/>
                <a:gd name="T7" fmla="*/ 6 h 13"/>
              </a:gdLst>
              <a:ahLst/>
              <a:cxnLst>
                <a:cxn ang="0">
                  <a:pos x="T0" y="T1"/>
                </a:cxn>
                <a:cxn ang="0">
                  <a:pos x="T2" y="T3"/>
                </a:cxn>
                <a:cxn ang="0">
                  <a:pos x="T4" y="T5"/>
                </a:cxn>
                <a:cxn ang="0">
                  <a:pos x="T6" y="T7"/>
                </a:cxn>
              </a:cxnLst>
              <a:rect l="0" t="0" r="r" b="b"/>
              <a:pathLst>
                <a:path w="19" h="13">
                  <a:moveTo>
                    <a:pt x="6" y="6"/>
                  </a:moveTo>
                  <a:cubicBezTo>
                    <a:pt x="6" y="6"/>
                    <a:pt x="8" y="13"/>
                    <a:pt x="13" y="12"/>
                  </a:cubicBezTo>
                  <a:cubicBezTo>
                    <a:pt x="17" y="10"/>
                    <a:pt x="19" y="4"/>
                    <a:pt x="16" y="2"/>
                  </a:cubicBezTo>
                  <a:cubicBezTo>
                    <a:pt x="13" y="0"/>
                    <a:pt x="0" y="6"/>
                    <a:pt x="6" y="6"/>
                  </a:cubicBezTo>
                  <a:close/>
                </a:path>
              </a:pathLst>
            </a:custGeom>
            <a:solidFill>
              <a:schemeClr val="bg2">
                <a:alpha val="10000"/>
              </a:schemeClr>
            </a:solidFill>
            <a:ln w="0">
              <a:solidFill>
                <a:schemeClr val="tx2"/>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47" name="Freeform 1216">
              <a:extLst>
                <a:ext uri="{FF2B5EF4-FFF2-40B4-BE49-F238E27FC236}">
                  <a16:creationId xmlns:a16="http://schemas.microsoft.com/office/drawing/2014/main" id="{249E6583-714B-6D4D-84AC-AFA506D0380A}"/>
                </a:ext>
              </a:extLst>
            </p:cNvPr>
            <p:cNvSpPr>
              <a:spLocks/>
            </p:cNvSpPr>
            <p:nvPr/>
          </p:nvSpPr>
          <p:spPr bwMode="auto">
            <a:xfrm>
              <a:off x="8045475" y="2942095"/>
              <a:ext cx="17463" cy="12700"/>
            </a:xfrm>
            <a:custGeom>
              <a:avLst/>
              <a:gdLst>
                <a:gd name="T0" fmla="*/ 6 w 19"/>
                <a:gd name="T1" fmla="*/ 6 h 13"/>
                <a:gd name="T2" fmla="*/ 13 w 19"/>
                <a:gd name="T3" fmla="*/ 12 h 13"/>
                <a:gd name="T4" fmla="*/ 16 w 19"/>
                <a:gd name="T5" fmla="*/ 2 h 13"/>
                <a:gd name="T6" fmla="*/ 6 w 19"/>
                <a:gd name="T7" fmla="*/ 6 h 13"/>
              </a:gdLst>
              <a:ahLst/>
              <a:cxnLst>
                <a:cxn ang="0">
                  <a:pos x="T0" y="T1"/>
                </a:cxn>
                <a:cxn ang="0">
                  <a:pos x="T2" y="T3"/>
                </a:cxn>
                <a:cxn ang="0">
                  <a:pos x="T4" y="T5"/>
                </a:cxn>
                <a:cxn ang="0">
                  <a:pos x="T6" y="T7"/>
                </a:cxn>
              </a:cxnLst>
              <a:rect l="0" t="0" r="r" b="b"/>
              <a:pathLst>
                <a:path w="19" h="13">
                  <a:moveTo>
                    <a:pt x="6" y="6"/>
                  </a:moveTo>
                  <a:cubicBezTo>
                    <a:pt x="6" y="6"/>
                    <a:pt x="8" y="13"/>
                    <a:pt x="13" y="12"/>
                  </a:cubicBezTo>
                  <a:cubicBezTo>
                    <a:pt x="17" y="10"/>
                    <a:pt x="19" y="4"/>
                    <a:pt x="16" y="2"/>
                  </a:cubicBezTo>
                  <a:cubicBezTo>
                    <a:pt x="13" y="0"/>
                    <a:pt x="0" y="6"/>
                    <a:pt x="6"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48" name="Freeform 1217">
              <a:extLst>
                <a:ext uri="{FF2B5EF4-FFF2-40B4-BE49-F238E27FC236}">
                  <a16:creationId xmlns:a16="http://schemas.microsoft.com/office/drawing/2014/main" id="{4C39B57C-FD3B-3542-B57F-DE2C0754CA58}"/>
                </a:ext>
              </a:extLst>
            </p:cNvPr>
            <p:cNvSpPr>
              <a:spLocks/>
            </p:cNvSpPr>
            <p:nvPr/>
          </p:nvSpPr>
          <p:spPr bwMode="auto">
            <a:xfrm>
              <a:off x="1033466" y="2134057"/>
              <a:ext cx="25400" cy="30163"/>
            </a:xfrm>
            <a:custGeom>
              <a:avLst/>
              <a:gdLst>
                <a:gd name="T0" fmla="*/ 6 w 27"/>
                <a:gd name="T1" fmla="*/ 11 h 31"/>
                <a:gd name="T2" fmla="*/ 22 w 27"/>
                <a:gd name="T3" fmla="*/ 0 h 31"/>
                <a:gd name="T4" fmla="*/ 27 w 27"/>
                <a:gd name="T5" fmla="*/ 21 h 31"/>
                <a:gd name="T6" fmla="*/ 11 w 27"/>
                <a:gd name="T7" fmla="*/ 29 h 31"/>
                <a:gd name="T8" fmla="*/ 6 w 27"/>
                <a:gd name="T9" fmla="*/ 11 h 31"/>
              </a:gdLst>
              <a:ahLst/>
              <a:cxnLst>
                <a:cxn ang="0">
                  <a:pos x="T0" y="T1"/>
                </a:cxn>
                <a:cxn ang="0">
                  <a:pos x="T2" y="T3"/>
                </a:cxn>
                <a:cxn ang="0">
                  <a:pos x="T4" y="T5"/>
                </a:cxn>
                <a:cxn ang="0">
                  <a:pos x="T6" y="T7"/>
                </a:cxn>
                <a:cxn ang="0">
                  <a:pos x="T8" y="T9"/>
                </a:cxn>
              </a:cxnLst>
              <a:rect l="0" t="0" r="r" b="b"/>
              <a:pathLst>
                <a:path w="27" h="31">
                  <a:moveTo>
                    <a:pt x="6" y="11"/>
                  </a:moveTo>
                  <a:cubicBezTo>
                    <a:pt x="14" y="5"/>
                    <a:pt x="22" y="0"/>
                    <a:pt x="22" y="0"/>
                  </a:cubicBezTo>
                  <a:cubicBezTo>
                    <a:pt x="22" y="0"/>
                    <a:pt x="27" y="18"/>
                    <a:pt x="27" y="21"/>
                  </a:cubicBezTo>
                  <a:cubicBezTo>
                    <a:pt x="27" y="25"/>
                    <a:pt x="22" y="31"/>
                    <a:pt x="11" y="29"/>
                  </a:cubicBezTo>
                  <a:cubicBezTo>
                    <a:pt x="0" y="27"/>
                    <a:pt x="6" y="11"/>
                    <a:pt x="6" y="1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49" name="Freeform 1218">
              <a:extLst>
                <a:ext uri="{FF2B5EF4-FFF2-40B4-BE49-F238E27FC236}">
                  <a16:creationId xmlns:a16="http://schemas.microsoft.com/office/drawing/2014/main" id="{6C3A8E14-FA67-DA45-A9C4-B0FE338B11FA}"/>
                </a:ext>
              </a:extLst>
            </p:cNvPr>
            <p:cNvSpPr>
              <a:spLocks/>
            </p:cNvSpPr>
            <p:nvPr/>
          </p:nvSpPr>
          <p:spPr bwMode="auto">
            <a:xfrm>
              <a:off x="1028704" y="2107069"/>
              <a:ext cx="22225" cy="23813"/>
            </a:xfrm>
            <a:custGeom>
              <a:avLst/>
              <a:gdLst>
                <a:gd name="T0" fmla="*/ 23 w 23"/>
                <a:gd name="T1" fmla="*/ 21 h 25"/>
                <a:gd name="T2" fmla="*/ 7 w 23"/>
                <a:gd name="T3" fmla="*/ 2 h 25"/>
                <a:gd name="T4" fmla="*/ 2 w 23"/>
                <a:gd name="T5" fmla="*/ 6 h 25"/>
                <a:gd name="T6" fmla="*/ 2 w 23"/>
                <a:gd name="T7" fmla="*/ 15 h 25"/>
                <a:gd name="T8" fmla="*/ 9 w 23"/>
                <a:gd name="T9" fmla="*/ 23 h 25"/>
                <a:gd name="T10" fmla="*/ 23 w 23"/>
                <a:gd name="T11" fmla="*/ 21 h 25"/>
              </a:gdLst>
              <a:ahLst/>
              <a:cxnLst>
                <a:cxn ang="0">
                  <a:pos x="T0" y="T1"/>
                </a:cxn>
                <a:cxn ang="0">
                  <a:pos x="T2" y="T3"/>
                </a:cxn>
                <a:cxn ang="0">
                  <a:pos x="T4" y="T5"/>
                </a:cxn>
                <a:cxn ang="0">
                  <a:pos x="T6" y="T7"/>
                </a:cxn>
                <a:cxn ang="0">
                  <a:pos x="T8" y="T9"/>
                </a:cxn>
                <a:cxn ang="0">
                  <a:pos x="T10" y="T11"/>
                </a:cxn>
              </a:cxnLst>
              <a:rect l="0" t="0" r="r" b="b"/>
              <a:pathLst>
                <a:path w="23" h="25">
                  <a:moveTo>
                    <a:pt x="23" y="21"/>
                  </a:moveTo>
                  <a:cubicBezTo>
                    <a:pt x="17" y="13"/>
                    <a:pt x="10" y="4"/>
                    <a:pt x="7" y="2"/>
                  </a:cubicBezTo>
                  <a:cubicBezTo>
                    <a:pt x="4" y="0"/>
                    <a:pt x="3" y="4"/>
                    <a:pt x="2" y="6"/>
                  </a:cubicBezTo>
                  <a:cubicBezTo>
                    <a:pt x="1" y="8"/>
                    <a:pt x="0" y="12"/>
                    <a:pt x="2" y="15"/>
                  </a:cubicBezTo>
                  <a:cubicBezTo>
                    <a:pt x="4" y="17"/>
                    <a:pt x="5" y="21"/>
                    <a:pt x="9" y="23"/>
                  </a:cubicBezTo>
                  <a:cubicBezTo>
                    <a:pt x="14" y="25"/>
                    <a:pt x="23" y="21"/>
                    <a:pt x="23" y="2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50" name="Freeform 1219">
              <a:extLst>
                <a:ext uri="{FF2B5EF4-FFF2-40B4-BE49-F238E27FC236}">
                  <a16:creationId xmlns:a16="http://schemas.microsoft.com/office/drawing/2014/main" id="{CDD907A9-ABCC-5145-A842-35D14D24BA85}"/>
                </a:ext>
              </a:extLst>
            </p:cNvPr>
            <p:cNvSpPr>
              <a:spLocks/>
            </p:cNvSpPr>
            <p:nvPr/>
          </p:nvSpPr>
          <p:spPr bwMode="auto">
            <a:xfrm>
              <a:off x="1009653" y="2086432"/>
              <a:ext cx="19050" cy="20638"/>
            </a:xfrm>
            <a:custGeom>
              <a:avLst/>
              <a:gdLst>
                <a:gd name="T0" fmla="*/ 0 w 21"/>
                <a:gd name="T1" fmla="*/ 3 h 21"/>
                <a:gd name="T2" fmla="*/ 15 w 21"/>
                <a:gd name="T3" fmla="*/ 20 h 21"/>
                <a:gd name="T4" fmla="*/ 15 w 21"/>
                <a:gd name="T5" fmla="*/ 11 h 21"/>
                <a:gd name="T6" fmla="*/ 19 w 21"/>
                <a:gd name="T7" fmla="*/ 7 h 21"/>
                <a:gd name="T8" fmla="*/ 10 w 21"/>
                <a:gd name="T9" fmla="*/ 2 h 21"/>
                <a:gd name="T10" fmla="*/ 0 w 21"/>
                <a:gd name="T11" fmla="*/ 3 h 21"/>
              </a:gdLst>
              <a:ahLst/>
              <a:cxnLst>
                <a:cxn ang="0">
                  <a:pos x="T0" y="T1"/>
                </a:cxn>
                <a:cxn ang="0">
                  <a:pos x="T2" y="T3"/>
                </a:cxn>
                <a:cxn ang="0">
                  <a:pos x="T4" y="T5"/>
                </a:cxn>
                <a:cxn ang="0">
                  <a:pos x="T6" y="T7"/>
                </a:cxn>
                <a:cxn ang="0">
                  <a:pos x="T8" y="T9"/>
                </a:cxn>
                <a:cxn ang="0">
                  <a:pos x="T10" y="T11"/>
                </a:cxn>
              </a:cxnLst>
              <a:rect l="0" t="0" r="r" b="b"/>
              <a:pathLst>
                <a:path w="21" h="21">
                  <a:moveTo>
                    <a:pt x="0" y="3"/>
                  </a:moveTo>
                  <a:cubicBezTo>
                    <a:pt x="7" y="11"/>
                    <a:pt x="12" y="18"/>
                    <a:pt x="15" y="20"/>
                  </a:cubicBezTo>
                  <a:cubicBezTo>
                    <a:pt x="19" y="21"/>
                    <a:pt x="15" y="13"/>
                    <a:pt x="15" y="11"/>
                  </a:cubicBezTo>
                  <a:cubicBezTo>
                    <a:pt x="15" y="8"/>
                    <a:pt x="21" y="9"/>
                    <a:pt x="19" y="7"/>
                  </a:cubicBezTo>
                  <a:cubicBezTo>
                    <a:pt x="16" y="4"/>
                    <a:pt x="15" y="3"/>
                    <a:pt x="10" y="2"/>
                  </a:cubicBezTo>
                  <a:cubicBezTo>
                    <a:pt x="6" y="0"/>
                    <a:pt x="0" y="3"/>
                    <a:pt x="0" y="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51" name="Freeform 1220">
              <a:extLst>
                <a:ext uri="{FF2B5EF4-FFF2-40B4-BE49-F238E27FC236}">
                  <a16:creationId xmlns:a16="http://schemas.microsoft.com/office/drawing/2014/main" id="{8F5522D1-7D35-6B47-914A-18BACCBF49E6}"/>
                </a:ext>
              </a:extLst>
            </p:cNvPr>
            <p:cNvSpPr>
              <a:spLocks/>
            </p:cNvSpPr>
            <p:nvPr/>
          </p:nvSpPr>
          <p:spPr bwMode="auto">
            <a:xfrm>
              <a:off x="1314454" y="1348243"/>
              <a:ext cx="1309692" cy="650876"/>
            </a:xfrm>
            <a:custGeom>
              <a:avLst/>
              <a:gdLst>
                <a:gd name="T0" fmla="*/ 1374 w 1376"/>
                <a:gd name="T1" fmla="*/ 128 h 684"/>
                <a:gd name="T2" fmla="*/ 1309 w 1376"/>
                <a:gd name="T3" fmla="*/ 154 h 684"/>
                <a:gd name="T4" fmla="*/ 1263 w 1376"/>
                <a:gd name="T5" fmla="*/ 210 h 684"/>
                <a:gd name="T6" fmla="*/ 1239 w 1376"/>
                <a:gd name="T7" fmla="*/ 218 h 684"/>
                <a:gd name="T8" fmla="*/ 1211 w 1376"/>
                <a:gd name="T9" fmla="*/ 239 h 684"/>
                <a:gd name="T10" fmla="*/ 1136 w 1376"/>
                <a:gd name="T11" fmla="*/ 296 h 684"/>
                <a:gd name="T12" fmla="*/ 1102 w 1376"/>
                <a:gd name="T13" fmla="*/ 321 h 684"/>
                <a:gd name="T14" fmla="*/ 1090 w 1376"/>
                <a:gd name="T15" fmla="*/ 313 h 684"/>
                <a:gd name="T16" fmla="*/ 1082 w 1376"/>
                <a:gd name="T17" fmla="*/ 354 h 684"/>
                <a:gd name="T18" fmla="*/ 1069 w 1376"/>
                <a:gd name="T19" fmla="*/ 395 h 684"/>
                <a:gd name="T20" fmla="*/ 1041 w 1376"/>
                <a:gd name="T21" fmla="*/ 414 h 684"/>
                <a:gd name="T22" fmla="*/ 985 w 1376"/>
                <a:gd name="T23" fmla="*/ 453 h 684"/>
                <a:gd name="T24" fmla="*/ 916 w 1376"/>
                <a:gd name="T25" fmla="*/ 511 h 684"/>
                <a:gd name="T26" fmla="*/ 919 w 1376"/>
                <a:gd name="T27" fmla="*/ 621 h 684"/>
                <a:gd name="T28" fmla="*/ 878 w 1376"/>
                <a:gd name="T29" fmla="*/ 663 h 684"/>
                <a:gd name="T30" fmla="*/ 860 w 1376"/>
                <a:gd name="T31" fmla="*/ 618 h 684"/>
                <a:gd name="T32" fmla="*/ 867 w 1376"/>
                <a:gd name="T33" fmla="*/ 571 h 684"/>
                <a:gd name="T34" fmla="*/ 809 w 1376"/>
                <a:gd name="T35" fmla="*/ 552 h 684"/>
                <a:gd name="T36" fmla="*/ 752 w 1376"/>
                <a:gd name="T37" fmla="*/ 529 h 684"/>
                <a:gd name="T38" fmla="*/ 711 w 1376"/>
                <a:gd name="T39" fmla="*/ 548 h 684"/>
                <a:gd name="T40" fmla="*/ 699 w 1376"/>
                <a:gd name="T41" fmla="*/ 560 h 684"/>
                <a:gd name="T42" fmla="*/ 654 w 1376"/>
                <a:gd name="T43" fmla="*/ 550 h 684"/>
                <a:gd name="T44" fmla="*/ 582 w 1376"/>
                <a:gd name="T45" fmla="*/ 554 h 684"/>
                <a:gd name="T46" fmla="*/ 521 w 1376"/>
                <a:gd name="T47" fmla="*/ 597 h 684"/>
                <a:gd name="T48" fmla="*/ 494 w 1376"/>
                <a:gd name="T49" fmla="*/ 646 h 684"/>
                <a:gd name="T50" fmla="*/ 452 w 1376"/>
                <a:gd name="T51" fmla="*/ 630 h 684"/>
                <a:gd name="T52" fmla="*/ 405 w 1376"/>
                <a:gd name="T53" fmla="*/ 549 h 684"/>
                <a:gd name="T54" fmla="*/ 330 w 1376"/>
                <a:gd name="T55" fmla="*/ 509 h 684"/>
                <a:gd name="T56" fmla="*/ 209 w 1376"/>
                <a:gd name="T57" fmla="*/ 508 h 684"/>
                <a:gd name="T58" fmla="*/ 132 w 1376"/>
                <a:gd name="T59" fmla="*/ 471 h 684"/>
                <a:gd name="T60" fmla="*/ 77 w 1376"/>
                <a:gd name="T61" fmla="*/ 460 h 684"/>
                <a:gd name="T62" fmla="*/ 17 w 1376"/>
                <a:gd name="T63" fmla="*/ 403 h 684"/>
                <a:gd name="T64" fmla="*/ 7 w 1376"/>
                <a:gd name="T65" fmla="*/ 315 h 684"/>
                <a:gd name="T66" fmla="*/ 38 w 1376"/>
                <a:gd name="T67" fmla="*/ 208 h 684"/>
                <a:gd name="T68" fmla="*/ 91 w 1376"/>
                <a:gd name="T69" fmla="*/ 136 h 684"/>
                <a:gd name="T70" fmla="*/ 135 w 1376"/>
                <a:gd name="T71" fmla="*/ 44 h 684"/>
                <a:gd name="T72" fmla="*/ 799 w 1376"/>
                <a:gd name="T73" fmla="*/ 17 h 684"/>
                <a:gd name="T74" fmla="*/ 848 w 1376"/>
                <a:gd name="T75" fmla="*/ 30 h 684"/>
                <a:gd name="T76" fmla="*/ 904 w 1376"/>
                <a:gd name="T77" fmla="*/ 44 h 684"/>
                <a:gd name="T78" fmla="*/ 863 w 1376"/>
                <a:gd name="T79" fmla="*/ 81 h 684"/>
                <a:gd name="T80" fmla="*/ 973 w 1376"/>
                <a:gd name="T81" fmla="*/ 77 h 684"/>
                <a:gd name="T82" fmla="*/ 1012 w 1376"/>
                <a:gd name="T83" fmla="*/ 99 h 684"/>
                <a:gd name="T84" fmla="*/ 899 w 1376"/>
                <a:gd name="T85" fmla="*/ 129 h 684"/>
                <a:gd name="T86" fmla="*/ 895 w 1376"/>
                <a:gd name="T87" fmla="*/ 211 h 684"/>
                <a:gd name="T88" fmla="*/ 973 w 1376"/>
                <a:gd name="T89" fmla="*/ 111 h 684"/>
                <a:gd name="T90" fmla="*/ 1005 w 1376"/>
                <a:gd name="T91" fmla="*/ 155 h 684"/>
                <a:gd name="T92" fmla="*/ 1064 w 1376"/>
                <a:gd name="T93" fmla="*/ 137 h 684"/>
                <a:gd name="T94" fmla="*/ 1134 w 1376"/>
                <a:gd name="T95" fmla="*/ 155 h 684"/>
                <a:gd name="T96" fmla="*/ 1071 w 1376"/>
                <a:gd name="T97" fmla="*/ 186 h 684"/>
                <a:gd name="T98" fmla="*/ 988 w 1376"/>
                <a:gd name="T99" fmla="*/ 201 h 684"/>
                <a:gd name="T100" fmla="*/ 1035 w 1376"/>
                <a:gd name="T101" fmla="*/ 211 h 684"/>
                <a:gd name="T102" fmla="*/ 1158 w 1376"/>
                <a:gd name="T103" fmla="*/ 153 h 684"/>
                <a:gd name="T104" fmla="*/ 1324 w 1376"/>
                <a:gd name="T105" fmla="*/ 83 h 684"/>
                <a:gd name="T106" fmla="*/ 1373 w 1376"/>
                <a:gd name="T107" fmla="*/ 83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76" h="684">
                  <a:moveTo>
                    <a:pt x="1367" y="98"/>
                  </a:moveTo>
                  <a:cubicBezTo>
                    <a:pt x="1365" y="103"/>
                    <a:pt x="1364" y="107"/>
                    <a:pt x="1366" y="108"/>
                  </a:cubicBezTo>
                  <a:cubicBezTo>
                    <a:pt x="1368" y="109"/>
                    <a:pt x="1370" y="110"/>
                    <a:pt x="1369" y="112"/>
                  </a:cubicBezTo>
                  <a:cubicBezTo>
                    <a:pt x="1369" y="114"/>
                    <a:pt x="1366" y="120"/>
                    <a:pt x="1368" y="120"/>
                  </a:cubicBezTo>
                  <a:cubicBezTo>
                    <a:pt x="1369" y="120"/>
                    <a:pt x="1374" y="124"/>
                    <a:pt x="1374" y="125"/>
                  </a:cubicBezTo>
                  <a:cubicBezTo>
                    <a:pt x="1374" y="125"/>
                    <a:pt x="1374" y="126"/>
                    <a:pt x="1374" y="128"/>
                  </a:cubicBezTo>
                  <a:cubicBezTo>
                    <a:pt x="1370" y="130"/>
                    <a:pt x="1374" y="133"/>
                    <a:pt x="1370" y="132"/>
                  </a:cubicBezTo>
                  <a:cubicBezTo>
                    <a:pt x="1365" y="131"/>
                    <a:pt x="1362" y="140"/>
                    <a:pt x="1359" y="141"/>
                  </a:cubicBezTo>
                  <a:cubicBezTo>
                    <a:pt x="1356" y="141"/>
                    <a:pt x="1346" y="143"/>
                    <a:pt x="1342" y="141"/>
                  </a:cubicBezTo>
                  <a:cubicBezTo>
                    <a:pt x="1338" y="139"/>
                    <a:pt x="1336" y="148"/>
                    <a:pt x="1332" y="146"/>
                  </a:cubicBezTo>
                  <a:cubicBezTo>
                    <a:pt x="1328" y="145"/>
                    <a:pt x="1329" y="148"/>
                    <a:pt x="1323" y="148"/>
                  </a:cubicBezTo>
                  <a:cubicBezTo>
                    <a:pt x="1317" y="148"/>
                    <a:pt x="1320" y="154"/>
                    <a:pt x="1309" y="154"/>
                  </a:cubicBezTo>
                  <a:cubicBezTo>
                    <a:pt x="1298" y="154"/>
                    <a:pt x="1307" y="158"/>
                    <a:pt x="1294" y="159"/>
                  </a:cubicBezTo>
                  <a:cubicBezTo>
                    <a:pt x="1281" y="161"/>
                    <a:pt x="1293" y="161"/>
                    <a:pt x="1283" y="169"/>
                  </a:cubicBezTo>
                  <a:cubicBezTo>
                    <a:pt x="1274" y="177"/>
                    <a:pt x="1275" y="179"/>
                    <a:pt x="1270" y="181"/>
                  </a:cubicBezTo>
                  <a:cubicBezTo>
                    <a:pt x="1264" y="182"/>
                    <a:pt x="1267" y="191"/>
                    <a:pt x="1264" y="193"/>
                  </a:cubicBezTo>
                  <a:cubicBezTo>
                    <a:pt x="1262" y="196"/>
                    <a:pt x="1258" y="197"/>
                    <a:pt x="1258" y="202"/>
                  </a:cubicBezTo>
                  <a:cubicBezTo>
                    <a:pt x="1257" y="208"/>
                    <a:pt x="1263" y="207"/>
                    <a:pt x="1263" y="210"/>
                  </a:cubicBezTo>
                  <a:cubicBezTo>
                    <a:pt x="1263" y="214"/>
                    <a:pt x="1265" y="215"/>
                    <a:pt x="1268" y="214"/>
                  </a:cubicBezTo>
                  <a:cubicBezTo>
                    <a:pt x="1272" y="213"/>
                    <a:pt x="1275" y="209"/>
                    <a:pt x="1275" y="214"/>
                  </a:cubicBezTo>
                  <a:cubicBezTo>
                    <a:pt x="1274" y="218"/>
                    <a:pt x="1272" y="220"/>
                    <a:pt x="1266" y="221"/>
                  </a:cubicBezTo>
                  <a:cubicBezTo>
                    <a:pt x="1260" y="221"/>
                    <a:pt x="1261" y="226"/>
                    <a:pt x="1253" y="227"/>
                  </a:cubicBezTo>
                  <a:cubicBezTo>
                    <a:pt x="1246" y="229"/>
                    <a:pt x="1255" y="219"/>
                    <a:pt x="1254" y="219"/>
                  </a:cubicBezTo>
                  <a:cubicBezTo>
                    <a:pt x="1253" y="219"/>
                    <a:pt x="1243" y="221"/>
                    <a:pt x="1239" y="218"/>
                  </a:cubicBezTo>
                  <a:cubicBezTo>
                    <a:pt x="1234" y="214"/>
                    <a:pt x="1231" y="226"/>
                    <a:pt x="1222" y="227"/>
                  </a:cubicBezTo>
                  <a:cubicBezTo>
                    <a:pt x="1213" y="228"/>
                    <a:pt x="1217" y="227"/>
                    <a:pt x="1206" y="229"/>
                  </a:cubicBezTo>
                  <a:cubicBezTo>
                    <a:pt x="1195" y="232"/>
                    <a:pt x="1196" y="232"/>
                    <a:pt x="1189" y="234"/>
                  </a:cubicBezTo>
                  <a:cubicBezTo>
                    <a:pt x="1183" y="236"/>
                    <a:pt x="1187" y="240"/>
                    <a:pt x="1189" y="240"/>
                  </a:cubicBezTo>
                  <a:cubicBezTo>
                    <a:pt x="1192" y="240"/>
                    <a:pt x="1203" y="239"/>
                    <a:pt x="1212" y="235"/>
                  </a:cubicBezTo>
                  <a:cubicBezTo>
                    <a:pt x="1220" y="231"/>
                    <a:pt x="1215" y="239"/>
                    <a:pt x="1211" y="239"/>
                  </a:cubicBezTo>
                  <a:cubicBezTo>
                    <a:pt x="1208" y="239"/>
                    <a:pt x="1204" y="243"/>
                    <a:pt x="1197" y="243"/>
                  </a:cubicBezTo>
                  <a:cubicBezTo>
                    <a:pt x="1189" y="244"/>
                    <a:pt x="1190" y="246"/>
                    <a:pt x="1179" y="247"/>
                  </a:cubicBezTo>
                  <a:cubicBezTo>
                    <a:pt x="1167" y="247"/>
                    <a:pt x="1174" y="244"/>
                    <a:pt x="1168" y="249"/>
                  </a:cubicBezTo>
                  <a:cubicBezTo>
                    <a:pt x="1163" y="254"/>
                    <a:pt x="1169" y="253"/>
                    <a:pt x="1165" y="258"/>
                  </a:cubicBezTo>
                  <a:cubicBezTo>
                    <a:pt x="1161" y="264"/>
                    <a:pt x="1159" y="266"/>
                    <a:pt x="1152" y="276"/>
                  </a:cubicBezTo>
                  <a:cubicBezTo>
                    <a:pt x="1145" y="287"/>
                    <a:pt x="1140" y="292"/>
                    <a:pt x="1136" y="296"/>
                  </a:cubicBezTo>
                  <a:cubicBezTo>
                    <a:pt x="1132" y="299"/>
                    <a:pt x="1132" y="288"/>
                    <a:pt x="1131" y="285"/>
                  </a:cubicBezTo>
                  <a:cubicBezTo>
                    <a:pt x="1130" y="283"/>
                    <a:pt x="1125" y="292"/>
                    <a:pt x="1126" y="299"/>
                  </a:cubicBezTo>
                  <a:cubicBezTo>
                    <a:pt x="1127" y="306"/>
                    <a:pt x="1129" y="309"/>
                    <a:pt x="1121" y="316"/>
                  </a:cubicBezTo>
                  <a:cubicBezTo>
                    <a:pt x="1112" y="323"/>
                    <a:pt x="1117" y="322"/>
                    <a:pt x="1107" y="329"/>
                  </a:cubicBezTo>
                  <a:cubicBezTo>
                    <a:pt x="1097" y="336"/>
                    <a:pt x="1099" y="338"/>
                    <a:pt x="1093" y="345"/>
                  </a:cubicBezTo>
                  <a:cubicBezTo>
                    <a:pt x="1088" y="353"/>
                    <a:pt x="1098" y="325"/>
                    <a:pt x="1102" y="321"/>
                  </a:cubicBezTo>
                  <a:cubicBezTo>
                    <a:pt x="1105" y="318"/>
                    <a:pt x="1103" y="315"/>
                    <a:pt x="1100" y="313"/>
                  </a:cubicBezTo>
                  <a:cubicBezTo>
                    <a:pt x="1097" y="311"/>
                    <a:pt x="1101" y="305"/>
                    <a:pt x="1103" y="300"/>
                  </a:cubicBezTo>
                  <a:cubicBezTo>
                    <a:pt x="1104" y="296"/>
                    <a:pt x="1116" y="284"/>
                    <a:pt x="1116" y="280"/>
                  </a:cubicBezTo>
                  <a:cubicBezTo>
                    <a:pt x="1116" y="276"/>
                    <a:pt x="1109" y="290"/>
                    <a:pt x="1106" y="288"/>
                  </a:cubicBezTo>
                  <a:cubicBezTo>
                    <a:pt x="1104" y="287"/>
                    <a:pt x="1097" y="297"/>
                    <a:pt x="1095" y="297"/>
                  </a:cubicBezTo>
                  <a:cubicBezTo>
                    <a:pt x="1092" y="296"/>
                    <a:pt x="1094" y="312"/>
                    <a:pt x="1090" y="313"/>
                  </a:cubicBezTo>
                  <a:cubicBezTo>
                    <a:pt x="1086" y="315"/>
                    <a:pt x="1086" y="315"/>
                    <a:pt x="1090" y="321"/>
                  </a:cubicBezTo>
                  <a:cubicBezTo>
                    <a:pt x="1094" y="327"/>
                    <a:pt x="1089" y="328"/>
                    <a:pt x="1086" y="330"/>
                  </a:cubicBezTo>
                  <a:cubicBezTo>
                    <a:pt x="1084" y="332"/>
                    <a:pt x="1090" y="337"/>
                    <a:pt x="1086" y="337"/>
                  </a:cubicBezTo>
                  <a:cubicBezTo>
                    <a:pt x="1082" y="337"/>
                    <a:pt x="1085" y="338"/>
                    <a:pt x="1084" y="345"/>
                  </a:cubicBezTo>
                  <a:cubicBezTo>
                    <a:pt x="1083" y="352"/>
                    <a:pt x="1083" y="348"/>
                    <a:pt x="1077" y="349"/>
                  </a:cubicBezTo>
                  <a:cubicBezTo>
                    <a:pt x="1070" y="350"/>
                    <a:pt x="1077" y="354"/>
                    <a:pt x="1082" y="354"/>
                  </a:cubicBezTo>
                  <a:cubicBezTo>
                    <a:pt x="1086" y="354"/>
                    <a:pt x="1088" y="348"/>
                    <a:pt x="1092" y="352"/>
                  </a:cubicBezTo>
                  <a:cubicBezTo>
                    <a:pt x="1096" y="356"/>
                    <a:pt x="1090" y="368"/>
                    <a:pt x="1085" y="369"/>
                  </a:cubicBezTo>
                  <a:cubicBezTo>
                    <a:pt x="1080" y="371"/>
                    <a:pt x="1077" y="373"/>
                    <a:pt x="1072" y="375"/>
                  </a:cubicBezTo>
                  <a:cubicBezTo>
                    <a:pt x="1068" y="378"/>
                    <a:pt x="1078" y="379"/>
                    <a:pt x="1080" y="379"/>
                  </a:cubicBezTo>
                  <a:cubicBezTo>
                    <a:pt x="1082" y="378"/>
                    <a:pt x="1089" y="383"/>
                    <a:pt x="1079" y="389"/>
                  </a:cubicBezTo>
                  <a:cubicBezTo>
                    <a:pt x="1070" y="395"/>
                    <a:pt x="1074" y="395"/>
                    <a:pt x="1069" y="395"/>
                  </a:cubicBezTo>
                  <a:cubicBezTo>
                    <a:pt x="1064" y="395"/>
                    <a:pt x="1065" y="395"/>
                    <a:pt x="1062" y="394"/>
                  </a:cubicBezTo>
                  <a:cubicBezTo>
                    <a:pt x="1060" y="393"/>
                    <a:pt x="1061" y="397"/>
                    <a:pt x="1059" y="399"/>
                  </a:cubicBezTo>
                  <a:cubicBezTo>
                    <a:pt x="1057" y="402"/>
                    <a:pt x="1061" y="403"/>
                    <a:pt x="1066" y="404"/>
                  </a:cubicBezTo>
                  <a:cubicBezTo>
                    <a:pt x="1071" y="405"/>
                    <a:pt x="1068" y="406"/>
                    <a:pt x="1060" y="410"/>
                  </a:cubicBezTo>
                  <a:cubicBezTo>
                    <a:pt x="1053" y="415"/>
                    <a:pt x="1053" y="410"/>
                    <a:pt x="1049" y="410"/>
                  </a:cubicBezTo>
                  <a:cubicBezTo>
                    <a:pt x="1045" y="410"/>
                    <a:pt x="1046" y="413"/>
                    <a:pt x="1041" y="414"/>
                  </a:cubicBezTo>
                  <a:cubicBezTo>
                    <a:pt x="1035" y="415"/>
                    <a:pt x="1035" y="418"/>
                    <a:pt x="1032" y="419"/>
                  </a:cubicBezTo>
                  <a:cubicBezTo>
                    <a:pt x="1028" y="420"/>
                    <a:pt x="1025" y="427"/>
                    <a:pt x="1021" y="429"/>
                  </a:cubicBezTo>
                  <a:cubicBezTo>
                    <a:pt x="1017" y="432"/>
                    <a:pt x="1019" y="432"/>
                    <a:pt x="1014" y="433"/>
                  </a:cubicBezTo>
                  <a:cubicBezTo>
                    <a:pt x="1010" y="435"/>
                    <a:pt x="1010" y="436"/>
                    <a:pt x="1005" y="437"/>
                  </a:cubicBezTo>
                  <a:cubicBezTo>
                    <a:pt x="1000" y="438"/>
                    <a:pt x="999" y="441"/>
                    <a:pt x="992" y="445"/>
                  </a:cubicBezTo>
                  <a:cubicBezTo>
                    <a:pt x="985" y="449"/>
                    <a:pt x="989" y="450"/>
                    <a:pt x="985" y="453"/>
                  </a:cubicBezTo>
                  <a:cubicBezTo>
                    <a:pt x="980" y="456"/>
                    <a:pt x="980" y="458"/>
                    <a:pt x="975" y="460"/>
                  </a:cubicBezTo>
                  <a:cubicBezTo>
                    <a:pt x="971" y="462"/>
                    <a:pt x="961" y="471"/>
                    <a:pt x="955" y="470"/>
                  </a:cubicBezTo>
                  <a:cubicBezTo>
                    <a:pt x="950" y="469"/>
                    <a:pt x="949" y="475"/>
                    <a:pt x="942" y="477"/>
                  </a:cubicBezTo>
                  <a:cubicBezTo>
                    <a:pt x="936" y="479"/>
                    <a:pt x="942" y="481"/>
                    <a:pt x="934" y="486"/>
                  </a:cubicBezTo>
                  <a:cubicBezTo>
                    <a:pt x="925" y="490"/>
                    <a:pt x="931" y="492"/>
                    <a:pt x="924" y="495"/>
                  </a:cubicBezTo>
                  <a:cubicBezTo>
                    <a:pt x="917" y="499"/>
                    <a:pt x="921" y="500"/>
                    <a:pt x="916" y="511"/>
                  </a:cubicBezTo>
                  <a:cubicBezTo>
                    <a:pt x="911" y="522"/>
                    <a:pt x="912" y="519"/>
                    <a:pt x="908" y="525"/>
                  </a:cubicBezTo>
                  <a:cubicBezTo>
                    <a:pt x="904" y="531"/>
                    <a:pt x="911" y="532"/>
                    <a:pt x="910" y="543"/>
                  </a:cubicBezTo>
                  <a:cubicBezTo>
                    <a:pt x="909" y="553"/>
                    <a:pt x="908" y="554"/>
                    <a:pt x="910" y="563"/>
                  </a:cubicBezTo>
                  <a:cubicBezTo>
                    <a:pt x="911" y="572"/>
                    <a:pt x="911" y="569"/>
                    <a:pt x="913" y="578"/>
                  </a:cubicBezTo>
                  <a:cubicBezTo>
                    <a:pt x="915" y="587"/>
                    <a:pt x="914" y="591"/>
                    <a:pt x="914" y="600"/>
                  </a:cubicBezTo>
                  <a:cubicBezTo>
                    <a:pt x="914" y="610"/>
                    <a:pt x="917" y="617"/>
                    <a:pt x="919" y="621"/>
                  </a:cubicBezTo>
                  <a:cubicBezTo>
                    <a:pt x="920" y="625"/>
                    <a:pt x="918" y="640"/>
                    <a:pt x="917" y="645"/>
                  </a:cubicBezTo>
                  <a:cubicBezTo>
                    <a:pt x="916" y="651"/>
                    <a:pt x="914" y="658"/>
                    <a:pt x="910" y="669"/>
                  </a:cubicBezTo>
                  <a:cubicBezTo>
                    <a:pt x="905" y="681"/>
                    <a:pt x="903" y="676"/>
                    <a:pt x="899" y="680"/>
                  </a:cubicBezTo>
                  <a:cubicBezTo>
                    <a:pt x="896" y="684"/>
                    <a:pt x="894" y="681"/>
                    <a:pt x="888" y="682"/>
                  </a:cubicBezTo>
                  <a:cubicBezTo>
                    <a:pt x="882" y="682"/>
                    <a:pt x="885" y="677"/>
                    <a:pt x="885" y="675"/>
                  </a:cubicBezTo>
                  <a:cubicBezTo>
                    <a:pt x="885" y="673"/>
                    <a:pt x="883" y="670"/>
                    <a:pt x="878" y="663"/>
                  </a:cubicBezTo>
                  <a:cubicBezTo>
                    <a:pt x="874" y="656"/>
                    <a:pt x="873" y="660"/>
                    <a:pt x="874" y="656"/>
                  </a:cubicBezTo>
                  <a:cubicBezTo>
                    <a:pt x="875" y="652"/>
                    <a:pt x="874" y="650"/>
                    <a:pt x="869" y="645"/>
                  </a:cubicBezTo>
                  <a:cubicBezTo>
                    <a:pt x="864" y="640"/>
                    <a:pt x="870" y="644"/>
                    <a:pt x="871" y="641"/>
                  </a:cubicBezTo>
                  <a:cubicBezTo>
                    <a:pt x="872" y="639"/>
                    <a:pt x="867" y="635"/>
                    <a:pt x="867" y="635"/>
                  </a:cubicBezTo>
                  <a:cubicBezTo>
                    <a:pt x="867" y="635"/>
                    <a:pt x="864" y="635"/>
                    <a:pt x="863" y="629"/>
                  </a:cubicBezTo>
                  <a:cubicBezTo>
                    <a:pt x="863" y="624"/>
                    <a:pt x="862" y="624"/>
                    <a:pt x="860" y="618"/>
                  </a:cubicBezTo>
                  <a:cubicBezTo>
                    <a:pt x="858" y="612"/>
                    <a:pt x="860" y="614"/>
                    <a:pt x="864" y="611"/>
                  </a:cubicBezTo>
                  <a:cubicBezTo>
                    <a:pt x="868" y="608"/>
                    <a:pt x="867" y="604"/>
                    <a:pt x="866" y="602"/>
                  </a:cubicBezTo>
                  <a:cubicBezTo>
                    <a:pt x="866" y="601"/>
                    <a:pt x="864" y="606"/>
                    <a:pt x="860" y="607"/>
                  </a:cubicBezTo>
                  <a:cubicBezTo>
                    <a:pt x="855" y="609"/>
                    <a:pt x="860" y="600"/>
                    <a:pt x="860" y="598"/>
                  </a:cubicBezTo>
                  <a:cubicBezTo>
                    <a:pt x="859" y="595"/>
                    <a:pt x="861" y="592"/>
                    <a:pt x="865" y="585"/>
                  </a:cubicBezTo>
                  <a:cubicBezTo>
                    <a:pt x="869" y="579"/>
                    <a:pt x="866" y="576"/>
                    <a:pt x="867" y="571"/>
                  </a:cubicBezTo>
                  <a:cubicBezTo>
                    <a:pt x="868" y="566"/>
                    <a:pt x="860" y="564"/>
                    <a:pt x="860" y="560"/>
                  </a:cubicBezTo>
                  <a:cubicBezTo>
                    <a:pt x="860" y="556"/>
                    <a:pt x="851" y="551"/>
                    <a:pt x="851" y="547"/>
                  </a:cubicBezTo>
                  <a:cubicBezTo>
                    <a:pt x="851" y="542"/>
                    <a:pt x="842" y="546"/>
                    <a:pt x="841" y="544"/>
                  </a:cubicBezTo>
                  <a:cubicBezTo>
                    <a:pt x="839" y="543"/>
                    <a:pt x="832" y="548"/>
                    <a:pt x="831" y="548"/>
                  </a:cubicBezTo>
                  <a:cubicBezTo>
                    <a:pt x="830" y="548"/>
                    <a:pt x="824" y="554"/>
                    <a:pt x="822" y="554"/>
                  </a:cubicBezTo>
                  <a:cubicBezTo>
                    <a:pt x="819" y="554"/>
                    <a:pt x="809" y="554"/>
                    <a:pt x="809" y="552"/>
                  </a:cubicBezTo>
                  <a:cubicBezTo>
                    <a:pt x="810" y="550"/>
                    <a:pt x="804" y="546"/>
                    <a:pt x="804" y="542"/>
                  </a:cubicBezTo>
                  <a:cubicBezTo>
                    <a:pt x="804" y="537"/>
                    <a:pt x="800" y="542"/>
                    <a:pt x="799" y="540"/>
                  </a:cubicBezTo>
                  <a:cubicBezTo>
                    <a:pt x="798" y="539"/>
                    <a:pt x="794" y="537"/>
                    <a:pt x="792" y="534"/>
                  </a:cubicBezTo>
                  <a:cubicBezTo>
                    <a:pt x="791" y="531"/>
                    <a:pt x="780" y="533"/>
                    <a:pt x="775" y="530"/>
                  </a:cubicBezTo>
                  <a:cubicBezTo>
                    <a:pt x="771" y="528"/>
                    <a:pt x="765" y="537"/>
                    <a:pt x="758" y="538"/>
                  </a:cubicBezTo>
                  <a:cubicBezTo>
                    <a:pt x="751" y="538"/>
                    <a:pt x="752" y="535"/>
                    <a:pt x="752" y="529"/>
                  </a:cubicBezTo>
                  <a:cubicBezTo>
                    <a:pt x="753" y="523"/>
                    <a:pt x="746" y="536"/>
                    <a:pt x="741" y="534"/>
                  </a:cubicBezTo>
                  <a:cubicBezTo>
                    <a:pt x="735" y="531"/>
                    <a:pt x="738" y="536"/>
                    <a:pt x="729" y="536"/>
                  </a:cubicBezTo>
                  <a:cubicBezTo>
                    <a:pt x="719" y="536"/>
                    <a:pt x="721" y="542"/>
                    <a:pt x="710" y="541"/>
                  </a:cubicBezTo>
                  <a:cubicBezTo>
                    <a:pt x="699" y="541"/>
                    <a:pt x="703" y="537"/>
                    <a:pt x="697" y="537"/>
                  </a:cubicBezTo>
                  <a:cubicBezTo>
                    <a:pt x="690" y="537"/>
                    <a:pt x="697" y="543"/>
                    <a:pt x="701" y="543"/>
                  </a:cubicBezTo>
                  <a:cubicBezTo>
                    <a:pt x="704" y="543"/>
                    <a:pt x="705" y="545"/>
                    <a:pt x="711" y="548"/>
                  </a:cubicBezTo>
                  <a:cubicBezTo>
                    <a:pt x="716" y="551"/>
                    <a:pt x="711" y="552"/>
                    <a:pt x="706" y="555"/>
                  </a:cubicBezTo>
                  <a:cubicBezTo>
                    <a:pt x="701" y="558"/>
                    <a:pt x="703" y="558"/>
                    <a:pt x="709" y="562"/>
                  </a:cubicBezTo>
                  <a:cubicBezTo>
                    <a:pt x="716" y="567"/>
                    <a:pt x="716" y="564"/>
                    <a:pt x="717" y="569"/>
                  </a:cubicBezTo>
                  <a:cubicBezTo>
                    <a:pt x="717" y="573"/>
                    <a:pt x="713" y="571"/>
                    <a:pt x="709" y="575"/>
                  </a:cubicBezTo>
                  <a:cubicBezTo>
                    <a:pt x="706" y="580"/>
                    <a:pt x="704" y="573"/>
                    <a:pt x="706" y="571"/>
                  </a:cubicBezTo>
                  <a:cubicBezTo>
                    <a:pt x="708" y="568"/>
                    <a:pt x="701" y="563"/>
                    <a:pt x="699" y="560"/>
                  </a:cubicBezTo>
                  <a:cubicBezTo>
                    <a:pt x="697" y="557"/>
                    <a:pt x="696" y="559"/>
                    <a:pt x="695" y="564"/>
                  </a:cubicBezTo>
                  <a:cubicBezTo>
                    <a:pt x="695" y="569"/>
                    <a:pt x="691" y="569"/>
                    <a:pt x="687" y="566"/>
                  </a:cubicBezTo>
                  <a:cubicBezTo>
                    <a:pt x="683" y="563"/>
                    <a:pt x="684" y="569"/>
                    <a:pt x="676" y="570"/>
                  </a:cubicBezTo>
                  <a:cubicBezTo>
                    <a:pt x="668" y="572"/>
                    <a:pt x="668" y="568"/>
                    <a:pt x="668" y="565"/>
                  </a:cubicBezTo>
                  <a:cubicBezTo>
                    <a:pt x="667" y="563"/>
                    <a:pt x="666" y="562"/>
                    <a:pt x="664" y="558"/>
                  </a:cubicBezTo>
                  <a:cubicBezTo>
                    <a:pt x="662" y="554"/>
                    <a:pt x="658" y="551"/>
                    <a:pt x="654" y="550"/>
                  </a:cubicBezTo>
                  <a:cubicBezTo>
                    <a:pt x="651" y="550"/>
                    <a:pt x="643" y="558"/>
                    <a:pt x="641" y="556"/>
                  </a:cubicBezTo>
                  <a:cubicBezTo>
                    <a:pt x="639" y="555"/>
                    <a:pt x="639" y="556"/>
                    <a:pt x="629" y="554"/>
                  </a:cubicBezTo>
                  <a:cubicBezTo>
                    <a:pt x="618" y="552"/>
                    <a:pt x="626" y="553"/>
                    <a:pt x="620" y="551"/>
                  </a:cubicBezTo>
                  <a:cubicBezTo>
                    <a:pt x="615" y="550"/>
                    <a:pt x="615" y="551"/>
                    <a:pt x="605" y="551"/>
                  </a:cubicBezTo>
                  <a:cubicBezTo>
                    <a:pt x="595" y="551"/>
                    <a:pt x="601" y="556"/>
                    <a:pt x="592" y="557"/>
                  </a:cubicBezTo>
                  <a:cubicBezTo>
                    <a:pt x="582" y="559"/>
                    <a:pt x="585" y="556"/>
                    <a:pt x="582" y="554"/>
                  </a:cubicBezTo>
                  <a:cubicBezTo>
                    <a:pt x="579" y="553"/>
                    <a:pt x="583" y="564"/>
                    <a:pt x="578" y="565"/>
                  </a:cubicBezTo>
                  <a:cubicBezTo>
                    <a:pt x="573" y="566"/>
                    <a:pt x="573" y="571"/>
                    <a:pt x="566" y="573"/>
                  </a:cubicBezTo>
                  <a:cubicBezTo>
                    <a:pt x="560" y="576"/>
                    <a:pt x="559" y="581"/>
                    <a:pt x="552" y="582"/>
                  </a:cubicBezTo>
                  <a:cubicBezTo>
                    <a:pt x="545" y="582"/>
                    <a:pt x="542" y="583"/>
                    <a:pt x="536" y="581"/>
                  </a:cubicBezTo>
                  <a:cubicBezTo>
                    <a:pt x="530" y="580"/>
                    <a:pt x="534" y="589"/>
                    <a:pt x="528" y="590"/>
                  </a:cubicBezTo>
                  <a:cubicBezTo>
                    <a:pt x="521" y="592"/>
                    <a:pt x="527" y="594"/>
                    <a:pt x="521" y="597"/>
                  </a:cubicBezTo>
                  <a:cubicBezTo>
                    <a:pt x="514" y="599"/>
                    <a:pt x="517" y="602"/>
                    <a:pt x="511" y="602"/>
                  </a:cubicBezTo>
                  <a:cubicBezTo>
                    <a:pt x="505" y="602"/>
                    <a:pt x="509" y="608"/>
                    <a:pt x="506" y="612"/>
                  </a:cubicBezTo>
                  <a:cubicBezTo>
                    <a:pt x="504" y="615"/>
                    <a:pt x="508" y="616"/>
                    <a:pt x="504" y="618"/>
                  </a:cubicBezTo>
                  <a:cubicBezTo>
                    <a:pt x="500" y="620"/>
                    <a:pt x="501" y="625"/>
                    <a:pt x="496" y="627"/>
                  </a:cubicBezTo>
                  <a:cubicBezTo>
                    <a:pt x="491" y="630"/>
                    <a:pt x="496" y="633"/>
                    <a:pt x="496" y="636"/>
                  </a:cubicBezTo>
                  <a:cubicBezTo>
                    <a:pt x="496" y="639"/>
                    <a:pt x="496" y="641"/>
                    <a:pt x="494" y="646"/>
                  </a:cubicBezTo>
                  <a:cubicBezTo>
                    <a:pt x="492" y="650"/>
                    <a:pt x="496" y="652"/>
                    <a:pt x="499" y="657"/>
                  </a:cubicBezTo>
                  <a:cubicBezTo>
                    <a:pt x="497" y="660"/>
                    <a:pt x="490" y="661"/>
                    <a:pt x="487" y="658"/>
                  </a:cubicBezTo>
                  <a:cubicBezTo>
                    <a:pt x="484" y="654"/>
                    <a:pt x="479" y="656"/>
                    <a:pt x="475" y="655"/>
                  </a:cubicBezTo>
                  <a:cubicBezTo>
                    <a:pt x="471" y="654"/>
                    <a:pt x="467" y="650"/>
                    <a:pt x="463" y="648"/>
                  </a:cubicBezTo>
                  <a:cubicBezTo>
                    <a:pt x="460" y="646"/>
                    <a:pt x="458" y="645"/>
                    <a:pt x="456" y="643"/>
                  </a:cubicBezTo>
                  <a:cubicBezTo>
                    <a:pt x="454" y="641"/>
                    <a:pt x="453" y="637"/>
                    <a:pt x="452" y="630"/>
                  </a:cubicBezTo>
                  <a:cubicBezTo>
                    <a:pt x="450" y="623"/>
                    <a:pt x="451" y="626"/>
                    <a:pt x="453" y="621"/>
                  </a:cubicBezTo>
                  <a:cubicBezTo>
                    <a:pt x="455" y="616"/>
                    <a:pt x="452" y="615"/>
                    <a:pt x="450" y="612"/>
                  </a:cubicBezTo>
                  <a:cubicBezTo>
                    <a:pt x="448" y="610"/>
                    <a:pt x="444" y="601"/>
                    <a:pt x="441" y="593"/>
                  </a:cubicBezTo>
                  <a:cubicBezTo>
                    <a:pt x="438" y="585"/>
                    <a:pt x="437" y="581"/>
                    <a:pt x="435" y="571"/>
                  </a:cubicBezTo>
                  <a:cubicBezTo>
                    <a:pt x="433" y="561"/>
                    <a:pt x="429" y="559"/>
                    <a:pt x="425" y="553"/>
                  </a:cubicBezTo>
                  <a:cubicBezTo>
                    <a:pt x="421" y="548"/>
                    <a:pt x="410" y="549"/>
                    <a:pt x="405" y="549"/>
                  </a:cubicBezTo>
                  <a:cubicBezTo>
                    <a:pt x="400" y="549"/>
                    <a:pt x="396" y="551"/>
                    <a:pt x="391" y="553"/>
                  </a:cubicBezTo>
                  <a:cubicBezTo>
                    <a:pt x="387" y="555"/>
                    <a:pt x="381" y="567"/>
                    <a:pt x="378" y="571"/>
                  </a:cubicBezTo>
                  <a:cubicBezTo>
                    <a:pt x="376" y="574"/>
                    <a:pt x="364" y="568"/>
                    <a:pt x="360" y="565"/>
                  </a:cubicBezTo>
                  <a:cubicBezTo>
                    <a:pt x="356" y="562"/>
                    <a:pt x="353" y="560"/>
                    <a:pt x="348" y="553"/>
                  </a:cubicBezTo>
                  <a:cubicBezTo>
                    <a:pt x="344" y="547"/>
                    <a:pt x="346" y="529"/>
                    <a:pt x="345" y="526"/>
                  </a:cubicBezTo>
                  <a:cubicBezTo>
                    <a:pt x="345" y="523"/>
                    <a:pt x="334" y="514"/>
                    <a:pt x="330" y="509"/>
                  </a:cubicBezTo>
                  <a:cubicBezTo>
                    <a:pt x="325" y="504"/>
                    <a:pt x="319" y="495"/>
                    <a:pt x="318" y="495"/>
                  </a:cubicBezTo>
                  <a:cubicBezTo>
                    <a:pt x="317" y="494"/>
                    <a:pt x="287" y="492"/>
                    <a:pt x="280" y="495"/>
                  </a:cubicBezTo>
                  <a:cubicBezTo>
                    <a:pt x="272" y="498"/>
                    <a:pt x="273" y="505"/>
                    <a:pt x="270" y="507"/>
                  </a:cubicBezTo>
                  <a:cubicBezTo>
                    <a:pt x="266" y="510"/>
                    <a:pt x="259" y="507"/>
                    <a:pt x="251" y="507"/>
                  </a:cubicBezTo>
                  <a:cubicBezTo>
                    <a:pt x="243" y="507"/>
                    <a:pt x="234" y="509"/>
                    <a:pt x="231" y="508"/>
                  </a:cubicBezTo>
                  <a:cubicBezTo>
                    <a:pt x="229" y="508"/>
                    <a:pt x="214" y="510"/>
                    <a:pt x="209" y="508"/>
                  </a:cubicBezTo>
                  <a:cubicBezTo>
                    <a:pt x="205" y="506"/>
                    <a:pt x="196" y="503"/>
                    <a:pt x="189" y="500"/>
                  </a:cubicBezTo>
                  <a:cubicBezTo>
                    <a:pt x="182" y="497"/>
                    <a:pt x="177" y="495"/>
                    <a:pt x="174" y="493"/>
                  </a:cubicBezTo>
                  <a:cubicBezTo>
                    <a:pt x="171" y="491"/>
                    <a:pt x="159" y="488"/>
                    <a:pt x="154" y="485"/>
                  </a:cubicBezTo>
                  <a:cubicBezTo>
                    <a:pt x="149" y="482"/>
                    <a:pt x="147" y="483"/>
                    <a:pt x="142" y="481"/>
                  </a:cubicBezTo>
                  <a:cubicBezTo>
                    <a:pt x="136" y="480"/>
                    <a:pt x="138" y="479"/>
                    <a:pt x="132" y="477"/>
                  </a:cubicBezTo>
                  <a:cubicBezTo>
                    <a:pt x="126" y="474"/>
                    <a:pt x="132" y="474"/>
                    <a:pt x="132" y="471"/>
                  </a:cubicBezTo>
                  <a:cubicBezTo>
                    <a:pt x="132" y="469"/>
                    <a:pt x="125" y="469"/>
                    <a:pt x="118" y="469"/>
                  </a:cubicBezTo>
                  <a:cubicBezTo>
                    <a:pt x="110" y="469"/>
                    <a:pt x="105" y="471"/>
                    <a:pt x="99" y="471"/>
                  </a:cubicBezTo>
                  <a:cubicBezTo>
                    <a:pt x="93" y="471"/>
                    <a:pt x="86" y="473"/>
                    <a:pt x="83" y="473"/>
                  </a:cubicBezTo>
                  <a:cubicBezTo>
                    <a:pt x="80" y="473"/>
                    <a:pt x="76" y="474"/>
                    <a:pt x="73" y="474"/>
                  </a:cubicBezTo>
                  <a:cubicBezTo>
                    <a:pt x="74" y="472"/>
                    <a:pt x="74" y="471"/>
                    <a:pt x="73" y="470"/>
                  </a:cubicBezTo>
                  <a:cubicBezTo>
                    <a:pt x="73" y="467"/>
                    <a:pt x="77" y="463"/>
                    <a:pt x="77" y="460"/>
                  </a:cubicBezTo>
                  <a:cubicBezTo>
                    <a:pt x="78" y="457"/>
                    <a:pt x="71" y="454"/>
                    <a:pt x="70" y="449"/>
                  </a:cubicBezTo>
                  <a:cubicBezTo>
                    <a:pt x="69" y="443"/>
                    <a:pt x="61" y="444"/>
                    <a:pt x="60" y="440"/>
                  </a:cubicBezTo>
                  <a:cubicBezTo>
                    <a:pt x="60" y="435"/>
                    <a:pt x="56" y="435"/>
                    <a:pt x="51" y="430"/>
                  </a:cubicBezTo>
                  <a:cubicBezTo>
                    <a:pt x="46" y="426"/>
                    <a:pt x="47" y="427"/>
                    <a:pt x="40" y="423"/>
                  </a:cubicBezTo>
                  <a:cubicBezTo>
                    <a:pt x="33" y="419"/>
                    <a:pt x="22" y="423"/>
                    <a:pt x="16" y="418"/>
                  </a:cubicBezTo>
                  <a:cubicBezTo>
                    <a:pt x="10" y="413"/>
                    <a:pt x="16" y="408"/>
                    <a:pt x="17" y="403"/>
                  </a:cubicBezTo>
                  <a:cubicBezTo>
                    <a:pt x="17" y="397"/>
                    <a:pt x="21" y="393"/>
                    <a:pt x="16" y="386"/>
                  </a:cubicBezTo>
                  <a:cubicBezTo>
                    <a:pt x="10" y="379"/>
                    <a:pt x="11" y="380"/>
                    <a:pt x="5" y="373"/>
                  </a:cubicBezTo>
                  <a:cubicBezTo>
                    <a:pt x="0" y="367"/>
                    <a:pt x="13" y="361"/>
                    <a:pt x="18" y="358"/>
                  </a:cubicBezTo>
                  <a:cubicBezTo>
                    <a:pt x="23" y="356"/>
                    <a:pt x="12" y="349"/>
                    <a:pt x="12" y="340"/>
                  </a:cubicBezTo>
                  <a:cubicBezTo>
                    <a:pt x="12" y="331"/>
                    <a:pt x="17" y="332"/>
                    <a:pt x="17" y="324"/>
                  </a:cubicBezTo>
                  <a:cubicBezTo>
                    <a:pt x="17" y="315"/>
                    <a:pt x="10" y="323"/>
                    <a:pt x="7" y="315"/>
                  </a:cubicBezTo>
                  <a:cubicBezTo>
                    <a:pt x="5" y="308"/>
                    <a:pt x="3" y="303"/>
                    <a:pt x="1" y="299"/>
                  </a:cubicBezTo>
                  <a:cubicBezTo>
                    <a:pt x="0" y="295"/>
                    <a:pt x="7" y="286"/>
                    <a:pt x="12" y="280"/>
                  </a:cubicBezTo>
                  <a:cubicBezTo>
                    <a:pt x="16" y="274"/>
                    <a:pt x="11" y="267"/>
                    <a:pt x="6" y="259"/>
                  </a:cubicBezTo>
                  <a:cubicBezTo>
                    <a:pt x="1" y="252"/>
                    <a:pt x="8" y="255"/>
                    <a:pt x="25" y="238"/>
                  </a:cubicBezTo>
                  <a:cubicBezTo>
                    <a:pt x="42" y="221"/>
                    <a:pt x="32" y="230"/>
                    <a:pt x="33" y="223"/>
                  </a:cubicBezTo>
                  <a:cubicBezTo>
                    <a:pt x="33" y="216"/>
                    <a:pt x="37" y="213"/>
                    <a:pt x="38" y="208"/>
                  </a:cubicBezTo>
                  <a:cubicBezTo>
                    <a:pt x="39" y="203"/>
                    <a:pt x="41" y="196"/>
                    <a:pt x="41" y="193"/>
                  </a:cubicBezTo>
                  <a:cubicBezTo>
                    <a:pt x="41" y="190"/>
                    <a:pt x="51" y="182"/>
                    <a:pt x="53" y="177"/>
                  </a:cubicBezTo>
                  <a:cubicBezTo>
                    <a:pt x="55" y="172"/>
                    <a:pt x="63" y="169"/>
                    <a:pt x="66" y="167"/>
                  </a:cubicBezTo>
                  <a:cubicBezTo>
                    <a:pt x="69" y="165"/>
                    <a:pt x="70" y="159"/>
                    <a:pt x="72" y="155"/>
                  </a:cubicBezTo>
                  <a:cubicBezTo>
                    <a:pt x="75" y="152"/>
                    <a:pt x="79" y="147"/>
                    <a:pt x="81" y="145"/>
                  </a:cubicBezTo>
                  <a:cubicBezTo>
                    <a:pt x="82" y="144"/>
                    <a:pt x="90" y="138"/>
                    <a:pt x="91" y="136"/>
                  </a:cubicBezTo>
                  <a:cubicBezTo>
                    <a:pt x="92" y="134"/>
                    <a:pt x="97" y="125"/>
                    <a:pt x="100" y="122"/>
                  </a:cubicBezTo>
                  <a:cubicBezTo>
                    <a:pt x="103" y="119"/>
                    <a:pt x="103" y="115"/>
                    <a:pt x="106" y="111"/>
                  </a:cubicBezTo>
                  <a:cubicBezTo>
                    <a:pt x="109" y="108"/>
                    <a:pt x="114" y="103"/>
                    <a:pt x="116" y="95"/>
                  </a:cubicBezTo>
                  <a:cubicBezTo>
                    <a:pt x="118" y="87"/>
                    <a:pt x="124" y="89"/>
                    <a:pt x="124" y="85"/>
                  </a:cubicBezTo>
                  <a:cubicBezTo>
                    <a:pt x="123" y="80"/>
                    <a:pt x="129" y="76"/>
                    <a:pt x="131" y="67"/>
                  </a:cubicBezTo>
                  <a:cubicBezTo>
                    <a:pt x="133" y="57"/>
                    <a:pt x="135" y="55"/>
                    <a:pt x="135" y="44"/>
                  </a:cubicBezTo>
                  <a:cubicBezTo>
                    <a:pt x="135" y="33"/>
                    <a:pt x="137" y="36"/>
                    <a:pt x="143" y="33"/>
                  </a:cubicBezTo>
                  <a:cubicBezTo>
                    <a:pt x="149" y="30"/>
                    <a:pt x="149" y="36"/>
                    <a:pt x="159" y="35"/>
                  </a:cubicBezTo>
                  <a:cubicBezTo>
                    <a:pt x="169" y="35"/>
                    <a:pt x="163" y="37"/>
                    <a:pt x="179" y="38"/>
                  </a:cubicBezTo>
                  <a:cubicBezTo>
                    <a:pt x="195" y="39"/>
                    <a:pt x="185" y="37"/>
                    <a:pt x="189" y="34"/>
                  </a:cubicBezTo>
                  <a:cubicBezTo>
                    <a:pt x="194" y="31"/>
                    <a:pt x="197" y="23"/>
                    <a:pt x="199" y="17"/>
                  </a:cubicBezTo>
                  <a:cubicBezTo>
                    <a:pt x="245" y="17"/>
                    <a:pt x="792" y="20"/>
                    <a:pt x="799" y="17"/>
                  </a:cubicBezTo>
                  <a:cubicBezTo>
                    <a:pt x="806" y="14"/>
                    <a:pt x="814" y="0"/>
                    <a:pt x="814" y="8"/>
                  </a:cubicBezTo>
                  <a:cubicBezTo>
                    <a:pt x="814" y="16"/>
                    <a:pt x="808" y="24"/>
                    <a:pt x="810" y="24"/>
                  </a:cubicBezTo>
                  <a:cubicBezTo>
                    <a:pt x="812" y="24"/>
                    <a:pt x="818" y="24"/>
                    <a:pt x="821" y="26"/>
                  </a:cubicBezTo>
                  <a:cubicBezTo>
                    <a:pt x="825" y="28"/>
                    <a:pt x="828" y="30"/>
                    <a:pt x="830" y="29"/>
                  </a:cubicBezTo>
                  <a:cubicBezTo>
                    <a:pt x="833" y="28"/>
                    <a:pt x="836" y="24"/>
                    <a:pt x="840" y="25"/>
                  </a:cubicBezTo>
                  <a:cubicBezTo>
                    <a:pt x="843" y="26"/>
                    <a:pt x="846" y="28"/>
                    <a:pt x="848" y="30"/>
                  </a:cubicBezTo>
                  <a:cubicBezTo>
                    <a:pt x="850" y="31"/>
                    <a:pt x="850" y="31"/>
                    <a:pt x="852" y="34"/>
                  </a:cubicBezTo>
                  <a:cubicBezTo>
                    <a:pt x="853" y="37"/>
                    <a:pt x="856" y="33"/>
                    <a:pt x="859" y="36"/>
                  </a:cubicBezTo>
                  <a:cubicBezTo>
                    <a:pt x="862" y="39"/>
                    <a:pt x="859" y="41"/>
                    <a:pt x="866" y="41"/>
                  </a:cubicBezTo>
                  <a:cubicBezTo>
                    <a:pt x="873" y="42"/>
                    <a:pt x="874" y="40"/>
                    <a:pt x="879" y="40"/>
                  </a:cubicBezTo>
                  <a:cubicBezTo>
                    <a:pt x="884" y="39"/>
                    <a:pt x="885" y="39"/>
                    <a:pt x="887" y="41"/>
                  </a:cubicBezTo>
                  <a:cubicBezTo>
                    <a:pt x="890" y="42"/>
                    <a:pt x="904" y="42"/>
                    <a:pt x="904" y="44"/>
                  </a:cubicBezTo>
                  <a:cubicBezTo>
                    <a:pt x="905" y="45"/>
                    <a:pt x="905" y="45"/>
                    <a:pt x="905" y="45"/>
                  </a:cubicBezTo>
                  <a:cubicBezTo>
                    <a:pt x="897" y="48"/>
                    <a:pt x="885" y="50"/>
                    <a:pt x="882" y="52"/>
                  </a:cubicBezTo>
                  <a:cubicBezTo>
                    <a:pt x="877" y="54"/>
                    <a:pt x="870" y="58"/>
                    <a:pt x="859" y="64"/>
                  </a:cubicBezTo>
                  <a:cubicBezTo>
                    <a:pt x="848" y="70"/>
                    <a:pt x="848" y="66"/>
                    <a:pt x="835" y="76"/>
                  </a:cubicBezTo>
                  <a:cubicBezTo>
                    <a:pt x="829" y="88"/>
                    <a:pt x="851" y="76"/>
                    <a:pt x="861" y="73"/>
                  </a:cubicBezTo>
                  <a:cubicBezTo>
                    <a:pt x="871" y="70"/>
                    <a:pt x="866" y="76"/>
                    <a:pt x="863" y="81"/>
                  </a:cubicBezTo>
                  <a:cubicBezTo>
                    <a:pt x="860" y="86"/>
                    <a:pt x="883" y="78"/>
                    <a:pt x="895" y="75"/>
                  </a:cubicBezTo>
                  <a:cubicBezTo>
                    <a:pt x="907" y="72"/>
                    <a:pt x="910" y="65"/>
                    <a:pt x="919" y="59"/>
                  </a:cubicBezTo>
                  <a:cubicBezTo>
                    <a:pt x="928" y="54"/>
                    <a:pt x="931" y="61"/>
                    <a:pt x="927" y="64"/>
                  </a:cubicBezTo>
                  <a:cubicBezTo>
                    <a:pt x="924" y="66"/>
                    <a:pt x="926" y="70"/>
                    <a:pt x="929" y="74"/>
                  </a:cubicBezTo>
                  <a:cubicBezTo>
                    <a:pt x="932" y="77"/>
                    <a:pt x="939" y="81"/>
                    <a:pt x="947" y="85"/>
                  </a:cubicBezTo>
                  <a:cubicBezTo>
                    <a:pt x="956" y="88"/>
                    <a:pt x="962" y="80"/>
                    <a:pt x="973" y="77"/>
                  </a:cubicBezTo>
                  <a:cubicBezTo>
                    <a:pt x="984" y="75"/>
                    <a:pt x="989" y="79"/>
                    <a:pt x="993" y="83"/>
                  </a:cubicBezTo>
                  <a:cubicBezTo>
                    <a:pt x="998" y="87"/>
                    <a:pt x="1005" y="90"/>
                    <a:pt x="1011" y="92"/>
                  </a:cubicBezTo>
                  <a:cubicBezTo>
                    <a:pt x="1017" y="95"/>
                    <a:pt x="1025" y="97"/>
                    <a:pt x="1032" y="97"/>
                  </a:cubicBezTo>
                  <a:cubicBezTo>
                    <a:pt x="1040" y="97"/>
                    <a:pt x="1048" y="101"/>
                    <a:pt x="1053" y="107"/>
                  </a:cubicBezTo>
                  <a:cubicBezTo>
                    <a:pt x="1058" y="114"/>
                    <a:pt x="1043" y="107"/>
                    <a:pt x="1034" y="107"/>
                  </a:cubicBezTo>
                  <a:cubicBezTo>
                    <a:pt x="1024" y="107"/>
                    <a:pt x="1017" y="104"/>
                    <a:pt x="1012" y="99"/>
                  </a:cubicBezTo>
                  <a:cubicBezTo>
                    <a:pt x="1007" y="93"/>
                    <a:pt x="1008" y="98"/>
                    <a:pt x="994" y="98"/>
                  </a:cubicBezTo>
                  <a:cubicBezTo>
                    <a:pt x="980" y="98"/>
                    <a:pt x="988" y="98"/>
                    <a:pt x="979" y="97"/>
                  </a:cubicBezTo>
                  <a:cubicBezTo>
                    <a:pt x="971" y="95"/>
                    <a:pt x="967" y="98"/>
                    <a:pt x="956" y="101"/>
                  </a:cubicBezTo>
                  <a:cubicBezTo>
                    <a:pt x="945" y="103"/>
                    <a:pt x="942" y="105"/>
                    <a:pt x="934" y="104"/>
                  </a:cubicBezTo>
                  <a:cubicBezTo>
                    <a:pt x="926" y="104"/>
                    <a:pt x="926" y="111"/>
                    <a:pt x="921" y="114"/>
                  </a:cubicBezTo>
                  <a:cubicBezTo>
                    <a:pt x="917" y="118"/>
                    <a:pt x="904" y="125"/>
                    <a:pt x="899" y="129"/>
                  </a:cubicBezTo>
                  <a:cubicBezTo>
                    <a:pt x="894" y="133"/>
                    <a:pt x="903" y="133"/>
                    <a:pt x="911" y="130"/>
                  </a:cubicBezTo>
                  <a:cubicBezTo>
                    <a:pt x="918" y="127"/>
                    <a:pt x="913" y="133"/>
                    <a:pt x="912" y="138"/>
                  </a:cubicBezTo>
                  <a:cubicBezTo>
                    <a:pt x="911" y="144"/>
                    <a:pt x="902" y="149"/>
                    <a:pt x="891" y="157"/>
                  </a:cubicBezTo>
                  <a:cubicBezTo>
                    <a:pt x="879" y="165"/>
                    <a:pt x="884" y="175"/>
                    <a:pt x="877" y="186"/>
                  </a:cubicBezTo>
                  <a:cubicBezTo>
                    <a:pt x="870" y="197"/>
                    <a:pt x="871" y="208"/>
                    <a:pt x="872" y="218"/>
                  </a:cubicBezTo>
                  <a:cubicBezTo>
                    <a:pt x="873" y="228"/>
                    <a:pt x="886" y="216"/>
                    <a:pt x="895" y="211"/>
                  </a:cubicBezTo>
                  <a:cubicBezTo>
                    <a:pt x="905" y="206"/>
                    <a:pt x="910" y="194"/>
                    <a:pt x="915" y="186"/>
                  </a:cubicBezTo>
                  <a:cubicBezTo>
                    <a:pt x="919" y="179"/>
                    <a:pt x="919" y="170"/>
                    <a:pt x="921" y="160"/>
                  </a:cubicBezTo>
                  <a:cubicBezTo>
                    <a:pt x="923" y="151"/>
                    <a:pt x="929" y="147"/>
                    <a:pt x="932" y="144"/>
                  </a:cubicBezTo>
                  <a:cubicBezTo>
                    <a:pt x="934" y="141"/>
                    <a:pt x="941" y="130"/>
                    <a:pt x="946" y="126"/>
                  </a:cubicBezTo>
                  <a:cubicBezTo>
                    <a:pt x="952" y="122"/>
                    <a:pt x="959" y="126"/>
                    <a:pt x="963" y="122"/>
                  </a:cubicBezTo>
                  <a:cubicBezTo>
                    <a:pt x="968" y="118"/>
                    <a:pt x="968" y="118"/>
                    <a:pt x="973" y="111"/>
                  </a:cubicBezTo>
                  <a:cubicBezTo>
                    <a:pt x="978" y="105"/>
                    <a:pt x="985" y="107"/>
                    <a:pt x="994" y="107"/>
                  </a:cubicBezTo>
                  <a:cubicBezTo>
                    <a:pt x="1002" y="107"/>
                    <a:pt x="1003" y="112"/>
                    <a:pt x="1008" y="118"/>
                  </a:cubicBezTo>
                  <a:cubicBezTo>
                    <a:pt x="1014" y="124"/>
                    <a:pt x="1006" y="129"/>
                    <a:pt x="1001" y="138"/>
                  </a:cubicBezTo>
                  <a:cubicBezTo>
                    <a:pt x="997" y="146"/>
                    <a:pt x="984" y="152"/>
                    <a:pt x="979" y="158"/>
                  </a:cubicBezTo>
                  <a:cubicBezTo>
                    <a:pt x="975" y="164"/>
                    <a:pt x="981" y="161"/>
                    <a:pt x="987" y="160"/>
                  </a:cubicBezTo>
                  <a:cubicBezTo>
                    <a:pt x="994" y="160"/>
                    <a:pt x="1000" y="154"/>
                    <a:pt x="1005" y="155"/>
                  </a:cubicBezTo>
                  <a:cubicBezTo>
                    <a:pt x="1011" y="155"/>
                    <a:pt x="1003" y="159"/>
                    <a:pt x="1003" y="172"/>
                  </a:cubicBezTo>
                  <a:cubicBezTo>
                    <a:pt x="1003" y="186"/>
                    <a:pt x="1016" y="176"/>
                    <a:pt x="1022" y="175"/>
                  </a:cubicBezTo>
                  <a:cubicBezTo>
                    <a:pt x="1028" y="174"/>
                    <a:pt x="1027" y="167"/>
                    <a:pt x="1030" y="158"/>
                  </a:cubicBezTo>
                  <a:cubicBezTo>
                    <a:pt x="1033" y="149"/>
                    <a:pt x="1039" y="143"/>
                    <a:pt x="1046" y="138"/>
                  </a:cubicBezTo>
                  <a:cubicBezTo>
                    <a:pt x="1052" y="134"/>
                    <a:pt x="1051" y="125"/>
                    <a:pt x="1051" y="120"/>
                  </a:cubicBezTo>
                  <a:cubicBezTo>
                    <a:pt x="1052" y="115"/>
                    <a:pt x="1062" y="133"/>
                    <a:pt x="1064" y="137"/>
                  </a:cubicBezTo>
                  <a:cubicBezTo>
                    <a:pt x="1067" y="141"/>
                    <a:pt x="1075" y="137"/>
                    <a:pt x="1079" y="133"/>
                  </a:cubicBezTo>
                  <a:cubicBezTo>
                    <a:pt x="1081" y="132"/>
                    <a:pt x="1082" y="130"/>
                    <a:pt x="1083" y="128"/>
                  </a:cubicBezTo>
                  <a:cubicBezTo>
                    <a:pt x="1084" y="128"/>
                    <a:pt x="1085" y="129"/>
                    <a:pt x="1089" y="132"/>
                  </a:cubicBezTo>
                  <a:cubicBezTo>
                    <a:pt x="1098" y="139"/>
                    <a:pt x="1124" y="140"/>
                    <a:pt x="1128" y="144"/>
                  </a:cubicBezTo>
                  <a:cubicBezTo>
                    <a:pt x="1132" y="148"/>
                    <a:pt x="1135" y="152"/>
                    <a:pt x="1140" y="153"/>
                  </a:cubicBezTo>
                  <a:cubicBezTo>
                    <a:pt x="1138" y="156"/>
                    <a:pt x="1136" y="157"/>
                    <a:pt x="1134" y="155"/>
                  </a:cubicBezTo>
                  <a:cubicBezTo>
                    <a:pt x="1130" y="152"/>
                    <a:pt x="1130" y="153"/>
                    <a:pt x="1120" y="154"/>
                  </a:cubicBezTo>
                  <a:cubicBezTo>
                    <a:pt x="1111" y="155"/>
                    <a:pt x="1099" y="154"/>
                    <a:pt x="1088" y="157"/>
                  </a:cubicBezTo>
                  <a:cubicBezTo>
                    <a:pt x="1077" y="161"/>
                    <a:pt x="1072" y="162"/>
                    <a:pt x="1070" y="167"/>
                  </a:cubicBezTo>
                  <a:cubicBezTo>
                    <a:pt x="1069" y="172"/>
                    <a:pt x="1071" y="175"/>
                    <a:pt x="1074" y="175"/>
                  </a:cubicBezTo>
                  <a:cubicBezTo>
                    <a:pt x="1077" y="175"/>
                    <a:pt x="1081" y="179"/>
                    <a:pt x="1080" y="181"/>
                  </a:cubicBezTo>
                  <a:cubicBezTo>
                    <a:pt x="1078" y="183"/>
                    <a:pt x="1078" y="186"/>
                    <a:pt x="1071" y="186"/>
                  </a:cubicBezTo>
                  <a:cubicBezTo>
                    <a:pt x="1064" y="186"/>
                    <a:pt x="1053" y="189"/>
                    <a:pt x="1049" y="190"/>
                  </a:cubicBezTo>
                  <a:cubicBezTo>
                    <a:pt x="1044" y="192"/>
                    <a:pt x="1041" y="191"/>
                    <a:pt x="1033" y="191"/>
                  </a:cubicBezTo>
                  <a:cubicBezTo>
                    <a:pt x="1025" y="191"/>
                    <a:pt x="1023" y="189"/>
                    <a:pt x="1017" y="194"/>
                  </a:cubicBezTo>
                  <a:cubicBezTo>
                    <a:pt x="1010" y="200"/>
                    <a:pt x="1001" y="201"/>
                    <a:pt x="996" y="204"/>
                  </a:cubicBezTo>
                  <a:cubicBezTo>
                    <a:pt x="992" y="207"/>
                    <a:pt x="983" y="217"/>
                    <a:pt x="982" y="210"/>
                  </a:cubicBezTo>
                  <a:cubicBezTo>
                    <a:pt x="981" y="204"/>
                    <a:pt x="980" y="203"/>
                    <a:pt x="988" y="201"/>
                  </a:cubicBezTo>
                  <a:cubicBezTo>
                    <a:pt x="996" y="199"/>
                    <a:pt x="999" y="194"/>
                    <a:pt x="996" y="193"/>
                  </a:cubicBezTo>
                  <a:cubicBezTo>
                    <a:pt x="993" y="191"/>
                    <a:pt x="988" y="187"/>
                    <a:pt x="987" y="192"/>
                  </a:cubicBezTo>
                  <a:cubicBezTo>
                    <a:pt x="983" y="197"/>
                    <a:pt x="981" y="202"/>
                    <a:pt x="974" y="206"/>
                  </a:cubicBezTo>
                  <a:cubicBezTo>
                    <a:pt x="966" y="210"/>
                    <a:pt x="961" y="216"/>
                    <a:pt x="969" y="220"/>
                  </a:cubicBezTo>
                  <a:cubicBezTo>
                    <a:pt x="976" y="223"/>
                    <a:pt x="988" y="228"/>
                    <a:pt x="997" y="223"/>
                  </a:cubicBezTo>
                  <a:cubicBezTo>
                    <a:pt x="1007" y="218"/>
                    <a:pt x="1030" y="215"/>
                    <a:pt x="1035" y="211"/>
                  </a:cubicBezTo>
                  <a:cubicBezTo>
                    <a:pt x="1041" y="206"/>
                    <a:pt x="1067" y="195"/>
                    <a:pt x="1074" y="191"/>
                  </a:cubicBezTo>
                  <a:cubicBezTo>
                    <a:pt x="1080" y="187"/>
                    <a:pt x="1085" y="185"/>
                    <a:pt x="1084" y="181"/>
                  </a:cubicBezTo>
                  <a:cubicBezTo>
                    <a:pt x="1083" y="177"/>
                    <a:pt x="1090" y="171"/>
                    <a:pt x="1101" y="171"/>
                  </a:cubicBezTo>
                  <a:cubicBezTo>
                    <a:pt x="1111" y="171"/>
                    <a:pt x="1122" y="177"/>
                    <a:pt x="1129" y="174"/>
                  </a:cubicBezTo>
                  <a:cubicBezTo>
                    <a:pt x="1135" y="172"/>
                    <a:pt x="1133" y="173"/>
                    <a:pt x="1144" y="169"/>
                  </a:cubicBezTo>
                  <a:cubicBezTo>
                    <a:pt x="1156" y="164"/>
                    <a:pt x="1158" y="157"/>
                    <a:pt x="1158" y="153"/>
                  </a:cubicBezTo>
                  <a:cubicBezTo>
                    <a:pt x="1158" y="152"/>
                    <a:pt x="1157" y="150"/>
                    <a:pt x="1156" y="148"/>
                  </a:cubicBezTo>
                  <a:cubicBezTo>
                    <a:pt x="1159" y="146"/>
                    <a:pt x="1168" y="142"/>
                    <a:pt x="1169" y="141"/>
                  </a:cubicBezTo>
                  <a:cubicBezTo>
                    <a:pt x="1171" y="140"/>
                    <a:pt x="1192" y="127"/>
                    <a:pt x="1192" y="127"/>
                  </a:cubicBezTo>
                  <a:cubicBezTo>
                    <a:pt x="1192" y="127"/>
                    <a:pt x="1266" y="133"/>
                    <a:pt x="1275" y="127"/>
                  </a:cubicBezTo>
                  <a:cubicBezTo>
                    <a:pt x="1283" y="120"/>
                    <a:pt x="1287" y="117"/>
                    <a:pt x="1301" y="107"/>
                  </a:cubicBezTo>
                  <a:cubicBezTo>
                    <a:pt x="1315" y="97"/>
                    <a:pt x="1314" y="92"/>
                    <a:pt x="1324" y="83"/>
                  </a:cubicBezTo>
                  <a:cubicBezTo>
                    <a:pt x="1334" y="73"/>
                    <a:pt x="1350" y="51"/>
                    <a:pt x="1351" y="57"/>
                  </a:cubicBezTo>
                  <a:cubicBezTo>
                    <a:pt x="1353" y="62"/>
                    <a:pt x="1350" y="64"/>
                    <a:pt x="1354" y="65"/>
                  </a:cubicBezTo>
                  <a:cubicBezTo>
                    <a:pt x="1358" y="66"/>
                    <a:pt x="1359" y="66"/>
                    <a:pt x="1364" y="65"/>
                  </a:cubicBezTo>
                  <a:cubicBezTo>
                    <a:pt x="1368" y="63"/>
                    <a:pt x="1375" y="60"/>
                    <a:pt x="1375" y="63"/>
                  </a:cubicBezTo>
                  <a:cubicBezTo>
                    <a:pt x="1375" y="66"/>
                    <a:pt x="1376" y="69"/>
                    <a:pt x="1375" y="73"/>
                  </a:cubicBezTo>
                  <a:cubicBezTo>
                    <a:pt x="1374" y="77"/>
                    <a:pt x="1375" y="77"/>
                    <a:pt x="1373" y="83"/>
                  </a:cubicBezTo>
                  <a:cubicBezTo>
                    <a:pt x="1370" y="90"/>
                    <a:pt x="1369" y="93"/>
                    <a:pt x="1367" y="98"/>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52" name="Freeform 1221">
              <a:extLst>
                <a:ext uri="{FF2B5EF4-FFF2-40B4-BE49-F238E27FC236}">
                  <a16:creationId xmlns:a16="http://schemas.microsoft.com/office/drawing/2014/main" id="{D1322437-D371-B74A-AB44-80AF885B12AB}"/>
                </a:ext>
              </a:extLst>
            </p:cNvPr>
            <p:cNvSpPr>
              <a:spLocks/>
            </p:cNvSpPr>
            <p:nvPr/>
          </p:nvSpPr>
          <p:spPr bwMode="auto">
            <a:xfrm>
              <a:off x="2078044" y="767217"/>
              <a:ext cx="319088" cy="120650"/>
            </a:xfrm>
            <a:custGeom>
              <a:avLst/>
              <a:gdLst>
                <a:gd name="T0" fmla="*/ 37 w 334"/>
                <a:gd name="T1" fmla="*/ 55 h 126"/>
                <a:gd name="T2" fmla="*/ 57 w 334"/>
                <a:gd name="T3" fmla="*/ 54 h 126"/>
                <a:gd name="T4" fmla="*/ 66 w 334"/>
                <a:gd name="T5" fmla="*/ 58 h 126"/>
                <a:gd name="T6" fmla="*/ 43 w 334"/>
                <a:gd name="T7" fmla="*/ 61 h 126"/>
                <a:gd name="T8" fmla="*/ 20 w 334"/>
                <a:gd name="T9" fmla="*/ 66 h 126"/>
                <a:gd name="T10" fmla="*/ 32 w 334"/>
                <a:gd name="T11" fmla="*/ 75 h 126"/>
                <a:gd name="T12" fmla="*/ 66 w 334"/>
                <a:gd name="T13" fmla="*/ 73 h 126"/>
                <a:gd name="T14" fmla="*/ 101 w 334"/>
                <a:gd name="T15" fmla="*/ 75 h 126"/>
                <a:gd name="T16" fmla="*/ 96 w 334"/>
                <a:gd name="T17" fmla="*/ 83 h 126"/>
                <a:gd name="T18" fmla="*/ 50 w 334"/>
                <a:gd name="T19" fmla="*/ 82 h 126"/>
                <a:gd name="T20" fmla="*/ 11 w 334"/>
                <a:gd name="T21" fmla="*/ 87 h 126"/>
                <a:gd name="T22" fmla="*/ 16 w 334"/>
                <a:gd name="T23" fmla="*/ 102 h 126"/>
                <a:gd name="T24" fmla="*/ 49 w 334"/>
                <a:gd name="T25" fmla="*/ 107 h 126"/>
                <a:gd name="T26" fmla="*/ 53 w 334"/>
                <a:gd name="T27" fmla="*/ 124 h 126"/>
                <a:gd name="T28" fmla="*/ 90 w 334"/>
                <a:gd name="T29" fmla="*/ 122 h 126"/>
                <a:gd name="T30" fmla="*/ 133 w 334"/>
                <a:gd name="T31" fmla="*/ 115 h 126"/>
                <a:gd name="T32" fmla="*/ 164 w 334"/>
                <a:gd name="T33" fmla="*/ 110 h 126"/>
                <a:gd name="T34" fmla="*/ 190 w 334"/>
                <a:gd name="T35" fmla="*/ 101 h 126"/>
                <a:gd name="T36" fmla="*/ 202 w 334"/>
                <a:gd name="T37" fmla="*/ 108 h 126"/>
                <a:gd name="T38" fmla="*/ 225 w 334"/>
                <a:gd name="T39" fmla="*/ 114 h 126"/>
                <a:gd name="T40" fmla="*/ 249 w 334"/>
                <a:gd name="T41" fmla="*/ 115 h 126"/>
                <a:gd name="T42" fmla="*/ 258 w 334"/>
                <a:gd name="T43" fmla="*/ 101 h 126"/>
                <a:gd name="T44" fmla="*/ 267 w 334"/>
                <a:gd name="T45" fmla="*/ 96 h 126"/>
                <a:gd name="T46" fmla="*/ 286 w 334"/>
                <a:gd name="T47" fmla="*/ 95 h 126"/>
                <a:gd name="T48" fmla="*/ 304 w 334"/>
                <a:gd name="T49" fmla="*/ 91 h 126"/>
                <a:gd name="T50" fmla="*/ 287 w 334"/>
                <a:gd name="T51" fmla="*/ 77 h 126"/>
                <a:gd name="T52" fmla="*/ 267 w 334"/>
                <a:gd name="T53" fmla="*/ 69 h 126"/>
                <a:gd name="T54" fmla="*/ 279 w 334"/>
                <a:gd name="T55" fmla="*/ 54 h 126"/>
                <a:gd name="T56" fmla="*/ 289 w 334"/>
                <a:gd name="T57" fmla="*/ 33 h 126"/>
                <a:gd name="T58" fmla="*/ 303 w 334"/>
                <a:gd name="T59" fmla="*/ 19 h 126"/>
                <a:gd name="T60" fmla="*/ 325 w 334"/>
                <a:gd name="T61" fmla="*/ 1 h 126"/>
                <a:gd name="T62" fmla="*/ 297 w 334"/>
                <a:gd name="T63" fmla="*/ 4 h 126"/>
                <a:gd name="T64" fmla="*/ 294 w 334"/>
                <a:gd name="T65" fmla="*/ 15 h 126"/>
                <a:gd name="T66" fmla="*/ 270 w 334"/>
                <a:gd name="T67" fmla="*/ 13 h 126"/>
                <a:gd name="T68" fmla="*/ 246 w 334"/>
                <a:gd name="T69" fmla="*/ 25 h 126"/>
                <a:gd name="T70" fmla="*/ 231 w 334"/>
                <a:gd name="T71" fmla="*/ 47 h 126"/>
                <a:gd name="T72" fmla="*/ 221 w 334"/>
                <a:gd name="T73" fmla="*/ 45 h 126"/>
                <a:gd name="T74" fmla="*/ 227 w 334"/>
                <a:gd name="T75" fmla="*/ 27 h 126"/>
                <a:gd name="T76" fmla="*/ 207 w 334"/>
                <a:gd name="T77" fmla="*/ 18 h 126"/>
                <a:gd name="T78" fmla="*/ 192 w 334"/>
                <a:gd name="T79" fmla="*/ 32 h 126"/>
                <a:gd name="T80" fmla="*/ 187 w 334"/>
                <a:gd name="T81" fmla="*/ 22 h 126"/>
                <a:gd name="T82" fmla="*/ 156 w 334"/>
                <a:gd name="T83" fmla="*/ 23 h 126"/>
                <a:gd name="T84" fmla="*/ 146 w 334"/>
                <a:gd name="T85" fmla="*/ 22 h 126"/>
                <a:gd name="T86" fmla="*/ 136 w 334"/>
                <a:gd name="T87" fmla="*/ 17 h 126"/>
                <a:gd name="T88" fmla="*/ 109 w 334"/>
                <a:gd name="T89" fmla="*/ 20 h 126"/>
                <a:gd name="T90" fmla="*/ 61 w 334"/>
                <a:gd name="T91" fmla="*/ 36 h 126"/>
                <a:gd name="T92" fmla="*/ 23 w 334"/>
                <a:gd name="T93"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4" h="126">
                  <a:moveTo>
                    <a:pt x="42" y="51"/>
                  </a:moveTo>
                  <a:cubicBezTo>
                    <a:pt x="38" y="53"/>
                    <a:pt x="33" y="54"/>
                    <a:pt x="37" y="55"/>
                  </a:cubicBezTo>
                  <a:cubicBezTo>
                    <a:pt x="41" y="56"/>
                    <a:pt x="40" y="57"/>
                    <a:pt x="46" y="56"/>
                  </a:cubicBezTo>
                  <a:cubicBezTo>
                    <a:pt x="52" y="55"/>
                    <a:pt x="51" y="55"/>
                    <a:pt x="57" y="54"/>
                  </a:cubicBezTo>
                  <a:cubicBezTo>
                    <a:pt x="63" y="54"/>
                    <a:pt x="73" y="51"/>
                    <a:pt x="72" y="53"/>
                  </a:cubicBezTo>
                  <a:cubicBezTo>
                    <a:pt x="71" y="54"/>
                    <a:pt x="72" y="57"/>
                    <a:pt x="66" y="58"/>
                  </a:cubicBezTo>
                  <a:cubicBezTo>
                    <a:pt x="60" y="58"/>
                    <a:pt x="58" y="59"/>
                    <a:pt x="54" y="59"/>
                  </a:cubicBezTo>
                  <a:cubicBezTo>
                    <a:pt x="50" y="60"/>
                    <a:pt x="49" y="60"/>
                    <a:pt x="43" y="61"/>
                  </a:cubicBezTo>
                  <a:cubicBezTo>
                    <a:pt x="37" y="62"/>
                    <a:pt x="34" y="63"/>
                    <a:pt x="30" y="64"/>
                  </a:cubicBezTo>
                  <a:cubicBezTo>
                    <a:pt x="26" y="64"/>
                    <a:pt x="23" y="60"/>
                    <a:pt x="20" y="66"/>
                  </a:cubicBezTo>
                  <a:cubicBezTo>
                    <a:pt x="18" y="72"/>
                    <a:pt x="14" y="74"/>
                    <a:pt x="20" y="74"/>
                  </a:cubicBezTo>
                  <a:cubicBezTo>
                    <a:pt x="25" y="75"/>
                    <a:pt x="26" y="75"/>
                    <a:pt x="32" y="75"/>
                  </a:cubicBezTo>
                  <a:cubicBezTo>
                    <a:pt x="38" y="75"/>
                    <a:pt x="38" y="74"/>
                    <a:pt x="47" y="74"/>
                  </a:cubicBezTo>
                  <a:cubicBezTo>
                    <a:pt x="56" y="73"/>
                    <a:pt x="64" y="73"/>
                    <a:pt x="66" y="73"/>
                  </a:cubicBezTo>
                  <a:cubicBezTo>
                    <a:pt x="69" y="73"/>
                    <a:pt x="75" y="74"/>
                    <a:pt x="81" y="74"/>
                  </a:cubicBezTo>
                  <a:cubicBezTo>
                    <a:pt x="88" y="74"/>
                    <a:pt x="94" y="75"/>
                    <a:pt x="101" y="75"/>
                  </a:cubicBezTo>
                  <a:cubicBezTo>
                    <a:pt x="108" y="75"/>
                    <a:pt x="119" y="78"/>
                    <a:pt x="114" y="80"/>
                  </a:cubicBezTo>
                  <a:cubicBezTo>
                    <a:pt x="109" y="82"/>
                    <a:pt x="108" y="83"/>
                    <a:pt x="96" y="83"/>
                  </a:cubicBezTo>
                  <a:cubicBezTo>
                    <a:pt x="85" y="83"/>
                    <a:pt x="83" y="82"/>
                    <a:pt x="75" y="82"/>
                  </a:cubicBezTo>
                  <a:cubicBezTo>
                    <a:pt x="67" y="82"/>
                    <a:pt x="58" y="80"/>
                    <a:pt x="50" y="82"/>
                  </a:cubicBezTo>
                  <a:cubicBezTo>
                    <a:pt x="43" y="84"/>
                    <a:pt x="38" y="84"/>
                    <a:pt x="31" y="84"/>
                  </a:cubicBezTo>
                  <a:cubicBezTo>
                    <a:pt x="25" y="85"/>
                    <a:pt x="16" y="84"/>
                    <a:pt x="11" y="87"/>
                  </a:cubicBezTo>
                  <a:cubicBezTo>
                    <a:pt x="7" y="90"/>
                    <a:pt x="0" y="91"/>
                    <a:pt x="5" y="95"/>
                  </a:cubicBezTo>
                  <a:cubicBezTo>
                    <a:pt x="10" y="99"/>
                    <a:pt x="6" y="99"/>
                    <a:pt x="16" y="102"/>
                  </a:cubicBezTo>
                  <a:cubicBezTo>
                    <a:pt x="25" y="104"/>
                    <a:pt x="21" y="104"/>
                    <a:pt x="33" y="105"/>
                  </a:cubicBezTo>
                  <a:cubicBezTo>
                    <a:pt x="44" y="106"/>
                    <a:pt x="52" y="103"/>
                    <a:pt x="49" y="107"/>
                  </a:cubicBezTo>
                  <a:cubicBezTo>
                    <a:pt x="47" y="111"/>
                    <a:pt x="43" y="113"/>
                    <a:pt x="45" y="117"/>
                  </a:cubicBezTo>
                  <a:cubicBezTo>
                    <a:pt x="46" y="121"/>
                    <a:pt x="38" y="126"/>
                    <a:pt x="53" y="124"/>
                  </a:cubicBezTo>
                  <a:cubicBezTo>
                    <a:pt x="67" y="123"/>
                    <a:pt x="70" y="122"/>
                    <a:pt x="77" y="122"/>
                  </a:cubicBezTo>
                  <a:cubicBezTo>
                    <a:pt x="83" y="122"/>
                    <a:pt x="78" y="123"/>
                    <a:pt x="90" y="122"/>
                  </a:cubicBezTo>
                  <a:cubicBezTo>
                    <a:pt x="101" y="120"/>
                    <a:pt x="103" y="120"/>
                    <a:pt x="112" y="118"/>
                  </a:cubicBezTo>
                  <a:cubicBezTo>
                    <a:pt x="122" y="117"/>
                    <a:pt x="123" y="118"/>
                    <a:pt x="133" y="115"/>
                  </a:cubicBezTo>
                  <a:cubicBezTo>
                    <a:pt x="142" y="113"/>
                    <a:pt x="146" y="112"/>
                    <a:pt x="147" y="112"/>
                  </a:cubicBezTo>
                  <a:cubicBezTo>
                    <a:pt x="149" y="112"/>
                    <a:pt x="159" y="114"/>
                    <a:pt x="164" y="110"/>
                  </a:cubicBezTo>
                  <a:cubicBezTo>
                    <a:pt x="170" y="107"/>
                    <a:pt x="173" y="105"/>
                    <a:pt x="178" y="104"/>
                  </a:cubicBezTo>
                  <a:cubicBezTo>
                    <a:pt x="183" y="102"/>
                    <a:pt x="192" y="97"/>
                    <a:pt x="190" y="101"/>
                  </a:cubicBezTo>
                  <a:cubicBezTo>
                    <a:pt x="187" y="105"/>
                    <a:pt x="187" y="106"/>
                    <a:pt x="192" y="106"/>
                  </a:cubicBezTo>
                  <a:cubicBezTo>
                    <a:pt x="196" y="106"/>
                    <a:pt x="203" y="103"/>
                    <a:pt x="202" y="108"/>
                  </a:cubicBezTo>
                  <a:cubicBezTo>
                    <a:pt x="201" y="113"/>
                    <a:pt x="206" y="115"/>
                    <a:pt x="208" y="115"/>
                  </a:cubicBezTo>
                  <a:cubicBezTo>
                    <a:pt x="210" y="115"/>
                    <a:pt x="220" y="111"/>
                    <a:pt x="225" y="114"/>
                  </a:cubicBezTo>
                  <a:cubicBezTo>
                    <a:pt x="231" y="118"/>
                    <a:pt x="228" y="117"/>
                    <a:pt x="238" y="117"/>
                  </a:cubicBezTo>
                  <a:cubicBezTo>
                    <a:pt x="247" y="116"/>
                    <a:pt x="238" y="118"/>
                    <a:pt x="249" y="115"/>
                  </a:cubicBezTo>
                  <a:cubicBezTo>
                    <a:pt x="261" y="111"/>
                    <a:pt x="265" y="115"/>
                    <a:pt x="266" y="110"/>
                  </a:cubicBezTo>
                  <a:cubicBezTo>
                    <a:pt x="268" y="104"/>
                    <a:pt x="263" y="100"/>
                    <a:pt x="258" y="101"/>
                  </a:cubicBezTo>
                  <a:cubicBezTo>
                    <a:pt x="253" y="101"/>
                    <a:pt x="249" y="96"/>
                    <a:pt x="254" y="96"/>
                  </a:cubicBezTo>
                  <a:cubicBezTo>
                    <a:pt x="260" y="97"/>
                    <a:pt x="263" y="101"/>
                    <a:pt x="267" y="96"/>
                  </a:cubicBezTo>
                  <a:cubicBezTo>
                    <a:pt x="271" y="91"/>
                    <a:pt x="276" y="86"/>
                    <a:pt x="278" y="91"/>
                  </a:cubicBezTo>
                  <a:cubicBezTo>
                    <a:pt x="279" y="96"/>
                    <a:pt x="279" y="94"/>
                    <a:pt x="286" y="95"/>
                  </a:cubicBezTo>
                  <a:cubicBezTo>
                    <a:pt x="294" y="96"/>
                    <a:pt x="290" y="97"/>
                    <a:pt x="295" y="95"/>
                  </a:cubicBezTo>
                  <a:cubicBezTo>
                    <a:pt x="300" y="94"/>
                    <a:pt x="304" y="97"/>
                    <a:pt x="304" y="91"/>
                  </a:cubicBezTo>
                  <a:cubicBezTo>
                    <a:pt x="304" y="85"/>
                    <a:pt x="306" y="83"/>
                    <a:pt x="300" y="83"/>
                  </a:cubicBezTo>
                  <a:cubicBezTo>
                    <a:pt x="294" y="83"/>
                    <a:pt x="291" y="78"/>
                    <a:pt x="287" y="77"/>
                  </a:cubicBezTo>
                  <a:cubicBezTo>
                    <a:pt x="283" y="76"/>
                    <a:pt x="281" y="74"/>
                    <a:pt x="276" y="74"/>
                  </a:cubicBezTo>
                  <a:cubicBezTo>
                    <a:pt x="271" y="74"/>
                    <a:pt x="267" y="76"/>
                    <a:pt x="267" y="69"/>
                  </a:cubicBezTo>
                  <a:cubicBezTo>
                    <a:pt x="266" y="63"/>
                    <a:pt x="261" y="63"/>
                    <a:pt x="267" y="60"/>
                  </a:cubicBezTo>
                  <a:cubicBezTo>
                    <a:pt x="274" y="58"/>
                    <a:pt x="278" y="60"/>
                    <a:pt x="279" y="54"/>
                  </a:cubicBezTo>
                  <a:cubicBezTo>
                    <a:pt x="280" y="48"/>
                    <a:pt x="280" y="45"/>
                    <a:pt x="283" y="41"/>
                  </a:cubicBezTo>
                  <a:cubicBezTo>
                    <a:pt x="286" y="37"/>
                    <a:pt x="285" y="37"/>
                    <a:pt x="289" y="33"/>
                  </a:cubicBezTo>
                  <a:cubicBezTo>
                    <a:pt x="293" y="28"/>
                    <a:pt x="289" y="28"/>
                    <a:pt x="295" y="24"/>
                  </a:cubicBezTo>
                  <a:cubicBezTo>
                    <a:pt x="301" y="20"/>
                    <a:pt x="287" y="23"/>
                    <a:pt x="303" y="19"/>
                  </a:cubicBezTo>
                  <a:cubicBezTo>
                    <a:pt x="318" y="16"/>
                    <a:pt x="318" y="20"/>
                    <a:pt x="322" y="12"/>
                  </a:cubicBezTo>
                  <a:cubicBezTo>
                    <a:pt x="326" y="4"/>
                    <a:pt x="334" y="1"/>
                    <a:pt x="325" y="1"/>
                  </a:cubicBezTo>
                  <a:cubicBezTo>
                    <a:pt x="316" y="1"/>
                    <a:pt x="316" y="0"/>
                    <a:pt x="310" y="1"/>
                  </a:cubicBezTo>
                  <a:cubicBezTo>
                    <a:pt x="305" y="3"/>
                    <a:pt x="301" y="2"/>
                    <a:pt x="297" y="4"/>
                  </a:cubicBezTo>
                  <a:cubicBezTo>
                    <a:pt x="293" y="6"/>
                    <a:pt x="282" y="4"/>
                    <a:pt x="287" y="7"/>
                  </a:cubicBezTo>
                  <a:cubicBezTo>
                    <a:pt x="291" y="11"/>
                    <a:pt x="297" y="13"/>
                    <a:pt x="294" y="15"/>
                  </a:cubicBezTo>
                  <a:cubicBezTo>
                    <a:pt x="290" y="16"/>
                    <a:pt x="292" y="15"/>
                    <a:pt x="284" y="13"/>
                  </a:cubicBezTo>
                  <a:cubicBezTo>
                    <a:pt x="277" y="12"/>
                    <a:pt x="276" y="11"/>
                    <a:pt x="270" y="13"/>
                  </a:cubicBezTo>
                  <a:cubicBezTo>
                    <a:pt x="265" y="14"/>
                    <a:pt x="261" y="10"/>
                    <a:pt x="257" y="15"/>
                  </a:cubicBezTo>
                  <a:cubicBezTo>
                    <a:pt x="254" y="20"/>
                    <a:pt x="248" y="21"/>
                    <a:pt x="246" y="25"/>
                  </a:cubicBezTo>
                  <a:cubicBezTo>
                    <a:pt x="244" y="28"/>
                    <a:pt x="239" y="29"/>
                    <a:pt x="238" y="34"/>
                  </a:cubicBezTo>
                  <a:cubicBezTo>
                    <a:pt x="237" y="39"/>
                    <a:pt x="234" y="45"/>
                    <a:pt x="231" y="47"/>
                  </a:cubicBezTo>
                  <a:cubicBezTo>
                    <a:pt x="229" y="50"/>
                    <a:pt x="226" y="53"/>
                    <a:pt x="223" y="51"/>
                  </a:cubicBezTo>
                  <a:cubicBezTo>
                    <a:pt x="220" y="49"/>
                    <a:pt x="219" y="48"/>
                    <a:pt x="221" y="45"/>
                  </a:cubicBezTo>
                  <a:cubicBezTo>
                    <a:pt x="223" y="41"/>
                    <a:pt x="219" y="40"/>
                    <a:pt x="224" y="36"/>
                  </a:cubicBezTo>
                  <a:cubicBezTo>
                    <a:pt x="229" y="32"/>
                    <a:pt x="229" y="31"/>
                    <a:pt x="227" y="27"/>
                  </a:cubicBezTo>
                  <a:cubicBezTo>
                    <a:pt x="226" y="23"/>
                    <a:pt x="227" y="20"/>
                    <a:pt x="222" y="20"/>
                  </a:cubicBezTo>
                  <a:cubicBezTo>
                    <a:pt x="217" y="20"/>
                    <a:pt x="208" y="16"/>
                    <a:pt x="207" y="18"/>
                  </a:cubicBezTo>
                  <a:cubicBezTo>
                    <a:pt x="207" y="21"/>
                    <a:pt x="214" y="25"/>
                    <a:pt x="208" y="28"/>
                  </a:cubicBezTo>
                  <a:cubicBezTo>
                    <a:pt x="203" y="30"/>
                    <a:pt x="197" y="31"/>
                    <a:pt x="192" y="32"/>
                  </a:cubicBezTo>
                  <a:cubicBezTo>
                    <a:pt x="186" y="34"/>
                    <a:pt x="176" y="32"/>
                    <a:pt x="183" y="29"/>
                  </a:cubicBezTo>
                  <a:cubicBezTo>
                    <a:pt x="191" y="26"/>
                    <a:pt x="194" y="24"/>
                    <a:pt x="187" y="22"/>
                  </a:cubicBezTo>
                  <a:cubicBezTo>
                    <a:pt x="180" y="20"/>
                    <a:pt x="176" y="16"/>
                    <a:pt x="169" y="18"/>
                  </a:cubicBezTo>
                  <a:cubicBezTo>
                    <a:pt x="162" y="20"/>
                    <a:pt x="165" y="17"/>
                    <a:pt x="156" y="23"/>
                  </a:cubicBezTo>
                  <a:cubicBezTo>
                    <a:pt x="147" y="29"/>
                    <a:pt x="132" y="31"/>
                    <a:pt x="134" y="29"/>
                  </a:cubicBezTo>
                  <a:cubicBezTo>
                    <a:pt x="137" y="26"/>
                    <a:pt x="141" y="27"/>
                    <a:pt x="146" y="22"/>
                  </a:cubicBezTo>
                  <a:cubicBezTo>
                    <a:pt x="151" y="17"/>
                    <a:pt x="154" y="11"/>
                    <a:pt x="148" y="12"/>
                  </a:cubicBezTo>
                  <a:cubicBezTo>
                    <a:pt x="141" y="13"/>
                    <a:pt x="141" y="16"/>
                    <a:pt x="136" y="17"/>
                  </a:cubicBezTo>
                  <a:cubicBezTo>
                    <a:pt x="131" y="17"/>
                    <a:pt x="134" y="16"/>
                    <a:pt x="126" y="17"/>
                  </a:cubicBezTo>
                  <a:cubicBezTo>
                    <a:pt x="118" y="19"/>
                    <a:pt x="118" y="17"/>
                    <a:pt x="109" y="20"/>
                  </a:cubicBezTo>
                  <a:cubicBezTo>
                    <a:pt x="99" y="24"/>
                    <a:pt x="98" y="23"/>
                    <a:pt x="86" y="27"/>
                  </a:cubicBezTo>
                  <a:cubicBezTo>
                    <a:pt x="75" y="31"/>
                    <a:pt x="67" y="32"/>
                    <a:pt x="61" y="36"/>
                  </a:cubicBezTo>
                  <a:cubicBezTo>
                    <a:pt x="56" y="40"/>
                    <a:pt x="43" y="41"/>
                    <a:pt x="34" y="43"/>
                  </a:cubicBezTo>
                  <a:cubicBezTo>
                    <a:pt x="26" y="46"/>
                    <a:pt x="13" y="49"/>
                    <a:pt x="23" y="50"/>
                  </a:cubicBezTo>
                  <a:cubicBezTo>
                    <a:pt x="32" y="52"/>
                    <a:pt x="42" y="44"/>
                    <a:pt x="42" y="51"/>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53" name="Freeform 1222">
              <a:extLst>
                <a:ext uri="{FF2B5EF4-FFF2-40B4-BE49-F238E27FC236}">
                  <a16:creationId xmlns:a16="http://schemas.microsoft.com/office/drawing/2014/main" id="{F50C0EDC-783F-554A-AE75-41B3A842D391}"/>
                </a:ext>
              </a:extLst>
            </p:cNvPr>
            <p:cNvSpPr>
              <a:spLocks/>
            </p:cNvSpPr>
            <p:nvPr/>
          </p:nvSpPr>
          <p:spPr bwMode="auto">
            <a:xfrm>
              <a:off x="4170376" y="822780"/>
              <a:ext cx="460376" cy="311150"/>
            </a:xfrm>
            <a:custGeom>
              <a:avLst/>
              <a:gdLst>
                <a:gd name="T0" fmla="*/ 444 w 484"/>
                <a:gd name="T1" fmla="*/ 24 h 327"/>
                <a:gd name="T2" fmla="*/ 479 w 484"/>
                <a:gd name="T3" fmla="*/ 36 h 327"/>
                <a:gd name="T4" fmla="*/ 454 w 484"/>
                <a:gd name="T5" fmla="*/ 47 h 327"/>
                <a:gd name="T6" fmla="*/ 450 w 484"/>
                <a:gd name="T7" fmla="*/ 41 h 327"/>
                <a:gd name="T8" fmla="*/ 389 w 484"/>
                <a:gd name="T9" fmla="*/ 52 h 327"/>
                <a:gd name="T10" fmla="*/ 325 w 484"/>
                <a:gd name="T11" fmla="*/ 58 h 327"/>
                <a:gd name="T12" fmla="*/ 290 w 484"/>
                <a:gd name="T13" fmla="*/ 54 h 327"/>
                <a:gd name="T14" fmla="*/ 265 w 484"/>
                <a:gd name="T15" fmla="*/ 65 h 327"/>
                <a:gd name="T16" fmla="*/ 221 w 484"/>
                <a:gd name="T17" fmla="*/ 86 h 327"/>
                <a:gd name="T18" fmla="*/ 189 w 484"/>
                <a:gd name="T19" fmla="*/ 123 h 327"/>
                <a:gd name="T20" fmla="*/ 180 w 484"/>
                <a:gd name="T21" fmla="*/ 171 h 327"/>
                <a:gd name="T22" fmla="*/ 141 w 484"/>
                <a:gd name="T23" fmla="*/ 204 h 327"/>
                <a:gd name="T24" fmla="*/ 158 w 484"/>
                <a:gd name="T25" fmla="*/ 240 h 327"/>
                <a:gd name="T26" fmla="*/ 153 w 484"/>
                <a:gd name="T27" fmla="*/ 265 h 327"/>
                <a:gd name="T28" fmla="*/ 138 w 484"/>
                <a:gd name="T29" fmla="*/ 291 h 327"/>
                <a:gd name="T30" fmla="*/ 126 w 484"/>
                <a:gd name="T31" fmla="*/ 300 h 327"/>
                <a:gd name="T32" fmla="*/ 112 w 484"/>
                <a:gd name="T33" fmla="*/ 283 h 327"/>
                <a:gd name="T34" fmla="*/ 78 w 484"/>
                <a:gd name="T35" fmla="*/ 313 h 327"/>
                <a:gd name="T36" fmla="*/ 44 w 484"/>
                <a:gd name="T37" fmla="*/ 326 h 327"/>
                <a:gd name="T38" fmla="*/ 12 w 484"/>
                <a:gd name="T39" fmla="*/ 306 h 327"/>
                <a:gd name="T40" fmla="*/ 11 w 484"/>
                <a:gd name="T41" fmla="*/ 292 h 327"/>
                <a:gd name="T42" fmla="*/ 12 w 484"/>
                <a:gd name="T43" fmla="*/ 273 h 327"/>
                <a:gd name="T44" fmla="*/ 1 w 484"/>
                <a:gd name="T45" fmla="*/ 249 h 327"/>
                <a:gd name="T46" fmla="*/ 23 w 484"/>
                <a:gd name="T47" fmla="*/ 218 h 327"/>
                <a:gd name="T48" fmla="*/ 56 w 484"/>
                <a:gd name="T49" fmla="*/ 209 h 327"/>
                <a:gd name="T50" fmla="*/ 73 w 484"/>
                <a:gd name="T51" fmla="*/ 188 h 327"/>
                <a:gd name="T52" fmla="*/ 120 w 484"/>
                <a:gd name="T53" fmla="*/ 187 h 327"/>
                <a:gd name="T54" fmla="*/ 98 w 484"/>
                <a:gd name="T55" fmla="*/ 178 h 327"/>
                <a:gd name="T56" fmla="*/ 118 w 484"/>
                <a:gd name="T57" fmla="*/ 163 h 327"/>
                <a:gd name="T58" fmla="*/ 147 w 484"/>
                <a:gd name="T59" fmla="*/ 147 h 327"/>
                <a:gd name="T60" fmla="*/ 156 w 484"/>
                <a:gd name="T61" fmla="*/ 126 h 327"/>
                <a:gd name="T62" fmla="*/ 170 w 484"/>
                <a:gd name="T63" fmla="*/ 107 h 327"/>
                <a:gd name="T64" fmla="*/ 201 w 484"/>
                <a:gd name="T65" fmla="*/ 82 h 327"/>
                <a:gd name="T66" fmla="*/ 192 w 484"/>
                <a:gd name="T67" fmla="*/ 69 h 327"/>
                <a:gd name="T68" fmla="*/ 162 w 484"/>
                <a:gd name="T69" fmla="*/ 73 h 327"/>
                <a:gd name="T70" fmla="*/ 198 w 484"/>
                <a:gd name="T71" fmla="*/ 54 h 327"/>
                <a:gd name="T72" fmla="*/ 224 w 484"/>
                <a:gd name="T73" fmla="*/ 60 h 327"/>
                <a:gd name="T74" fmla="*/ 229 w 484"/>
                <a:gd name="T75" fmla="*/ 43 h 327"/>
                <a:gd name="T76" fmla="*/ 269 w 484"/>
                <a:gd name="T77" fmla="*/ 30 h 327"/>
                <a:gd name="T78" fmla="*/ 287 w 484"/>
                <a:gd name="T79" fmla="*/ 29 h 327"/>
                <a:gd name="T80" fmla="*/ 307 w 484"/>
                <a:gd name="T81" fmla="*/ 34 h 327"/>
                <a:gd name="T82" fmla="*/ 328 w 484"/>
                <a:gd name="T83" fmla="*/ 14 h 327"/>
                <a:gd name="T84" fmla="*/ 337 w 484"/>
                <a:gd name="T85" fmla="*/ 30 h 327"/>
                <a:gd name="T86" fmla="*/ 358 w 484"/>
                <a:gd name="T87" fmla="*/ 14 h 327"/>
                <a:gd name="T88" fmla="*/ 387 w 484"/>
                <a:gd name="T89" fmla="*/ 7 h 327"/>
                <a:gd name="T90" fmla="*/ 376 w 484"/>
                <a:gd name="T91" fmla="*/ 27 h 327"/>
                <a:gd name="T92" fmla="*/ 398 w 484"/>
                <a:gd name="T93" fmla="*/ 16 h 327"/>
                <a:gd name="T94" fmla="*/ 426 w 484"/>
                <a:gd name="T95" fmla="*/ 2 h 327"/>
                <a:gd name="T96" fmla="*/ 432 w 484"/>
                <a:gd name="T97" fmla="*/ 18 h 327"/>
                <a:gd name="T98" fmla="*/ 462 w 484"/>
                <a:gd name="T99" fmla="*/ 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4" h="327">
                  <a:moveTo>
                    <a:pt x="480" y="22"/>
                  </a:moveTo>
                  <a:cubicBezTo>
                    <a:pt x="476" y="24"/>
                    <a:pt x="473" y="23"/>
                    <a:pt x="467" y="25"/>
                  </a:cubicBezTo>
                  <a:cubicBezTo>
                    <a:pt x="461" y="26"/>
                    <a:pt x="455" y="26"/>
                    <a:pt x="453" y="25"/>
                  </a:cubicBezTo>
                  <a:cubicBezTo>
                    <a:pt x="451" y="25"/>
                    <a:pt x="445" y="22"/>
                    <a:pt x="444" y="24"/>
                  </a:cubicBezTo>
                  <a:cubicBezTo>
                    <a:pt x="442" y="25"/>
                    <a:pt x="435" y="24"/>
                    <a:pt x="441" y="26"/>
                  </a:cubicBezTo>
                  <a:cubicBezTo>
                    <a:pt x="447" y="29"/>
                    <a:pt x="444" y="27"/>
                    <a:pt x="454" y="30"/>
                  </a:cubicBezTo>
                  <a:cubicBezTo>
                    <a:pt x="464" y="32"/>
                    <a:pt x="468" y="34"/>
                    <a:pt x="472" y="35"/>
                  </a:cubicBezTo>
                  <a:cubicBezTo>
                    <a:pt x="476" y="36"/>
                    <a:pt x="475" y="37"/>
                    <a:pt x="479" y="36"/>
                  </a:cubicBezTo>
                  <a:cubicBezTo>
                    <a:pt x="479" y="38"/>
                    <a:pt x="479" y="40"/>
                    <a:pt x="478" y="40"/>
                  </a:cubicBezTo>
                  <a:cubicBezTo>
                    <a:pt x="477" y="41"/>
                    <a:pt x="473" y="40"/>
                    <a:pt x="471" y="39"/>
                  </a:cubicBezTo>
                  <a:cubicBezTo>
                    <a:pt x="469" y="38"/>
                    <a:pt x="467" y="39"/>
                    <a:pt x="467" y="41"/>
                  </a:cubicBezTo>
                  <a:cubicBezTo>
                    <a:pt x="466" y="43"/>
                    <a:pt x="459" y="46"/>
                    <a:pt x="454" y="47"/>
                  </a:cubicBezTo>
                  <a:cubicBezTo>
                    <a:pt x="450" y="48"/>
                    <a:pt x="447" y="54"/>
                    <a:pt x="443" y="56"/>
                  </a:cubicBezTo>
                  <a:cubicBezTo>
                    <a:pt x="443" y="56"/>
                    <a:pt x="443" y="56"/>
                    <a:pt x="443" y="56"/>
                  </a:cubicBezTo>
                  <a:cubicBezTo>
                    <a:pt x="438" y="58"/>
                    <a:pt x="440" y="57"/>
                    <a:pt x="441" y="52"/>
                  </a:cubicBezTo>
                  <a:cubicBezTo>
                    <a:pt x="442" y="46"/>
                    <a:pt x="445" y="48"/>
                    <a:pt x="450" y="41"/>
                  </a:cubicBezTo>
                  <a:cubicBezTo>
                    <a:pt x="454" y="34"/>
                    <a:pt x="433" y="33"/>
                    <a:pt x="425" y="29"/>
                  </a:cubicBezTo>
                  <a:cubicBezTo>
                    <a:pt x="418" y="25"/>
                    <a:pt x="416" y="31"/>
                    <a:pt x="408" y="31"/>
                  </a:cubicBezTo>
                  <a:cubicBezTo>
                    <a:pt x="400" y="31"/>
                    <a:pt x="396" y="34"/>
                    <a:pt x="391" y="38"/>
                  </a:cubicBezTo>
                  <a:cubicBezTo>
                    <a:pt x="387" y="41"/>
                    <a:pt x="389" y="43"/>
                    <a:pt x="389" y="52"/>
                  </a:cubicBezTo>
                  <a:cubicBezTo>
                    <a:pt x="390" y="60"/>
                    <a:pt x="380" y="60"/>
                    <a:pt x="375" y="62"/>
                  </a:cubicBezTo>
                  <a:cubicBezTo>
                    <a:pt x="370" y="64"/>
                    <a:pt x="366" y="61"/>
                    <a:pt x="360" y="59"/>
                  </a:cubicBezTo>
                  <a:cubicBezTo>
                    <a:pt x="354" y="57"/>
                    <a:pt x="352" y="61"/>
                    <a:pt x="349" y="62"/>
                  </a:cubicBezTo>
                  <a:cubicBezTo>
                    <a:pt x="346" y="62"/>
                    <a:pt x="331" y="60"/>
                    <a:pt x="325" y="58"/>
                  </a:cubicBezTo>
                  <a:cubicBezTo>
                    <a:pt x="318" y="56"/>
                    <a:pt x="318" y="51"/>
                    <a:pt x="315" y="48"/>
                  </a:cubicBezTo>
                  <a:cubicBezTo>
                    <a:pt x="311" y="45"/>
                    <a:pt x="308" y="50"/>
                    <a:pt x="302" y="51"/>
                  </a:cubicBezTo>
                  <a:cubicBezTo>
                    <a:pt x="301" y="52"/>
                    <a:pt x="300" y="52"/>
                    <a:pt x="300" y="52"/>
                  </a:cubicBezTo>
                  <a:cubicBezTo>
                    <a:pt x="295" y="53"/>
                    <a:pt x="292" y="53"/>
                    <a:pt x="290" y="54"/>
                  </a:cubicBezTo>
                  <a:cubicBezTo>
                    <a:pt x="288" y="55"/>
                    <a:pt x="290" y="57"/>
                    <a:pt x="288" y="59"/>
                  </a:cubicBezTo>
                  <a:cubicBezTo>
                    <a:pt x="286" y="61"/>
                    <a:pt x="289" y="64"/>
                    <a:pt x="286" y="66"/>
                  </a:cubicBezTo>
                  <a:cubicBezTo>
                    <a:pt x="284" y="68"/>
                    <a:pt x="280" y="68"/>
                    <a:pt x="276" y="68"/>
                  </a:cubicBezTo>
                  <a:cubicBezTo>
                    <a:pt x="272" y="68"/>
                    <a:pt x="271" y="66"/>
                    <a:pt x="265" y="65"/>
                  </a:cubicBezTo>
                  <a:cubicBezTo>
                    <a:pt x="259" y="64"/>
                    <a:pt x="258" y="65"/>
                    <a:pt x="252" y="65"/>
                  </a:cubicBezTo>
                  <a:cubicBezTo>
                    <a:pt x="245" y="65"/>
                    <a:pt x="252" y="73"/>
                    <a:pt x="252" y="75"/>
                  </a:cubicBezTo>
                  <a:cubicBezTo>
                    <a:pt x="251" y="77"/>
                    <a:pt x="235" y="76"/>
                    <a:pt x="232" y="76"/>
                  </a:cubicBezTo>
                  <a:cubicBezTo>
                    <a:pt x="229" y="76"/>
                    <a:pt x="224" y="84"/>
                    <a:pt x="221" y="86"/>
                  </a:cubicBezTo>
                  <a:cubicBezTo>
                    <a:pt x="218" y="89"/>
                    <a:pt x="219" y="93"/>
                    <a:pt x="221" y="97"/>
                  </a:cubicBezTo>
                  <a:cubicBezTo>
                    <a:pt x="223" y="102"/>
                    <a:pt x="216" y="105"/>
                    <a:pt x="211" y="108"/>
                  </a:cubicBezTo>
                  <a:cubicBezTo>
                    <a:pt x="206" y="112"/>
                    <a:pt x="205" y="115"/>
                    <a:pt x="204" y="117"/>
                  </a:cubicBezTo>
                  <a:cubicBezTo>
                    <a:pt x="203" y="120"/>
                    <a:pt x="191" y="123"/>
                    <a:pt x="189" y="123"/>
                  </a:cubicBezTo>
                  <a:cubicBezTo>
                    <a:pt x="187" y="123"/>
                    <a:pt x="187" y="136"/>
                    <a:pt x="187" y="140"/>
                  </a:cubicBezTo>
                  <a:cubicBezTo>
                    <a:pt x="187" y="144"/>
                    <a:pt x="177" y="154"/>
                    <a:pt x="173" y="158"/>
                  </a:cubicBezTo>
                  <a:cubicBezTo>
                    <a:pt x="168" y="163"/>
                    <a:pt x="176" y="161"/>
                    <a:pt x="180" y="164"/>
                  </a:cubicBezTo>
                  <a:cubicBezTo>
                    <a:pt x="183" y="167"/>
                    <a:pt x="181" y="169"/>
                    <a:pt x="180" y="171"/>
                  </a:cubicBezTo>
                  <a:cubicBezTo>
                    <a:pt x="179" y="174"/>
                    <a:pt x="160" y="174"/>
                    <a:pt x="156" y="174"/>
                  </a:cubicBezTo>
                  <a:cubicBezTo>
                    <a:pt x="152" y="175"/>
                    <a:pt x="147" y="179"/>
                    <a:pt x="144" y="183"/>
                  </a:cubicBezTo>
                  <a:cubicBezTo>
                    <a:pt x="142" y="186"/>
                    <a:pt x="141" y="190"/>
                    <a:pt x="143" y="194"/>
                  </a:cubicBezTo>
                  <a:cubicBezTo>
                    <a:pt x="145" y="198"/>
                    <a:pt x="144" y="201"/>
                    <a:pt x="141" y="204"/>
                  </a:cubicBezTo>
                  <a:cubicBezTo>
                    <a:pt x="138" y="208"/>
                    <a:pt x="143" y="209"/>
                    <a:pt x="145" y="214"/>
                  </a:cubicBezTo>
                  <a:cubicBezTo>
                    <a:pt x="146" y="219"/>
                    <a:pt x="145" y="223"/>
                    <a:pt x="145" y="225"/>
                  </a:cubicBezTo>
                  <a:cubicBezTo>
                    <a:pt x="145" y="228"/>
                    <a:pt x="146" y="234"/>
                    <a:pt x="149" y="236"/>
                  </a:cubicBezTo>
                  <a:cubicBezTo>
                    <a:pt x="153" y="238"/>
                    <a:pt x="154" y="238"/>
                    <a:pt x="158" y="240"/>
                  </a:cubicBezTo>
                  <a:cubicBezTo>
                    <a:pt x="162" y="243"/>
                    <a:pt x="159" y="245"/>
                    <a:pt x="155" y="248"/>
                  </a:cubicBezTo>
                  <a:cubicBezTo>
                    <a:pt x="152" y="251"/>
                    <a:pt x="151" y="249"/>
                    <a:pt x="148" y="251"/>
                  </a:cubicBezTo>
                  <a:cubicBezTo>
                    <a:pt x="145" y="253"/>
                    <a:pt x="148" y="256"/>
                    <a:pt x="150" y="260"/>
                  </a:cubicBezTo>
                  <a:cubicBezTo>
                    <a:pt x="152" y="264"/>
                    <a:pt x="153" y="263"/>
                    <a:pt x="153" y="265"/>
                  </a:cubicBezTo>
                  <a:cubicBezTo>
                    <a:pt x="153" y="267"/>
                    <a:pt x="152" y="271"/>
                    <a:pt x="150" y="275"/>
                  </a:cubicBezTo>
                  <a:cubicBezTo>
                    <a:pt x="147" y="280"/>
                    <a:pt x="147" y="277"/>
                    <a:pt x="143" y="279"/>
                  </a:cubicBezTo>
                  <a:cubicBezTo>
                    <a:pt x="138" y="280"/>
                    <a:pt x="140" y="280"/>
                    <a:pt x="139" y="284"/>
                  </a:cubicBezTo>
                  <a:cubicBezTo>
                    <a:pt x="137" y="288"/>
                    <a:pt x="137" y="288"/>
                    <a:pt x="138" y="291"/>
                  </a:cubicBezTo>
                  <a:cubicBezTo>
                    <a:pt x="139" y="294"/>
                    <a:pt x="138" y="297"/>
                    <a:pt x="137" y="300"/>
                  </a:cubicBezTo>
                  <a:cubicBezTo>
                    <a:pt x="136" y="303"/>
                    <a:pt x="135" y="305"/>
                    <a:pt x="134" y="305"/>
                  </a:cubicBezTo>
                  <a:cubicBezTo>
                    <a:pt x="132" y="304"/>
                    <a:pt x="131" y="303"/>
                    <a:pt x="129" y="301"/>
                  </a:cubicBezTo>
                  <a:cubicBezTo>
                    <a:pt x="128" y="299"/>
                    <a:pt x="127" y="299"/>
                    <a:pt x="126" y="300"/>
                  </a:cubicBezTo>
                  <a:cubicBezTo>
                    <a:pt x="126" y="300"/>
                    <a:pt x="126" y="300"/>
                    <a:pt x="126" y="300"/>
                  </a:cubicBezTo>
                  <a:cubicBezTo>
                    <a:pt x="125" y="299"/>
                    <a:pt x="125" y="299"/>
                    <a:pt x="124" y="298"/>
                  </a:cubicBezTo>
                  <a:cubicBezTo>
                    <a:pt x="117" y="292"/>
                    <a:pt x="114" y="293"/>
                    <a:pt x="114" y="288"/>
                  </a:cubicBezTo>
                  <a:cubicBezTo>
                    <a:pt x="114" y="283"/>
                    <a:pt x="115" y="279"/>
                    <a:pt x="112" y="283"/>
                  </a:cubicBezTo>
                  <a:cubicBezTo>
                    <a:pt x="108" y="288"/>
                    <a:pt x="105" y="292"/>
                    <a:pt x="105" y="295"/>
                  </a:cubicBezTo>
                  <a:cubicBezTo>
                    <a:pt x="106" y="298"/>
                    <a:pt x="110" y="299"/>
                    <a:pt x="103" y="301"/>
                  </a:cubicBezTo>
                  <a:cubicBezTo>
                    <a:pt x="95" y="302"/>
                    <a:pt x="93" y="299"/>
                    <a:pt x="90" y="303"/>
                  </a:cubicBezTo>
                  <a:cubicBezTo>
                    <a:pt x="87" y="307"/>
                    <a:pt x="83" y="309"/>
                    <a:pt x="78" y="313"/>
                  </a:cubicBezTo>
                  <a:cubicBezTo>
                    <a:pt x="72" y="317"/>
                    <a:pt x="69" y="320"/>
                    <a:pt x="68" y="322"/>
                  </a:cubicBezTo>
                  <a:cubicBezTo>
                    <a:pt x="67" y="324"/>
                    <a:pt x="70" y="325"/>
                    <a:pt x="65" y="325"/>
                  </a:cubicBezTo>
                  <a:cubicBezTo>
                    <a:pt x="59" y="325"/>
                    <a:pt x="60" y="326"/>
                    <a:pt x="55" y="326"/>
                  </a:cubicBezTo>
                  <a:cubicBezTo>
                    <a:pt x="50" y="326"/>
                    <a:pt x="50" y="326"/>
                    <a:pt x="44" y="326"/>
                  </a:cubicBezTo>
                  <a:cubicBezTo>
                    <a:pt x="38" y="327"/>
                    <a:pt x="38" y="327"/>
                    <a:pt x="34" y="327"/>
                  </a:cubicBezTo>
                  <a:cubicBezTo>
                    <a:pt x="29" y="327"/>
                    <a:pt x="28" y="327"/>
                    <a:pt x="25" y="326"/>
                  </a:cubicBezTo>
                  <a:cubicBezTo>
                    <a:pt x="23" y="324"/>
                    <a:pt x="20" y="319"/>
                    <a:pt x="17" y="316"/>
                  </a:cubicBezTo>
                  <a:cubicBezTo>
                    <a:pt x="14" y="314"/>
                    <a:pt x="10" y="308"/>
                    <a:pt x="12" y="306"/>
                  </a:cubicBezTo>
                  <a:cubicBezTo>
                    <a:pt x="14" y="304"/>
                    <a:pt x="13" y="304"/>
                    <a:pt x="19" y="303"/>
                  </a:cubicBezTo>
                  <a:cubicBezTo>
                    <a:pt x="25" y="302"/>
                    <a:pt x="24" y="296"/>
                    <a:pt x="21" y="296"/>
                  </a:cubicBezTo>
                  <a:cubicBezTo>
                    <a:pt x="19" y="295"/>
                    <a:pt x="22" y="292"/>
                    <a:pt x="18" y="292"/>
                  </a:cubicBezTo>
                  <a:cubicBezTo>
                    <a:pt x="13" y="292"/>
                    <a:pt x="12" y="292"/>
                    <a:pt x="11" y="292"/>
                  </a:cubicBezTo>
                  <a:cubicBezTo>
                    <a:pt x="10" y="291"/>
                    <a:pt x="21" y="287"/>
                    <a:pt x="17" y="285"/>
                  </a:cubicBezTo>
                  <a:cubicBezTo>
                    <a:pt x="13" y="283"/>
                    <a:pt x="18" y="278"/>
                    <a:pt x="15" y="278"/>
                  </a:cubicBezTo>
                  <a:cubicBezTo>
                    <a:pt x="12" y="279"/>
                    <a:pt x="13" y="276"/>
                    <a:pt x="11" y="276"/>
                  </a:cubicBezTo>
                  <a:cubicBezTo>
                    <a:pt x="9" y="276"/>
                    <a:pt x="14" y="273"/>
                    <a:pt x="12" y="273"/>
                  </a:cubicBezTo>
                  <a:cubicBezTo>
                    <a:pt x="11" y="273"/>
                    <a:pt x="12" y="272"/>
                    <a:pt x="9" y="270"/>
                  </a:cubicBezTo>
                  <a:cubicBezTo>
                    <a:pt x="6" y="269"/>
                    <a:pt x="6" y="265"/>
                    <a:pt x="4" y="264"/>
                  </a:cubicBezTo>
                  <a:cubicBezTo>
                    <a:pt x="3" y="263"/>
                    <a:pt x="10" y="259"/>
                    <a:pt x="6" y="256"/>
                  </a:cubicBezTo>
                  <a:cubicBezTo>
                    <a:pt x="1" y="253"/>
                    <a:pt x="1" y="251"/>
                    <a:pt x="1" y="249"/>
                  </a:cubicBezTo>
                  <a:cubicBezTo>
                    <a:pt x="2" y="246"/>
                    <a:pt x="15" y="241"/>
                    <a:pt x="8" y="239"/>
                  </a:cubicBezTo>
                  <a:cubicBezTo>
                    <a:pt x="0" y="237"/>
                    <a:pt x="0" y="225"/>
                    <a:pt x="7" y="225"/>
                  </a:cubicBezTo>
                  <a:cubicBezTo>
                    <a:pt x="15" y="226"/>
                    <a:pt x="10" y="217"/>
                    <a:pt x="15" y="218"/>
                  </a:cubicBezTo>
                  <a:cubicBezTo>
                    <a:pt x="20" y="218"/>
                    <a:pt x="16" y="217"/>
                    <a:pt x="23" y="218"/>
                  </a:cubicBezTo>
                  <a:cubicBezTo>
                    <a:pt x="31" y="219"/>
                    <a:pt x="28" y="215"/>
                    <a:pt x="33" y="215"/>
                  </a:cubicBezTo>
                  <a:cubicBezTo>
                    <a:pt x="38" y="216"/>
                    <a:pt x="33" y="211"/>
                    <a:pt x="39" y="211"/>
                  </a:cubicBezTo>
                  <a:cubicBezTo>
                    <a:pt x="46" y="212"/>
                    <a:pt x="41" y="211"/>
                    <a:pt x="48" y="211"/>
                  </a:cubicBezTo>
                  <a:cubicBezTo>
                    <a:pt x="55" y="212"/>
                    <a:pt x="54" y="211"/>
                    <a:pt x="56" y="209"/>
                  </a:cubicBezTo>
                  <a:cubicBezTo>
                    <a:pt x="57" y="207"/>
                    <a:pt x="42" y="202"/>
                    <a:pt x="54" y="203"/>
                  </a:cubicBezTo>
                  <a:cubicBezTo>
                    <a:pt x="66" y="204"/>
                    <a:pt x="59" y="202"/>
                    <a:pt x="65" y="200"/>
                  </a:cubicBezTo>
                  <a:cubicBezTo>
                    <a:pt x="70" y="198"/>
                    <a:pt x="64" y="194"/>
                    <a:pt x="70" y="195"/>
                  </a:cubicBezTo>
                  <a:cubicBezTo>
                    <a:pt x="76" y="195"/>
                    <a:pt x="66" y="186"/>
                    <a:pt x="73" y="188"/>
                  </a:cubicBezTo>
                  <a:cubicBezTo>
                    <a:pt x="80" y="189"/>
                    <a:pt x="74" y="180"/>
                    <a:pt x="82" y="183"/>
                  </a:cubicBezTo>
                  <a:cubicBezTo>
                    <a:pt x="91" y="186"/>
                    <a:pt x="91" y="181"/>
                    <a:pt x="98" y="185"/>
                  </a:cubicBezTo>
                  <a:cubicBezTo>
                    <a:pt x="105" y="189"/>
                    <a:pt x="101" y="190"/>
                    <a:pt x="110" y="189"/>
                  </a:cubicBezTo>
                  <a:cubicBezTo>
                    <a:pt x="119" y="189"/>
                    <a:pt x="120" y="191"/>
                    <a:pt x="120" y="187"/>
                  </a:cubicBezTo>
                  <a:cubicBezTo>
                    <a:pt x="120" y="182"/>
                    <a:pt x="121" y="180"/>
                    <a:pt x="115" y="182"/>
                  </a:cubicBezTo>
                  <a:cubicBezTo>
                    <a:pt x="110" y="183"/>
                    <a:pt x="114" y="183"/>
                    <a:pt x="108" y="183"/>
                  </a:cubicBezTo>
                  <a:cubicBezTo>
                    <a:pt x="101" y="182"/>
                    <a:pt x="100" y="183"/>
                    <a:pt x="98" y="181"/>
                  </a:cubicBezTo>
                  <a:cubicBezTo>
                    <a:pt x="96" y="180"/>
                    <a:pt x="95" y="179"/>
                    <a:pt x="98" y="178"/>
                  </a:cubicBezTo>
                  <a:cubicBezTo>
                    <a:pt x="101" y="177"/>
                    <a:pt x="100" y="175"/>
                    <a:pt x="103" y="174"/>
                  </a:cubicBezTo>
                  <a:cubicBezTo>
                    <a:pt x="107" y="173"/>
                    <a:pt x="107" y="171"/>
                    <a:pt x="109" y="170"/>
                  </a:cubicBezTo>
                  <a:cubicBezTo>
                    <a:pt x="111" y="170"/>
                    <a:pt x="108" y="168"/>
                    <a:pt x="112" y="167"/>
                  </a:cubicBezTo>
                  <a:cubicBezTo>
                    <a:pt x="116" y="166"/>
                    <a:pt x="114" y="166"/>
                    <a:pt x="118" y="163"/>
                  </a:cubicBezTo>
                  <a:cubicBezTo>
                    <a:pt x="122" y="160"/>
                    <a:pt x="119" y="158"/>
                    <a:pt x="123" y="158"/>
                  </a:cubicBezTo>
                  <a:cubicBezTo>
                    <a:pt x="128" y="158"/>
                    <a:pt x="129" y="154"/>
                    <a:pt x="131" y="154"/>
                  </a:cubicBezTo>
                  <a:cubicBezTo>
                    <a:pt x="134" y="154"/>
                    <a:pt x="129" y="150"/>
                    <a:pt x="137" y="150"/>
                  </a:cubicBezTo>
                  <a:cubicBezTo>
                    <a:pt x="146" y="150"/>
                    <a:pt x="146" y="147"/>
                    <a:pt x="147" y="147"/>
                  </a:cubicBezTo>
                  <a:cubicBezTo>
                    <a:pt x="146" y="146"/>
                    <a:pt x="141" y="144"/>
                    <a:pt x="146" y="142"/>
                  </a:cubicBezTo>
                  <a:cubicBezTo>
                    <a:pt x="151" y="140"/>
                    <a:pt x="146" y="137"/>
                    <a:pt x="151" y="136"/>
                  </a:cubicBezTo>
                  <a:cubicBezTo>
                    <a:pt x="156" y="135"/>
                    <a:pt x="145" y="132"/>
                    <a:pt x="150" y="131"/>
                  </a:cubicBezTo>
                  <a:cubicBezTo>
                    <a:pt x="156" y="130"/>
                    <a:pt x="153" y="127"/>
                    <a:pt x="156" y="126"/>
                  </a:cubicBezTo>
                  <a:cubicBezTo>
                    <a:pt x="160" y="125"/>
                    <a:pt x="150" y="122"/>
                    <a:pt x="157" y="122"/>
                  </a:cubicBezTo>
                  <a:cubicBezTo>
                    <a:pt x="165" y="122"/>
                    <a:pt x="159" y="115"/>
                    <a:pt x="163" y="115"/>
                  </a:cubicBezTo>
                  <a:cubicBezTo>
                    <a:pt x="167" y="115"/>
                    <a:pt x="161" y="112"/>
                    <a:pt x="166" y="112"/>
                  </a:cubicBezTo>
                  <a:cubicBezTo>
                    <a:pt x="171" y="111"/>
                    <a:pt x="164" y="108"/>
                    <a:pt x="170" y="107"/>
                  </a:cubicBezTo>
                  <a:cubicBezTo>
                    <a:pt x="177" y="105"/>
                    <a:pt x="174" y="102"/>
                    <a:pt x="180" y="102"/>
                  </a:cubicBezTo>
                  <a:cubicBezTo>
                    <a:pt x="187" y="102"/>
                    <a:pt x="174" y="96"/>
                    <a:pt x="186" y="93"/>
                  </a:cubicBezTo>
                  <a:cubicBezTo>
                    <a:pt x="198" y="91"/>
                    <a:pt x="189" y="88"/>
                    <a:pt x="194" y="87"/>
                  </a:cubicBezTo>
                  <a:cubicBezTo>
                    <a:pt x="199" y="87"/>
                    <a:pt x="197" y="84"/>
                    <a:pt x="201" y="82"/>
                  </a:cubicBezTo>
                  <a:cubicBezTo>
                    <a:pt x="205" y="80"/>
                    <a:pt x="198" y="80"/>
                    <a:pt x="205" y="77"/>
                  </a:cubicBezTo>
                  <a:cubicBezTo>
                    <a:pt x="212" y="74"/>
                    <a:pt x="207" y="74"/>
                    <a:pt x="210" y="72"/>
                  </a:cubicBezTo>
                  <a:cubicBezTo>
                    <a:pt x="213" y="70"/>
                    <a:pt x="206" y="69"/>
                    <a:pt x="202" y="69"/>
                  </a:cubicBezTo>
                  <a:cubicBezTo>
                    <a:pt x="198" y="70"/>
                    <a:pt x="195" y="66"/>
                    <a:pt x="192" y="69"/>
                  </a:cubicBezTo>
                  <a:cubicBezTo>
                    <a:pt x="190" y="73"/>
                    <a:pt x="185" y="71"/>
                    <a:pt x="179" y="73"/>
                  </a:cubicBezTo>
                  <a:cubicBezTo>
                    <a:pt x="174" y="75"/>
                    <a:pt x="176" y="72"/>
                    <a:pt x="169" y="76"/>
                  </a:cubicBezTo>
                  <a:cubicBezTo>
                    <a:pt x="161" y="80"/>
                    <a:pt x="149" y="79"/>
                    <a:pt x="154" y="76"/>
                  </a:cubicBezTo>
                  <a:cubicBezTo>
                    <a:pt x="158" y="73"/>
                    <a:pt x="155" y="74"/>
                    <a:pt x="162" y="73"/>
                  </a:cubicBezTo>
                  <a:cubicBezTo>
                    <a:pt x="169" y="72"/>
                    <a:pt x="172" y="71"/>
                    <a:pt x="176" y="70"/>
                  </a:cubicBezTo>
                  <a:cubicBezTo>
                    <a:pt x="179" y="68"/>
                    <a:pt x="179" y="68"/>
                    <a:pt x="183" y="65"/>
                  </a:cubicBezTo>
                  <a:cubicBezTo>
                    <a:pt x="188" y="63"/>
                    <a:pt x="181" y="60"/>
                    <a:pt x="189" y="59"/>
                  </a:cubicBezTo>
                  <a:cubicBezTo>
                    <a:pt x="197" y="57"/>
                    <a:pt x="189" y="53"/>
                    <a:pt x="198" y="54"/>
                  </a:cubicBezTo>
                  <a:cubicBezTo>
                    <a:pt x="207" y="54"/>
                    <a:pt x="209" y="49"/>
                    <a:pt x="209" y="51"/>
                  </a:cubicBezTo>
                  <a:cubicBezTo>
                    <a:pt x="210" y="54"/>
                    <a:pt x="209" y="55"/>
                    <a:pt x="213" y="57"/>
                  </a:cubicBezTo>
                  <a:cubicBezTo>
                    <a:pt x="218" y="58"/>
                    <a:pt x="219" y="59"/>
                    <a:pt x="222" y="59"/>
                  </a:cubicBezTo>
                  <a:cubicBezTo>
                    <a:pt x="225" y="59"/>
                    <a:pt x="220" y="63"/>
                    <a:pt x="224" y="60"/>
                  </a:cubicBezTo>
                  <a:cubicBezTo>
                    <a:pt x="228" y="58"/>
                    <a:pt x="236" y="58"/>
                    <a:pt x="237" y="58"/>
                  </a:cubicBezTo>
                  <a:cubicBezTo>
                    <a:pt x="239" y="58"/>
                    <a:pt x="244" y="49"/>
                    <a:pt x="239" y="51"/>
                  </a:cubicBezTo>
                  <a:cubicBezTo>
                    <a:pt x="233" y="52"/>
                    <a:pt x="226" y="54"/>
                    <a:pt x="227" y="50"/>
                  </a:cubicBezTo>
                  <a:cubicBezTo>
                    <a:pt x="228" y="47"/>
                    <a:pt x="217" y="43"/>
                    <a:pt x="229" y="43"/>
                  </a:cubicBezTo>
                  <a:cubicBezTo>
                    <a:pt x="240" y="42"/>
                    <a:pt x="232" y="38"/>
                    <a:pt x="244" y="39"/>
                  </a:cubicBezTo>
                  <a:cubicBezTo>
                    <a:pt x="255" y="39"/>
                    <a:pt x="257" y="39"/>
                    <a:pt x="258" y="39"/>
                  </a:cubicBezTo>
                  <a:cubicBezTo>
                    <a:pt x="259" y="38"/>
                    <a:pt x="259" y="32"/>
                    <a:pt x="260" y="32"/>
                  </a:cubicBezTo>
                  <a:cubicBezTo>
                    <a:pt x="262" y="33"/>
                    <a:pt x="262" y="30"/>
                    <a:pt x="269" y="30"/>
                  </a:cubicBezTo>
                  <a:cubicBezTo>
                    <a:pt x="276" y="30"/>
                    <a:pt x="276" y="25"/>
                    <a:pt x="276" y="28"/>
                  </a:cubicBezTo>
                  <a:cubicBezTo>
                    <a:pt x="276" y="30"/>
                    <a:pt x="280" y="25"/>
                    <a:pt x="280" y="28"/>
                  </a:cubicBezTo>
                  <a:cubicBezTo>
                    <a:pt x="280" y="32"/>
                    <a:pt x="270" y="49"/>
                    <a:pt x="278" y="41"/>
                  </a:cubicBezTo>
                  <a:cubicBezTo>
                    <a:pt x="286" y="33"/>
                    <a:pt x="284" y="26"/>
                    <a:pt x="287" y="29"/>
                  </a:cubicBezTo>
                  <a:cubicBezTo>
                    <a:pt x="290" y="31"/>
                    <a:pt x="293" y="24"/>
                    <a:pt x="295" y="26"/>
                  </a:cubicBezTo>
                  <a:cubicBezTo>
                    <a:pt x="297" y="28"/>
                    <a:pt x="303" y="29"/>
                    <a:pt x="300" y="31"/>
                  </a:cubicBezTo>
                  <a:cubicBezTo>
                    <a:pt x="296" y="34"/>
                    <a:pt x="287" y="38"/>
                    <a:pt x="291" y="38"/>
                  </a:cubicBezTo>
                  <a:cubicBezTo>
                    <a:pt x="294" y="38"/>
                    <a:pt x="305" y="35"/>
                    <a:pt x="307" y="34"/>
                  </a:cubicBezTo>
                  <a:cubicBezTo>
                    <a:pt x="309" y="33"/>
                    <a:pt x="307" y="26"/>
                    <a:pt x="310" y="26"/>
                  </a:cubicBezTo>
                  <a:cubicBezTo>
                    <a:pt x="313" y="25"/>
                    <a:pt x="307" y="20"/>
                    <a:pt x="315" y="21"/>
                  </a:cubicBezTo>
                  <a:cubicBezTo>
                    <a:pt x="323" y="22"/>
                    <a:pt x="323" y="22"/>
                    <a:pt x="325" y="22"/>
                  </a:cubicBezTo>
                  <a:cubicBezTo>
                    <a:pt x="327" y="22"/>
                    <a:pt x="324" y="13"/>
                    <a:pt x="328" y="14"/>
                  </a:cubicBezTo>
                  <a:cubicBezTo>
                    <a:pt x="333" y="15"/>
                    <a:pt x="333" y="9"/>
                    <a:pt x="336" y="11"/>
                  </a:cubicBezTo>
                  <a:cubicBezTo>
                    <a:pt x="339" y="13"/>
                    <a:pt x="345" y="12"/>
                    <a:pt x="342" y="15"/>
                  </a:cubicBezTo>
                  <a:cubicBezTo>
                    <a:pt x="338" y="19"/>
                    <a:pt x="332" y="22"/>
                    <a:pt x="334" y="25"/>
                  </a:cubicBezTo>
                  <a:cubicBezTo>
                    <a:pt x="335" y="27"/>
                    <a:pt x="334" y="33"/>
                    <a:pt x="337" y="30"/>
                  </a:cubicBezTo>
                  <a:cubicBezTo>
                    <a:pt x="340" y="27"/>
                    <a:pt x="340" y="29"/>
                    <a:pt x="341" y="24"/>
                  </a:cubicBezTo>
                  <a:cubicBezTo>
                    <a:pt x="342" y="18"/>
                    <a:pt x="344" y="25"/>
                    <a:pt x="346" y="20"/>
                  </a:cubicBezTo>
                  <a:cubicBezTo>
                    <a:pt x="347" y="16"/>
                    <a:pt x="347" y="11"/>
                    <a:pt x="349" y="12"/>
                  </a:cubicBezTo>
                  <a:cubicBezTo>
                    <a:pt x="351" y="13"/>
                    <a:pt x="354" y="16"/>
                    <a:pt x="358" y="14"/>
                  </a:cubicBezTo>
                  <a:cubicBezTo>
                    <a:pt x="363" y="12"/>
                    <a:pt x="361" y="9"/>
                    <a:pt x="364" y="9"/>
                  </a:cubicBezTo>
                  <a:cubicBezTo>
                    <a:pt x="367" y="9"/>
                    <a:pt x="373" y="7"/>
                    <a:pt x="374" y="9"/>
                  </a:cubicBezTo>
                  <a:cubicBezTo>
                    <a:pt x="376" y="10"/>
                    <a:pt x="377" y="3"/>
                    <a:pt x="381" y="4"/>
                  </a:cubicBezTo>
                  <a:cubicBezTo>
                    <a:pt x="384" y="5"/>
                    <a:pt x="389" y="4"/>
                    <a:pt x="387" y="7"/>
                  </a:cubicBezTo>
                  <a:cubicBezTo>
                    <a:pt x="384" y="10"/>
                    <a:pt x="381" y="11"/>
                    <a:pt x="378" y="14"/>
                  </a:cubicBezTo>
                  <a:cubicBezTo>
                    <a:pt x="375" y="17"/>
                    <a:pt x="372" y="18"/>
                    <a:pt x="372" y="21"/>
                  </a:cubicBezTo>
                  <a:cubicBezTo>
                    <a:pt x="372" y="24"/>
                    <a:pt x="364" y="25"/>
                    <a:pt x="369" y="26"/>
                  </a:cubicBezTo>
                  <a:cubicBezTo>
                    <a:pt x="374" y="27"/>
                    <a:pt x="372" y="29"/>
                    <a:pt x="376" y="27"/>
                  </a:cubicBezTo>
                  <a:cubicBezTo>
                    <a:pt x="379" y="24"/>
                    <a:pt x="378" y="18"/>
                    <a:pt x="382" y="16"/>
                  </a:cubicBezTo>
                  <a:cubicBezTo>
                    <a:pt x="387" y="14"/>
                    <a:pt x="389" y="14"/>
                    <a:pt x="391" y="11"/>
                  </a:cubicBezTo>
                  <a:cubicBezTo>
                    <a:pt x="392" y="9"/>
                    <a:pt x="398" y="6"/>
                    <a:pt x="399" y="8"/>
                  </a:cubicBezTo>
                  <a:cubicBezTo>
                    <a:pt x="399" y="11"/>
                    <a:pt x="396" y="12"/>
                    <a:pt x="398" y="16"/>
                  </a:cubicBezTo>
                  <a:cubicBezTo>
                    <a:pt x="400" y="21"/>
                    <a:pt x="402" y="21"/>
                    <a:pt x="404" y="19"/>
                  </a:cubicBezTo>
                  <a:cubicBezTo>
                    <a:pt x="406" y="16"/>
                    <a:pt x="405" y="13"/>
                    <a:pt x="409" y="10"/>
                  </a:cubicBezTo>
                  <a:cubicBezTo>
                    <a:pt x="412" y="6"/>
                    <a:pt x="408" y="5"/>
                    <a:pt x="414" y="4"/>
                  </a:cubicBezTo>
                  <a:cubicBezTo>
                    <a:pt x="421" y="3"/>
                    <a:pt x="423" y="0"/>
                    <a:pt x="426" y="2"/>
                  </a:cubicBezTo>
                  <a:cubicBezTo>
                    <a:pt x="429" y="4"/>
                    <a:pt x="432" y="3"/>
                    <a:pt x="429" y="7"/>
                  </a:cubicBezTo>
                  <a:cubicBezTo>
                    <a:pt x="427" y="10"/>
                    <a:pt x="418" y="13"/>
                    <a:pt x="421" y="14"/>
                  </a:cubicBezTo>
                  <a:cubicBezTo>
                    <a:pt x="424" y="16"/>
                    <a:pt x="424" y="18"/>
                    <a:pt x="426" y="19"/>
                  </a:cubicBezTo>
                  <a:cubicBezTo>
                    <a:pt x="427" y="19"/>
                    <a:pt x="432" y="22"/>
                    <a:pt x="432" y="18"/>
                  </a:cubicBezTo>
                  <a:cubicBezTo>
                    <a:pt x="433" y="13"/>
                    <a:pt x="432" y="10"/>
                    <a:pt x="436" y="10"/>
                  </a:cubicBezTo>
                  <a:cubicBezTo>
                    <a:pt x="440" y="10"/>
                    <a:pt x="439" y="8"/>
                    <a:pt x="444" y="9"/>
                  </a:cubicBezTo>
                  <a:cubicBezTo>
                    <a:pt x="449" y="11"/>
                    <a:pt x="448" y="11"/>
                    <a:pt x="452" y="12"/>
                  </a:cubicBezTo>
                  <a:cubicBezTo>
                    <a:pt x="456" y="13"/>
                    <a:pt x="453" y="12"/>
                    <a:pt x="462" y="15"/>
                  </a:cubicBezTo>
                  <a:cubicBezTo>
                    <a:pt x="472" y="18"/>
                    <a:pt x="471" y="15"/>
                    <a:pt x="475" y="17"/>
                  </a:cubicBezTo>
                  <a:cubicBezTo>
                    <a:pt x="480" y="20"/>
                    <a:pt x="484" y="21"/>
                    <a:pt x="480" y="22"/>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54" name="Freeform 1223">
              <a:extLst>
                <a:ext uri="{FF2B5EF4-FFF2-40B4-BE49-F238E27FC236}">
                  <a16:creationId xmlns:a16="http://schemas.microsoft.com/office/drawing/2014/main" id="{A8DC0DA9-EF06-7B4A-B78E-1E0A35FEDD78}"/>
                </a:ext>
              </a:extLst>
            </p:cNvPr>
            <p:cNvSpPr>
              <a:spLocks/>
            </p:cNvSpPr>
            <p:nvPr/>
          </p:nvSpPr>
          <p:spPr bwMode="auto">
            <a:xfrm>
              <a:off x="4275151" y="643392"/>
              <a:ext cx="223838" cy="69850"/>
            </a:xfrm>
            <a:custGeom>
              <a:avLst/>
              <a:gdLst>
                <a:gd name="T0" fmla="*/ 3 w 235"/>
                <a:gd name="T1" fmla="*/ 10 h 73"/>
                <a:gd name="T2" fmla="*/ 14 w 235"/>
                <a:gd name="T3" fmla="*/ 22 h 73"/>
                <a:gd name="T4" fmla="*/ 23 w 235"/>
                <a:gd name="T5" fmla="*/ 37 h 73"/>
                <a:gd name="T6" fmla="*/ 59 w 235"/>
                <a:gd name="T7" fmla="*/ 34 h 73"/>
                <a:gd name="T8" fmla="*/ 80 w 235"/>
                <a:gd name="T9" fmla="*/ 33 h 73"/>
                <a:gd name="T10" fmla="*/ 92 w 235"/>
                <a:gd name="T11" fmla="*/ 36 h 73"/>
                <a:gd name="T12" fmla="*/ 70 w 235"/>
                <a:gd name="T13" fmla="*/ 38 h 73"/>
                <a:gd name="T14" fmla="*/ 52 w 235"/>
                <a:gd name="T15" fmla="*/ 44 h 73"/>
                <a:gd name="T16" fmla="*/ 59 w 235"/>
                <a:gd name="T17" fmla="*/ 49 h 73"/>
                <a:gd name="T18" fmla="*/ 59 w 235"/>
                <a:gd name="T19" fmla="*/ 54 h 73"/>
                <a:gd name="T20" fmla="*/ 68 w 235"/>
                <a:gd name="T21" fmla="*/ 62 h 73"/>
                <a:gd name="T22" fmla="*/ 91 w 235"/>
                <a:gd name="T23" fmla="*/ 62 h 73"/>
                <a:gd name="T24" fmla="*/ 96 w 235"/>
                <a:gd name="T25" fmla="*/ 72 h 73"/>
                <a:gd name="T26" fmla="*/ 111 w 235"/>
                <a:gd name="T27" fmla="*/ 57 h 73"/>
                <a:gd name="T28" fmla="*/ 128 w 235"/>
                <a:gd name="T29" fmla="*/ 42 h 73"/>
                <a:gd name="T30" fmla="*/ 146 w 235"/>
                <a:gd name="T31" fmla="*/ 32 h 73"/>
                <a:gd name="T32" fmla="*/ 161 w 235"/>
                <a:gd name="T33" fmla="*/ 33 h 73"/>
                <a:gd name="T34" fmla="*/ 171 w 235"/>
                <a:gd name="T35" fmla="*/ 42 h 73"/>
                <a:gd name="T36" fmla="*/ 166 w 235"/>
                <a:gd name="T37" fmla="*/ 55 h 73"/>
                <a:gd name="T38" fmla="*/ 196 w 235"/>
                <a:gd name="T39" fmla="*/ 49 h 73"/>
                <a:gd name="T40" fmla="*/ 204 w 235"/>
                <a:gd name="T41" fmla="*/ 56 h 73"/>
                <a:gd name="T42" fmla="*/ 229 w 235"/>
                <a:gd name="T43" fmla="*/ 46 h 73"/>
                <a:gd name="T44" fmla="*/ 204 w 235"/>
                <a:gd name="T45" fmla="*/ 44 h 73"/>
                <a:gd name="T46" fmla="*/ 183 w 235"/>
                <a:gd name="T47" fmla="*/ 36 h 73"/>
                <a:gd name="T48" fmla="*/ 165 w 235"/>
                <a:gd name="T49" fmla="*/ 23 h 73"/>
                <a:gd name="T50" fmla="*/ 134 w 235"/>
                <a:gd name="T51" fmla="*/ 18 h 73"/>
                <a:gd name="T52" fmla="*/ 114 w 235"/>
                <a:gd name="T53" fmla="*/ 12 h 73"/>
                <a:gd name="T54" fmla="*/ 103 w 235"/>
                <a:gd name="T55" fmla="*/ 2 h 73"/>
                <a:gd name="T56" fmla="*/ 82 w 235"/>
                <a:gd name="T57" fmla="*/ 6 h 73"/>
                <a:gd name="T58" fmla="*/ 74 w 235"/>
                <a:gd name="T59" fmla="*/ 9 h 73"/>
                <a:gd name="T60" fmla="*/ 56 w 235"/>
                <a:gd name="T61" fmla="*/ 15 h 73"/>
                <a:gd name="T62" fmla="*/ 41 w 235"/>
                <a:gd name="T63" fmla="*/ 9 h 73"/>
                <a:gd name="T64" fmla="*/ 29 w 235"/>
                <a:gd name="T65" fmla="*/ 3 h 73"/>
                <a:gd name="T66" fmla="*/ 10 w 235"/>
                <a:gd name="T67"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5" h="73">
                  <a:moveTo>
                    <a:pt x="10" y="6"/>
                  </a:moveTo>
                  <a:cubicBezTo>
                    <a:pt x="10" y="10"/>
                    <a:pt x="0" y="4"/>
                    <a:pt x="3" y="10"/>
                  </a:cubicBezTo>
                  <a:cubicBezTo>
                    <a:pt x="6" y="16"/>
                    <a:pt x="2" y="19"/>
                    <a:pt x="6" y="20"/>
                  </a:cubicBezTo>
                  <a:cubicBezTo>
                    <a:pt x="11" y="20"/>
                    <a:pt x="17" y="19"/>
                    <a:pt x="14" y="22"/>
                  </a:cubicBezTo>
                  <a:cubicBezTo>
                    <a:pt x="11" y="25"/>
                    <a:pt x="11" y="28"/>
                    <a:pt x="15" y="30"/>
                  </a:cubicBezTo>
                  <a:cubicBezTo>
                    <a:pt x="18" y="31"/>
                    <a:pt x="8" y="41"/>
                    <a:pt x="23" y="37"/>
                  </a:cubicBezTo>
                  <a:cubicBezTo>
                    <a:pt x="39" y="34"/>
                    <a:pt x="41" y="39"/>
                    <a:pt x="47" y="38"/>
                  </a:cubicBezTo>
                  <a:cubicBezTo>
                    <a:pt x="53" y="37"/>
                    <a:pt x="52" y="38"/>
                    <a:pt x="59" y="34"/>
                  </a:cubicBezTo>
                  <a:cubicBezTo>
                    <a:pt x="65" y="29"/>
                    <a:pt x="69" y="27"/>
                    <a:pt x="71" y="28"/>
                  </a:cubicBezTo>
                  <a:cubicBezTo>
                    <a:pt x="73" y="29"/>
                    <a:pt x="75" y="36"/>
                    <a:pt x="80" y="33"/>
                  </a:cubicBezTo>
                  <a:cubicBezTo>
                    <a:pt x="85" y="30"/>
                    <a:pt x="93" y="27"/>
                    <a:pt x="94" y="30"/>
                  </a:cubicBezTo>
                  <a:cubicBezTo>
                    <a:pt x="95" y="33"/>
                    <a:pt x="95" y="36"/>
                    <a:pt x="92" y="36"/>
                  </a:cubicBezTo>
                  <a:cubicBezTo>
                    <a:pt x="88" y="36"/>
                    <a:pt x="83" y="38"/>
                    <a:pt x="78" y="38"/>
                  </a:cubicBezTo>
                  <a:cubicBezTo>
                    <a:pt x="73" y="38"/>
                    <a:pt x="71" y="37"/>
                    <a:pt x="70" y="38"/>
                  </a:cubicBezTo>
                  <a:cubicBezTo>
                    <a:pt x="69" y="39"/>
                    <a:pt x="63" y="39"/>
                    <a:pt x="61" y="40"/>
                  </a:cubicBezTo>
                  <a:cubicBezTo>
                    <a:pt x="60" y="42"/>
                    <a:pt x="54" y="43"/>
                    <a:pt x="52" y="44"/>
                  </a:cubicBezTo>
                  <a:cubicBezTo>
                    <a:pt x="50" y="45"/>
                    <a:pt x="46" y="42"/>
                    <a:pt x="46" y="46"/>
                  </a:cubicBezTo>
                  <a:cubicBezTo>
                    <a:pt x="47" y="50"/>
                    <a:pt x="44" y="48"/>
                    <a:pt x="59" y="49"/>
                  </a:cubicBezTo>
                  <a:cubicBezTo>
                    <a:pt x="73" y="51"/>
                    <a:pt x="75" y="49"/>
                    <a:pt x="75" y="51"/>
                  </a:cubicBezTo>
                  <a:cubicBezTo>
                    <a:pt x="76" y="52"/>
                    <a:pt x="60" y="54"/>
                    <a:pt x="59" y="54"/>
                  </a:cubicBezTo>
                  <a:cubicBezTo>
                    <a:pt x="58" y="54"/>
                    <a:pt x="53" y="56"/>
                    <a:pt x="56" y="58"/>
                  </a:cubicBezTo>
                  <a:cubicBezTo>
                    <a:pt x="59" y="61"/>
                    <a:pt x="64" y="61"/>
                    <a:pt x="68" y="62"/>
                  </a:cubicBezTo>
                  <a:cubicBezTo>
                    <a:pt x="72" y="63"/>
                    <a:pt x="77" y="61"/>
                    <a:pt x="80" y="62"/>
                  </a:cubicBezTo>
                  <a:cubicBezTo>
                    <a:pt x="84" y="63"/>
                    <a:pt x="91" y="60"/>
                    <a:pt x="91" y="62"/>
                  </a:cubicBezTo>
                  <a:cubicBezTo>
                    <a:pt x="91" y="65"/>
                    <a:pt x="80" y="67"/>
                    <a:pt x="85" y="69"/>
                  </a:cubicBezTo>
                  <a:cubicBezTo>
                    <a:pt x="89" y="71"/>
                    <a:pt x="86" y="72"/>
                    <a:pt x="96" y="72"/>
                  </a:cubicBezTo>
                  <a:cubicBezTo>
                    <a:pt x="107" y="73"/>
                    <a:pt x="106" y="72"/>
                    <a:pt x="107" y="66"/>
                  </a:cubicBezTo>
                  <a:cubicBezTo>
                    <a:pt x="108" y="61"/>
                    <a:pt x="102" y="62"/>
                    <a:pt x="111" y="57"/>
                  </a:cubicBezTo>
                  <a:cubicBezTo>
                    <a:pt x="119" y="53"/>
                    <a:pt x="113" y="56"/>
                    <a:pt x="119" y="53"/>
                  </a:cubicBezTo>
                  <a:cubicBezTo>
                    <a:pt x="125" y="50"/>
                    <a:pt x="122" y="44"/>
                    <a:pt x="128" y="42"/>
                  </a:cubicBezTo>
                  <a:cubicBezTo>
                    <a:pt x="134" y="40"/>
                    <a:pt x="132" y="36"/>
                    <a:pt x="137" y="35"/>
                  </a:cubicBezTo>
                  <a:cubicBezTo>
                    <a:pt x="142" y="34"/>
                    <a:pt x="142" y="33"/>
                    <a:pt x="146" y="32"/>
                  </a:cubicBezTo>
                  <a:cubicBezTo>
                    <a:pt x="151" y="31"/>
                    <a:pt x="154" y="29"/>
                    <a:pt x="157" y="29"/>
                  </a:cubicBezTo>
                  <a:cubicBezTo>
                    <a:pt x="160" y="29"/>
                    <a:pt x="162" y="32"/>
                    <a:pt x="161" y="33"/>
                  </a:cubicBezTo>
                  <a:cubicBezTo>
                    <a:pt x="160" y="34"/>
                    <a:pt x="160" y="38"/>
                    <a:pt x="163" y="39"/>
                  </a:cubicBezTo>
                  <a:cubicBezTo>
                    <a:pt x="165" y="41"/>
                    <a:pt x="171" y="39"/>
                    <a:pt x="171" y="42"/>
                  </a:cubicBezTo>
                  <a:cubicBezTo>
                    <a:pt x="171" y="44"/>
                    <a:pt x="177" y="43"/>
                    <a:pt x="174" y="47"/>
                  </a:cubicBezTo>
                  <a:cubicBezTo>
                    <a:pt x="172" y="51"/>
                    <a:pt x="153" y="55"/>
                    <a:pt x="166" y="55"/>
                  </a:cubicBezTo>
                  <a:cubicBezTo>
                    <a:pt x="180" y="55"/>
                    <a:pt x="174" y="54"/>
                    <a:pt x="182" y="53"/>
                  </a:cubicBezTo>
                  <a:cubicBezTo>
                    <a:pt x="190" y="52"/>
                    <a:pt x="195" y="47"/>
                    <a:pt x="196" y="49"/>
                  </a:cubicBezTo>
                  <a:cubicBezTo>
                    <a:pt x="196" y="51"/>
                    <a:pt x="183" y="57"/>
                    <a:pt x="190" y="58"/>
                  </a:cubicBezTo>
                  <a:cubicBezTo>
                    <a:pt x="198" y="58"/>
                    <a:pt x="197" y="58"/>
                    <a:pt x="204" y="56"/>
                  </a:cubicBezTo>
                  <a:cubicBezTo>
                    <a:pt x="212" y="54"/>
                    <a:pt x="213" y="53"/>
                    <a:pt x="217" y="52"/>
                  </a:cubicBezTo>
                  <a:cubicBezTo>
                    <a:pt x="221" y="51"/>
                    <a:pt x="235" y="48"/>
                    <a:pt x="229" y="46"/>
                  </a:cubicBezTo>
                  <a:cubicBezTo>
                    <a:pt x="222" y="43"/>
                    <a:pt x="224" y="43"/>
                    <a:pt x="215" y="44"/>
                  </a:cubicBezTo>
                  <a:cubicBezTo>
                    <a:pt x="206" y="46"/>
                    <a:pt x="204" y="47"/>
                    <a:pt x="204" y="44"/>
                  </a:cubicBezTo>
                  <a:cubicBezTo>
                    <a:pt x="204" y="40"/>
                    <a:pt x="207" y="35"/>
                    <a:pt x="199" y="36"/>
                  </a:cubicBezTo>
                  <a:cubicBezTo>
                    <a:pt x="190" y="37"/>
                    <a:pt x="187" y="34"/>
                    <a:pt x="183" y="36"/>
                  </a:cubicBezTo>
                  <a:cubicBezTo>
                    <a:pt x="179" y="37"/>
                    <a:pt x="175" y="33"/>
                    <a:pt x="171" y="31"/>
                  </a:cubicBezTo>
                  <a:cubicBezTo>
                    <a:pt x="168" y="29"/>
                    <a:pt x="171" y="24"/>
                    <a:pt x="165" y="23"/>
                  </a:cubicBezTo>
                  <a:cubicBezTo>
                    <a:pt x="160" y="22"/>
                    <a:pt x="154" y="20"/>
                    <a:pt x="150" y="20"/>
                  </a:cubicBezTo>
                  <a:cubicBezTo>
                    <a:pt x="147" y="20"/>
                    <a:pt x="137" y="18"/>
                    <a:pt x="134" y="18"/>
                  </a:cubicBezTo>
                  <a:cubicBezTo>
                    <a:pt x="130" y="18"/>
                    <a:pt x="128" y="19"/>
                    <a:pt x="125" y="18"/>
                  </a:cubicBezTo>
                  <a:cubicBezTo>
                    <a:pt x="123" y="17"/>
                    <a:pt x="116" y="9"/>
                    <a:pt x="114" y="12"/>
                  </a:cubicBezTo>
                  <a:cubicBezTo>
                    <a:pt x="111" y="14"/>
                    <a:pt x="112" y="17"/>
                    <a:pt x="111" y="14"/>
                  </a:cubicBezTo>
                  <a:cubicBezTo>
                    <a:pt x="111" y="10"/>
                    <a:pt x="108" y="1"/>
                    <a:pt x="103" y="2"/>
                  </a:cubicBezTo>
                  <a:cubicBezTo>
                    <a:pt x="98" y="3"/>
                    <a:pt x="90" y="0"/>
                    <a:pt x="89" y="2"/>
                  </a:cubicBezTo>
                  <a:cubicBezTo>
                    <a:pt x="87" y="3"/>
                    <a:pt x="79" y="0"/>
                    <a:pt x="82" y="6"/>
                  </a:cubicBezTo>
                  <a:cubicBezTo>
                    <a:pt x="84" y="13"/>
                    <a:pt x="92" y="27"/>
                    <a:pt x="88" y="22"/>
                  </a:cubicBezTo>
                  <a:cubicBezTo>
                    <a:pt x="83" y="16"/>
                    <a:pt x="83" y="12"/>
                    <a:pt x="74" y="9"/>
                  </a:cubicBezTo>
                  <a:cubicBezTo>
                    <a:pt x="65" y="7"/>
                    <a:pt x="62" y="3"/>
                    <a:pt x="59" y="5"/>
                  </a:cubicBezTo>
                  <a:cubicBezTo>
                    <a:pt x="57" y="7"/>
                    <a:pt x="62" y="13"/>
                    <a:pt x="56" y="15"/>
                  </a:cubicBezTo>
                  <a:cubicBezTo>
                    <a:pt x="49" y="17"/>
                    <a:pt x="50" y="16"/>
                    <a:pt x="43" y="13"/>
                  </a:cubicBezTo>
                  <a:cubicBezTo>
                    <a:pt x="36" y="11"/>
                    <a:pt x="37" y="10"/>
                    <a:pt x="41" y="9"/>
                  </a:cubicBezTo>
                  <a:cubicBezTo>
                    <a:pt x="45" y="7"/>
                    <a:pt x="49" y="3"/>
                    <a:pt x="42" y="3"/>
                  </a:cubicBezTo>
                  <a:cubicBezTo>
                    <a:pt x="35" y="3"/>
                    <a:pt x="37" y="3"/>
                    <a:pt x="29" y="3"/>
                  </a:cubicBezTo>
                  <a:cubicBezTo>
                    <a:pt x="21" y="4"/>
                    <a:pt x="23" y="3"/>
                    <a:pt x="18" y="4"/>
                  </a:cubicBezTo>
                  <a:cubicBezTo>
                    <a:pt x="13" y="4"/>
                    <a:pt x="8" y="4"/>
                    <a:pt x="10" y="6"/>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55" name="Freeform 1224">
              <a:extLst>
                <a:ext uri="{FF2B5EF4-FFF2-40B4-BE49-F238E27FC236}">
                  <a16:creationId xmlns:a16="http://schemas.microsoft.com/office/drawing/2014/main" id="{08B30332-CBE5-B346-8138-3FD735B1437C}"/>
                </a:ext>
              </a:extLst>
            </p:cNvPr>
            <p:cNvSpPr>
              <a:spLocks/>
            </p:cNvSpPr>
            <p:nvPr/>
          </p:nvSpPr>
          <p:spPr bwMode="auto">
            <a:xfrm>
              <a:off x="4391039" y="632280"/>
              <a:ext cx="130175" cy="28575"/>
            </a:xfrm>
            <a:custGeom>
              <a:avLst/>
              <a:gdLst>
                <a:gd name="T0" fmla="*/ 1 w 137"/>
                <a:gd name="T1" fmla="*/ 13 h 31"/>
                <a:gd name="T2" fmla="*/ 10 w 137"/>
                <a:gd name="T3" fmla="*/ 7 h 31"/>
                <a:gd name="T4" fmla="*/ 21 w 137"/>
                <a:gd name="T5" fmla="*/ 7 h 31"/>
                <a:gd name="T6" fmla="*/ 38 w 137"/>
                <a:gd name="T7" fmla="*/ 4 h 31"/>
                <a:gd name="T8" fmla="*/ 45 w 137"/>
                <a:gd name="T9" fmla="*/ 11 h 31"/>
                <a:gd name="T10" fmla="*/ 55 w 137"/>
                <a:gd name="T11" fmla="*/ 13 h 31"/>
                <a:gd name="T12" fmla="*/ 65 w 137"/>
                <a:gd name="T13" fmla="*/ 8 h 31"/>
                <a:gd name="T14" fmla="*/ 75 w 137"/>
                <a:gd name="T15" fmla="*/ 3 h 31"/>
                <a:gd name="T16" fmla="*/ 78 w 137"/>
                <a:gd name="T17" fmla="*/ 10 h 31"/>
                <a:gd name="T18" fmla="*/ 93 w 137"/>
                <a:gd name="T19" fmla="*/ 6 h 31"/>
                <a:gd name="T20" fmla="*/ 107 w 137"/>
                <a:gd name="T21" fmla="*/ 8 h 31"/>
                <a:gd name="T22" fmla="*/ 125 w 137"/>
                <a:gd name="T23" fmla="*/ 10 h 31"/>
                <a:gd name="T24" fmla="*/ 137 w 137"/>
                <a:gd name="T25" fmla="*/ 10 h 31"/>
                <a:gd name="T26" fmla="*/ 131 w 137"/>
                <a:gd name="T27" fmla="*/ 18 h 31"/>
                <a:gd name="T28" fmla="*/ 120 w 137"/>
                <a:gd name="T29" fmla="*/ 23 h 31"/>
                <a:gd name="T30" fmla="*/ 109 w 137"/>
                <a:gd name="T31" fmla="*/ 28 h 31"/>
                <a:gd name="T32" fmla="*/ 97 w 137"/>
                <a:gd name="T33" fmla="*/ 28 h 31"/>
                <a:gd name="T34" fmla="*/ 83 w 137"/>
                <a:gd name="T35" fmla="*/ 31 h 31"/>
                <a:gd name="T36" fmla="*/ 75 w 137"/>
                <a:gd name="T37" fmla="*/ 31 h 31"/>
                <a:gd name="T38" fmla="*/ 66 w 137"/>
                <a:gd name="T39" fmla="*/ 26 h 31"/>
                <a:gd name="T40" fmla="*/ 52 w 137"/>
                <a:gd name="T41" fmla="*/ 27 h 31"/>
                <a:gd name="T42" fmla="*/ 43 w 137"/>
                <a:gd name="T43" fmla="*/ 26 h 31"/>
                <a:gd name="T44" fmla="*/ 32 w 137"/>
                <a:gd name="T45" fmla="*/ 26 h 31"/>
                <a:gd name="T46" fmla="*/ 32 w 137"/>
                <a:gd name="T47" fmla="*/ 24 h 31"/>
                <a:gd name="T48" fmla="*/ 51 w 137"/>
                <a:gd name="T49" fmla="*/ 18 h 31"/>
                <a:gd name="T50" fmla="*/ 37 w 137"/>
                <a:gd name="T51" fmla="*/ 17 h 31"/>
                <a:gd name="T52" fmla="*/ 23 w 137"/>
                <a:gd name="T53" fmla="*/ 17 h 31"/>
                <a:gd name="T54" fmla="*/ 16 w 137"/>
                <a:gd name="T55" fmla="*/ 17 h 31"/>
                <a:gd name="T56" fmla="*/ 3 w 137"/>
                <a:gd name="T57" fmla="*/ 18 h 31"/>
                <a:gd name="T58" fmla="*/ 1 w 137"/>
                <a:gd name="T59"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7" h="31">
                  <a:moveTo>
                    <a:pt x="1" y="13"/>
                  </a:moveTo>
                  <a:cubicBezTo>
                    <a:pt x="5" y="6"/>
                    <a:pt x="5" y="6"/>
                    <a:pt x="10" y="7"/>
                  </a:cubicBezTo>
                  <a:cubicBezTo>
                    <a:pt x="15" y="8"/>
                    <a:pt x="14" y="6"/>
                    <a:pt x="21" y="7"/>
                  </a:cubicBezTo>
                  <a:cubicBezTo>
                    <a:pt x="29" y="7"/>
                    <a:pt x="38" y="2"/>
                    <a:pt x="38" y="4"/>
                  </a:cubicBezTo>
                  <a:cubicBezTo>
                    <a:pt x="39" y="7"/>
                    <a:pt x="41" y="9"/>
                    <a:pt x="45" y="11"/>
                  </a:cubicBezTo>
                  <a:cubicBezTo>
                    <a:pt x="49" y="13"/>
                    <a:pt x="49" y="12"/>
                    <a:pt x="55" y="13"/>
                  </a:cubicBezTo>
                  <a:cubicBezTo>
                    <a:pt x="61" y="14"/>
                    <a:pt x="59" y="9"/>
                    <a:pt x="65" y="8"/>
                  </a:cubicBezTo>
                  <a:cubicBezTo>
                    <a:pt x="71" y="8"/>
                    <a:pt x="74" y="0"/>
                    <a:pt x="75" y="3"/>
                  </a:cubicBezTo>
                  <a:cubicBezTo>
                    <a:pt x="75" y="7"/>
                    <a:pt x="70" y="10"/>
                    <a:pt x="78" y="10"/>
                  </a:cubicBezTo>
                  <a:cubicBezTo>
                    <a:pt x="87" y="10"/>
                    <a:pt x="85" y="4"/>
                    <a:pt x="93" y="6"/>
                  </a:cubicBezTo>
                  <a:cubicBezTo>
                    <a:pt x="100" y="8"/>
                    <a:pt x="93" y="6"/>
                    <a:pt x="107" y="8"/>
                  </a:cubicBezTo>
                  <a:cubicBezTo>
                    <a:pt x="121" y="10"/>
                    <a:pt x="115" y="10"/>
                    <a:pt x="125" y="10"/>
                  </a:cubicBezTo>
                  <a:cubicBezTo>
                    <a:pt x="134" y="11"/>
                    <a:pt x="137" y="3"/>
                    <a:pt x="137" y="10"/>
                  </a:cubicBezTo>
                  <a:cubicBezTo>
                    <a:pt x="136" y="16"/>
                    <a:pt x="137" y="16"/>
                    <a:pt x="131" y="18"/>
                  </a:cubicBezTo>
                  <a:cubicBezTo>
                    <a:pt x="125" y="20"/>
                    <a:pt x="123" y="21"/>
                    <a:pt x="120" y="23"/>
                  </a:cubicBezTo>
                  <a:cubicBezTo>
                    <a:pt x="117" y="25"/>
                    <a:pt x="116" y="27"/>
                    <a:pt x="109" y="28"/>
                  </a:cubicBezTo>
                  <a:cubicBezTo>
                    <a:pt x="102" y="29"/>
                    <a:pt x="104" y="25"/>
                    <a:pt x="97" y="28"/>
                  </a:cubicBezTo>
                  <a:cubicBezTo>
                    <a:pt x="90" y="30"/>
                    <a:pt x="85" y="31"/>
                    <a:pt x="83" y="31"/>
                  </a:cubicBezTo>
                  <a:cubicBezTo>
                    <a:pt x="81" y="31"/>
                    <a:pt x="76" y="31"/>
                    <a:pt x="75" y="31"/>
                  </a:cubicBezTo>
                  <a:cubicBezTo>
                    <a:pt x="73" y="31"/>
                    <a:pt x="70" y="25"/>
                    <a:pt x="66" y="26"/>
                  </a:cubicBezTo>
                  <a:cubicBezTo>
                    <a:pt x="61" y="27"/>
                    <a:pt x="55" y="27"/>
                    <a:pt x="52" y="27"/>
                  </a:cubicBezTo>
                  <a:cubicBezTo>
                    <a:pt x="49" y="27"/>
                    <a:pt x="48" y="26"/>
                    <a:pt x="43" y="26"/>
                  </a:cubicBezTo>
                  <a:cubicBezTo>
                    <a:pt x="38" y="26"/>
                    <a:pt x="36" y="26"/>
                    <a:pt x="32" y="26"/>
                  </a:cubicBezTo>
                  <a:cubicBezTo>
                    <a:pt x="27" y="26"/>
                    <a:pt x="21" y="27"/>
                    <a:pt x="32" y="24"/>
                  </a:cubicBezTo>
                  <a:cubicBezTo>
                    <a:pt x="42" y="21"/>
                    <a:pt x="58" y="21"/>
                    <a:pt x="51" y="18"/>
                  </a:cubicBezTo>
                  <a:cubicBezTo>
                    <a:pt x="43" y="16"/>
                    <a:pt x="43" y="17"/>
                    <a:pt x="37" y="17"/>
                  </a:cubicBezTo>
                  <a:cubicBezTo>
                    <a:pt x="32" y="17"/>
                    <a:pt x="26" y="17"/>
                    <a:pt x="23" y="17"/>
                  </a:cubicBezTo>
                  <a:cubicBezTo>
                    <a:pt x="20" y="17"/>
                    <a:pt x="23" y="15"/>
                    <a:pt x="16" y="17"/>
                  </a:cubicBezTo>
                  <a:cubicBezTo>
                    <a:pt x="9" y="18"/>
                    <a:pt x="6" y="18"/>
                    <a:pt x="3" y="18"/>
                  </a:cubicBezTo>
                  <a:cubicBezTo>
                    <a:pt x="0" y="18"/>
                    <a:pt x="1" y="22"/>
                    <a:pt x="1" y="13"/>
                  </a:cubicBezTo>
                  <a:close/>
                </a:path>
              </a:pathLst>
            </a:custGeom>
            <a:solidFill>
              <a:schemeClr val="bg2">
                <a:alpha val="10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sp>
          <p:nvSpPr>
            <p:cNvPr id="1756" name="Freeform 1226">
              <a:extLst>
                <a:ext uri="{FF2B5EF4-FFF2-40B4-BE49-F238E27FC236}">
                  <a16:creationId xmlns:a16="http://schemas.microsoft.com/office/drawing/2014/main" id="{6E14BC6A-D010-6240-89D5-168B834CA3AE}"/>
                </a:ext>
              </a:extLst>
            </p:cNvPr>
            <p:cNvSpPr>
              <a:spLocks/>
            </p:cNvSpPr>
            <p:nvPr/>
          </p:nvSpPr>
          <p:spPr bwMode="auto">
            <a:xfrm>
              <a:off x="3954475" y="1308556"/>
              <a:ext cx="277813" cy="228600"/>
            </a:xfrm>
            <a:custGeom>
              <a:avLst/>
              <a:gdLst>
                <a:gd name="T0" fmla="*/ 276 w 293"/>
                <a:gd name="T1" fmla="*/ 79 h 240"/>
                <a:gd name="T2" fmla="*/ 274 w 293"/>
                <a:gd name="T3" fmla="*/ 96 h 240"/>
                <a:gd name="T4" fmla="*/ 262 w 293"/>
                <a:gd name="T5" fmla="*/ 101 h 240"/>
                <a:gd name="T6" fmla="*/ 247 w 293"/>
                <a:gd name="T7" fmla="*/ 120 h 240"/>
                <a:gd name="T8" fmla="*/ 245 w 293"/>
                <a:gd name="T9" fmla="*/ 132 h 240"/>
                <a:gd name="T10" fmla="*/ 259 w 293"/>
                <a:gd name="T11" fmla="*/ 139 h 240"/>
                <a:gd name="T12" fmla="*/ 259 w 293"/>
                <a:gd name="T13" fmla="*/ 143 h 240"/>
                <a:gd name="T14" fmla="*/ 255 w 293"/>
                <a:gd name="T15" fmla="*/ 162 h 240"/>
                <a:gd name="T16" fmla="*/ 258 w 293"/>
                <a:gd name="T17" fmla="*/ 183 h 240"/>
                <a:gd name="T18" fmla="*/ 269 w 293"/>
                <a:gd name="T19" fmla="*/ 198 h 240"/>
                <a:gd name="T20" fmla="*/ 262 w 293"/>
                <a:gd name="T21" fmla="*/ 207 h 240"/>
                <a:gd name="T22" fmla="*/ 252 w 293"/>
                <a:gd name="T23" fmla="*/ 215 h 240"/>
                <a:gd name="T24" fmla="*/ 236 w 293"/>
                <a:gd name="T25" fmla="*/ 219 h 240"/>
                <a:gd name="T26" fmla="*/ 213 w 293"/>
                <a:gd name="T27" fmla="*/ 212 h 240"/>
                <a:gd name="T28" fmla="*/ 177 w 293"/>
                <a:gd name="T29" fmla="*/ 216 h 240"/>
                <a:gd name="T30" fmla="*/ 172 w 293"/>
                <a:gd name="T31" fmla="*/ 233 h 240"/>
                <a:gd name="T32" fmla="*/ 170 w 293"/>
                <a:gd name="T33" fmla="*/ 238 h 240"/>
                <a:gd name="T34" fmla="*/ 143 w 293"/>
                <a:gd name="T35" fmla="*/ 237 h 240"/>
                <a:gd name="T36" fmla="*/ 136 w 293"/>
                <a:gd name="T37" fmla="*/ 231 h 240"/>
                <a:gd name="T38" fmla="*/ 122 w 293"/>
                <a:gd name="T39" fmla="*/ 227 h 240"/>
                <a:gd name="T40" fmla="*/ 102 w 293"/>
                <a:gd name="T41" fmla="*/ 230 h 240"/>
                <a:gd name="T42" fmla="*/ 82 w 293"/>
                <a:gd name="T43" fmla="*/ 222 h 240"/>
                <a:gd name="T44" fmla="*/ 71 w 293"/>
                <a:gd name="T45" fmla="*/ 217 h 240"/>
                <a:gd name="T46" fmla="*/ 55 w 293"/>
                <a:gd name="T47" fmla="*/ 212 h 240"/>
                <a:gd name="T48" fmla="*/ 68 w 293"/>
                <a:gd name="T49" fmla="*/ 198 h 240"/>
                <a:gd name="T50" fmla="*/ 79 w 293"/>
                <a:gd name="T51" fmla="*/ 154 h 240"/>
                <a:gd name="T52" fmla="*/ 77 w 293"/>
                <a:gd name="T53" fmla="*/ 131 h 240"/>
                <a:gd name="T54" fmla="*/ 58 w 293"/>
                <a:gd name="T55" fmla="*/ 112 h 240"/>
                <a:gd name="T56" fmla="*/ 44 w 293"/>
                <a:gd name="T57" fmla="*/ 95 h 240"/>
                <a:gd name="T58" fmla="*/ 17 w 293"/>
                <a:gd name="T59" fmla="*/ 89 h 240"/>
                <a:gd name="T60" fmla="*/ 11 w 293"/>
                <a:gd name="T61" fmla="*/ 79 h 240"/>
                <a:gd name="T62" fmla="*/ 17 w 293"/>
                <a:gd name="T63" fmla="*/ 66 h 240"/>
                <a:gd name="T64" fmla="*/ 53 w 293"/>
                <a:gd name="T65" fmla="*/ 72 h 240"/>
                <a:gd name="T66" fmla="*/ 71 w 293"/>
                <a:gd name="T67" fmla="*/ 70 h 240"/>
                <a:gd name="T68" fmla="*/ 75 w 293"/>
                <a:gd name="T69" fmla="*/ 57 h 240"/>
                <a:gd name="T70" fmla="*/ 69 w 293"/>
                <a:gd name="T71" fmla="*/ 38 h 240"/>
                <a:gd name="T72" fmla="*/ 82 w 293"/>
                <a:gd name="T73" fmla="*/ 41 h 240"/>
                <a:gd name="T74" fmla="*/ 105 w 293"/>
                <a:gd name="T75" fmla="*/ 48 h 240"/>
                <a:gd name="T76" fmla="*/ 115 w 293"/>
                <a:gd name="T77" fmla="*/ 39 h 240"/>
                <a:gd name="T78" fmla="*/ 145 w 293"/>
                <a:gd name="T79" fmla="*/ 21 h 240"/>
                <a:gd name="T80" fmla="*/ 156 w 293"/>
                <a:gd name="T81" fmla="*/ 1 h 240"/>
                <a:gd name="T82" fmla="*/ 170 w 293"/>
                <a:gd name="T83" fmla="*/ 9 h 240"/>
                <a:gd name="T84" fmla="*/ 181 w 293"/>
                <a:gd name="T85" fmla="*/ 11 h 240"/>
                <a:gd name="T86" fmla="*/ 190 w 293"/>
                <a:gd name="T87" fmla="*/ 19 h 240"/>
                <a:gd name="T88" fmla="*/ 200 w 293"/>
                <a:gd name="T89" fmla="*/ 21 h 240"/>
                <a:gd name="T90" fmla="*/ 214 w 293"/>
                <a:gd name="T91" fmla="*/ 26 h 240"/>
                <a:gd name="T92" fmla="*/ 230 w 293"/>
                <a:gd name="T93" fmla="*/ 43 h 240"/>
                <a:gd name="T94" fmla="*/ 241 w 293"/>
                <a:gd name="T95" fmla="*/ 43 h 240"/>
                <a:gd name="T96" fmla="*/ 251 w 293"/>
                <a:gd name="T97" fmla="*/ 47 h 240"/>
                <a:gd name="T98" fmla="*/ 275 w 293"/>
                <a:gd name="T99" fmla="*/ 55 h 240"/>
                <a:gd name="T100" fmla="*/ 283 w 293"/>
                <a:gd name="T101" fmla="*/ 6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3" h="240">
                  <a:moveTo>
                    <a:pt x="283" y="66"/>
                  </a:moveTo>
                  <a:cubicBezTo>
                    <a:pt x="281" y="68"/>
                    <a:pt x="278" y="75"/>
                    <a:pt x="276" y="79"/>
                  </a:cubicBezTo>
                  <a:cubicBezTo>
                    <a:pt x="275" y="83"/>
                    <a:pt x="275" y="90"/>
                    <a:pt x="275" y="94"/>
                  </a:cubicBezTo>
                  <a:cubicBezTo>
                    <a:pt x="274" y="95"/>
                    <a:pt x="274" y="95"/>
                    <a:pt x="274" y="96"/>
                  </a:cubicBezTo>
                  <a:cubicBezTo>
                    <a:pt x="273" y="99"/>
                    <a:pt x="271" y="100"/>
                    <a:pt x="269" y="100"/>
                  </a:cubicBezTo>
                  <a:cubicBezTo>
                    <a:pt x="267" y="100"/>
                    <a:pt x="264" y="99"/>
                    <a:pt x="262" y="101"/>
                  </a:cubicBezTo>
                  <a:cubicBezTo>
                    <a:pt x="260" y="103"/>
                    <a:pt x="258" y="110"/>
                    <a:pt x="255" y="112"/>
                  </a:cubicBezTo>
                  <a:cubicBezTo>
                    <a:pt x="251" y="113"/>
                    <a:pt x="248" y="120"/>
                    <a:pt x="247" y="120"/>
                  </a:cubicBezTo>
                  <a:cubicBezTo>
                    <a:pt x="245" y="120"/>
                    <a:pt x="241" y="128"/>
                    <a:pt x="240" y="133"/>
                  </a:cubicBezTo>
                  <a:cubicBezTo>
                    <a:pt x="239" y="137"/>
                    <a:pt x="244" y="134"/>
                    <a:pt x="245" y="132"/>
                  </a:cubicBezTo>
                  <a:cubicBezTo>
                    <a:pt x="246" y="130"/>
                    <a:pt x="255" y="130"/>
                    <a:pt x="256" y="130"/>
                  </a:cubicBezTo>
                  <a:cubicBezTo>
                    <a:pt x="258" y="131"/>
                    <a:pt x="258" y="134"/>
                    <a:pt x="259" y="139"/>
                  </a:cubicBezTo>
                  <a:cubicBezTo>
                    <a:pt x="260" y="141"/>
                    <a:pt x="260" y="143"/>
                    <a:pt x="261" y="143"/>
                  </a:cubicBezTo>
                  <a:cubicBezTo>
                    <a:pt x="261" y="143"/>
                    <a:pt x="260" y="143"/>
                    <a:pt x="259" y="143"/>
                  </a:cubicBezTo>
                  <a:cubicBezTo>
                    <a:pt x="255" y="144"/>
                    <a:pt x="263" y="153"/>
                    <a:pt x="265" y="156"/>
                  </a:cubicBezTo>
                  <a:cubicBezTo>
                    <a:pt x="268" y="159"/>
                    <a:pt x="259" y="160"/>
                    <a:pt x="255" y="162"/>
                  </a:cubicBezTo>
                  <a:cubicBezTo>
                    <a:pt x="251" y="164"/>
                    <a:pt x="254" y="167"/>
                    <a:pt x="258" y="171"/>
                  </a:cubicBezTo>
                  <a:cubicBezTo>
                    <a:pt x="262" y="174"/>
                    <a:pt x="258" y="179"/>
                    <a:pt x="258" y="183"/>
                  </a:cubicBezTo>
                  <a:cubicBezTo>
                    <a:pt x="258" y="188"/>
                    <a:pt x="269" y="189"/>
                    <a:pt x="274" y="191"/>
                  </a:cubicBezTo>
                  <a:cubicBezTo>
                    <a:pt x="279" y="192"/>
                    <a:pt x="271" y="197"/>
                    <a:pt x="269" y="198"/>
                  </a:cubicBezTo>
                  <a:cubicBezTo>
                    <a:pt x="268" y="199"/>
                    <a:pt x="265" y="201"/>
                    <a:pt x="262" y="201"/>
                  </a:cubicBezTo>
                  <a:cubicBezTo>
                    <a:pt x="260" y="201"/>
                    <a:pt x="262" y="205"/>
                    <a:pt x="262" y="207"/>
                  </a:cubicBezTo>
                  <a:cubicBezTo>
                    <a:pt x="262" y="207"/>
                    <a:pt x="262" y="208"/>
                    <a:pt x="261" y="208"/>
                  </a:cubicBezTo>
                  <a:cubicBezTo>
                    <a:pt x="257" y="212"/>
                    <a:pt x="255" y="212"/>
                    <a:pt x="252" y="215"/>
                  </a:cubicBezTo>
                  <a:cubicBezTo>
                    <a:pt x="250" y="218"/>
                    <a:pt x="245" y="220"/>
                    <a:pt x="244" y="220"/>
                  </a:cubicBezTo>
                  <a:cubicBezTo>
                    <a:pt x="244" y="220"/>
                    <a:pt x="244" y="219"/>
                    <a:pt x="236" y="219"/>
                  </a:cubicBezTo>
                  <a:cubicBezTo>
                    <a:pt x="229" y="219"/>
                    <a:pt x="232" y="220"/>
                    <a:pt x="227" y="217"/>
                  </a:cubicBezTo>
                  <a:cubicBezTo>
                    <a:pt x="222" y="214"/>
                    <a:pt x="222" y="213"/>
                    <a:pt x="213" y="212"/>
                  </a:cubicBezTo>
                  <a:cubicBezTo>
                    <a:pt x="205" y="211"/>
                    <a:pt x="198" y="206"/>
                    <a:pt x="192" y="209"/>
                  </a:cubicBezTo>
                  <a:cubicBezTo>
                    <a:pt x="186" y="212"/>
                    <a:pt x="179" y="214"/>
                    <a:pt x="177" y="216"/>
                  </a:cubicBezTo>
                  <a:cubicBezTo>
                    <a:pt x="175" y="218"/>
                    <a:pt x="169" y="217"/>
                    <a:pt x="169" y="222"/>
                  </a:cubicBezTo>
                  <a:cubicBezTo>
                    <a:pt x="169" y="228"/>
                    <a:pt x="169" y="229"/>
                    <a:pt x="172" y="233"/>
                  </a:cubicBezTo>
                  <a:cubicBezTo>
                    <a:pt x="172" y="234"/>
                    <a:pt x="173" y="235"/>
                    <a:pt x="174" y="236"/>
                  </a:cubicBezTo>
                  <a:cubicBezTo>
                    <a:pt x="172" y="237"/>
                    <a:pt x="171" y="238"/>
                    <a:pt x="170" y="238"/>
                  </a:cubicBezTo>
                  <a:cubicBezTo>
                    <a:pt x="168" y="238"/>
                    <a:pt x="165" y="239"/>
                    <a:pt x="160" y="240"/>
                  </a:cubicBezTo>
                  <a:cubicBezTo>
                    <a:pt x="156" y="240"/>
                    <a:pt x="153" y="240"/>
                    <a:pt x="143" y="237"/>
                  </a:cubicBezTo>
                  <a:cubicBezTo>
                    <a:pt x="143" y="236"/>
                    <a:pt x="143" y="235"/>
                    <a:pt x="143" y="234"/>
                  </a:cubicBezTo>
                  <a:cubicBezTo>
                    <a:pt x="143" y="233"/>
                    <a:pt x="138" y="231"/>
                    <a:pt x="136" y="231"/>
                  </a:cubicBezTo>
                  <a:cubicBezTo>
                    <a:pt x="134" y="231"/>
                    <a:pt x="132" y="232"/>
                    <a:pt x="132" y="233"/>
                  </a:cubicBezTo>
                  <a:cubicBezTo>
                    <a:pt x="128" y="230"/>
                    <a:pt x="123" y="228"/>
                    <a:pt x="122" y="227"/>
                  </a:cubicBezTo>
                  <a:cubicBezTo>
                    <a:pt x="120" y="225"/>
                    <a:pt x="117" y="231"/>
                    <a:pt x="115" y="230"/>
                  </a:cubicBezTo>
                  <a:cubicBezTo>
                    <a:pt x="114" y="230"/>
                    <a:pt x="105" y="230"/>
                    <a:pt x="102" y="230"/>
                  </a:cubicBezTo>
                  <a:cubicBezTo>
                    <a:pt x="99" y="230"/>
                    <a:pt x="96" y="230"/>
                    <a:pt x="93" y="227"/>
                  </a:cubicBezTo>
                  <a:cubicBezTo>
                    <a:pt x="89" y="225"/>
                    <a:pt x="90" y="227"/>
                    <a:pt x="82" y="222"/>
                  </a:cubicBezTo>
                  <a:cubicBezTo>
                    <a:pt x="73" y="217"/>
                    <a:pt x="79" y="222"/>
                    <a:pt x="75" y="220"/>
                  </a:cubicBezTo>
                  <a:cubicBezTo>
                    <a:pt x="71" y="219"/>
                    <a:pt x="71" y="220"/>
                    <a:pt x="71" y="217"/>
                  </a:cubicBezTo>
                  <a:cubicBezTo>
                    <a:pt x="71" y="214"/>
                    <a:pt x="70" y="216"/>
                    <a:pt x="62" y="214"/>
                  </a:cubicBezTo>
                  <a:cubicBezTo>
                    <a:pt x="57" y="214"/>
                    <a:pt x="56" y="213"/>
                    <a:pt x="55" y="212"/>
                  </a:cubicBezTo>
                  <a:cubicBezTo>
                    <a:pt x="56" y="211"/>
                    <a:pt x="57" y="211"/>
                    <a:pt x="58" y="211"/>
                  </a:cubicBezTo>
                  <a:cubicBezTo>
                    <a:pt x="69" y="208"/>
                    <a:pt x="70" y="204"/>
                    <a:pt x="68" y="198"/>
                  </a:cubicBezTo>
                  <a:cubicBezTo>
                    <a:pt x="67" y="192"/>
                    <a:pt x="76" y="180"/>
                    <a:pt x="76" y="176"/>
                  </a:cubicBezTo>
                  <a:cubicBezTo>
                    <a:pt x="76" y="173"/>
                    <a:pt x="76" y="158"/>
                    <a:pt x="79" y="154"/>
                  </a:cubicBezTo>
                  <a:cubicBezTo>
                    <a:pt x="82" y="150"/>
                    <a:pt x="84" y="145"/>
                    <a:pt x="80" y="141"/>
                  </a:cubicBezTo>
                  <a:cubicBezTo>
                    <a:pt x="76" y="137"/>
                    <a:pt x="84" y="131"/>
                    <a:pt x="77" y="131"/>
                  </a:cubicBezTo>
                  <a:cubicBezTo>
                    <a:pt x="70" y="131"/>
                    <a:pt x="69" y="131"/>
                    <a:pt x="65" y="125"/>
                  </a:cubicBezTo>
                  <a:cubicBezTo>
                    <a:pt x="60" y="118"/>
                    <a:pt x="56" y="115"/>
                    <a:pt x="58" y="112"/>
                  </a:cubicBezTo>
                  <a:cubicBezTo>
                    <a:pt x="61" y="110"/>
                    <a:pt x="59" y="104"/>
                    <a:pt x="55" y="103"/>
                  </a:cubicBezTo>
                  <a:cubicBezTo>
                    <a:pt x="52" y="101"/>
                    <a:pt x="48" y="95"/>
                    <a:pt x="44" y="95"/>
                  </a:cubicBezTo>
                  <a:cubicBezTo>
                    <a:pt x="39" y="95"/>
                    <a:pt x="35" y="95"/>
                    <a:pt x="29" y="92"/>
                  </a:cubicBezTo>
                  <a:cubicBezTo>
                    <a:pt x="24" y="90"/>
                    <a:pt x="23" y="88"/>
                    <a:pt x="17" y="89"/>
                  </a:cubicBezTo>
                  <a:cubicBezTo>
                    <a:pt x="11" y="91"/>
                    <a:pt x="6" y="88"/>
                    <a:pt x="6" y="87"/>
                  </a:cubicBezTo>
                  <a:cubicBezTo>
                    <a:pt x="5" y="86"/>
                    <a:pt x="14" y="82"/>
                    <a:pt x="11" y="79"/>
                  </a:cubicBezTo>
                  <a:cubicBezTo>
                    <a:pt x="8" y="77"/>
                    <a:pt x="0" y="73"/>
                    <a:pt x="4" y="71"/>
                  </a:cubicBezTo>
                  <a:cubicBezTo>
                    <a:pt x="8" y="69"/>
                    <a:pt x="7" y="64"/>
                    <a:pt x="17" y="66"/>
                  </a:cubicBezTo>
                  <a:cubicBezTo>
                    <a:pt x="28" y="69"/>
                    <a:pt x="38" y="59"/>
                    <a:pt x="42" y="62"/>
                  </a:cubicBezTo>
                  <a:cubicBezTo>
                    <a:pt x="46" y="65"/>
                    <a:pt x="47" y="74"/>
                    <a:pt x="53" y="72"/>
                  </a:cubicBezTo>
                  <a:cubicBezTo>
                    <a:pt x="58" y="69"/>
                    <a:pt x="58" y="68"/>
                    <a:pt x="61" y="69"/>
                  </a:cubicBezTo>
                  <a:cubicBezTo>
                    <a:pt x="65" y="70"/>
                    <a:pt x="67" y="70"/>
                    <a:pt x="71" y="70"/>
                  </a:cubicBezTo>
                  <a:cubicBezTo>
                    <a:pt x="76" y="69"/>
                    <a:pt x="81" y="67"/>
                    <a:pt x="78" y="64"/>
                  </a:cubicBezTo>
                  <a:cubicBezTo>
                    <a:pt x="74" y="62"/>
                    <a:pt x="74" y="60"/>
                    <a:pt x="75" y="57"/>
                  </a:cubicBezTo>
                  <a:cubicBezTo>
                    <a:pt x="77" y="54"/>
                    <a:pt x="75" y="51"/>
                    <a:pt x="72" y="49"/>
                  </a:cubicBezTo>
                  <a:cubicBezTo>
                    <a:pt x="68" y="47"/>
                    <a:pt x="66" y="39"/>
                    <a:pt x="69" y="38"/>
                  </a:cubicBezTo>
                  <a:cubicBezTo>
                    <a:pt x="72" y="37"/>
                    <a:pt x="73" y="40"/>
                    <a:pt x="77" y="40"/>
                  </a:cubicBezTo>
                  <a:cubicBezTo>
                    <a:pt x="80" y="41"/>
                    <a:pt x="81" y="38"/>
                    <a:pt x="82" y="41"/>
                  </a:cubicBezTo>
                  <a:cubicBezTo>
                    <a:pt x="83" y="45"/>
                    <a:pt x="85" y="47"/>
                    <a:pt x="92" y="48"/>
                  </a:cubicBezTo>
                  <a:cubicBezTo>
                    <a:pt x="99" y="50"/>
                    <a:pt x="96" y="48"/>
                    <a:pt x="105" y="48"/>
                  </a:cubicBezTo>
                  <a:cubicBezTo>
                    <a:pt x="113" y="48"/>
                    <a:pt x="116" y="48"/>
                    <a:pt x="113" y="45"/>
                  </a:cubicBezTo>
                  <a:cubicBezTo>
                    <a:pt x="111" y="42"/>
                    <a:pt x="112" y="41"/>
                    <a:pt x="115" y="39"/>
                  </a:cubicBezTo>
                  <a:cubicBezTo>
                    <a:pt x="119" y="37"/>
                    <a:pt x="133" y="35"/>
                    <a:pt x="138" y="31"/>
                  </a:cubicBezTo>
                  <a:cubicBezTo>
                    <a:pt x="143" y="27"/>
                    <a:pt x="145" y="27"/>
                    <a:pt x="145" y="21"/>
                  </a:cubicBezTo>
                  <a:cubicBezTo>
                    <a:pt x="145" y="16"/>
                    <a:pt x="144" y="10"/>
                    <a:pt x="147" y="7"/>
                  </a:cubicBezTo>
                  <a:cubicBezTo>
                    <a:pt x="151" y="4"/>
                    <a:pt x="151" y="1"/>
                    <a:pt x="156" y="1"/>
                  </a:cubicBezTo>
                  <a:cubicBezTo>
                    <a:pt x="161" y="2"/>
                    <a:pt x="163" y="1"/>
                    <a:pt x="168" y="0"/>
                  </a:cubicBezTo>
                  <a:cubicBezTo>
                    <a:pt x="168" y="2"/>
                    <a:pt x="169" y="7"/>
                    <a:pt x="170" y="9"/>
                  </a:cubicBezTo>
                  <a:cubicBezTo>
                    <a:pt x="171" y="12"/>
                    <a:pt x="173" y="12"/>
                    <a:pt x="175" y="10"/>
                  </a:cubicBezTo>
                  <a:cubicBezTo>
                    <a:pt x="177" y="8"/>
                    <a:pt x="179" y="8"/>
                    <a:pt x="181" y="11"/>
                  </a:cubicBezTo>
                  <a:cubicBezTo>
                    <a:pt x="183" y="14"/>
                    <a:pt x="183" y="14"/>
                    <a:pt x="185" y="16"/>
                  </a:cubicBezTo>
                  <a:cubicBezTo>
                    <a:pt x="186" y="17"/>
                    <a:pt x="189" y="17"/>
                    <a:pt x="190" y="19"/>
                  </a:cubicBezTo>
                  <a:cubicBezTo>
                    <a:pt x="190" y="21"/>
                    <a:pt x="191" y="22"/>
                    <a:pt x="192" y="21"/>
                  </a:cubicBezTo>
                  <a:cubicBezTo>
                    <a:pt x="192" y="21"/>
                    <a:pt x="197" y="21"/>
                    <a:pt x="200" y="21"/>
                  </a:cubicBezTo>
                  <a:cubicBezTo>
                    <a:pt x="202" y="22"/>
                    <a:pt x="202" y="27"/>
                    <a:pt x="203" y="32"/>
                  </a:cubicBezTo>
                  <a:cubicBezTo>
                    <a:pt x="205" y="36"/>
                    <a:pt x="212" y="28"/>
                    <a:pt x="214" y="26"/>
                  </a:cubicBezTo>
                  <a:cubicBezTo>
                    <a:pt x="216" y="24"/>
                    <a:pt x="216" y="30"/>
                    <a:pt x="216" y="35"/>
                  </a:cubicBezTo>
                  <a:cubicBezTo>
                    <a:pt x="216" y="40"/>
                    <a:pt x="227" y="41"/>
                    <a:pt x="230" y="43"/>
                  </a:cubicBezTo>
                  <a:cubicBezTo>
                    <a:pt x="232" y="45"/>
                    <a:pt x="235" y="44"/>
                    <a:pt x="239" y="43"/>
                  </a:cubicBezTo>
                  <a:cubicBezTo>
                    <a:pt x="239" y="43"/>
                    <a:pt x="240" y="43"/>
                    <a:pt x="241" y="43"/>
                  </a:cubicBezTo>
                  <a:cubicBezTo>
                    <a:pt x="244" y="43"/>
                    <a:pt x="246" y="44"/>
                    <a:pt x="248" y="46"/>
                  </a:cubicBezTo>
                  <a:cubicBezTo>
                    <a:pt x="249" y="46"/>
                    <a:pt x="250" y="47"/>
                    <a:pt x="251" y="47"/>
                  </a:cubicBezTo>
                  <a:cubicBezTo>
                    <a:pt x="255" y="49"/>
                    <a:pt x="256" y="53"/>
                    <a:pt x="258" y="53"/>
                  </a:cubicBezTo>
                  <a:cubicBezTo>
                    <a:pt x="261" y="53"/>
                    <a:pt x="271" y="54"/>
                    <a:pt x="275" y="55"/>
                  </a:cubicBezTo>
                  <a:cubicBezTo>
                    <a:pt x="280" y="55"/>
                    <a:pt x="283" y="58"/>
                    <a:pt x="288" y="58"/>
                  </a:cubicBezTo>
                  <a:cubicBezTo>
                    <a:pt x="293" y="58"/>
                    <a:pt x="285" y="63"/>
                    <a:pt x="283" y="66"/>
                  </a:cubicBezTo>
                  <a:close/>
                </a:path>
              </a:pathLst>
            </a:custGeom>
            <a:solidFill>
              <a:schemeClr val="bg2">
                <a:alpha val="25000"/>
              </a:schemeClr>
            </a:solidFill>
            <a:ln w="0" cap="flat">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cs typeface="Arial"/>
                <a:sym typeface="Arial"/>
              </a:endParaRPr>
            </a:p>
          </p:txBody>
        </p:sp>
      </p:grpSp>
      <p:cxnSp>
        <p:nvCxnSpPr>
          <p:cNvPr id="633" name="Straight Connector 632">
            <a:extLst>
              <a:ext uri="{FF2B5EF4-FFF2-40B4-BE49-F238E27FC236}">
                <a16:creationId xmlns:a16="http://schemas.microsoft.com/office/drawing/2014/main" id="{55D414CD-FD4D-304C-A2DB-EADC76BEFC0C}"/>
              </a:ext>
            </a:extLst>
          </p:cNvPr>
          <p:cNvCxnSpPr>
            <a:cxnSpLocks/>
          </p:cNvCxnSpPr>
          <p:nvPr/>
        </p:nvCxnSpPr>
        <p:spPr>
          <a:xfrm flipV="1">
            <a:off x="12188340" y="4816358"/>
            <a:ext cx="0" cy="2201575"/>
          </a:xfrm>
          <a:prstGeom prst="line">
            <a:avLst/>
          </a:prstGeom>
          <a:noFill/>
          <a:ln w="6350" cap="flat" cmpd="sng" algn="ctr">
            <a:solidFill>
              <a:schemeClr val="bg2">
                <a:alpha val="50000"/>
              </a:schemeClr>
            </a:solidFill>
            <a:prstDash val="solid"/>
          </a:ln>
          <a:effectLst/>
        </p:spPr>
      </p:cxnSp>
      <p:grpSp>
        <p:nvGrpSpPr>
          <p:cNvPr id="7" name="Group 6">
            <a:extLst>
              <a:ext uri="{FF2B5EF4-FFF2-40B4-BE49-F238E27FC236}">
                <a16:creationId xmlns:a16="http://schemas.microsoft.com/office/drawing/2014/main" id="{A3B096DB-C14E-AE46-A5D4-72000163534B}"/>
              </a:ext>
            </a:extLst>
          </p:cNvPr>
          <p:cNvGrpSpPr/>
          <p:nvPr/>
        </p:nvGrpSpPr>
        <p:grpSpPr>
          <a:xfrm>
            <a:off x="1948540" y="1526158"/>
            <a:ext cx="1876208" cy="2634343"/>
            <a:chOff x="1461405" y="1118507"/>
            <a:chExt cx="1038446" cy="1975757"/>
          </a:xfrm>
          <a:solidFill>
            <a:schemeClr val="accent6"/>
          </a:solidFill>
        </p:grpSpPr>
        <p:sp>
          <p:nvSpPr>
            <p:cNvPr id="4" name="Rectangle 3">
              <a:extLst>
                <a:ext uri="{FF2B5EF4-FFF2-40B4-BE49-F238E27FC236}">
                  <a16:creationId xmlns:a16="http://schemas.microsoft.com/office/drawing/2014/main" id="{7169A838-0902-8241-B825-3ABEF2FF4B05}"/>
                </a:ext>
              </a:extLst>
            </p:cNvPr>
            <p:cNvSpPr/>
            <p:nvPr/>
          </p:nvSpPr>
          <p:spPr>
            <a:xfrm>
              <a:off x="1461405" y="1118507"/>
              <a:ext cx="1038445" cy="197575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85" fontAlgn="base">
                <a:spcBef>
                  <a:spcPct val="0"/>
                </a:spcBef>
                <a:spcAft>
                  <a:spcPct val="0"/>
                </a:spcAft>
                <a:defRPr/>
              </a:pPr>
              <a:r>
                <a:rPr lang="en-US" sz="1867" b="1">
                  <a:solidFill>
                    <a:srgbClr val="2F446B"/>
                  </a:solidFill>
                  <a:latin typeface="CiscoSansTT ExtraLight"/>
                  <a:sym typeface="Arial"/>
                </a:rPr>
                <a:t>North Carolina </a:t>
              </a:r>
            </a:p>
            <a:p>
              <a:pPr algn="ctr" defTabSz="609585" fontAlgn="base">
                <a:spcBef>
                  <a:spcPct val="0"/>
                </a:spcBef>
                <a:spcAft>
                  <a:spcPct val="0"/>
                </a:spcAft>
                <a:defRPr/>
              </a:pPr>
              <a:endParaRPr lang="en-US" sz="2400">
                <a:solidFill>
                  <a:srgbClr val="2F446B"/>
                </a:solidFill>
                <a:latin typeface="CiscoSansTT ExtraLight"/>
                <a:sym typeface="Arial"/>
              </a:endParaRPr>
            </a:p>
          </p:txBody>
        </p:sp>
        <p:sp>
          <p:nvSpPr>
            <p:cNvPr id="6" name="TextBox 5">
              <a:extLst>
                <a:ext uri="{FF2B5EF4-FFF2-40B4-BE49-F238E27FC236}">
                  <a16:creationId xmlns:a16="http://schemas.microsoft.com/office/drawing/2014/main" id="{450AAFE1-82D3-E948-B0E6-DDDB8C237661}"/>
                </a:ext>
              </a:extLst>
            </p:cNvPr>
            <p:cNvSpPr txBox="1"/>
            <p:nvPr/>
          </p:nvSpPr>
          <p:spPr>
            <a:xfrm>
              <a:off x="1461407" y="2160109"/>
              <a:ext cx="1038444" cy="253915"/>
            </a:xfrm>
            <a:prstGeom prst="rect">
              <a:avLst/>
            </a:prstGeom>
            <a:grpFill/>
          </p:spPr>
          <p:txBody>
            <a:bodyPr wrap="square" rtlCol="0">
              <a:spAutoFit/>
            </a:bodyPr>
            <a:lstStyle/>
            <a:p>
              <a:pPr algn="ctr" defTabSz="609585" fontAlgn="base">
                <a:spcBef>
                  <a:spcPct val="0"/>
                </a:spcBef>
                <a:spcAft>
                  <a:spcPct val="0"/>
                </a:spcAft>
                <a:defRPr/>
              </a:pPr>
              <a:r>
                <a:rPr lang="en-US" sz="1600">
                  <a:solidFill>
                    <a:srgbClr val="2F446B"/>
                  </a:solidFill>
                  <a:latin typeface="CiscoSansTT ExtraLight"/>
                  <a:ea typeface="ＭＳ Ｐゴシック" charset="0"/>
                  <a:cs typeface="Arial"/>
                  <a:sym typeface="Arial"/>
                </a:rPr>
                <a:t>Team Lead</a:t>
              </a:r>
            </a:p>
          </p:txBody>
        </p:sp>
        <p:sp>
          <p:nvSpPr>
            <p:cNvPr id="602" name="TextBox 601">
              <a:extLst>
                <a:ext uri="{FF2B5EF4-FFF2-40B4-BE49-F238E27FC236}">
                  <a16:creationId xmlns:a16="http://schemas.microsoft.com/office/drawing/2014/main" id="{BC3B7E2B-8173-9F43-8C88-F1C3D1FF21A7}"/>
                </a:ext>
              </a:extLst>
            </p:cNvPr>
            <p:cNvSpPr txBox="1"/>
            <p:nvPr/>
          </p:nvSpPr>
          <p:spPr>
            <a:xfrm>
              <a:off x="1461406" y="2531486"/>
              <a:ext cx="1038443" cy="253915"/>
            </a:xfrm>
            <a:prstGeom prst="rect">
              <a:avLst/>
            </a:prstGeom>
            <a:grpFill/>
          </p:spPr>
          <p:txBody>
            <a:bodyPr wrap="square" rtlCol="0">
              <a:spAutoFit/>
            </a:bodyPr>
            <a:lstStyle/>
            <a:p>
              <a:pPr algn="ctr" defTabSz="609585" fontAlgn="base">
                <a:spcBef>
                  <a:spcPct val="0"/>
                </a:spcBef>
                <a:spcAft>
                  <a:spcPct val="0"/>
                </a:spcAft>
                <a:defRPr/>
              </a:pPr>
              <a:r>
                <a:rPr lang="en-US" sz="1600">
                  <a:solidFill>
                    <a:srgbClr val="2F446B"/>
                  </a:solidFill>
                  <a:latin typeface="CiscoSansTT ExtraLight"/>
                  <a:ea typeface="ＭＳ Ｐゴシック" charset="0"/>
                  <a:cs typeface="Arial"/>
                  <a:sym typeface="Arial"/>
                </a:rPr>
                <a:t>Investigators</a:t>
              </a:r>
            </a:p>
          </p:txBody>
        </p:sp>
        <p:sp>
          <p:nvSpPr>
            <p:cNvPr id="603" name="TextBox 602">
              <a:extLst>
                <a:ext uri="{FF2B5EF4-FFF2-40B4-BE49-F238E27FC236}">
                  <a16:creationId xmlns:a16="http://schemas.microsoft.com/office/drawing/2014/main" id="{C6FE2D53-895B-6249-8395-338215CDF0AF}"/>
                </a:ext>
              </a:extLst>
            </p:cNvPr>
            <p:cNvSpPr txBox="1"/>
            <p:nvPr/>
          </p:nvSpPr>
          <p:spPr>
            <a:xfrm>
              <a:off x="1461405" y="1654036"/>
              <a:ext cx="1038444" cy="438581"/>
            </a:xfrm>
            <a:prstGeom prst="rect">
              <a:avLst/>
            </a:prstGeom>
            <a:grpFill/>
          </p:spPr>
          <p:txBody>
            <a:bodyPr wrap="square" rtlCol="0">
              <a:spAutoFit/>
            </a:bodyPr>
            <a:lstStyle/>
            <a:p>
              <a:pPr algn="ctr" defTabSz="609585" fontAlgn="base">
                <a:spcBef>
                  <a:spcPct val="0"/>
                </a:spcBef>
                <a:spcAft>
                  <a:spcPct val="0"/>
                </a:spcAft>
                <a:defRPr/>
              </a:pPr>
              <a:r>
                <a:rPr lang="en-US" sz="1600">
                  <a:solidFill>
                    <a:srgbClr val="2F446B"/>
                  </a:solidFill>
                  <a:latin typeface="CiscoSansTT ExtraLight"/>
                  <a:ea typeface="ＭＳ Ｐゴシック" charset="0"/>
                  <a:cs typeface="Arial"/>
                  <a:sym typeface="Arial"/>
                </a:rPr>
                <a:t>Operations Manager</a:t>
              </a:r>
            </a:p>
          </p:txBody>
        </p:sp>
      </p:grpSp>
      <p:grpSp>
        <p:nvGrpSpPr>
          <p:cNvPr id="621" name="Group 620">
            <a:extLst>
              <a:ext uri="{FF2B5EF4-FFF2-40B4-BE49-F238E27FC236}">
                <a16:creationId xmlns:a16="http://schemas.microsoft.com/office/drawing/2014/main" id="{D3D60FCD-1924-D148-94C3-D96EA137AED0}"/>
              </a:ext>
            </a:extLst>
          </p:cNvPr>
          <p:cNvGrpSpPr/>
          <p:nvPr/>
        </p:nvGrpSpPr>
        <p:grpSpPr>
          <a:xfrm>
            <a:off x="4175001" y="1522881"/>
            <a:ext cx="1876208" cy="2634343"/>
            <a:chOff x="1461405" y="1118507"/>
            <a:chExt cx="1038446" cy="1975757"/>
          </a:xfrm>
          <a:solidFill>
            <a:schemeClr val="accent6"/>
          </a:solidFill>
        </p:grpSpPr>
        <p:sp>
          <p:nvSpPr>
            <p:cNvPr id="622" name="Rectangle 621">
              <a:extLst>
                <a:ext uri="{FF2B5EF4-FFF2-40B4-BE49-F238E27FC236}">
                  <a16:creationId xmlns:a16="http://schemas.microsoft.com/office/drawing/2014/main" id="{0B2D1F06-A8B6-624F-ADFA-1AED02320597}"/>
                </a:ext>
              </a:extLst>
            </p:cNvPr>
            <p:cNvSpPr/>
            <p:nvPr/>
          </p:nvSpPr>
          <p:spPr>
            <a:xfrm>
              <a:off x="1461406" y="1118507"/>
              <a:ext cx="1038445" cy="197575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85" fontAlgn="base">
                <a:spcBef>
                  <a:spcPct val="0"/>
                </a:spcBef>
                <a:spcAft>
                  <a:spcPct val="0"/>
                </a:spcAft>
                <a:defRPr/>
              </a:pPr>
              <a:r>
                <a:rPr lang="en-US" sz="1867" b="1">
                  <a:solidFill>
                    <a:srgbClr val="2F446B"/>
                  </a:solidFill>
                  <a:latin typeface="CiscoSansTT ExtraLight"/>
                  <a:sym typeface="Arial"/>
                </a:rPr>
                <a:t>Krakow</a:t>
              </a:r>
            </a:p>
            <a:p>
              <a:pPr algn="ctr" defTabSz="609585" fontAlgn="base">
                <a:spcBef>
                  <a:spcPct val="0"/>
                </a:spcBef>
                <a:spcAft>
                  <a:spcPct val="0"/>
                </a:spcAft>
                <a:defRPr/>
              </a:pPr>
              <a:endParaRPr lang="en-US" sz="2400">
                <a:solidFill>
                  <a:srgbClr val="2F446B"/>
                </a:solidFill>
                <a:latin typeface="CiscoSansTT ExtraLight"/>
                <a:sym typeface="Arial"/>
              </a:endParaRPr>
            </a:p>
          </p:txBody>
        </p:sp>
        <p:sp>
          <p:nvSpPr>
            <p:cNvPr id="623" name="TextBox 622">
              <a:extLst>
                <a:ext uri="{FF2B5EF4-FFF2-40B4-BE49-F238E27FC236}">
                  <a16:creationId xmlns:a16="http://schemas.microsoft.com/office/drawing/2014/main" id="{71F9B34B-8922-5443-882C-667709E54C14}"/>
                </a:ext>
              </a:extLst>
            </p:cNvPr>
            <p:cNvSpPr txBox="1"/>
            <p:nvPr/>
          </p:nvSpPr>
          <p:spPr>
            <a:xfrm>
              <a:off x="1461407" y="2160109"/>
              <a:ext cx="1038444" cy="253915"/>
            </a:xfrm>
            <a:prstGeom prst="rect">
              <a:avLst/>
            </a:prstGeom>
            <a:grpFill/>
          </p:spPr>
          <p:txBody>
            <a:bodyPr wrap="square" rtlCol="0">
              <a:spAutoFit/>
            </a:bodyPr>
            <a:lstStyle/>
            <a:p>
              <a:pPr algn="ctr" defTabSz="609585" fontAlgn="base">
                <a:spcBef>
                  <a:spcPct val="0"/>
                </a:spcBef>
                <a:spcAft>
                  <a:spcPct val="0"/>
                </a:spcAft>
                <a:defRPr/>
              </a:pPr>
              <a:r>
                <a:rPr lang="en-US" sz="1600">
                  <a:solidFill>
                    <a:srgbClr val="2F446B"/>
                  </a:solidFill>
                  <a:latin typeface="CiscoSansTT ExtraLight"/>
                  <a:ea typeface="ＭＳ Ｐゴシック" charset="0"/>
                  <a:cs typeface="Arial"/>
                  <a:sym typeface="Arial"/>
                </a:rPr>
                <a:t>Team Lead</a:t>
              </a:r>
            </a:p>
          </p:txBody>
        </p:sp>
        <p:sp>
          <p:nvSpPr>
            <p:cNvPr id="624" name="TextBox 623">
              <a:extLst>
                <a:ext uri="{FF2B5EF4-FFF2-40B4-BE49-F238E27FC236}">
                  <a16:creationId xmlns:a16="http://schemas.microsoft.com/office/drawing/2014/main" id="{816ED35F-6223-6C45-9FD4-3A872D437FC9}"/>
                </a:ext>
              </a:extLst>
            </p:cNvPr>
            <p:cNvSpPr txBox="1"/>
            <p:nvPr/>
          </p:nvSpPr>
          <p:spPr>
            <a:xfrm>
              <a:off x="1461406" y="2531486"/>
              <a:ext cx="1038443" cy="253915"/>
            </a:xfrm>
            <a:prstGeom prst="rect">
              <a:avLst/>
            </a:prstGeom>
            <a:grpFill/>
          </p:spPr>
          <p:txBody>
            <a:bodyPr wrap="square" rtlCol="0">
              <a:spAutoFit/>
            </a:bodyPr>
            <a:lstStyle/>
            <a:p>
              <a:pPr algn="ctr" defTabSz="609585" fontAlgn="base">
                <a:spcBef>
                  <a:spcPct val="0"/>
                </a:spcBef>
                <a:spcAft>
                  <a:spcPct val="0"/>
                </a:spcAft>
                <a:defRPr/>
              </a:pPr>
              <a:r>
                <a:rPr lang="en-US" sz="1600">
                  <a:solidFill>
                    <a:srgbClr val="2F446B"/>
                  </a:solidFill>
                  <a:latin typeface="CiscoSansTT ExtraLight"/>
                  <a:ea typeface="ＭＳ Ｐゴシック" charset="0"/>
                  <a:cs typeface="Arial"/>
                  <a:sym typeface="Arial"/>
                </a:rPr>
                <a:t>Investigators</a:t>
              </a:r>
            </a:p>
          </p:txBody>
        </p:sp>
        <p:sp>
          <p:nvSpPr>
            <p:cNvPr id="625" name="TextBox 624">
              <a:extLst>
                <a:ext uri="{FF2B5EF4-FFF2-40B4-BE49-F238E27FC236}">
                  <a16:creationId xmlns:a16="http://schemas.microsoft.com/office/drawing/2014/main" id="{67640B61-FADD-B243-898C-74B760E45070}"/>
                </a:ext>
              </a:extLst>
            </p:cNvPr>
            <p:cNvSpPr txBox="1"/>
            <p:nvPr/>
          </p:nvSpPr>
          <p:spPr>
            <a:xfrm>
              <a:off x="1461405" y="1654036"/>
              <a:ext cx="1038444" cy="438581"/>
            </a:xfrm>
            <a:prstGeom prst="rect">
              <a:avLst/>
            </a:prstGeom>
            <a:grpFill/>
          </p:spPr>
          <p:txBody>
            <a:bodyPr wrap="square" rtlCol="0">
              <a:spAutoFit/>
            </a:bodyPr>
            <a:lstStyle/>
            <a:p>
              <a:pPr algn="ctr" defTabSz="609585" fontAlgn="base">
                <a:spcBef>
                  <a:spcPct val="0"/>
                </a:spcBef>
                <a:spcAft>
                  <a:spcPct val="0"/>
                </a:spcAft>
                <a:defRPr/>
              </a:pPr>
              <a:r>
                <a:rPr lang="en-US" sz="1600">
                  <a:solidFill>
                    <a:srgbClr val="2F446B"/>
                  </a:solidFill>
                  <a:latin typeface="CiscoSansTT ExtraLight"/>
                  <a:ea typeface="ＭＳ Ｐゴシック" charset="0"/>
                  <a:cs typeface="Arial"/>
                  <a:sym typeface="Arial"/>
                </a:rPr>
                <a:t>Operations Manager</a:t>
              </a:r>
            </a:p>
          </p:txBody>
        </p:sp>
      </p:grpSp>
      <p:grpSp>
        <p:nvGrpSpPr>
          <p:cNvPr id="627" name="Group 626">
            <a:extLst>
              <a:ext uri="{FF2B5EF4-FFF2-40B4-BE49-F238E27FC236}">
                <a16:creationId xmlns:a16="http://schemas.microsoft.com/office/drawing/2014/main" id="{9BFB0F89-06DB-4F4C-8848-6B4391AB829D}"/>
              </a:ext>
            </a:extLst>
          </p:cNvPr>
          <p:cNvGrpSpPr/>
          <p:nvPr/>
        </p:nvGrpSpPr>
        <p:grpSpPr>
          <a:xfrm>
            <a:off x="6401463" y="1519602"/>
            <a:ext cx="1876208" cy="2634343"/>
            <a:chOff x="1461405" y="1118507"/>
            <a:chExt cx="1038446" cy="1975757"/>
          </a:xfrm>
          <a:solidFill>
            <a:schemeClr val="accent6"/>
          </a:solidFill>
        </p:grpSpPr>
        <p:sp>
          <p:nvSpPr>
            <p:cNvPr id="628" name="Rectangle 627">
              <a:extLst>
                <a:ext uri="{FF2B5EF4-FFF2-40B4-BE49-F238E27FC236}">
                  <a16:creationId xmlns:a16="http://schemas.microsoft.com/office/drawing/2014/main" id="{7B980812-2875-D44F-8A32-DD327E338B9F}"/>
                </a:ext>
              </a:extLst>
            </p:cNvPr>
            <p:cNvSpPr/>
            <p:nvPr/>
          </p:nvSpPr>
          <p:spPr>
            <a:xfrm>
              <a:off x="1461406" y="1118507"/>
              <a:ext cx="1038445" cy="197575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85" fontAlgn="base">
                <a:spcBef>
                  <a:spcPct val="0"/>
                </a:spcBef>
                <a:spcAft>
                  <a:spcPct val="0"/>
                </a:spcAft>
                <a:defRPr/>
              </a:pPr>
              <a:r>
                <a:rPr lang="en-US" sz="1867" b="1">
                  <a:solidFill>
                    <a:srgbClr val="2F446B"/>
                  </a:solidFill>
                  <a:latin typeface="CiscoSansTT ExtraLight"/>
                  <a:sym typeface="Arial"/>
                </a:rPr>
                <a:t>Tokyo</a:t>
              </a:r>
            </a:p>
            <a:p>
              <a:pPr algn="ctr" defTabSz="609585" fontAlgn="base">
                <a:spcBef>
                  <a:spcPct val="0"/>
                </a:spcBef>
                <a:spcAft>
                  <a:spcPct val="0"/>
                </a:spcAft>
                <a:defRPr/>
              </a:pPr>
              <a:endParaRPr lang="en-US" sz="2400">
                <a:solidFill>
                  <a:srgbClr val="2F446B"/>
                </a:solidFill>
                <a:latin typeface="CiscoSansTT ExtraLight"/>
                <a:sym typeface="Arial"/>
              </a:endParaRPr>
            </a:p>
          </p:txBody>
        </p:sp>
        <p:sp>
          <p:nvSpPr>
            <p:cNvPr id="629" name="TextBox 628">
              <a:extLst>
                <a:ext uri="{FF2B5EF4-FFF2-40B4-BE49-F238E27FC236}">
                  <a16:creationId xmlns:a16="http://schemas.microsoft.com/office/drawing/2014/main" id="{59365B60-8EFC-3E43-B609-ED6483689183}"/>
                </a:ext>
              </a:extLst>
            </p:cNvPr>
            <p:cNvSpPr txBox="1"/>
            <p:nvPr/>
          </p:nvSpPr>
          <p:spPr>
            <a:xfrm>
              <a:off x="1461407" y="2160109"/>
              <a:ext cx="1038444" cy="253915"/>
            </a:xfrm>
            <a:prstGeom prst="rect">
              <a:avLst/>
            </a:prstGeom>
            <a:grpFill/>
          </p:spPr>
          <p:txBody>
            <a:bodyPr wrap="square" rtlCol="0">
              <a:spAutoFit/>
            </a:bodyPr>
            <a:lstStyle/>
            <a:p>
              <a:pPr algn="ctr" defTabSz="609585" fontAlgn="base">
                <a:spcBef>
                  <a:spcPct val="0"/>
                </a:spcBef>
                <a:spcAft>
                  <a:spcPct val="0"/>
                </a:spcAft>
                <a:defRPr/>
              </a:pPr>
              <a:r>
                <a:rPr lang="en-US" sz="1600">
                  <a:solidFill>
                    <a:srgbClr val="2F446B"/>
                  </a:solidFill>
                  <a:latin typeface="CiscoSansTT ExtraLight"/>
                  <a:ea typeface="ＭＳ Ｐゴシック" charset="0"/>
                  <a:cs typeface="Arial"/>
                  <a:sym typeface="Arial"/>
                </a:rPr>
                <a:t>Team Lead</a:t>
              </a:r>
            </a:p>
          </p:txBody>
        </p:sp>
        <p:sp>
          <p:nvSpPr>
            <p:cNvPr id="630" name="TextBox 629">
              <a:extLst>
                <a:ext uri="{FF2B5EF4-FFF2-40B4-BE49-F238E27FC236}">
                  <a16:creationId xmlns:a16="http://schemas.microsoft.com/office/drawing/2014/main" id="{49C204D8-38CC-254C-B1FF-D34623395CE3}"/>
                </a:ext>
              </a:extLst>
            </p:cNvPr>
            <p:cNvSpPr txBox="1"/>
            <p:nvPr/>
          </p:nvSpPr>
          <p:spPr>
            <a:xfrm>
              <a:off x="1461406" y="2531486"/>
              <a:ext cx="1038443" cy="253915"/>
            </a:xfrm>
            <a:prstGeom prst="rect">
              <a:avLst/>
            </a:prstGeom>
            <a:grpFill/>
          </p:spPr>
          <p:txBody>
            <a:bodyPr wrap="square" rtlCol="0">
              <a:spAutoFit/>
            </a:bodyPr>
            <a:lstStyle/>
            <a:p>
              <a:pPr algn="ctr" defTabSz="609585" fontAlgn="base">
                <a:spcBef>
                  <a:spcPct val="0"/>
                </a:spcBef>
                <a:spcAft>
                  <a:spcPct val="0"/>
                </a:spcAft>
                <a:defRPr/>
              </a:pPr>
              <a:r>
                <a:rPr lang="en-US" sz="1600">
                  <a:solidFill>
                    <a:srgbClr val="2F446B"/>
                  </a:solidFill>
                  <a:latin typeface="CiscoSansTT ExtraLight"/>
                  <a:ea typeface="ＭＳ Ｐゴシック" charset="0"/>
                  <a:cs typeface="Arial"/>
                  <a:sym typeface="Arial"/>
                </a:rPr>
                <a:t>Investigators</a:t>
              </a:r>
            </a:p>
          </p:txBody>
        </p:sp>
        <p:sp>
          <p:nvSpPr>
            <p:cNvPr id="631" name="TextBox 630">
              <a:extLst>
                <a:ext uri="{FF2B5EF4-FFF2-40B4-BE49-F238E27FC236}">
                  <a16:creationId xmlns:a16="http://schemas.microsoft.com/office/drawing/2014/main" id="{BE14DB09-A7B9-7043-9132-682F9B350719}"/>
                </a:ext>
              </a:extLst>
            </p:cNvPr>
            <p:cNvSpPr txBox="1"/>
            <p:nvPr/>
          </p:nvSpPr>
          <p:spPr>
            <a:xfrm>
              <a:off x="1461405" y="1654036"/>
              <a:ext cx="1038444" cy="438581"/>
            </a:xfrm>
            <a:prstGeom prst="rect">
              <a:avLst/>
            </a:prstGeom>
            <a:grpFill/>
          </p:spPr>
          <p:txBody>
            <a:bodyPr wrap="square" rtlCol="0">
              <a:spAutoFit/>
            </a:bodyPr>
            <a:lstStyle/>
            <a:p>
              <a:pPr algn="ctr" defTabSz="609585" fontAlgn="base">
                <a:spcBef>
                  <a:spcPct val="0"/>
                </a:spcBef>
                <a:spcAft>
                  <a:spcPct val="0"/>
                </a:spcAft>
                <a:defRPr/>
              </a:pPr>
              <a:r>
                <a:rPr lang="en-US" sz="1600">
                  <a:solidFill>
                    <a:srgbClr val="2F446B"/>
                  </a:solidFill>
                  <a:latin typeface="CiscoSansTT ExtraLight"/>
                  <a:ea typeface="ＭＳ Ｐゴシック" charset="0"/>
                  <a:cs typeface="Arial"/>
                  <a:sym typeface="Arial"/>
                </a:rPr>
                <a:t>Operations Manager</a:t>
              </a:r>
            </a:p>
          </p:txBody>
        </p:sp>
      </p:grpSp>
      <p:grpSp>
        <p:nvGrpSpPr>
          <p:cNvPr id="632" name="Group 631">
            <a:extLst>
              <a:ext uri="{FF2B5EF4-FFF2-40B4-BE49-F238E27FC236}">
                <a16:creationId xmlns:a16="http://schemas.microsoft.com/office/drawing/2014/main" id="{246D1D47-1895-8246-A5AB-97A23870DE42}"/>
              </a:ext>
            </a:extLst>
          </p:cNvPr>
          <p:cNvGrpSpPr/>
          <p:nvPr/>
        </p:nvGrpSpPr>
        <p:grpSpPr>
          <a:xfrm>
            <a:off x="8627923" y="1519603"/>
            <a:ext cx="1876208" cy="2634343"/>
            <a:chOff x="1461405" y="1118507"/>
            <a:chExt cx="1038446" cy="1975757"/>
          </a:xfrm>
          <a:solidFill>
            <a:schemeClr val="accent6"/>
          </a:solidFill>
        </p:grpSpPr>
        <p:sp>
          <p:nvSpPr>
            <p:cNvPr id="634" name="Rectangle 633">
              <a:extLst>
                <a:ext uri="{FF2B5EF4-FFF2-40B4-BE49-F238E27FC236}">
                  <a16:creationId xmlns:a16="http://schemas.microsoft.com/office/drawing/2014/main" id="{F649E95A-4CFB-2249-854E-7C5084611823}"/>
                </a:ext>
              </a:extLst>
            </p:cNvPr>
            <p:cNvSpPr/>
            <p:nvPr/>
          </p:nvSpPr>
          <p:spPr>
            <a:xfrm>
              <a:off x="1461406" y="1118507"/>
              <a:ext cx="1038445" cy="197575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85" fontAlgn="base">
                <a:spcBef>
                  <a:spcPct val="0"/>
                </a:spcBef>
                <a:spcAft>
                  <a:spcPct val="0"/>
                </a:spcAft>
                <a:defRPr/>
              </a:pPr>
              <a:r>
                <a:rPr lang="en-US" sz="1867" b="1">
                  <a:solidFill>
                    <a:srgbClr val="2F446B"/>
                  </a:solidFill>
                  <a:latin typeface="CiscoSansTT ExtraLight"/>
                  <a:sym typeface="Arial"/>
                </a:rPr>
                <a:t>Bangalore</a:t>
              </a:r>
            </a:p>
            <a:p>
              <a:pPr algn="ctr" defTabSz="609585" fontAlgn="base">
                <a:spcBef>
                  <a:spcPct val="0"/>
                </a:spcBef>
                <a:spcAft>
                  <a:spcPct val="0"/>
                </a:spcAft>
                <a:defRPr/>
              </a:pPr>
              <a:endParaRPr lang="en-US" sz="2400">
                <a:solidFill>
                  <a:srgbClr val="005073"/>
                </a:solidFill>
                <a:latin typeface="CiscoSansTT ExtraLight"/>
                <a:sym typeface="Arial"/>
              </a:endParaRPr>
            </a:p>
          </p:txBody>
        </p:sp>
        <p:sp>
          <p:nvSpPr>
            <p:cNvPr id="635" name="TextBox 634">
              <a:extLst>
                <a:ext uri="{FF2B5EF4-FFF2-40B4-BE49-F238E27FC236}">
                  <a16:creationId xmlns:a16="http://schemas.microsoft.com/office/drawing/2014/main" id="{89F7AD83-F743-4A42-8F14-0F2BAA928A35}"/>
                </a:ext>
              </a:extLst>
            </p:cNvPr>
            <p:cNvSpPr txBox="1"/>
            <p:nvPr/>
          </p:nvSpPr>
          <p:spPr>
            <a:xfrm>
              <a:off x="1461407" y="2160109"/>
              <a:ext cx="1038444" cy="253915"/>
            </a:xfrm>
            <a:prstGeom prst="rect">
              <a:avLst/>
            </a:prstGeom>
            <a:grpFill/>
          </p:spPr>
          <p:txBody>
            <a:bodyPr wrap="square" rtlCol="0">
              <a:spAutoFit/>
            </a:bodyPr>
            <a:lstStyle/>
            <a:p>
              <a:pPr algn="ctr" defTabSz="609585" fontAlgn="base">
                <a:spcBef>
                  <a:spcPct val="0"/>
                </a:spcBef>
                <a:spcAft>
                  <a:spcPct val="0"/>
                </a:spcAft>
                <a:defRPr/>
              </a:pPr>
              <a:r>
                <a:rPr lang="en-US" sz="1600">
                  <a:solidFill>
                    <a:srgbClr val="2F446B"/>
                  </a:solidFill>
                  <a:latin typeface="CiscoSansTT ExtraLight"/>
                  <a:ea typeface="ＭＳ Ｐゴシック" charset="0"/>
                  <a:cs typeface="Arial"/>
                  <a:sym typeface="Arial"/>
                </a:rPr>
                <a:t>Team Lead</a:t>
              </a:r>
            </a:p>
          </p:txBody>
        </p:sp>
        <p:sp>
          <p:nvSpPr>
            <p:cNvPr id="636" name="TextBox 635">
              <a:extLst>
                <a:ext uri="{FF2B5EF4-FFF2-40B4-BE49-F238E27FC236}">
                  <a16:creationId xmlns:a16="http://schemas.microsoft.com/office/drawing/2014/main" id="{6A038BDF-9AD6-5340-89B5-4C6BC5A815BA}"/>
                </a:ext>
              </a:extLst>
            </p:cNvPr>
            <p:cNvSpPr txBox="1"/>
            <p:nvPr/>
          </p:nvSpPr>
          <p:spPr>
            <a:xfrm>
              <a:off x="1461406" y="2531486"/>
              <a:ext cx="1038443" cy="253915"/>
            </a:xfrm>
            <a:prstGeom prst="rect">
              <a:avLst/>
            </a:prstGeom>
            <a:grpFill/>
          </p:spPr>
          <p:txBody>
            <a:bodyPr wrap="square" rtlCol="0">
              <a:spAutoFit/>
            </a:bodyPr>
            <a:lstStyle/>
            <a:p>
              <a:pPr algn="ctr" defTabSz="609585" fontAlgn="base">
                <a:spcBef>
                  <a:spcPct val="0"/>
                </a:spcBef>
                <a:spcAft>
                  <a:spcPct val="0"/>
                </a:spcAft>
                <a:defRPr/>
              </a:pPr>
              <a:r>
                <a:rPr lang="en-US" sz="1600">
                  <a:solidFill>
                    <a:srgbClr val="2F446B"/>
                  </a:solidFill>
                  <a:latin typeface="CiscoSansTT ExtraLight"/>
                  <a:ea typeface="ＭＳ Ｐゴシック" charset="0"/>
                  <a:cs typeface="Arial"/>
                  <a:sym typeface="Arial"/>
                </a:rPr>
                <a:t>Investigators</a:t>
              </a:r>
            </a:p>
          </p:txBody>
        </p:sp>
        <p:sp>
          <p:nvSpPr>
            <p:cNvPr id="637" name="TextBox 636">
              <a:extLst>
                <a:ext uri="{FF2B5EF4-FFF2-40B4-BE49-F238E27FC236}">
                  <a16:creationId xmlns:a16="http://schemas.microsoft.com/office/drawing/2014/main" id="{99DE4C97-D2EE-7546-9425-C5A7343D9119}"/>
                </a:ext>
              </a:extLst>
            </p:cNvPr>
            <p:cNvSpPr txBox="1"/>
            <p:nvPr/>
          </p:nvSpPr>
          <p:spPr>
            <a:xfrm>
              <a:off x="1461405" y="1654036"/>
              <a:ext cx="1038444" cy="438581"/>
            </a:xfrm>
            <a:prstGeom prst="rect">
              <a:avLst/>
            </a:prstGeom>
            <a:grpFill/>
          </p:spPr>
          <p:txBody>
            <a:bodyPr wrap="square" rtlCol="0">
              <a:spAutoFit/>
            </a:bodyPr>
            <a:lstStyle/>
            <a:p>
              <a:pPr algn="ctr" defTabSz="609585" fontAlgn="base">
                <a:spcBef>
                  <a:spcPct val="0"/>
                </a:spcBef>
                <a:spcAft>
                  <a:spcPct val="0"/>
                </a:spcAft>
                <a:defRPr/>
              </a:pPr>
              <a:r>
                <a:rPr lang="en-US" sz="1600">
                  <a:solidFill>
                    <a:srgbClr val="2F446B"/>
                  </a:solidFill>
                  <a:latin typeface="CiscoSansTT ExtraLight"/>
                  <a:ea typeface="ＭＳ Ｐゴシック" charset="0"/>
                  <a:cs typeface="Arial"/>
                  <a:sym typeface="Arial"/>
                </a:rPr>
                <a:t>Operations Manager</a:t>
              </a:r>
            </a:p>
          </p:txBody>
        </p:sp>
      </p:grpSp>
      <p:grpSp>
        <p:nvGrpSpPr>
          <p:cNvPr id="638" name="Group 637">
            <a:extLst>
              <a:ext uri="{FF2B5EF4-FFF2-40B4-BE49-F238E27FC236}">
                <a16:creationId xmlns:a16="http://schemas.microsoft.com/office/drawing/2014/main" id="{52B716A8-DADE-084D-B8D5-7DCF7026810B}"/>
              </a:ext>
            </a:extLst>
          </p:cNvPr>
          <p:cNvGrpSpPr/>
          <p:nvPr/>
        </p:nvGrpSpPr>
        <p:grpSpPr>
          <a:xfrm>
            <a:off x="1876249" y="4316198"/>
            <a:ext cx="8632079" cy="697627"/>
            <a:chOff x="1469303" y="1118507"/>
            <a:chExt cx="1030548" cy="1975757"/>
          </a:xfrm>
          <a:solidFill>
            <a:schemeClr val="accent6">
              <a:lumMod val="90000"/>
            </a:schemeClr>
          </a:solidFill>
        </p:grpSpPr>
        <p:sp>
          <p:nvSpPr>
            <p:cNvPr id="639" name="Rectangle 638">
              <a:extLst>
                <a:ext uri="{FF2B5EF4-FFF2-40B4-BE49-F238E27FC236}">
                  <a16:creationId xmlns:a16="http://schemas.microsoft.com/office/drawing/2014/main" id="{C868EEE9-5855-9848-9D25-0065CF681951}"/>
                </a:ext>
              </a:extLst>
            </p:cNvPr>
            <p:cNvSpPr/>
            <p:nvPr/>
          </p:nvSpPr>
          <p:spPr>
            <a:xfrm>
              <a:off x="1469303" y="1118507"/>
              <a:ext cx="1030548" cy="197575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85" fontAlgn="base">
                <a:spcBef>
                  <a:spcPct val="0"/>
                </a:spcBef>
                <a:spcAft>
                  <a:spcPct val="0"/>
                </a:spcAft>
                <a:defRPr/>
              </a:pPr>
              <a:r>
                <a:rPr lang="en-US" sz="2133" b="1">
                  <a:solidFill>
                    <a:srgbClr val="2F446B"/>
                  </a:solidFill>
                  <a:latin typeface="CiscoSansTT ExtraLight"/>
                  <a:sym typeface="Arial"/>
                </a:rPr>
                <a:t>Threat Research</a:t>
              </a:r>
            </a:p>
            <a:p>
              <a:pPr algn="ctr" defTabSz="609585" fontAlgn="base">
                <a:spcBef>
                  <a:spcPct val="0"/>
                </a:spcBef>
                <a:spcAft>
                  <a:spcPct val="0"/>
                </a:spcAft>
                <a:defRPr/>
              </a:pPr>
              <a:endParaRPr lang="en-US" sz="2133">
                <a:solidFill>
                  <a:srgbClr val="2F446B"/>
                </a:solidFill>
                <a:latin typeface="CiscoSansTT ExtraLight"/>
                <a:sym typeface="Arial"/>
              </a:endParaRPr>
            </a:p>
          </p:txBody>
        </p:sp>
        <p:sp>
          <p:nvSpPr>
            <p:cNvPr id="643" name="TextBox 642">
              <a:extLst>
                <a:ext uri="{FF2B5EF4-FFF2-40B4-BE49-F238E27FC236}">
                  <a16:creationId xmlns:a16="http://schemas.microsoft.com/office/drawing/2014/main" id="{405EF85E-5855-4044-96AD-D2F91DB16490}"/>
                </a:ext>
              </a:extLst>
            </p:cNvPr>
            <p:cNvSpPr txBox="1"/>
            <p:nvPr/>
          </p:nvSpPr>
          <p:spPr>
            <a:xfrm>
              <a:off x="1476720" y="2108124"/>
              <a:ext cx="1023129" cy="842423"/>
            </a:xfrm>
            <a:prstGeom prst="rect">
              <a:avLst/>
            </a:prstGeom>
            <a:grpFill/>
            <a:ln>
              <a:noFill/>
            </a:ln>
          </p:spPr>
          <p:txBody>
            <a:bodyPr wrap="square" rtlCol="0">
              <a:spAutoFit/>
            </a:bodyPr>
            <a:lstStyle/>
            <a:p>
              <a:pPr algn="ctr" defTabSz="609585" fontAlgn="base">
                <a:spcBef>
                  <a:spcPct val="0"/>
                </a:spcBef>
                <a:spcAft>
                  <a:spcPct val="0"/>
                </a:spcAft>
                <a:defRPr/>
              </a:pPr>
              <a:r>
                <a:rPr lang="en-US" sz="1333">
                  <a:solidFill>
                    <a:srgbClr val="2F446B"/>
                  </a:solidFill>
                  <a:latin typeface="CiscoSansTT ExtraLight"/>
                  <a:ea typeface="ＭＳ Ｐゴシック" charset="0"/>
                  <a:cs typeface="Arial"/>
                  <a:sym typeface="Arial"/>
                </a:rPr>
                <a:t>Research Analysts | Comprehensive Threat |</a:t>
              </a:r>
              <a:r>
                <a:rPr lang="en-US" sz="1333">
                  <a:solidFill>
                    <a:srgbClr val="2F446B"/>
                  </a:solidFill>
                  <a:latin typeface="Arial" charset="0"/>
                  <a:ea typeface="ＭＳ Ｐゴシック" charset="0"/>
                  <a:cs typeface="Arial"/>
                  <a:sym typeface="Arial"/>
                </a:rPr>
                <a:t> </a:t>
              </a:r>
              <a:r>
                <a:rPr lang="en-US" sz="1333">
                  <a:solidFill>
                    <a:srgbClr val="2F446B"/>
                  </a:solidFill>
                  <a:latin typeface="CiscoSansTT ExtraLight"/>
                  <a:ea typeface="ＭＳ Ｐゴシック" charset="0"/>
                  <a:cs typeface="Arial"/>
                  <a:sym typeface="Arial"/>
                </a:rPr>
                <a:t>Interface with IR, TALOS, CSIRT, and PSIRT</a:t>
              </a:r>
            </a:p>
          </p:txBody>
        </p:sp>
      </p:grpSp>
      <p:grpSp>
        <p:nvGrpSpPr>
          <p:cNvPr id="645" name="Group 644">
            <a:extLst>
              <a:ext uri="{FF2B5EF4-FFF2-40B4-BE49-F238E27FC236}">
                <a16:creationId xmlns:a16="http://schemas.microsoft.com/office/drawing/2014/main" id="{19E37D6A-8F1C-4543-AF8C-7DFB9480FB8C}"/>
              </a:ext>
            </a:extLst>
          </p:cNvPr>
          <p:cNvGrpSpPr/>
          <p:nvPr/>
        </p:nvGrpSpPr>
        <p:grpSpPr>
          <a:xfrm>
            <a:off x="1876248" y="5963224"/>
            <a:ext cx="8583552" cy="660931"/>
            <a:chOff x="1461406" y="1118507"/>
            <a:chExt cx="1038445" cy="1975757"/>
          </a:xfrm>
          <a:solidFill>
            <a:schemeClr val="accent6">
              <a:lumMod val="90000"/>
            </a:schemeClr>
          </a:solidFill>
        </p:grpSpPr>
        <p:sp>
          <p:nvSpPr>
            <p:cNvPr id="646" name="Rectangle 645">
              <a:extLst>
                <a:ext uri="{FF2B5EF4-FFF2-40B4-BE49-F238E27FC236}">
                  <a16:creationId xmlns:a16="http://schemas.microsoft.com/office/drawing/2014/main" id="{6F265A23-47F0-C049-B6A0-9D549B9BEAAF}"/>
                </a:ext>
              </a:extLst>
            </p:cNvPr>
            <p:cNvSpPr/>
            <p:nvPr/>
          </p:nvSpPr>
          <p:spPr>
            <a:xfrm>
              <a:off x="1461406" y="1118507"/>
              <a:ext cx="1038445" cy="197575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85" fontAlgn="base">
                <a:spcBef>
                  <a:spcPct val="0"/>
                </a:spcBef>
                <a:spcAft>
                  <a:spcPct val="0"/>
                </a:spcAft>
                <a:defRPr/>
              </a:pPr>
              <a:r>
                <a:rPr lang="en-US" sz="2133" b="1">
                  <a:solidFill>
                    <a:srgbClr val="2F446B"/>
                  </a:solidFill>
                  <a:latin typeface="CiscoSansTT ExtraLight"/>
                  <a:sym typeface="Arial"/>
                </a:rPr>
                <a:t>Orchestration &amp; Automation</a:t>
              </a:r>
            </a:p>
            <a:p>
              <a:pPr algn="ctr" defTabSz="609585" fontAlgn="base">
                <a:spcBef>
                  <a:spcPct val="0"/>
                </a:spcBef>
                <a:spcAft>
                  <a:spcPct val="0"/>
                </a:spcAft>
                <a:defRPr/>
              </a:pPr>
              <a:endParaRPr lang="en-US" sz="2133">
                <a:solidFill>
                  <a:srgbClr val="2F446B"/>
                </a:solidFill>
                <a:latin typeface="CiscoSansTT ExtraLight"/>
                <a:sym typeface="Arial"/>
              </a:endParaRPr>
            </a:p>
          </p:txBody>
        </p:sp>
        <p:sp>
          <p:nvSpPr>
            <p:cNvPr id="647" name="TextBox 646">
              <a:extLst>
                <a:ext uri="{FF2B5EF4-FFF2-40B4-BE49-F238E27FC236}">
                  <a16:creationId xmlns:a16="http://schemas.microsoft.com/office/drawing/2014/main" id="{F1E9D083-AC7B-6F4F-AB72-03277C26B38C}"/>
                </a:ext>
              </a:extLst>
            </p:cNvPr>
            <p:cNvSpPr txBox="1"/>
            <p:nvPr/>
          </p:nvSpPr>
          <p:spPr>
            <a:xfrm>
              <a:off x="1461406" y="2108118"/>
              <a:ext cx="1038443" cy="889196"/>
            </a:xfrm>
            <a:prstGeom prst="rect">
              <a:avLst/>
            </a:prstGeom>
            <a:grpFill/>
            <a:ln>
              <a:noFill/>
            </a:ln>
          </p:spPr>
          <p:txBody>
            <a:bodyPr wrap="square" rtlCol="0">
              <a:spAutoFit/>
            </a:bodyPr>
            <a:lstStyle/>
            <a:p>
              <a:pPr algn="ctr" defTabSz="609585" fontAlgn="base">
                <a:spcBef>
                  <a:spcPct val="0"/>
                </a:spcBef>
                <a:spcAft>
                  <a:spcPct val="0"/>
                </a:spcAft>
                <a:defRPr/>
              </a:pPr>
              <a:r>
                <a:rPr lang="en-US" sz="1333">
                  <a:solidFill>
                    <a:srgbClr val="2F446B"/>
                  </a:solidFill>
                  <a:latin typeface="CiscoSansTT ExtraLight"/>
                  <a:ea typeface="ＭＳ Ｐゴシック" charset="0"/>
                  <a:cs typeface="Arial"/>
                  <a:sym typeface="Arial"/>
                </a:rPr>
                <a:t>Playbook Automation | Scripting Service | Interface with Platform Engineering</a:t>
              </a:r>
            </a:p>
          </p:txBody>
        </p:sp>
      </p:grpSp>
      <p:grpSp>
        <p:nvGrpSpPr>
          <p:cNvPr id="648" name="Group 647">
            <a:extLst>
              <a:ext uri="{FF2B5EF4-FFF2-40B4-BE49-F238E27FC236}">
                <a16:creationId xmlns:a16="http://schemas.microsoft.com/office/drawing/2014/main" id="{CB24E64B-C05A-9340-A577-451A546F1405}"/>
              </a:ext>
            </a:extLst>
          </p:cNvPr>
          <p:cNvGrpSpPr/>
          <p:nvPr/>
        </p:nvGrpSpPr>
        <p:grpSpPr>
          <a:xfrm>
            <a:off x="1876248" y="5139711"/>
            <a:ext cx="8583552" cy="697627"/>
            <a:chOff x="1461406" y="1118507"/>
            <a:chExt cx="1038445" cy="1975757"/>
          </a:xfrm>
          <a:solidFill>
            <a:schemeClr val="accent6">
              <a:lumMod val="90000"/>
            </a:schemeClr>
          </a:solidFill>
        </p:grpSpPr>
        <p:sp>
          <p:nvSpPr>
            <p:cNvPr id="649" name="Rectangle 648">
              <a:extLst>
                <a:ext uri="{FF2B5EF4-FFF2-40B4-BE49-F238E27FC236}">
                  <a16:creationId xmlns:a16="http://schemas.microsoft.com/office/drawing/2014/main" id="{D932C727-A58C-8347-AFC2-72E810ED86E7}"/>
                </a:ext>
              </a:extLst>
            </p:cNvPr>
            <p:cNvSpPr/>
            <p:nvPr/>
          </p:nvSpPr>
          <p:spPr>
            <a:xfrm>
              <a:off x="1461406" y="1118507"/>
              <a:ext cx="1038445" cy="197575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85" fontAlgn="base">
                <a:spcBef>
                  <a:spcPct val="0"/>
                </a:spcBef>
                <a:spcAft>
                  <a:spcPct val="0"/>
                </a:spcAft>
                <a:defRPr/>
              </a:pPr>
              <a:r>
                <a:rPr lang="en-US" sz="2133" b="1">
                  <a:solidFill>
                    <a:srgbClr val="2F446B"/>
                  </a:solidFill>
                  <a:latin typeface="CiscoSansTT ExtraLight"/>
                  <a:sym typeface="Arial"/>
                </a:rPr>
                <a:t>Monitoring and Detection</a:t>
              </a:r>
            </a:p>
            <a:p>
              <a:pPr algn="ctr" defTabSz="609585" fontAlgn="base">
                <a:spcBef>
                  <a:spcPct val="0"/>
                </a:spcBef>
                <a:spcAft>
                  <a:spcPct val="0"/>
                </a:spcAft>
                <a:defRPr/>
              </a:pPr>
              <a:endParaRPr lang="en-US" sz="2133">
                <a:solidFill>
                  <a:srgbClr val="2F446B"/>
                </a:solidFill>
                <a:latin typeface="CiscoSansTT ExtraLight"/>
                <a:sym typeface="Arial"/>
              </a:endParaRPr>
            </a:p>
          </p:txBody>
        </p:sp>
        <p:sp>
          <p:nvSpPr>
            <p:cNvPr id="652" name="TextBox 651">
              <a:extLst>
                <a:ext uri="{FF2B5EF4-FFF2-40B4-BE49-F238E27FC236}">
                  <a16:creationId xmlns:a16="http://schemas.microsoft.com/office/drawing/2014/main" id="{6B0CBFA1-D036-7A47-90AF-E720C30E2407}"/>
                </a:ext>
              </a:extLst>
            </p:cNvPr>
            <p:cNvSpPr txBox="1"/>
            <p:nvPr/>
          </p:nvSpPr>
          <p:spPr>
            <a:xfrm>
              <a:off x="1461406" y="2108124"/>
              <a:ext cx="1038443" cy="842423"/>
            </a:xfrm>
            <a:prstGeom prst="rect">
              <a:avLst/>
            </a:prstGeom>
            <a:grpFill/>
            <a:ln>
              <a:noFill/>
            </a:ln>
          </p:spPr>
          <p:txBody>
            <a:bodyPr wrap="square" rtlCol="0">
              <a:spAutoFit/>
            </a:bodyPr>
            <a:lstStyle/>
            <a:p>
              <a:pPr algn="ctr" defTabSz="609585" fontAlgn="base">
                <a:spcBef>
                  <a:spcPct val="0"/>
                </a:spcBef>
                <a:spcAft>
                  <a:spcPct val="0"/>
                </a:spcAft>
                <a:defRPr/>
              </a:pPr>
              <a:r>
                <a:rPr lang="en-US" sz="1333">
                  <a:solidFill>
                    <a:srgbClr val="2F446B"/>
                  </a:solidFill>
                  <a:latin typeface="CiscoSansTT ExtraLight"/>
                  <a:ea typeface="ＭＳ Ｐゴシック" charset="0"/>
                  <a:cs typeface="Arial"/>
                  <a:sym typeface="Arial"/>
                </a:rPr>
                <a:t>Solutions Lab | Comprehensive Tuning | Interface with Offer (SA, TME), BE, and Platform Operations</a:t>
              </a:r>
            </a:p>
          </p:txBody>
        </p:sp>
      </p:grpSp>
      <p:cxnSp>
        <p:nvCxnSpPr>
          <p:cNvPr id="9" name="Straight Connector 8">
            <a:extLst>
              <a:ext uri="{FF2B5EF4-FFF2-40B4-BE49-F238E27FC236}">
                <a16:creationId xmlns:a16="http://schemas.microsoft.com/office/drawing/2014/main" id="{D59B643F-F63C-D040-ABF1-3F3F845CE92B}"/>
              </a:ext>
            </a:extLst>
          </p:cNvPr>
          <p:cNvCxnSpPr/>
          <p:nvPr/>
        </p:nvCxnSpPr>
        <p:spPr>
          <a:xfrm>
            <a:off x="2636323" y="2879016"/>
            <a:ext cx="538348"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54" name="Straight Connector 653">
            <a:extLst>
              <a:ext uri="{FF2B5EF4-FFF2-40B4-BE49-F238E27FC236}">
                <a16:creationId xmlns:a16="http://schemas.microsoft.com/office/drawing/2014/main" id="{2BCDF065-2973-BD4E-86C1-1099E0526A09}"/>
              </a:ext>
            </a:extLst>
          </p:cNvPr>
          <p:cNvCxnSpPr/>
          <p:nvPr/>
        </p:nvCxnSpPr>
        <p:spPr>
          <a:xfrm>
            <a:off x="2636323" y="3367352"/>
            <a:ext cx="538348"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55" name="Straight Connector 654">
            <a:extLst>
              <a:ext uri="{FF2B5EF4-FFF2-40B4-BE49-F238E27FC236}">
                <a16:creationId xmlns:a16="http://schemas.microsoft.com/office/drawing/2014/main" id="{FFDD4E00-3AB1-0F45-8962-84E9C41303FD}"/>
              </a:ext>
            </a:extLst>
          </p:cNvPr>
          <p:cNvCxnSpPr/>
          <p:nvPr/>
        </p:nvCxnSpPr>
        <p:spPr>
          <a:xfrm>
            <a:off x="4825639" y="2879016"/>
            <a:ext cx="538348"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56" name="Straight Connector 655">
            <a:extLst>
              <a:ext uri="{FF2B5EF4-FFF2-40B4-BE49-F238E27FC236}">
                <a16:creationId xmlns:a16="http://schemas.microsoft.com/office/drawing/2014/main" id="{96A6883E-DC97-2D4B-A455-699266856BD0}"/>
              </a:ext>
            </a:extLst>
          </p:cNvPr>
          <p:cNvCxnSpPr/>
          <p:nvPr/>
        </p:nvCxnSpPr>
        <p:spPr>
          <a:xfrm>
            <a:off x="4825639" y="3337259"/>
            <a:ext cx="538348"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57" name="Straight Connector 656">
            <a:extLst>
              <a:ext uri="{FF2B5EF4-FFF2-40B4-BE49-F238E27FC236}">
                <a16:creationId xmlns:a16="http://schemas.microsoft.com/office/drawing/2014/main" id="{D7C38073-4D53-C54B-907A-62CE7400D009}"/>
              </a:ext>
            </a:extLst>
          </p:cNvPr>
          <p:cNvCxnSpPr/>
          <p:nvPr/>
        </p:nvCxnSpPr>
        <p:spPr>
          <a:xfrm>
            <a:off x="7047730" y="2848923"/>
            <a:ext cx="538348"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58" name="Straight Connector 657">
            <a:extLst>
              <a:ext uri="{FF2B5EF4-FFF2-40B4-BE49-F238E27FC236}">
                <a16:creationId xmlns:a16="http://schemas.microsoft.com/office/drawing/2014/main" id="{E6E96B70-7CB6-E945-B4D6-D3B4C3A2D12A}"/>
              </a:ext>
            </a:extLst>
          </p:cNvPr>
          <p:cNvCxnSpPr/>
          <p:nvPr/>
        </p:nvCxnSpPr>
        <p:spPr>
          <a:xfrm>
            <a:off x="7047730" y="3337259"/>
            <a:ext cx="538348"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59" name="Straight Connector 658">
            <a:extLst>
              <a:ext uri="{FF2B5EF4-FFF2-40B4-BE49-F238E27FC236}">
                <a16:creationId xmlns:a16="http://schemas.microsoft.com/office/drawing/2014/main" id="{4720859A-1D03-AB4B-BE9E-B7723F367945}"/>
              </a:ext>
            </a:extLst>
          </p:cNvPr>
          <p:cNvCxnSpPr/>
          <p:nvPr/>
        </p:nvCxnSpPr>
        <p:spPr>
          <a:xfrm>
            <a:off x="9289485" y="2879016"/>
            <a:ext cx="538348"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60" name="Straight Connector 659">
            <a:extLst>
              <a:ext uri="{FF2B5EF4-FFF2-40B4-BE49-F238E27FC236}">
                <a16:creationId xmlns:a16="http://schemas.microsoft.com/office/drawing/2014/main" id="{F52A2C23-4828-9F49-B5BE-08FD42F4828B}"/>
              </a:ext>
            </a:extLst>
          </p:cNvPr>
          <p:cNvCxnSpPr/>
          <p:nvPr/>
        </p:nvCxnSpPr>
        <p:spPr>
          <a:xfrm>
            <a:off x="9289485" y="3316997"/>
            <a:ext cx="538348"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3656146A-FD4B-4729-8F26-BB007920D5C3}"/>
              </a:ext>
            </a:extLst>
          </p:cNvPr>
          <p:cNvSpPr>
            <a:spLocks noGrp="1"/>
          </p:cNvSpPr>
          <p:nvPr>
            <p:ph type="body" idx="1"/>
          </p:nvPr>
        </p:nvSpPr>
        <p:spPr/>
        <p:txBody>
          <a:bodyPr/>
          <a:lstStyle/>
          <a:p>
            <a:r>
              <a:rPr lang="en-US"/>
              <a:t>Cisco Managed Security Delivery Organization</a:t>
            </a:r>
          </a:p>
        </p:txBody>
      </p:sp>
    </p:spTree>
    <p:extLst>
      <p:ext uri="{BB962C8B-B14F-4D97-AF65-F5344CB8AC3E}">
        <p14:creationId xmlns:p14="http://schemas.microsoft.com/office/powerpoint/2010/main" val="3817855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4C0CFF-107C-417D-8958-3A51CE8CC17D}"/>
              </a:ext>
            </a:extLst>
          </p:cNvPr>
          <p:cNvSpPr>
            <a:spLocks noGrp="1"/>
          </p:cNvSpPr>
          <p:nvPr>
            <p:ph type="body" idx="2"/>
          </p:nvPr>
        </p:nvSpPr>
        <p:spPr>
          <a:xfrm>
            <a:off x="720000" y="3262362"/>
            <a:ext cx="6605193" cy="1223999"/>
          </a:xfrm>
        </p:spPr>
        <p:txBody>
          <a:bodyPr/>
          <a:lstStyle/>
          <a:p>
            <a:r>
              <a:rPr lang="en-US"/>
              <a:t>Cisco MDR Overview</a:t>
            </a:r>
          </a:p>
          <a:p>
            <a:endParaRPr lang="en-US"/>
          </a:p>
          <a:p>
            <a:endParaRPr lang="en-US"/>
          </a:p>
          <a:p>
            <a:r>
              <a:rPr lang="en-US">
                <a:latin typeface="CiscoSansTT ExtraLight"/>
                <a:ea typeface="Calibri" panose="020F0502020204030204" pitchFamily="34" charset="0"/>
              </a:rPr>
              <a:t> </a:t>
            </a:r>
            <a:endParaRPr lang="en-US">
              <a:ea typeface="Calibri" panose="020F0502020204030204" pitchFamily="34" charset="0"/>
            </a:endParaRPr>
          </a:p>
          <a:p>
            <a:r>
              <a:rPr lang="en-US"/>
              <a:t>  </a:t>
            </a:r>
          </a:p>
        </p:txBody>
      </p:sp>
    </p:spTree>
    <p:extLst>
      <p:ext uri="{BB962C8B-B14F-4D97-AF65-F5344CB8AC3E}">
        <p14:creationId xmlns:p14="http://schemas.microsoft.com/office/powerpoint/2010/main" val="28617478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990"/>
        <p:cNvGrpSpPr/>
        <p:nvPr/>
      </p:nvGrpSpPr>
      <p:grpSpPr>
        <a:xfrm>
          <a:off x="0" y="0"/>
          <a:ext cx="0" cy="0"/>
          <a:chOff x="0" y="0"/>
          <a:chExt cx="0" cy="0"/>
        </a:xfrm>
      </p:grpSpPr>
      <p:sp>
        <p:nvSpPr>
          <p:cNvPr id="7" name="Rectangle 6">
            <a:extLst>
              <a:ext uri="{FF2B5EF4-FFF2-40B4-BE49-F238E27FC236}">
                <a16:creationId xmlns:a16="http://schemas.microsoft.com/office/drawing/2014/main" id="{F84A8B27-77C0-6342-9784-B0A6DE7B27CE}"/>
              </a:ext>
            </a:extLst>
          </p:cNvPr>
          <p:cNvSpPr/>
          <p:nvPr/>
        </p:nvSpPr>
        <p:spPr>
          <a:xfrm>
            <a:off x="6056856" y="650576"/>
            <a:ext cx="1408385" cy="5265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US" sz="1867" kern="0">
              <a:solidFill>
                <a:srgbClr val="FFFFFF"/>
              </a:solidFill>
              <a:latin typeface="CiscoSansTT ExtraLight"/>
              <a:sym typeface="Arial"/>
            </a:endParaRPr>
          </a:p>
        </p:txBody>
      </p:sp>
      <p:sp>
        <p:nvSpPr>
          <p:cNvPr id="991" name="Google Shape;991;p198"/>
          <p:cNvSpPr/>
          <p:nvPr/>
        </p:nvSpPr>
        <p:spPr>
          <a:xfrm>
            <a:off x="6172033" y="941741"/>
            <a:ext cx="1109600" cy="1109600"/>
          </a:xfrm>
          <a:prstGeom prst="ellipse">
            <a:avLst/>
          </a:prstGeom>
          <a:solidFill>
            <a:srgbClr val="F3F7FA"/>
          </a:solidFill>
          <a:ln>
            <a:noFill/>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3" name="Text Placeholder 2">
            <a:extLst>
              <a:ext uri="{FF2B5EF4-FFF2-40B4-BE49-F238E27FC236}">
                <a16:creationId xmlns:a16="http://schemas.microsoft.com/office/drawing/2014/main" id="{3CED2DD6-6352-9E46-93C0-93027DAEF7B6}"/>
              </a:ext>
            </a:extLst>
          </p:cNvPr>
          <p:cNvSpPr>
            <a:spLocks noGrp="1"/>
          </p:cNvSpPr>
          <p:nvPr>
            <p:ph type="body" sz="quarter" idx="11"/>
          </p:nvPr>
        </p:nvSpPr>
        <p:spPr>
          <a:xfrm>
            <a:off x="7559493" y="1193697"/>
            <a:ext cx="3835324" cy="657511"/>
          </a:xfrm>
        </p:spPr>
        <p:txBody>
          <a:bodyPr/>
          <a:lstStyle/>
          <a:p>
            <a:pPr defTabSz="609570"/>
            <a:r>
              <a:rPr lang="en-US" sz="1867">
                <a:latin typeface="CiscoSansTT ExtraLight" charset="0"/>
                <a:ea typeface="CiscoSansTT ExtraLight" charset="0"/>
                <a:cs typeface="CiscoSansTT ExtraLight" charset="0"/>
              </a:rPr>
              <a:t>Increased cybersecurity workload and expanding attack surface </a:t>
            </a:r>
          </a:p>
        </p:txBody>
      </p:sp>
      <p:sp>
        <p:nvSpPr>
          <p:cNvPr id="6" name="Text Placeholder 5">
            <a:extLst>
              <a:ext uri="{FF2B5EF4-FFF2-40B4-BE49-F238E27FC236}">
                <a16:creationId xmlns:a16="http://schemas.microsoft.com/office/drawing/2014/main" id="{19452A64-0BCD-7B47-895F-33C6DA71CF7F}"/>
              </a:ext>
            </a:extLst>
          </p:cNvPr>
          <p:cNvSpPr>
            <a:spLocks noGrp="1"/>
          </p:cNvSpPr>
          <p:nvPr>
            <p:ph type="body" sz="quarter" idx="14"/>
          </p:nvPr>
        </p:nvSpPr>
        <p:spPr>
          <a:xfrm>
            <a:off x="584695" y="2255664"/>
            <a:ext cx="4123940" cy="1376725"/>
          </a:xfrm>
        </p:spPr>
        <p:txBody>
          <a:bodyPr/>
          <a:lstStyle/>
          <a:p>
            <a:r>
              <a:rPr lang="en-US"/>
              <a:t>What’s driving the Managed Security Market</a:t>
            </a:r>
          </a:p>
        </p:txBody>
      </p:sp>
      <p:sp>
        <p:nvSpPr>
          <p:cNvPr id="995" name="Google Shape;995;p198"/>
          <p:cNvSpPr/>
          <p:nvPr/>
        </p:nvSpPr>
        <p:spPr>
          <a:xfrm>
            <a:off x="-664967" y="-787367"/>
            <a:ext cx="1791600" cy="1791600"/>
          </a:xfrm>
          <a:prstGeom prst="ellipse">
            <a:avLst/>
          </a:prstGeom>
          <a:solidFill>
            <a:schemeClr val="accent5"/>
          </a:solidFill>
          <a:ln>
            <a:noFill/>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19" name="Google Shape;991;p198">
            <a:extLst>
              <a:ext uri="{FF2B5EF4-FFF2-40B4-BE49-F238E27FC236}">
                <a16:creationId xmlns:a16="http://schemas.microsoft.com/office/drawing/2014/main" id="{A903AF2C-CB03-634C-B939-91A6FFC43418}"/>
              </a:ext>
            </a:extLst>
          </p:cNvPr>
          <p:cNvSpPr/>
          <p:nvPr/>
        </p:nvSpPr>
        <p:spPr>
          <a:xfrm>
            <a:off x="6172033" y="2287065"/>
            <a:ext cx="1109600" cy="1109600"/>
          </a:xfrm>
          <a:prstGeom prst="ellipse">
            <a:avLst/>
          </a:prstGeom>
          <a:solidFill>
            <a:srgbClr val="F5F7FA"/>
          </a:solidFill>
          <a:ln>
            <a:noFill/>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21" name="Text Placeholder 2">
            <a:extLst>
              <a:ext uri="{FF2B5EF4-FFF2-40B4-BE49-F238E27FC236}">
                <a16:creationId xmlns:a16="http://schemas.microsoft.com/office/drawing/2014/main" id="{9827233F-4FCC-9B4B-8BAF-39EA9E6637FC}"/>
              </a:ext>
            </a:extLst>
          </p:cNvPr>
          <p:cNvSpPr txBox="1">
            <a:spLocks/>
          </p:cNvSpPr>
          <p:nvPr/>
        </p:nvSpPr>
        <p:spPr>
          <a:xfrm>
            <a:off x="7559493" y="2660729"/>
            <a:ext cx="3835324" cy="39326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00" b="0" i="0" u="none" strike="noStrike" cap="none">
                <a:solidFill>
                  <a:schemeClr val="tx1"/>
                </a:solidFill>
                <a:latin typeface="CiscoSansTT ExtraLight" panose="020B0303020201020303" pitchFamily="34" charset="0"/>
                <a:ea typeface="Arial"/>
                <a:cs typeface="CiscoSansTT ExtraLight" panose="020B0303020201020303" pitchFamily="34" charset="0"/>
                <a:sym typeface="Arial"/>
              </a:defRPr>
            </a:lvl1pPr>
            <a:lvl2pPr marR="0" lvl="1"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609570">
              <a:defRPr/>
            </a:pPr>
            <a:r>
              <a:rPr lang="en-US" sz="1867" kern="0">
                <a:solidFill>
                  <a:srgbClr val="2F446B"/>
                </a:solidFill>
                <a:latin typeface="CiscoSansTT ExtraLight" charset="0"/>
                <a:ea typeface="CiscoSansTT ExtraLight" charset="0"/>
                <a:cs typeface="CiscoSansTT ExtraLight" charset="0"/>
              </a:rPr>
              <a:t>Continued expansion to cloud</a:t>
            </a:r>
          </a:p>
        </p:txBody>
      </p:sp>
      <p:sp>
        <p:nvSpPr>
          <p:cNvPr id="22" name="Google Shape;991;p198">
            <a:extLst>
              <a:ext uri="{FF2B5EF4-FFF2-40B4-BE49-F238E27FC236}">
                <a16:creationId xmlns:a16="http://schemas.microsoft.com/office/drawing/2014/main" id="{CF8A0744-F465-104F-9D3E-56A2E03F0216}"/>
              </a:ext>
            </a:extLst>
          </p:cNvPr>
          <p:cNvSpPr/>
          <p:nvPr/>
        </p:nvSpPr>
        <p:spPr>
          <a:xfrm>
            <a:off x="6172033" y="3632389"/>
            <a:ext cx="1109600" cy="1109600"/>
          </a:xfrm>
          <a:prstGeom prst="ellipse">
            <a:avLst/>
          </a:prstGeom>
          <a:solidFill>
            <a:srgbClr val="F3F7FA"/>
          </a:solidFill>
          <a:ln>
            <a:noFill/>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24" name="Text Placeholder 2">
            <a:extLst>
              <a:ext uri="{FF2B5EF4-FFF2-40B4-BE49-F238E27FC236}">
                <a16:creationId xmlns:a16="http://schemas.microsoft.com/office/drawing/2014/main" id="{8F94F2F2-A03E-994C-B833-F3CD2D129797}"/>
              </a:ext>
            </a:extLst>
          </p:cNvPr>
          <p:cNvSpPr txBox="1">
            <a:spLocks/>
          </p:cNvSpPr>
          <p:nvPr/>
        </p:nvSpPr>
        <p:spPr>
          <a:xfrm>
            <a:off x="7559491" y="3884345"/>
            <a:ext cx="4395143" cy="657511"/>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00" b="0" i="0" u="none" strike="noStrike" cap="none">
                <a:solidFill>
                  <a:schemeClr val="tx1"/>
                </a:solidFill>
                <a:latin typeface="CiscoSansTT ExtraLight" panose="020B0303020201020303" pitchFamily="34" charset="0"/>
                <a:ea typeface="Arial"/>
                <a:cs typeface="CiscoSansTT ExtraLight" panose="020B0303020201020303" pitchFamily="34" charset="0"/>
                <a:sym typeface="Arial"/>
              </a:defRPr>
            </a:lvl1pPr>
            <a:lvl2pPr marR="0" lvl="1"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609570">
              <a:defRPr/>
            </a:pPr>
            <a:r>
              <a:rPr lang="en-US" sz="1867" kern="0">
                <a:solidFill>
                  <a:srgbClr val="2F446B"/>
                </a:solidFill>
                <a:latin typeface="CiscoSansTT ExtraLight" charset="0"/>
                <a:ea typeface="CiscoSansTT ExtraLight" charset="0"/>
                <a:cs typeface="CiscoSansTT ExtraLight" charset="0"/>
              </a:rPr>
              <a:t>Consolidation of endpoint and traditional managed security services</a:t>
            </a:r>
          </a:p>
        </p:txBody>
      </p:sp>
      <p:sp>
        <p:nvSpPr>
          <p:cNvPr id="25" name="Google Shape;991;p198">
            <a:extLst>
              <a:ext uri="{FF2B5EF4-FFF2-40B4-BE49-F238E27FC236}">
                <a16:creationId xmlns:a16="http://schemas.microsoft.com/office/drawing/2014/main" id="{57C765E3-5D1D-CD4C-8AFC-512AF69F3FDC}"/>
              </a:ext>
            </a:extLst>
          </p:cNvPr>
          <p:cNvSpPr/>
          <p:nvPr/>
        </p:nvSpPr>
        <p:spPr>
          <a:xfrm>
            <a:off x="6172033" y="4977713"/>
            <a:ext cx="1109600" cy="1109600"/>
          </a:xfrm>
          <a:prstGeom prst="ellipse">
            <a:avLst/>
          </a:prstGeom>
          <a:solidFill>
            <a:srgbClr val="F3F7FA"/>
          </a:solidFill>
          <a:ln>
            <a:noFill/>
          </a:ln>
        </p:spPr>
        <p:txBody>
          <a:bodyPr spcFirstLastPara="1" wrap="square" lIns="121900" tIns="121900" rIns="121900" bIns="121900" anchor="ctr" anchorCtr="0">
            <a:noAutofit/>
          </a:bodyPr>
          <a:lstStyle/>
          <a:p>
            <a:pPr defTabSz="1219170">
              <a:buClr>
                <a:srgbClr val="000000"/>
              </a:buClr>
              <a:defRPr/>
            </a:pPr>
            <a:endParaRPr sz="1867" kern="0">
              <a:solidFill>
                <a:srgbClr val="000000"/>
              </a:solidFill>
              <a:latin typeface="Arial"/>
              <a:cs typeface="Arial"/>
              <a:sym typeface="Arial"/>
            </a:endParaRPr>
          </a:p>
        </p:txBody>
      </p:sp>
      <p:sp>
        <p:nvSpPr>
          <p:cNvPr id="27" name="Text Placeholder 2">
            <a:extLst>
              <a:ext uri="{FF2B5EF4-FFF2-40B4-BE49-F238E27FC236}">
                <a16:creationId xmlns:a16="http://schemas.microsoft.com/office/drawing/2014/main" id="{284FF391-D6FC-6D42-9473-01FC9DCCD08A}"/>
              </a:ext>
            </a:extLst>
          </p:cNvPr>
          <p:cNvSpPr txBox="1">
            <a:spLocks/>
          </p:cNvSpPr>
          <p:nvPr/>
        </p:nvSpPr>
        <p:spPr>
          <a:xfrm>
            <a:off x="7559493" y="5229669"/>
            <a:ext cx="3620764" cy="657511"/>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00" b="0" i="0" u="none" strike="noStrike" cap="none">
                <a:solidFill>
                  <a:schemeClr val="tx1"/>
                </a:solidFill>
                <a:latin typeface="CiscoSansTT ExtraLight" panose="020B0303020201020303" pitchFamily="34" charset="0"/>
                <a:ea typeface="Arial"/>
                <a:cs typeface="CiscoSansTT ExtraLight" panose="020B0303020201020303" pitchFamily="34" charset="0"/>
                <a:sym typeface="Arial"/>
              </a:defRPr>
            </a:lvl1pPr>
            <a:lvl2pPr marR="0" lvl="1"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609570">
              <a:defRPr/>
            </a:pPr>
            <a:r>
              <a:rPr lang="en-US" sz="1867" kern="0">
                <a:solidFill>
                  <a:srgbClr val="2F446B"/>
                </a:solidFill>
                <a:latin typeface="CiscoSansTT ExtraLight" charset="0"/>
                <a:ea typeface="CiscoSansTT ExtraLight" charset="0"/>
                <a:cs typeface="CiscoSansTT ExtraLight" charset="0"/>
              </a:rPr>
              <a:t>Organizations looking for response guidance/capabilities</a:t>
            </a:r>
          </a:p>
        </p:txBody>
      </p:sp>
      <p:pic>
        <p:nvPicPr>
          <p:cNvPr id="3074" name="Picture 2">
            <a:extLst>
              <a:ext uri="{FF2B5EF4-FFF2-40B4-BE49-F238E27FC236}">
                <a16:creationId xmlns:a16="http://schemas.microsoft.com/office/drawing/2014/main" id="{1B75507F-A337-9347-B7B5-D3230FD091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72166" y="1141877"/>
            <a:ext cx="709332" cy="70933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A8E2C771-645D-8448-9C1F-767A313BB56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72165" y="2488968"/>
            <a:ext cx="705795" cy="705795"/>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D870DA7B-9365-6643-82C5-5693B362DD1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72166" y="3832525"/>
            <a:ext cx="709332" cy="709332"/>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a:extLst>
              <a:ext uri="{FF2B5EF4-FFF2-40B4-BE49-F238E27FC236}">
                <a16:creationId xmlns:a16="http://schemas.microsoft.com/office/drawing/2014/main" id="{A57490E5-AC76-8E49-B82A-E115788B33E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68629" y="5177847"/>
            <a:ext cx="709332" cy="7093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0196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6D6FBB2-5EED-CC47-88E4-93D4296F729B}"/>
              </a:ext>
            </a:extLst>
          </p:cNvPr>
          <p:cNvSpPr>
            <a:spLocks noGrp="1"/>
          </p:cNvSpPr>
          <p:nvPr>
            <p:ph type="body" idx="1"/>
          </p:nvPr>
        </p:nvSpPr>
        <p:spPr/>
        <p:txBody>
          <a:bodyPr/>
          <a:lstStyle/>
          <a:p>
            <a:r>
              <a:rPr lang="en-US"/>
              <a:t>Security operations challenges</a:t>
            </a:r>
          </a:p>
        </p:txBody>
      </p:sp>
      <p:sp>
        <p:nvSpPr>
          <p:cNvPr id="237" name="Google Shape;991;p198">
            <a:extLst>
              <a:ext uri="{FF2B5EF4-FFF2-40B4-BE49-F238E27FC236}">
                <a16:creationId xmlns:a16="http://schemas.microsoft.com/office/drawing/2014/main" id="{F0BBF49F-9B42-6543-90A2-86EDF58738EC}"/>
              </a:ext>
            </a:extLst>
          </p:cNvPr>
          <p:cNvSpPr>
            <a:spLocks noChangeAspect="1"/>
          </p:cNvSpPr>
          <p:nvPr/>
        </p:nvSpPr>
        <p:spPr>
          <a:xfrm>
            <a:off x="1094885" y="2040000"/>
            <a:ext cx="1560000" cy="1560000"/>
          </a:xfrm>
          <a:prstGeom prst="ellipse">
            <a:avLst/>
          </a:prstGeom>
          <a:solidFill>
            <a:srgbClr val="EDF1F7"/>
          </a:solidFill>
          <a:ln>
            <a:noFill/>
          </a:ln>
        </p:spPr>
        <p:txBody>
          <a:bodyPr spcFirstLastPara="1" wrap="square" lIns="162533" tIns="162533" rIns="162533" bIns="162533" anchor="ctr" anchorCtr="0">
            <a:noAutofit/>
          </a:bodyPr>
          <a:lstStyle/>
          <a:p>
            <a:pPr defTabSz="1625479">
              <a:buClr>
                <a:srgbClr val="000000"/>
              </a:buClr>
              <a:defRPr/>
            </a:pPr>
            <a:endParaRPr sz="2489" kern="0">
              <a:solidFill>
                <a:srgbClr val="000000"/>
              </a:solidFill>
              <a:latin typeface="Arial"/>
              <a:ea typeface="ＭＳ Ｐゴシック" charset="0"/>
              <a:cs typeface="Arial"/>
              <a:sym typeface="Arial"/>
            </a:endParaRPr>
          </a:p>
        </p:txBody>
      </p:sp>
      <p:sp>
        <p:nvSpPr>
          <p:cNvPr id="244" name="Google Shape;991;p198">
            <a:extLst>
              <a:ext uri="{FF2B5EF4-FFF2-40B4-BE49-F238E27FC236}">
                <a16:creationId xmlns:a16="http://schemas.microsoft.com/office/drawing/2014/main" id="{5D2B7A80-7009-3043-A383-76CDCA141582}"/>
              </a:ext>
            </a:extLst>
          </p:cNvPr>
          <p:cNvSpPr>
            <a:spLocks noChangeAspect="1"/>
          </p:cNvSpPr>
          <p:nvPr/>
        </p:nvSpPr>
        <p:spPr>
          <a:xfrm>
            <a:off x="6608059" y="2040000"/>
            <a:ext cx="1560000" cy="1560000"/>
          </a:xfrm>
          <a:prstGeom prst="ellipse">
            <a:avLst/>
          </a:prstGeom>
          <a:solidFill>
            <a:srgbClr val="EDF1F7"/>
          </a:solidFill>
          <a:ln>
            <a:noFill/>
          </a:ln>
        </p:spPr>
        <p:txBody>
          <a:bodyPr spcFirstLastPara="1" wrap="square" lIns="162533" tIns="162533" rIns="162533" bIns="162533" anchor="ctr" anchorCtr="0">
            <a:noAutofit/>
          </a:bodyPr>
          <a:lstStyle/>
          <a:p>
            <a:pPr defTabSz="1625479">
              <a:buClr>
                <a:srgbClr val="000000"/>
              </a:buClr>
              <a:defRPr/>
            </a:pPr>
            <a:endParaRPr sz="2489" kern="0">
              <a:solidFill>
                <a:srgbClr val="000000"/>
              </a:solidFill>
              <a:latin typeface="Arial"/>
              <a:ea typeface="ＭＳ Ｐゴシック" charset="0"/>
              <a:cs typeface="Arial"/>
              <a:sym typeface="Arial"/>
            </a:endParaRPr>
          </a:p>
        </p:txBody>
      </p:sp>
      <p:sp>
        <p:nvSpPr>
          <p:cNvPr id="251" name="Google Shape;991;p198">
            <a:extLst>
              <a:ext uri="{FF2B5EF4-FFF2-40B4-BE49-F238E27FC236}">
                <a16:creationId xmlns:a16="http://schemas.microsoft.com/office/drawing/2014/main" id="{D500EA2A-215B-0243-91F7-2BFA04ECF81D}"/>
              </a:ext>
            </a:extLst>
          </p:cNvPr>
          <p:cNvSpPr>
            <a:spLocks noChangeAspect="1"/>
          </p:cNvSpPr>
          <p:nvPr/>
        </p:nvSpPr>
        <p:spPr>
          <a:xfrm>
            <a:off x="3851472" y="2040000"/>
            <a:ext cx="1560000" cy="1560000"/>
          </a:xfrm>
          <a:prstGeom prst="ellipse">
            <a:avLst/>
          </a:prstGeom>
          <a:solidFill>
            <a:srgbClr val="EDF1F7"/>
          </a:solidFill>
          <a:ln>
            <a:noFill/>
          </a:ln>
        </p:spPr>
        <p:txBody>
          <a:bodyPr spcFirstLastPara="1" wrap="square" lIns="162533" tIns="162533" rIns="162533" bIns="162533" anchor="ctr" anchorCtr="0">
            <a:noAutofit/>
          </a:bodyPr>
          <a:lstStyle/>
          <a:p>
            <a:pPr defTabSz="1625479">
              <a:buClr>
                <a:srgbClr val="000000"/>
              </a:buClr>
              <a:defRPr/>
            </a:pPr>
            <a:endParaRPr sz="2489" kern="0">
              <a:solidFill>
                <a:srgbClr val="000000"/>
              </a:solidFill>
              <a:latin typeface="Arial"/>
              <a:ea typeface="ＭＳ Ｐゴシック" charset="0"/>
              <a:cs typeface="Arial"/>
              <a:sym typeface="Arial"/>
            </a:endParaRPr>
          </a:p>
        </p:txBody>
      </p:sp>
      <p:sp>
        <p:nvSpPr>
          <p:cNvPr id="254" name="Google Shape;991;p198">
            <a:extLst>
              <a:ext uri="{FF2B5EF4-FFF2-40B4-BE49-F238E27FC236}">
                <a16:creationId xmlns:a16="http://schemas.microsoft.com/office/drawing/2014/main" id="{542A62C3-690C-284C-954B-1A9B45CE0711}"/>
              </a:ext>
            </a:extLst>
          </p:cNvPr>
          <p:cNvSpPr>
            <a:spLocks noChangeAspect="1"/>
          </p:cNvSpPr>
          <p:nvPr/>
        </p:nvSpPr>
        <p:spPr>
          <a:xfrm>
            <a:off x="9364645" y="2040000"/>
            <a:ext cx="1560000" cy="1560000"/>
          </a:xfrm>
          <a:prstGeom prst="ellipse">
            <a:avLst/>
          </a:prstGeom>
          <a:solidFill>
            <a:srgbClr val="EDF1F7"/>
          </a:solidFill>
          <a:ln>
            <a:noFill/>
          </a:ln>
        </p:spPr>
        <p:txBody>
          <a:bodyPr spcFirstLastPara="1" wrap="square" lIns="162533" tIns="162533" rIns="162533" bIns="162533" anchor="ctr" anchorCtr="0">
            <a:noAutofit/>
          </a:bodyPr>
          <a:lstStyle/>
          <a:p>
            <a:pPr defTabSz="1625479">
              <a:buClr>
                <a:srgbClr val="000000"/>
              </a:buClr>
              <a:defRPr/>
            </a:pPr>
            <a:endParaRPr sz="2489" kern="0">
              <a:solidFill>
                <a:srgbClr val="000000"/>
              </a:solidFill>
              <a:latin typeface="Arial"/>
              <a:ea typeface="ＭＳ Ｐゴシック" charset="0"/>
              <a:cs typeface="Arial"/>
              <a:sym typeface="Arial"/>
            </a:endParaRPr>
          </a:p>
        </p:txBody>
      </p:sp>
      <p:sp>
        <p:nvSpPr>
          <p:cNvPr id="256" name="TextBox 255">
            <a:extLst>
              <a:ext uri="{FF2B5EF4-FFF2-40B4-BE49-F238E27FC236}">
                <a16:creationId xmlns:a16="http://schemas.microsoft.com/office/drawing/2014/main" id="{182F237D-7172-004D-A7BB-A7AF7ABCA2A7}"/>
              </a:ext>
            </a:extLst>
          </p:cNvPr>
          <p:cNvSpPr txBox="1"/>
          <p:nvPr/>
        </p:nvSpPr>
        <p:spPr>
          <a:xfrm>
            <a:off x="9064644" y="3769037"/>
            <a:ext cx="2160000" cy="980323"/>
          </a:xfrm>
          <a:prstGeom prst="rect">
            <a:avLst/>
          </a:prstGeom>
          <a:noFill/>
        </p:spPr>
        <p:txBody>
          <a:bodyPr wrap="square" lIns="0" tIns="0" rIns="0" bIns="0" rtlCol="0">
            <a:noAutofit/>
          </a:bodyPr>
          <a:lstStyle/>
          <a:p>
            <a:pPr algn="ctr" defTabSz="1219170">
              <a:lnSpc>
                <a:spcPts val="1733"/>
              </a:lnSpc>
              <a:buClr>
                <a:srgbClr val="000000"/>
              </a:buClr>
            </a:pPr>
            <a:r>
              <a:rPr lang="en-US" sz="1600" kern="0" dirty="0">
                <a:solidFill>
                  <a:srgbClr val="2F446B"/>
                </a:solidFill>
                <a:latin typeface="CiscoSansTT ExtraLight" panose="020B0303020201020303" pitchFamily="34" charset="0"/>
                <a:cs typeface="CiscoSansTT ExtraLight" panose="020B0303020201020303" pitchFamily="34" charset="0"/>
                <a:sym typeface="Arial"/>
              </a:rPr>
              <a:t>Respond </a:t>
            </a:r>
            <a:r>
              <a:rPr lang="en-US" sz="1600" kern="0" dirty="0">
                <a:solidFill>
                  <a:srgbClr val="000000"/>
                </a:solidFill>
                <a:latin typeface="CiscoSansTT ExtraLight" panose="020B0303020201020303" pitchFamily="34" charset="0"/>
                <a:cs typeface="CiscoSansTT ExtraLight" panose="020B0303020201020303" pitchFamily="34" charset="0"/>
                <a:sym typeface="Arial"/>
              </a:rPr>
              <a:t>to the overwhelming number of threats with defined </a:t>
            </a:r>
            <a:r>
              <a:rPr lang="en-US" sz="1600" kern="0" dirty="0">
                <a:solidFill>
                  <a:srgbClr val="2F446B"/>
                </a:solidFill>
                <a:latin typeface="CiscoSansTT ExtraLight" panose="020B0303020201020303" pitchFamily="34" charset="0"/>
                <a:cs typeface="CiscoSansTT ExtraLight" panose="020B0303020201020303" pitchFamily="34" charset="0"/>
                <a:sym typeface="Arial"/>
              </a:rPr>
              <a:t>playbooks   </a:t>
            </a:r>
          </a:p>
        </p:txBody>
      </p:sp>
      <p:sp>
        <p:nvSpPr>
          <p:cNvPr id="257" name="TextBox 256">
            <a:extLst>
              <a:ext uri="{FF2B5EF4-FFF2-40B4-BE49-F238E27FC236}">
                <a16:creationId xmlns:a16="http://schemas.microsoft.com/office/drawing/2014/main" id="{E813B7FD-40C1-AA42-A697-BC427DE50E89}"/>
              </a:ext>
            </a:extLst>
          </p:cNvPr>
          <p:cNvSpPr txBox="1"/>
          <p:nvPr/>
        </p:nvSpPr>
        <p:spPr>
          <a:xfrm>
            <a:off x="794884" y="3769037"/>
            <a:ext cx="2160000" cy="980323"/>
          </a:xfrm>
          <a:prstGeom prst="rect">
            <a:avLst/>
          </a:prstGeom>
          <a:noFill/>
        </p:spPr>
        <p:txBody>
          <a:bodyPr wrap="square" lIns="0" tIns="0" rIns="0" bIns="0" rtlCol="0">
            <a:noAutofit/>
          </a:bodyPr>
          <a:lstStyle/>
          <a:p>
            <a:pPr algn="ctr" defTabSz="1219170">
              <a:lnSpc>
                <a:spcPts val="1733"/>
              </a:lnSpc>
              <a:buClr>
                <a:srgbClr val="000000"/>
              </a:buClr>
            </a:pPr>
            <a:r>
              <a:rPr lang="en-US" sz="1600" kern="0" dirty="0">
                <a:solidFill>
                  <a:srgbClr val="2F446B"/>
                </a:solidFill>
                <a:latin typeface="CiscoSansTT ExtraLight" panose="020B0303020201020303" pitchFamily="34" charset="0"/>
                <a:cs typeface="CiscoSansTT ExtraLight" panose="020B0303020201020303" pitchFamily="34" charset="0"/>
                <a:sym typeface="Arial"/>
              </a:rPr>
              <a:t>Find, recruit, retain, </a:t>
            </a:r>
            <a:br>
              <a:rPr lang="en-US" sz="1600" kern="0" dirty="0">
                <a:solidFill>
                  <a:srgbClr val="2F446B"/>
                </a:solidFill>
                <a:latin typeface="CiscoSansTT ExtraLight" panose="020B0303020201020303" pitchFamily="34" charset="0"/>
                <a:cs typeface="CiscoSansTT ExtraLight" panose="020B0303020201020303" pitchFamily="34" charset="0"/>
                <a:sym typeface="Arial"/>
              </a:rPr>
            </a:br>
            <a:r>
              <a:rPr lang="en-US" sz="1600" kern="0" dirty="0">
                <a:solidFill>
                  <a:srgbClr val="2F446B"/>
                </a:solidFill>
                <a:latin typeface="CiscoSansTT ExtraLight" panose="020B0303020201020303" pitchFamily="34" charset="0"/>
                <a:cs typeface="CiscoSansTT ExtraLight" panose="020B0303020201020303" pitchFamily="34" charset="0"/>
                <a:sym typeface="Arial"/>
              </a:rPr>
              <a:t>and afford security expertise</a:t>
            </a:r>
          </a:p>
        </p:txBody>
      </p:sp>
      <p:sp>
        <p:nvSpPr>
          <p:cNvPr id="258" name="TextBox 257">
            <a:extLst>
              <a:ext uri="{FF2B5EF4-FFF2-40B4-BE49-F238E27FC236}">
                <a16:creationId xmlns:a16="http://schemas.microsoft.com/office/drawing/2014/main" id="{3F08FA58-96E4-804B-AA3F-9B3A7837D3B1}"/>
              </a:ext>
            </a:extLst>
          </p:cNvPr>
          <p:cNvSpPr txBox="1"/>
          <p:nvPr/>
        </p:nvSpPr>
        <p:spPr>
          <a:xfrm>
            <a:off x="6308057" y="3769037"/>
            <a:ext cx="2160000" cy="980323"/>
          </a:xfrm>
          <a:prstGeom prst="rect">
            <a:avLst/>
          </a:prstGeom>
          <a:noFill/>
        </p:spPr>
        <p:txBody>
          <a:bodyPr wrap="square" lIns="0" tIns="0" rIns="0" bIns="0" rtlCol="0">
            <a:noAutofit/>
          </a:bodyPr>
          <a:lstStyle/>
          <a:p>
            <a:pPr algn="ctr" defTabSz="1219170">
              <a:lnSpc>
                <a:spcPts val="1733"/>
              </a:lnSpc>
              <a:buClr>
                <a:srgbClr val="000000"/>
              </a:buClr>
            </a:pPr>
            <a:r>
              <a:rPr lang="en-US" sz="1600" kern="0">
                <a:solidFill>
                  <a:srgbClr val="2F446B"/>
                </a:solidFill>
                <a:latin typeface="CiscoSansTT ExtraLight" panose="020B0303020201020303" pitchFamily="34" charset="0"/>
                <a:cs typeface="CiscoSansTT ExtraLight" panose="020B0303020201020303" pitchFamily="34" charset="0"/>
                <a:sym typeface="Arial"/>
              </a:rPr>
              <a:t>Keep up </a:t>
            </a:r>
            <a:r>
              <a:rPr lang="en-US" sz="1600" kern="0">
                <a:solidFill>
                  <a:srgbClr val="000000"/>
                </a:solidFill>
                <a:latin typeface="CiscoSansTT ExtraLight" panose="020B0303020201020303" pitchFamily="34" charset="0"/>
                <a:cs typeface="CiscoSansTT ExtraLight" panose="020B0303020201020303" pitchFamily="34" charset="0"/>
                <a:sym typeface="Arial"/>
              </a:rPr>
              <a:t>with the </a:t>
            </a:r>
            <a:r>
              <a:rPr lang="en-US" sz="1600" kern="0">
                <a:solidFill>
                  <a:srgbClr val="2F446B"/>
                </a:solidFill>
                <a:latin typeface="CiscoSansTT ExtraLight" panose="020B0303020201020303" pitchFamily="34" charset="0"/>
                <a:cs typeface="CiscoSansTT ExtraLight" panose="020B0303020201020303" pitchFamily="34" charset="0"/>
                <a:sym typeface="Arial"/>
              </a:rPr>
              <a:t>growing attack surface </a:t>
            </a:r>
            <a:br>
              <a:rPr lang="en-US" sz="1600" kern="0">
                <a:solidFill>
                  <a:srgbClr val="2F446B"/>
                </a:solidFill>
                <a:latin typeface="CiscoSansTT ExtraLight" panose="020B0303020201020303" pitchFamily="34" charset="0"/>
                <a:cs typeface="CiscoSansTT ExtraLight" panose="020B0303020201020303" pitchFamily="34" charset="0"/>
                <a:sym typeface="Arial"/>
              </a:rPr>
            </a:br>
            <a:endParaRPr lang="en-US" sz="1600" kern="0">
              <a:solidFill>
                <a:srgbClr val="2F446B"/>
              </a:solidFill>
              <a:latin typeface="CiscoSansTT ExtraLight" panose="020B0303020201020303" pitchFamily="34" charset="0"/>
              <a:cs typeface="CiscoSansTT ExtraLight" panose="020B0303020201020303" pitchFamily="34" charset="0"/>
              <a:sym typeface="Arial"/>
            </a:endParaRPr>
          </a:p>
        </p:txBody>
      </p:sp>
      <p:sp>
        <p:nvSpPr>
          <p:cNvPr id="259" name="TextBox 258">
            <a:extLst>
              <a:ext uri="{FF2B5EF4-FFF2-40B4-BE49-F238E27FC236}">
                <a16:creationId xmlns:a16="http://schemas.microsoft.com/office/drawing/2014/main" id="{3FFFA0BB-2C72-204D-A017-338FD3B003DC}"/>
              </a:ext>
            </a:extLst>
          </p:cNvPr>
          <p:cNvSpPr txBox="1"/>
          <p:nvPr/>
        </p:nvSpPr>
        <p:spPr>
          <a:xfrm>
            <a:off x="3538752" y="3758264"/>
            <a:ext cx="2160000" cy="980323"/>
          </a:xfrm>
          <a:prstGeom prst="rect">
            <a:avLst/>
          </a:prstGeom>
          <a:noFill/>
        </p:spPr>
        <p:txBody>
          <a:bodyPr wrap="square" lIns="0" tIns="0" rIns="0" bIns="0" rtlCol="0">
            <a:noAutofit/>
          </a:bodyPr>
          <a:lstStyle/>
          <a:p>
            <a:pPr algn="ctr" defTabSz="1219170">
              <a:lnSpc>
                <a:spcPts val="1733"/>
              </a:lnSpc>
              <a:buClr>
                <a:srgbClr val="000000"/>
              </a:buClr>
            </a:pPr>
            <a:r>
              <a:rPr lang="en-US" sz="1600" kern="0">
                <a:solidFill>
                  <a:srgbClr val="2F446B"/>
                </a:solidFill>
                <a:latin typeface="CiscoSansTT ExtraLight" panose="020B0303020201020303" pitchFamily="34" charset="0"/>
                <a:cs typeface="CiscoSansTT ExtraLight" panose="020B0303020201020303" pitchFamily="34" charset="0"/>
                <a:sym typeface="Arial"/>
              </a:rPr>
              <a:t>Keep pace with</a:t>
            </a:r>
            <a:br>
              <a:rPr lang="en-US" sz="1600" kern="0">
                <a:solidFill>
                  <a:srgbClr val="2F446B"/>
                </a:solidFill>
                <a:latin typeface="CiscoSansTT ExtraLight" panose="020B0303020201020303" pitchFamily="34" charset="0"/>
                <a:cs typeface="CiscoSansTT ExtraLight" panose="020B0303020201020303" pitchFamily="34" charset="0"/>
                <a:sym typeface="Arial"/>
              </a:rPr>
            </a:br>
            <a:r>
              <a:rPr lang="en-US" sz="1600" kern="0">
                <a:solidFill>
                  <a:srgbClr val="2F446B"/>
                </a:solidFill>
                <a:latin typeface="CiscoSansTT ExtraLight" panose="020B0303020201020303" pitchFamily="34" charset="0"/>
                <a:cs typeface="CiscoSansTT ExtraLight" panose="020B0303020201020303" pitchFamily="34" charset="0"/>
                <a:sym typeface="Arial"/>
              </a:rPr>
              <a:t>current threats </a:t>
            </a:r>
          </a:p>
        </p:txBody>
      </p:sp>
      <p:sp>
        <p:nvSpPr>
          <p:cNvPr id="261" name="Rectangle: Rounded Corners 328">
            <a:extLst>
              <a:ext uri="{FF2B5EF4-FFF2-40B4-BE49-F238E27FC236}">
                <a16:creationId xmlns:a16="http://schemas.microsoft.com/office/drawing/2014/main" id="{2F6F6069-AE20-0B4C-9203-AD49A0B937BE}"/>
              </a:ext>
            </a:extLst>
          </p:cNvPr>
          <p:cNvSpPr/>
          <p:nvPr/>
        </p:nvSpPr>
        <p:spPr>
          <a:xfrm>
            <a:off x="696000" y="4920000"/>
            <a:ext cx="10800000" cy="720000"/>
          </a:xfrm>
          <a:prstGeom prst="roundRect">
            <a:avLst>
              <a:gd name="adj" fmla="val 50000"/>
            </a:avLst>
          </a:prstGeom>
          <a:solidFill>
            <a:srgbClr val="EDF1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r>
              <a:rPr lang="en-US" sz="2133" b="1" kern="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3.5 million </a:t>
            </a:r>
            <a:r>
              <a:rPr lang="en-US" sz="2000" kern="0">
                <a:solidFill>
                  <a:srgbClr val="2F446B"/>
                </a:solidFill>
                <a:latin typeface="CiscoSansTT ExtraLight" panose="020B0303020201020303" pitchFamily="34" charset="0"/>
                <a:ea typeface="ＭＳ Ｐゴシック" charset="0"/>
                <a:cs typeface="CiscoSansTT ExtraLight" panose="020B0303020201020303" pitchFamily="34" charset="0"/>
                <a:sym typeface="Arial"/>
              </a:rPr>
              <a:t>cybersecurity positions are projected to go unfilled by 2021*</a:t>
            </a:r>
          </a:p>
        </p:txBody>
      </p:sp>
      <p:sp>
        <p:nvSpPr>
          <p:cNvPr id="262" name="Rectangle 261">
            <a:extLst>
              <a:ext uri="{FF2B5EF4-FFF2-40B4-BE49-F238E27FC236}">
                <a16:creationId xmlns:a16="http://schemas.microsoft.com/office/drawing/2014/main" id="{8C0EA962-86AC-FA41-B111-CCE9194A5939}"/>
              </a:ext>
            </a:extLst>
          </p:cNvPr>
          <p:cNvSpPr/>
          <p:nvPr/>
        </p:nvSpPr>
        <p:spPr>
          <a:xfrm>
            <a:off x="7871945" y="6395874"/>
            <a:ext cx="3600388" cy="164212"/>
          </a:xfrm>
          <a:prstGeom prst="rect">
            <a:avLst/>
          </a:prstGeom>
        </p:spPr>
        <p:txBody>
          <a:bodyPr wrap="square" lIns="0" tIns="0" rIns="0" bIns="0">
            <a:spAutoFit/>
          </a:bodyPr>
          <a:lstStyle/>
          <a:p>
            <a:pPr algn="r" defTabSz="1219170">
              <a:buClr>
                <a:srgbClr val="000000"/>
              </a:buClr>
            </a:pPr>
            <a:r>
              <a:rPr lang="en-US" sz="1067" kern="0">
                <a:solidFill>
                  <a:srgbClr val="2F446B"/>
                </a:solidFill>
                <a:latin typeface="CiscoSansTT Light" panose="020B0503020201020303" pitchFamily="34" charset="0"/>
                <a:cs typeface="CiscoSansTT Light" panose="020B0503020201020303" pitchFamily="34" charset="0"/>
                <a:sym typeface="Arial"/>
              </a:rPr>
              <a:t>*According to </a:t>
            </a:r>
            <a:r>
              <a:rPr lang="en-US" sz="1067" kern="0">
                <a:solidFill>
                  <a:srgbClr val="00BCEB"/>
                </a:solidFill>
                <a:latin typeface="CiscoSansTT Light" panose="020B0503020201020303" pitchFamily="34" charset="0"/>
                <a:cs typeface="CiscoSansTT Light" panose="020B0503020201020303" pitchFamily="34" charset="0"/>
                <a:sym typeface="Arial"/>
                <a:hlinkClick r:id="rId3">
                  <a:extLst>
                    <a:ext uri="{A12FA001-AC4F-418D-AE19-62706E023703}">
                      <ahyp:hlinkClr xmlns:ahyp="http://schemas.microsoft.com/office/drawing/2018/hyperlinkcolor" val="tx"/>
                    </a:ext>
                  </a:extLst>
                </a:hlinkClick>
              </a:rPr>
              <a:t>Cybersecurity Ventures</a:t>
            </a:r>
            <a:endParaRPr lang="en-US" sz="1067" kern="0">
              <a:solidFill>
                <a:srgbClr val="00BCEB"/>
              </a:solidFill>
              <a:latin typeface="CiscoSansTT Light" panose="020B0503020201020303" pitchFamily="34" charset="0"/>
              <a:cs typeface="CiscoSansTT Light" panose="020B0503020201020303" pitchFamily="34" charset="0"/>
              <a:sym typeface="Arial"/>
            </a:endParaRPr>
          </a:p>
        </p:txBody>
      </p:sp>
      <p:pic>
        <p:nvPicPr>
          <p:cNvPr id="263" name="Google Shape;1552;p246">
            <a:extLst>
              <a:ext uri="{FF2B5EF4-FFF2-40B4-BE49-F238E27FC236}">
                <a16:creationId xmlns:a16="http://schemas.microsoft.com/office/drawing/2014/main" id="{23A30897-88F5-9A4D-A09E-D327B4BD1D97}"/>
              </a:ext>
            </a:extLst>
          </p:cNvPr>
          <p:cNvPicPr preferRelativeResize="0">
            <a:picLocks noChangeAspect="1"/>
          </p:cNvPicPr>
          <p:nvPr/>
        </p:nvPicPr>
        <p:blipFill rotWithShape="1">
          <a:blip r:embed="rId4">
            <a:alphaModFix/>
          </a:blip>
          <a:srcRect/>
          <a:stretch/>
        </p:blipFill>
        <p:spPr>
          <a:xfrm>
            <a:off x="1267355" y="2205002"/>
            <a:ext cx="1223999" cy="1223999"/>
          </a:xfrm>
          <a:prstGeom prst="rect">
            <a:avLst/>
          </a:prstGeom>
          <a:noFill/>
          <a:ln>
            <a:noFill/>
          </a:ln>
        </p:spPr>
      </p:pic>
      <p:pic>
        <p:nvPicPr>
          <p:cNvPr id="264" name="Google Shape;1638;p250">
            <a:extLst>
              <a:ext uri="{FF2B5EF4-FFF2-40B4-BE49-F238E27FC236}">
                <a16:creationId xmlns:a16="http://schemas.microsoft.com/office/drawing/2014/main" id="{9475AF42-F5F7-BD47-8DC4-36AFDC64BE7F}"/>
              </a:ext>
            </a:extLst>
          </p:cNvPr>
          <p:cNvPicPr preferRelativeResize="0">
            <a:picLocks noChangeAspect="1"/>
          </p:cNvPicPr>
          <p:nvPr/>
        </p:nvPicPr>
        <p:blipFill rotWithShape="1">
          <a:blip r:embed="rId5">
            <a:alphaModFix/>
          </a:blip>
          <a:srcRect/>
          <a:stretch/>
        </p:blipFill>
        <p:spPr>
          <a:xfrm>
            <a:off x="9532645" y="2205362"/>
            <a:ext cx="1223999" cy="1223999"/>
          </a:xfrm>
          <a:prstGeom prst="rect">
            <a:avLst/>
          </a:prstGeom>
          <a:noFill/>
          <a:ln>
            <a:noFill/>
          </a:ln>
        </p:spPr>
      </p:pic>
      <p:pic>
        <p:nvPicPr>
          <p:cNvPr id="265" name="Google Shape;1668;p251">
            <a:extLst>
              <a:ext uri="{FF2B5EF4-FFF2-40B4-BE49-F238E27FC236}">
                <a16:creationId xmlns:a16="http://schemas.microsoft.com/office/drawing/2014/main" id="{DBE93318-7C98-D24C-A71B-B4E6FAF717DC}"/>
              </a:ext>
            </a:extLst>
          </p:cNvPr>
          <p:cNvPicPr preferRelativeResize="0">
            <a:picLocks noChangeAspect="1"/>
          </p:cNvPicPr>
          <p:nvPr/>
        </p:nvPicPr>
        <p:blipFill rotWithShape="1">
          <a:blip r:embed="rId6">
            <a:alphaModFix/>
          </a:blip>
          <a:srcRect/>
          <a:stretch/>
        </p:blipFill>
        <p:spPr>
          <a:xfrm>
            <a:off x="4019473" y="2205002"/>
            <a:ext cx="1223999" cy="1223999"/>
          </a:xfrm>
          <a:prstGeom prst="rect">
            <a:avLst/>
          </a:prstGeom>
          <a:noFill/>
          <a:ln>
            <a:noFill/>
          </a:ln>
        </p:spPr>
      </p:pic>
      <p:pic>
        <p:nvPicPr>
          <p:cNvPr id="267" name="Google Shape;3034;p679">
            <a:extLst>
              <a:ext uri="{FF2B5EF4-FFF2-40B4-BE49-F238E27FC236}">
                <a16:creationId xmlns:a16="http://schemas.microsoft.com/office/drawing/2014/main" id="{921E95EB-7E3B-F046-BFC3-4A3F39A87AF7}"/>
              </a:ext>
            </a:extLst>
          </p:cNvPr>
          <p:cNvPicPr preferRelativeResize="0">
            <a:picLocks noChangeAspect="1"/>
          </p:cNvPicPr>
          <p:nvPr/>
        </p:nvPicPr>
        <p:blipFill rotWithShape="1">
          <a:blip r:embed="rId7">
            <a:alphaModFix/>
          </a:blip>
          <a:srcRect/>
          <a:stretch/>
        </p:blipFill>
        <p:spPr>
          <a:xfrm>
            <a:off x="6776058" y="2205002"/>
            <a:ext cx="1223999" cy="1223999"/>
          </a:xfrm>
          <a:prstGeom prst="rect">
            <a:avLst/>
          </a:prstGeom>
          <a:noFill/>
          <a:ln>
            <a:noFill/>
          </a:ln>
        </p:spPr>
      </p:pic>
    </p:spTree>
    <p:extLst>
      <p:ext uri="{BB962C8B-B14F-4D97-AF65-F5344CB8AC3E}">
        <p14:creationId xmlns:p14="http://schemas.microsoft.com/office/powerpoint/2010/main" val="16531008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6" name="Freeform: Shape 45">
            <a:extLst>
              <a:ext uri="{FF2B5EF4-FFF2-40B4-BE49-F238E27FC236}">
                <a16:creationId xmlns:a16="http://schemas.microsoft.com/office/drawing/2014/main" id="{12474A9F-4F49-5B41-B83A-6315CE913B90}"/>
              </a:ext>
            </a:extLst>
          </p:cNvPr>
          <p:cNvSpPr>
            <a:spLocks/>
          </p:cNvSpPr>
          <p:nvPr/>
        </p:nvSpPr>
        <p:spPr bwMode="auto">
          <a:xfrm flipH="1">
            <a:off x="2200635" y="2355874"/>
            <a:ext cx="8792813" cy="2565260"/>
          </a:xfrm>
          <a:custGeom>
            <a:avLst/>
            <a:gdLst>
              <a:gd name="connsiteX0" fmla="*/ 1185016 w 6680137"/>
              <a:gd name="connsiteY0" fmla="*/ 366871 h 2886231"/>
              <a:gd name="connsiteX1" fmla="*/ 1185016 w 6680137"/>
              <a:gd name="connsiteY1" fmla="*/ 2886231 h 2886231"/>
              <a:gd name="connsiteX2" fmla="*/ 3986150 w 6680137"/>
              <a:gd name="connsiteY2" fmla="*/ 2886231 h 2886231"/>
              <a:gd name="connsiteX3" fmla="*/ 6680137 w 6680137"/>
              <a:gd name="connsiteY3" fmla="*/ 2886231 h 2886231"/>
              <a:gd name="connsiteX4" fmla="*/ 6504109 w 6680137"/>
              <a:gd name="connsiteY4" fmla="*/ 2880859 h 2886231"/>
              <a:gd name="connsiteX5" fmla="*/ 6320428 w 6680137"/>
              <a:gd name="connsiteY5" fmla="*/ 2870116 h 2886231"/>
              <a:gd name="connsiteX6" fmla="*/ 6144401 w 6680137"/>
              <a:gd name="connsiteY6" fmla="*/ 2848629 h 2886231"/>
              <a:gd name="connsiteX7" fmla="*/ 5968373 w 6680137"/>
              <a:gd name="connsiteY7" fmla="*/ 2821770 h 2886231"/>
              <a:gd name="connsiteX8" fmla="*/ 5792346 w 6680137"/>
              <a:gd name="connsiteY8" fmla="*/ 2789539 h 2886231"/>
              <a:gd name="connsiteX9" fmla="*/ 5623971 w 6680137"/>
              <a:gd name="connsiteY9" fmla="*/ 2751937 h 2886231"/>
              <a:gd name="connsiteX10" fmla="*/ 5455597 w 6680137"/>
              <a:gd name="connsiteY10" fmla="*/ 2703591 h 2886231"/>
              <a:gd name="connsiteX11" fmla="*/ 5287223 w 6680137"/>
              <a:gd name="connsiteY11" fmla="*/ 2649873 h 2886231"/>
              <a:gd name="connsiteX12" fmla="*/ 5118849 w 6680137"/>
              <a:gd name="connsiteY12" fmla="*/ 2590784 h 2886231"/>
              <a:gd name="connsiteX13" fmla="*/ 4950475 w 6680137"/>
              <a:gd name="connsiteY13" fmla="*/ 2531694 h 2886231"/>
              <a:gd name="connsiteX14" fmla="*/ 4789754 w 6680137"/>
              <a:gd name="connsiteY14" fmla="*/ 2461861 h 2886231"/>
              <a:gd name="connsiteX15" fmla="*/ 4621380 w 6680137"/>
              <a:gd name="connsiteY15" fmla="*/ 2392028 h 2886231"/>
              <a:gd name="connsiteX16" fmla="*/ 4460659 w 6680137"/>
              <a:gd name="connsiteY16" fmla="*/ 2311452 h 2886231"/>
              <a:gd name="connsiteX17" fmla="*/ 4307592 w 6680137"/>
              <a:gd name="connsiteY17" fmla="*/ 2236247 h 2886231"/>
              <a:gd name="connsiteX18" fmla="*/ 3986150 w 6680137"/>
              <a:gd name="connsiteY18" fmla="*/ 2064350 h 2886231"/>
              <a:gd name="connsiteX19" fmla="*/ 3802469 w 6680137"/>
              <a:gd name="connsiteY19" fmla="*/ 1962287 h 2886231"/>
              <a:gd name="connsiteX20" fmla="*/ 3618788 w 6680137"/>
              <a:gd name="connsiteY20" fmla="*/ 1849480 h 2886231"/>
              <a:gd name="connsiteX21" fmla="*/ 3251427 w 6680137"/>
              <a:gd name="connsiteY21" fmla="*/ 1623865 h 2886231"/>
              <a:gd name="connsiteX22" fmla="*/ 2891718 w 6680137"/>
              <a:gd name="connsiteY22" fmla="*/ 1398251 h 2886231"/>
              <a:gd name="connsiteX23" fmla="*/ 2547316 w 6680137"/>
              <a:gd name="connsiteY23" fmla="*/ 1167265 h 2886231"/>
              <a:gd name="connsiteX24" fmla="*/ 2195261 w 6680137"/>
              <a:gd name="connsiteY24" fmla="*/ 947022 h 2886231"/>
              <a:gd name="connsiteX25" fmla="*/ 1858513 w 6680137"/>
              <a:gd name="connsiteY25" fmla="*/ 737523 h 2886231"/>
              <a:gd name="connsiteX26" fmla="*/ 1690139 w 6680137"/>
              <a:gd name="connsiteY26" fmla="*/ 635460 h 2886231"/>
              <a:gd name="connsiteX27" fmla="*/ 1521765 w 6680137"/>
              <a:gd name="connsiteY27" fmla="*/ 544139 h 2886231"/>
              <a:gd name="connsiteX28" fmla="*/ 1353390 w 6680137"/>
              <a:gd name="connsiteY28" fmla="*/ 452819 h 2886231"/>
              <a:gd name="connsiteX29" fmla="*/ 0 w 6680137"/>
              <a:gd name="connsiteY29" fmla="*/ 0 h 2886231"/>
              <a:gd name="connsiteX30" fmla="*/ 0 w 6680137"/>
              <a:gd name="connsiteY30" fmla="*/ 2886229 h 2886231"/>
              <a:gd name="connsiteX31" fmla="*/ 1185015 w 6680137"/>
              <a:gd name="connsiteY31" fmla="*/ 2886229 h 2886231"/>
              <a:gd name="connsiteX32" fmla="*/ 1185015 w 6680137"/>
              <a:gd name="connsiteY32" fmla="*/ 366869 h 2886231"/>
              <a:gd name="connsiteX33" fmla="*/ 1008988 w 6680137"/>
              <a:gd name="connsiteY33" fmla="*/ 286292 h 2886231"/>
              <a:gd name="connsiteX34" fmla="*/ 832960 w 6680137"/>
              <a:gd name="connsiteY34" fmla="*/ 211087 h 2886231"/>
              <a:gd name="connsiteX35" fmla="*/ 656933 w 6680137"/>
              <a:gd name="connsiteY35" fmla="*/ 146626 h 2886231"/>
              <a:gd name="connsiteX36" fmla="*/ 480905 w 6680137"/>
              <a:gd name="connsiteY36" fmla="*/ 92909 h 2886231"/>
              <a:gd name="connsiteX37" fmla="*/ 304877 w 6680137"/>
              <a:gd name="connsiteY37" fmla="*/ 44563 h 2886231"/>
              <a:gd name="connsiteX38" fmla="*/ 128850 w 6680137"/>
              <a:gd name="connsiteY38" fmla="*/ 12332 h 2886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680137" h="2886231">
                <a:moveTo>
                  <a:pt x="1185016" y="366871"/>
                </a:moveTo>
                <a:lnTo>
                  <a:pt x="1185016" y="2886231"/>
                </a:lnTo>
                <a:lnTo>
                  <a:pt x="3986150" y="2886231"/>
                </a:lnTo>
                <a:lnTo>
                  <a:pt x="6680137" y="2886231"/>
                </a:lnTo>
                <a:lnTo>
                  <a:pt x="6504109" y="2880859"/>
                </a:lnTo>
                <a:lnTo>
                  <a:pt x="6320428" y="2870116"/>
                </a:lnTo>
                <a:lnTo>
                  <a:pt x="6144401" y="2848629"/>
                </a:lnTo>
                <a:lnTo>
                  <a:pt x="5968373" y="2821770"/>
                </a:lnTo>
                <a:lnTo>
                  <a:pt x="5792346" y="2789539"/>
                </a:lnTo>
                <a:lnTo>
                  <a:pt x="5623971" y="2751937"/>
                </a:lnTo>
                <a:lnTo>
                  <a:pt x="5455597" y="2703591"/>
                </a:lnTo>
                <a:lnTo>
                  <a:pt x="5287223" y="2649873"/>
                </a:lnTo>
                <a:lnTo>
                  <a:pt x="5118849" y="2590784"/>
                </a:lnTo>
                <a:lnTo>
                  <a:pt x="4950475" y="2531694"/>
                </a:lnTo>
                <a:lnTo>
                  <a:pt x="4789754" y="2461861"/>
                </a:lnTo>
                <a:lnTo>
                  <a:pt x="4621380" y="2392028"/>
                </a:lnTo>
                <a:lnTo>
                  <a:pt x="4460659" y="2311452"/>
                </a:lnTo>
                <a:lnTo>
                  <a:pt x="4307592" y="2236247"/>
                </a:lnTo>
                <a:lnTo>
                  <a:pt x="3986150" y="2064350"/>
                </a:lnTo>
                <a:lnTo>
                  <a:pt x="3802469" y="1962287"/>
                </a:lnTo>
                <a:lnTo>
                  <a:pt x="3618788" y="1849480"/>
                </a:lnTo>
                <a:lnTo>
                  <a:pt x="3251427" y="1623865"/>
                </a:lnTo>
                <a:lnTo>
                  <a:pt x="2891718" y="1398251"/>
                </a:lnTo>
                <a:lnTo>
                  <a:pt x="2547316" y="1167265"/>
                </a:lnTo>
                <a:lnTo>
                  <a:pt x="2195261" y="947022"/>
                </a:lnTo>
                <a:lnTo>
                  <a:pt x="1858513" y="737523"/>
                </a:lnTo>
                <a:lnTo>
                  <a:pt x="1690139" y="635460"/>
                </a:lnTo>
                <a:lnTo>
                  <a:pt x="1521765" y="544139"/>
                </a:lnTo>
                <a:lnTo>
                  <a:pt x="1353390" y="452819"/>
                </a:lnTo>
                <a:close/>
                <a:moveTo>
                  <a:pt x="0" y="0"/>
                </a:moveTo>
                <a:lnTo>
                  <a:pt x="0" y="2886229"/>
                </a:lnTo>
                <a:lnTo>
                  <a:pt x="1185015" y="2886229"/>
                </a:lnTo>
                <a:lnTo>
                  <a:pt x="1185015" y="366869"/>
                </a:lnTo>
                <a:lnTo>
                  <a:pt x="1008988" y="286292"/>
                </a:lnTo>
                <a:lnTo>
                  <a:pt x="832960" y="211087"/>
                </a:lnTo>
                <a:lnTo>
                  <a:pt x="656933" y="146626"/>
                </a:lnTo>
                <a:lnTo>
                  <a:pt x="480905" y="92909"/>
                </a:lnTo>
                <a:lnTo>
                  <a:pt x="304877" y="44563"/>
                </a:lnTo>
                <a:lnTo>
                  <a:pt x="128850" y="12332"/>
                </a:lnTo>
                <a:close/>
              </a:path>
            </a:pathLst>
          </a:custGeom>
          <a:gradFill flip="none" rotWithShape="1">
            <a:gsLst>
              <a:gs pos="0">
                <a:srgbClr val="BBCDDF"/>
              </a:gs>
              <a:gs pos="48000">
                <a:srgbClr val="EDF1F7"/>
              </a:gs>
            </a:gsLst>
            <a:lin ang="0" scaled="0"/>
            <a:tileRect/>
          </a:gradFill>
          <a:ln w="9525">
            <a:noFill/>
            <a:round/>
            <a:headEnd/>
            <a:tailEnd/>
          </a:ln>
        </p:spPr>
        <p:txBody>
          <a:bodyPr vert="horz" wrap="square" lIns="91452" tIns="45727" rIns="91452" bIns="45727" numCol="1" anchor="t" anchorCtr="0" compatLnSpc="1">
            <a:prstTxWarp prst="textNoShape">
              <a:avLst/>
            </a:prstTxWarp>
            <a:noAutofit/>
          </a:bodyPr>
          <a:lstStyle/>
          <a:p>
            <a:pPr defTabSz="1219170">
              <a:buClr>
                <a:srgbClr val="000000"/>
              </a:buClr>
            </a:pPr>
            <a:endParaRPr lang="en-US" sz="1867" kern="0">
              <a:solidFill>
                <a:srgbClr val="000000"/>
              </a:solidFill>
              <a:latin typeface="Arial"/>
              <a:cs typeface="Arial"/>
              <a:sym typeface="Arial"/>
            </a:endParaRPr>
          </a:p>
        </p:txBody>
      </p:sp>
      <p:sp>
        <p:nvSpPr>
          <p:cNvPr id="317" name="Rectangle 316">
            <a:extLst>
              <a:ext uri="{FF2B5EF4-FFF2-40B4-BE49-F238E27FC236}">
                <a16:creationId xmlns:a16="http://schemas.microsoft.com/office/drawing/2014/main" id="{070424A5-6499-E149-A2D4-4DBD215EE8BE}"/>
              </a:ext>
            </a:extLst>
          </p:cNvPr>
          <p:cNvSpPr/>
          <p:nvPr/>
        </p:nvSpPr>
        <p:spPr>
          <a:xfrm>
            <a:off x="740733" y="5055302"/>
            <a:ext cx="10731600" cy="1179801"/>
          </a:xfrm>
          <a:prstGeom prst="rect">
            <a:avLst/>
          </a:prstGeom>
          <a:solidFill>
            <a:srgbClr val="EDF1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US" sz="1867" kern="0">
              <a:solidFill>
                <a:srgbClr val="FFFFFF"/>
              </a:solidFill>
              <a:latin typeface="Arial"/>
              <a:sym typeface="Arial"/>
            </a:endParaRPr>
          </a:p>
        </p:txBody>
      </p:sp>
      <p:sp>
        <p:nvSpPr>
          <p:cNvPr id="318" name="Freeform 7">
            <a:extLst>
              <a:ext uri="{FF2B5EF4-FFF2-40B4-BE49-F238E27FC236}">
                <a16:creationId xmlns:a16="http://schemas.microsoft.com/office/drawing/2014/main" id="{CEAF649B-9140-3C45-9BE3-67E5A55080F4}"/>
              </a:ext>
            </a:extLst>
          </p:cNvPr>
          <p:cNvSpPr>
            <a:spLocks noEditPoints="1"/>
          </p:cNvSpPr>
          <p:nvPr/>
        </p:nvSpPr>
        <p:spPr bwMode="auto">
          <a:xfrm>
            <a:off x="4248041" y="2951273"/>
            <a:ext cx="443352" cy="478601"/>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5">
              <a:lumMod val="60000"/>
              <a:lumOff val="40000"/>
            </a:schemeClr>
          </a:solidFill>
          <a:ln w="19050" cap="flat" cmpd="sng">
            <a:noFill/>
            <a:prstDash val="solid"/>
            <a:round/>
            <a:headEnd type="none" w="med" len="med"/>
            <a:tailEnd type="none" w="med" len="med"/>
          </a:ln>
          <a:effectLst/>
        </p:spPr>
        <p:txBody>
          <a:bodyPr lIns="121909" tIns="60955" rIns="121909" bIns="60955"/>
          <a:lstStyle/>
          <a:p>
            <a:pPr defTabSz="1219170">
              <a:buClr>
                <a:srgbClr val="000000"/>
              </a:buClr>
            </a:pPr>
            <a:endParaRPr lang="en-US" sz="1867" kern="0">
              <a:solidFill>
                <a:srgbClr val="282828"/>
              </a:solidFill>
              <a:latin typeface="CiscoSansTT ExtraLight"/>
              <a:cs typeface="Arial"/>
              <a:sym typeface="Arial"/>
            </a:endParaRPr>
          </a:p>
        </p:txBody>
      </p:sp>
      <p:sp>
        <p:nvSpPr>
          <p:cNvPr id="319" name="Freeform 7">
            <a:extLst>
              <a:ext uri="{FF2B5EF4-FFF2-40B4-BE49-F238E27FC236}">
                <a16:creationId xmlns:a16="http://schemas.microsoft.com/office/drawing/2014/main" id="{95B651B5-A03A-5746-9E10-C5F94B21B95E}"/>
              </a:ext>
            </a:extLst>
          </p:cNvPr>
          <p:cNvSpPr>
            <a:spLocks noEditPoints="1"/>
          </p:cNvSpPr>
          <p:nvPr/>
        </p:nvSpPr>
        <p:spPr bwMode="auto">
          <a:xfrm>
            <a:off x="9617137" y="1196409"/>
            <a:ext cx="443352" cy="478601"/>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5"/>
          </a:solidFill>
          <a:ln w="19050" cap="flat" cmpd="sng">
            <a:noFill/>
            <a:prstDash val="solid"/>
            <a:round/>
            <a:headEnd type="none" w="med" len="med"/>
            <a:tailEnd type="none" w="med" len="med"/>
          </a:ln>
          <a:effectLst/>
        </p:spPr>
        <p:txBody>
          <a:bodyPr lIns="121909" tIns="60955" rIns="121909" bIns="60955"/>
          <a:lstStyle/>
          <a:p>
            <a:pPr defTabSz="1219170">
              <a:buClr>
                <a:srgbClr val="000000"/>
              </a:buClr>
            </a:pPr>
            <a:endParaRPr lang="en-US" sz="1867" kern="0">
              <a:solidFill>
                <a:srgbClr val="282828"/>
              </a:solidFill>
              <a:latin typeface="CiscoSansTT ExtraLight"/>
              <a:cs typeface="Arial"/>
              <a:sym typeface="Arial"/>
            </a:endParaRPr>
          </a:p>
        </p:txBody>
      </p:sp>
      <p:sp>
        <p:nvSpPr>
          <p:cNvPr id="320" name="Text Box 15">
            <a:extLst>
              <a:ext uri="{FF2B5EF4-FFF2-40B4-BE49-F238E27FC236}">
                <a16:creationId xmlns:a16="http://schemas.microsoft.com/office/drawing/2014/main" id="{1D9BB1DE-701A-5742-B4E9-3DBC79D6D707}"/>
              </a:ext>
            </a:extLst>
          </p:cNvPr>
          <p:cNvSpPr txBox="1">
            <a:spLocks noChangeArrowheads="1"/>
          </p:cNvSpPr>
          <p:nvPr/>
        </p:nvSpPr>
        <p:spPr bwMode="auto">
          <a:xfrm>
            <a:off x="4542890" y="3492247"/>
            <a:ext cx="2087033" cy="641351"/>
          </a:xfrm>
          <a:prstGeom prst="rect">
            <a:avLst/>
          </a:prstGeom>
          <a:noFill/>
          <a:ln w="9525">
            <a:noFill/>
            <a:miter lim="800000"/>
            <a:headEnd/>
            <a:tailEnd/>
          </a:ln>
          <a:effectLst/>
        </p:spPr>
        <p:txBody>
          <a:bodyPr lIns="0" tIns="0" rIns="0" bIns="0"/>
          <a:lstStyle/>
          <a:p>
            <a:pPr defTabSz="1219170">
              <a:lnSpc>
                <a:spcPts val="2133"/>
              </a:lnSpc>
              <a:buClr>
                <a:srgbClr val="000000"/>
              </a:buClr>
            </a:pPr>
            <a:r>
              <a:rPr lang="en-US" sz="1600" kern="0">
                <a:solidFill>
                  <a:srgbClr val="2F446B"/>
                </a:solidFill>
                <a:latin typeface="CiscoSansTT ExtraLight" panose="020B0303020201020303" pitchFamily="34" charset="0"/>
                <a:cs typeface="CiscoSansTT ExtraLight" panose="020B0303020201020303" pitchFamily="34" charset="0"/>
                <a:sym typeface="Arial"/>
              </a:rPr>
              <a:t>Early detection</a:t>
            </a:r>
          </a:p>
          <a:p>
            <a:pPr defTabSz="1219170">
              <a:lnSpc>
                <a:spcPts val="2133"/>
              </a:lnSpc>
              <a:buClr>
                <a:srgbClr val="000000"/>
              </a:buClr>
            </a:pPr>
            <a:r>
              <a:rPr lang="en-US" sz="2000" b="1" kern="0">
                <a:solidFill>
                  <a:srgbClr val="00BCEB"/>
                </a:solidFill>
                <a:latin typeface="CiscoSansTT ExtraLight" panose="020B0303020201020303" pitchFamily="34" charset="0"/>
                <a:cs typeface="CiscoSansTT ExtraLight" panose="020B0303020201020303" pitchFamily="34" charset="0"/>
                <a:sym typeface="Arial"/>
              </a:rPr>
              <a:t>Low impact</a:t>
            </a:r>
          </a:p>
        </p:txBody>
      </p:sp>
      <p:sp>
        <p:nvSpPr>
          <p:cNvPr id="321" name="Line 14">
            <a:extLst>
              <a:ext uri="{FF2B5EF4-FFF2-40B4-BE49-F238E27FC236}">
                <a16:creationId xmlns:a16="http://schemas.microsoft.com/office/drawing/2014/main" id="{4089EC7B-B3AF-9948-8EBB-B3A243675C6B}"/>
              </a:ext>
            </a:extLst>
          </p:cNvPr>
          <p:cNvSpPr>
            <a:spLocks noChangeShapeType="1"/>
          </p:cNvSpPr>
          <p:nvPr/>
        </p:nvSpPr>
        <p:spPr bwMode="auto">
          <a:xfrm flipV="1">
            <a:off x="4469717" y="3457435"/>
            <a:ext cx="0" cy="1219200"/>
          </a:xfrm>
          <a:prstGeom prst="line">
            <a:avLst/>
          </a:prstGeom>
          <a:noFill/>
          <a:ln w="19050">
            <a:solidFill>
              <a:schemeClr val="accent5">
                <a:lumMod val="60000"/>
                <a:lumOff val="40000"/>
              </a:schemeClr>
            </a:solidFill>
            <a:round/>
            <a:headEnd type="oval"/>
            <a:tailEnd/>
          </a:ln>
          <a:effectLst/>
        </p:spPr>
        <p:txBody>
          <a:bodyPr lIns="91452" tIns="45727" rIns="91452" bIns="45727"/>
          <a:lstStyle/>
          <a:p>
            <a:pPr defTabSz="1219170">
              <a:buClr>
                <a:srgbClr val="000000"/>
              </a:buClr>
            </a:pPr>
            <a:endParaRPr lang="en-US" sz="1867" kern="0">
              <a:solidFill>
                <a:srgbClr val="000000"/>
              </a:solidFill>
              <a:latin typeface="Arial"/>
              <a:cs typeface="Arial"/>
              <a:sym typeface="Arial"/>
            </a:endParaRPr>
          </a:p>
        </p:txBody>
      </p:sp>
      <p:sp>
        <p:nvSpPr>
          <p:cNvPr id="322" name="Line 14">
            <a:extLst>
              <a:ext uri="{FF2B5EF4-FFF2-40B4-BE49-F238E27FC236}">
                <a16:creationId xmlns:a16="http://schemas.microsoft.com/office/drawing/2014/main" id="{1DA7DD15-A61A-2042-BFE4-4FF56CED8121}"/>
              </a:ext>
            </a:extLst>
          </p:cNvPr>
          <p:cNvSpPr>
            <a:spLocks noChangeShapeType="1"/>
          </p:cNvSpPr>
          <p:nvPr/>
        </p:nvSpPr>
        <p:spPr bwMode="auto">
          <a:xfrm flipV="1">
            <a:off x="9829277" y="1725164"/>
            <a:ext cx="12" cy="936000"/>
          </a:xfrm>
          <a:prstGeom prst="line">
            <a:avLst/>
          </a:prstGeom>
          <a:noFill/>
          <a:ln w="19050">
            <a:solidFill>
              <a:schemeClr val="accent5"/>
            </a:solidFill>
            <a:round/>
            <a:headEnd type="oval"/>
            <a:tailEnd/>
          </a:ln>
          <a:effectLst/>
        </p:spPr>
        <p:txBody>
          <a:bodyPr lIns="91452" tIns="45727" rIns="91452" bIns="45727"/>
          <a:lstStyle/>
          <a:p>
            <a:pPr defTabSz="1219170">
              <a:buClr>
                <a:srgbClr val="000000"/>
              </a:buClr>
            </a:pPr>
            <a:endParaRPr lang="en-US" sz="1867" kern="0">
              <a:solidFill>
                <a:srgbClr val="000000"/>
              </a:solidFill>
              <a:latin typeface="Arial"/>
              <a:cs typeface="Arial"/>
              <a:sym typeface="Arial"/>
            </a:endParaRPr>
          </a:p>
        </p:txBody>
      </p:sp>
      <p:sp>
        <p:nvSpPr>
          <p:cNvPr id="323" name="Oval 13">
            <a:extLst>
              <a:ext uri="{FF2B5EF4-FFF2-40B4-BE49-F238E27FC236}">
                <a16:creationId xmlns:a16="http://schemas.microsoft.com/office/drawing/2014/main" id="{F97F2012-FA2E-7246-9501-C2F24602EC34}"/>
              </a:ext>
            </a:extLst>
          </p:cNvPr>
          <p:cNvSpPr>
            <a:spLocks noChangeArrowheads="1"/>
          </p:cNvSpPr>
          <p:nvPr/>
        </p:nvSpPr>
        <p:spPr bwMode="auto">
          <a:xfrm>
            <a:off x="9756117" y="2565377"/>
            <a:ext cx="146343" cy="142875"/>
          </a:xfrm>
          <a:prstGeom prst="ellipse">
            <a:avLst/>
          </a:prstGeom>
          <a:solidFill>
            <a:schemeClr val="accent5"/>
          </a:solidFill>
          <a:ln w="19050">
            <a:solidFill>
              <a:srgbClr val="FFFFFF"/>
            </a:solidFill>
            <a:round/>
            <a:headEnd/>
            <a:tailEnd/>
          </a:ln>
        </p:spPr>
        <p:txBody>
          <a:bodyPr wrap="none" anchor="ctr"/>
          <a:lstStyle/>
          <a:p>
            <a:pPr algn="ctr" defTabSz="1219170">
              <a:buClr>
                <a:srgbClr val="000000"/>
              </a:buClr>
            </a:pPr>
            <a:endParaRPr lang="en-US" sz="2800" kern="0">
              <a:solidFill>
                <a:srgbClr val="000000"/>
              </a:solidFill>
              <a:latin typeface="Arial"/>
              <a:cs typeface="Arial"/>
              <a:sym typeface="Arial"/>
            </a:endParaRPr>
          </a:p>
        </p:txBody>
      </p:sp>
      <p:sp>
        <p:nvSpPr>
          <p:cNvPr id="324" name="Oval 13">
            <a:extLst>
              <a:ext uri="{FF2B5EF4-FFF2-40B4-BE49-F238E27FC236}">
                <a16:creationId xmlns:a16="http://schemas.microsoft.com/office/drawing/2014/main" id="{F5DB359D-651F-C84A-A80A-1620EF2029B0}"/>
              </a:ext>
            </a:extLst>
          </p:cNvPr>
          <p:cNvSpPr>
            <a:spLocks noChangeArrowheads="1"/>
          </p:cNvSpPr>
          <p:nvPr/>
        </p:nvSpPr>
        <p:spPr bwMode="auto">
          <a:xfrm>
            <a:off x="4396547" y="4601263"/>
            <a:ext cx="146343" cy="142875"/>
          </a:xfrm>
          <a:prstGeom prst="ellipse">
            <a:avLst/>
          </a:prstGeom>
          <a:solidFill>
            <a:schemeClr val="accent5">
              <a:lumMod val="60000"/>
              <a:lumOff val="40000"/>
            </a:schemeClr>
          </a:solidFill>
          <a:ln w="19050">
            <a:solidFill>
              <a:srgbClr val="FFFFFF"/>
            </a:solidFill>
            <a:round/>
            <a:headEnd/>
            <a:tailEnd/>
          </a:ln>
        </p:spPr>
        <p:txBody>
          <a:bodyPr wrap="none" anchor="ctr"/>
          <a:lstStyle/>
          <a:p>
            <a:pPr algn="ctr" defTabSz="1219170">
              <a:buClr>
                <a:srgbClr val="000000"/>
              </a:buClr>
            </a:pPr>
            <a:endParaRPr lang="en-US" sz="2800" kern="0">
              <a:solidFill>
                <a:srgbClr val="000000"/>
              </a:solidFill>
              <a:latin typeface="Arial"/>
              <a:cs typeface="Arial"/>
              <a:sym typeface="Arial"/>
            </a:endParaRPr>
          </a:p>
        </p:txBody>
      </p:sp>
      <p:grpSp>
        <p:nvGrpSpPr>
          <p:cNvPr id="325" name="Group 324">
            <a:extLst>
              <a:ext uri="{FF2B5EF4-FFF2-40B4-BE49-F238E27FC236}">
                <a16:creationId xmlns:a16="http://schemas.microsoft.com/office/drawing/2014/main" id="{88412289-C578-564F-9686-4C78BBB0B2EE}"/>
              </a:ext>
            </a:extLst>
          </p:cNvPr>
          <p:cNvGrpSpPr>
            <a:grpSpLocks noChangeAspect="1"/>
          </p:cNvGrpSpPr>
          <p:nvPr/>
        </p:nvGrpSpPr>
        <p:grpSpPr>
          <a:xfrm>
            <a:off x="3360001" y="5592001"/>
            <a:ext cx="794772" cy="337057"/>
            <a:chOff x="7413625" y="908050"/>
            <a:chExt cx="1167897" cy="495300"/>
          </a:xfrm>
        </p:grpSpPr>
        <p:sp>
          <p:nvSpPr>
            <p:cNvPr id="326" name="Freeform 60">
              <a:extLst>
                <a:ext uri="{FF2B5EF4-FFF2-40B4-BE49-F238E27FC236}">
                  <a16:creationId xmlns:a16="http://schemas.microsoft.com/office/drawing/2014/main" id="{E49C0243-2467-4D45-8C1E-621A0B7815E8}"/>
                </a:ext>
              </a:extLst>
            </p:cNvPr>
            <p:cNvSpPr>
              <a:spLocks noEditPoints="1"/>
            </p:cNvSpPr>
            <p:nvPr/>
          </p:nvSpPr>
          <p:spPr bwMode="auto">
            <a:xfrm>
              <a:off x="7413625" y="1093787"/>
              <a:ext cx="1160463" cy="123825"/>
            </a:xfrm>
            <a:custGeom>
              <a:avLst/>
              <a:gdLst>
                <a:gd name="T0" fmla="*/ 654 w 664"/>
                <a:gd name="T1" fmla="*/ 61 h 71"/>
                <a:gd name="T2" fmla="*/ 653 w 664"/>
                <a:gd name="T3" fmla="*/ 61 h 71"/>
                <a:gd name="T4" fmla="*/ 653 w 664"/>
                <a:gd name="T5" fmla="*/ 61 h 71"/>
                <a:gd name="T6" fmla="*/ 654 w 664"/>
                <a:gd name="T7" fmla="*/ 61 h 71"/>
                <a:gd name="T8" fmla="*/ 654 w 664"/>
                <a:gd name="T9" fmla="*/ 60 h 71"/>
                <a:gd name="T10" fmla="*/ 654 w 664"/>
                <a:gd name="T11" fmla="*/ 61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54 w 664"/>
                <a:gd name="T27" fmla="*/ 60 h 71"/>
                <a:gd name="T28" fmla="*/ 654 w 664"/>
                <a:gd name="T29" fmla="*/ 60 h 71"/>
                <a:gd name="T30" fmla="*/ 654 w 664"/>
                <a:gd name="T31" fmla="*/ 60 h 71"/>
                <a:gd name="T32" fmla="*/ 654 w 664"/>
                <a:gd name="T33" fmla="*/ 60 h 71"/>
                <a:gd name="T34" fmla="*/ 654 w 664"/>
                <a:gd name="T35" fmla="*/ 60 h 71"/>
                <a:gd name="T36" fmla="*/ 654 w 664"/>
                <a:gd name="T37" fmla="*/ 60 h 71"/>
                <a:gd name="T38" fmla="*/ 661 w 664"/>
                <a:gd name="T39" fmla="*/ 50 h 71"/>
                <a:gd name="T40" fmla="*/ 660 w 664"/>
                <a:gd name="T41" fmla="*/ 51 h 71"/>
                <a:gd name="T42" fmla="*/ 661 w 664"/>
                <a:gd name="T43" fmla="*/ 50 h 71"/>
                <a:gd name="T44" fmla="*/ 661 w 664"/>
                <a:gd name="T45" fmla="*/ 21 h 71"/>
                <a:gd name="T46" fmla="*/ 664 w 664"/>
                <a:gd name="T47" fmla="*/ 36 h 71"/>
                <a:gd name="T48" fmla="*/ 661 w 664"/>
                <a:gd name="T49" fmla="*/ 50 h 71"/>
                <a:gd name="T50" fmla="*/ 664 w 664"/>
                <a:gd name="T51" fmla="*/ 36 h 71"/>
                <a:gd name="T52" fmla="*/ 661 w 664"/>
                <a:gd name="T53" fmla="*/ 21 h 71"/>
                <a:gd name="T54" fmla="*/ 661 w 664"/>
                <a:gd name="T55" fmla="*/ 21 h 71"/>
                <a:gd name="T56" fmla="*/ 661 w 664"/>
                <a:gd name="T57" fmla="*/ 21 h 71"/>
                <a:gd name="T58" fmla="*/ 661 w 664"/>
                <a:gd name="T59" fmla="*/ 21 h 71"/>
                <a:gd name="T60" fmla="*/ 543 w 664"/>
                <a:gd name="T61" fmla="*/ 0 h 71"/>
                <a:gd name="T62" fmla="*/ 35 w 664"/>
                <a:gd name="T63" fmla="*/ 0 h 71"/>
                <a:gd name="T64" fmla="*/ 0 w 664"/>
                <a:gd name="T65" fmla="*/ 36 h 71"/>
                <a:gd name="T66" fmla="*/ 35 w 664"/>
                <a:gd name="T67" fmla="*/ 71 h 71"/>
                <a:gd name="T68" fmla="*/ 543 w 664"/>
                <a:gd name="T69" fmla="*/ 71 h 71"/>
                <a:gd name="T70" fmla="*/ 578 w 664"/>
                <a:gd name="T71" fmla="*/ 36 h 71"/>
                <a:gd name="T72" fmla="*/ 543 w 664"/>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4" h="71">
                  <a:moveTo>
                    <a:pt x="654" y="61"/>
                  </a:moveTo>
                  <a:cubicBezTo>
                    <a:pt x="653" y="61"/>
                    <a:pt x="653" y="61"/>
                    <a:pt x="653" y="61"/>
                  </a:cubicBezTo>
                  <a:cubicBezTo>
                    <a:pt x="653" y="61"/>
                    <a:pt x="653" y="61"/>
                    <a:pt x="653" y="61"/>
                  </a:cubicBezTo>
                  <a:cubicBezTo>
                    <a:pt x="653" y="61"/>
                    <a:pt x="653" y="61"/>
                    <a:pt x="654" y="61"/>
                  </a:cubicBezTo>
                  <a:moveTo>
                    <a:pt x="654" y="60"/>
                  </a:moveTo>
                  <a:cubicBezTo>
                    <a:pt x="654" y="60"/>
                    <a:pt x="654" y="60"/>
                    <a:pt x="654" y="61"/>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0" y="50"/>
                    <a:pt x="660" y="50"/>
                    <a:pt x="660" y="51"/>
                  </a:cubicBezTo>
                  <a:cubicBezTo>
                    <a:pt x="660" y="50"/>
                    <a:pt x="660" y="50"/>
                    <a:pt x="661" y="50"/>
                  </a:cubicBezTo>
                  <a:moveTo>
                    <a:pt x="661" y="21"/>
                  </a:moveTo>
                  <a:cubicBezTo>
                    <a:pt x="663" y="26"/>
                    <a:pt x="664" y="31"/>
                    <a:pt x="664" y="36"/>
                  </a:cubicBezTo>
                  <a:cubicBezTo>
                    <a:pt x="664" y="41"/>
                    <a:pt x="663" y="46"/>
                    <a:pt x="661" y="50"/>
                  </a:cubicBezTo>
                  <a:cubicBezTo>
                    <a:pt x="663" y="46"/>
                    <a:pt x="664" y="41"/>
                    <a:pt x="664" y="36"/>
                  </a:cubicBezTo>
                  <a:cubicBezTo>
                    <a:pt x="664" y="31"/>
                    <a:pt x="663" y="26"/>
                    <a:pt x="661" y="21"/>
                  </a:cubicBezTo>
                  <a:moveTo>
                    <a:pt x="661" y="21"/>
                  </a:moveTo>
                  <a:cubicBezTo>
                    <a:pt x="661" y="21"/>
                    <a:pt x="661" y="21"/>
                    <a:pt x="661" y="21"/>
                  </a:cubicBezTo>
                  <a:cubicBezTo>
                    <a:pt x="661" y="21"/>
                    <a:pt x="661" y="21"/>
                    <a:pt x="661"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5"/>
            </a:solidFill>
            <a:ln w="12700">
              <a:solidFill>
                <a:schemeClr val="accent5"/>
              </a:solid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27" name="Freeform 61">
              <a:extLst>
                <a:ext uri="{FF2B5EF4-FFF2-40B4-BE49-F238E27FC236}">
                  <a16:creationId xmlns:a16="http://schemas.microsoft.com/office/drawing/2014/main" id="{97DB3711-3BD5-8D45-B34A-9EC818480DCF}"/>
                </a:ext>
              </a:extLst>
            </p:cNvPr>
            <p:cNvSpPr>
              <a:spLocks/>
            </p:cNvSpPr>
            <p:nvPr/>
          </p:nvSpPr>
          <p:spPr bwMode="auto">
            <a:xfrm>
              <a:off x="8259763" y="908050"/>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7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7"/>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5"/>
            </a:solidFill>
            <a:ln w="12700">
              <a:solidFill>
                <a:schemeClr val="accent5"/>
              </a:solid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28" name="Freeform 62">
              <a:extLst>
                <a:ext uri="{FF2B5EF4-FFF2-40B4-BE49-F238E27FC236}">
                  <a16:creationId xmlns:a16="http://schemas.microsoft.com/office/drawing/2014/main" id="{A6C6DEAD-3278-DF43-86DD-FD879097CE11}"/>
                </a:ext>
              </a:extLst>
            </p:cNvPr>
            <p:cNvSpPr>
              <a:spLocks noEditPoints="1"/>
            </p:cNvSpPr>
            <p:nvPr/>
          </p:nvSpPr>
          <p:spPr bwMode="auto">
            <a:xfrm>
              <a:off x="8362950" y="1093787"/>
              <a:ext cx="169863" cy="61912"/>
            </a:xfrm>
            <a:custGeom>
              <a:avLst/>
              <a:gdLst>
                <a:gd name="T0" fmla="*/ 97 w 97"/>
                <a:gd name="T1" fmla="*/ 2 h 36"/>
                <a:gd name="T2" fmla="*/ 97 w 97"/>
                <a:gd name="T3" fmla="*/ 2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F77303"/>
            </a:solidFill>
            <a:ln w="12700">
              <a:solidFill>
                <a:srgbClr val="F77303"/>
              </a:solid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29" name="Freeform 63">
              <a:extLst>
                <a:ext uri="{FF2B5EF4-FFF2-40B4-BE49-F238E27FC236}">
                  <a16:creationId xmlns:a16="http://schemas.microsoft.com/office/drawing/2014/main" id="{D2061E6C-9D15-0B48-8B07-9E613B0EAE3A}"/>
                </a:ext>
              </a:extLst>
            </p:cNvPr>
            <p:cNvSpPr>
              <a:spLocks/>
            </p:cNvSpPr>
            <p:nvPr/>
          </p:nvSpPr>
          <p:spPr bwMode="auto">
            <a:xfrm>
              <a:off x="8259763" y="1200150"/>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69 w 169"/>
                <a:gd name="T17" fmla="*/ 0 h 116"/>
                <a:gd name="T18" fmla="*/ 169 w 169"/>
                <a:gd name="T19" fmla="*/ 0 h 116"/>
                <a:gd name="T20" fmla="*/ 168 w 169"/>
                <a:gd name="T21" fmla="*/ 1 h 116"/>
                <a:gd name="T22" fmla="*/ 168 w 169"/>
                <a:gd name="T23" fmla="*/ 1 h 116"/>
                <a:gd name="T24" fmla="*/ 159 w 169"/>
                <a:gd name="T25" fmla="*/ 7 h 116"/>
                <a:gd name="T26" fmla="*/ 159 w 169"/>
                <a:gd name="T27" fmla="*/ 7 h 116"/>
                <a:gd name="T28" fmla="*/ 159 w 169"/>
                <a:gd name="T29" fmla="*/ 7 h 116"/>
                <a:gd name="T30" fmla="*/ 144 w 169"/>
                <a:gd name="T31" fmla="*/ 10 h 116"/>
                <a:gd name="T32" fmla="*/ 59 w 169"/>
                <a:gd name="T33" fmla="*/ 10 h 116"/>
                <a:gd name="T34" fmla="*/ 13 w 169"/>
                <a:gd name="T35" fmla="*/ 56 h 116"/>
                <a:gd name="T36" fmla="*/ 13 w 169"/>
                <a:gd name="T37" fmla="*/ 106 h 116"/>
                <a:gd name="T38" fmla="*/ 38 w 169"/>
                <a:gd name="T39" fmla="*/ 116 h 116"/>
                <a:gd name="T40" fmla="*/ 63 w 169"/>
                <a:gd name="T41" fmla="*/ 106 h 116"/>
                <a:gd name="T42" fmla="*/ 169 w 169"/>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8" y="1"/>
                    <a:pt x="168" y="1"/>
                  </a:cubicBezTo>
                  <a:cubicBezTo>
                    <a:pt x="168" y="1"/>
                    <a:pt x="168" y="1"/>
                    <a:pt x="168" y="1"/>
                  </a:cubicBezTo>
                  <a:cubicBezTo>
                    <a:pt x="166" y="3"/>
                    <a:pt x="162" y="5"/>
                    <a:pt x="159" y="7"/>
                  </a:cubicBezTo>
                  <a:cubicBezTo>
                    <a:pt x="159" y="7"/>
                    <a:pt x="159" y="7"/>
                    <a:pt x="159" y="7"/>
                  </a:cubicBezTo>
                  <a:cubicBezTo>
                    <a:pt x="159" y="7"/>
                    <a:pt x="159" y="7"/>
                    <a:pt x="159" y="7"/>
                  </a:cubicBezTo>
                  <a:cubicBezTo>
                    <a:pt x="155" y="9"/>
                    <a:pt x="150"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w="12700">
              <a:solidFill>
                <a:schemeClr val="accent5"/>
              </a:solid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30" name="Freeform 64">
              <a:extLst>
                <a:ext uri="{FF2B5EF4-FFF2-40B4-BE49-F238E27FC236}">
                  <a16:creationId xmlns:a16="http://schemas.microsoft.com/office/drawing/2014/main" id="{80EA5C8A-E168-1345-A2DF-2BCCF4D3ACD7}"/>
                </a:ext>
              </a:extLst>
            </p:cNvPr>
            <p:cNvSpPr>
              <a:spLocks noEditPoints="1"/>
            </p:cNvSpPr>
            <p:nvPr/>
          </p:nvSpPr>
          <p:spPr bwMode="auto">
            <a:xfrm>
              <a:off x="8362950" y="1155700"/>
              <a:ext cx="192088" cy="61912"/>
            </a:xfrm>
            <a:custGeom>
              <a:avLst/>
              <a:gdLst>
                <a:gd name="T0" fmla="*/ 100 w 110"/>
                <a:gd name="T1" fmla="*/ 32 h 35"/>
                <a:gd name="T2" fmla="*/ 100 w 110"/>
                <a:gd name="T3" fmla="*/ 32 h 35"/>
                <a:gd name="T4" fmla="*/ 100 w 110"/>
                <a:gd name="T5" fmla="*/ 32 h 35"/>
                <a:gd name="T6" fmla="*/ 109 w 110"/>
                <a:gd name="T7" fmla="*/ 26 h 35"/>
                <a:gd name="T8" fmla="*/ 109 w 110"/>
                <a:gd name="T9" fmla="*/ 26 h 35"/>
                <a:gd name="T10" fmla="*/ 109 w 110"/>
                <a:gd name="T11" fmla="*/ 26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35 w 110"/>
                <a:gd name="T45" fmla="*/ 0 h 35"/>
                <a:gd name="T46" fmla="*/ 0 w 110"/>
                <a:gd name="T47" fmla="*/ 35 h 35"/>
                <a:gd name="T48" fmla="*/ 85 w 110"/>
                <a:gd name="T49" fmla="*/ 35 h 35"/>
                <a:gd name="T50" fmla="*/ 100 w 110"/>
                <a:gd name="T51" fmla="*/ 32 h 35"/>
                <a:gd name="T52" fmla="*/ 85 w 110"/>
                <a:gd name="T53" fmla="*/ 35 h 35"/>
                <a:gd name="T54" fmla="*/ 60 w 110"/>
                <a:gd name="T55" fmla="*/ 25 h 35"/>
                <a:gd name="T56" fmla="*/ 35 w 110"/>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5">
                  <a:moveTo>
                    <a:pt x="100" y="32"/>
                  </a:moveTo>
                  <a:cubicBezTo>
                    <a:pt x="100" y="32"/>
                    <a:pt x="100" y="32"/>
                    <a:pt x="100" y="32"/>
                  </a:cubicBezTo>
                  <a:cubicBezTo>
                    <a:pt x="100" y="32"/>
                    <a:pt x="100" y="32"/>
                    <a:pt x="100" y="32"/>
                  </a:cubicBezTo>
                  <a:moveTo>
                    <a:pt x="109" y="26"/>
                  </a:moveTo>
                  <a:cubicBezTo>
                    <a:pt x="109" y="26"/>
                    <a:pt x="109" y="26"/>
                    <a:pt x="109" y="26"/>
                  </a:cubicBezTo>
                  <a:cubicBezTo>
                    <a:pt x="109" y="26"/>
                    <a:pt x="109" y="26"/>
                    <a:pt x="109"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1" y="35"/>
                    <a:pt x="96" y="34"/>
                    <a:pt x="100" y="32"/>
                  </a:cubicBezTo>
                  <a:cubicBezTo>
                    <a:pt x="95" y="34"/>
                    <a:pt x="90" y="35"/>
                    <a:pt x="85" y="35"/>
                  </a:cubicBezTo>
                  <a:cubicBezTo>
                    <a:pt x="76" y="35"/>
                    <a:pt x="67" y="32"/>
                    <a:pt x="60" y="25"/>
                  </a:cubicBezTo>
                  <a:cubicBezTo>
                    <a:pt x="35" y="0"/>
                    <a:pt x="35" y="0"/>
                    <a:pt x="35" y="0"/>
                  </a:cubicBezTo>
                </a:path>
              </a:pathLst>
            </a:custGeom>
            <a:solidFill>
              <a:srgbClr val="F77303"/>
            </a:solidFill>
            <a:ln w="12700">
              <a:solidFill>
                <a:srgbClr val="F77303"/>
              </a:solid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31" name="Freeform 65">
              <a:extLst>
                <a:ext uri="{FF2B5EF4-FFF2-40B4-BE49-F238E27FC236}">
                  <a16:creationId xmlns:a16="http://schemas.microsoft.com/office/drawing/2014/main" id="{0D7E8448-1620-7446-87D5-C2D332D87FC8}"/>
                </a:ext>
              </a:extLst>
            </p:cNvPr>
            <p:cNvSpPr>
              <a:spLocks noEditPoints="1"/>
            </p:cNvSpPr>
            <p:nvPr/>
          </p:nvSpPr>
          <p:spPr bwMode="auto">
            <a:xfrm>
              <a:off x="8510588" y="1093787"/>
              <a:ext cx="58738" cy="119062"/>
            </a:xfrm>
            <a:custGeom>
              <a:avLst/>
              <a:gdLst>
                <a:gd name="T0" fmla="*/ 15 w 33"/>
                <a:gd name="T1" fmla="*/ 68 h 68"/>
                <a:gd name="T2" fmla="*/ 15 w 33"/>
                <a:gd name="T3" fmla="*/ 68 h 68"/>
                <a:gd name="T4" fmla="*/ 15 w 33"/>
                <a:gd name="T5" fmla="*/ 68 h 68"/>
                <a:gd name="T6" fmla="*/ 24 w 33"/>
                <a:gd name="T7" fmla="*/ 62 h 68"/>
                <a:gd name="T8" fmla="*/ 15 w 33"/>
                <a:gd name="T9" fmla="*/ 68 h 68"/>
                <a:gd name="T10" fmla="*/ 24 w 33"/>
                <a:gd name="T11" fmla="*/ 62 h 68"/>
                <a:gd name="T12" fmla="*/ 25 w 33"/>
                <a:gd name="T13" fmla="*/ 61 h 68"/>
                <a:gd name="T14" fmla="*/ 24 w 33"/>
                <a:gd name="T15" fmla="*/ 62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5 w 33"/>
                <a:gd name="T31" fmla="*/ 61 h 68"/>
                <a:gd name="T32" fmla="*/ 25 w 33"/>
                <a:gd name="T33" fmla="*/ 61 h 68"/>
                <a:gd name="T34" fmla="*/ 25 w 33"/>
                <a:gd name="T35" fmla="*/ 61 h 68"/>
                <a:gd name="T36" fmla="*/ 25 w 33"/>
                <a:gd name="T37" fmla="*/ 61 h 68"/>
                <a:gd name="T38" fmla="*/ 25 w 33"/>
                <a:gd name="T39" fmla="*/ 61 h 68"/>
                <a:gd name="T40" fmla="*/ 25 w 33"/>
                <a:gd name="T41" fmla="*/ 61 h 68"/>
                <a:gd name="T42" fmla="*/ 26 w 33"/>
                <a:gd name="T43" fmla="*/ 61 h 68"/>
                <a:gd name="T44" fmla="*/ 26 w 33"/>
                <a:gd name="T45" fmla="*/ 61 h 68"/>
                <a:gd name="T46" fmla="*/ 26 w 33"/>
                <a:gd name="T47" fmla="*/ 61 h 68"/>
                <a:gd name="T48" fmla="*/ 26 w 33"/>
                <a:gd name="T49" fmla="*/ 60 h 68"/>
                <a:gd name="T50" fmla="*/ 26 w 33"/>
                <a:gd name="T51" fmla="*/ 60 h 68"/>
                <a:gd name="T52" fmla="*/ 26 w 33"/>
                <a:gd name="T53" fmla="*/ 60 h 68"/>
                <a:gd name="T54" fmla="*/ 26 w 33"/>
                <a:gd name="T55" fmla="*/ 60 h 68"/>
                <a:gd name="T56" fmla="*/ 26 w 33"/>
                <a:gd name="T57" fmla="*/ 60 h 68"/>
                <a:gd name="T58" fmla="*/ 26 w 33"/>
                <a:gd name="T59" fmla="*/ 60 h 68"/>
                <a:gd name="T60" fmla="*/ 26 w 33"/>
                <a:gd name="T61" fmla="*/ 60 h 68"/>
                <a:gd name="T62" fmla="*/ 26 w 33"/>
                <a:gd name="T63" fmla="*/ 60 h 68"/>
                <a:gd name="T64" fmla="*/ 26 w 33"/>
                <a:gd name="T65" fmla="*/ 60 h 68"/>
                <a:gd name="T66" fmla="*/ 26 w 33"/>
                <a:gd name="T67" fmla="*/ 60 h 68"/>
                <a:gd name="T68" fmla="*/ 26 w 33"/>
                <a:gd name="T69" fmla="*/ 60 h 68"/>
                <a:gd name="T70" fmla="*/ 26 w 33"/>
                <a:gd name="T71" fmla="*/ 60 h 68"/>
                <a:gd name="T72" fmla="*/ 32 w 33"/>
                <a:gd name="T73" fmla="*/ 51 h 68"/>
                <a:gd name="T74" fmla="*/ 26 w 33"/>
                <a:gd name="T75" fmla="*/ 60 h 68"/>
                <a:gd name="T76" fmla="*/ 32 w 33"/>
                <a:gd name="T77" fmla="*/ 51 h 68"/>
                <a:gd name="T78" fmla="*/ 33 w 33"/>
                <a:gd name="T79" fmla="*/ 50 h 68"/>
                <a:gd name="T80" fmla="*/ 33 w 33"/>
                <a:gd name="T81" fmla="*/ 50 h 68"/>
                <a:gd name="T82" fmla="*/ 33 w 33"/>
                <a:gd name="T83" fmla="*/ 50 h 68"/>
                <a:gd name="T84" fmla="*/ 33 w 33"/>
                <a:gd name="T85" fmla="*/ 21 h 68"/>
                <a:gd name="T86" fmla="*/ 33 w 33"/>
                <a:gd name="T87" fmla="*/ 21 h 68"/>
                <a:gd name="T88" fmla="*/ 33 w 33"/>
                <a:gd name="T89" fmla="*/ 21 h 68"/>
                <a:gd name="T90" fmla="*/ 12 w 33"/>
                <a:gd name="T91" fmla="*/ 2 h 68"/>
                <a:gd name="T92" fmla="*/ 33 w 33"/>
                <a:gd name="T93" fmla="*/ 21 h 68"/>
                <a:gd name="T94" fmla="*/ 25 w 33"/>
                <a:gd name="T95" fmla="*/ 11 h 68"/>
                <a:gd name="T96" fmla="*/ 25 w 33"/>
                <a:gd name="T97" fmla="*/ 11 h 68"/>
                <a:gd name="T98" fmla="*/ 12 w 33"/>
                <a:gd name="T99" fmla="*/ 2 h 68"/>
                <a:gd name="T100" fmla="*/ 12 w 33"/>
                <a:gd name="T101" fmla="*/ 2 h 68"/>
                <a:gd name="T102" fmla="*/ 12 w 33"/>
                <a:gd name="T103" fmla="*/ 2 h 68"/>
                <a:gd name="T104" fmla="*/ 12 w 33"/>
                <a:gd name="T105" fmla="*/ 2 h 68"/>
                <a:gd name="T106" fmla="*/ 0 w 33"/>
                <a:gd name="T107" fmla="*/ 0 h 68"/>
                <a:gd name="T108" fmla="*/ 0 w 33"/>
                <a:gd name="T109" fmla="*/ 0 h 68"/>
                <a:gd name="T110" fmla="*/ 0 w 33"/>
                <a:gd name="T111" fmla="*/ 0 h 68"/>
                <a:gd name="T112" fmla="*/ 4 w 33"/>
                <a:gd name="T113" fmla="*/ 1 h 68"/>
                <a:gd name="T114" fmla="*/ 0 w 33"/>
                <a:gd name="T11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68">
                  <a:moveTo>
                    <a:pt x="15" y="68"/>
                  </a:moveTo>
                  <a:cubicBezTo>
                    <a:pt x="15" y="68"/>
                    <a:pt x="15" y="68"/>
                    <a:pt x="15" y="68"/>
                  </a:cubicBezTo>
                  <a:cubicBezTo>
                    <a:pt x="15" y="68"/>
                    <a:pt x="15" y="68"/>
                    <a:pt x="15" y="68"/>
                  </a:cubicBezTo>
                  <a:moveTo>
                    <a:pt x="24" y="62"/>
                  </a:moveTo>
                  <a:cubicBezTo>
                    <a:pt x="22" y="64"/>
                    <a:pt x="19" y="66"/>
                    <a:pt x="15" y="68"/>
                  </a:cubicBezTo>
                  <a:cubicBezTo>
                    <a:pt x="18" y="66"/>
                    <a:pt x="22" y="64"/>
                    <a:pt x="24" y="62"/>
                  </a:cubicBezTo>
                  <a:moveTo>
                    <a:pt x="25" y="61"/>
                  </a:moveTo>
                  <a:cubicBezTo>
                    <a:pt x="25" y="61"/>
                    <a:pt x="24" y="62"/>
                    <a:pt x="24" y="62"/>
                  </a:cubicBezTo>
                  <a:cubicBezTo>
                    <a:pt x="24" y="62"/>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1"/>
                  </a:moveTo>
                  <a:cubicBezTo>
                    <a:pt x="26" y="61"/>
                    <a:pt x="26" y="61"/>
                    <a:pt x="26" y="61"/>
                  </a:cubicBezTo>
                  <a:cubicBezTo>
                    <a:pt x="26" y="61"/>
                    <a:pt x="26" y="61"/>
                    <a:pt x="26"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2" y="51"/>
                  </a:moveTo>
                  <a:cubicBezTo>
                    <a:pt x="31" y="54"/>
                    <a:pt x="29" y="57"/>
                    <a:pt x="26" y="60"/>
                  </a:cubicBezTo>
                  <a:cubicBezTo>
                    <a:pt x="29" y="57"/>
                    <a:pt x="31" y="54"/>
                    <a:pt x="32" y="51"/>
                  </a:cubicBezTo>
                  <a:moveTo>
                    <a:pt x="33" y="50"/>
                  </a:moveTo>
                  <a:cubicBezTo>
                    <a:pt x="33" y="50"/>
                    <a:pt x="33" y="50"/>
                    <a:pt x="33" y="50"/>
                  </a:cubicBezTo>
                  <a:cubicBezTo>
                    <a:pt x="33" y="50"/>
                    <a:pt x="33" y="50"/>
                    <a:pt x="33" y="50"/>
                  </a:cubicBezTo>
                  <a:moveTo>
                    <a:pt x="33" y="21"/>
                  </a:moveTo>
                  <a:cubicBezTo>
                    <a:pt x="33" y="21"/>
                    <a:pt x="33" y="21"/>
                    <a:pt x="33" y="21"/>
                  </a:cubicBezTo>
                  <a:cubicBezTo>
                    <a:pt x="33" y="21"/>
                    <a:pt x="33" y="21"/>
                    <a:pt x="33" y="21"/>
                  </a:cubicBezTo>
                  <a:moveTo>
                    <a:pt x="12" y="2"/>
                  </a:moveTo>
                  <a:cubicBezTo>
                    <a:pt x="21" y="6"/>
                    <a:pt x="29" y="13"/>
                    <a:pt x="33"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32" name="Freeform 66">
              <a:extLst>
                <a:ext uri="{FF2B5EF4-FFF2-40B4-BE49-F238E27FC236}">
                  <a16:creationId xmlns:a16="http://schemas.microsoft.com/office/drawing/2014/main" id="{3CE55972-929E-FE48-80E6-8B095917DFA5}"/>
                </a:ext>
              </a:extLst>
            </p:cNvPr>
            <p:cNvSpPr>
              <a:spLocks/>
            </p:cNvSpPr>
            <p:nvPr/>
          </p:nvSpPr>
          <p:spPr bwMode="auto">
            <a:xfrm>
              <a:off x="8430709" y="1093787"/>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5 w 86"/>
                <a:gd name="T13" fmla="*/ 68 h 71"/>
                <a:gd name="T14" fmla="*/ 65 w 86"/>
                <a:gd name="T15" fmla="*/ 68 h 71"/>
                <a:gd name="T16" fmla="*/ 65 w 86"/>
                <a:gd name="T17" fmla="*/ 68 h 71"/>
                <a:gd name="T18" fmla="*/ 74 w 86"/>
                <a:gd name="T19" fmla="*/ 62 h 71"/>
                <a:gd name="T20" fmla="*/ 74 w 86"/>
                <a:gd name="T21" fmla="*/ 62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5 w 86"/>
                <a:gd name="T37" fmla="*/ 61 h 71"/>
                <a:gd name="T38" fmla="*/ 75 w 86"/>
                <a:gd name="T39" fmla="*/ 61 h 71"/>
                <a:gd name="T40" fmla="*/ 75 w 86"/>
                <a:gd name="T41" fmla="*/ 61 h 71"/>
                <a:gd name="T42" fmla="*/ 75 w 86"/>
                <a:gd name="T43" fmla="*/ 61 h 71"/>
                <a:gd name="T44" fmla="*/ 76 w 86"/>
                <a:gd name="T45" fmla="*/ 61 h 71"/>
                <a:gd name="T46" fmla="*/ 76 w 86"/>
                <a:gd name="T47" fmla="*/ 61 h 71"/>
                <a:gd name="T48" fmla="*/ 76 w 86"/>
                <a:gd name="T49" fmla="*/ 60 h 71"/>
                <a:gd name="T50" fmla="*/ 76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2 w 86"/>
                <a:gd name="T67" fmla="*/ 51 h 71"/>
                <a:gd name="T68" fmla="*/ 83 w 86"/>
                <a:gd name="T69" fmla="*/ 50 h 71"/>
                <a:gd name="T70" fmla="*/ 83 w 86"/>
                <a:gd name="T71" fmla="*/ 50 h 71"/>
                <a:gd name="T72" fmla="*/ 86 w 86"/>
                <a:gd name="T73" fmla="*/ 36 h 71"/>
                <a:gd name="T74" fmla="*/ 83 w 86"/>
                <a:gd name="T75" fmla="*/ 21 h 71"/>
                <a:gd name="T76" fmla="*/ 83 w 86"/>
                <a:gd name="T77" fmla="*/ 21 h 71"/>
                <a:gd name="T78" fmla="*/ 83 w 86"/>
                <a:gd name="T79" fmla="*/ 21 h 71"/>
                <a:gd name="T80" fmla="*/ 62 w 86"/>
                <a:gd name="T81" fmla="*/ 2 h 71"/>
                <a:gd name="T82" fmla="*/ 62 w 86"/>
                <a:gd name="T83" fmla="*/ 2 h 71"/>
                <a:gd name="T84" fmla="*/ 62 w 86"/>
                <a:gd name="T85" fmla="*/ 2 h 71"/>
                <a:gd name="T86" fmla="*/ 54 w 86"/>
                <a:gd name="T87" fmla="*/ 1 h 71"/>
                <a:gd name="T88" fmla="*/ 50 w 86"/>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60" y="70"/>
                    <a:pt x="65" y="68"/>
                  </a:cubicBezTo>
                  <a:cubicBezTo>
                    <a:pt x="65" y="68"/>
                    <a:pt x="65" y="68"/>
                    <a:pt x="65" y="68"/>
                  </a:cubicBezTo>
                  <a:cubicBezTo>
                    <a:pt x="65" y="68"/>
                    <a:pt x="65" y="68"/>
                    <a:pt x="65" y="68"/>
                  </a:cubicBezTo>
                  <a:cubicBezTo>
                    <a:pt x="69" y="66"/>
                    <a:pt x="72" y="64"/>
                    <a:pt x="74" y="62"/>
                  </a:cubicBezTo>
                  <a:cubicBezTo>
                    <a:pt x="74" y="62"/>
                    <a:pt x="74" y="62"/>
                    <a:pt x="74" y="62"/>
                  </a:cubicBezTo>
                  <a:cubicBezTo>
                    <a:pt x="74" y="62"/>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1"/>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2" y="51"/>
                  </a:cubicBezTo>
                  <a:cubicBezTo>
                    <a:pt x="82" y="50"/>
                    <a:pt x="82" y="50"/>
                    <a:pt x="83" y="50"/>
                  </a:cubicBezTo>
                  <a:cubicBezTo>
                    <a:pt x="83" y="50"/>
                    <a:pt x="83" y="50"/>
                    <a:pt x="83" y="50"/>
                  </a:cubicBezTo>
                  <a:cubicBezTo>
                    <a:pt x="85" y="46"/>
                    <a:pt x="86" y="41"/>
                    <a:pt x="86" y="36"/>
                  </a:cubicBezTo>
                  <a:cubicBezTo>
                    <a:pt x="86" y="31"/>
                    <a:pt x="85" y="26"/>
                    <a:pt x="83" y="21"/>
                  </a:cubicBezTo>
                  <a:cubicBezTo>
                    <a:pt x="83" y="21"/>
                    <a:pt x="83" y="21"/>
                    <a:pt x="83" y="21"/>
                  </a:cubicBezTo>
                  <a:cubicBezTo>
                    <a:pt x="83" y="21"/>
                    <a:pt x="83" y="21"/>
                    <a:pt x="83" y="21"/>
                  </a:cubicBezTo>
                  <a:cubicBezTo>
                    <a:pt x="79" y="13"/>
                    <a:pt x="71" y="6"/>
                    <a:pt x="62" y="2"/>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F34D00"/>
            </a:solidFill>
            <a:ln w="12700">
              <a:solidFill>
                <a:srgbClr val="F34D00"/>
              </a:solid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grpSp>
      <p:grpSp>
        <p:nvGrpSpPr>
          <p:cNvPr id="333" name="Group 332">
            <a:extLst>
              <a:ext uri="{FF2B5EF4-FFF2-40B4-BE49-F238E27FC236}">
                <a16:creationId xmlns:a16="http://schemas.microsoft.com/office/drawing/2014/main" id="{F5451D4B-D43F-9143-8020-4FD77C271610}"/>
              </a:ext>
            </a:extLst>
          </p:cNvPr>
          <p:cNvGrpSpPr>
            <a:grpSpLocks noChangeAspect="1"/>
          </p:cNvGrpSpPr>
          <p:nvPr/>
        </p:nvGrpSpPr>
        <p:grpSpPr>
          <a:xfrm>
            <a:off x="6864001" y="5592001"/>
            <a:ext cx="794772" cy="337057"/>
            <a:chOff x="7413625" y="908050"/>
            <a:chExt cx="1167897" cy="495300"/>
          </a:xfrm>
        </p:grpSpPr>
        <p:sp>
          <p:nvSpPr>
            <p:cNvPr id="334" name="Freeform 60">
              <a:extLst>
                <a:ext uri="{FF2B5EF4-FFF2-40B4-BE49-F238E27FC236}">
                  <a16:creationId xmlns:a16="http://schemas.microsoft.com/office/drawing/2014/main" id="{1181117F-E40D-6F42-A346-A2080C3DDBF8}"/>
                </a:ext>
              </a:extLst>
            </p:cNvPr>
            <p:cNvSpPr>
              <a:spLocks noEditPoints="1"/>
            </p:cNvSpPr>
            <p:nvPr/>
          </p:nvSpPr>
          <p:spPr bwMode="auto">
            <a:xfrm>
              <a:off x="7413625" y="1093787"/>
              <a:ext cx="1160463" cy="123825"/>
            </a:xfrm>
            <a:custGeom>
              <a:avLst/>
              <a:gdLst>
                <a:gd name="T0" fmla="*/ 654 w 664"/>
                <a:gd name="T1" fmla="*/ 61 h 71"/>
                <a:gd name="T2" fmla="*/ 653 w 664"/>
                <a:gd name="T3" fmla="*/ 61 h 71"/>
                <a:gd name="T4" fmla="*/ 653 w 664"/>
                <a:gd name="T5" fmla="*/ 61 h 71"/>
                <a:gd name="T6" fmla="*/ 654 w 664"/>
                <a:gd name="T7" fmla="*/ 61 h 71"/>
                <a:gd name="T8" fmla="*/ 654 w 664"/>
                <a:gd name="T9" fmla="*/ 60 h 71"/>
                <a:gd name="T10" fmla="*/ 654 w 664"/>
                <a:gd name="T11" fmla="*/ 61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54 w 664"/>
                <a:gd name="T27" fmla="*/ 60 h 71"/>
                <a:gd name="T28" fmla="*/ 654 w 664"/>
                <a:gd name="T29" fmla="*/ 60 h 71"/>
                <a:gd name="T30" fmla="*/ 654 w 664"/>
                <a:gd name="T31" fmla="*/ 60 h 71"/>
                <a:gd name="T32" fmla="*/ 654 w 664"/>
                <a:gd name="T33" fmla="*/ 60 h 71"/>
                <a:gd name="T34" fmla="*/ 654 w 664"/>
                <a:gd name="T35" fmla="*/ 60 h 71"/>
                <a:gd name="T36" fmla="*/ 654 w 664"/>
                <a:gd name="T37" fmla="*/ 60 h 71"/>
                <a:gd name="T38" fmla="*/ 661 w 664"/>
                <a:gd name="T39" fmla="*/ 50 h 71"/>
                <a:gd name="T40" fmla="*/ 660 w 664"/>
                <a:gd name="T41" fmla="*/ 51 h 71"/>
                <a:gd name="T42" fmla="*/ 661 w 664"/>
                <a:gd name="T43" fmla="*/ 50 h 71"/>
                <a:gd name="T44" fmla="*/ 661 w 664"/>
                <a:gd name="T45" fmla="*/ 21 h 71"/>
                <a:gd name="T46" fmla="*/ 664 w 664"/>
                <a:gd name="T47" fmla="*/ 36 h 71"/>
                <a:gd name="T48" fmla="*/ 661 w 664"/>
                <a:gd name="T49" fmla="*/ 50 h 71"/>
                <a:gd name="T50" fmla="*/ 664 w 664"/>
                <a:gd name="T51" fmla="*/ 36 h 71"/>
                <a:gd name="T52" fmla="*/ 661 w 664"/>
                <a:gd name="T53" fmla="*/ 21 h 71"/>
                <a:gd name="T54" fmla="*/ 661 w 664"/>
                <a:gd name="T55" fmla="*/ 21 h 71"/>
                <a:gd name="T56" fmla="*/ 661 w 664"/>
                <a:gd name="T57" fmla="*/ 21 h 71"/>
                <a:gd name="T58" fmla="*/ 661 w 664"/>
                <a:gd name="T59" fmla="*/ 21 h 71"/>
                <a:gd name="T60" fmla="*/ 543 w 664"/>
                <a:gd name="T61" fmla="*/ 0 h 71"/>
                <a:gd name="T62" fmla="*/ 35 w 664"/>
                <a:gd name="T63" fmla="*/ 0 h 71"/>
                <a:gd name="T64" fmla="*/ 0 w 664"/>
                <a:gd name="T65" fmla="*/ 36 h 71"/>
                <a:gd name="T66" fmla="*/ 35 w 664"/>
                <a:gd name="T67" fmla="*/ 71 h 71"/>
                <a:gd name="T68" fmla="*/ 543 w 664"/>
                <a:gd name="T69" fmla="*/ 71 h 71"/>
                <a:gd name="T70" fmla="*/ 578 w 664"/>
                <a:gd name="T71" fmla="*/ 36 h 71"/>
                <a:gd name="T72" fmla="*/ 543 w 664"/>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4" h="71">
                  <a:moveTo>
                    <a:pt x="654" y="61"/>
                  </a:moveTo>
                  <a:cubicBezTo>
                    <a:pt x="653" y="61"/>
                    <a:pt x="653" y="61"/>
                    <a:pt x="653" y="61"/>
                  </a:cubicBezTo>
                  <a:cubicBezTo>
                    <a:pt x="653" y="61"/>
                    <a:pt x="653" y="61"/>
                    <a:pt x="653" y="61"/>
                  </a:cubicBezTo>
                  <a:cubicBezTo>
                    <a:pt x="653" y="61"/>
                    <a:pt x="653" y="61"/>
                    <a:pt x="654" y="61"/>
                  </a:cubicBezTo>
                  <a:moveTo>
                    <a:pt x="654" y="60"/>
                  </a:moveTo>
                  <a:cubicBezTo>
                    <a:pt x="654" y="60"/>
                    <a:pt x="654" y="60"/>
                    <a:pt x="654" y="61"/>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0" y="50"/>
                    <a:pt x="660" y="50"/>
                    <a:pt x="660" y="51"/>
                  </a:cubicBezTo>
                  <a:cubicBezTo>
                    <a:pt x="660" y="50"/>
                    <a:pt x="660" y="50"/>
                    <a:pt x="661" y="50"/>
                  </a:cubicBezTo>
                  <a:moveTo>
                    <a:pt x="661" y="21"/>
                  </a:moveTo>
                  <a:cubicBezTo>
                    <a:pt x="663" y="26"/>
                    <a:pt x="664" y="31"/>
                    <a:pt x="664" y="36"/>
                  </a:cubicBezTo>
                  <a:cubicBezTo>
                    <a:pt x="664" y="41"/>
                    <a:pt x="663" y="46"/>
                    <a:pt x="661" y="50"/>
                  </a:cubicBezTo>
                  <a:cubicBezTo>
                    <a:pt x="663" y="46"/>
                    <a:pt x="664" y="41"/>
                    <a:pt x="664" y="36"/>
                  </a:cubicBezTo>
                  <a:cubicBezTo>
                    <a:pt x="664" y="31"/>
                    <a:pt x="663" y="26"/>
                    <a:pt x="661" y="21"/>
                  </a:cubicBezTo>
                  <a:moveTo>
                    <a:pt x="661" y="21"/>
                  </a:moveTo>
                  <a:cubicBezTo>
                    <a:pt x="661" y="21"/>
                    <a:pt x="661" y="21"/>
                    <a:pt x="661" y="21"/>
                  </a:cubicBezTo>
                  <a:cubicBezTo>
                    <a:pt x="661" y="21"/>
                    <a:pt x="661" y="21"/>
                    <a:pt x="661"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5"/>
            </a:solidFill>
            <a:ln w="12700">
              <a:solidFill>
                <a:schemeClr val="accent5"/>
              </a:solid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35" name="Freeform 61">
              <a:extLst>
                <a:ext uri="{FF2B5EF4-FFF2-40B4-BE49-F238E27FC236}">
                  <a16:creationId xmlns:a16="http://schemas.microsoft.com/office/drawing/2014/main" id="{09661753-68D6-7C40-B65F-8B05034AACEA}"/>
                </a:ext>
              </a:extLst>
            </p:cNvPr>
            <p:cNvSpPr>
              <a:spLocks/>
            </p:cNvSpPr>
            <p:nvPr/>
          </p:nvSpPr>
          <p:spPr bwMode="auto">
            <a:xfrm>
              <a:off x="8259763" y="908050"/>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7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7"/>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5"/>
            </a:solidFill>
            <a:ln w="12700">
              <a:solidFill>
                <a:schemeClr val="accent5"/>
              </a:solid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36" name="Freeform 62">
              <a:extLst>
                <a:ext uri="{FF2B5EF4-FFF2-40B4-BE49-F238E27FC236}">
                  <a16:creationId xmlns:a16="http://schemas.microsoft.com/office/drawing/2014/main" id="{EDBCCB15-8A48-5642-8495-74E33A42225E}"/>
                </a:ext>
              </a:extLst>
            </p:cNvPr>
            <p:cNvSpPr>
              <a:spLocks noEditPoints="1"/>
            </p:cNvSpPr>
            <p:nvPr/>
          </p:nvSpPr>
          <p:spPr bwMode="auto">
            <a:xfrm>
              <a:off x="8362950" y="1093787"/>
              <a:ext cx="169863" cy="61912"/>
            </a:xfrm>
            <a:custGeom>
              <a:avLst/>
              <a:gdLst>
                <a:gd name="T0" fmla="*/ 97 w 97"/>
                <a:gd name="T1" fmla="*/ 2 h 36"/>
                <a:gd name="T2" fmla="*/ 97 w 97"/>
                <a:gd name="T3" fmla="*/ 2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F77303"/>
            </a:solidFill>
            <a:ln w="12700">
              <a:solidFill>
                <a:srgbClr val="F77303"/>
              </a:solid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37" name="Freeform 63">
              <a:extLst>
                <a:ext uri="{FF2B5EF4-FFF2-40B4-BE49-F238E27FC236}">
                  <a16:creationId xmlns:a16="http://schemas.microsoft.com/office/drawing/2014/main" id="{9E91CB9C-76F3-084D-87BE-E37D8426B7AA}"/>
                </a:ext>
              </a:extLst>
            </p:cNvPr>
            <p:cNvSpPr>
              <a:spLocks/>
            </p:cNvSpPr>
            <p:nvPr/>
          </p:nvSpPr>
          <p:spPr bwMode="auto">
            <a:xfrm>
              <a:off x="8259763" y="1200150"/>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69 w 169"/>
                <a:gd name="T17" fmla="*/ 0 h 116"/>
                <a:gd name="T18" fmla="*/ 169 w 169"/>
                <a:gd name="T19" fmla="*/ 0 h 116"/>
                <a:gd name="T20" fmla="*/ 168 w 169"/>
                <a:gd name="T21" fmla="*/ 1 h 116"/>
                <a:gd name="T22" fmla="*/ 168 w 169"/>
                <a:gd name="T23" fmla="*/ 1 h 116"/>
                <a:gd name="T24" fmla="*/ 159 w 169"/>
                <a:gd name="T25" fmla="*/ 7 h 116"/>
                <a:gd name="T26" fmla="*/ 159 w 169"/>
                <a:gd name="T27" fmla="*/ 7 h 116"/>
                <a:gd name="T28" fmla="*/ 159 w 169"/>
                <a:gd name="T29" fmla="*/ 7 h 116"/>
                <a:gd name="T30" fmla="*/ 144 w 169"/>
                <a:gd name="T31" fmla="*/ 10 h 116"/>
                <a:gd name="T32" fmla="*/ 59 w 169"/>
                <a:gd name="T33" fmla="*/ 10 h 116"/>
                <a:gd name="T34" fmla="*/ 13 w 169"/>
                <a:gd name="T35" fmla="*/ 56 h 116"/>
                <a:gd name="T36" fmla="*/ 13 w 169"/>
                <a:gd name="T37" fmla="*/ 106 h 116"/>
                <a:gd name="T38" fmla="*/ 38 w 169"/>
                <a:gd name="T39" fmla="*/ 116 h 116"/>
                <a:gd name="T40" fmla="*/ 63 w 169"/>
                <a:gd name="T41" fmla="*/ 106 h 116"/>
                <a:gd name="T42" fmla="*/ 169 w 169"/>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8" y="1"/>
                    <a:pt x="168" y="1"/>
                  </a:cubicBezTo>
                  <a:cubicBezTo>
                    <a:pt x="168" y="1"/>
                    <a:pt x="168" y="1"/>
                    <a:pt x="168" y="1"/>
                  </a:cubicBezTo>
                  <a:cubicBezTo>
                    <a:pt x="166" y="3"/>
                    <a:pt x="162" y="5"/>
                    <a:pt x="159" y="7"/>
                  </a:cubicBezTo>
                  <a:cubicBezTo>
                    <a:pt x="159" y="7"/>
                    <a:pt x="159" y="7"/>
                    <a:pt x="159" y="7"/>
                  </a:cubicBezTo>
                  <a:cubicBezTo>
                    <a:pt x="159" y="7"/>
                    <a:pt x="159" y="7"/>
                    <a:pt x="159" y="7"/>
                  </a:cubicBezTo>
                  <a:cubicBezTo>
                    <a:pt x="155" y="9"/>
                    <a:pt x="150"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w="12700">
              <a:solidFill>
                <a:schemeClr val="accent5"/>
              </a:solid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38" name="Freeform 64">
              <a:extLst>
                <a:ext uri="{FF2B5EF4-FFF2-40B4-BE49-F238E27FC236}">
                  <a16:creationId xmlns:a16="http://schemas.microsoft.com/office/drawing/2014/main" id="{D2E53951-655D-B945-8D1A-1F6FA28AEE87}"/>
                </a:ext>
              </a:extLst>
            </p:cNvPr>
            <p:cNvSpPr>
              <a:spLocks noEditPoints="1"/>
            </p:cNvSpPr>
            <p:nvPr/>
          </p:nvSpPr>
          <p:spPr bwMode="auto">
            <a:xfrm>
              <a:off x="8362950" y="1155700"/>
              <a:ext cx="192088" cy="61912"/>
            </a:xfrm>
            <a:custGeom>
              <a:avLst/>
              <a:gdLst>
                <a:gd name="T0" fmla="*/ 100 w 110"/>
                <a:gd name="T1" fmla="*/ 32 h 35"/>
                <a:gd name="T2" fmla="*/ 100 w 110"/>
                <a:gd name="T3" fmla="*/ 32 h 35"/>
                <a:gd name="T4" fmla="*/ 100 w 110"/>
                <a:gd name="T5" fmla="*/ 32 h 35"/>
                <a:gd name="T6" fmla="*/ 109 w 110"/>
                <a:gd name="T7" fmla="*/ 26 h 35"/>
                <a:gd name="T8" fmla="*/ 109 w 110"/>
                <a:gd name="T9" fmla="*/ 26 h 35"/>
                <a:gd name="T10" fmla="*/ 109 w 110"/>
                <a:gd name="T11" fmla="*/ 26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35 w 110"/>
                <a:gd name="T45" fmla="*/ 0 h 35"/>
                <a:gd name="T46" fmla="*/ 0 w 110"/>
                <a:gd name="T47" fmla="*/ 35 h 35"/>
                <a:gd name="T48" fmla="*/ 85 w 110"/>
                <a:gd name="T49" fmla="*/ 35 h 35"/>
                <a:gd name="T50" fmla="*/ 100 w 110"/>
                <a:gd name="T51" fmla="*/ 32 h 35"/>
                <a:gd name="T52" fmla="*/ 85 w 110"/>
                <a:gd name="T53" fmla="*/ 35 h 35"/>
                <a:gd name="T54" fmla="*/ 60 w 110"/>
                <a:gd name="T55" fmla="*/ 25 h 35"/>
                <a:gd name="T56" fmla="*/ 35 w 110"/>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5">
                  <a:moveTo>
                    <a:pt x="100" y="32"/>
                  </a:moveTo>
                  <a:cubicBezTo>
                    <a:pt x="100" y="32"/>
                    <a:pt x="100" y="32"/>
                    <a:pt x="100" y="32"/>
                  </a:cubicBezTo>
                  <a:cubicBezTo>
                    <a:pt x="100" y="32"/>
                    <a:pt x="100" y="32"/>
                    <a:pt x="100" y="32"/>
                  </a:cubicBezTo>
                  <a:moveTo>
                    <a:pt x="109" y="26"/>
                  </a:moveTo>
                  <a:cubicBezTo>
                    <a:pt x="109" y="26"/>
                    <a:pt x="109" y="26"/>
                    <a:pt x="109" y="26"/>
                  </a:cubicBezTo>
                  <a:cubicBezTo>
                    <a:pt x="109" y="26"/>
                    <a:pt x="109" y="26"/>
                    <a:pt x="109"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1" y="35"/>
                    <a:pt x="96" y="34"/>
                    <a:pt x="100" y="32"/>
                  </a:cubicBezTo>
                  <a:cubicBezTo>
                    <a:pt x="95" y="34"/>
                    <a:pt x="90" y="35"/>
                    <a:pt x="85" y="35"/>
                  </a:cubicBezTo>
                  <a:cubicBezTo>
                    <a:pt x="76" y="35"/>
                    <a:pt x="67" y="32"/>
                    <a:pt x="60" y="25"/>
                  </a:cubicBezTo>
                  <a:cubicBezTo>
                    <a:pt x="35" y="0"/>
                    <a:pt x="35" y="0"/>
                    <a:pt x="35" y="0"/>
                  </a:cubicBezTo>
                </a:path>
              </a:pathLst>
            </a:custGeom>
            <a:solidFill>
              <a:srgbClr val="F77303"/>
            </a:solidFill>
            <a:ln w="12700">
              <a:solidFill>
                <a:srgbClr val="F77303"/>
              </a:solid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39" name="Freeform 65">
              <a:extLst>
                <a:ext uri="{FF2B5EF4-FFF2-40B4-BE49-F238E27FC236}">
                  <a16:creationId xmlns:a16="http://schemas.microsoft.com/office/drawing/2014/main" id="{4FE2CF22-8A1A-4A48-88A4-D3ACA40E3300}"/>
                </a:ext>
              </a:extLst>
            </p:cNvPr>
            <p:cNvSpPr>
              <a:spLocks noEditPoints="1"/>
            </p:cNvSpPr>
            <p:nvPr/>
          </p:nvSpPr>
          <p:spPr bwMode="auto">
            <a:xfrm>
              <a:off x="8510588" y="1093787"/>
              <a:ext cx="58738" cy="119062"/>
            </a:xfrm>
            <a:custGeom>
              <a:avLst/>
              <a:gdLst>
                <a:gd name="T0" fmla="*/ 15 w 33"/>
                <a:gd name="T1" fmla="*/ 68 h 68"/>
                <a:gd name="T2" fmla="*/ 15 w 33"/>
                <a:gd name="T3" fmla="*/ 68 h 68"/>
                <a:gd name="T4" fmla="*/ 15 w 33"/>
                <a:gd name="T5" fmla="*/ 68 h 68"/>
                <a:gd name="T6" fmla="*/ 24 w 33"/>
                <a:gd name="T7" fmla="*/ 62 h 68"/>
                <a:gd name="T8" fmla="*/ 15 w 33"/>
                <a:gd name="T9" fmla="*/ 68 h 68"/>
                <a:gd name="T10" fmla="*/ 24 w 33"/>
                <a:gd name="T11" fmla="*/ 62 h 68"/>
                <a:gd name="T12" fmla="*/ 25 w 33"/>
                <a:gd name="T13" fmla="*/ 61 h 68"/>
                <a:gd name="T14" fmla="*/ 24 w 33"/>
                <a:gd name="T15" fmla="*/ 62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5 w 33"/>
                <a:gd name="T31" fmla="*/ 61 h 68"/>
                <a:gd name="T32" fmla="*/ 25 w 33"/>
                <a:gd name="T33" fmla="*/ 61 h 68"/>
                <a:gd name="T34" fmla="*/ 25 w 33"/>
                <a:gd name="T35" fmla="*/ 61 h 68"/>
                <a:gd name="T36" fmla="*/ 25 w 33"/>
                <a:gd name="T37" fmla="*/ 61 h 68"/>
                <a:gd name="T38" fmla="*/ 25 w 33"/>
                <a:gd name="T39" fmla="*/ 61 h 68"/>
                <a:gd name="T40" fmla="*/ 25 w 33"/>
                <a:gd name="T41" fmla="*/ 61 h 68"/>
                <a:gd name="T42" fmla="*/ 26 w 33"/>
                <a:gd name="T43" fmla="*/ 61 h 68"/>
                <a:gd name="T44" fmla="*/ 26 w 33"/>
                <a:gd name="T45" fmla="*/ 61 h 68"/>
                <a:gd name="T46" fmla="*/ 26 w 33"/>
                <a:gd name="T47" fmla="*/ 61 h 68"/>
                <a:gd name="T48" fmla="*/ 26 w 33"/>
                <a:gd name="T49" fmla="*/ 60 h 68"/>
                <a:gd name="T50" fmla="*/ 26 w 33"/>
                <a:gd name="T51" fmla="*/ 60 h 68"/>
                <a:gd name="T52" fmla="*/ 26 w 33"/>
                <a:gd name="T53" fmla="*/ 60 h 68"/>
                <a:gd name="T54" fmla="*/ 26 w 33"/>
                <a:gd name="T55" fmla="*/ 60 h 68"/>
                <a:gd name="T56" fmla="*/ 26 w 33"/>
                <a:gd name="T57" fmla="*/ 60 h 68"/>
                <a:gd name="T58" fmla="*/ 26 w 33"/>
                <a:gd name="T59" fmla="*/ 60 h 68"/>
                <a:gd name="T60" fmla="*/ 26 w 33"/>
                <a:gd name="T61" fmla="*/ 60 h 68"/>
                <a:gd name="T62" fmla="*/ 26 w 33"/>
                <a:gd name="T63" fmla="*/ 60 h 68"/>
                <a:gd name="T64" fmla="*/ 26 w 33"/>
                <a:gd name="T65" fmla="*/ 60 h 68"/>
                <a:gd name="T66" fmla="*/ 26 w 33"/>
                <a:gd name="T67" fmla="*/ 60 h 68"/>
                <a:gd name="T68" fmla="*/ 26 w 33"/>
                <a:gd name="T69" fmla="*/ 60 h 68"/>
                <a:gd name="T70" fmla="*/ 26 w 33"/>
                <a:gd name="T71" fmla="*/ 60 h 68"/>
                <a:gd name="T72" fmla="*/ 32 w 33"/>
                <a:gd name="T73" fmla="*/ 51 h 68"/>
                <a:gd name="T74" fmla="*/ 26 w 33"/>
                <a:gd name="T75" fmla="*/ 60 h 68"/>
                <a:gd name="T76" fmla="*/ 32 w 33"/>
                <a:gd name="T77" fmla="*/ 51 h 68"/>
                <a:gd name="T78" fmla="*/ 33 w 33"/>
                <a:gd name="T79" fmla="*/ 50 h 68"/>
                <a:gd name="T80" fmla="*/ 33 w 33"/>
                <a:gd name="T81" fmla="*/ 50 h 68"/>
                <a:gd name="T82" fmla="*/ 33 w 33"/>
                <a:gd name="T83" fmla="*/ 50 h 68"/>
                <a:gd name="T84" fmla="*/ 33 w 33"/>
                <a:gd name="T85" fmla="*/ 21 h 68"/>
                <a:gd name="T86" fmla="*/ 33 w 33"/>
                <a:gd name="T87" fmla="*/ 21 h 68"/>
                <a:gd name="T88" fmla="*/ 33 w 33"/>
                <a:gd name="T89" fmla="*/ 21 h 68"/>
                <a:gd name="T90" fmla="*/ 12 w 33"/>
                <a:gd name="T91" fmla="*/ 2 h 68"/>
                <a:gd name="T92" fmla="*/ 33 w 33"/>
                <a:gd name="T93" fmla="*/ 21 h 68"/>
                <a:gd name="T94" fmla="*/ 25 w 33"/>
                <a:gd name="T95" fmla="*/ 11 h 68"/>
                <a:gd name="T96" fmla="*/ 25 w 33"/>
                <a:gd name="T97" fmla="*/ 11 h 68"/>
                <a:gd name="T98" fmla="*/ 12 w 33"/>
                <a:gd name="T99" fmla="*/ 2 h 68"/>
                <a:gd name="T100" fmla="*/ 12 w 33"/>
                <a:gd name="T101" fmla="*/ 2 h 68"/>
                <a:gd name="T102" fmla="*/ 12 w 33"/>
                <a:gd name="T103" fmla="*/ 2 h 68"/>
                <a:gd name="T104" fmla="*/ 12 w 33"/>
                <a:gd name="T105" fmla="*/ 2 h 68"/>
                <a:gd name="T106" fmla="*/ 0 w 33"/>
                <a:gd name="T107" fmla="*/ 0 h 68"/>
                <a:gd name="T108" fmla="*/ 0 w 33"/>
                <a:gd name="T109" fmla="*/ 0 h 68"/>
                <a:gd name="T110" fmla="*/ 0 w 33"/>
                <a:gd name="T111" fmla="*/ 0 h 68"/>
                <a:gd name="T112" fmla="*/ 4 w 33"/>
                <a:gd name="T113" fmla="*/ 1 h 68"/>
                <a:gd name="T114" fmla="*/ 0 w 33"/>
                <a:gd name="T11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68">
                  <a:moveTo>
                    <a:pt x="15" y="68"/>
                  </a:moveTo>
                  <a:cubicBezTo>
                    <a:pt x="15" y="68"/>
                    <a:pt x="15" y="68"/>
                    <a:pt x="15" y="68"/>
                  </a:cubicBezTo>
                  <a:cubicBezTo>
                    <a:pt x="15" y="68"/>
                    <a:pt x="15" y="68"/>
                    <a:pt x="15" y="68"/>
                  </a:cubicBezTo>
                  <a:moveTo>
                    <a:pt x="24" y="62"/>
                  </a:moveTo>
                  <a:cubicBezTo>
                    <a:pt x="22" y="64"/>
                    <a:pt x="19" y="66"/>
                    <a:pt x="15" y="68"/>
                  </a:cubicBezTo>
                  <a:cubicBezTo>
                    <a:pt x="18" y="66"/>
                    <a:pt x="22" y="64"/>
                    <a:pt x="24" y="62"/>
                  </a:cubicBezTo>
                  <a:moveTo>
                    <a:pt x="25" y="61"/>
                  </a:moveTo>
                  <a:cubicBezTo>
                    <a:pt x="25" y="61"/>
                    <a:pt x="24" y="62"/>
                    <a:pt x="24" y="62"/>
                  </a:cubicBezTo>
                  <a:cubicBezTo>
                    <a:pt x="24" y="62"/>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1"/>
                  </a:moveTo>
                  <a:cubicBezTo>
                    <a:pt x="26" y="61"/>
                    <a:pt x="26" y="61"/>
                    <a:pt x="26" y="61"/>
                  </a:cubicBezTo>
                  <a:cubicBezTo>
                    <a:pt x="26" y="61"/>
                    <a:pt x="26" y="61"/>
                    <a:pt x="26"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2" y="51"/>
                  </a:moveTo>
                  <a:cubicBezTo>
                    <a:pt x="31" y="54"/>
                    <a:pt x="29" y="57"/>
                    <a:pt x="26" y="60"/>
                  </a:cubicBezTo>
                  <a:cubicBezTo>
                    <a:pt x="29" y="57"/>
                    <a:pt x="31" y="54"/>
                    <a:pt x="32" y="51"/>
                  </a:cubicBezTo>
                  <a:moveTo>
                    <a:pt x="33" y="50"/>
                  </a:moveTo>
                  <a:cubicBezTo>
                    <a:pt x="33" y="50"/>
                    <a:pt x="33" y="50"/>
                    <a:pt x="33" y="50"/>
                  </a:cubicBezTo>
                  <a:cubicBezTo>
                    <a:pt x="33" y="50"/>
                    <a:pt x="33" y="50"/>
                    <a:pt x="33" y="50"/>
                  </a:cubicBezTo>
                  <a:moveTo>
                    <a:pt x="33" y="21"/>
                  </a:moveTo>
                  <a:cubicBezTo>
                    <a:pt x="33" y="21"/>
                    <a:pt x="33" y="21"/>
                    <a:pt x="33" y="21"/>
                  </a:cubicBezTo>
                  <a:cubicBezTo>
                    <a:pt x="33" y="21"/>
                    <a:pt x="33" y="21"/>
                    <a:pt x="33" y="21"/>
                  </a:cubicBezTo>
                  <a:moveTo>
                    <a:pt x="12" y="2"/>
                  </a:moveTo>
                  <a:cubicBezTo>
                    <a:pt x="21" y="6"/>
                    <a:pt x="29" y="13"/>
                    <a:pt x="33"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40" name="Freeform 66">
              <a:extLst>
                <a:ext uri="{FF2B5EF4-FFF2-40B4-BE49-F238E27FC236}">
                  <a16:creationId xmlns:a16="http://schemas.microsoft.com/office/drawing/2014/main" id="{8284BE24-E8CF-2441-B71D-9D1042D41DFF}"/>
                </a:ext>
              </a:extLst>
            </p:cNvPr>
            <p:cNvSpPr>
              <a:spLocks/>
            </p:cNvSpPr>
            <p:nvPr/>
          </p:nvSpPr>
          <p:spPr bwMode="auto">
            <a:xfrm>
              <a:off x="8430709" y="1093787"/>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5 w 86"/>
                <a:gd name="T13" fmla="*/ 68 h 71"/>
                <a:gd name="T14" fmla="*/ 65 w 86"/>
                <a:gd name="T15" fmla="*/ 68 h 71"/>
                <a:gd name="T16" fmla="*/ 65 w 86"/>
                <a:gd name="T17" fmla="*/ 68 h 71"/>
                <a:gd name="T18" fmla="*/ 74 w 86"/>
                <a:gd name="T19" fmla="*/ 62 h 71"/>
                <a:gd name="T20" fmla="*/ 74 w 86"/>
                <a:gd name="T21" fmla="*/ 62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5 w 86"/>
                <a:gd name="T37" fmla="*/ 61 h 71"/>
                <a:gd name="T38" fmla="*/ 75 w 86"/>
                <a:gd name="T39" fmla="*/ 61 h 71"/>
                <a:gd name="T40" fmla="*/ 75 w 86"/>
                <a:gd name="T41" fmla="*/ 61 h 71"/>
                <a:gd name="T42" fmla="*/ 75 w 86"/>
                <a:gd name="T43" fmla="*/ 61 h 71"/>
                <a:gd name="T44" fmla="*/ 76 w 86"/>
                <a:gd name="T45" fmla="*/ 61 h 71"/>
                <a:gd name="T46" fmla="*/ 76 w 86"/>
                <a:gd name="T47" fmla="*/ 61 h 71"/>
                <a:gd name="T48" fmla="*/ 76 w 86"/>
                <a:gd name="T49" fmla="*/ 60 h 71"/>
                <a:gd name="T50" fmla="*/ 76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2 w 86"/>
                <a:gd name="T67" fmla="*/ 51 h 71"/>
                <a:gd name="T68" fmla="*/ 83 w 86"/>
                <a:gd name="T69" fmla="*/ 50 h 71"/>
                <a:gd name="T70" fmla="*/ 83 w 86"/>
                <a:gd name="T71" fmla="*/ 50 h 71"/>
                <a:gd name="T72" fmla="*/ 86 w 86"/>
                <a:gd name="T73" fmla="*/ 36 h 71"/>
                <a:gd name="T74" fmla="*/ 83 w 86"/>
                <a:gd name="T75" fmla="*/ 21 h 71"/>
                <a:gd name="T76" fmla="*/ 83 w 86"/>
                <a:gd name="T77" fmla="*/ 21 h 71"/>
                <a:gd name="T78" fmla="*/ 83 w 86"/>
                <a:gd name="T79" fmla="*/ 21 h 71"/>
                <a:gd name="T80" fmla="*/ 62 w 86"/>
                <a:gd name="T81" fmla="*/ 2 h 71"/>
                <a:gd name="T82" fmla="*/ 62 w 86"/>
                <a:gd name="T83" fmla="*/ 2 h 71"/>
                <a:gd name="T84" fmla="*/ 62 w 86"/>
                <a:gd name="T85" fmla="*/ 2 h 71"/>
                <a:gd name="T86" fmla="*/ 54 w 86"/>
                <a:gd name="T87" fmla="*/ 1 h 71"/>
                <a:gd name="T88" fmla="*/ 50 w 86"/>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60" y="70"/>
                    <a:pt x="65" y="68"/>
                  </a:cubicBezTo>
                  <a:cubicBezTo>
                    <a:pt x="65" y="68"/>
                    <a:pt x="65" y="68"/>
                    <a:pt x="65" y="68"/>
                  </a:cubicBezTo>
                  <a:cubicBezTo>
                    <a:pt x="65" y="68"/>
                    <a:pt x="65" y="68"/>
                    <a:pt x="65" y="68"/>
                  </a:cubicBezTo>
                  <a:cubicBezTo>
                    <a:pt x="69" y="66"/>
                    <a:pt x="72" y="64"/>
                    <a:pt x="74" y="62"/>
                  </a:cubicBezTo>
                  <a:cubicBezTo>
                    <a:pt x="74" y="62"/>
                    <a:pt x="74" y="62"/>
                    <a:pt x="74" y="62"/>
                  </a:cubicBezTo>
                  <a:cubicBezTo>
                    <a:pt x="74" y="62"/>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1"/>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2" y="51"/>
                  </a:cubicBezTo>
                  <a:cubicBezTo>
                    <a:pt x="82" y="50"/>
                    <a:pt x="82" y="50"/>
                    <a:pt x="83" y="50"/>
                  </a:cubicBezTo>
                  <a:cubicBezTo>
                    <a:pt x="83" y="50"/>
                    <a:pt x="83" y="50"/>
                    <a:pt x="83" y="50"/>
                  </a:cubicBezTo>
                  <a:cubicBezTo>
                    <a:pt x="85" y="46"/>
                    <a:pt x="86" y="41"/>
                    <a:pt x="86" y="36"/>
                  </a:cubicBezTo>
                  <a:cubicBezTo>
                    <a:pt x="86" y="31"/>
                    <a:pt x="85" y="26"/>
                    <a:pt x="83" y="21"/>
                  </a:cubicBezTo>
                  <a:cubicBezTo>
                    <a:pt x="83" y="21"/>
                    <a:pt x="83" y="21"/>
                    <a:pt x="83" y="21"/>
                  </a:cubicBezTo>
                  <a:cubicBezTo>
                    <a:pt x="83" y="21"/>
                    <a:pt x="83" y="21"/>
                    <a:pt x="83" y="21"/>
                  </a:cubicBezTo>
                  <a:cubicBezTo>
                    <a:pt x="79" y="13"/>
                    <a:pt x="71" y="6"/>
                    <a:pt x="62" y="2"/>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F34D00"/>
            </a:solidFill>
            <a:ln w="12700">
              <a:solidFill>
                <a:srgbClr val="F34D00"/>
              </a:solid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grpSp>
      <p:sp>
        <p:nvSpPr>
          <p:cNvPr id="341" name="TextBox 340">
            <a:extLst>
              <a:ext uri="{FF2B5EF4-FFF2-40B4-BE49-F238E27FC236}">
                <a16:creationId xmlns:a16="http://schemas.microsoft.com/office/drawing/2014/main" id="{98BFD69F-051A-AB4A-B628-EDF2A4EF012F}"/>
              </a:ext>
            </a:extLst>
          </p:cNvPr>
          <p:cNvSpPr txBox="1"/>
          <p:nvPr/>
        </p:nvSpPr>
        <p:spPr>
          <a:xfrm>
            <a:off x="740733" y="1570687"/>
            <a:ext cx="3326408" cy="1159420"/>
          </a:xfrm>
          <a:prstGeom prst="rect">
            <a:avLst/>
          </a:prstGeom>
          <a:noFill/>
        </p:spPr>
        <p:txBody>
          <a:bodyPr wrap="square" lIns="0" rtlCol="0">
            <a:spAutoFit/>
          </a:bodyPr>
          <a:lstStyle/>
          <a:p>
            <a:pPr marL="380990" indent="-380990" defTabSz="1219170">
              <a:defRPr/>
            </a:pPr>
            <a:r>
              <a:rPr lang="en-US" sz="3200" b="1" kern="0">
                <a:solidFill>
                  <a:srgbClr val="00BCEB"/>
                </a:solidFill>
                <a:latin typeface="CiscoSansTT ExtraLight" panose="020B0303020201020303" pitchFamily="34" charset="0"/>
                <a:cs typeface="CiscoSansTT ExtraLight" panose="020B0303020201020303" pitchFamily="34" charset="0"/>
                <a:sym typeface="Arial"/>
              </a:rPr>
              <a:t>1 in 4</a:t>
            </a:r>
          </a:p>
          <a:p>
            <a:pPr defTabSz="1219170">
              <a:defRPr/>
            </a:pPr>
            <a:r>
              <a:rPr lang="en-US" sz="1867" kern="0">
                <a:solidFill>
                  <a:srgbClr val="2F446B"/>
                </a:solidFill>
                <a:latin typeface="CiscoSansTT ExtraLight" panose="020B0303020201020303" pitchFamily="34" charset="0"/>
                <a:cs typeface="CiscoSansTT ExtraLight" panose="020B0303020201020303" pitchFamily="34" charset="0"/>
                <a:sym typeface="Arial"/>
              </a:rPr>
              <a:t>Companies risk a </a:t>
            </a:r>
            <a:r>
              <a:rPr lang="en-US" sz="1867" b="1" kern="0">
                <a:solidFill>
                  <a:srgbClr val="00BCEB"/>
                </a:solidFill>
                <a:latin typeface="CiscoSansTT ExtraLight" panose="020B0303020201020303" pitchFamily="34" charset="0"/>
                <a:cs typeface="CiscoSansTT ExtraLight" panose="020B0303020201020303" pitchFamily="34" charset="0"/>
                <a:sym typeface="Arial"/>
              </a:rPr>
              <a:t>major breach</a:t>
            </a:r>
            <a:r>
              <a:rPr lang="en-US" sz="1867" kern="0">
                <a:solidFill>
                  <a:srgbClr val="2F446B"/>
                </a:solidFill>
                <a:latin typeface="CiscoSansTT ExtraLight" panose="020B0303020201020303" pitchFamily="34" charset="0"/>
                <a:cs typeface="CiscoSansTT ExtraLight" panose="020B0303020201020303" pitchFamily="34" charset="0"/>
                <a:sym typeface="Arial"/>
              </a:rPr>
              <a:t> in the next 24 months</a:t>
            </a:r>
          </a:p>
        </p:txBody>
      </p:sp>
      <p:grpSp>
        <p:nvGrpSpPr>
          <p:cNvPr id="342" name="Group 341">
            <a:extLst>
              <a:ext uri="{FF2B5EF4-FFF2-40B4-BE49-F238E27FC236}">
                <a16:creationId xmlns:a16="http://schemas.microsoft.com/office/drawing/2014/main" id="{F1BFAE42-9B14-E547-B6E8-9F4457E999C5}"/>
              </a:ext>
            </a:extLst>
          </p:cNvPr>
          <p:cNvGrpSpPr/>
          <p:nvPr/>
        </p:nvGrpSpPr>
        <p:grpSpPr>
          <a:xfrm>
            <a:off x="2613625" y="3400959"/>
            <a:ext cx="564867" cy="1520239"/>
            <a:chOff x="4294987" y="765753"/>
            <a:chExt cx="619348" cy="1666865"/>
          </a:xfrm>
        </p:grpSpPr>
        <p:sp>
          <p:nvSpPr>
            <p:cNvPr id="343" name="Rectangle 6">
              <a:extLst>
                <a:ext uri="{FF2B5EF4-FFF2-40B4-BE49-F238E27FC236}">
                  <a16:creationId xmlns:a16="http://schemas.microsoft.com/office/drawing/2014/main" id="{956B780C-9BD0-3747-BD15-C33CE541DB0E}"/>
                </a:ext>
              </a:extLst>
            </p:cNvPr>
            <p:cNvSpPr>
              <a:spLocks noChangeArrowheads="1"/>
            </p:cNvSpPr>
            <p:nvPr/>
          </p:nvSpPr>
          <p:spPr bwMode="auto">
            <a:xfrm>
              <a:off x="4502100" y="1886953"/>
              <a:ext cx="1992" cy="25889"/>
            </a:xfrm>
            <a:prstGeom prst="rect">
              <a:avLst/>
            </a:prstGeom>
            <a:solidFill>
              <a:schemeClr val="bg2"/>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44" name="Rectangle 7">
              <a:extLst>
                <a:ext uri="{FF2B5EF4-FFF2-40B4-BE49-F238E27FC236}">
                  <a16:creationId xmlns:a16="http://schemas.microsoft.com/office/drawing/2014/main" id="{18C46F8D-3BC1-9B46-BD2C-271D84A5296B}"/>
                </a:ext>
              </a:extLst>
            </p:cNvPr>
            <p:cNvSpPr>
              <a:spLocks noChangeArrowheads="1"/>
            </p:cNvSpPr>
            <p:nvPr/>
          </p:nvSpPr>
          <p:spPr bwMode="auto">
            <a:xfrm>
              <a:off x="4502100" y="1751533"/>
              <a:ext cx="1992" cy="25889"/>
            </a:xfrm>
            <a:prstGeom prst="rect">
              <a:avLst/>
            </a:prstGeom>
            <a:solidFill>
              <a:schemeClr val="bg2"/>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45" name="Rectangle 8">
              <a:extLst>
                <a:ext uri="{FF2B5EF4-FFF2-40B4-BE49-F238E27FC236}">
                  <a16:creationId xmlns:a16="http://schemas.microsoft.com/office/drawing/2014/main" id="{5BC85B2A-957D-4A41-9786-BBCC50DEEF83}"/>
                </a:ext>
              </a:extLst>
            </p:cNvPr>
            <p:cNvSpPr>
              <a:spLocks noChangeArrowheads="1"/>
            </p:cNvSpPr>
            <p:nvPr/>
          </p:nvSpPr>
          <p:spPr bwMode="auto">
            <a:xfrm>
              <a:off x="4502100" y="1612131"/>
              <a:ext cx="1992" cy="27881"/>
            </a:xfrm>
            <a:prstGeom prst="rect">
              <a:avLst/>
            </a:prstGeom>
            <a:solidFill>
              <a:schemeClr val="bg2"/>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46" name="Freeform 117">
              <a:extLst>
                <a:ext uri="{FF2B5EF4-FFF2-40B4-BE49-F238E27FC236}">
                  <a16:creationId xmlns:a16="http://schemas.microsoft.com/office/drawing/2014/main" id="{939D12F1-B841-C741-9812-266B7CDA7C7E}"/>
                </a:ext>
              </a:extLst>
            </p:cNvPr>
            <p:cNvSpPr>
              <a:spLocks/>
            </p:cNvSpPr>
            <p:nvPr/>
          </p:nvSpPr>
          <p:spPr bwMode="auto">
            <a:xfrm>
              <a:off x="4294987" y="765753"/>
              <a:ext cx="619348" cy="1666865"/>
            </a:xfrm>
            <a:custGeom>
              <a:avLst/>
              <a:gdLst>
                <a:gd name="T0" fmla="*/ 311 w 311"/>
                <a:gd name="T1" fmla="*/ 837 h 837"/>
                <a:gd name="T2" fmla="*/ 0 w 311"/>
                <a:gd name="T3" fmla="*/ 837 h 837"/>
                <a:gd name="T4" fmla="*/ 0 w 311"/>
                <a:gd name="T5" fmla="*/ 48 h 837"/>
                <a:gd name="T6" fmla="*/ 311 w 311"/>
                <a:gd name="T7" fmla="*/ 0 h 837"/>
                <a:gd name="T8" fmla="*/ 311 w 311"/>
                <a:gd name="T9" fmla="*/ 837 h 837"/>
              </a:gdLst>
              <a:ahLst/>
              <a:cxnLst>
                <a:cxn ang="0">
                  <a:pos x="T0" y="T1"/>
                </a:cxn>
                <a:cxn ang="0">
                  <a:pos x="T2" y="T3"/>
                </a:cxn>
                <a:cxn ang="0">
                  <a:pos x="T4" y="T5"/>
                </a:cxn>
                <a:cxn ang="0">
                  <a:pos x="T6" y="T7"/>
                </a:cxn>
                <a:cxn ang="0">
                  <a:pos x="T8" y="T9"/>
                </a:cxn>
              </a:cxnLst>
              <a:rect l="0" t="0" r="r" b="b"/>
              <a:pathLst>
                <a:path w="311" h="837">
                  <a:moveTo>
                    <a:pt x="311" y="837"/>
                  </a:moveTo>
                  <a:lnTo>
                    <a:pt x="0" y="837"/>
                  </a:lnTo>
                  <a:lnTo>
                    <a:pt x="0" y="48"/>
                  </a:lnTo>
                  <a:lnTo>
                    <a:pt x="311" y="0"/>
                  </a:lnTo>
                  <a:lnTo>
                    <a:pt x="311" y="837"/>
                  </a:lnTo>
                  <a:close/>
                </a:path>
              </a:pathLst>
            </a:custGeom>
            <a:solidFill>
              <a:schemeClr val="tx1">
                <a:lumMod val="10000"/>
                <a:lumOff val="90000"/>
              </a:schemeClr>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47" name="Rectangle 118">
              <a:extLst>
                <a:ext uri="{FF2B5EF4-FFF2-40B4-BE49-F238E27FC236}">
                  <a16:creationId xmlns:a16="http://schemas.microsoft.com/office/drawing/2014/main" id="{D4E14722-A3D4-6049-BEFA-C4E5270FE8FF}"/>
                </a:ext>
              </a:extLst>
            </p:cNvPr>
            <p:cNvSpPr>
              <a:spLocks noChangeArrowheads="1"/>
            </p:cNvSpPr>
            <p:nvPr/>
          </p:nvSpPr>
          <p:spPr bwMode="auto">
            <a:xfrm>
              <a:off x="4340791" y="899181"/>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48" name="Rectangle 119">
              <a:extLst>
                <a:ext uri="{FF2B5EF4-FFF2-40B4-BE49-F238E27FC236}">
                  <a16:creationId xmlns:a16="http://schemas.microsoft.com/office/drawing/2014/main" id="{E4ADE379-27A8-2E49-A771-450632475191}"/>
                </a:ext>
              </a:extLst>
            </p:cNvPr>
            <p:cNvSpPr>
              <a:spLocks noChangeArrowheads="1"/>
            </p:cNvSpPr>
            <p:nvPr/>
          </p:nvSpPr>
          <p:spPr bwMode="auto">
            <a:xfrm>
              <a:off x="4340791" y="1004730"/>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49" name="Rectangle 120">
              <a:extLst>
                <a:ext uri="{FF2B5EF4-FFF2-40B4-BE49-F238E27FC236}">
                  <a16:creationId xmlns:a16="http://schemas.microsoft.com/office/drawing/2014/main" id="{E6ABF594-0B88-9241-A50A-246BDDF38208}"/>
                </a:ext>
              </a:extLst>
            </p:cNvPr>
            <p:cNvSpPr>
              <a:spLocks noChangeArrowheads="1"/>
            </p:cNvSpPr>
            <p:nvPr/>
          </p:nvSpPr>
          <p:spPr bwMode="auto">
            <a:xfrm>
              <a:off x="4340791" y="1104303"/>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50" name="Rectangle 121">
              <a:extLst>
                <a:ext uri="{FF2B5EF4-FFF2-40B4-BE49-F238E27FC236}">
                  <a16:creationId xmlns:a16="http://schemas.microsoft.com/office/drawing/2014/main" id="{C6E26A9D-69BC-CB45-AF66-0CE08889B529}"/>
                </a:ext>
              </a:extLst>
            </p:cNvPr>
            <p:cNvSpPr>
              <a:spLocks noChangeArrowheads="1"/>
            </p:cNvSpPr>
            <p:nvPr/>
          </p:nvSpPr>
          <p:spPr bwMode="auto">
            <a:xfrm>
              <a:off x="4340791" y="1207860"/>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51" name="Rectangle 122">
              <a:extLst>
                <a:ext uri="{FF2B5EF4-FFF2-40B4-BE49-F238E27FC236}">
                  <a16:creationId xmlns:a16="http://schemas.microsoft.com/office/drawing/2014/main" id="{BB7DA614-AD56-AE45-B8EA-B24F200E55CD}"/>
                </a:ext>
              </a:extLst>
            </p:cNvPr>
            <p:cNvSpPr>
              <a:spLocks noChangeArrowheads="1"/>
            </p:cNvSpPr>
            <p:nvPr/>
          </p:nvSpPr>
          <p:spPr bwMode="auto">
            <a:xfrm>
              <a:off x="4340791" y="1311417"/>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52" name="Rectangle 123">
              <a:extLst>
                <a:ext uri="{FF2B5EF4-FFF2-40B4-BE49-F238E27FC236}">
                  <a16:creationId xmlns:a16="http://schemas.microsoft.com/office/drawing/2014/main" id="{CCCB7405-C312-4B4D-A7B8-AAC55AB523A7}"/>
                </a:ext>
              </a:extLst>
            </p:cNvPr>
            <p:cNvSpPr>
              <a:spLocks noChangeArrowheads="1"/>
            </p:cNvSpPr>
            <p:nvPr/>
          </p:nvSpPr>
          <p:spPr bwMode="auto">
            <a:xfrm>
              <a:off x="4340791" y="1412982"/>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53" name="Rectangle 124">
              <a:extLst>
                <a:ext uri="{FF2B5EF4-FFF2-40B4-BE49-F238E27FC236}">
                  <a16:creationId xmlns:a16="http://schemas.microsoft.com/office/drawing/2014/main" id="{B2B13ADA-C306-B04D-9F60-06B06D41C8C5}"/>
                </a:ext>
              </a:extLst>
            </p:cNvPr>
            <p:cNvSpPr>
              <a:spLocks noChangeArrowheads="1"/>
            </p:cNvSpPr>
            <p:nvPr/>
          </p:nvSpPr>
          <p:spPr bwMode="auto">
            <a:xfrm>
              <a:off x="4340791" y="1516540"/>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54" name="Rectangle 125">
              <a:extLst>
                <a:ext uri="{FF2B5EF4-FFF2-40B4-BE49-F238E27FC236}">
                  <a16:creationId xmlns:a16="http://schemas.microsoft.com/office/drawing/2014/main" id="{D33A1EF5-2E0E-EA4E-84D7-7BBC557F7FA7}"/>
                </a:ext>
              </a:extLst>
            </p:cNvPr>
            <p:cNvSpPr>
              <a:spLocks noChangeArrowheads="1"/>
            </p:cNvSpPr>
            <p:nvPr/>
          </p:nvSpPr>
          <p:spPr bwMode="auto">
            <a:xfrm>
              <a:off x="4340791" y="1620096"/>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55" name="Rectangle 126">
              <a:extLst>
                <a:ext uri="{FF2B5EF4-FFF2-40B4-BE49-F238E27FC236}">
                  <a16:creationId xmlns:a16="http://schemas.microsoft.com/office/drawing/2014/main" id="{65B97FE1-6B15-5C48-BD2A-962E57101A7D}"/>
                </a:ext>
              </a:extLst>
            </p:cNvPr>
            <p:cNvSpPr>
              <a:spLocks noChangeArrowheads="1"/>
            </p:cNvSpPr>
            <p:nvPr/>
          </p:nvSpPr>
          <p:spPr bwMode="auto">
            <a:xfrm>
              <a:off x="4340791" y="1719670"/>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56" name="Rectangle 127">
              <a:extLst>
                <a:ext uri="{FF2B5EF4-FFF2-40B4-BE49-F238E27FC236}">
                  <a16:creationId xmlns:a16="http://schemas.microsoft.com/office/drawing/2014/main" id="{AAAD2870-F589-204D-BC26-6F1374B4A3AF}"/>
                </a:ext>
              </a:extLst>
            </p:cNvPr>
            <p:cNvSpPr>
              <a:spLocks noChangeArrowheads="1"/>
            </p:cNvSpPr>
            <p:nvPr/>
          </p:nvSpPr>
          <p:spPr bwMode="auto">
            <a:xfrm>
              <a:off x="4340791" y="1825218"/>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57" name="Rectangle 128">
              <a:extLst>
                <a:ext uri="{FF2B5EF4-FFF2-40B4-BE49-F238E27FC236}">
                  <a16:creationId xmlns:a16="http://schemas.microsoft.com/office/drawing/2014/main" id="{56AEF2C3-DEED-C745-8A47-3E3DE919F8AB}"/>
                </a:ext>
              </a:extLst>
            </p:cNvPr>
            <p:cNvSpPr>
              <a:spLocks noChangeArrowheads="1"/>
            </p:cNvSpPr>
            <p:nvPr/>
          </p:nvSpPr>
          <p:spPr bwMode="auto">
            <a:xfrm>
              <a:off x="4340791" y="1928775"/>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58" name="Rectangle 129">
              <a:extLst>
                <a:ext uri="{FF2B5EF4-FFF2-40B4-BE49-F238E27FC236}">
                  <a16:creationId xmlns:a16="http://schemas.microsoft.com/office/drawing/2014/main" id="{8EDA27CE-0624-2C44-AC7F-6E0CCDEEA733}"/>
                </a:ext>
              </a:extLst>
            </p:cNvPr>
            <p:cNvSpPr>
              <a:spLocks noChangeArrowheads="1"/>
            </p:cNvSpPr>
            <p:nvPr/>
          </p:nvSpPr>
          <p:spPr bwMode="auto">
            <a:xfrm>
              <a:off x="4340791" y="2028348"/>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59" name="Rectangle 130">
              <a:extLst>
                <a:ext uri="{FF2B5EF4-FFF2-40B4-BE49-F238E27FC236}">
                  <a16:creationId xmlns:a16="http://schemas.microsoft.com/office/drawing/2014/main" id="{5E69AE54-4574-0043-8FF9-7EE85A6C196E}"/>
                </a:ext>
              </a:extLst>
            </p:cNvPr>
            <p:cNvSpPr>
              <a:spLocks noChangeArrowheads="1"/>
            </p:cNvSpPr>
            <p:nvPr/>
          </p:nvSpPr>
          <p:spPr bwMode="auto">
            <a:xfrm>
              <a:off x="4340791" y="2131905"/>
              <a:ext cx="527741" cy="57752"/>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60" name="Rectangle 131">
              <a:extLst>
                <a:ext uri="{FF2B5EF4-FFF2-40B4-BE49-F238E27FC236}">
                  <a16:creationId xmlns:a16="http://schemas.microsoft.com/office/drawing/2014/main" id="{A036558C-5836-EC42-83C9-0550CE0A2C41}"/>
                </a:ext>
              </a:extLst>
            </p:cNvPr>
            <p:cNvSpPr>
              <a:spLocks noChangeArrowheads="1"/>
            </p:cNvSpPr>
            <p:nvPr/>
          </p:nvSpPr>
          <p:spPr bwMode="auto">
            <a:xfrm>
              <a:off x="4452313" y="2225505"/>
              <a:ext cx="304696" cy="207113"/>
            </a:xfrm>
            <a:prstGeom prst="rect">
              <a:avLst/>
            </a:prstGeom>
            <a:solidFill>
              <a:schemeClr val="bg1"/>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61" name="Rectangle 132">
              <a:extLst>
                <a:ext uri="{FF2B5EF4-FFF2-40B4-BE49-F238E27FC236}">
                  <a16:creationId xmlns:a16="http://schemas.microsoft.com/office/drawing/2014/main" id="{30423E04-3747-EA4A-A9A8-7E215D69E732}"/>
                </a:ext>
              </a:extLst>
            </p:cNvPr>
            <p:cNvSpPr>
              <a:spLocks noChangeArrowheads="1"/>
            </p:cNvSpPr>
            <p:nvPr/>
          </p:nvSpPr>
          <p:spPr bwMode="auto">
            <a:xfrm>
              <a:off x="4599681" y="869309"/>
              <a:ext cx="9958" cy="1563309"/>
            </a:xfrm>
            <a:prstGeom prst="rect">
              <a:avLst/>
            </a:prstGeom>
            <a:solidFill>
              <a:schemeClr val="tx1">
                <a:lumMod val="10000"/>
                <a:lumOff val="90000"/>
              </a:schemeClr>
            </a:solidFill>
            <a:ln>
              <a:no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grpSp>
      <p:grpSp>
        <p:nvGrpSpPr>
          <p:cNvPr id="362" name="Group 361">
            <a:extLst>
              <a:ext uri="{FF2B5EF4-FFF2-40B4-BE49-F238E27FC236}">
                <a16:creationId xmlns:a16="http://schemas.microsoft.com/office/drawing/2014/main" id="{9D685FA9-39AD-344C-99DC-409DC861A2D0}"/>
              </a:ext>
            </a:extLst>
          </p:cNvPr>
          <p:cNvGrpSpPr/>
          <p:nvPr/>
        </p:nvGrpSpPr>
        <p:grpSpPr>
          <a:xfrm>
            <a:off x="1644024" y="3100333"/>
            <a:ext cx="910432" cy="1820865"/>
            <a:chOff x="9668891" y="2918534"/>
            <a:chExt cx="998242" cy="1996486"/>
          </a:xfrm>
        </p:grpSpPr>
        <p:sp>
          <p:nvSpPr>
            <p:cNvPr id="363" name="Rectangle 152">
              <a:extLst>
                <a:ext uri="{FF2B5EF4-FFF2-40B4-BE49-F238E27FC236}">
                  <a16:creationId xmlns:a16="http://schemas.microsoft.com/office/drawing/2014/main" id="{F224636B-A9BA-364A-A05D-650783A99776}"/>
                </a:ext>
              </a:extLst>
            </p:cNvPr>
            <p:cNvSpPr>
              <a:spLocks noChangeArrowheads="1"/>
            </p:cNvSpPr>
            <p:nvPr/>
          </p:nvSpPr>
          <p:spPr bwMode="auto">
            <a:xfrm flipH="1">
              <a:off x="9993319" y="2918534"/>
              <a:ext cx="349384" cy="1559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64" name="Rectangle 154">
              <a:extLst>
                <a:ext uri="{FF2B5EF4-FFF2-40B4-BE49-F238E27FC236}">
                  <a16:creationId xmlns:a16="http://schemas.microsoft.com/office/drawing/2014/main" id="{12D5CB19-D120-1B40-90E8-11CF9CB0DD1C}"/>
                </a:ext>
              </a:extLst>
            </p:cNvPr>
            <p:cNvSpPr>
              <a:spLocks noChangeArrowheads="1"/>
            </p:cNvSpPr>
            <p:nvPr/>
          </p:nvSpPr>
          <p:spPr bwMode="auto">
            <a:xfrm flipH="1">
              <a:off x="9743759" y="3034995"/>
              <a:ext cx="848506" cy="214207"/>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65" name="Rectangle 155">
              <a:extLst>
                <a:ext uri="{FF2B5EF4-FFF2-40B4-BE49-F238E27FC236}">
                  <a16:creationId xmlns:a16="http://schemas.microsoft.com/office/drawing/2014/main" id="{DF9DCD25-C788-4E49-A55A-B27FA21BF01F}"/>
                </a:ext>
              </a:extLst>
            </p:cNvPr>
            <p:cNvSpPr>
              <a:spLocks noChangeArrowheads="1"/>
            </p:cNvSpPr>
            <p:nvPr/>
          </p:nvSpPr>
          <p:spPr bwMode="auto">
            <a:xfrm flipH="1">
              <a:off x="9668891" y="3224245"/>
              <a:ext cx="998242" cy="16907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66" name="Rectangle 156">
              <a:extLst>
                <a:ext uri="{FF2B5EF4-FFF2-40B4-BE49-F238E27FC236}">
                  <a16:creationId xmlns:a16="http://schemas.microsoft.com/office/drawing/2014/main" id="{7B03192B-677E-FC4D-9634-875C47B66C19}"/>
                </a:ext>
              </a:extLst>
            </p:cNvPr>
            <p:cNvSpPr>
              <a:spLocks noChangeArrowheads="1"/>
            </p:cNvSpPr>
            <p:nvPr/>
          </p:nvSpPr>
          <p:spPr bwMode="auto">
            <a:xfrm flipH="1">
              <a:off x="10446688"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67" name="Rectangle 157">
              <a:extLst>
                <a:ext uri="{FF2B5EF4-FFF2-40B4-BE49-F238E27FC236}">
                  <a16:creationId xmlns:a16="http://schemas.microsoft.com/office/drawing/2014/main" id="{D5A93D71-9249-2F42-A428-4E744F3596DD}"/>
                </a:ext>
              </a:extLst>
            </p:cNvPr>
            <p:cNvSpPr>
              <a:spLocks noChangeArrowheads="1"/>
            </p:cNvSpPr>
            <p:nvPr/>
          </p:nvSpPr>
          <p:spPr bwMode="auto">
            <a:xfrm flipH="1">
              <a:off x="10342705"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68" name="Rectangle 158">
              <a:extLst>
                <a:ext uri="{FF2B5EF4-FFF2-40B4-BE49-F238E27FC236}">
                  <a16:creationId xmlns:a16="http://schemas.microsoft.com/office/drawing/2014/main" id="{A1EC82DF-DC34-A142-AC85-27CFD2A101EA}"/>
                </a:ext>
              </a:extLst>
            </p:cNvPr>
            <p:cNvSpPr>
              <a:spLocks noChangeArrowheads="1"/>
            </p:cNvSpPr>
            <p:nvPr/>
          </p:nvSpPr>
          <p:spPr bwMode="auto">
            <a:xfrm flipH="1">
              <a:off x="10234561"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69" name="Rectangle 159">
              <a:extLst>
                <a:ext uri="{FF2B5EF4-FFF2-40B4-BE49-F238E27FC236}">
                  <a16:creationId xmlns:a16="http://schemas.microsoft.com/office/drawing/2014/main" id="{FE39EA06-B72F-BA44-8671-092FC876C5CE}"/>
                </a:ext>
              </a:extLst>
            </p:cNvPr>
            <p:cNvSpPr>
              <a:spLocks noChangeArrowheads="1"/>
            </p:cNvSpPr>
            <p:nvPr/>
          </p:nvSpPr>
          <p:spPr bwMode="auto">
            <a:xfrm flipH="1">
              <a:off x="10130577"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70" name="Rectangle 160">
              <a:extLst>
                <a:ext uri="{FF2B5EF4-FFF2-40B4-BE49-F238E27FC236}">
                  <a16:creationId xmlns:a16="http://schemas.microsoft.com/office/drawing/2014/main" id="{9C273F95-B9AF-644D-AE21-5EA48F4D78AE}"/>
                </a:ext>
              </a:extLst>
            </p:cNvPr>
            <p:cNvSpPr>
              <a:spLocks noChangeArrowheads="1"/>
            </p:cNvSpPr>
            <p:nvPr/>
          </p:nvSpPr>
          <p:spPr bwMode="auto">
            <a:xfrm flipH="1">
              <a:off x="10026594"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71" name="Rectangle 161">
              <a:extLst>
                <a:ext uri="{FF2B5EF4-FFF2-40B4-BE49-F238E27FC236}">
                  <a16:creationId xmlns:a16="http://schemas.microsoft.com/office/drawing/2014/main" id="{454A8B55-3135-D34C-A00E-60166B2E1EE0}"/>
                </a:ext>
              </a:extLst>
            </p:cNvPr>
            <p:cNvSpPr>
              <a:spLocks noChangeArrowheads="1"/>
            </p:cNvSpPr>
            <p:nvPr/>
          </p:nvSpPr>
          <p:spPr bwMode="auto">
            <a:xfrm flipH="1">
              <a:off x="9920531"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72" name="Rectangle 162">
              <a:extLst>
                <a:ext uri="{FF2B5EF4-FFF2-40B4-BE49-F238E27FC236}">
                  <a16:creationId xmlns:a16="http://schemas.microsoft.com/office/drawing/2014/main" id="{76C21F37-8C50-3349-B2C8-29269A68BD5D}"/>
                </a:ext>
              </a:extLst>
            </p:cNvPr>
            <p:cNvSpPr>
              <a:spLocks noChangeArrowheads="1"/>
            </p:cNvSpPr>
            <p:nvPr/>
          </p:nvSpPr>
          <p:spPr bwMode="auto">
            <a:xfrm flipH="1">
              <a:off x="9816548"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73" name="Rectangle 163">
              <a:extLst>
                <a:ext uri="{FF2B5EF4-FFF2-40B4-BE49-F238E27FC236}">
                  <a16:creationId xmlns:a16="http://schemas.microsoft.com/office/drawing/2014/main" id="{B672E5DA-FF99-3D4B-A512-8F1F5B24079B}"/>
                </a:ext>
              </a:extLst>
            </p:cNvPr>
            <p:cNvSpPr>
              <a:spLocks noChangeArrowheads="1"/>
            </p:cNvSpPr>
            <p:nvPr/>
          </p:nvSpPr>
          <p:spPr bwMode="auto">
            <a:xfrm flipH="1">
              <a:off x="10550672"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74" name="Rectangle 164">
              <a:extLst>
                <a:ext uri="{FF2B5EF4-FFF2-40B4-BE49-F238E27FC236}">
                  <a16:creationId xmlns:a16="http://schemas.microsoft.com/office/drawing/2014/main" id="{DD0C1989-F2B6-0040-B858-627B2B22A384}"/>
                </a:ext>
              </a:extLst>
            </p:cNvPr>
            <p:cNvSpPr>
              <a:spLocks noChangeArrowheads="1"/>
            </p:cNvSpPr>
            <p:nvPr/>
          </p:nvSpPr>
          <p:spPr bwMode="auto">
            <a:xfrm flipH="1">
              <a:off x="10446688"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75" name="Rectangle 165">
              <a:extLst>
                <a:ext uri="{FF2B5EF4-FFF2-40B4-BE49-F238E27FC236}">
                  <a16:creationId xmlns:a16="http://schemas.microsoft.com/office/drawing/2014/main" id="{7C8E22E7-86B8-B74C-812F-6E6455D75A92}"/>
                </a:ext>
              </a:extLst>
            </p:cNvPr>
            <p:cNvSpPr>
              <a:spLocks noChangeArrowheads="1"/>
            </p:cNvSpPr>
            <p:nvPr/>
          </p:nvSpPr>
          <p:spPr bwMode="auto">
            <a:xfrm flipH="1">
              <a:off x="10342705"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76" name="Rectangle 166">
              <a:extLst>
                <a:ext uri="{FF2B5EF4-FFF2-40B4-BE49-F238E27FC236}">
                  <a16:creationId xmlns:a16="http://schemas.microsoft.com/office/drawing/2014/main" id="{9305F869-2370-8D4D-ABBE-703402487FA7}"/>
                </a:ext>
              </a:extLst>
            </p:cNvPr>
            <p:cNvSpPr>
              <a:spLocks noChangeArrowheads="1"/>
            </p:cNvSpPr>
            <p:nvPr/>
          </p:nvSpPr>
          <p:spPr bwMode="auto">
            <a:xfrm flipH="1">
              <a:off x="10234561"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77" name="Rectangle 167">
              <a:extLst>
                <a:ext uri="{FF2B5EF4-FFF2-40B4-BE49-F238E27FC236}">
                  <a16:creationId xmlns:a16="http://schemas.microsoft.com/office/drawing/2014/main" id="{F053AC25-3A24-7242-9A8E-66655F643B45}"/>
                </a:ext>
              </a:extLst>
            </p:cNvPr>
            <p:cNvSpPr>
              <a:spLocks noChangeArrowheads="1"/>
            </p:cNvSpPr>
            <p:nvPr/>
          </p:nvSpPr>
          <p:spPr bwMode="auto">
            <a:xfrm flipH="1">
              <a:off x="10130577"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78" name="Rectangle 168">
              <a:extLst>
                <a:ext uri="{FF2B5EF4-FFF2-40B4-BE49-F238E27FC236}">
                  <a16:creationId xmlns:a16="http://schemas.microsoft.com/office/drawing/2014/main" id="{0A8212D4-C7A2-1B4C-BD8C-5EEAD5294C35}"/>
                </a:ext>
              </a:extLst>
            </p:cNvPr>
            <p:cNvSpPr>
              <a:spLocks noChangeArrowheads="1"/>
            </p:cNvSpPr>
            <p:nvPr/>
          </p:nvSpPr>
          <p:spPr bwMode="auto">
            <a:xfrm flipH="1">
              <a:off x="10026594"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79" name="Rectangle 169">
              <a:extLst>
                <a:ext uri="{FF2B5EF4-FFF2-40B4-BE49-F238E27FC236}">
                  <a16:creationId xmlns:a16="http://schemas.microsoft.com/office/drawing/2014/main" id="{96370A34-A26D-3145-B51F-7A8E86F4A2EC}"/>
                </a:ext>
              </a:extLst>
            </p:cNvPr>
            <p:cNvSpPr>
              <a:spLocks noChangeArrowheads="1"/>
            </p:cNvSpPr>
            <p:nvPr/>
          </p:nvSpPr>
          <p:spPr bwMode="auto">
            <a:xfrm flipH="1">
              <a:off x="9920531"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80" name="Rectangle 170">
              <a:extLst>
                <a:ext uri="{FF2B5EF4-FFF2-40B4-BE49-F238E27FC236}">
                  <a16:creationId xmlns:a16="http://schemas.microsoft.com/office/drawing/2014/main" id="{A15B8F95-F8B8-BA4E-8A45-1B5E032CEA73}"/>
                </a:ext>
              </a:extLst>
            </p:cNvPr>
            <p:cNvSpPr>
              <a:spLocks noChangeArrowheads="1"/>
            </p:cNvSpPr>
            <p:nvPr/>
          </p:nvSpPr>
          <p:spPr bwMode="auto">
            <a:xfrm flipH="1">
              <a:off x="9816548"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81" name="Rectangle 171">
              <a:extLst>
                <a:ext uri="{FF2B5EF4-FFF2-40B4-BE49-F238E27FC236}">
                  <a16:creationId xmlns:a16="http://schemas.microsoft.com/office/drawing/2014/main" id="{639743B4-5176-7843-9DE2-72EB8D8F02BC}"/>
                </a:ext>
              </a:extLst>
            </p:cNvPr>
            <p:cNvSpPr>
              <a:spLocks noChangeArrowheads="1"/>
            </p:cNvSpPr>
            <p:nvPr/>
          </p:nvSpPr>
          <p:spPr bwMode="auto">
            <a:xfrm flipH="1">
              <a:off x="9712564"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82" name="Rectangle 172">
              <a:extLst>
                <a:ext uri="{FF2B5EF4-FFF2-40B4-BE49-F238E27FC236}">
                  <a16:creationId xmlns:a16="http://schemas.microsoft.com/office/drawing/2014/main" id="{0F041AC8-924A-F245-8C3B-B506A1822E8F}"/>
                </a:ext>
              </a:extLst>
            </p:cNvPr>
            <p:cNvSpPr>
              <a:spLocks noChangeArrowheads="1"/>
            </p:cNvSpPr>
            <p:nvPr/>
          </p:nvSpPr>
          <p:spPr bwMode="auto">
            <a:xfrm flipH="1">
              <a:off x="10550672"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83" name="Rectangle 173">
              <a:extLst>
                <a:ext uri="{FF2B5EF4-FFF2-40B4-BE49-F238E27FC236}">
                  <a16:creationId xmlns:a16="http://schemas.microsoft.com/office/drawing/2014/main" id="{206FAD2C-40E3-0B45-B3DD-F3D8B0711F88}"/>
                </a:ext>
              </a:extLst>
            </p:cNvPr>
            <p:cNvSpPr>
              <a:spLocks noChangeArrowheads="1"/>
            </p:cNvSpPr>
            <p:nvPr/>
          </p:nvSpPr>
          <p:spPr bwMode="auto">
            <a:xfrm flipH="1">
              <a:off x="10446688"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84" name="Rectangle 174">
              <a:extLst>
                <a:ext uri="{FF2B5EF4-FFF2-40B4-BE49-F238E27FC236}">
                  <a16:creationId xmlns:a16="http://schemas.microsoft.com/office/drawing/2014/main" id="{48836C41-F026-0646-A04D-13E47DEC59D9}"/>
                </a:ext>
              </a:extLst>
            </p:cNvPr>
            <p:cNvSpPr>
              <a:spLocks noChangeArrowheads="1"/>
            </p:cNvSpPr>
            <p:nvPr/>
          </p:nvSpPr>
          <p:spPr bwMode="auto">
            <a:xfrm flipH="1">
              <a:off x="10342705"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85" name="Rectangle 175">
              <a:extLst>
                <a:ext uri="{FF2B5EF4-FFF2-40B4-BE49-F238E27FC236}">
                  <a16:creationId xmlns:a16="http://schemas.microsoft.com/office/drawing/2014/main" id="{D0AC681A-2A15-6540-A1E5-D14B7D1A9E28}"/>
                </a:ext>
              </a:extLst>
            </p:cNvPr>
            <p:cNvSpPr>
              <a:spLocks noChangeArrowheads="1"/>
            </p:cNvSpPr>
            <p:nvPr/>
          </p:nvSpPr>
          <p:spPr bwMode="auto">
            <a:xfrm flipH="1">
              <a:off x="10234561"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86" name="Rectangle 176">
              <a:extLst>
                <a:ext uri="{FF2B5EF4-FFF2-40B4-BE49-F238E27FC236}">
                  <a16:creationId xmlns:a16="http://schemas.microsoft.com/office/drawing/2014/main" id="{EA082E54-57EF-0F47-AEAE-74C702C5759D}"/>
                </a:ext>
              </a:extLst>
            </p:cNvPr>
            <p:cNvSpPr>
              <a:spLocks noChangeArrowheads="1"/>
            </p:cNvSpPr>
            <p:nvPr/>
          </p:nvSpPr>
          <p:spPr bwMode="auto">
            <a:xfrm flipH="1">
              <a:off x="10130577"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87" name="Rectangle 177">
              <a:extLst>
                <a:ext uri="{FF2B5EF4-FFF2-40B4-BE49-F238E27FC236}">
                  <a16:creationId xmlns:a16="http://schemas.microsoft.com/office/drawing/2014/main" id="{5CB920A5-5352-274A-92A0-E9ED2A58320A}"/>
                </a:ext>
              </a:extLst>
            </p:cNvPr>
            <p:cNvSpPr>
              <a:spLocks noChangeArrowheads="1"/>
            </p:cNvSpPr>
            <p:nvPr/>
          </p:nvSpPr>
          <p:spPr bwMode="auto">
            <a:xfrm flipH="1">
              <a:off x="10026594"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88" name="Rectangle 178">
              <a:extLst>
                <a:ext uri="{FF2B5EF4-FFF2-40B4-BE49-F238E27FC236}">
                  <a16:creationId xmlns:a16="http://schemas.microsoft.com/office/drawing/2014/main" id="{EBF79002-BCE6-F443-9C15-D8CE5498ED55}"/>
                </a:ext>
              </a:extLst>
            </p:cNvPr>
            <p:cNvSpPr>
              <a:spLocks noChangeArrowheads="1"/>
            </p:cNvSpPr>
            <p:nvPr/>
          </p:nvSpPr>
          <p:spPr bwMode="auto">
            <a:xfrm flipH="1">
              <a:off x="9920531"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89" name="Rectangle 179">
              <a:extLst>
                <a:ext uri="{FF2B5EF4-FFF2-40B4-BE49-F238E27FC236}">
                  <a16:creationId xmlns:a16="http://schemas.microsoft.com/office/drawing/2014/main" id="{EFD4C26A-FBB4-8C4B-9A60-83F6992332F6}"/>
                </a:ext>
              </a:extLst>
            </p:cNvPr>
            <p:cNvSpPr>
              <a:spLocks noChangeArrowheads="1"/>
            </p:cNvSpPr>
            <p:nvPr/>
          </p:nvSpPr>
          <p:spPr bwMode="auto">
            <a:xfrm flipH="1">
              <a:off x="9816548"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90" name="Rectangle 180">
              <a:extLst>
                <a:ext uri="{FF2B5EF4-FFF2-40B4-BE49-F238E27FC236}">
                  <a16:creationId xmlns:a16="http://schemas.microsoft.com/office/drawing/2014/main" id="{63337B8D-81EB-DC48-AB54-073959685335}"/>
                </a:ext>
              </a:extLst>
            </p:cNvPr>
            <p:cNvSpPr>
              <a:spLocks noChangeArrowheads="1"/>
            </p:cNvSpPr>
            <p:nvPr/>
          </p:nvSpPr>
          <p:spPr bwMode="auto">
            <a:xfrm flipH="1">
              <a:off x="9712564"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91" name="Rectangle 181">
              <a:extLst>
                <a:ext uri="{FF2B5EF4-FFF2-40B4-BE49-F238E27FC236}">
                  <a16:creationId xmlns:a16="http://schemas.microsoft.com/office/drawing/2014/main" id="{74C0FC13-18A7-7444-A65E-2DA78B5EC050}"/>
                </a:ext>
              </a:extLst>
            </p:cNvPr>
            <p:cNvSpPr>
              <a:spLocks noChangeArrowheads="1"/>
            </p:cNvSpPr>
            <p:nvPr/>
          </p:nvSpPr>
          <p:spPr bwMode="auto">
            <a:xfrm flipH="1">
              <a:off x="10550672"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92" name="Rectangle 182">
              <a:extLst>
                <a:ext uri="{FF2B5EF4-FFF2-40B4-BE49-F238E27FC236}">
                  <a16:creationId xmlns:a16="http://schemas.microsoft.com/office/drawing/2014/main" id="{BA2AA591-9F37-4C4A-B428-55B64C353390}"/>
                </a:ext>
              </a:extLst>
            </p:cNvPr>
            <p:cNvSpPr>
              <a:spLocks noChangeArrowheads="1"/>
            </p:cNvSpPr>
            <p:nvPr/>
          </p:nvSpPr>
          <p:spPr bwMode="auto">
            <a:xfrm flipH="1">
              <a:off x="10446688"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93" name="Rectangle 183">
              <a:extLst>
                <a:ext uri="{FF2B5EF4-FFF2-40B4-BE49-F238E27FC236}">
                  <a16:creationId xmlns:a16="http://schemas.microsoft.com/office/drawing/2014/main" id="{C8172486-C59C-ED4B-921B-CCB3EA673919}"/>
                </a:ext>
              </a:extLst>
            </p:cNvPr>
            <p:cNvSpPr>
              <a:spLocks noChangeArrowheads="1"/>
            </p:cNvSpPr>
            <p:nvPr/>
          </p:nvSpPr>
          <p:spPr bwMode="auto">
            <a:xfrm flipH="1">
              <a:off x="10342705"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94" name="Rectangle 184">
              <a:extLst>
                <a:ext uri="{FF2B5EF4-FFF2-40B4-BE49-F238E27FC236}">
                  <a16:creationId xmlns:a16="http://schemas.microsoft.com/office/drawing/2014/main" id="{1BB20DA4-2EA2-E841-A35B-7D0F7E84C6D6}"/>
                </a:ext>
              </a:extLst>
            </p:cNvPr>
            <p:cNvSpPr>
              <a:spLocks noChangeArrowheads="1"/>
            </p:cNvSpPr>
            <p:nvPr/>
          </p:nvSpPr>
          <p:spPr bwMode="auto">
            <a:xfrm flipH="1">
              <a:off x="10234561"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95" name="Rectangle 185">
              <a:extLst>
                <a:ext uri="{FF2B5EF4-FFF2-40B4-BE49-F238E27FC236}">
                  <a16:creationId xmlns:a16="http://schemas.microsoft.com/office/drawing/2014/main" id="{BF8F3C67-CA66-8C40-8990-60D4C9625F84}"/>
                </a:ext>
              </a:extLst>
            </p:cNvPr>
            <p:cNvSpPr>
              <a:spLocks noChangeArrowheads="1"/>
            </p:cNvSpPr>
            <p:nvPr/>
          </p:nvSpPr>
          <p:spPr bwMode="auto">
            <a:xfrm flipH="1">
              <a:off x="10130577"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96" name="Rectangle 186">
              <a:extLst>
                <a:ext uri="{FF2B5EF4-FFF2-40B4-BE49-F238E27FC236}">
                  <a16:creationId xmlns:a16="http://schemas.microsoft.com/office/drawing/2014/main" id="{A767FC1F-01E9-1046-B81A-61BE0F211CEA}"/>
                </a:ext>
              </a:extLst>
            </p:cNvPr>
            <p:cNvSpPr>
              <a:spLocks noChangeArrowheads="1"/>
            </p:cNvSpPr>
            <p:nvPr/>
          </p:nvSpPr>
          <p:spPr bwMode="auto">
            <a:xfrm flipH="1">
              <a:off x="10026594"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97" name="Rectangle 187">
              <a:extLst>
                <a:ext uri="{FF2B5EF4-FFF2-40B4-BE49-F238E27FC236}">
                  <a16:creationId xmlns:a16="http://schemas.microsoft.com/office/drawing/2014/main" id="{537B8143-BDA4-7640-A223-B643EF9B4B21}"/>
                </a:ext>
              </a:extLst>
            </p:cNvPr>
            <p:cNvSpPr>
              <a:spLocks noChangeArrowheads="1"/>
            </p:cNvSpPr>
            <p:nvPr/>
          </p:nvSpPr>
          <p:spPr bwMode="auto">
            <a:xfrm flipH="1">
              <a:off x="9920531"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98" name="Rectangle 188">
              <a:extLst>
                <a:ext uri="{FF2B5EF4-FFF2-40B4-BE49-F238E27FC236}">
                  <a16:creationId xmlns:a16="http://schemas.microsoft.com/office/drawing/2014/main" id="{ECC7D240-4EE1-004F-BC8C-3FD214C06D3A}"/>
                </a:ext>
              </a:extLst>
            </p:cNvPr>
            <p:cNvSpPr>
              <a:spLocks noChangeArrowheads="1"/>
            </p:cNvSpPr>
            <p:nvPr/>
          </p:nvSpPr>
          <p:spPr bwMode="auto">
            <a:xfrm flipH="1">
              <a:off x="9816548"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399" name="Rectangle 189">
              <a:extLst>
                <a:ext uri="{FF2B5EF4-FFF2-40B4-BE49-F238E27FC236}">
                  <a16:creationId xmlns:a16="http://schemas.microsoft.com/office/drawing/2014/main" id="{7B59ADB4-58B4-CE42-BB3E-DC85367DFB23}"/>
                </a:ext>
              </a:extLst>
            </p:cNvPr>
            <p:cNvSpPr>
              <a:spLocks noChangeArrowheads="1"/>
            </p:cNvSpPr>
            <p:nvPr/>
          </p:nvSpPr>
          <p:spPr bwMode="auto">
            <a:xfrm flipH="1">
              <a:off x="9712564"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00" name="Rectangle 190">
              <a:extLst>
                <a:ext uri="{FF2B5EF4-FFF2-40B4-BE49-F238E27FC236}">
                  <a16:creationId xmlns:a16="http://schemas.microsoft.com/office/drawing/2014/main" id="{CFE6C860-1DB4-C74F-B1FE-597677F9F016}"/>
                </a:ext>
              </a:extLst>
            </p:cNvPr>
            <p:cNvSpPr>
              <a:spLocks noChangeArrowheads="1"/>
            </p:cNvSpPr>
            <p:nvPr/>
          </p:nvSpPr>
          <p:spPr bwMode="auto">
            <a:xfrm flipH="1">
              <a:off x="10550672"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01" name="Rectangle 191">
              <a:extLst>
                <a:ext uri="{FF2B5EF4-FFF2-40B4-BE49-F238E27FC236}">
                  <a16:creationId xmlns:a16="http://schemas.microsoft.com/office/drawing/2014/main" id="{520A1A5B-3CC9-E243-921F-6D98589D7085}"/>
                </a:ext>
              </a:extLst>
            </p:cNvPr>
            <p:cNvSpPr>
              <a:spLocks noChangeArrowheads="1"/>
            </p:cNvSpPr>
            <p:nvPr/>
          </p:nvSpPr>
          <p:spPr bwMode="auto">
            <a:xfrm flipH="1">
              <a:off x="10446688"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02" name="Rectangle 192">
              <a:extLst>
                <a:ext uri="{FF2B5EF4-FFF2-40B4-BE49-F238E27FC236}">
                  <a16:creationId xmlns:a16="http://schemas.microsoft.com/office/drawing/2014/main" id="{1278E7FD-1161-E249-97F4-7868F11BD52B}"/>
                </a:ext>
              </a:extLst>
            </p:cNvPr>
            <p:cNvSpPr>
              <a:spLocks noChangeArrowheads="1"/>
            </p:cNvSpPr>
            <p:nvPr/>
          </p:nvSpPr>
          <p:spPr bwMode="auto">
            <a:xfrm flipH="1">
              <a:off x="10342705"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03" name="Rectangle 193">
              <a:extLst>
                <a:ext uri="{FF2B5EF4-FFF2-40B4-BE49-F238E27FC236}">
                  <a16:creationId xmlns:a16="http://schemas.microsoft.com/office/drawing/2014/main" id="{8E0C80E2-D6D7-DF45-BB76-22717C64B0A1}"/>
                </a:ext>
              </a:extLst>
            </p:cNvPr>
            <p:cNvSpPr>
              <a:spLocks noChangeArrowheads="1"/>
            </p:cNvSpPr>
            <p:nvPr/>
          </p:nvSpPr>
          <p:spPr bwMode="auto">
            <a:xfrm flipH="1">
              <a:off x="10234561"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04" name="Rectangle 194">
              <a:extLst>
                <a:ext uri="{FF2B5EF4-FFF2-40B4-BE49-F238E27FC236}">
                  <a16:creationId xmlns:a16="http://schemas.microsoft.com/office/drawing/2014/main" id="{C815E0E5-BCCE-4445-8F11-F41FA993D9BA}"/>
                </a:ext>
              </a:extLst>
            </p:cNvPr>
            <p:cNvSpPr>
              <a:spLocks noChangeArrowheads="1"/>
            </p:cNvSpPr>
            <p:nvPr/>
          </p:nvSpPr>
          <p:spPr bwMode="auto">
            <a:xfrm flipH="1">
              <a:off x="10130577"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05" name="Rectangle 195">
              <a:extLst>
                <a:ext uri="{FF2B5EF4-FFF2-40B4-BE49-F238E27FC236}">
                  <a16:creationId xmlns:a16="http://schemas.microsoft.com/office/drawing/2014/main" id="{E701C722-C96C-1A46-A6FB-164FBA11E771}"/>
                </a:ext>
              </a:extLst>
            </p:cNvPr>
            <p:cNvSpPr>
              <a:spLocks noChangeArrowheads="1"/>
            </p:cNvSpPr>
            <p:nvPr/>
          </p:nvSpPr>
          <p:spPr bwMode="auto">
            <a:xfrm flipH="1">
              <a:off x="10026594"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06" name="Rectangle 196">
              <a:extLst>
                <a:ext uri="{FF2B5EF4-FFF2-40B4-BE49-F238E27FC236}">
                  <a16:creationId xmlns:a16="http://schemas.microsoft.com/office/drawing/2014/main" id="{DDEE019B-CF71-6245-A893-40C91CE65220}"/>
                </a:ext>
              </a:extLst>
            </p:cNvPr>
            <p:cNvSpPr>
              <a:spLocks noChangeArrowheads="1"/>
            </p:cNvSpPr>
            <p:nvPr/>
          </p:nvSpPr>
          <p:spPr bwMode="auto">
            <a:xfrm flipH="1">
              <a:off x="9920531"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07" name="Rectangle 197">
              <a:extLst>
                <a:ext uri="{FF2B5EF4-FFF2-40B4-BE49-F238E27FC236}">
                  <a16:creationId xmlns:a16="http://schemas.microsoft.com/office/drawing/2014/main" id="{B6B468CC-1C21-DA4B-97DF-A63502B1922F}"/>
                </a:ext>
              </a:extLst>
            </p:cNvPr>
            <p:cNvSpPr>
              <a:spLocks noChangeArrowheads="1"/>
            </p:cNvSpPr>
            <p:nvPr/>
          </p:nvSpPr>
          <p:spPr bwMode="auto">
            <a:xfrm flipH="1">
              <a:off x="9816548"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08" name="Rectangle 198">
              <a:extLst>
                <a:ext uri="{FF2B5EF4-FFF2-40B4-BE49-F238E27FC236}">
                  <a16:creationId xmlns:a16="http://schemas.microsoft.com/office/drawing/2014/main" id="{62E28BBF-9C4A-5346-A5B3-BF5113428971}"/>
                </a:ext>
              </a:extLst>
            </p:cNvPr>
            <p:cNvSpPr>
              <a:spLocks noChangeArrowheads="1"/>
            </p:cNvSpPr>
            <p:nvPr/>
          </p:nvSpPr>
          <p:spPr bwMode="auto">
            <a:xfrm flipH="1">
              <a:off x="9712564"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09" name="Rectangle 199">
              <a:extLst>
                <a:ext uri="{FF2B5EF4-FFF2-40B4-BE49-F238E27FC236}">
                  <a16:creationId xmlns:a16="http://schemas.microsoft.com/office/drawing/2014/main" id="{E07E876A-427C-9C4B-BDA2-BC7C7BD410A0}"/>
                </a:ext>
              </a:extLst>
            </p:cNvPr>
            <p:cNvSpPr>
              <a:spLocks noChangeArrowheads="1"/>
            </p:cNvSpPr>
            <p:nvPr/>
          </p:nvSpPr>
          <p:spPr bwMode="auto">
            <a:xfrm flipH="1">
              <a:off x="10550672"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10" name="Rectangle 200">
              <a:extLst>
                <a:ext uri="{FF2B5EF4-FFF2-40B4-BE49-F238E27FC236}">
                  <a16:creationId xmlns:a16="http://schemas.microsoft.com/office/drawing/2014/main" id="{A2E68614-E570-7F46-88E0-467E8E81EF52}"/>
                </a:ext>
              </a:extLst>
            </p:cNvPr>
            <p:cNvSpPr>
              <a:spLocks noChangeArrowheads="1"/>
            </p:cNvSpPr>
            <p:nvPr/>
          </p:nvSpPr>
          <p:spPr bwMode="auto">
            <a:xfrm flipH="1">
              <a:off x="10446688"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11" name="Rectangle 201">
              <a:extLst>
                <a:ext uri="{FF2B5EF4-FFF2-40B4-BE49-F238E27FC236}">
                  <a16:creationId xmlns:a16="http://schemas.microsoft.com/office/drawing/2014/main" id="{69D56246-B41D-4A4D-A9FF-E33D383B961A}"/>
                </a:ext>
              </a:extLst>
            </p:cNvPr>
            <p:cNvSpPr>
              <a:spLocks noChangeArrowheads="1"/>
            </p:cNvSpPr>
            <p:nvPr/>
          </p:nvSpPr>
          <p:spPr bwMode="auto">
            <a:xfrm flipH="1">
              <a:off x="10342705"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12" name="Rectangle 202">
              <a:extLst>
                <a:ext uri="{FF2B5EF4-FFF2-40B4-BE49-F238E27FC236}">
                  <a16:creationId xmlns:a16="http://schemas.microsoft.com/office/drawing/2014/main" id="{061E4594-DB77-194F-93C5-98503DDA7386}"/>
                </a:ext>
              </a:extLst>
            </p:cNvPr>
            <p:cNvSpPr>
              <a:spLocks noChangeArrowheads="1"/>
            </p:cNvSpPr>
            <p:nvPr/>
          </p:nvSpPr>
          <p:spPr bwMode="auto">
            <a:xfrm flipH="1">
              <a:off x="10234561"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13" name="Rectangle 203">
              <a:extLst>
                <a:ext uri="{FF2B5EF4-FFF2-40B4-BE49-F238E27FC236}">
                  <a16:creationId xmlns:a16="http://schemas.microsoft.com/office/drawing/2014/main" id="{1AA4FB9D-F597-AB47-952E-B690371F0AA3}"/>
                </a:ext>
              </a:extLst>
            </p:cNvPr>
            <p:cNvSpPr>
              <a:spLocks noChangeArrowheads="1"/>
            </p:cNvSpPr>
            <p:nvPr/>
          </p:nvSpPr>
          <p:spPr bwMode="auto">
            <a:xfrm flipH="1">
              <a:off x="10130577"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14" name="Rectangle 204">
              <a:extLst>
                <a:ext uri="{FF2B5EF4-FFF2-40B4-BE49-F238E27FC236}">
                  <a16:creationId xmlns:a16="http://schemas.microsoft.com/office/drawing/2014/main" id="{14E8E93F-CF5B-7A4A-8773-1BE1FC33163A}"/>
                </a:ext>
              </a:extLst>
            </p:cNvPr>
            <p:cNvSpPr>
              <a:spLocks noChangeArrowheads="1"/>
            </p:cNvSpPr>
            <p:nvPr/>
          </p:nvSpPr>
          <p:spPr bwMode="auto">
            <a:xfrm flipH="1">
              <a:off x="10026594"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15" name="Rectangle 206">
              <a:extLst>
                <a:ext uri="{FF2B5EF4-FFF2-40B4-BE49-F238E27FC236}">
                  <a16:creationId xmlns:a16="http://schemas.microsoft.com/office/drawing/2014/main" id="{9296B2E6-99F7-4247-B4DC-054DDAF7E95B}"/>
                </a:ext>
              </a:extLst>
            </p:cNvPr>
            <p:cNvSpPr>
              <a:spLocks noChangeArrowheads="1"/>
            </p:cNvSpPr>
            <p:nvPr/>
          </p:nvSpPr>
          <p:spPr bwMode="auto">
            <a:xfrm flipH="1">
              <a:off x="9920531" y="392093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16" name="Rectangle 207">
              <a:extLst>
                <a:ext uri="{FF2B5EF4-FFF2-40B4-BE49-F238E27FC236}">
                  <a16:creationId xmlns:a16="http://schemas.microsoft.com/office/drawing/2014/main" id="{5731A730-8993-F545-8B08-E44EA5F2FDF2}"/>
                </a:ext>
              </a:extLst>
            </p:cNvPr>
            <p:cNvSpPr>
              <a:spLocks noChangeArrowheads="1"/>
            </p:cNvSpPr>
            <p:nvPr/>
          </p:nvSpPr>
          <p:spPr bwMode="auto">
            <a:xfrm flipH="1">
              <a:off x="9816548" y="392093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17" name="Rectangle 208">
              <a:extLst>
                <a:ext uri="{FF2B5EF4-FFF2-40B4-BE49-F238E27FC236}">
                  <a16:creationId xmlns:a16="http://schemas.microsoft.com/office/drawing/2014/main" id="{4642A0AB-B7CC-B742-B93B-849E98EEBA92}"/>
                </a:ext>
              </a:extLst>
            </p:cNvPr>
            <p:cNvSpPr>
              <a:spLocks noChangeArrowheads="1"/>
            </p:cNvSpPr>
            <p:nvPr/>
          </p:nvSpPr>
          <p:spPr bwMode="auto">
            <a:xfrm flipH="1">
              <a:off x="9712564" y="392093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18" name="Rectangle 209">
              <a:extLst>
                <a:ext uri="{FF2B5EF4-FFF2-40B4-BE49-F238E27FC236}">
                  <a16:creationId xmlns:a16="http://schemas.microsoft.com/office/drawing/2014/main" id="{34D71F3C-A8D0-5C49-A0C2-37AFE3FED730}"/>
                </a:ext>
              </a:extLst>
            </p:cNvPr>
            <p:cNvSpPr>
              <a:spLocks noChangeArrowheads="1"/>
            </p:cNvSpPr>
            <p:nvPr/>
          </p:nvSpPr>
          <p:spPr bwMode="auto">
            <a:xfrm flipH="1">
              <a:off x="10550672"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19" name="Rectangle 210">
              <a:extLst>
                <a:ext uri="{FF2B5EF4-FFF2-40B4-BE49-F238E27FC236}">
                  <a16:creationId xmlns:a16="http://schemas.microsoft.com/office/drawing/2014/main" id="{E179EC5E-BD32-C442-A3DC-730A8AED8240}"/>
                </a:ext>
              </a:extLst>
            </p:cNvPr>
            <p:cNvSpPr>
              <a:spLocks noChangeArrowheads="1"/>
            </p:cNvSpPr>
            <p:nvPr/>
          </p:nvSpPr>
          <p:spPr bwMode="auto">
            <a:xfrm flipH="1">
              <a:off x="10446688"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20" name="Rectangle 211">
              <a:extLst>
                <a:ext uri="{FF2B5EF4-FFF2-40B4-BE49-F238E27FC236}">
                  <a16:creationId xmlns:a16="http://schemas.microsoft.com/office/drawing/2014/main" id="{1531EDD0-281D-FF4B-960D-8181AB4ABD3B}"/>
                </a:ext>
              </a:extLst>
            </p:cNvPr>
            <p:cNvSpPr>
              <a:spLocks noChangeArrowheads="1"/>
            </p:cNvSpPr>
            <p:nvPr/>
          </p:nvSpPr>
          <p:spPr bwMode="auto">
            <a:xfrm flipH="1">
              <a:off x="10342705"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21" name="Rectangle 212">
              <a:extLst>
                <a:ext uri="{FF2B5EF4-FFF2-40B4-BE49-F238E27FC236}">
                  <a16:creationId xmlns:a16="http://schemas.microsoft.com/office/drawing/2014/main" id="{6EB1C915-BD82-014E-827E-D325A62F4EE3}"/>
                </a:ext>
              </a:extLst>
            </p:cNvPr>
            <p:cNvSpPr>
              <a:spLocks noChangeArrowheads="1"/>
            </p:cNvSpPr>
            <p:nvPr/>
          </p:nvSpPr>
          <p:spPr bwMode="auto">
            <a:xfrm flipH="1">
              <a:off x="10234562"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22" name="Rectangle 213">
              <a:extLst>
                <a:ext uri="{FF2B5EF4-FFF2-40B4-BE49-F238E27FC236}">
                  <a16:creationId xmlns:a16="http://schemas.microsoft.com/office/drawing/2014/main" id="{86E0FB75-7E3B-3A4B-A856-AE858525CD36}"/>
                </a:ext>
              </a:extLst>
            </p:cNvPr>
            <p:cNvSpPr>
              <a:spLocks noChangeArrowheads="1"/>
            </p:cNvSpPr>
            <p:nvPr/>
          </p:nvSpPr>
          <p:spPr bwMode="auto">
            <a:xfrm flipH="1">
              <a:off x="10130579"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23" name="Rectangle 214">
              <a:extLst>
                <a:ext uri="{FF2B5EF4-FFF2-40B4-BE49-F238E27FC236}">
                  <a16:creationId xmlns:a16="http://schemas.microsoft.com/office/drawing/2014/main" id="{4867637D-285B-544B-99F5-ABECB0C39082}"/>
                </a:ext>
              </a:extLst>
            </p:cNvPr>
            <p:cNvSpPr>
              <a:spLocks noChangeArrowheads="1"/>
            </p:cNvSpPr>
            <p:nvPr/>
          </p:nvSpPr>
          <p:spPr bwMode="auto">
            <a:xfrm flipH="1">
              <a:off x="10026594"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24" name="Rectangle 215">
              <a:extLst>
                <a:ext uri="{FF2B5EF4-FFF2-40B4-BE49-F238E27FC236}">
                  <a16:creationId xmlns:a16="http://schemas.microsoft.com/office/drawing/2014/main" id="{DA77CE36-7680-0E42-AC94-FC2D451DC06C}"/>
                </a:ext>
              </a:extLst>
            </p:cNvPr>
            <p:cNvSpPr>
              <a:spLocks noChangeArrowheads="1"/>
            </p:cNvSpPr>
            <p:nvPr/>
          </p:nvSpPr>
          <p:spPr bwMode="auto">
            <a:xfrm flipH="1">
              <a:off x="9920531"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25" name="Rectangle 216">
              <a:extLst>
                <a:ext uri="{FF2B5EF4-FFF2-40B4-BE49-F238E27FC236}">
                  <a16:creationId xmlns:a16="http://schemas.microsoft.com/office/drawing/2014/main" id="{E4264610-11BC-1041-ABC6-AB386AC3BC5B}"/>
                </a:ext>
              </a:extLst>
            </p:cNvPr>
            <p:cNvSpPr>
              <a:spLocks noChangeArrowheads="1"/>
            </p:cNvSpPr>
            <p:nvPr/>
          </p:nvSpPr>
          <p:spPr bwMode="auto">
            <a:xfrm flipH="1">
              <a:off x="9816548"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26" name="Rectangle 217">
              <a:extLst>
                <a:ext uri="{FF2B5EF4-FFF2-40B4-BE49-F238E27FC236}">
                  <a16:creationId xmlns:a16="http://schemas.microsoft.com/office/drawing/2014/main" id="{45E01AF2-5016-C848-B333-08BB97F77F65}"/>
                </a:ext>
              </a:extLst>
            </p:cNvPr>
            <p:cNvSpPr>
              <a:spLocks noChangeArrowheads="1"/>
            </p:cNvSpPr>
            <p:nvPr/>
          </p:nvSpPr>
          <p:spPr bwMode="auto">
            <a:xfrm flipH="1">
              <a:off x="9712564"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27" name="Rectangle 218">
              <a:extLst>
                <a:ext uri="{FF2B5EF4-FFF2-40B4-BE49-F238E27FC236}">
                  <a16:creationId xmlns:a16="http://schemas.microsoft.com/office/drawing/2014/main" id="{52258CF2-FFA5-2546-85A6-E8F6D3DE7888}"/>
                </a:ext>
              </a:extLst>
            </p:cNvPr>
            <p:cNvSpPr>
              <a:spLocks noChangeArrowheads="1"/>
            </p:cNvSpPr>
            <p:nvPr/>
          </p:nvSpPr>
          <p:spPr bwMode="auto">
            <a:xfrm flipH="1">
              <a:off x="10550672"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28" name="Rectangle 219">
              <a:extLst>
                <a:ext uri="{FF2B5EF4-FFF2-40B4-BE49-F238E27FC236}">
                  <a16:creationId xmlns:a16="http://schemas.microsoft.com/office/drawing/2014/main" id="{C8DD09B3-A5E7-724C-915F-55536C688029}"/>
                </a:ext>
              </a:extLst>
            </p:cNvPr>
            <p:cNvSpPr>
              <a:spLocks noChangeArrowheads="1"/>
            </p:cNvSpPr>
            <p:nvPr/>
          </p:nvSpPr>
          <p:spPr bwMode="auto">
            <a:xfrm flipH="1">
              <a:off x="10446688"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29" name="Rectangle 220">
              <a:extLst>
                <a:ext uri="{FF2B5EF4-FFF2-40B4-BE49-F238E27FC236}">
                  <a16:creationId xmlns:a16="http://schemas.microsoft.com/office/drawing/2014/main" id="{474558A6-BCE8-494E-8E46-2526D2E0956C}"/>
                </a:ext>
              </a:extLst>
            </p:cNvPr>
            <p:cNvSpPr>
              <a:spLocks noChangeArrowheads="1"/>
            </p:cNvSpPr>
            <p:nvPr/>
          </p:nvSpPr>
          <p:spPr bwMode="auto">
            <a:xfrm flipH="1">
              <a:off x="10342705"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30" name="Rectangle 221">
              <a:extLst>
                <a:ext uri="{FF2B5EF4-FFF2-40B4-BE49-F238E27FC236}">
                  <a16:creationId xmlns:a16="http://schemas.microsoft.com/office/drawing/2014/main" id="{69943A3C-40B4-8447-ACB5-A939F85EBA21}"/>
                </a:ext>
              </a:extLst>
            </p:cNvPr>
            <p:cNvSpPr>
              <a:spLocks noChangeArrowheads="1"/>
            </p:cNvSpPr>
            <p:nvPr/>
          </p:nvSpPr>
          <p:spPr bwMode="auto">
            <a:xfrm flipH="1">
              <a:off x="10234562"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31" name="Rectangle 222">
              <a:extLst>
                <a:ext uri="{FF2B5EF4-FFF2-40B4-BE49-F238E27FC236}">
                  <a16:creationId xmlns:a16="http://schemas.microsoft.com/office/drawing/2014/main" id="{263CE66B-DCE7-C443-B87A-38EB66E183B6}"/>
                </a:ext>
              </a:extLst>
            </p:cNvPr>
            <p:cNvSpPr>
              <a:spLocks noChangeArrowheads="1"/>
            </p:cNvSpPr>
            <p:nvPr/>
          </p:nvSpPr>
          <p:spPr bwMode="auto">
            <a:xfrm flipH="1">
              <a:off x="10130579"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32" name="Rectangle 223">
              <a:extLst>
                <a:ext uri="{FF2B5EF4-FFF2-40B4-BE49-F238E27FC236}">
                  <a16:creationId xmlns:a16="http://schemas.microsoft.com/office/drawing/2014/main" id="{85B12939-E73B-A040-B008-5677BD688C07}"/>
                </a:ext>
              </a:extLst>
            </p:cNvPr>
            <p:cNvSpPr>
              <a:spLocks noChangeArrowheads="1"/>
            </p:cNvSpPr>
            <p:nvPr/>
          </p:nvSpPr>
          <p:spPr bwMode="auto">
            <a:xfrm flipH="1">
              <a:off x="10026594"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33" name="Rectangle 224">
              <a:extLst>
                <a:ext uri="{FF2B5EF4-FFF2-40B4-BE49-F238E27FC236}">
                  <a16:creationId xmlns:a16="http://schemas.microsoft.com/office/drawing/2014/main" id="{534F5B7B-C4BD-7C41-B19E-9CFA47A69C42}"/>
                </a:ext>
              </a:extLst>
            </p:cNvPr>
            <p:cNvSpPr>
              <a:spLocks noChangeArrowheads="1"/>
            </p:cNvSpPr>
            <p:nvPr/>
          </p:nvSpPr>
          <p:spPr bwMode="auto">
            <a:xfrm flipH="1">
              <a:off x="9920531"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34" name="Rectangle 225">
              <a:extLst>
                <a:ext uri="{FF2B5EF4-FFF2-40B4-BE49-F238E27FC236}">
                  <a16:creationId xmlns:a16="http://schemas.microsoft.com/office/drawing/2014/main" id="{1C60653A-F442-FF40-87ED-EAF163F0EB57}"/>
                </a:ext>
              </a:extLst>
            </p:cNvPr>
            <p:cNvSpPr>
              <a:spLocks noChangeArrowheads="1"/>
            </p:cNvSpPr>
            <p:nvPr/>
          </p:nvSpPr>
          <p:spPr bwMode="auto">
            <a:xfrm flipH="1">
              <a:off x="9816548"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35" name="Rectangle 226">
              <a:extLst>
                <a:ext uri="{FF2B5EF4-FFF2-40B4-BE49-F238E27FC236}">
                  <a16:creationId xmlns:a16="http://schemas.microsoft.com/office/drawing/2014/main" id="{7738A12B-ECA9-524B-B144-D873ABCE24C9}"/>
                </a:ext>
              </a:extLst>
            </p:cNvPr>
            <p:cNvSpPr>
              <a:spLocks noChangeArrowheads="1"/>
            </p:cNvSpPr>
            <p:nvPr/>
          </p:nvSpPr>
          <p:spPr bwMode="auto">
            <a:xfrm flipH="1">
              <a:off x="9712564"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36" name="Rectangle 227">
              <a:extLst>
                <a:ext uri="{FF2B5EF4-FFF2-40B4-BE49-F238E27FC236}">
                  <a16:creationId xmlns:a16="http://schemas.microsoft.com/office/drawing/2014/main" id="{C13601CD-0BE3-B94F-9050-7A3C22B5C146}"/>
                </a:ext>
              </a:extLst>
            </p:cNvPr>
            <p:cNvSpPr>
              <a:spLocks noChangeArrowheads="1"/>
            </p:cNvSpPr>
            <p:nvPr/>
          </p:nvSpPr>
          <p:spPr bwMode="auto">
            <a:xfrm flipH="1">
              <a:off x="10550672"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37" name="Rectangle 228">
              <a:extLst>
                <a:ext uri="{FF2B5EF4-FFF2-40B4-BE49-F238E27FC236}">
                  <a16:creationId xmlns:a16="http://schemas.microsoft.com/office/drawing/2014/main" id="{E948B69F-45C2-D240-860C-677FAA2949C4}"/>
                </a:ext>
              </a:extLst>
            </p:cNvPr>
            <p:cNvSpPr>
              <a:spLocks noChangeArrowheads="1"/>
            </p:cNvSpPr>
            <p:nvPr/>
          </p:nvSpPr>
          <p:spPr bwMode="auto">
            <a:xfrm flipH="1">
              <a:off x="10446688"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38" name="Rectangle 229">
              <a:extLst>
                <a:ext uri="{FF2B5EF4-FFF2-40B4-BE49-F238E27FC236}">
                  <a16:creationId xmlns:a16="http://schemas.microsoft.com/office/drawing/2014/main" id="{31188E66-6245-3440-A0A4-1D443CECBB48}"/>
                </a:ext>
              </a:extLst>
            </p:cNvPr>
            <p:cNvSpPr>
              <a:spLocks noChangeArrowheads="1"/>
            </p:cNvSpPr>
            <p:nvPr/>
          </p:nvSpPr>
          <p:spPr bwMode="auto">
            <a:xfrm flipH="1">
              <a:off x="10342705"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39" name="Rectangle 230">
              <a:extLst>
                <a:ext uri="{FF2B5EF4-FFF2-40B4-BE49-F238E27FC236}">
                  <a16:creationId xmlns:a16="http://schemas.microsoft.com/office/drawing/2014/main" id="{511A816B-B866-0147-9FA5-0932E86911E8}"/>
                </a:ext>
              </a:extLst>
            </p:cNvPr>
            <p:cNvSpPr>
              <a:spLocks noChangeArrowheads="1"/>
            </p:cNvSpPr>
            <p:nvPr/>
          </p:nvSpPr>
          <p:spPr bwMode="auto">
            <a:xfrm flipH="1">
              <a:off x="10234562"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40" name="Rectangle 231">
              <a:extLst>
                <a:ext uri="{FF2B5EF4-FFF2-40B4-BE49-F238E27FC236}">
                  <a16:creationId xmlns:a16="http://schemas.microsoft.com/office/drawing/2014/main" id="{673C0BAB-F6D2-7F4D-ADC0-1C838A422530}"/>
                </a:ext>
              </a:extLst>
            </p:cNvPr>
            <p:cNvSpPr>
              <a:spLocks noChangeArrowheads="1"/>
            </p:cNvSpPr>
            <p:nvPr/>
          </p:nvSpPr>
          <p:spPr bwMode="auto">
            <a:xfrm flipH="1">
              <a:off x="10130579"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41" name="Rectangle 232">
              <a:extLst>
                <a:ext uri="{FF2B5EF4-FFF2-40B4-BE49-F238E27FC236}">
                  <a16:creationId xmlns:a16="http://schemas.microsoft.com/office/drawing/2014/main" id="{816D91C6-7221-CA45-B8A3-8A9D9AEA8328}"/>
                </a:ext>
              </a:extLst>
            </p:cNvPr>
            <p:cNvSpPr>
              <a:spLocks noChangeArrowheads="1"/>
            </p:cNvSpPr>
            <p:nvPr/>
          </p:nvSpPr>
          <p:spPr bwMode="auto">
            <a:xfrm flipH="1">
              <a:off x="10026594"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42" name="Rectangle 233">
              <a:extLst>
                <a:ext uri="{FF2B5EF4-FFF2-40B4-BE49-F238E27FC236}">
                  <a16:creationId xmlns:a16="http://schemas.microsoft.com/office/drawing/2014/main" id="{A4323E06-D790-C546-9757-446E2CA0A84C}"/>
                </a:ext>
              </a:extLst>
            </p:cNvPr>
            <p:cNvSpPr>
              <a:spLocks noChangeArrowheads="1"/>
            </p:cNvSpPr>
            <p:nvPr/>
          </p:nvSpPr>
          <p:spPr bwMode="auto">
            <a:xfrm flipH="1">
              <a:off x="9920531"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43" name="Rectangle 234">
              <a:extLst>
                <a:ext uri="{FF2B5EF4-FFF2-40B4-BE49-F238E27FC236}">
                  <a16:creationId xmlns:a16="http://schemas.microsoft.com/office/drawing/2014/main" id="{FBAC2F4B-F74F-A64E-92AA-7A1590A9A535}"/>
                </a:ext>
              </a:extLst>
            </p:cNvPr>
            <p:cNvSpPr>
              <a:spLocks noChangeArrowheads="1"/>
            </p:cNvSpPr>
            <p:nvPr/>
          </p:nvSpPr>
          <p:spPr bwMode="auto">
            <a:xfrm flipH="1">
              <a:off x="9816548"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44" name="Rectangle 235">
              <a:extLst>
                <a:ext uri="{FF2B5EF4-FFF2-40B4-BE49-F238E27FC236}">
                  <a16:creationId xmlns:a16="http://schemas.microsoft.com/office/drawing/2014/main" id="{55C32C94-FC6D-8249-AA00-226591B1374A}"/>
                </a:ext>
              </a:extLst>
            </p:cNvPr>
            <p:cNvSpPr>
              <a:spLocks noChangeArrowheads="1"/>
            </p:cNvSpPr>
            <p:nvPr/>
          </p:nvSpPr>
          <p:spPr bwMode="auto">
            <a:xfrm flipH="1">
              <a:off x="9712564"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45" name="Rectangle 236">
              <a:extLst>
                <a:ext uri="{FF2B5EF4-FFF2-40B4-BE49-F238E27FC236}">
                  <a16:creationId xmlns:a16="http://schemas.microsoft.com/office/drawing/2014/main" id="{0D97E55F-20F2-2E48-ABCB-BC63E08E420E}"/>
                </a:ext>
              </a:extLst>
            </p:cNvPr>
            <p:cNvSpPr>
              <a:spLocks noChangeArrowheads="1"/>
            </p:cNvSpPr>
            <p:nvPr/>
          </p:nvSpPr>
          <p:spPr bwMode="auto">
            <a:xfrm flipH="1">
              <a:off x="10550672"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46" name="Rectangle 237">
              <a:extLst>
                <a:ext uri="{FF2B5EF4-FFF2-40B4-BE49-F238E27FC236}">
                  <a16:creationId xmlns:a16="http://schemas.microsoft.com/office/drawing/2014/main" id="{B2C994EF-2EF9-7F41-8B82-08306B1BC94A}"/>
                </a:ext>
              </a:extLst>
            </p:cNvPr>
            <p:cNvSpPr>
              <a:spLocks noChangeArrowheads="1"/>
            </p:cNvSpPr>
            <p:nvPr/>
          </p:nvSpPr>
          <p:spPr bwMode="auto">
            <a:xfrm flipH="1">
              <a:off x="10446688"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47" name="Rectangle 238">
              <a:extLst>
                <a:ext uri="{FF2B5EF4-FFF2-40B4-BE49-F238E27FC236}">
                  <a16:creationId xmlns:a16="http://schemas.microsoft.com/office/drawing/2014/main" id="{DDAF35FA-E5CE-3D48-8997-5A20AAAF65CB}"/>
                </a:ext>
              </a:extLst>
            </p:cNvPr>
            <p:cNvSpPr>
              <a:spLocks noChangeArrowheads="1"/>
            </p:cNvSpPr>
            <p:nvPr/>
          </p:nvSpPr>
          <p:spPr bwMode="auto">
            <a:xfrm flipH="1">
              <a:off x="10342705"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48" name="Rectangle 239">
              <a:extLst>
                <a:ext uri="{FF2B5EF4-FFF2-40B4-BE49-F238E27FC236}">
                  <a16:creationId xmlns:a16="http://schemas.microsoft.com/office/drawing/2014/main" id="{433803BA-8885-844D-860F-E5096C76BE00}"/>
                </a:ext>
              </a:extLst>
            </p:cNvPr>
            <p:cNvSpPr>
              <a:spLocks noChangeArrowheads="1"/>
            </p:cNvSpPr>
            <p:nvPr/>
          </p:nvSpPr>
          <p:spPr bwMode="auto">
            <a:xfrm flipH="1">
              <a:off x="10234562"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49" name="Rectangle 240">
              <a:extLst>
                <a:ext uri="{FF2B5EF4-FFF2-40B4-BE49-F238E27FC236}">
                  <a16:creationId xmlns:a16="http://schemas.microsoft.com/office/drawing/2014/main" id="{96A03460-6228-1242-846F-0E330A6E7C42}"/>
                </a:ext>
              </a:extLst>
            </p:cNvPr>
            <p:cNvSpPr>
              <a:spLocks noChangeArrowheads="1"/>
            </p:cNvSpPr>
            <p:nvPr/>
          </p:nvSpPr>
          <p:spPr bwMode="auto">
            <a:xfrm flipH="1">
              <a:off x="10130579"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50" name="Rectangle 241">
              <a:extLst>
                <a:ext uri="{FF2B5EF4-FFF2-40B4-BE49-F238E27FC236}">
                  <a16:creationId xmlns:a16="http://schemas.microsoft.com/office/drawing/2014/main" id="{46155374-5BF0-AD40-8A5A-560BC52CB83B}"/>
                </a:ext>
              </a:extLst>
            </p:cNvPr>
            <p:cNvSpPr>
              <a:spLocks noChangeArrowheads="1"/>
            </p:cNvSpPr>
            <p:nvPr/>
          </p:nvSpPr>
          <p:spPr bwMode="auto">
            <a:xfrm flipH="1">
              <a:off x="10026594"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51" name="Rectangle 242">
              <a:extLst>
                <a:ext uri="{FF2B5EF4-FFF2-40B4-BE49-F238E27FC236}">
                  <a16:creationId xmlns:a16="http://schemas.microsoft.com/office/drawing/2014/main" id="{B9F637FB-0533-264B-B348-43C9E99BCE32}"/>
                </a:ext>
              </a:extLst>
            </p:cNvPr>
            <p:cNvSpPr>
              <a:spLocks noChangeArrowheads="1"/>
            </p:cNvSpPr>
            <p:nvPr/>
          </p:nvSpPr>
          <p:spPr bwMode="auto">
            <a:xfrm flipH="1">
              <a:off x="9920531"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52" name="Rectangle 243">
              <a:extLst>
                <a:ext uri="{FF2B5EF4-FFF2-40B4-BE49-F238E27FC236}">
                  <a16:creationId xmlns:a16="http://schemas.microsoft.com/office/drawing/2014/main" id="{F840693E-E1AB-514D-A554-F9BEBFD4849D}"/>
                </a:ext>
              </a:extLst>
            </p:cNvPr>
            <p:cNvSpPr>
              <a:spLocks noChangeArrowheads="1"/>
            </p:cNvSpPr>
            <p:nvPr/>
          </p:nvSpPr>
          <p:spPr bwMode="auto">
            <a:xfrm flipH="1">
              <a:off x="9816548"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53" name="Rectangle 244">
              <a:extLst>
                <a:ext uri="{FF2B5EF4-FFF2-40B4-BE49-F238E27FC236}">
                  <a16:creationId xmlns:a16="http://schemas.microsoft.com/office/drawing/2014/main" id="{97B3929E-CDF3-474B-ABAB-C5A76A03F5FA}"/>
                </a:ext>
              </a:extLst>
            </p:cNvPr>
            <p:cNvSpPr>
              <a:spLocks noChangeArrowheads="1"/>
            </p:cNvSpPr>
            <p:nvPr/>
          </p:nvSpPr>
          <p:spPr bwMode="auto">
            <a:xfrm flipH="1">
              <a:off x="9712564"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54" name="Rectangle 245">
              <a:extLst>
                <a:ext uri="{FF2B5EF4-FFF2-40B4-BE49-F238E27FC236}">
                  <a16:creationId xmlns:a16="http://schemas.microsoft.com/office/drawing/2014/main" id="{F6811F89-A189-D042-8C2A-4FF26437DAB2}"/>
                </a:ext>
              </a:extLst>
            </p:cNvPr>
            <p:cNvSpPr>
              <a:spLocks noChangeArrowheads="1"/>
            </p:cNvSpPr>
            <p:nvPr/>
          </p:nvSpPr>
          <p:spPr bwMode="auto">
            <a:xfrm flipH="1">
              <a:off x="10550672"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55" name="Rectangle 246">
              <a:extLst>
                <a:ext uri="{FF2B5EF4-FFF2-40B4-BE49-F238E27FC236}">
                  <a16:creationId xmlns:a16="http://schemas.microsoft.com/office/drawing/2014/main" id="{D4C2E1C7-054A-3349-84CC-72E9F210B479}"/>
                </a:ext>
              </a:extLst>
            </p:cNvPr>
            <p:cNvSpPr>
              <a:spLocks noChangeArrowheads="1"/>
            </p:cNvSpPr>
            <p:nvPr/>
          </p:nvSpPr>
          <p:spPr bwMode="auto">
            <a:xfrm flipH="1">
              <a:off x="10446688"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56" name="Rectangle 247">
              <a:extLst>
                <a:ext uri="{FF2B5EF4-FFF2-40B4-BE49-F238E27FC236}">
                  <a16:creationId xmlns:a16="http://schemas.microsoft.com/office/drawing/2014/main" id="{5D795AD5-F66F-E94B-AC58-5A9177AFAB9B}"/>
                </a:ext>
              </a:extLst>
            </p:cNvPr>
            <p:cNvSpPr>
              <a:spLocks noChangeArrowheads="1"/>
            </p:cNvSpPr>
            <p:nvPr/>
          </p:nvSpPr>
          <p:spPr bwMode="auto">
            <a:xfrm flipH="1">
              <a:off x="10342705"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57" name="Rectangle 248">
              <a:extLst>
                <a:ext uri="{FF2B5EF4-FFF2-40B4-BE49-F238E27FC236}">
                  <a16:creationId xmlns:a16="http://schemas.microsoft.com/office/drawing/2014/main" id="{A2B52AAC-EDBB-5B4A-968B-16F3508899FC}"/>
                </a:ext>
              </a:extLst>
            </p:cNvPr>
            <p:cNvSpPr>
              <a:spLocks noChangeArrowheads="1"/>
            </p:cNvSpPr>
            <p:nvPr/>
          </p:nvSpPr>
          <p:spPr bwMode="auto">
            <a:xfrm flipH="1">
              <a:off x="10234562"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58" name="Rectangle 249">
              <a:extLst>
                <a:ext uri="{FF2B5EF4-FFF2-40B4-BE49-F238E27FC236}">
                  <a16:creationId xmlns:a16="http://schemas.microsoft.com/office/drawing/2014/main" id="{C725CB80-F81F-D346-A5E4-85B7D00A4A10}"/>
                </a:ext>
              </a:extLst>
            </p:cNvPr>
            <p:cNvSpPr>
              <a:spLocks noChangeArrowheads="1"/>
            </p:cNvSpPr>
            <p:nvPr/>
          </p:nvSpPr>
          <p:spPr bwMode="auto">
            <a:xfrm flipH="1">
              <a:off x="10130579"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59" name="Rectangle 250">
              <a:extLst>
                <a:ext uri="{FF2B5EF4-FFF2-40B4-BE49-F238E27FC236}">
                  <a16:creationId xmlns:a16="http://schemas.microsoft.com/office/drawing/2014/main" id="{7E904385-559D-3C4D-8CE1-CE4516A1CBBC}"/>
                </a:ext>
              </a:extLst>
            </p:cNvPr>
            <p:cNvSpPr>
              <a:spLocks noChangeArrowheads="1"/>
            </p:cNvSpPr>
            <p:nvPr/>
          </p:nvSpPr>
          <p:spPr bwMode="auto">
            <a:xfrm flipH="1">
              <a:off x="10026594"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60" name="Rectangle 251">
              <a:extLst>
                <a:ext uri="{FF2B5EF4-FFF2-40B4-BE49-F238E27FC236}">
                  <a16:creationId xmlns:a16="http://schemas.microsoft.com/office/drawing/2014/main" id="{2151714F-261D-134F-92F0-C70A4CE3688E}"/>
                </a:ext>
              </a:extLst>
            </p:cNvPr>
            <p:cNvSpPr>
              <a:spLocks noChangeArrowheads="1"/>
            </p:cNvSpPr>
            <p:nvPr/>
          </p:nvSpPr>
          <p:spPr bwMode="auto">
            <a:xfrm flipH="1">
              <a:off x="9920531"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61" name="Rectangle 252">
              <a:extLst>
                <a:ext uri="{FF2B5EF4-FFF2-40B4-BE49-F238E27FC236}">
                  <a16:creationId xmlns:a16="http://schemas.microsoft.com/office/drawing/2014/main" id="{1372F7CF-31DC-6B4B-BB2C-B6BC83DAB494}"/>
                </a:ext>
              </a:extLst>
            </p:cNvPr>
            <p:cNvSpPr>
              <a:spLocks noChangeArrowheads="1"/>
            </p:cNvSpPr>
            <p:nvPr/>
          </p:nvSpPr>
          <p:spPr bwMode="auto">
            <a:xfrm flipH="1">
              <a:off x="9712564" y="4752805"/>
              <a:ext cx="164294" cy="1622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grpSp>
      <p:grpSp>
        <p:nvGrpSpPr>
          <p:cNvPr id="462" name="Group 461">
            <a:extLst>
              <a:ext uri="{FF2B5EF4-FFF2-40B4-BE49-F238E27FC236}">
                <a16:creationId xmlns:a16="http://schemas.microsoft.com/office/drawing/2014/main" id="{3026D3CF-AEED-EF41-B4E3-E186F0348A3E}"/>
              </a:ext>
            </a:extLst>
          </p:cNvPr>
          <p:cNvGrpSpPr/>
          <p:nvPr/>
        </p:nvGrpSpPr>
        <p:grpSpPr>
          <a:xfrm>
            <a:off x="698402" y="3887801"/>
            <a:ext cx="924209" cy="1028592"/>
            <a:chOff x="1933777" y="3819517"/>
            <a:chExt cx="597788" cy="665351"/>
          </a:xfrm>
        </p:grpSpPr>
        <p:sp>
          <p:nvSpPr>
            <p:cNvPr id="463" name="Rectangle 274">
              <a:extLst>
                <a:ext uri="{FF2B5EF4-FFF2-40B4-BE49-F238E27FC236}">
                  <a16:creationId xmlns:a16="http://schemas.microsoft.com/office/drawing/2014/main" id="{294C6089-A31B-7E41-836D-F449F03D19FB}"/>
                </a:ext>
              </a:extLst>
            </p:cNvPr>
            <p:cNvSpPr>
              <a:spLocks noChangeArrowheads="1"/>
            </p:cNvSpPr>
            <p:nvPr/>
          </p:nvSpPr>
          <p:spPr bwMode="auto">
            <a:xfrm>
              <a:off x="1963315" y="3874375"/>
              <a:ext cx="537306" cy="610492"/>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64" name="Rectangle 275">
              <a:extLst>
                <a:ext uri="{FF2B5EF4-FFF2-40B4-BE49-F238E27FC236}">
                  <a16:creationId xmlns:a16="http://schemas.microsoft.com/office/drawing/2014/main" id="{4A652AED-E4BC-BA48-A48B-1B5B8F1C1B7D}"/>
                </a:ext>
              </a:extLst>
            </p:cNvPr>
            <p:cNvSpPr>
              <a:spLocks noChangeArrowheads="1"/>
            </p:cNvSpPr>
            <p:nvPr/>
          </p:nvSpPr>
          <p:spPr bwMode="auto">
            <a:xfrm>
              <a:off x="2015358" y="395596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65" name="Rectangle 276">
              <a:extLst>
                <a:ext uri="{FF2B5EF4-FFF2-40B4-BE49-F238E27FC236}">
                  <a16:creationId xmlns:a16="http://schemas.microsoft.com/office/drawing/2014/main" id="{40642819-A14A-A04D-AC76-2B530F1E4FE9}"/>
                </a:ext>
              </a:extLst>
            </p:cNvPr>
            <p:cNvSpPr>
              <a:spLocks noChangeArrowheads="1"/>
            </p:cNvSpPr>
            <p:nvPr/>
          </p:nvSpPr>
          <p:spPr bwMode="auto">
            <a:xfrm>
              <a:off x="2129289" y="395596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66" name="Rectangle 277">
              <a:extLst>
                <a:ext uri="{FF2B5EF4-FFF2-40B4-BE49-F238E27FC236}">
                  <a16:creationId xmlns:a16="http://schemas.microsoft.com/office/drawing/2014/main" id="{E9593406-9A69-F346-AD97-FFD0C5E96CB4}"/>
                </a:ext>
              </a:extLst>
            </p:cNvPr>
            <p:cNvSpPr>
              <a:spLocks noChangeArrowheads="1"/>
            </p:cNvSpPr>
            <p:nvPr/>
          </p:nvSpPr>
          <p:spPr bwMode="auto">
            <a:xfrm>
              <a:off x="2246034" y="395596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67" name="Rectangle 278">
              <a:extLst>
                <a:ext uri="{FF2B5EF4-FFF2-40B4-BE49-F238E27FC236}">
                  <a16:creationId xmlns:a16="http://schemas.microsoft.com/office/drawing/2014/main" id="{98CA89B5-A3B3-7F4B-B2D8-09FF469E2D4B}"/>
                </a:ext>
              </a:extLst>
            </p:cNvPr>
            <p:cNvSpPr>
              <a:spLocks noChangeArrowheads="1"/>
            </p:cNvSpPr>
            <p:nvPr/>
          </p:nvSpPr>
          <p:spPr bwMode="auto">
            <a:xfrm>
              <a:off x="2362778" y="395596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68" name="Rectangle 279">
              <a:extLst>
                <a:ext uri="{FF2B5EF4-FFF2-40B4-BE49-F238E27FC236}">
                  <a16:creationId xmlns:a16="http://schemas.microsoft.com/office/drawing/2014/main" id="{76E9B097-5FE7-C549-AAAE-7B54E5133FC9}"/>
                </a:ext>
              </a:extLst>
            </p:cNvPr>
            <p:cNvSpPr>
              <a:spLocks noChangeArrowheads="1"/>
            </p:cNvSpPr>
            <p:nvPr/>
          </p:nvSpPr>
          <p:spPr bwMode="auto">
            <a:xfrm>
              <a:off x="2015358" y="408678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69" name="Rectangle 280">
              <a:extLst>
                <a:ext uri="{FF2B5EF4-FFF2-40B4-BE49-F238E27FC236}">
                  <a16:creationId xmlns:a16="http://schemas.microsoft.com/office/drawing/2014/main" id="{813F741C-C342-7C42-AD99-CCD8B220DD2D}"/>
                </a:ext>
              </a:extLst>
            </p:cNvPr>
            <p:cNvSpPr>
              <a:spLocks noChangeArrowheads="1"/>
            </p:cNvSpPr>
            <p:nvPr/>
          </p:nvSpPr>
          <p:spPr bwMode="auto">
            <a:xfrm>
              <a:off x="2129289" y="408678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70" name="Rectangle 281">
              <a:extLst>
                <a:ext uri="{FF2B5EF4-FFF2-40B4-BE49-F238E27FC236}">
                  <a16:creationId xmlns:a16="http://schemas.microsoft.com/office/drawing/2014/main" id="{1562DC08-AA51-9A47-833C-91EDC8B429D5}"/>
                </a:ext>
              </a:extLst>
            </p:cNvPr>
            <p:cNvSpPr>
              <a:spLocks noChangeArrowheads="1"/>
            </p:cNvSpPr>
            <p:nvPr/>
          </p:nvSpPr>
          <p:spPr bwMode="auto">
            <a:xfrm>
              <a:off x="2246034" y="408678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71" name="Rectangle 282">
              <a:extLst>
                <a:ext uri="{FF2B5EF4-FFF2-40B4-BE49-F238E27FC236}">
                  <a16:creationId xmlns:a16="http://schemas.microsoft.com/office/drawing/2014/main" id="{F1CC4BA2-A881-1C46-82BC-9DDA14A1AE18}"/>
                </a:ext>
              </a:extLst>
            </p:cNvPr>
            <p:cNvSpPr>
              <a:spLocks noChangeArrowheads="1"/>
            </p:cNvSpPr>
            <p:nvPr/>
          </p:nvSpPr>
          <p:spPr bwMode="auto">
            <a:xfrm>
              <a:off x="2362778" y="4086781"/>
              <a:ext cx="87207" cy="4360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72" name="Rectangle 283">
              <a:extLst>
                <a:ext uri="{FF2B5EF4-FFF2-40B4-BE49-F238E27FC236}">
                  <a16:creationId xmlns:a16="http://schemas.microsoft.com/office/drawing/2014/main" id="{21C0C6A8-CFAD-BA4E-963E-2626756BBEAB}"/>
                </a:ext>
              </a:extLst>
            </p:cNvPr>
            <p:cNvSpPr>
              <a:spLocks noChangeArrowheads="1"/>
            </p:cNvSpPr>
            <p:nvPr/>
          </p:nvSpPr>
          <p:spPr bwMode="auto">
            <a:xfrm>
              <a:off x="2015358" y="4217600"/>
              <a:ext cx="87207" cy="464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73" name="Rectangle 284">
              <a:extLst>
                <a:ext uri="{FF2B5EF4-FFF2-40B4-BE49-F238E27FC236}">
                  <a16:creationId xmlns:a16="http://schemas.microsoft.com/office/drawing/2014/main" id="{ACC32CF7-A7DF-8D4E-AC31-1453B92EB065}"/>
                </a:ext>
              </a:extLst>
            </p:cNvPr>
            <p:cNvSpPr>
              <a:spLocks noChangeArrowheads="1"/>
            </p:cNvSpPr>
            <p:nvPr/>
          </p:nvSpPr>
          <p:spPr bwMode="auto">
            <a:xfrm>
              <a:off x="2129289" y="4217600"/>
              <a:ext cx="87207" cy="464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74" name="Rectangle 285">
              <a:extLst>
                <a:ext uri="{FF2B5EF4-FFF2-40B4-BE49-F238E27FC236}">
                  <a16:creationId xmlns:a16="http://schemas.microsoft.com/office/drawing/2014/main" id="{00488B98-89DD-4549-9771-96E056145C0B}"/>
                </a:ext>
              </a:extLst>
            </p:cNvPr>
            <p:cNvSpPr>
              <a:spLocks noChangeArrowheads="1"/>
            </p:cNvSpPr>
            <p:nvPr/>
          </p:nvSpPr>
          <p:spPr bwMode="auto">
            <a:xfrm>
              <a:off x="2246034" y="4217600"/>
              <a:ext cx="87207" cy="464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75" name="Rectangle 286">
              <a:extLst>
                <a:ext uri="{FF2B5EF4-FFF2-40B4-BE49-F238E27FC236}">
                  <a16:creationId xmlns:a16="http://schemas.microsoft.com/office/drawing/2014/main" id="{894EBE43-2C38-C04E-A63D-60AA8431212A}"/>
                </a:ext>
              </a:extLst>
            </p:cNvPr>
            <p:cNvSpPr>
              <a:spLocks noChangeArrowheads="1"/>
            </p:cNvSpPr>
            <p:nvPr/>
          </p:nvSpPr>
          <p:spPr bwMode="auto">
            <a:xfrm>
              <a:off x="2362778" y="4217600"/>
              <a:ext cx="87207" cy="464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76" name="Rectangle 287">
              <a:extLst>
                <a:ext uri="{FF2B5EF4-FFF2-40B4-BE49-F238E27FC236}">
                  <a16:creationId xmlns:a16="http://schemas.microsoft.com/office/drawing/2014/main" id="{51BD5E1B-EF26-1441-B449-051D17E095AC}"/>
                </a:ext>
              </a:extLst>
            </p:cNvPr>
            <p:cNvSpPr>
              <a:spLocks noChangeArrowheads="1"/>
            </p:cNvSpPr>
            <p:nvPr/>
          </p:nvSpPr>
          <p:spPr bwMode="auto">
            <a:xfrm>
              <a:off x="2064587" y="3819517"/>
              <a:ext cx="333355" cy="71740"/>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77" name="Rectangle 288">
              <a:extLst>
                <a:ext uri="{FF2B5EF4-FFF2-40B4-BE49-F238E27FC236}">
                  <a16:creationId xmlns:a16="http://schemas.microsoft.com/office/drawing/2014/main" id="{9E4CEAB7-900C-9945-AEEF-B380971EEC57}"/>
                </a:ext>
              </a:extLst>
            </p:cNvPr>
            <p:cNvSpPr>
              <a:spLocks noChangeArrowheads="1"/>
            </p:cNvSpPr>
            <p:nvPr/>
          </p:nvSpPr>
          <p:spPr bwMode="auto">
            <a:xfrm>
              <a:off x="2015358" y="4345608"/>
              <a:ext cx="125184" cy="1392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78" name="Rectangle 289">
              <a:extLst>
                <a:ext uri="{FF2B5EF4-FFF2-40B4-BE49-F238E27FC236}">
                  <a16:creationId xmlns:a16="http://schemas.microsoft.com/office/drawing/2014/main" id="{28AA78CF-1DB2-FA4D-884C-E8E93EBBE713}"/>
                </a:ext>
              </a:extLst>
            </p:cNvPr>
            <p:cNvSpPr>
              <a:spLocks noChangeArrowheads="1"/>
            </p:cNvSpPr>
            <p:nvPr/>
          </p:nvSpPr>
          <p:spPr bwMode="auto">
            <a:xfrm>
              <a:off x="2170080" y="4345608"/>
              <a:ext cx="125184" cy="1392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79" name="Rectangle 290">
              <a:extLst>
                <a:ext uri="{FF2B5EF4-FFF2-40B4-BE49-F238E27FC236}">
                  <a16:creationId xmlns:a16="http://schemas.microsoft.com/office/drawing/2014/main" id="{DD427D39-C2DD-AD4F-963F-6BE8FF321D3C}"/>
                </a:ext>
              </a:extLst>
            </p:cNvPr>
            <p:cNvSpPr>
              <a:spLocks noChangeArrowheads="1"/>
            </p:cNvSpPr>
            <p:nvPr/>
          </p:nvSpPr>
          <p:spPr bwMode="auto">
            <a:xfrm>
              <a:off x="2324801" y="4345608"/>
              <a:ext cx="125184" cy="1392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80" name="Freeform 291">
              <a:extLst>
                <a:ext uri="{FF2B5EF4-FFF2-40B4-BE49-F238E27FC236}">
                  <a16:creationId xmlns:a16="http://schemas.microsoft.com/office/drawing/2014/main" id="{0400B589-1EB3-7746-A578-4DF475EF8419}"/>
                </a:ext>
              </a:extLst>
            </p:cNvPr>
            <p:cNvSpPr>
              <a:spLocks noEditPoints="1"/>
            </p:cNvSpPr>
            <p:nvPr/>
          </p:nvSpPr>
          <p:spPr bwMode="auto">
            <a:xfrm>
              <a:off x="1933777" y="3880002"/>
              <a:ext cx="597788" cy="331973"/>
            </a:xfrm>
            <a:custGeom>
              <a:avLst/>
              <a:gdLst>
                <a:gd name="T0" fmla="*/ 0 w 425"/>
                <a:gd name="T1" fmla="*/ 0 h 236"/>
                <a:gd name="T2" fmla="*/ 0 w 425"/>
                <a:gd name="T3" fmla="*/ 50 h 236"/>
                <a:gd name="T4" fmla="*/ 425 w 425"/>
                <a:gd name="T5" fmla="*/ 50 h 236"/>
                <a:gd name="T6" fmla="*/ 425 w 425"/>
                <a:gd name="T7" fmla="*/ 0 h 236"/>
                <a:gd name="T8" fmla="*/ 0 w 425"/>
                <a:gd name="T9" fmla="*/ 0 h 236"/>
                <a:gd name="T10" fmla="*/ 0 w 425"/>
                <a:gd name="T11" fmla="*/ 143 h 236"/>
                <a:gd name="T12" fmla="*/ 425 w 425"/>
                <a:gd name="T13" fmla="*/ 143 h 236"/>
                <a:gd name="T14" fmla="*/ 425 w 425"/>
                <a:gd name="T15" fmla="*/ 93 h 236"/>
                <a:gd name="T16" fmla="*/ 0 w 425"/>
                <a:gd name="T17" fmla="*/ 93 h 236"/>
                <a:gd name="T18" fmla="*/ 0 w 425"/>
                <a:gd name="T19" fmla="*/ 143 h 236"/>
                <a:gd name="T20" fmla="*/ 0 w 425"/>
                <a:gd name="T21" fmla="*/ 236 h 236"/>
                <a:gd name="T22" fmla="*/ 425 w 425"/>
                <a:gd name="T23" fmla="*/ 236 h 236"/>
                <a:gd name="T24" fmla="*/ 425 w 425"/>
                <a:gd name="T25" fmla="*/ 186 h 236"/>
                <a:gd name="T26" fmla="*/ 0 w 425"/>
                <a:gd name="T27" fmla="*/ 186 h 236"/>
                <a:gd name="T28" fmla="*/ 0 w 425"/>
                <a:gd name="T29"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5" h="236">
                  <a:moveTo>
                    <a:pt x="0" y="0"/>
                  </a:moveTo>
                  <a:lnTo>
                    <a:pt x="0" y="50"/>
                  </a:lnTo>
                  <a:lnTo>
                    <a:pt x="425" y="50"/>
                  </a:lnTo>
                  <a:lnTo>
                    <a:pt x="425" y="0"/>
                  </a:lnTo>
                  <a:lnTo>
                    <a:pt x="0" y="0"/>
                  </a:lnTo>
                  <a:close/>
                  <a:moveTo>
                    <a:pt x="0" y="143"/>
                  </a:moveTo>
                  <a:lnTo>
                    <a:pt x="425" y="143"/>
                  </a:lnTo>
                  <a:lnTo>
                    <a:pt x="425" y="93"/>
                  </a:lnTo>
                  <a:lnTo>
                    <a:pt x="0" y="93"/>
                  </a:lnTo>
                  <a:lnTo>
                    <a:pt x="0" y="143"/>
                  </a:lnTo>
                  <a:close/>
                  <a:moveTo>
                    <a:pt x="0" y="236"/>
                  </a:moveTo>
                  <a:lnTo>
                    <a:pt x="425" y="236"/>
                  </a:lnTo>
                  <a:lnTo>
                    <a:pt x="425" y="186"/>
                  </a:lnTo>
                  <a:lnTo>
                    <a:pt x="0" y="186"/>
                  </a:lnTo>
                  <a:lnTo>
                    <a:pt x="0" y="236"/>
                  </a:lnTo>
                  <a:close/>
                </a:path>
              </a:pathLst>
            </a:custGeom>
            <a:solidFill>
              <a:schemeClr val="tx1">
                <a:lumMod val="10000"/>
                <a:lumOff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81" name="Rectangle 292">
              <a:extLst>
                <a:ext uri="{FF2B5EF4-FFF2-40B4-BE49-F238E27FC236}">
                  <a16:creationId xmlns:a16="http://schemas.microsoft.com/office/drawing/2014/main" id="{F8025E5C-31F0-234D-B0BC-F4111BA857B5}"/>
                </a:ext>
              </a:extLst>
            </p:cNvPr>
            <p:cNvSpPr>
              <a:spLocks noChangeArrowheads="1"/>
            </p:cNvSpPr>
            <p:nvPr/>
          </p:nvSpPr>
          <p:spPr bwMode="auto">
            <a:xfrm>
              <a:off x="1933777" y="3874377"/>
              <a:ext cx="597788" cy="70333"/>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82" name="Rectangle 293">
              <a:extLst>
                <a:ext uri="{FF2B5EF4-FFF2-40B4-BE49-F238E27FC236}">
                  <a16:creationId xmlns:a16="http://schemas.microsoft.com/office/drawing/2014/main" id="{00DB8D37-4302-FA43-9279-CE2F0728E18E}"/>
                </a:ext>
              </a:extLst>
            </p:cNvPr>
            <p:cNvSpPr>
              <a:spLocks noChangeArrowheads="1"/>
            </p:cNvSpPr>
            <p:nvPr/>
          </p:nvSpPr>
          <p:spPr bwMode="auto">
            <a:xfrm>
              <a:off x="1933777" y="4005192"/>
              <a:ext cx="597788" cy="70333"/>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83" name="Rectangle 294">
              <a:extLst>
                <a:ext uri="{FF2B5EF4-FFF2-40B4-BE49-F238E27FC236}">
                  <a16:creationId xmlns:a16="http://schemas.microsoft.com/office/drawing/2014/main" id="{BD00B654-CB0A-9447-835A-327251DB8C82}"/>
                </a:ext>
              </a:extLst>
            </p:cNvPr>
            <p:cNvSpPr>
              <a:spLocks noChangeArrowheads="1"/>
            </p:cNvSpPr>
            <p:nvPr/>
          </p:nvSpPr>
          <p:spPr bwMode="auto">
            <a:xfrm>
              <a:off x="1933777" y="4136015"/>
              <a:ext cx="597788" cy="70333"/>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84" name="Rectangle 295">
              <a:extLst>
                <a:ext uri="{FF2B5EF4-FFF2-40B4-BE49-F238E27FC236}">
                  <a16:creationId xmlns:a16="http://schemas.microsoft.com/office/drawing/2014/main" id="{3CC07195-91C1-7943-9AF6-39477F157471}"/>
                </a:ext>
              </a:extLst>
            </p:cNvPr>
            <p:cNvSpPr>
              <a:spLocks noChangeArrowheads="1"/>
            </p:cNvSpPr>
            <p:nvPr/>
          </p:nvSpPr>
          <p:spPr bwMode="auto">
            <a:xfrm>
              <a:off x="2015358" y="4290717"/>
              <a:ext cx="434627" cy="28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85" name="Rectangle 296">
              <a:extLst>
                <a:ext uri="{FF2B5EF4-FFF2-40B4-BE49-F238E27FC236}">
                  <a16:creationId xmlns:a16="http://schemas.microsoft.com/office/drawing/2014/main" id="{3B3E96C0-C467-AF48-8286-2A0F0124D369}"/>
                </a:ext>
              </a:extLst>
            </p:cNvPr>
            <p:cNvSpPr>
              <a:spLocks noChangeArrowheads="1"/>
            </p:cNvSpPr>
            <p:nvPr/>
          </p:nvSpPr>
          <p:spPr bwMode="auto">
            <a:xfrm>
              <a:off x="2015357" y="4304722"/>
              <a:ext cx="434627" cy="28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86" name="Rectangle 297">
              <a:extLst>
                <a:ext uri="{FF2B5EF4-FFF2-40B4-BE49-F238E27FC236}">
                  <a16:creationId xmlns:a16="http://schemas.microsoft.com/office/drawing/2014/main" id="{28F47FF4-CF66-6B41-8922-9EE15453A675}"/>
                </a:ext>
              </a:extLst>
            </p:cNvPr>
            <p:cNvSpPr>
              <a:spLocks noChangeArrowheads="1"/>
            </p:cNvSpPr>
            <p:nvPr/>
          </p:nvSpPr>
          <p:spPr bwMode="auto">
            <a:xfrm>
              <a:off x="2015358" y="4318569"/>
              <a:ext cx="434627" cy="42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grpSp>
      <p:grpSp>
        <p:nvGrpSpPr>
          <p:cNvPr id="487" name="Group 486">
            <a:extLst>
              <a:ext uri="{FF2B5EF4-FFF2-40B4-BE49-F238E27FC236}">
                <a16:creationId xmlns:a16="http://schemas.microsoft.com/office/drawing/2014/main" id="{5F230958-7FB4-A14B-97BD-31EB617B8DE1}"/>
              </a:ext>
            </a:extLst>
          </p:cNvPr>
          <p:cNvGrpSpPr/>
          <p:nvPr/>
        </p:nvGrpSpPr>
        <p:grpSpPr>
          <a:xfrm>
            <a:off x="693863" y="4723048"/>
            <a:ext cx="10842524" cy="660400"/>
            <a:chOff x="520397" y="3579108"/>
            <a:chExt cx="8131893" cy="495300"/>
          </a:xfrm>
        </p:grpSpPr>
        <p:grpSp>
          <p:nvGrpSpPr>
            <p:cNvPr id="488" name="Group 487">
              <a:extLst>
                <a:ext uri="{FF2B5EF4-FFF2-40B4-BE49-F238E27FC236}">
                  <a16:creationId xmlns:a16="http://schemas.microsoft.com/office/drawing/2014/main" id="{6B8CD2A5-22B8-E249-A160-1EC22735D0ED}"/>
                </a:ext>
              </a:extLst>
            </p:cNvPr>
            <p:cNvGrpSpPr>
              <a:grpSpLocks noChangeAspect="1"/>
            </p:cNvGrpSpPr>
            <p:nvPr/>
          </p:nvGrpSpPr>
          <p:grpSpPr>
            <a:xfrm>
              <a:off x="523801" y="3579108"/>
              <a:ext cx="8128489" cy="495300"/>
              <a:chOff x="447980" y="2498726"/>
              <a:chExt cx="8128489" cy="495300"/>
            </a:xfrm>
          </p:grpSpPr>
          <p:sp>
            <p:nvSpPr>
              <p:cNvPr id="490" name="Freeform 5">
                <a:extLst>
                  <a:ext uri="{FF2B5EF4-FFF2-40B4-BE49-F238E27FC236}">
                    <a16:creationId xmlns:a16="http://schemas.microsoft.com/office/drawing/2014/main" id="{E4CDB2D5-6744-DA47-A772-39DAAF6416EF}"/>
                  </a:ext>
                </a:extLst>
              </p:cNvPr>
              <p:cNvSpPr>
                <a:spLocks noEditPoints="1"/>
              </p:cNvSpPr>
              <p:nvPr/>
            </p:nvSpPr>
            <p:spPr bwMode="auto">
              <a:xfrm>
                <a:off x="447980" y="2684463"/>
                <a:ext cx="8126109" cy="123825"/>
              </a:xfrm>
              <a:prstGeom prst="roundRect">
                <a:avLst>
                  <a:gd name="adj" fmla="val 50000"/>
                </a:avLst>
              </a:pr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91" name="Freeform 6">
                <a:extLst>
                  <a:ext uri="{FF2B5EF4-FFF2-40B4-BE49-F238E27FC236}">
                    <a16:creationId xmlns:a16="http://schemas.microsoft.com/office/drawing/2014/main" id="{305D8EAF-7F52-9C4D-A2E6-5D7ED03D670D}"/>
                  </a:ext>
                </a:extLst>
              </p:cNvPr>
              <p:cNvSpPr>
                <a:spLocks/>
              </p:cNvSpPr>
              <p:nvPr/>
            </p:nvSpPr>
            <p:spPr bwMode="auto">
              <a:xfrm>
                <a:off x="8259763" y="2498726"/>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6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6"/>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92" name="Freeform 7">
                <a:extLst>
                  <a:ext uri="{FF2B5EF4-FFF2-40B4-BE49-F238E27FC236}">
                    <a16:creationId xmlns:a16="http://schemas.microsoft.com/office/drawing/2014/main" id="{DD4A0614-22C0-D140-AF2A-11C656CCD0E7}"/>
                  </a:ext>
                </a:extLst>
              </p:cNvPr>
              <p:cNvSpPr>
                <a:spLocks noEditPoints="1"/>
              </p:cNvSpPr>
              <p:nvPr/>
            </p:nvSpPr>
            <p:spPr bwMode="auto">
              <a:xfrm>
                <a:off x="8362950" y="2684463"/>
                <a:ext cx="169863" cy="63500"/>
              </a:xfrm>
              <a:custGeom>
                <a:avLst/>
                <a:gdLst>
                  <a:gd name="T0" fmla="*/ 97 w 97"/>
                  <a:gd name="T1" fmla="*/ 2 h 36"/>
                  <a:gd name="T2" fmla="*/ 97 w 97"/>
                  <a:gd name="T3" fmla="*/ 2 h 36"/>
                  <a:gd name="T4" fmla="*/ 97 w 97"/>
                  <a:gd name="T5" fmla="*/ 2 h 36"/>
                  <a:gd name="T6" fmla="*/ 89 w 97"/>
                  <a:gd name="T7" fmla="*/ 0 h 36"/>
                  <a:gd name="T8" fmla="*/ 97 w 97"/>
                  <a:gd name="T9" fmla="*/ 2 h 36"/>
                  <a:gd name="T10" fmla="*/ 89 w 97"/>
                  <a:gd name="T11" fmla="*/ 0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0"/>
                    </a:moveTo>
                    <a:cubicBezTo>
                      <a:pt x="92" y="1"/>
                      <a:pt x="94" y="1"/>
                      <a:pt x="97" y="2"/>
                    </a:cubicBezTo>
                    <a:cubicBezTo>
                      <a:pt x="95" y="1"/>
                      <a:pt x="92" y="1"/>
                      <a:pt x="89"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93" name="Freeform 8">
                <a:extLst>
                  <a:ext uri="{FF2B5EF4-FFF2-40B4-BE49-F238E27FC236}">
                    <a16:creationId xmlns:a16="http://schemas.microsoft.com/office/drawing/2014/main" id="{84B2FF81-2ACB-4A42-9659-F9F2AD1C35A2}"/>
                  </a:ext>
                </a:extLst>
              </p:cNvPr>
              <p:cNvSpPr>
                <a:spLocks/>
              </p:cNvSpPr>
              <p:nvPr/>
            </p:nvSpPr>
            <p:spPr bwMode="auto">
              <a:xfrm>
                <a:off x="8259763" y="2790826"/>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94" name="Freeform 9">
                <a:extLst>
                  <a:ext uri="{FF2B5EF4-FFF2-40B4-BE49-F238E27FC236}">
                    <a16:creationId xmlns:a16="http://schemas.microsoft.com/office/drawing/2014/main" id="{0387F585-D52F-FA45-ADC0-1046402CD04B}"/>
                  </a:ext>
                </a:extLst>
              </p:cNvPr>
              <p:cNvSpPr>
                <a:spLocks noEditPoints="1"/>
              </p:cNvSpPr>
              <p:nvPr/>
            </p:nvSpPr>
            <p:spPr bwMode="auto">
              <a:xfrm>
                <a:off x="8362950" y="2747963"/>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95" name="Freeform 10">
                <a:extLst>
                  <a:ext uri="{FF2B5EF4-FFF2-40B4-BE49-F238E27FC236}">
                    <a16:creationId xmlns:a16="http://schemas.microsoft.com/office/drawing/2014/main" id="{48C96F10-DB0C-674E-88D5-9464E7FD1522}"/>
                  </a:ext>
                </a:extLst>
              </p:cNvPr>
              <p:cNvSpPr>
                <a:spLocks noEditPoints="1"/>
              </p:cNvSpPr>
              <p:nvPr/>
            </p:nvSpPr>
            <p:spPr bwMode="auto">
              <a:xfrm>
                <a:off x="8510588" y="2684463"/>
                <a:ext cx="58738" cy="123825"/>
              </a:xfrm>
              <a:custGeom>
                <a:avLst/>
                <a:gdLst>
                  <a:gd name="T0" fmla="*/ 2 w 33"/>
                  <a:gd name="T1" fmla="*/ 71 h 71"/>
                  <a:gd name="T2" fmla="*/ 0 w 33"/>
                  <a:gd name="T3" fmla="*/ 71 h 71"/>
                  <a:gd name="T4" fmla="*/ 0 w 33"/>
                  <a:gd name="T5" fmla="*/ 71 h 71"/>
                  <a:gd name="T6" fmla="*/ 0 w 33"/>
                  <a:gd name="T7" fmla="*/ 71 h 71"/>
                  <a:gd name="T8" fmla="*/ 2 w 33"/>
                  <a:gd name="T9" fmla="*/ 71 h 71"/>
                  <a:gd name="T10" fmla="*/ 3 w 33"/>
                  <a:gd name="T11" fmla="*/ 71 h 71"/>
                  <a:gd name="T12" fmla="*/ 2 w 33"/>
                  <a:gd name="T13" fmla="*/ 71 h 71"/>
                  <a:gd name="T14" fmla="*/ 3 w 33"/>
                  <a:gd name="T15" fmla="*/ 71 h 71"/>
                  <a:gd name="T16" fmla="*/ 3 w 33"/>
                  <a:gd name="T17" fmla="*/ 71 h 71"/>
                  <a:gd name="T18" fmla="*/ 3 w 33"/>
                  <a:gd name="T19" fmla="*/ 71 h 71"/>
                  <a:gd name="T20" fmla="*/ 3 w 33"/>
                  <a:gd name="T21" fmla="*/ 71 h 71"/>
                  <a:gd name="T22" fmla="*/ 13 w 33"/>
                  <a:gd name="T23" fmla="*/ 69 h 71"/>
                  <a:gd name="T24" fmla="*/ 13 w 33"/>
                  <a:gd name="T25" fmla="*/ 69 h 71"/>
                  <a:gd name="T26" fmla="*/ 13 w 33"/>
                  <a:gd name="T27" fmla="*/ 69 h 71"/>
                  <a:gd name="T28" fmla="*/ 14 w 33"/>
                  <a:gd name="T29" fmla="*/ 68 h 71"/>
                  <a:gd name="T30" fmla="*/ 13 w 33"/>
                  <a:gd name="T31" fmla="*/ 69 h 71"/>
                  <a:gd name="T32" fmla="*/ 14 w 33"/>
                  <a:gd name="T33" fmla="*/ 68 h 71"/>
                  <a:gd name="T34" fmla="*/ 25 w 33"/>
                  <a:gd name="T35" fmla="*/ 61 h 71"/>
                  <a:gd name="T36" fmla="*/ 14 w 33"/>
                  <a:gd name="T37" fmla="*/ 68 h 71"/>
                  <a:gd name="T38" fmla="*/ 25 w 33"/>
                  <a:gd name="T39" fmla="*/ 61 h 71"/>
                  <a:gd name="T40" fmla="*/ 25 w 33"/>
                  <a:gd name="T41" fmla="*/ 61 h 71"/>
                  <a:gd name="T42" fmla="*/ 25 w 33"/>
                  <a:gd name="T43" fmla="*/ 61 h 71"/>
                  <a:gd name="T44" fmla="*/ 25 w 33"/>
                  <a:gd name="T45" fmla="*/ 61 h 71"/>
                  <a:gd name="T46" fmla="*/ 25 w 33"/>
                  <a:gd name="T47" fmla="*/ 61 h 71"/>
                  <a:gd name="T48" fmla="*/ 25 w 33"/>
                  <a:gd name="T49" fmla="*/ 61 h 71"/>
                  <a:gd name="T50" fmla="*/ 25 w 33"/>
                  <a:gd name="T51" fmla="*/ 61 h 71"/>
                  <a:gd name="T52" fmla="*/ 25 w 33"/>
                  <a:gd name="T53" fmla="*/ 61 h 71"/>
                  <a:gd name="T54" fmla="*/ 25 w 33"/>
                  <a:gd name="T55" fmla="*/ 61 h 71"/>
                  <a:gd name="T56" fmla="*/ 25 w 33"/>
                  <a:gd name="T57" fmla="*/ 61 h 71"/>
                  <a:gd name="T58" fmla="*/ 26 w 33"/>
                  <a:gd name="T59" fmla="*/ 60 h 71"/>
                  <a:gd name="T60" fmla="*/ 26 w 33"/>
                  <a:gd name="T61" fmla="*/ 60 h 71"/>
                  <a:gd name="T62" fmla="*/ 26 w 33"/>
                  <a:gd name="T63" fmla="*/ 60 h 71"/>
                  <a:gd name="T64" fmla="*/ 26 w 33"/>
                  <a:gd name="T65" fmla="*/ 60 h 71"/>
                  <a:gd name="T66" fmla="*/ 26 w 33"/>
                  <a:gd name="T67" fmla="*/ 60 h 71"/>
                  <a:gd name="T68" fmla="*/ 26 w 33"/>
                  <a:gd name="T69" fmla="*/ 60 h 71"/>
                  <a:gd name="T70" fmla="*/ 26 w 33"/>
                  <a:gd name="T71" fmla="*/ 60 h 71"/>
                  <a:gd name="T72" fmla="*/ 26 w 33"/>
                  <a:gd name="T73" fmla="*/ 60 h 71"/>
                  <a:gd name="T74" fmla="*/ 26 w 33"/>
                  <a:gd name="T75" fmla="*/ 60 h 71"/>
                  <a:gd name="T76" fmla="*/ 33 w 33"/>
                  <a:gd name="T77" fmla="*/ 50 h 71"/>
                  <a:gd name="T78" fmla="*/ 26 w 33"/>
                  <a:gd name="T79" fmla="*/ 60 h 71"/>
                  <a:gd name="T80" fmla="*/ 33 w 33"/>
                  <a:gd name="T81" fmla="*/ 50 h 71"/>
                  <a:gd name="T82" fmla="*/ 33 w 33"/>
                  <a:gd name="T83" fmla="*/ 50 h 71"/>
                  <a:gd name="T84" fmla="*/ 33 w 33"/>
                  <a:gd name="T85" fmla="*/ 50 h 71"/>
                  <a:gd name="T86" fmla="*/ 33 w 33"/>
                  <a:gd name="T87" fmla="*/ 50 h 71"/>
                  <a:gd name="T88" fmla="*/ 33 w 33"/>
                  <a:gd name="T89" fmla="*/ 50 h 71"/>
                  <a:gd name="T90" fmla="*/ 33 w 33"/>
                  <a:gd name="T91" fmla="*/ 50 h 71"/>
                  <a:gd name="T92" fmla="*/ 33 w 33"/>
                  <a:gd name="T93" fmla="*/ 50 h 71"/>
                  <a:gd name="T94" fmla="*/ 32 w 33"/>
                  <a:gd name="T95" fmla="*/ 21 h 71"/>
                  <a:gd name="T96" fmla="*/ 33 w 33"/>
                  <a:gd name="T97" fmla="*/ 21 h 71"/>
                  <a:gd name="T98" fmla="*/ 32 w 33"/>
                  <a:gd name="T99" fmla="*/ 21 h 71"/>
                  <a:gd name="T100" fmla="*/ 12 w 33"/>
                  <a:gd name="T101" fmla="*/ 2 h 71"/>
                  <a:gd name="T102" fmla="*/ 32 w 33"/>
                  <a:gd name="T103" fmla="*/ 21 h 71"/>
                  <a:gd name="T104" fmla="*/ 25 w 33"/>
                  <a:gd name="T105" fmla="*/ 11 h 71"/>
                  <a:gd name="T106" fmla="*/ 25 w 33"/>
                  <a:gd name="T107" fmla="*/ 11 h 71"/>
                  <a:gd name="T108" fmla="*/ 12 w 33"/>
                  <a:gd name="T109" fmla="*/ 2 h 71"/>
                  <a:gd name="T110" fmla="*/ 12 w 33"/>
                  <a:gd name="T111" fmla="*/ 2 h 71"/>
                  <a:gd name="T112" fmla="*/ 12 w 33"/>
                  <a:gd name="T113" fmla="*/ 2 h 71"/>
                  <a:gd name="T114" fmla="*/ 12 w 33"/>
                  <a:gd name="T115" fmla="*/ 2 h 71"/>
                  <a:gd name="T116" fmla="*/ 0 w 33"/>
                  <a:gd name="T117" fmla="*/ 0 h 71"/>
                  <a:gd name="T118" fmla="*/ 0 w 33"/>
                  <a:gd name="T119" fmla="*/ 0 h 71"/>
                  <a:gd name="T120" fmla="*/ 0 w 33"/>
                  <a:gd name="T121" fmla="*/ 0 h 71"/>
                  <a:gd name="T122" fmla="*/ 4 w 33"/>
                  <a:gd name="T123" fmla="*/ 0 h 71"/>
                  <a:gd name="T124" fmla="*/ 0 w 33"/>
                  <a:gd name="T1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3" y="50"/>
                    </a:moveTo>
                    <a:cubicBezTo>
                      <a:pt x="33" y="50"/>
                      <a:pt x="33" y="50"/>
                      <a:pt x="33" y="50"/>
                    </a:cubicBezTo>
                    <a:cubicBezTo>
                      <a:pt x="33" y="50"/>
                      <a:pt x="33" y="50"/>
                      <a:pt x="33" y="50"/>
                    </a:cubicBezTo>
                    <a:moveTo>
                      <a:pt x="32" y="21"/>
                    </a:moveTo>
                    <a:cubicBezTo>
                      <a:pt x="33" y="21"/>
                      <a:pt x="33" y="21"/>
                      <a:pt x="33" y="21"/>
                    </a:cubicBezTo>
                    <a:cubicBezTo>
                      <a:pt x="33" y="21"/>
                      <a:pt x="33" y="21"/>
                      <a:pt x="32" y="21"/>
                    </a:cubicBezTo>
                    <a:moveTo>
                      <a:pt x="12" y="2"/>
                    </a:moveTo>
                    <a:cubicBezTo>
                      <a:pt x="21" y="6"/>
                      <a:pt x="29" y="12"/>
                      <a:pt x="32"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0"/>
                    </a:cubicBezTo>
                    <a:cubicBezTo>
                      <a:pt x="3" y="0"/>
                      <a:pt x="2"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96" name="Freeform 11">
                <a:extLst>
                  <a:ext uri="{FF2B5EF4-FFF2-40B4-BE49-F238E27FC236}">
                    <a16:creationId xmlns:a16="http://schemas.microsoft.com/office/drawing/2014/main" id="{3093A054-A8FC-8648-93DB-827B71A75058}"/>
                  </a:ext>
                </a:extLst>
              </p:cNvPr>
              <p:cNvSpPr>
                <a:spLocks/>
              </p:cNvSpPr>
              <p:nvPr/>
            </p:nvSpPr>
            <p:spPr bwMode="auto">
              <a:xfrm>
                <a:off x="8425656" y="2684463"/>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3 w 86"/>
                  <a:gd name="T73" fmla="*/ 50 h 71"/>
                  <a:gd name="T74" fmla="*/ 83 w 86"/>
                  <a:gd name="T75" fmla="*/ 50 h 71"/>
                  <a:gd name="T76" fmla="*/ 86 w 86"/>
                  <a:gd name="T77" fmla="*/ 36 h 71"/>
                  <a:gd name="T78" fmla="*/ 83 w 86"/>
                  <a:gd name="T79" fmla="*/ 21 h 71"/>
                  <a:gd name="T80" fmla="*/ 82 w 86"/>
                  <a:gd name="T81" fmla="*/ 21 h 71"/>
                  <a:gd name="T82" fmla="*/ 82 w 86"/>
                  <a:gd name="T83" fmla="*/ 21 h 71"/>
                  <a:gd name="T84" fmla="*/ 62 w 86"/>
                  <a:gd name="T85" fmla="*/ 2 h 71"/>
                  <a:gd name="T86" fmla="*/ 62 w 86"/>
                  <a:gd name="T87" fmla="*/ 2 h 71"/>
                  <a:gd name="T88" fmla="*/ 62 w 86"/>
                  <a:gd name="T89" fmla="*/ 2 h 71"/>
                  <a:gd name="T90" fmla="*/ 54 w 86"/>
                  <a:gd name="T91" fmla="*/ 0 h 71"/>
                  <a:gd name="T92" fmla="*/ 50 w 86"/>
                  <a:gd name="T9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3" y="50"/>
                      <a:pt x="83" y="50"/>
                      <a:pt x="83" y="50"/>
                    </a:cubicBezTo>
                    <a:cubicBezTo>
                      <a:pt x="83" y="50"/>
                      <a:pt x="83" y="50"/>
                      <a:pt x="83" y="50"/>
                    </a:cubicBezTo>
                    <a:cubicBezTo>
                      <a:pt x="85" y="45"/>
                      <a:pt x="86" y="40"/>
                      <a:pt x="86" y="36"/>
                    </a:cubicBezTo>
                    <a:cubicBezTo>
                      <a:pt x="86" y="31"/>
                      <a:pt x="85" y="26"/>
                      <a:pt x="83" y="21"/>
                    </a:cubicBezTo>
                    <a:cubicBezTo>
                      <a:pt x="83" y="21"/>
                      <a:pt x="83" y="21"/>
                      <a:pt x="82" y="21"/>
                    </a:cubicBezTo>
                    <a:cubicBezTo>
                      <a:pt x="82" y="21"/>
                      <a:pt x="82" y="21"/>
                      <a:pt x="82" y="21"/>
                    </a:cubicBezTo>
                    <a:cubicBezTo>
                      <a:pt x="79" y="12"/>
                      <a:pt x="71" y="6"/>
                      <a:pt x="62" y="2"/>
                    </a:cubicBezTo>
                    <a:cubicBezTo>
                      <a:pt x="62" y="2"/>
                      <a:pt x="62" y="2"/>
                      <a:pt x="62" y="2"/>
                    </a:cubicBezTo>
                    <a:cubicBezTo>
                      <a:pt x="62" y="2"/>
                      <a:pt x="62" y="2"/>
                      <a:pt x="62" y="2"/>
                    </a:cubicBezTo>
                    <a:cubicBezTo>
                      <a:pt x="59" y="1"/>
                      <a:pt x="57" y="1"/>
                      <a:pt x="54" y="0"/>
                    </a:cubicBezTo>
                    <a:cubicBezTo>
                      <a:pt x="53" y="0"/>
                      <a:pt x="52" y="0"/>
                      <a:pt x="50" y="0"/>
                    </a:cubicBezTo>
                  </a:path>
                </a:pathLst>
              </a:custGeom>
              <a:solidFill>
                <a:srgbClr val="0066C5"/>
              </a:solidFill>
              <a:ln>
                <a:solidFill>
                  <a:srgbClr val="0066C5"/>
                </a:solidFill>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grpSp>
        <p:sp>
          <p:nvSpPr>
            <p:cNvPr id="489" name="TextBox 488">
              <a:extLst>
                <a:ext uri="{FF2B5EF4-FFF2-40B4-BE49-F238E27FC236}">
                  <a16:creationId xmlns:a16="http://schemas.microsoft.com/office/drawing/2014/main" id="{8679C2DD-0E31-594A-9981-A66B3A2722A3}"/>
                </a:ext>
              </a:extLst>
            </p:cNvPr>
            <p:cNvSpPr txBox="1"/>
            <p:nvPr/>
          </p:nvSpPr>
          <p:spPr>
            <a:xfrm>
              <a:off x="520397" y="3769200"/>
              <a:ext cx="7724689" cy="123159"/>
            </a:xfrm>
            <a:prstGeom prst="rect">
              <a:avLst/>
            </a:prstGeom>
            <a:noFill/>
          </p:spPr>
          <p:txBody>
            <a:bodyPr wrap="square" lIns="0" tIns="0" rIns="0" bIns="0" rtlCol="0">
              <a:spAutoFit/>
            </a:bodyPr>
            <a:lstStyle/>
            <a:p>
              <a:pPr algn="ctr" defTabSz="1219170">
                <a:buClr>
                  <a:srgbClr val="000000"/>
                </a:buClr>
              </a:pPr>
              <a:r>
                <a:rPr lang="en-US" sz="1067" b="1" kern="0" spc="133">
                  <a:solidFill>
                    <a:srgbClr val="FFFFFF"/>
                  </a:solidFill>
                  <a:latin typeface="CiscoSansTT Light" panose="020B0503020201020303" pitchFamily="34" charset="0"/>
                  <a:cs typeface="CiscoSansTT Light" panose="020B0503020201020303" pitchFamily="34" charset="0"/>
                  <a:sym typeface="Arial"/>
                </a:rPr>
                <a:t>TIME</a:t>
              </a:r>
            </a:p>
          </p:txBody>
        </p:sp>
      </p:grpSp>
      <p:grpSp>
        <p:nvGrpSpPr>
          <p:cNvPr id="497" name="Group 496">
            <a:extLst>
              <a:ext uri="{FF2B5EF4-FFF2-40B4-BE49-F238E27FC236}">
                <a16:creationId xmlns:a16="http://schemas.microsoft.com/office/drawing/2014/main" id="{87A0DB7D-D63C-9B43-98E2-000BDC0C4C63}"/>
              </a:ext>
            </a:extLst>
          </p:cNvPr>
          <p:cNvGrpSpPr/>
          <p:nvPr/>
        </p:nvGrpSpPr>
        <p:grpSpPr>
          <a:xfrm>
            <a:off x="3209890" y="3664423"/>
            <a:ext cx="656177" cy="1256775"/>
            <a:chOff x="5374366" y="803590"/>
            <a:chExt cx="846376" cy="1621062"/>
          </a:xfrm>
        </p:grpSpPr>
        <p:sp>
          <p:nvSpPr>
            <p:cNvPr id="498" name="Rectangle 15">
              <a:extLst>
                <a:ext uri="{FF2B5EF4-FFF2-40B4-BE49-F238E27FC236}">
                  <a16:creationId xmlns:a16="http://schemas.microsoft.com/office/drawing/2014/main" id="{A83B6E73-4EE7-3D47-8049-D7818174122B}"/>
                </a:ext>
              </a:extLst>
            </p:cNvPr>
            <p:cNvSpPr>
              <a:spLocks noChangeArrowheads="1"/>
            </p:cNvSpPr>
            <p:nvPr/>
          </p:nvSpPr>
          <p:spPr bwMode="auto">
            <a:xfrm>
              <a:off x="5398263" y="907148"/>
              <a:ext cx="798581" cy="151750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499" name="Rectangle 17">
              <a:extLst>
                <a:ext uri="{FF2B5EF4-FFF2-40B4-BE49-F238E27FC236}">
                  <a16:creationId xmlns:a16="http://schemas.microsoft.com/office/drawing/2014/main" id="{2DF02CD9-A6D0-C84B-BF70-C1C0FF7A74F1}"/>
                </a:ext>
              </a:extLst>
            </p:cNvPr>
            <p:cNvSpPr>
              <a:spLocks noChangeArrowheads="1"/>
            </p:cNvSpPr>
            <p:nvPr/>
          </p:nvSpPr>
          <p:spPr bwMode="auto">
            <a:xfrm>
              <a:off x="5374366" y="803590"/>
              <a:ext cx="846376" cy="77668"/>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00" name="Freeform 16">
              <a:extLst>
                <a:ext uri="{FF2B5EF4-FFF2-40B4-BE49-F238E27FC236}">
                  <a16:creationId xmlns:a16="http://schemas.microsoft.com/office/drawing/2014/main" id="{DD617EF7-38B8-C74E-A1CE-0BC200B6B35B}"/>
                </a:ext>
              </a:extLst>
            </p:cNvPr>
            <p:cNvSpPr>
              <a:spLocks noEditPoints="1"/>
            </p:cNvSpPr>
            <p:nvPr/>
          </p:nvSpPr>
          <p:spPr bwMode="auto">
            <a:xfrm>
              <a:off x="5398263" y="907148"/>
              <a:ext cx="798581" cy="1517504"/>
            </a:xfrm>
            <a:custGeom>
              <a:avLst/>
              <a:gdLst>
                <a:gd name="T0" fmla="*/ 214 w 401"/>
                <a:gd name="T1" fmla="*/ 517 h 762"/>
                <a:gd name="T2" fmla="*/ 214 w 401"/>
                <a:gd name="T3" fmla="*/ 615 h 762"/>
                <a:gd name="T4" fmla="*/ 363 w 401"/>
                <a:gd name="T5" fmla="*/ 615 h 762"/>
                <a:gd name="T6" fmla="*/ 363 w 401"/>
                <a:gd name="T7" fmla="*/ 517 h 762"/>
                <a:gd name="T8" fmla="*/ 214 w 401"/>
                <a:gd name="T9" fmla="*/ 517 h 762"/>
                <a:gd name="T10" fmla="*/ 39 w 401"/>
                <a:gd name="T11" fmla="*/ 517 h 762"/>
                <a:gd name="T12" fmla="*/ 39 w 401"/>
                <a:gd name="T13" fmla="*/ 615 h 762"/>
                <a:gd name="T14" fmla="*/ 187 w 401"/>
                <a:gd name="T15" fmla="*/ 615 h 762"/>
                <a:gd name="T16" fmla="*/ 187 w 401"/>
                <a:gd name="T17" fmla="*/ 517 h 762"/>
                <a:gd name="T18" fmla="*/ 39 w 401"/>
                <a:gd name="T19" fmla="*/ 517 h 762"/>
                <a:gd name="T20" fmla="*/ 214 w 401"/>
                <a:gd name="T21" fmla="*/ 368 h 762"/>
                <a:gd name="T22" fmla="*/ 214 w 401"/>
                <a:gd name="T23" fmla="*/ 466 h 762"/>
                <a:gd name="T24" fmla="*/ 363 w 401"/>
                <a:gd name="T25" fmla="*/ 466 h 762"/>
                <a:gd name="T26" fmla="*/ 363 w 401"/>
                <a:gd name="T27" fmla="*/ 368 h 762"/>
                <a:gd name="T28" fmla="*/ 214 w 401"/>
                <a:gd name="T29" fmla="*/ 368 h 762"/>
                <a:gd name="T30" fmla="*/ 39 w 401"/>
                <a:gd name="T31" fmla="*/ 368 h 762"/>
                <a:gd name="T32" fmla="*/ 39 w 401"/>
                <a:gd name="T33" fmla="*/ 466 h 762"/>
                <a:gd name="T34" fmla="*/ 187 w 401"/>
                <a:gd name="T35" fmla="*/ 466 h 762"/>
                <a:gd name="T36" fmla="*/ 187 w 401"/>
                <a:gd name="T37" fmla="*/ 368 h 762"/>
                <a:gd name="T38" fmla="*/ 39 w 401"/>
                <a:gd name="T39" fmla="*/ 368 h 762"/>
                <a:gd name="T40" fmla="*/ 214 w 401"/>
                <a:gd name="T41" fmla="*/ 219 h 762"/>
                <a:gd name="T42" fmla="*/ 214 w 401"/>
                <a:gd name="T43" fmla="*/ 317 h 762"/>
                <a:gd name="T44" fmla="*/ 363 w 401"/>
                <a:gd name="T45" fmla="*/ 317 h 762"/>
                <a:gd name="T46" fmla="*/ 363 w 401"/>
                <a:gd name="T47" fmla="*/ 219 h 762"/>
                <a:gd name="T48" fmla="*/ 214 w 401"/>
                <a:gd name="T49" fmla="*/ 219 h 762"/>
                <a:gd name="T50" fmla="*/ 39 w 401"/>
                <a:gd name="T51" fmla="*/ 219 h 762"/>
                <a:gd name="T52" fmla="*/ 39 w 401"/>
                <a:gd name="T53" fmla="*/ 317 h 762"/>
                <a:gd name="T54" fmla="*/ 187 w 401"/>
                <a:gd name="T55" fmla="*/ 317 h 762"/>
                <a:gd name="T56" fmla="*/ 187 w 401"/>
                <a:gd name="T57" fmla="*/ 219 h 762"/>
                <a:gd name="T58" fmla="*/ 39 w 401"/>
                <a:gd name="T59" fmla="*/ 219 h 762"/>
                <a:gd name="T60" fmla="*/ 214 w 401"/>
                <a:gd name="T61" fmla="*/ 72 h 762"/>
                <a:gd name="T62" fmla="*/ 214 w 401"/>
                <a:gd name="T63" fmla="*/ 169 h 762"/>
                <a:gd name="T64" fmla="*/ 363 w 401"/>
                <a:gd name="T65" fmla="*/ 169 h 762"/>
                <a:gd name="T66" fmla="*/ 363 w 401"/>
                <a:gd name="T67" fmla="*/ 72 h 762"/>
                <a:gd name="T68" fmla="*/ 214 w 401"/>
                <a:gd name="T69" fmla="*/ 72 h 762"/>
                <a:gd name="T70" fmla="*/ 39 w 401"/>
                <a:gd name="T71" fmla="*/ 72 h 762"/>
                <a:gd name="T72" fmla="*/ 39 w 401"/>
                <a:gd name="T73" fmla="*/ 169 h 762"/>
                <a:gd name="T74" fmla="*/ 187 w 401"/>
                <a:gd name="T75" fmla="*/ 169 h 762"/>
                <a:gd name="T76" fmla="*/ 187 w 401"/>
                <a:gd name="T77" fmla="*/ 72 h 762"/>
                <a:gd name="T78" fmla="*/ 39 w 401"/>
                <a:gd name="T79" fmla="*/ 72 h 762"/>
                <a:gd name="T80" fmla="*/ 0 w 401"/>
                <a:gd name="T81" fmla="*/ 0 h 762"/>
                <a:gd name="T82" fmla="*/ 401 w 401"/>
                <a:gd name="T83" fmla="*/ 0 h 762"/>
                <a:gd name="T84" fmla="*/ 401 w 401"/>
                <a:gd name="T85" fmla="*/ 762 h 762"/>
                <a:gd name="T86" fmla="*/ 0 w 401"/>
                <a:gd name="T87" fmla="*/ 762 h 762"/>
                <a:gd name="T88" fmla="*/ 0 w 401"/>
                <a:gd name="T8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1" h="762">
                  <a:moveTo>
                    <a:pt x="214" y="517"/>
                  </a:moveTo>
                  <a:lnTo>
                    <a:pt x="214" y="615"/>
                  </a:lnTo>
                  <a:lnTo>
                    <a:pt x="363" y="615"/>
                  </a:lnTo>
                  <a:lnTo>
                    <a:pt x="363" y="517"/>
                  </a:lnTo>
                  <a:lnTo>
                    <a:pt x="214" y="517"/>
                  </a:lnTo>
                  <a:close/>
                  <a:moveTo>
                    <a:pt x="39" y="517"/>
                  </a:moveTo>
                  <a:lnTo>
                    <a:pt x="39" y="615"/>
                  </a:lnTo>
                  <a:lnTo>
                    <a:pt x="187" y="615"/>
                  </a:lnTo>
                  <a:lnTo>
                    <a:pt x="187" y="517"/>
                  </a:lnTo>
                  <a:lnTo>
                    <a:pt x="39" y="517"/>
                  </a:lnTo>
                  <a:close/>
                  <a:moveTo>
                    <a:pt x="214" y="368"/>
                  </a:moveTo>
                  <a:lnTo>
                    <a:pt x="214" y="466"/>
                  </a:lnTo>
                  <a:lnTo>
                    <a:pt x="363" y="466"/>
                  </a:lnTo>
                  <a:lnTo>
                    <a:pt x="363" y="368"/>
                  </a:lnTo>
                  <a:lnTo>
                    <a:pt x="214" y="368"/>
                  </a:lnTo>
                  <a:close/>
                  <a:moveTo>
                    <a:pt x="39" y="368"/>
                  </a:moveTo>
                  <a:lnTo>
                    <a:pt x="39" y="466"/>
                  </a:lnTo>
                  <a:lnTo>
                    <a:pt x="187" y="466"/>
                  </a:lnTo>
                  <a:lnTo>
                    <a:pt x="187" y="368"/>
                  </a:lnTo>
                  <a:lnTo>
                    <a:pt x="39" y="368"/>
                  </a:lnTo>
                  <a:close/>
                  <a:moveTo>
                    <a:pt x="214" y="219"/>
                  </a:moveTo>
                  <a:lnTo>
                    <a:pt x="214" y="317"/>
                  </a:lnTo>
                  <a:lnTo>
                    <a:pt x="363" y="317"/>
                  </a:lnTo>
                  <a:lnTo>
                    <a:pt x="363" y="219"/>
                  </a:lnTo>
                  <a:lnTo>
                    <a:pt x="214" y="219"/>
                  </a:lnTo>
                  <a:close/>
                  <a:moveTo>
                    <a:pt x="39" y="219"/>
                  </a:moveTo>
                  <a:lnTo>
                    <a:pt x="39" y="317"/>
                  </a:lnTo>
                  <a:lnTo>
                    <a:pt x="187" y="317"/>
                  </a:lnTo>
                  <a:lnTo>
                    <a:pt x="187" y="219"/>
                  </a:lnTo>
                  <a:lnTo>
                    <a:pt x="39" y="219"/>
                  </a:lnTo>
                  <a:close/>
                  <a:moveTo>
                    <a:pt x="214" y="72"/>
                  </a:moveTo>
                  <a:lnTo>
                    <a:pt x="214" y="169"/>
                  </a:lnTo>
                  <a:lnTo>
                    <a:pt x="363" y="169"/>
                  </a:lnTo>
                  <a:lnTo>
                    <a:pt x="363" y="72"/>
                  </a:lnTo>
                  <a:lnTo>
                    <a:pt x="214" y="72"/>
                  </a:lnTo>
                  <a:close/>
                  <a:moveTo>
                    <a:pt x="39" y="72"/>
                  </a:moveTo>
                  <a:lnTo>
                    <a:pt x="39" y="169"/>
                  </a:lnTo>
                  <a:lnTo>
                    <a:pt x="187" y="169"/>
                  </a:lnTo>
                  <a:lnTo>
                    <a:pt x="187" y="72"/>
                  </a:lnTo>
                  <a:lnTo>
                    <a:pt x="39" y="72"/>
                  </a:lnTo>
                  <a:close/>
                  <a:moveTo>
                    <a:pt x="0" y="0"/>
                  </a:moveTo>
                  <a:lnTo>
                    <a:pt x="401" y="0"/>
                  </a:lnTo>
                  <a:lnTo>
                    <a:pt x="401" y="762"/>
                  </a:lnTo>
                  <a:lnTo>
                    <a:pt x="0" y="762"/>
                  </a:lnTo>
                  <a:lnTo>
                    <a:pt x="0" y="0"/>
                  </a:lnTo>
                  <a:close/>
                </a:path>
              </a:pathLst>
            </a:custGeom>
            <a:solidFill>
              <a:schemeClr val="tx1">
                <a:lumMod val="10000"/>
                <a:lumOff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grpSp>
      <p:sp>
        <p:nvSpPr>
          <p:cNvPr id="501" name="Rectangle 500">
            <a:extLst>
              <a:ext uri="{FF2B5EF4-FFF2-40B4-BE49-F238E27FC236}">
                <a16:creationId xmlns:a16="http://schemas.microsoft.com/office/drawing/2014/main" id="{20E57494-37A0-3544-922A-A5243A802BCE}"/>
              </a:ext>
            </a:extLst>
          </p:cNvPr>
          <p:cNvSpPr/>
          <p:nvPr/>
        </p:nvSpPr>
        <p:spPr>
          <a:xfrm>
            <a:off x="7871945" y="6395874"/>
            <a:ext cx="3600388" cy="164212"/>
          </a:xfrm>
          <a:prstGeom prst="rect">
            <a:avLst/>
          </a:prstGeom>
        </p:spPr>
        <p:txBody>
          <a:bodyPr wrap="square" lIns="0" tIns="0" rIns="0" bIns="0">
            <a:spAutoFit/>
          </a:bodyPr>
          <a:lstStyle/>
          <a:p>
            <a:pPr algn="r" defTabSz="1219170">
              <a:buClr>
                <a:srgbClr val="000000"/>
              </a:buClr>
            </a:pPr>
            <a:r>
              <a:rPr lang="en-US" sz="1067" kern="0">
                <a:solidFill>
                  <a:srgbClr val="2F446B"/>
                </a:solidFill>
                <a:latin typeface="CiscoSansTT Light" panose="020B0503020201020303" pitchFamily="34" charset="0"/>
                <a:cs typeface="CiscoSansTT Light" panose="020B0503020201020303" pitchFamily="34" charset="0"/>
                <a:sym typeface="Arial"/>
              </a:rPr>
              <a:t>Source: </a:t>
            </a:r>
            <a:r>
              <a:rPr lang="en-US" sz="1067" kern="0">
                <a:solidFill>
                  <a:srgbClr val="00BCEB"/>
                </a:solidFill>
                <a:latin typeface="CiscoSansTT Light" panose="020B0503020201020303" pitchFamily="34" charset="0"/>
                <a:cs typeface="CiscoSansTT Light" panose="020B0503020201020303" pitchFamily="34" charset="0"/>
                <a:sym typeface="Arial"/>
                <a:hlinkClick r:id="rId3">
                  <a:extLst>
                    <a:ext uri="{A12FA001-AC4F-418D-AE19-62706E023703}">
                      <ahyp:hlinkClr xmlns:ahyp="http://schemas.microsoft.com/office/drawing/2018/hyperlinkcolor" val="tx"/>
                    </a:ext>
                  </a:extLst>
                </a:hlinkClick>
              </a:rPr>
              <a:t>Ponemon 2019 Cost of a Data Breach Study</a:t>
            </a:r>
            <a:endParaRPr lang="en-US" sz="1067" kern="0">
              <a:solidFill>
                <a:srgbClr val="00BCEB"/>
              </a:solidFill>
              <a:latin typeface="CiscoSansTT Light" panose="020B0503020201020303" pitchFamily="34" charset="0"/>
              <a:cs typeface="CiscoSansTT Light" panose="020B0503020201020303" pitchFamily="34" charset="0"/>
              <a:sym typeface="Arial"/>
            </a:endParaRPr>
          </a:p>
        </p:txBody>
      </p:sp>
      <p:sp>
        <p:nvSpPr>
          <p:cNvPr id="502" name="object 40">
            <a:extLst>
              <a:ext uri="{FF2B5EF4-FFF2-40B4-BE49-F238E27FC236}">
                <a16:creationId xmlns:a16="http://schemas.microsoft.com/office/drawing/2014/main" id="{EC7BA05F-D994-A74D-822F-C6BE3367DFDE}"/>
              </a:ext>
            </a:extLst>
          </p:cNvPr>
          <p:cNvSpPr txBox="1"/>
          <p:nvPr/>
        </p:nvSpPr>
        <p:spPr>
          <a:xfrm>
            <a:off x="1848001" y="5471914"/>
            <a:ext cx="1353468" cy="605220"/>
          </a:xfrm>
          <a:prstGeom prst="rect">
            <a:avLst/>
          </a:prstGeom>
        </p:spPr>
        <p:txBody>
          <a:bodyPr vert="horz" wrap="square" lIns="0" tIns="0" rIns="0" bIns="0" rtlCol="0" anchor="ctr">
            <a:noAutofit/>
          </a:bodyPr>
          <a:lstStyle/>
          <a:p>
            <a:pPr marL="14941" marR="14941" defTabSz="1219170">
              <a:lnSpc>
                <a:spcPct val="98000"/>
              </a:lnSpc>
              <a:buClr>
                <a:srgbClr val="000000"/>
              </a:buClr>
            </a:pPr>
            <a:r>
              <a:rPr sz="1333" kern="0">
                <a:solidFill>
                  <a:srgbClr val="2F446B"/>
                </a:solidFill>
                <a:latin typeface="CiscoSansTT ExtraLight" panose="020B0303020201020303" pitchFamily="34" charset="0"/>
                <a:cs typeface="CiscoSansTT ExtraLight" panose="020B0303020201020303" pitchFamily="34" charset="0"/>
                <a:sym typeface="Arial"/>
              </a:rPr>
              <a:t>Industry </a:t>
            </a:r>
            <a:r>
              <a:rPr lang="en-US" sz="1333" kern="0">
                <a:solidFill>
                  <a:srgbClr val="2F446B"/>
                </a:solidFill>
                <a:latin typeface="CiscoSansTT ExtraLight" panose="020B0303020201020303" pitchFamily="34" charset="0"/>
                <a:cs typeface="CiscoSansTT ExtraLight" panose="020B0303020201020303" pitchFamily="34" charset="0"/>
                <a:sym typeface="Arial"/>
              </a:rPr>
              <a:t>a</a:t>
            </a:r>
            <a:r>
              <a:rPr sz="1333" kern="0">
                <a:solidFill>
                  <a:srgbClr val="2F446B"/>
                </a:solidFill>
                <a:latin typeface="CiscoSansTT ExtraLight" panose="020B0303020201020303" pitchFamily="34" charset="0"/>
                <a:cs typeface="CiscoSansTT ExtraLight" panose="020B0303020201020303" pitchFamily="34" charset="0"/>
                <a:sym typeface="Arial"/>
              </a:rPr>
              <a:t>verage </a:t>
            </a:r>
            <a:r>
              <a:rPr lang="en-US" sz="1333" kern="0">
                <a:solidFill>
                  <a:srgbClr val="2F446B"/>
                </a:solidFill>
                <a:latin typeface="CiscoSansTT ExtraLight" panose="020B0303020201020303" pitchFamily="34" charset="0"/>
                <a:cs typeface="CiscoSansTT ExtraLight" panose="020B0303020201020303" pitchFamily="34" charset="0"/>
                <a:sym typeface="Arial"/>
              </a:rPr>
              <a:t>d</a:t>
            </a:r>
            <a:r>
              <a:rPr sz="1333" kern="0">
                <a:solidFill>
                  <a:srgbClr val="2F446B"/>
                </a:solidFill>
                <a:latin typeface="CiscoSansTT ExtraLight" panose="020B0303020201020303" pitchFamily="34" charset="0"/>
                <a:cs typeface="CiscoSansTT ExtraLight" panose="020B0303020201020303" pitchFamily="34" charset="0"/>
                <a:sym typeface="Arial"/>
              </a:rPr>
              <a:t>etection </a:t>
            </a:r>
            <a:r>
              <a:rPr lang="en-US" sz="1333" kern="0">
                <a:solidFill>
                  <a:srgbClr val="2F446B"/>
                </a:solidFill>
                <a:latin typeface="CiscoSansTT ExtraLight" panose="020B0303020201020303" pitchFamily="34" charset="0"/>
                <a:cs typeface="CiscoSansTT ExtraLight" panose="020B0303020201020303" pitchFamily="34" charset="0"/>
                <a:sym typeface="Arial"/>
              </a:rPr>
              <a:t>t</a:t>
            </a:r>
            <a:r>
              <a:rPr sz="1333" kern="0">
                <a:solidFill>
                  <a:srgbClr val="2F446B"/>
                </a:solidFill>
                <a:latin typeface="CiscoSansTT ExtraLight" panose="020B0303020201020303" pitchFamily="34" charset="0"/>
                <a:cs typeface="CiscoSansTT ExtraLight" panose="020B0303020201020303" pitchFamily="34" charset="0"/>
                <a:sym typeface="Arial"/>
              </a:rPr>
              <a:t>ime for a </a:t>
            </a:r>
            <a:r>
              <a:rPr lang="en-US" sz="1333" kern="0">
                <a:solidFill>
                  <a:srgbClr val="2F446B"/>
                </a:solidFill>
                <a:latin typeface="CiscoSansTT ExtraLight" panose="020B0303020201020303" pitchFamily="34" charset="0"/>
                <a:cs typeface="CiscoSansTT ExtraLight" panose="020B0303020201020303" pitchFamily="34" charset="0"/>
                <a:sym typeface="Arial"/>
              </a:rPr>
              <a:t>b</a:t>
            </a:r>
            <a:r>
              <a:rPr sz="1333" kern="0">
                <a:solidFill>
                  <a:srgbClr val="2F446B"/>
                </a:solidFill>
                <a:latin typeface="CiscoSansTT ExtraLight" panose="020B0303020201020303" pitchFamily="34" charset="0"/>
                <a:cs typeface="CiscoSansTT ExtraLight" panose="020B0303020201020303" pitchFamily="34" charset="0"/>
                <a:sym typeface="Arial"/>
              </a:rPr>
              <a:t>reach</a:t>
            </a:r>
          </a:p>
        </p:txBody>
      </p:sp>
      <p:grpSp>
        <p:nvGrpSpPr>
          <p:cNvPr id="503" name="Group 502">
            <a:extLst>
              <a:ext uri="{FF2B5EF4-FFF2-40B4-BE49-F238E27FC236}">
                <a16:creationId xmlns:a16="http://schemas.microsoft.com/office/drawing/2014/main" id="{B019E2B9-6BC2-194D-85FB-C9F49D842126}"/>
              </a:ext>
            </a:extLst>
          </p:cNvPr>
          <p:cNvGrpSpPr/>
          <p:nvPr/>
        </p:nvGrpSpPr>
        <p:grpSpPr>
          <a:xfrm>
            <a:off x="887119" y="5208000"/>
            <a:ext cx="834392" cy="924272"/>
            <a:chOff x="702592" y="3706405"/>
            <a:chExt cx="617561" cy="684083"/>
          </a:xfrm>
        </p:grpSpPr>
        <p:sp>
          <p:nvSpPr>
            <p:cNvPr id="504" name="Freeform 21">
              <a:extLst>
                <a:ext uri="{FF2B5EF4-FFF2-40B4-BE49-F238E27FC236}">
                  <a16:creationId xmlns:a16="http://schemas.microsoft.com/office/drawing/2014/main" id="{E974385D-1969-D74E-A5D1-3D3ABF137A16}"/>
                </a:ext>
              </a:extLst>
            </p:cNvPr>
            <p:cNvSpPr>
              <a:spLocks noEditPoints="1"/>
            </p:cNvSpPr>
            <p:nvPr/>
          </p:nvSpPr>
          <p:spPr bwMode="auto">
            <a:xfrm>
              <a:off x="702592" y="3788118"/>
              <a:ext cx="617561" cy="602370"/>
            </a:xfrm>
            <a:custGeom>
              <a:avLst/>
              <a:gdLst>
                <a:gd name="T0" fmla="*/ 69 w 496"/>
                <a:gd name="T1" fmla="*/ 444 h 484"/>
                <a:gd name="T2" fmla="*/ 40 w 496"/>
                <a:gd name="T3" fmla="*/ 414 h 484"/>
                <a:gd name="T4" fmla="*/ 40 w 496"/>
                <a:gd name="T5" fmla="*/ 100 h 484"/>
                <a:gd name="T6" fmla="*/ 456 w 496"/>
                <a:gd name="T7" fmla="*/ 100 h 484"/>
                <a:gd name="T8" fmla="*/ 456 w 496"/>
                <a:gd name="T9" fmla="*/ 414 h 484"/>
                <a:gd name="T10" fmla="*/ 427 w 496"/>
                <a:gd name="T11" fmla="*/ 444 h 484"/>
                <a:gd name="T12" fmla="*/ 69 w 496"/>
                <a:gd name="T13" fmla="*/ 444 h 484"/>
                <a:gd name="T14" fmla="*/ 427 w 496"/>
                <a:gd name="T15" fmla="*/ 0 h 484"/>
                <a:gd name="T16" fmla="*/ 364 w 496"/>
                <a:gd name="T17" fmla="*/ 0 h 484"/>
                <a:gd name="T18" fmla="*/ 364 w 496"/>
                <a:gd name="T19" fmla="*/ 40 h 484"/>
                <a:gd name="T20" fmla="*/ 338 w 496"/>
                <a:gd name="T21" fmla="*/ 66 h 484"/>
                <a:gd name="T22" fmla="*/ 312 w 496"/>
                <a:gd name="T23" fmla="*/ 40 h 484"/>
                <a:gd name="T24" fmla="*/ 312 w 496"/>
                <a:gd name="T25" fmla="*/ 0 h 484"/>
                <a:gd name="T26" fmla="*/ 184 w 496"/>
                <a:gd name="T27" fmla="*/ 0 h 484"/>
                <a:gd name="T28" fmla="*/ 184 w 496"/>
                <a:gd name="T29" fmla="*/ 40 h 484"/>
                <a:gd name="T30" fmla="*/ 158 w 496"/>
                <a:gd name="T31" fmla="*/ 66 h 484"/>
                <a:gd name="T32" fmla="*/ 132 w 496"/>
                <a:gd name="T33" fmla="*/ 40 h 484"/>
                <a:gd name="T34" fmla="*/ 132 w 496"/>
                <a:gd name="T35" fmla="*/ 0 h 484"/>
                <a:gd name="T36" fmla="*/ 69 w 496"/>
                <a:gd name="T37" fmla="*/ 0 h 484"/>
                <a:gd name="T38" fmla="*/ 0 w 496"/>
                <a:gd name="T39" fmla="*/ 69 h 484"/>
                <a:gd name="T40" fmla="*/ 0 w 496"/>
                <a:gd name="T41" fmla="*/ 73 h 484"/>
                <a:gd name="T42" fmla="*/ 0 w 496"/>
                <a:gd name="T43" fmla="*/ 100 h 484"/>
                <a:gd name="T44" fmla="*/ 0 w 496"/>
                <a:gd name="T45" fmla="*/ 414 h 484"/>
                <a:gd name="T46" fmla="*/ 69 w 496"/>
                <a:gd name="T47" fmla="*/ 484 h 484"/>
                <a:gd name="T48" fmla="*/ 427 w 496"/>
                <a:gd name="T49" fmla="*/ 484 h 484"/>
                <a:gd name="T50" fmla="*/ 496 w 496"/>
                <a:gd name="T51" fmla="*/ 414 h 484"/>
                <a:gd name="T52" fmla="*/ 496 w 496"/>
                <a:gd name="T53" fmla="*/ 100 h 484"/>
                <a:gd name="T54" fmla="*/ 496 w 496"/>
                <a:gd name="T55" fmla="*/ 73 h 484"/>
                <a:gd name="T56" fmla="*/ 496 w 496"/>
                <a:gd name="T57" fmla="*/ 69 h 484"/>
                <a:gd name="T58" fmla="*/ 427 w 496"/>
                <a:gd name="T59"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96" h="484">
                  <a:moveTo>
                    <a:pt x="69" y="444"/>
                  </a:moveTo>
                  <a:cubicBezTo>
                    <a:pt x="53" y="444"/>
                    <a:pt x="40" y="431"/>
                    <a:pt x="40" y="414"/>
                  </a:cubicBezTo>
                  <a:cubicBezTo>
                    <a:pt x="40" y="100"/>
                    <a:pt x="40" y="100"/>
                    <a:pt x="40" y="100"/>
                  </a:cubicBezTo>
                  <a:cubicBezTo>
                    <a:pt x="456" y="100"/>
                    <a:pt x="456" y="100"/>
                    <a:pt x="456" y="100"/>
                  </a:cubicBezTo>
                  <a:cubicBezTo>
                    <a:pt x="456" y="414"/>
                    <a:pt x="456" y="414"/>
                    <a:pt x="456" y="414"/>
                  </a:cubicBezTo>
                  <a:cubicBezTo>
                    <a:pt x="456" y="431"/>
                    <a:pt x="443" y="444"/>
                    <a:pt x="427" y="444"/>
                  </a:cubicBezTo>
                  <a:cubicBezTo>
                    <a:pt x="69" y="444"/>
                    <a:pt x="69" y="444"/>
                    <a:pt x="69" y="444"/>
                  </a:cubicBezTo>
                  <a:moveTo>
                    <a:pt x="427" y="0"/>
                  </a:moveTo>
                  <a:cubicBezTo>
                    <a:pt x="364" y="0"/>
                    <a:pt x="364" y="0"/>
                    <a:pt x="364" y="0"/>
                  </a:cubicBezTo>
                  <a:cubicBezTo>
                    <a:pt x="364" y="40"/>
                    <a:pt x="364" y="40"/>
                    <a:pt x="364" y="40"/>
                  </a:cubicBezTo>
                  <a:cubicBezTo>
                    <a:pt x="364" y="54"/>
                    <a:pt x="352" y="66"/>
                    <a:pt x="338" y="66"/>
                  </a:cubicBezTo>
                  <a:cubicBezTo>
                    <a:pt x="324" y="66"/>
                    <a:pt x="312" y="54"/>
                    <a:pt x="312" y="40"/>
                  </a:cubicBezTo>
                  <a:cubicBezTo>
                    <a:pt x="312" y="0"/>
                    <a:pt x="312" y="0"/>
                    <a:pt x="312" y="0"/>
                  </a:cubicBezTo>
                  <a:cubicBezTo>
                    <a:pt x="184" y="0"/>
                    <a:pt x="184" y="0"/>
                    <a:pt x="184" y="0"/>
                  </a:cubicBezTo>
                  <a:cubicBezTo>
                    <a:pt x="184" y="40"/>
                    <a:pt x="184" y="40"/>
                    <a:pt x="184" y="40"/>
                  </a:cubicBezTo>
                  <a:cubicBezTo>
                    <a:pt x="184" y="54"/>
                    <a:pt x="172" y="66"/>
                    <a:pt x="158" y="66"/>
                  </a:cubicBezTo>
                  <a:cubicBezTo>
                    <a:pt x="144" y="66"/>
                    <a:pt x="132" y="54"/>
                    <a:pt x="132" y="40"/>
                  </a:cubicBezTo>
                  <a:cubicBezTo>
                    <a:pt x="132" y="0"/>
                    <a:pt x="132" y="0"/>
                    <a:pt x="132" y="0"/>
                  </a:cubicBezTo>
                  <a:cubicBezTo>
                    <a:pt x="69" y="0"/>
                    <a:pt x="69" y="0"/>
                    <a:pt x="69" y="0"/>
                  </a:cubicBezTo>
                  <a:cubicBezTo>
                    <a:pt x="31" y="0"/>
                    <a:pt x="0" y="31"/>
                    <a:pt x="0" y="69"/>
                  </a:cubicBezTo>
                  <a:cubicBezTo>
                    <a:pt x="0" y="73"/>
                    <a:pt x="0" y="73"/>
                    <a:pt x="0" y="73"/>
                  </a:cubicBezTo>
                  <a:cubicBezTo>
                    <a:pt x="0" y="100"/>
                    <a:pt x="0" y="100"/>
                    <a:pt x="0" y="100"/>
                  </a:cubicBezTo>
                  <a:cubicBezTo>
                    <a:pt x="0" y="414"/>
                    <a:pt x="0" y="414"/>
                    <a:pt x="0" y="414"/>
                  </a:cubicBezTo>
                  <a:cubicBezTo>
                    <a:pt x="0" y="453"/>
                    <a:pt x="31" y="484"/>
                    <a:pt x="69" y="484"/>
                  </a:cubicBezTo>
                  <a:cubicBezTo>
                    <a:pt x="427" y="484"/>
                    <a:pt x="427" y="484"/>
                    <a:pt x="427" y="484"/>
                  </a:cubicBezTo>
                  <a:cubicBezTo>
                    <a:pt x="465" y="484"/>
                    <a:pt x="496" y="453"/>
                    <a:pt x="496" y="414"/>
                  </a:cubicBezTo>
                  <a:cubicBezTo>
                    <a:pt x="496" y="100"/>
                    <a:pt x="496" y="100"/>
                    <a:pt x="496" y="100"/>
                  </a:cubicBezTo>
                  <a:cubicBezTo>
                    <a:pt x="496" y="73"/>
                    <a:pt x="496" y="73"/>
                    <a:pt x="496" y="73"/>
                  </a:cubicBezTo>
                  <a:cubicBezTo>
                    <a:pt x="496" y="69"/>
                    <a:pt x="496" y="69"/>
                    <a:pt x="496" y="69"/>
                  </a:cubicBezTo>
                  <a:cubicBezTo>
                    <a:pt x="496" y="31"/>
                    <a:pt x="465" y="0"/>
                    <a:pt x="427" y="0"/>
                  </a:cubicBezTo>
                </a:path>
              </a:pathLst>
            </a:custGeom>
            <a:solidFill>
              <a:schemeClr val="accent1"/>
            </a:solid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05" name="Freeform 22">
              <a:extLst>
                <a:ext uri="{FF2B5EF4-FFF2-40B4-BE49-F238E27FC236}">
                  <a16:creationId xmlns:a16="http://schemas.microsoft.com/office/drawing/2014/main" id="{16927908-68D5-CB43-9290-F3E5E3D446F1}"/>
                </a:ext>
              </a:extLst>
            </p:cNvPr>
            <p:cNvSpPr>
              <a:spLocks/>
            </p:cNvSpPr>
            <p:nvPr/>
          </p:nvSpPr>
          <p:spPr bwMode="auto">
            <a:xfrm>
              <a:off x="867065" y="3706405"/>
              <a:ext cx="64951" cy="81713"/>
            </a:xfrm>
            <a:custGeom>
              <a:avLst/>
              <a:gdLst>
                <a:gd name="T0" fmla="*/ 26 w 52"/>
                <a:gd name="T1" fmla="*/ 0 h 66"/>
                <a:gd name="T2" fmla="*/ 0 w 52"/>
                <a:gd name="T3" fmla="*/ 26 h 66"/>
                <a:gd name="T4" fmla="*/ 0 w 52"/>
                <a:gd name="T5" fmla="*/ 66 h 66"/>
                <a:gd name="T6" fmla="*/ 52 w 52"/>
                <a:gd name="T7" fmla="*/ 66 h 66"/>
                <a:gd name="T8" fmla="*/ 52 w 52"/>
                <a:gd name="T9" fmla="*/ 26 h 66"/>
                <a:gd name="T10" fmla="*/ 26 w 52"/>
                <a:gd name="T11" fmla="*/ 0 h 66"/>
              </a:gdLst>
              <a:ahLst/>
              <a:cxnLst>
                <a:cxn ang="0">
                  <a:pos x="T0" y="T1"/>
                </a:cxn>
                <a:cxn ang="0">
                  <a:pos x="T2" y="T3"/>
                </a:cxn>
                <a:cxn ang="0">
                  <a:pos x="T4" y="T5"/>
                </a:cxn>
                <a:cxn ang="0">
                  <a:pos x="T6" y="T7"/>
                </a:cxn>
                <a:cxn ang="0">
                  <a:pos x="T8" y="T9"/>
                </a:cxn>
                <a:cxn ang="0">
                  <a:pos x="T10" y="T11"/>
                </a:cxn>
              </a:cxnLst>
              <a:rect l="0" t="0" r="r" b="b"/>
              <a:pathLst>
                <a:path w="52" h="66">
                  <a:moveTo>
                    <a:pt x="26" y="0"/>
                  </a:moveTo>
                  <a:cubicBezTo>
                    <a:pt x="12" y="0"/>
                    <a:pt x="0" y="11"/>
                    <a:pt x="0" y="26"/>
                  </a:cubicBezTo>
                  <a:cubicBezTo>
                    <a:pt x="0" y="66"/>
                    <a:pt x="0" y="66"/>
                    <a:pt x="0" y="66"/>
                  </a:cubicBezTo>
                  <a:cubicBezTo>
                    <a:pt x="52" y="66"/>
                    <a:pt x="52" y="66"/>
                    <a:pt x="52" y="66"/>
                  </a:cubicBezTo>
                  <a:cubicBezTo>
                    <a:pt x="52" y="26"/>
                    <a:pt x="52" y="26"/>
                    <a:pt x="52" y="26"/>
                  </a:cubicBezTo>
                  <a:cubicBezTo>
                    <a:pt x="52" y="11"/>
                    <a:pt x="40" y="0"/>
                    <a:pt x="26" y="0"/>
                  </a:cubicBezTo>
                </a:path>
              </a:pathLst>
            </a:custGeom>
            <a:solidFill>
              <a:srgbClr val="00BBEA"/>
            </a:solid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06" name="Freeform 23">
              <a:extLst>
                <a:ext uri="{FF2B5EF4-FFF2-40B4-BE49-F238E27FC236}">
                  <a16:creationId xmlns:a16="http://schemas.microsoft.com/office/drawing/2014/main" id="{126DFB22-D8F9-684F-9ED7-DF657C6A6DF1}"/>
                </a:ext>
              </a:extLst>
            </p:cNvPr>
            <p:cNvSpPr>
              <a:spLocks/>
            </p:cNvSpPr>
            <p:nvPr/>
          </p:nvSpPr>
          <p:spPr bwMode="auto">
            <a:xfrm>
              <a:off x="867065" y="3788118"/>
              <a:ext cx="64951" cy="82237"/>
            </a:xfrm>
            <a:custGeom>
              <a:avLst/>
              <a:gdLst>
                <a:gd name="T0" fmla="*/ 52 w 52"/>
                <a:gd name="T1" fmla="*/ 0 h 66"/>
                <a:gd name="T2" fmla="*/ 0 w 52"/>
                <a:gd name="T3" fmla="*/ 0 h 66"/>
                <a:gd name="T4" fmla="*/ 0 w 52"/>
                <a:gd name="T5" fmla="*/ 40 h 66"/>
                <a:gd name="T6" fmla="*/ 26 w 52"/>
                <a:gd name="T7" fmla="*/ 66 h 66"/>
                <a:gd name="T8" fmla="*/ 52 w 52"/>
                <a:gd name="T9" fmla="*/ 40 h 66"/>
                <a:gd name="T10" fmla="*/ 52 w 52"/>
                <a:gd name="T11" fmla="*/ 0 h 66"/>
              </a:gdLst>
              <a:ahLst/>
              <a:cxnLst>
                <a:cxn ang="0">
                  <a:pos x="T0" y="T1"/>
                </a:cxn>
                <a:cxn ang="0">
                  <a:pos x="T2" y="T3"/>
                </a:cxn>
                <a:cxn ang="0">
                  <a:pos x="T4" y="T5"/>
                </a:cxn>
                <a:cxn ang="0">
                  <a:pos x="T6" y="T7"/>
                </a:cxn>
                <a:cxn ang="0">
                  <a:pos x="T8" y="T9"/>
                </a:cxn>
                <a:cxn ang="0">
                  <a:pos x="T10" y="T11"/>
                </a:cxn>
              </a:cxnLst>
              <a:rect l="0" t="0" r="r" b="b"/>
              <a:pathLst>
                <a:path w="52" h="66">
                  <a:moveTo>
                    <a:pt x="52" y="0"/>
                  </a:moveTo>
                  <a:cubicBezTo>
                    <a:pt x="0" y="0"/>
                    <a:pt x="0" y="0"/>
                    <a:pt x="0" y="0"/>
                  </a:cubicBezTo>
                  <a:cubicBezTo>
                    <a:pt x="0" y="40"/>
                    <a:pt x="0" y="40"/>
                    <a:pt x="0" y="40"/>
                  </a:cubicBezTo>
                  <a:cubicBezTo>
                    <a:pt x="0" y="54"/>
                    <a:pt x="12" y="66"/>
                    <a:pt x="26" y="66"/>
                  </a:cubicBezTo>
                  <a:cubicBezTo>
                    <a:pt x="40" y="66"/>
                    <a:pt x="52" y="54"/>
                    <a:pt x="52" y="40"/>
                  </a:cubicBezTo>
                  <a:cubicBezTo>
                    <a:pt x="52" y="0"/>
                    <a:pt x="52" y="0"/>
                    <a:pt x="52" y="0"/>
                  </a:cubicBezTo>
                </a:path>
              </a:pathLst>
            </a:custGeom>
            <a:solidFill>
              <a:srgbClr val="0089D7"/>
            </a:solidFill>
            <a:ln w="3175">
              <a:solidFill>
                <a:srgbClr val="008BD9"/>
              </a:solidFill>
              <a:round/>
              <a:headEnd/>
              <a:tailEnd/>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07" name="Freeform 24">
              <a:extLst>
                <a:ext uri="{FF2B5EF4-FFF2-40B4-BE49-F238E27FC236}">
                  <a16:creationId xmlns:a16="http://schemas.microsoft.com/office/drawing/2014/main" id="{AE21940A-36E5-B244-AE73-3F82641F3FCD}"/>
                </a:ext>
              </a:extLst>
            </p:cNvPr>
            <p:cNvSpPr>
              <a:spLocks/>
            </p:cNvSpPr>
            <p:nvPr/>
          </p:nvSpPr>
          <p:spPr bwMode="auto">
            <a:xfrm>
              <a:off x="1091252" y="3706405"/>
              <a:ext cx="64427" cy="81713"/>
            </a:xfrm>
            <a:custGeom>
              <a:avLst/>
              <a:gdLst>
                <a:gd name="T0" fmla="*/ 26 w 52"/>
                <a:gd name="T1" fmla="*/ 0 h 66"/>
                <a:gd name="T2" fmla="*/ 0 w 52"/>
                <a:gd name="T3" fmla="*/ 26 h 66"/>
                <a:gd name="T4" fmla="*/ 0 w 52"/>
                <a:gd name="T5" fmla="*/ 66 h 66"/>
                <a:gd name="T6" fmla="*/ 52 w 52"/>
                <a:gd name="T7" fmla="*/ 66 h 66"/>
                <a:gd name="T8" fmla="*/ 52 w 52"/>
                <a:gd name="T9" fmla="*/ 26 h 66"/>
                <a:gd name="T10" fmla="*/ 26 w 52"/>
                <a:gd name="T11" fmla="*/ 0 h 66"/>
              </a:gdLst>
              <a:ahLst/>
              <a:cxnLst>
                <a:cxn ang="0">
                  <a:pos x="T0" y="T1"/>
                </a:cxn>
                <a:cxn ang="0">
                  <a:pos x="T2" y="T3"/>
                </a:cxn>
                <a:cxn ang="0">
                  <a:pos x="T4" y="T5"/>
                </a:cxn>
                <a:cxn ang="0">
                  <a:pos x="T6" y="T7"/>
                </a:cxn>
                <a:cxn ang="0">
                  <a:pos x="T8" y="T9"/>
                </a:cxn>
                <a:cxn ang="0">
                  <a:pos x="T10" y="T11"/>
                </a:cxn>
              </a:cxnLst>
              <a:rect l="0" t="0" r="r" b="b"/>
              <a:pathLst>
                <a:path w="52" h="66">
                  <a:moveTo>
                    <a:pt x="26" y="0"/>
                  </a:moveTo>
                  <a:cubicBezTo>
                    <a:pt x="12" y="0"/>
                    <a:pt x="0" y="11"/>
                    <a:pt x="0" y="26"/>
                  </a:cubicBezTo>
                  <a:cubicBezTo>
                    <a:pt x="0" y="66"/>
                    <a:pt x="0" y="66"/>
                    <a:pt x="0" y="66"/>
                  </a:cubicBezTo>
                  <a:cubicBezTo>
                    <a:pt x="52" y="66"/>
                    <a:pt x="52" y="66"/>
                    <a:pt x="52" y="66"/>
                  </a:cubicBezTo>
                  <a:cubicBezTo>
                    <a:pt x="52" y="26"/>
                    <a:pt x="52" y="26"/>
                    <a:pt x="52" y="26"/>
                  </a:cubicBezTo>
                  <a:cubicBezTo>
                    <a:pt x="52" y="11"/>
                    <a:pt x="40" y="0"/>
                    <a:pt x="26" y="0"/>
                  </a:cubicBezTo>
                </a:path>
              </a:pathLst>
            </a:custGeom>
            <a:solidFill>
              <a:srgbClr val="00BBEA"/>
            </a:solid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08" name="Freeform 25">
              <a:extLst>
                <a:ext uri="{FF2B5EF4-FFF2-40B4-BE49-F238E27FC236}">
                  <a16:creationId xmlns:a16="http://schemas.microsoft.com/office/drawing/2014/main" id="{57D5D031-D926-5541-8419-D4D10EE0E7C1}"/>
                </a:ext>
              </a:extLst>
            </p:cNvPr>
            <p:cNvSpPr>
              <a:spLocks/>
            </p:cNvSpPr>
            <p:nvPr/>
          </p:nvSpPr>
          <p:spPr bwMode="auto">
            <a:xfrm>
              <a:off x="1091252" y="3788118"/>
              <a:ext cx="64427" cy="82237"/>
            </a:xfrm>
            <a:custGeom>
              <a:avLst/>
              <a:gdLst>
                <a:gd name="T0" fmla="*/ 52 w 52"/>
                <a:gd name="T1" fmla="*/ 0 h 66"/>
                <a:gd name="T2" fmla="*/ 0 w 52"/>
                <a:gd name="T3" fmla="*/ 0 h 66"/>
                <a:gd name="T4" fmla="*/ 0 w 52"/>
                <a:gd name="T5" fmla="*/ 40 h 66"/>
                <a:gd name="T6" fmla="*/ 26 w 52"/>
                <a:gd name="T7" fmla="*/ 66 h 66"/>
                <a:gd name="T8" fmla="*/ 52 w 52"/>
                <a:gd name="T9" fmla="*/ 40 h 66"/>
                <a:gd name="T10" fmla="*/ 52 w 52"/>
                <a:gd name="T11" fmla="*/ 0 h 66"/>
              </a:gdLst>
              <a:ahLst/>
              <a:cxnLst>
                <a:cxn ang="0">
                  <a:pos x="T0" y="T1"/>
                </a:cxn>
                <a:cxn ang="0">
                  <a:pos x="T2" y="T3"/>
                </a:cxn>
                <a:cxn ang="0">
                  <a:pos x="T4" y="T5"/>
                </a:cxn>
                <a:cxn ang="0">
                  <a:pos x="T6" y="T7"/>
                </a:cxn>
                <a:cxn ang="0">
                  <a:pos x="T8" y="T9"/>
                </a:cxn>
                <a:cxn ang="0">
                  <a:pos x="T10" y="T11"/>
                </a:cxn>
              </a:cxnLst>
              <a:rect l="0" t="0" r="r" b="b"/>
              <a:pathLst>
                <a:path w="52" h="66">
                  <a:moveTo>
                    <a:pt x="52" y="0"/>
                  </a:moveTo>
                  <a:cubicBezTo>
                    <a:pt x="0" y="0"/>
                    <a:pt x="0" y="0"/>
                    <a:pt x="0" y="0"/>
                  </a:cubicBezTo>
                  <a:cubicBezTo>
                    <a:pt x="0" y="40"/>
                    <a:pt x="0" y="40"/>
                    <a:pt x="0" y="40"/>
                  </a:cubicBezTo>
                  <a:cubicBezTo>
                    <a:pt x="0" y="54"/>
                    <a:pt x="12" y="66"/>
                    <a:pt x="26" y="66"/>
                  </a:cubicBezTo>
                  <a:cubicBezTo>
                    <a:pt x="40" y="66"/>
                    <a:pt x="52" y="54"/>
                    <a:pt x="52" y="40"/>
                  </a:cubicBezTo>
                  <a:cubicBezTo>
                    <a:pt x="52" y="0"/>
                    <a:pt x="52" y="0"/>
                    <a:pt x="52" y="0"/>
                  </a:cubicBezTo>
                </a:path>
              </a:pathLst>
            </a:custGeom>
            <a:solidFill>
              <a:srgbClr val="0089D7"/>
            </a:solidFill>
            <a:ln w="3175">
              <a:solidFill>
                <a:srgbClr val="008BD9"/>
              </a:solidFill>
              <a:round/>
              <a:headEnd/>
              <a:tailEnd/>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grpSp>
      <p:sp>
        <p:nvSpPr>
          <p:cNvPr id="509" name="object 40">
            <a:extLst>
              <a:ext uri="{FF2B5EF4-FFF2-40B4-BE49-F238E27FC236}">
                <a16:creationId xmlns:a16="http://schemas.microsoft.com/office/drawing/2014/main" id="{7FD206E2-765E-5E4F-87B8-D1E2E8B23387}"/>
              </a:ext>
            </a:extLst>
          </p:cNvPr>
          <p:cNvSpPr txBox="1"/>
          <p:nvPr/>
        </p:nvSpPr>
        <p:spPr>
          <a:xfrm>
            <a:off x="5400769" y="5472001"/>
            <a:ext cx="1352457" cy="605220"/>
          </a:xfrm>
          <a:prstGeom prst="rect">
            <a:avLst/>
          </a:prstGeom>
        </p:spPr>
        <p:txBody>
          <a:bodyPr vert="horz" wrap="square" lIns="0" tIns="0" rIns="0" bIns="0" rtlCol="0" anchor="ctr">
            <a:noAutofit/>
          </a:bodyPr>
          <a:lstStyle/>
          <a:p>
            <a:pPr marL="14941" marR="14941" defTabSz="1219170">
              <a:lnSpc>
                <a:spcPct val="98000"/>
              </a:lnSpc>
              <a:buClr>
                <a:srgbClr val="000000"/>
              </a:buClr>
            </a:pPr>
            <a:r>
              <a:rPr lang="en-US" sz="1333" kern="0">
                <a:solidFill>
                  <a:srgbClr val="2F446B"/>
                </a:solidFill>
                <a:latin typeface="CiscoSansTT ExtraLight" panose="020B0303020201020303" pitchFamily="34" charset="0"/>
                <a:cs typeface="CiscoSansTT ExtraLight" panose="020B0303020201020303" pitchFamily="34" charset="0"/>
                <a:sym typeface="Arial"/>
              </a:rPr>
              <a:t>Industry average time to contain </a:t>
            </a:r>
            <a:br>
              <a:rPr lang="en-US" sz="1333" kern="0">
                <a:solidFill>
                  <a:srgbClr val="2F446B"/>
                </a:solidFill>
                <a:latin typeface="CiscoSansTT ExtraLight" panose="020B0303020201020303" pitchFamily="34" charset="0"/>
                <a:cs typeface="CiscoSansTT ExtraLight" panose="020B0303020201020303" pitchFamily="34" charset="0"/>
                <a:sym typeface="Arial"/>
              </a:rPr>
            </a:br>
            <a:r>
              <a:rPr lang="en-US" sz="1333" kern="0">
                <a:solidFill>
                  <a:srgbClr val="2F446B"/>
                </a:solidFill>
                <a:latin typeface="CiscoSansTT ExtraLight" panose="020B0303020201020303" pitchFamily="34" charset="0"/>
                <a:cs typeface="CiscoSansTT ExtraLight" panose="020B0303020201020303" pitchFamily="34" charset="0"/>
                <a:sym typeface="Arial"/>
              </a:rPr>
              <a:t>a breach</a:t>
            </a:r>
          </a:p>
        </p:txBody>
      </p:sp>
      <p:grpSp>
        <p:nvGrpSpPr>
          <p:cNvPr id="510" name="Group 509">
            <a:extLst>
              <a:ext uri="{FF2B5EF4-FFF2-40B4-BE49-F238E27FC236}">
                <a16:creationId xmlns:a16="http://schemas.microsoft.com/office/drawing/2014/main" id="{375FDEE6-8095-C44B-B28E-B85D4DC1A079}"/>
              </a:ext>
            </a:extLst>
          </p:cNvPr>
          <p:cNvGrpSpPr/>
          <p:nvPr/>
        </p:nvGrpSpPr>
        <p:grpSpPr>
          <a:xfrm>
            <a:off x="4422567" y="5208000"/>
            <a:ext cx="834392" cy="924272"/>
            <a:chOff x="702592" y="3706405"/>
            <a:chExt cx="617561" cy="684083"/>
          </a:xfrm>
        </p:grpSpPr>
        <p:sp>
          <p:nvSpPr>
            <p:cNvPr id="511" name="Freeform 21">
              <a:extLst>
                <a:ext uri="{FF2B5EF4-FFF2-40B4-BE49-F238E27FC236}">
                  <a16:creationId xmlns:a16="http://schemas.microsoft.com/office/drawing/2014/main" id="{587603FC-8988-514D-8524-664B2709C032}"/>
                </a:ext>
              </a:extLst>
            </p:cNvPr>
            <p:cNvSpPr>
              <a:spLocks noEditPoints="1"/>
            </p:cNvSpPr>
            <p:nvPr/>
          </p:nvSpPr>
          <p:spPr bwMode="auto">
            <a:xfrm>
              <a:off x="702592" y="3788118"/>
              <a:ext cx="617561" cy="602370"/>
            </a:xfrm>
            <a:custGeom>
              <a:avLst/>
              <a:gdLst>
                <a:gd name="T0" fmla="*/ 69 w 496"/>
                <a:gd name="T1" fmla="*/ 444 h 484"/>
                <a:gd name="T2" fmla="*/ 40 w 496"/>
                <a:gd name="T3" fmla="*/ 414 h 484"/>
                <a:gd name="T4" fmla="*/ 40 w 496"/>
                <a:gd name="T5" fmla="*/ 100 h 484"/>
                <a:gd name="T6" fmla="*/ 456 w 496"/>
                <a:gd name="T7" fmla="*/ 100 h 484"/>
                <a:gd name="T8" fmla="*/ 456 w 496"/>
                <a:gd name="T9" fmla="*/ 414 h 484"/>
                <a:gd name="T10" fmla="*/ 427 w 496"/>
                <a:gd name="T11" fmla="*/ 444 h 484"/>
                <a:gd name="T12" fmla="*/ 69 w 496"/>
                <a:gd name="T13" fmla="*/ 444 h 484"/>
                <a:gd name="T14" fmla="*/ 427 w 496"/>
                <a:gd name="T15" fmla="*/ 0 h 484"/>
                <a:gd name="T16" fmla="*/ 364 w 496"/>
                <a:gd name="T17" fmla="*/ 0 h 484"/>
                <a:gd name="T18" fmla="*/ 364 w 496"/>
                <a:gd name="T19" fmla="*/ 40 h 484"/>
                <a:gd name="T20" fmla="*/ 338 w 496"/>
                <a:gd name="T21" fmla="*/ 66 h 484"/>
                <a:gd name="T22" fmla="*/ 312 w 496"/>
                <a:gd name="T23" fmla="*/ 40 h 484"/>
                <a:gd name="T24" fmla="*/ 312 w 496"/>
                <a:gd name="T25" fmla="*/ 0 h 484"/>
                <a:gd name="T26" fmla="*/ 184 w 496"/>
                <a:gd name="T27" fmla="*/ 0 h 484"/>
                <a:gd name="T28" fmla="*/ 184 w 496"/>
                <a:gd name="T29" fmla="*/ 40 h 484"/>
                <a:gd name="T30" fmla="*/ 158 w 496"/>
                <a:gd name="T31" fmla="*/ 66 h 484"/>
                <a:gd name="T32" fmla="*/ 132 w 496"/>
                <a:gd name="T33" fmla="*/ 40 h 484"/>
                <a:gd name="T34" fmla="*/ 132 w 496"/>
                <a:gd name="T35" fmla="*/ 0 h 484"/>
                <a:gd name="T36" fmla="*/ 69 w 496"/>
                <a:gd name="T37" fmla="*/ 0 h 484"/>
                <a:gd name="T38" fmla="*/ 0 w 496"/>
                <a:gd name="T39" fmla="*/ 69 h 484"/>
                <a:gd name="T40" fmla="*/ 0 w 496"/>
                <a:gd name="T41" fmla="*/ 73 h 484"/>
                <a:gd name="T42" fmla="*/ 0 w 496"/>
                <a:gd name="T43" fmla="*/ 100 h 484"/>
                <a:gd name="T44" fmla="*/ 0 w 496"/>
                <a:gd name="T45" fmla="*/ 414 h 484"/>
                <a:gd name="T46" fmla="*/ 69 w 496"/>
                <a:gd name="T47" fmla="*/ 484 h 484"/>
                <a:gd name="T48" fmla="*/ 427 w 496"/>
                <a:gd name="T49" fmla="*/ 484 h 484"/>
                <a:gd name="T50" fmla="*/ 496 w 496"/>
                <a:gd name="T51" fmla="*/ 414 h 484"/>
                <a:gd name="T52" fmla="*/ 496 w 496"/>
                <a:gd name="T53" fmla="*/ 100 h 484"/>
                <a:gd name="T54" fmla="*/ 496 w 496"/>
                <a:gd name="T55" fmla="*/ 73 h 484"/>
                <a:gd name="T56" fmla="*/ 496 w 496"/>
                <a:gd name="T57" fmla="*/ 69 h 484"/>
                <a:gd name="T58" fmla="*/ 427 w 496"/>
                <a:gd name="T59"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96" h="484">
                  <a:moveTo>
                    <a:pt x="69" y="444"/>
                  </a:moveTo>
                  <a:cubicBezTo>
                    <a:pt x="53" y="444"/>
                    <a:pt x="40" y="431"/>
                    <a:pt x="40" y="414"/>
                  </a:cubicBezTo>
                  <a:cubicBezTo>
                    <a:pt x="40" y="100"/>
                    <a:pt x="40" y="100"/>
                    <a:pt x="40" y="100"/>
                  </a:cubicBezTo>
                  <a:cubicBezTo>
                    <a:pt x="456" y="100"/>
                    <a:pt x="456" y="100"/>
                    <a:pt x="456" y="100"/>
                  </a:cubicBezTo>
                  <a:cubicBezTo>
                    <a:pt x="456" y="414"/>
                    <a:pt x="456" y="414"/>
                    <a:pt x="456" y="414"/>
                  </a:cubicBezTo>
                  <a:cubicBezTo>
                    <a:pt x="456" y="431"/>
                    <a:pt x="443" y="444"/>
                    <a:pt x="427" y="444"/>
                  </a:cubicBezTo>
                  <a:cubicBezTo>
                    <a:pt x="69" y="444"/>
                    <a:pt x="69" y="444"/>
                    <a:pt x="69" y="444"/>
                  </a:cubicBezTo>
                  <a:moveTo>
                    <a:pt x="427" y="0"/>
                  </a:moveTo>
                  <a:cubicBezTo>
                    <a:pt x="364" y="0"/>
                    <a:pt x="364" y="0"/>
                    <a:pt x="364" y="0"/>
                  </a:cubicBezTo>
                  <a:cubicBezTo>
                    <a:pt x="364" y="40"/>
                    <a:pt x="364" y="40"/>
                    <a:pt x="364" y="40"/>
                  </a:cubicBezTo>
                  <a:cubicBezTo>
                    <a:pt x="364" y="54"/>
                    <a:pt x="352" y="66"/>
                    <a:pt x="338" y="66"/>
                  </a:cubicBezTo>
                  <a:cubicBezTo>
                    <a:pt x="324" y="66"/>
                    <a:pt x="312" y="54"/>
                    <a:pt x="312" y="40"/>
                  </a:cubicBezTo>
                  <a:cubicBezTo>
                    <a:pt x="312" y="0"/>
                    <a:pt x="312" y="0"/>
                    <a:pt x="312" y="0"/>
                  </a:cubicBezTo>
                  <a:cubicBezTo>
                    <a:pt x="184" y="0"/>
                    <a:pt x="184" y="0"/>
                    <a:pt x="184" y="0"/>
                  </a:cubicBezTo>
                  <a:cubicBezTo>
                    <a:pt x="184" y="40"/>
                    <a:pt x="184" y="40"/>
                    <a:pt x="184" y="40"/>
                  </a:cubicBezTo>
                  <a:cubicBezTo>
                    <a:pt x="184" y="54"/>
                    <a:pt x="172" y="66"/>
                    <a:pt x="158" y="66"/>
                  </a:cubicBezTo>
                  <a:cubicBezTo>
                    <a:pt x="144" y="66"/>
                    <a:pt x="132" y="54"/>
                    <a:pt x="132" y="40"/>
                  </a:cubicBezTo>
                  <a:cubicBezTo>
                    <a:pt x="132" y="0"/>
                    <a:pt x="132" y="0"/>
                    <a:pt x="132" y="0"/>
                  </a:cubicBezTo>
                  <a:cubicBezTo>
                    <a:pt x="69" y="0"/>
                    <a:pt x="69" y="0"/>
                    <a:pt x="69" y="0"/>
                  </a:cubicBezTo>
                  <a:cubicBezTo>
                    <a:pt x="31" y="0"/>
                    <a:pt x="0" y="31"/>
                    <a:pt x="0" y="69"/>
                  </a:cubicBezTo>
                  <a:cubicBezTo>
                    <a:pt x="0" y="73"/>
                    <a:pt x="0" y="73"/>
                    <a:pt x="0" y="73"/>
                  </a:cubicBezTo>
                  <a:cubicBezTo>
                    <a:pt x="0" y="100"/>
                    <a:pt x="0" y="100"/>
                    <a:pt x="0" y="100"/>
                  </a:cubicBezTo>
                  <a:cubicBezTo>
                    <a:pt x="0" y="414"/>
                    <a:pt x="0" y="414"/>
                    <a:pt x="0" y="414"/>
                  </a:cubicBezTo>
                  <a:cubicBezTo>
                    <a:pt x="0" y="453"/>
                    <a:pt x="31" y="484"/>
                    <a:pt x="69" y="484"/>
                  </a:cubicBezTo>
                  <a:cubicBezTo>
                    <a:pt x="427" y="484"/>
                    <a:pt x="427" y="484"/>
                    <a:pt x="427" y="484"/>
                  </a:cubicBezTo>
                  <a:cubicBezTo>
                    <a:pt x="465" y="484"/>
                    <a:pt x="496" y="453"/>
                    <a:pt x="496" y="414"/>
                  </a:cubicBezTo>
                  <a:cubicBezTo>
                    <a:pt x="496" y="100"/>
                    <a:pt x="496" y="100"/>
                    <a:pt x="496" y="100"/>
                  </a:cubicBezTo>
                  <a:cubicBezTo>
                    <a:pt x="496" y="73"/>
                    <a:pt x="496" y="73"/>
                    <a:pt x="496" y="73"/>
                  </a:cubicBezTo>
                  <a:cubicBezTo>
                    <a:pt x="496" y="69"/>
                    <a:pt x="496" y="69"/>
                    <a:pt x="496" y="69"/>
                  </a:cubicBezTo>
                  <a:cubicBezTo>
                    <a:pt x="496" y="31"/>
                    <a:pt x="465" y="0"/>
                    <a:pt x="427" y="0"/>
                  </a:cubicBezTo>
                </a:path>
              </a:pathLst>
            </a:custGeom>
            <a:solidFill>
              <a:schemeClr val="accent1"/>
            </a:solid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12" name="Freeform 22">
              <a:extLst>
                <a:ext uri="{FF2B5EF4-FFF2-40B4-BE49-F238E27FC236}">
                  <a16:creationId xmlns:a16="http://schemas.microsoft.com/office/drawing/2014/main" id="{B942812A-7397-D641-9867-EFA5FC232B47}"/>
                </a:ext>
              </a:extLst>
            </p:cNvPr>
            <p:cNvSpPr>
              <a:spLocks/>
            </p:cNvSpPr>
            <p:nvPr/>
          </p:nvSpPr>
          <p:spPr bwMode="auto">
            <a:xfrm>
              <a:off x="867065" y="3706405"/>
              <a:ext cx="64951" cy="81713"/>
            </a:xfrm>
            <a:custGeom>
              <a:avLst/>
              <a:gdLst>
                <a:gd name="T0" fmla="*/ 26 w 52"/>
                <a:gd name="T1" fmla="*/ 0 h 66"/>
                <a:gd name="T2" fmla="*/ 0 w 52"/>
                <a:gd name="T3" fmla="*/ 26 h 66"/>
                <a:gd name="T4" fmla="*/ 0 w 52"/>
                <a:gd name="T5" fmla="*/ 66 h 66"/>
                <a:gd name="T6" fmla="*/ 52 w 52"/>
                <a:gd name="T7" fmla="*/ 66 h 66"/>
                <a:gd name="T8" fmla="*/ 52 w 52"/>
                <a:gd name="T9" fmla="*/ 26 h 66"/>
                <a:gd name="T10" fmla="*/ 26 w 52"/>
                <a:gd name="T11" fmla="*/ 0 h 66"/>
              </a:gdLst>
              <a:ahLst/>
              <a:cxnLst>
                <a:cxn ang="0">
                  <a:pos x="T0" y="T1"/>
                </a:cxn>
                <a:cxn ang="0">
                  <a:pos x="T2" y="T3"/>
                </a:cxn>
                <a:cxn ang="0">
                  <a:pos x="T4" y="T5"/>
                </a:cxn>
                <a:cxn ang="0">
                  <a:pos x="T6" y="T7"/>
                </a:cxn>
                <a:cxn ang="0">
                  <a:pos x="T8" y="T9"/>
                </a:cxn>
                <a:cxn ang="0">
                  <a:pos x="T10" y="T11"/>
                </a:cxn>
              </a:cxnLst>
              <a:rect l="0" t="0" r="r" b="b"/>
              <a:pathLst>
                <a:path w="52" h="66">
                  <a:moveTo>
                    <a:pt x="26" y="0"/>
                  </a:moveTo>
                  <a:cubicBezTo>
                    <a:pt x="12" y="0"/>
                    <a:pt x="0" y="11"/>
                    <a:pt x="0" y="26"/>
                  </a:cubicBezTo>
                  <a:cubicBezTo>
                    <a:pt x="0" y="66"/>
                    <a:pt x="0" y="66"/>
                    <a:pt x="0" y="66"/>
                  </a:cubicBezTo>
                  <a:cubicBezTo>
                    <a:pt x="52" y="66"/>
                    <a:pt x="52" y="66"/>
                    <a:pt x="52" y="66"/>
                  </a:cubicBezTo>
                  <a:cubicBezTo>
                    <a:pt x="52" y="26"/>
                    <a:pt x="52" y="26"/>
                    <a:pt x="52" y="26"/>
                  </a:cubicBezTo>
                  <a:cubicBezTo>
                    <a:pt x="52" y="11"/>
                    <a:pt x="40" y="0"/>
                    <a:pt x="26" y="0"/>
                  </a:cubicBezTo>
                </a:path>
              </a:pathLst>
            </a:custGeom>
            <a:solidFill>
              <a:srgbClr val="00BBEA"/>
            </a:solid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13" name="Freeform 23">
              <a:extLst>
                <a:ext uri="{FF2B5EF4-FFF2-40B4-BE49-F238E27FC236}">
                  <a16:creationId xmlns:a16="http://schemas.microsoft.com/office/drawing/2014/main" id="{CAB19B1B-0C62-4649-B347-8029C661FDE4}"/>
                </a:ext>
              </a:extLst>
            </p:cNvPr>
            <p:cNvSpPr>
              <a:spLocks/>
            </p:cNvSpPr>
            <p:nvPr/>
          </p:nvSpPr>
          <p:spPr bwMode="auto">
            <a:xfrm>
              <a:off x="867065" y="3788118"/>
              <a:ext cx="64951" cy="82237"/>
            </a:xfrm>
            <a:custGeom>
              <a:avLst/>
              <a:gdLst>
                <a:gd name="T0" fmla="*/ 52 w 52"/>
                <a:gd name="T1" fmla="*/ 0 h 66"/>
                <a:gd name="T2" fmla="*/ 0 w 52"/>
                <a:gd name="T3" fmla="*/ 0 h 66"/>
                <a:gd name="T4" fmla="*/ 0 w 52"/>
                <a:gd name="T5" fmla="*/ 40 h 66"/>
                <a:gd name="T6" fmla="*/ 26 w 52"/>
                <a:gd name="T7" fmla="*/ 66 h 66"/>
                <a:gd name="T8" fmla="*/ 52 w 52"/>
                <a:gd name="T9" fmla="*/ 40 h 66"/>
                <a:gd name="T10" fmla="*/ 52 w 52"/>
                <a:gd name="T11" fmla="*/ 0 h 66"/>
              </a:gdLst>
              <a:ahLst/>
              <a:cxnLst>
                <a:cxn ang="0">
                  <a:pos x="T0" y="T1"/>
                </a:cxn>
                <a:cxn ang="0">
                  <a:pos x="T2" y="T3"/>
                </a:cxn>
                <a:cxn ang="0">
                  <a:pos x="T4" y="T5"/>
                </a:cxn>
                <a:cxn ang="0">
                  <a:pos x="T6" y="T7"/>
                </a:cxn>
                <a:cxn ang="0">
                  <a:pos x="T8" y="T9"/>
                </a:cxn>
                <a:cxn ang="0">
                  <a:pos x="T10" y="T11"/>
                </a:cxn>
              </a:cxnLst>
              <a:rect l="0" t="0" r="r" b="b"/>
              <a:pathLst>
                <a:path w="52" h="66">
                  <a:moveTo>
                    <a:pt x="52" y="0"/>
                  </a:moveTo>
                  <a:cubicBezTo>
                    <a:pt x="0" y="0"/>
                    <a:pt x="0" y="0"/>
                    <a:pt x="0" y="0"/>
                  </a:cubicBezTo>
                  <a:cubicBezTo>
                    <a:pt x="0" y="40"/>
                    <a:pt x="0" y="40"/>
                    <a:pt x="0" y="40"/>
                  </a:cubicBezTo>
                  <a:cubicBezTo>
                    <a:pt x="0" y="54"/>
                    <a:pt x="12" y="66"/>
                    <a:pt x="26" y="66"/>
                  </a:cubicBezTo>
                  <a:cubicBezTo>
                    <a:pt x="40" y="66"/>
                    <a:pt x="52" y="54"/>
                    <a:pt x="52" y="40"/>
                  </a:cubicBezTo>
                  <a:cubicBezTo>
                    <a:pt x="52" y="0"/>
                    <a:pt x="52" y="0"/>
                    <a:pt x="52" y="0"/>
                  </a:cubicBezTo>
                </a:path>
              </a:pathLst>
            </a:custGeom>
            <a:solidFill>
              <a:srgbClr val="0089D7"/>
            </a:solidFill>
            <a:ln w="3175">
              <a:solidFill>
                <a:srgbClr val="008BD9"/>
              </a:solidFill>
              <a:round/>
              <a:headEnd/>
              <a:tailEnd/>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14" name="Freeform 24">
              <a:extLst>
                <a:ext uri="{FF2B5EF4-FFF2-40B4-BE49-F238E27FC236}">
                  <a16:creationId xmlns:a16="http://schemas.microsoft.com/office/drawing/2014/main" id="{CEF6A9F3-E6EE-324A-9C14-2BE36BE78668}"/>
                </a:ext>
              </a:extLst>
            </p:cNvPr>
            <p:cNvSpPr>
              <a:spLocks/>
            </p:cNvSpPr>
            <p:nvPr/>
          </p:nvSpPr>
          <p:spPr bwMode="auto">
            <a:xfrm>
              <a:off x="1091252" y="3706405"/>
              <a:ext cx="64427" cy="81713"/>
            </a:xfrm>
            <a:custGeom>
              <a:avLst/>
              <a:gdLst>
                <a:gd name="T0" fmla="*/ 26 w 52"/>
                <a:gd name="T1" fmla="*/ 0 h 66"/>
                <a:gd name="T2" fmla="*/ 0 w 52"/>
                <a:gd name="T3" fmla="*/ 26 h 66"/>
                <a:gd name="T4" fmla="*/ 0 w 52"/>
                <a:gd name="T5" fmla="*/ 66 h 66"/>
                <a:gd name="T6" fmla="*/ 52 w 52"/>
                <a:gd name="T7" fmla="*/ 66 h 66"/>
                <a:gd name="T8" fmla="*/ 52 w 52"/>
                <a:gd name="T9" fmla="*/ 26 h 66"/>
                <a:gd name="T10" fmla="*/ 26 w 52"/>
                <a:gd name="T11" fmla="*/ 0 h 66"/>
              </a:gdLst>
              <a:ahLst/>
              <a:cxnLst>
                <a:cxn ang="0">
                  <a:pos x="T0" y="T1"/>
                </a:cxn>
                <a:cxn ang="0">
                  <a:pos x="T2" y="T3"/>
                </a:cxn>
                <a:cxn ang="0">
                  <a:pos x="T4" y="T5"/>
                </a:cxn>
                <a:cxn ang="0">
                  <a:pos x="T6" y="T7"/>
                </a:cxn>
                <a:cxn ang="0">
                  <a:pos x="T8" y="T9"/>
                </a:cxn>
                <a:cxn ang="0">
                  <a:pos x="T10" y="T11"/>
                </a:cxn>
              </a:cxnLst>
              <a:rect l="0" t="0" r="r" b="b"/>
              <a:pathLst>
                <a:path w="52" h="66">
                  <a:moveTo>
                    <a:pt x="26" y="0"/>
                  </a:moveTo>
                  <a:cubicBezTo>
                    <a:pt x="12" y="0"/>
                    <a:pt x="0" y="11"/>
                    <a:pt x="0" y="26"/>
                  </a:cubicBezTo>
                  <a:cubicBezTo>
                    <a:pt x="0" y="66"/>
                    <a:pt x="0" y="66"/>
                    <a:pt x="0" y="66"/>
                  </a:cubicBezTo>
                  <a:cubicBezTo>
                    <a:pt x="52" y="66"/>
                    <a:pt x="52" y="66"/>
                    <a:pt x="52" y="66"/>
                  </a:cubicBezTo>
                  <a:cubicBezTo>
                    <a:pt x="52" y="26"/>
                    <a:pt x="52" y="26"/>
                    <a:pt x="52" y="26"/>
                  </a:cubicBezTo>
                  <a:cubicBezTo>
                    <a:pt x="52" y="11"/>
                    <a:pt x="40" y="0"/>
                    <a:pt x="26" y="0"/>
                  </a:cubicBezTo>
                </a:path>
              </a:pathLst>
            </a:custGeom>
            <a:solidFill>
              <a:srgbClr val="00BBEA"/>
            </a:solid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sp>
          <p:nvSpPr>
            <p:cNvPr id="515" name="Freeform 25">
              <a:extLst>
                <a:ext uri="{FF2B5EF4-FFF2-40B4-BE49-F238E27FC236}">
                  <a16:creationId xmlns:a16="http://schemas.microsoft.com/office/drawing/2014/main" id="{B3091E70-4DB6-4C48-8113-59CFB7D3EAB2}"/>
                </a:ext>
              </a:extLst>
            </p:cNvPr>
            <p:cNvSpPr>
              <a:spLocks/>
            </p:cNvSpPr>
            <p:nvPr/>
          </p:nvSpPr>
          <p:spPr bwMode="auto">
            <a:xfrm>
              <a:off x="1091252" y="3788118"/>
              <a:ext cx="64427" cy="82237"/>
            </a:xfrm>
            <a:custGeom>
              <a:avLst/>
              <a:gdLst>
                <a:gd name="T0" fmla="*/ 52 w 52"/>
                <a:gd name="T1" fmla="*/ 0 h 66"/>
                <a:gd name="T2" fmla="*/ 0 w 52"/>
                <a:gd name="T3" fmla="*/ 0 h 66"/>
                <a:gd name="T4" fmla="*/ 0 w 52"/>
                <a:gd name="T5" fmla="*/ 40 h 66"/>
                <a:gd name="T6" fmla="*/ 26 w 52"/>
                <a:gd name="T7" fmla="*/ 66 h 66"/>
                <a:gd name="T8" fmla="*/ 52 w 52"/>
                <a:gd name="T9" fmla="*/ 40 h 66"/>
                <a:gd name="T10" fmla="*/ 52 w 52"/>
                <a:gd name="T11" fmla="*/ 0 h 66"/>
              </a:gdLst>
              <a:ahLst/>
              <a:cxnLst>
                <a:cxn ang="0">
                  <a:pos x="T0" y="T1"/>
                </a:cxn>
                <a:cxn ang="0">
                  <a:pos x="T2" y="T3"/>
                </a:cxn>
                <a:cxn ang="0">
                  <a:pos x="T4" y="T5"/>
                </a:cxn>
                <a:cxn ang="0">
                  <a:pos x="T6" y="T7"/>
                </a:cxn>
                <a:cxn ang="0">
                  <a:pos x="T8" y="T9"/>
                </a:cxn>
                <a:cxn ang="0">
                  <a:pos x="T10" y="T11"/>
                </a:cxn>
              </a:cxnLst>
              <a:rect l="0" t="0" r="r" b="b"/>
              <a:pathLst>
                <a:path w="52" h="66">
                  <a:moveTo>
                    <a:pt x="52" y="0"/>
                  </a:moveTo>
                  <a:cubicBezTo>
                    <a:pt x="0" y="0"/>
                    <a:pt x="0" y="0"/>
                    <a:pt x="0" y="0"/>
                  </a:cubicBezTo>
                  <a:cubicBezTo>
                    <a:pt x="0" y="40"/>
                    <a:pt x="0" y="40"/>
                    <a:pt x="0" y="40"/>
                  </a:cubicBezTo>
                  <a:cubicBezTo>
                    <a:pt x="0" y="54"/>
                    <a:pt x="12" y="66"/>
                    <a:pt x="26" y="66"/>
                  </a:cubicBezTo>
                  <a:cubicBezTo>
                    <a:pt x="40" y="66"/>
                    <a:pt x="52" y="54"/>
                    <a:pt x="52" y="40"/>
                  </a:cubicBezTo>
                  <a:cubicBezTo>
                    <a:pt x="52" y="0"/>
                    <a:pt x="52" y="0"/>
                    <a:pt x="52" y="0"/>
                  </a:cubicBezTo>
                </a:path>
              </a:pathLst>
            </a:custGeom>
            <a:solidFill>
              <a:srgbClr val="0089D7"/>
            </a:solidFill>
            <a:ln w="3175">
              <a:solidFill>
                <a:srgbClr val="008BD9"/>
              </a:solidFill>
              <a:round/>
              <a:headEnd/>
              <a:tailEnd/>
            </a:ln>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a:solidFill>
                  <a:srgbClr val="000000"/>
                </a:solidFill>
                <a:latin typeface="Arial"/>
                <a:cs typeface="Arial"/>
                <a:sym typeface="Arial"/>
              </a:endParaRPr>
            </a:p>
          </p:txBody>
        </p:sp>
      </p:grpSp>
      <p:sp>
        <p:nvSpPr>
          <p:cNvPr id="516" name="object 40">
            <a:extLst>
              <a:ext uri="{FF2B5EF4-FFF2-40B4-BE49-F238E27FC236}">
                <a16:creationId xmlns:a16="http://schemas.microsoft.com/office/drawing/2014/main" id="{C4296D7E-802B-164B-B094-A8D72524EACC}"/>
              </a:ext>
            </a:extLst>
          </p:cNvPr>
          <p:cNvSpPr txBox="1"/>
          <p:nvPr/>
        </p:nvSpPr>
        <p:spPr>
          <a:xfrm>
            <a:off x="978483" y="5556169"/>
            <a:ext cx="648000" cy="245259"/>
          </a:xfrm>
          <a:prstGeom prst="rect">
            <a:avLst/>
          </a:prstGeom>
        </p:spPr>
        <p:txBody>
          <a:bodyPr vert="horz" wrap="square" lIns="0" tIns="0" rIns="0" bIns="0" rtlCol="0" anchor="t" anchorCtr="0">
            <a:noAutofit/>
          </a:bodyPr>
          <a:lstStyle/>
          <a:p>
            <a:pPr marL="14941" marR="14941" algn="ctr" defTabSz="1219170">
              <a:lnSpc>
                <a:spcPts val="2400"/>
              </a:lnSpc>
              <a:buClr>
                <a:srgbClr val="000000"/>
              </a:buClr>
            </a:pPr>
            <a:r>
              <a:rPr lang="en-AU" sz="2400" b="1" kern="0">
                <a:solidFill>
                  <a:srgbClr val="00BCEB"/>
                </a:solidFill>
                <a:latin typeface="CiscoSansTT ExtraLight" panose="020B0303020201020303" pitchFamily="34" charset="0"/>
                <a:cs typeface="CiscoSansTT ExtraLight" panose="020B0303020201020303" pitchFamily="34" charset="0"/>
                <a:sym typeface="Arial"/>
              </a:rPr>
              <a:t>206</a:t>
            </a:r>
          </a:p>
        </p:txBody>
      </p:sp>
      <p:sp>
        <p:nvSpPr>
          <p:cNvPr id="517" name="object 40">
            <a:extLst>
              <a:ext uri="{FF2B5EF4-FFF2-40B4-BE49-F238E27FC236}">
                <a16:creationId xmlns:a16="http://schemas.microsoft.com/office/drawing/2014/main" id="{432B226A-552A-F942-895D-0A7F16342E62}"/>
              </a:ext>
            </a:extLst>
          </p:cNvPr>
          <p:cNvSpPr txBox="1"/>
          <p:nvPr/>
        </p:nvSpPr>
        <p:spPr>
          <a:xfrm>
            <a:off x="978483" y="5760480"/>
            <a:ext cx="648000" cy="245259"/>
          </a:xfrm>
          <a:prstGeom prst="rect">
            <a:avLst/>
          </a:prstGeom>
        </p:spPr>
        <p:txBody>
          <a:bodyPr vert="horz" wrap="square" lIns="0" tIns="0" rIns="0" bIns="0" rtlCol="0" anchor="t" anchorCtr="0">
            <a:noAutofit/>
          </a:bodyPr>
          <a:lstStyle/>
          <a:p>
            <a:pPr marL="14941" marR="14941" algn="ctr" defTabSz="1219170">
              <a:lnSpc>
                <a:spcPts val="2400"/>
              </a:lnSpc>
              <a:buClr>
                <a:srgbClr val="000000"/>
              </a:buClr>
            </a:pPr>
            <a:r>
              <a:rPr lang="en-AU" sz="1600" b="1" kern="0">
                <a:solidFill>
                  <a:srgbClr val="00BCEB"/>
                </a:solidFill>
                <a:latin typeface="CiscoSansTT ExtraLight" panose="020B0303020201020303" pitchFamily="34" charset="0"/>
                <a:cs typeface="CiscoSansTT ExtraLight" panose="020B0303020201020303" pitchFamily="34" charset="0"/>
                <a:sym typeface="Arial"/>
              </a:rPr>
              <a:t>DAYS</a:t>
            </a:r>
          </a:p>
        </p:txBody>
      </p:sp>
      <p:sp>
        <p:nvSpPr>
          <p:cNvPr id="518" name="object 40">
            <a:extLst>
              <a:ext uri="{FF2B5EF4-FFF2-40B4-BE49-F238E27FC236}">
                <a16:creationId xmlns:a16="http://schemas.microsoft.com/office/drawing/2014/main" id="{BDBA528D-9DFF-A449-84EF-08CD1DC338DC}"/>
              </a:ext>
            </a:extLst>
          </p:cNvPr>
          <p:cNvSpPr txBox="1"/>
          <p:nvPr/>
        </p:nvSpPr>
        <p:spPr>
          <a:xfrm>
            <a:off x="4506869" y="5561025"/>
            <a:ext cx="648000" cy="245259"/>
          </a:xfrm>
          <a:prstGeom prst="rect">
            <a:avLst/>
          </a:prstGeom>
        </p:spPr>
        <p:txBody>
          <a:bodyPr vert="horz" wrap="square" lIns="0" tIns="0" rIns="0" bIns="0" rtlCol="0" anchor="t" anchorCtr="0">
            <a:noAutofit/>
          </a:bodyPr>
          <a:lstStyle/>
          <a:p>
            <a:pPr marL="14941" marR="14941" algn="ctr" defTabSz="1219170">
              <a:lnSpc>
                <a:spcPts val="2400"/>
              </a:lnSpc>
              <a:buClr>
                <a:srgbClr val="000000"/>
              </a:buClr>
            </a:pPr>
            <a:r>
              <a:rPr lang="en-AU" sz="2400" b="1" kern="0">
                <a:solidFill>
                  <a:srgbClr val="00BCEB"/>
                </a:solidFill>
                <a:latin typeface="CiscoSansTT ExtraLight" panose="020B0303020201020303" pitchFamily="34" charset="0"/>
                <a:cs typeface="CiscoSansTT ExtraLight" panose="020B0303020201020303" pitchFamily="34" charset="0"/>
                <a:sym typeface="Arial"/>
              </a:rPr>
              <a:t>73</a:t>
            </a:r>
          </a:p>
        </p:txBody>
      </p:sp>
      <p:sp>
        <p:nvSpPr>
          <p:cNvPr id="519" name="object 40">
            <a:extLst>
              <a:ext uri="{FF2B5EF4-FFF2-40B4-BE49-F238E27FC236}">
                <a16:creationId xmlns:a16="http://schemas.microsoft.com/office/drawing/2014/main" id="{4FDFB6DD-DBCF-6B4C-87D4-B0945D371B06}"/>
              </a:ext>
            </a:extLst>
          </p:cNvPr>
          <p:cNvSpPr txBox="1"/>
          <p:nvPr/>
        </p:nvSpPr>
        <p:spPr>
          <a:xfrm>
            <a:off x="4506869" y="5765336"/>
            <a:ext cx="648000" cy="245259"/>
          </a:xfrm>
          <a:prstGeom prst="rect">
            <a:avLst/>
          </a:prstGeom>
        </p:spPr>
        <p:txBody>
          <a:bodyPr vert="horz" wrap="square" lIns="0" tIns="0" rIns="0" bIns="0" rtlCol="0" anchor="t" anchorCtr="0">
            <a:noAutofit/>
          </a:bodyPr>
          <a:lstStyle/>
          <a:p>
            <a:pPr marL="14941" marR="14941" algn="ctr" defTabSz="1219170">
              <a:lnSpc>
                <a:spcPts val="2400"/>
              </a:lnSpc>
              <a:buClr>
                <a:srgbClr val="000000"/>
              </a:buClr>
            </a:pPr>
            <a:r>
              <a:rPr lang="en-AU" sz="1600" b="1" kern="0">
                <a:solidFill>
                  <a:srgbClr val="00BCEB"/>
                </a:solidFill>
                <a:latin typeface="CiscoSansTT ExtraLight" panose="020B0303020201020303" pitchFamily="34" charset="0"/>
                <a:cs typeface="CiscoSansTT ExtraLight" panose="020B0303020201020303" pitchFamily="34" charset="0"/>
                <a:sym typeface="Arial"/>
              </a:rPr>
              <a:t>DAYS</a:t>
            </a:r>
          </a:p>
        </p:txBody>
      </p:sp>
      <p:sp>
        <p:nvSpPr>
          <p:cNvPr id="520" name="object 40">
            <a:extLst>
              <a:ext uri="{FF2B5EF4-FFF2-40B4-BE49-F238E27FC236}">
                <a16:creationId xmlns:a16="http://schemas.microsoft.com/office/drawing/2014/main" id="{C0698CCD-9742-854C-9051-C7803734F3D4}"/>
              </a:ext>
            </a:extLst>
          </p:cNvPr>
          <p:cNvSpPr txBox="1"/>
          <p:nvPr/>
        </p:nvSpPr>
        <p:spPr>
          <a:xfrm>
            <a:off x="7904675" y="5455295"/>
            <a:ext cx="1649875" cy="605220"/>
          </a:xfrm>
          <a:prstGeom prst="rect">
            <a:avLst/>
          </a:prstGeom>
        </p:spPr>
        <p:txBody>
          <a:bodyPr vert="horz" wrap="square" lIns="0" tIns="0" rIns="0" bIns="0" rtlCol="0" anchor="ctr">
            <a:noAutofit/>
          </a:bodyPr>
          <a:lstStyle/>
          <a:p>
            <a:pPr marL="14941" marR="14941" defTabSz="1219170">
              <a:lnSpc>
                <a:spcPct val="98000"/>
              </a:lnSpc>
              <a:buClr>
                <a:srgbClr val="000000"/>
              </a:buClr>
            </a:pPr>
            <a:r>
              <a:rPr lang="en-US" sz="3333" b="1" kern="0">
                <a:solidFill>
                  <a:srgbClr val="00BCEB"/>
                </a:solidFill>
                <a:latin typeface="CiscoSansTT ExtraLight" panose="020B0303020201020303" pitchFamily="34" charset="0"/>
                <a:cs typeface="CiscoSansTT ExtraLight" panose="020B0303020201020303" pitchFamily="34" charset="0"/>
                <a:sym typeface="Arial"/>
              </a:rPr>
              <a:t>$</a:t>
            </a:r>
            <a:r>
              <a:rPr lang="en-US" sz="5333" b="1" kern="0" spc="-133">
                <a:solidFill>
                  <a:srgbClr val="00BCEB"/>
                </a:solidFill>
                <a:latin typeface="CiscoSansTT ExtraLight" panose="020B0303020201020303" pitchFamily="34" charset="0"/>
                <a:cs typeface="CiscoSansTT ExtraLight" panose="020B0303020201020303" pitchFamily="34" charset="0"/>
                <a:sym typeface="Arial"/>
              </a:rPr>
              <a:t>3.9</a:t>
            </a:r>
            <a:r>
              <a:rPr lang="en-US" sz="3333" b="1" kern="0">
                <a:solidFill>
                  <a:srgbClr val="00BCEB"/>
                </a:solidFill>
                <a:latin typeface="CiscoSansTT ExtraLight" panose="020B0303020201020303" pitchFamily="34" charset="0"/>
                <a:cs typeface="CiscoSansTT ExtraLight" panose="020B0303020201020303" pitchFamily="34" charset="0"/>
                <a:sym typeface="Arial"/>
              </a:rPr>
              <a:t>M</a:t>
            </a:r>
          </a:p>
        </p:txBody>
      </p:sp>
      <p:sp>
        <p:nvSpPr>
          <p:cNvPr id="521" name="object 40">
            <a:extLst>
              <a:ext uri="{FF2B5EF4-FFF2-40B4-BE49-F238E27FC236}">
                <a16:creationId xmlns:a16="http://schemas.microsoft.com/office/drawing/2014/main" id="{C18EF965-92A6-964E-BD82-4E35186C2D80}"/>
              </a:ext>
            </a:extLst>
          </p:cNvPr>
          <p:cNvSpPr txBox="1"/>
          <p:nvPr/>
        </p:nvSpPr>
        <p:spPr>
          <a:xfrm>
            <a:off x="9756117" y="5498818"/>
            <a:ext cx="1352457" cy="605220"/>
          </a:xfrm>
          <a:prstGeom prst="rect">
            <a:avLst/>
          </a:prstGeom>
        </p:spPr>
        <p:txBody>
          <a:bodyPr vert="horz" wrap="square" lIns="0" tIns="0" rIns="0" bIns="0" rtlCol="0" anchor="ctr">
            <a:noAutofit/>
          </a:bodyPr>
          <a:lstStyle/>
          <a:p>
            <a:pPr marL="14941" marR="14941" defTabSz="1219170">
              <a:lnSpc>
                <a:spcPct val="98000"/>
              </a:lnSpc>
              <a:buClr>
                <a:srgbClr val="000000"/>
              </a:buClr>
            </a:pPr>
            <a:r>
              <a:rPr lang="en-US" sz="1333" kern="0">
                <a:solidFill>
                  <a:srgbClr val="2F446B"/>
                </a:solidFill>
                <a:latin typeface="CiscoSansTT ExtraLight" panose="020B0303020201020303" pitchFamily="34" charset="0"/>
                <a:cs typeface="CiscoSansTT ExtraLight" panose="020B0303020201020303" pitchFamily="34" charset="0"/>
                <a:sym typeface="Arial"/>
              </a:rPr>
              <a:t>Average cost</a:t>
            </a:r>
            <a:br>
              <a:rPr lang="en-US" sz="1333" kern="0">
                <a:solidFill>
                  <a:srgbClr val="2F446B"/>
                </a:solidFill>
                <a:latin typeface="CiscoSansTT ExtraLight" panose="020B0303020201020303" pitchFamily="34" charset="0"/>
                <a:cs typeface="CiscoSansTT ExtraLight" panose="020B0303020201020303" pitchFamily="34" charset="0"/>
                <a:sym typeface="Arial"/>
              </a:rPr>
            </a:br>
            <a:r>
              <a:rPr lang="en-US" sz="1333" kern="0">
                <a:solidFill>
                  <a:srgbClr val="2F446B"/>
                </a:solidFill>
                <a:latin typeface="CiscoSansTT ExtraLight" panose="020B0303020201020303" pitchFamily="34" charset="0"/>
                <a:cs typeface="CiscoSansTT ExtraLight" panose="020B0303020201020303" pitchFamily="34" charset="0"/>
                <a:sym typeface="Arial"/>
              </a:rPr>
              <a:t>of a data breach</a:t>
            </a:r>
          </a:p>
        </p:txBody>
      </p:sp>
      <p:sp>
        <p:nvSpPr>
          <p:cNvPr id="522" name="Text Placeholder 1">
            <a:extLst>
              <a:ext uri="{FF2B5EF4-FFF2-40B4-BE49-F238E27FC236}">
                <a16:creationId xmlns:a16="http://schemas.microsoft.com/office/drawing/2014/main" id="{5B3847B0-9AD2-8845-A8FA-4FCEB72C7575}"/>
              </a:ext>
            </a:extLst>
          </p:cNvPr>
          <p:cNvSpPr txBox="1">
            <a:spLocks/>
          </p:cNvSpPr>
          <p:nvPr/>
        </p:nvSpPr>
        <p:spPr>
          <a:xfrm>
            <a:off x="355906" y="644895"/>
            <a:ext cx="10752668" cy="480000"/>
          </a:xfrm>
          <a:prstGeom prst="rect">
            <a:avLst/>
          </a:prstGeom>
          <a:noFill/>
          <a:ln>
            <a:noFill/>
          </a:ln>
        </p:spPr>
        <p:txBody>
          <a:bodyPr spcFirstLastPara="1" vert="horz" wrap="square" lIns="0" tIns="0" rIns="0" bIns="0" rtlCol="0" anchor="t" anchorCtr="0">
            <a:noAutofit/>
          </a:bodyPr>
          <a:lstStyle>
            <a:defPPr marR="0" lvl="0" algn="l" rtl="0">
              <a:lnSpc>
                <a:spcPct val="100000"/>
              </a:lnSpc>
              <a:spcBef>
                <a:spcPts val="0"/>
              </a:spcBef>
              <a:spcAft>
                <a:spcPts val="0"/>
              </a:spcAft>
            </a:defPPr>
            <a:lvl1pPr marL="0" marR="0" lvl="0" indent="0" algn="ctr" rtl="0" eaLnBrk="1" hangingPunct="1">
              <a:lnSpc>
                <a:spcPts val="3000"/>
              </a:lnSpc>
              <a:spcBef>
                <a:spcPts val="0"/>
              </a:spcBef>
              <a:spcAft>
                <a:spcPts val="0"/>
              </a:spcAft>
              <a:buClr>
                <a:schemeClr val="accent1"/>
              </a:buClr>
              <a:buSzPts val="1400"/>
              <a:buFont typeface="Arial" panose="020B0604020202020204" pitchFamily="34" charset="0"/>
              <a:buNone/>
              <a:defRPr sz="3000" b="0" i="0" u="none" strike="noStrike" cap="none">
                <a:solidFill>
                  <a:schemeClr val="tx1"/>
                </a:solidFill>
                <a:latin typeface="CiscoSansTT ExtraLight" panose="020B0303020201020303" pitchFamily="34" charset="0"/>
                <a:ea typeface="CiscoSansTT ExtraLight" panose="020B0303020201020303" pitchFamily="34" charset="0"/>
                <a:cs typeface="CiscoSansTT ExtraLight" panose="020B0303020201020303" pitchFamily="34" charset="0"/>
                <a:sym typeface="Arial"/>
              </a:defRPr>
            </a:lvl1pPr>
            <a:lvl2pPr marL="914400" marR="0" lvl="1" indent="-228600" algn="l" rtl="0" eaLnBrk="1" hangingPunct="1">
              <a:lnSpc>
                <a:spcPct val="100000"/>
              </a:lnSpc>
              <a:spcBef>
                <a:spcPts val="0"/>
              </a:spcBef>
              <a:spcAft>
                <a:spcPts val="0"/>
              </a:spcAft>
              <a:buClr>
                <a:schemeClr val="accent1"/>
              </a:buClr>
              <a:buSzPts val="1400"/>
              <a:buFont typeface="Arial" panose="020B0604020202020204" pitchFamily="34" charset="0"/>
              <a:buNone/>
              <a:defRPr sz="1400" b="0" i="0" u="none" strike="noStrike" cap="none">
                <a:solidFill>
                  <a:srgbClr val="000000"/>
                </a:solidFill>
                <a:latin typeface="Arial"/>
                <a:ea typeface="Arial"/>
                <a:cs typeface="Arial"/>
                <a:sym typeface="Arial"/>
              </a:defRPr>
            </a:lvl2pPr>
            <a:lvl3pPr marL="1371600" marR="0" lvl="2" indent="-228600" algn="l" rtl="0" eaLnBrk="1" hangingPunct="1">
              <a:lnSpc>
                <a:spcPct val="100000"/>
              </a:lnSpc>
              <a:spcBef>
                <a:spcPts val="0"/>
              </a:spcBef>
              <a:spcAft>
                <a:spcPts val="0"/>
              </a:spcAft>
              <a:buClr>
                <a:schemeClr val="accent1"/>
              </a:buClr>
              <a:buSzPts val="1400"/>
              <a:buFont typeface="Arial" panose="020B0604020202020204" pitchFamily="34" charset="0"/>
              <a:buNone/>
              <a:defRPr sz="1400" b="0" i="0" u="none" strike="noStrike" cap="none">
                <a:solidFill>
                  <a:srgbClr val="000000"/>
                </a:solidFill>
                <a:latin typeface="Arial"/>
                <a:ea typeface="Arial"/>
                <a:cs typeface="Arial"/>
                <a:sym typeface="Arial"/>
              </a:defRPr>
            </a:lvl3pPr>
            <a:lvl4pPr marL="1828800" marR="0" lvl="3" indent="-228600" algn="l" rtl="0" eaLnBrk="1" hangingPunct="1">
              <a:lnSpc>
                <a:spcPct val="100000"/>
              </a:lnSpc>
              <a:spcBef>
                <a:spcPts val="0"/>
              </a:spcBef>
              <a:spcAft>
                <a:spcPts val="0"/>
              </a:spcAft>
              <a:buClr>
                <a:schemeClr val="accent1"/>
              </a:buClr>
              <a:buSzPts val="1400"/>
              <a:buFont typeface="Arial" panose="020B0604020202020204" pitchFamily="34" charset="0"/>
              <a:buNone/>
              <a:defRPr sz="1400" b="0" i="0" u="none" strike="noStrike" cap="none">
                <a:solidFill>
                  <a:srgbClr val="000000"/>
                </a:solidFill>
                <a:latin typeface="Arial"/>
                <a:ea typeface="Arial"/>
                <a:cs typeface="Arial"/>
                <a:sym typeface="Arial"/>
              </a:defRPr>
            </a:lvl4pPr>
            <a:lvl5pPr marL="2286000" marR="0" lvl="4" indent="-228600" algn="l" rtl="0" eaLnBrk="1" hangingPunct="1">
              <a:lnSpc>
                <a:spcPct val="100000"/>
              </a:lnSpc>
              <a:spcBef>
                <a:spcPts val="0"/>
              </a:spcBef>
              <a:spcAft>
                <a:spcPts val="0"/>
              </a:spcAft>
              <a:buClr>
                <a:schemeClr val="accent1"/>
              </a:buClr>
              <a:buSzPts val="1400"/>
              <a:buFont typeface="Arial" panose="020B0604020202020204" pitchFamily="34" charset="0"/>
              <a:buNone/>
              <a:defRPr sz="1400" b="0" i="0" u="none" strike="noStrike" cap="none">
                <a:solidFill>
                  <a:srgbClr val="000000"/>
                </a:solidFill>
                <a:latin typeface="Arial"/>
                <a:ea typeface="Arial"/>
                <a:cs typeface="Arial"/>
                <a:sym typeface="Arial"/>
              </a:defRPr>
            </a:lvl5pPr>
            <a:lvl6pPr marL="2743200" marR="0" lvl="5" indent="-228600" algn="l" rtl="0" eaLnBrk="1" hangingPunct="1">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3200400" marR="0" lvl="6" indent="-228600" algn="l" rtl="0" eaLnBrk="1" hangingPunct="1">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3657600" marR="0" lvl="7" indent="-228600" algn="l" rtl="0" eaLnBrk="1" hangingPunct="1">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4114800" marR="0" lvl="8" indent="-228600" algn="l" rtl="0" eaLnBrk="1" hangingPunct="1">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defTabSz="1219170">
              <a:lnSpc>
                <a:spcPts val="4000"/>
              </a:lnSpc>
              <a:buClr>
                <a:srgbClr val="00BCEB"/>
              </a:buClr>
            </a:pPr>
            <a:r>
              <a:rPr lang="en-US" sz="4000" kern="0">
                <a:solidFill>
                  <a:srgbClr val="2F446B"/>
                </a:solidFill>
              </a:rPr>
              <a:t>Time to respond to threats is a critical factor</a:t>
            </a:r>
          </a:p>
        </p:txBody>
      </p:sp>
    </p:spTree>
    <p:extLst>
      <p:ext uri="{BB962C8B-B14F-4D97-AF65-F5344CB8AC3E}">
        <p14:creationId xmlns:p14="http://schemas.microsoft.com/office/powerpoint/2010/main" val="1310546792"/>
      </p:ext>
    </p:extLst>
  </p:cSld>
  <p:clrMapOvr>
    <a:masterClrMapping/>
  </p:clrMapOvr>
  <p:transition spd="slow">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1_Blue theme 2015 16x9">
  <a:themeElements>
    <a:clrScheme name="CX Template Oct 2019">
      <a:dk1>
        <a:srgbClr val="2F446B"/>
      </a:dk1>
      <a:lt1>
        <a:srgbClr val="FFFFFF"/>
      </a:lt1>
      <a:dk2>
        <a:srgbClr val="14284A"/>
      </a:dk2>
      <a:lt2>
        <a:srgbClr val="FFFFFF"/>
      </a:lt2>
      <a:accent1>
        <a:srgbClr val="00BCEB"/>
      </a:accent1>
      <a:accent2>
        <a:srgbClr val="6EBE4A"/>
      </a:accent2>
      <a:accent3>
        <a:srgbClr val="2F446B"/>
      </a:accent3>
      <a:accent4>
        <a:srgbClr val="142849"/>
      </a:accent4>
      <a:accent5>
        <a:srgbClr val="FBAB18"/>
      </a:accent5>
      <a:accent6>
        <a:srgbClr val="EDF1F6"/>
      </a:accent6>
      <a:hlink>
        <a:srgbClr val="00BCEB"/>
      </a:hlink>
      <a:folHlink>
        <a:srgbClr val="2F446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isco_Customer_Experience_Template_June_2019 v.2" id="{67EEC87D-99A1-C94D-8139-7B5529EF37A3}" vid="{611C52A7-F72E-FD41-8BD4-79571D342F77}"/>
    </a:ext>
  </a:extLst>
</a:theme>
</file>

<file path=ppt/theme/theme2.xml><?xml version="1.0" encoding="utf-8"?>
<a:theme xmlns:a="http://schemas.openxmlformats.org/drawingml/2006/main" name="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3.xml><?xml version="1.0" encoding="utf-8"?>
<a:theme xmlns:a="http://schemas.openxmlformats.org/drawingml/2006/main" name="1_Cisco Corporate Template 2017">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2017" id="{B475D07A-1DB6-604B-8ED6-4DAAB98B060F}" vid="{63A8490B-0C4C-6E42-BF2A-D0F3A1830AB0}"/>
    </a:ext>
  </a:extLst>
</a:theme>
</file>

<file path=ppt/theme/theme4.xml><?xml version="1.0" encoding="utf-8"?>
<a:theme xmlns:a="http://schemas.openxmlformats.org/drawingml/2006/main" name="2_Cisco Corporate Template 2017">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2017" id="{B475D07A-1DB6-604B-8ED6-4DAAB98B060F}" vid="{63A8490B-0C4C-6E42-BF2A-D0F3A1830AB0}"/>
    </a:ext>
  </a:extLst>
</a:theme>
</file>

<file path=ppt/theme/theme5.xml><?xml version="1.0" encoding="utf-8"?>
<a:theme xmlns:a="http://schemas.openxmlformats.org/drawingml/2006/main" name="3_Cisco Corporate Template 2017">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2017" id="{B475D07A-1DB6-604B-8ED6-4DAAB98B060F}" vid="{63A8490B-0C4C-6E42-BF2A-D0F3A1830AB0}"/>
    </a:ext>
  </a:extLst>
</a:theme>
</file>

<file path=ppt/theme/theme6.xml><?xml version="1.0" encoding="utf-8"?>
<a:theme xmlns:a="http://schemas.openxmlformats.org/drawingml/2006/main" name="9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MS Delivery Overview for Sales" id="{A2C88915-4283-0642-8131-6D8E96AFE204}" vid="{19429A5A-F107-9541-878E-2381C16D5637}"/>
    </a:ext>
  </a:extLst>
</a:theme>
</file>

<file path=ppt/theme/theme7.xml><?xml version="1.0" encoding="utf-8"?>
<a:theme xmlns:a="http://schemas.openxmlformats.org/drawingml/2006/main" name="2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https_x003a__x002f__x002f_salesconnect_x002e_cisco_x002e_com_x002f_open_x002e_html_x003f_c_x003d_139cd706_x002d_bfd4_x002d_4aa2_x002d_bda4_x002d_049d78fbeefd xmlns="956b59e2-6f85-4fd2-8cf1-a54168e733b3">
      <Url xsi:nil="true"/>
      <Description xsi:nil="true"/>
    </https_x003a__x002f__x002f_salesconnect_x002e_cisco_x002e_com_x002f_open_x002e_html_x003f_c_x003d_139cd706_x002d_bfd4_x002d_4aa2_x002d_bda4_x002d_049d78fbeefd>
    <DateuploadedtoSC xmlns="956b59e2-6f85-4fd2-8cf1-a54168e733b3" xsi:nil="true"/>
    <SharedWithUsers xmlns="18763a6d-8abd-4d7c-ab6a-becf45e0c7cd">
      <UserInfo>
        <DisplayName>Conrad Clark -T (conclark - GDH CONSULTING INC at Cisco)</DisplayName>
        <AccountId>3105</AccountId>
        <AccountType/>
      </UserInfo>
      <UserInfo>
        <DisplayName>Joseph Mlodzianowski (jmlodzia)</DisplayName>
        <AccountId>2828</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784CA1EAD060E49873639C22E021801" ma:contentTypeVersion="14" ma:contentTypeDescription="Create a new document." ma:contentTypeScope="" ma:versionID="477300ac0cf50dcdccdffc8ffb99f773">
  <xsd:schema xmlns:xsd="http://www.w3.org/2001/XMLSchema" xmlns:xs="http://www.w3.org/2001/XMLSchema" xmlns:p="http://schemas.microsoft.com/office/2006/metadata/properties" xmlns:ns2="956b59e2-6f85-4fd2-8cf1-a54168e733b3" xmlns:ns3="18763a6d-8abd-4d7c-ab6a-becf45e0c7cd" targetNamespace="http://schemas.microsoft.com/office/2006/metadata/properties" ma:root="true" ma:fieldsID="a9fc323bd7cd8ea4bf37cffe456198a2" ns2:_="" ns3:_="">
    <xsd:import namespace="956b59e2-6f85-4fd2-8cf1-a54168e733b3"/>
    <xsd:import namespace="18763a6d-8abd-4d7c-ab6a-becf45e0c7c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https_x003a__x002f__x002f_salesconnect_x002e_cisco_x002e_com_x002f_open_x002e_html_x003f_c_x003d_139cd706_x002d_bfd4_x002d_4aa2_x002d_bda4_x002d_049d78fbeefd" minOccurs="0"/>
                <xsd:element ref="ns2:DateuploadedtoSC" minOccurs="0"/>
                <xsd:element ref="ns2:MediaServiceLocatio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6b59e2-6f85-4fd2-8cf1-a54168e733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https_x003a__x002f__x002f_salesconnect_x002e_cisco_x002e_com_x002f_open_x002e_html_x003f_c_x003d_139cd706_x002d_bfd4_x002d_4aa2_x002d_bda4_x002d_049d78fbeefd" ma:index="17" nillable="true" ma:displayName="Salesconnect Link" ma:format="Hyperlink" ma:internalName="https_x003a__x002f__x002f_salesconnect_x002e_cisco_x002e_com_x002f_open_x002e_html_x003f_c_x003d_139cd706_x002d_bfd4_x002d_4aa2_x002d_bda4_x002d_049d78fbeefd">
      <xsd:complexType>
        <xsd:complexContent>
          <xsd:extension base="dms:URL">
            <xsd:sequence>
              <xsd:element name="Url" type="dms:ValidUrl" minOccurs="0" nillable="true"/>
              <xsd:element name="Description" type="xsd:string" nillable="true"/>
            </xsd:sequence>
          </xsd:extension>
        </xsd:complexContent>
      </xsd:complexType>
    </xsd:element>
    <xsd:element name="DateuploadedtoSC" ma:index="18" nillable="true" ma:displayName="Date uploaded to SC" ma:format="DateOnly" ma:internalName="DateuploadedtoSC">
      <xsd:simpleType>
        <xsd:restriction base="dms:DateTime"/>
      </xsd:simpleType>
    </xsd:element>
    <xsd:element name="MediaServiceLocation" ma:index="19" nillable="true" ma:displayName="Location" ma:internalName="MediaServiceLocation"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8763a6d-8abd-4d7c-ab6a-becf45e0c7c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F5A4EA9-A94E-43F2-841E-60E04EB6A9F9}">
  <ds:schemaRefs>
    <ds:schemaRef ds:uri="http://www.w3.org/XML/1998/namespace"/>
    <ds:schemaRef ds:uri="http://schemas.microsoft.com/office/2006/documentManagement/types"/>
    <ds:schemaRef ds:uri="http://purl.org/dc/dcmitype/"/>
    <ds:schemaRef ds:uri="http://purl.org/dc/terms/"/>
    <ds:schemaRef ds:uri="http://purl.org/dc/elements/1.1/"/>
    <ds:schemaRef ds:uri="http://schemas.microsoft.com/office/infopath/2007/PartnerControls"/>
    <ds:schemaRef ds:uri="http://schemas.openxmlformats.org/package/2006/metadata/core-properties"/>
    <ds:schemaRef ds:uri="18763a6d-8abd-4d7c-ab6a-becf45e0c7cd"/>
    <ds:schemaRef ds:uri="956b59e2-6f85-4fd2-8cf1-a54168e733b3"/>
    <ds:schemaRef ds:uri="http://schemas.microsoft.com/office/2006/metadata/properties"/>
  </ds:schemaRefs>
</ds:datastoreItem>
</file>

<file path=customXml/itemProps2.xml><?xml version="1.0" encoding="utf-8"?>
<ds:datastoreItem xmlns:ds="http://schemas.openxmlformats.org/officeDocument/2006/customXml" ds:itemID="{AD552F2F-8125-4E0D-9E4E-5CFCE93BABB8}">
  <ds:schemaRefs>
    <ds:schemaRef ds:uri="http://schemas.microsoft.com/sharepoint/v3/contenttype/forms"/>
  </ds:schemaRefs>
</ds:datastoreItem>
</file>

<file path=customXml/itemProps3.xml><?xml version="1.0" encoding="utf-8"?>
<ds:datastoreItem xmlns:ds="http://schemas.openxmlformats.org/officeDocument/2006/customXml" ds:itemID="{D3285E19-E4D5-41E2-8E28-154787D496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6b59e2-6f85-4fd2-8cf1-a54168e733b3"/>
    <ds:schemaRef ds:uri="18763a6d-8abd-4d7c-ab6a-becf45e0c7c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3843</TotalTime>
  <Words>7677</Words>
  <Application>Microsoft Office PowerPoint</Application>
  <PresentationFormat>Widescreen</PresentationFormat>
  <Paragraphs>732</Paragraphs>
  <Slides>47</Slides>
  <Notes>38</Notes>
  <HiddenSlides>0</HiddenSlides>
  <MMClips>0</MMClips>
  <ScaleCrop>false</ScaleCrop>
  <HeadingPairs>
    <vt:vector size="8" baseType="variant">
      <vt:variant>
        <vt:lpstr>Fonts Used</vt:lpstr>
      </vt:variant>
      <vt:variant>
        <vt:i4>12</vt:i4>
      </vt:variant>
      <vt:variant>
        <vt:lpstr>Theme</vt:lpstr>
      </vt:variant>
      <vt:variant>
        <vt:i4>7</vt:i4>
      </vt:variant>
      <vt:variant>
        <vt:lpstr>Embedded OLE Servers</vt:lpstr>
      </vt:variant>
      <vt:variant>
        <vt:i4>1</vt:i4>
      </vt:variant>
      <vt:variant>
        <vt:lpstr>Slide Titles</vt:lpstr>
      </vt:variant>
      <vt:variant>
        <vt:i4>47</vt:i4>
      </vt:variant>
    </vt:vector>
  </HeadingPairs>
  <TitlesOfParts>
    <vt:vector size="67" baseType="lpstr">
      <vt:lpstr>Arial</vt:lpstr>
      <vt:lpstr>Calibri</vt:lpstr>
      <vt:lpstr>CiscoSans ExtraLight</vt:lpstr>
      <vt:lpstr>CiscoSans Light</vt:lpstr>
      <vt:lpstr>CiscoSans Thin</vt:lpstr>
      <vt:lpstr>CiscoSansTT</vt:lpstr>
      <vt:lpstr>CiscoSansTT ExtraLight</vt:lpstr>
      <vt:lpstr>CiscoSansTT Light</vt:lpstr>
      <vt:lpstr>Helvetica Neue</vt:lpstr>
      <vt:lpstr>Symbol</vt:lpstr>
      <vt:lpstr>Times New Roman</vt:lpstr>
      <vt:lpstr>Wingdings</vt:lpstr>
      <vt:lpstr>1_Blue theme 2015 16x9</vt:lpstr>
      <vt:lpstr>Blue theme 2015 16x9</vt:lpstr>
      <vt:lpstr>1_Cisco Corporate Template 2017</vt:lpstr>
      <vt:lpstr>2_Cisco Corporate Template 2017</vt:lpstr>
      <vt:lpstr>3_Cisco Corporate Template 2017</vt:lpstr>
      <vt:lpstr>9_Blue theme 2015 16x9</vt:lpstr>
      <vt:lpstr>2_Blue theme 2015 16x9</vt:lpstr>
      <vt:lpstr>think-cell Slide</vt:lpstr>
      <vt:lpstr>PowerPoint Presentation</vt:lpstr>
      <vt:lpstr>PowerPoint Presentation</vt:lpstr>
      <vt:lpstr>Title Goes He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isco Managed Detection and Response</vt:lpstr>
      <vt:lpstr>Detection and Response for Advanced Threats </vt:lpstr>
      <vt:lpstr>PowerPoint Presentation</vt:lpstr>
      <vt:lpstr>Cut the noise to get to the critical alerts fast</vt:lpstr>
      <vt:lpstr>PowerPoint Presentation</vt:lpstr>
      <vt:lpstr>PowerPoint Presentation</vt:lpstr>
      <vt:lpstr>PowerPoint Presentation</vt:lpstr>
      <vt:lpstr>PowerPoint Presentation</vt:lpstr>
      <vt:lpstr>PowerPoint Presentation</vt:lpstr>
      <vt:lpstr>PowerPoint Presentation</vt:lpstr>
      <vt:lpstr>Lots of questions to be answered… and fast!</vt:lpstr>
      <vt:lpstr>Threat Story: DGA</vt:lpstr>
      <vt:lpstr>Detection and Response for Advanced Threat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porting Can be scheduled or downloaded, and include: Current/All Time/Day/Week/Month/Year/Trending</vt:lpstr>
      <vt:lpstr>PowerPoint Presentation</vt:lpstr>
      <vt:lpstr>Cisco Security Technologies License Requirements  for MDR Service Activation  </vt:lpstr>
      <vt:lpstr>Quick MDR Service Activation</vt:lpstr>
      <vt:lpstr>PowerPoint Presentation</vt:lpstr>
      <vt:lpstr>MDR Service Description </vt:lpstr>
      <vt:lpstr>MDR Service Priority Definitions  </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ra Matzek (smatzek)</dc:creator>
  <cp:lastModifiedBy>dylan larocque</cp:lastModifiedBy>
  <cp:revision>21</cp:revision>
  <dcterms:created xsi:type="dcterms:W3CDTF">2020-01-30T17:11:29Z</dcterms:created>
  <dcterms:modified xsi:type="dcterms:W3CDTF">2020-10-06T15:3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84CA1EAD060E49873639C22E021801</vt:lpwstr>
  </property>
</Properties>
</file>